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7.xml" ContentType="application/vnd.openxmlformats-officedocument.presentationml.tags+xml"/>
  <Override PartName="/ppt/notesSlides/notesSlide1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8.xml" ContentType="application/vnd.openxmlformats-officedocument.presentationml.tags+xml"/>
  <Override PartName="/ppt/notesSlides/notesSlide16.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7.xml" ContentType="application/vnd.openxmlformats-officedocument.presentationml.notesSlide+xml"/>
  <Override PartName="/ppt/charts/chart9.xml" ContentType="application/vnd.openxmlformats-officedocument.drawingml.chart+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tags/tag39.xml" ContentType="application/vnd.openxmlformats-officedocument.presentationml.tags+xml"/>
  <Override PartName="/ppt/notesSlides/notesSlide20.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40.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42.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60"/>
  </p:notesMasterIdLst>
  <p:handoutMasterIdLst>
    <p:handoutMasterId r:id="rId61"/>
  </p:handoutMasterIdLst>
  <p:sldIdLst>
    <p:sldId id="256" r:id="rId5"/>
    <p:sldId id="258" r:id="rId6"/>
    <p:sldId id="259" r:id="rId7"/>
    <p:sldId id="339" r:id="rId8"/>
    <p:sldId id="340" r:id="rId9"/>
    <p:sldId id="264" r:id="rId10"/>
    <p:sldId id="265" r:id="rId11"/>
    <p:sldId id="266" r:id="rId12"/>
    <p:sldId id="267" r:id="rId13"/>
    <p:sldId id="290" r:id="rId14"/>
    <p:sldId id="276" r:id="rId15"/>
    <p:sldId id="277" r:id="rId16"/>
    <p:sldId id="279" r:id="rId17"/>
    <p:sldId id="280" r:id="rId18"/>
    <p:sldId id="343" r:id="rId19"/>
    <p:sldId id="282" r:id="rId20"/>
    <p:sldId id="348" r:id="rId21"/>
    <p:sldId id="281" r:id="rId22"/>
    <p:sldId id="283" r:id="rId23"/>
    <p:sldId id="284" r:id="rId24"/>
    <p:sldId id="285" r:id="rId25"/>
    <p:sldId id="286" r:id="rId26"/>
    <p:sldId id="268" r:id="rId27"/>
    <p:sldId id="349" r:id="rId28"/>
    <p:sldId id="344" r:id="rId29"/>
    <p:sldId id="345" r:id="rId30"/>
    <p:sldId id="346" r:id="rId31"/>
    <p:sldId id="350" r:id="rId32"/>
    <p:sldId id="351" r:id="rId33"/>
    <p:sldId id="352" r:id="rId34"/>
    <p:sldId id="347" r:id="rId35"/>
    <p:sldId id="353" r:id="rId36"/>
    <p:sldId id="355" r:id="rId37"/>
    <p:sldId id="356" r:id="rId38"/>
    <p:sldId id="357" r:id="rId39"/>
    <p:sldId id="358" r:id="rId40"/>
    <p:sldId id="359" r:id="rId41"/>
    <p:sldId id="360" r:id="rId42"/>
    <p:sldId id="361" r:id="rId43"/>
    <p:sldId id="362" r:id="rId44"/>
    <p:sldId id="363" r:id="rId45"/>
    <p:sldId id="269" r:id="rId46"/>
    <p:sldId id="271" r:id="rId47"/>
    <p:sldId id="292" r:id="rId48"/>
    <p:sldId id="368" r:id="rId49"/>
    <p:sldId id="372" r:id="rId50"/>
    <p:sldId id="371" r:id="rId51"/>
    <p:sldId id="398" r:id="rId52"/>
    <p:sldId id="399" r:id="rId53"/>
    <p:sldId id="396" r:id="rId54"/>
    <p:sldId id="395" r:id="rId55"/>
    <p:sldId id="397" r:id="rId56"/>
    <p:sldId id="289" r:id="rId57"/>
    <p:sldId id="273" r:id="rId58"/>
    <p:sldId id="274" r:id="rId59"/>
  </p:sldIdLst>
  <p:sldSz cx="12192000" cy="6858000"/>
  <p:notesSz cx="6858000" cy="9144000"/>
  <p:custDataLst>
    <p:tags r:id="rId6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C8FF16"/>
    <a:srgbClr val="FF7E83"/>
    <a:srgbClr val="CB2980"/>
    <a:srgbClr val="FF304C"/>
    <a:srgbClr val="4701A7"/>
    <a:srgbClr val="FF6327"/>
    <a:srgbClr val="6D64CC"/>
    <a:srgbClr val="88D5ED"/>
    <a:srgbClr val="01D1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3" autoAdjust="0"/>
    <p:restoredTop sz="96120" autoAdjust="0"/>
  </p:normalViewPr>
  <p:slideViewPr>
    <p:cSldViewPr>
      <p:cViewPr varScale="1">
        <p:scale>
          <a:sx n="94" d="100"/>
          <a:sy n="94" d="100"/>
        </p:scale>
        <p:origin x="312" y="7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5254"/>
    </p:cViewPr>
  </p:sorterViewPr>
  <p:notesViewPr>
    <p:cSldViewPr>
      <p:cViewPr varScale="1">
        <p:scale>
          <a:sx n="77" d="100"/>
          <a:sy n="77" d="100"/>
        </p:scale>
        <p:origin x="2548" y="76"/>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48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34</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46E-3"/>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26</c:v>
                </c:pt>
                <c:pt idx="1">
                  <c:v>0.22</c:v>
                </c:pt>
                <c:pt idx="2">
                  <c:v>0.14000000000000001</c:v>
                </c:pt>
                <c:pt idx="3">
                  <c:v>0.28000000000000008</c:v>
                </c:pt>
              </c:numCache>
            </c:numRef>
          </c:val>
          <c:extLs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404274424"/>
        <c:axId val="404274816"/>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4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399E-2"/>
                  <c:y val="3.22102733018139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399E-2"/>
                  <c:y val="1.3804402843634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53</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404274424"/>
        <c:axId val="404274816"/>
      </c:lineChart>
      <c:catAx>
        <c:axId val="404274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fr-FR"/>
          </a:p>
        </c:txPr>
        <c:crossAx val="404274816"/>
        <c:crosses val="autoZero"/>
        <c:auto val="1"/>
        <c:lblAlgn val="ctr"/>
        <c:lblOffset val="100"/>
        <c:noMultiLvlLbl val="0"/>
      </c:catAx>
      <c:valAx>
        <c:axId val="404274816"/>
        <c:scaling>
          <c:orientation val="minMax"/>
        </c:scaling>
        <c:delete val="1"/>
        <c:axPos val="l"/>
        <c:numFmt formatCode="0%" sourceLinked="1"/>
        <c:majorTickMark val="none"/>
        <c:minorTickMark val="none"/>
        <c:tickLblPos val="none"/>
        <c:crossAx val="404274424"/>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FEB5-4CB9-95DE-B87BD08A451A}"/>
              </c:ext>
            </c:extLst>
          </c:dPt>
          <c:dPt>
            <c:idx val="1"/>
            <c:bubble3D val="0"/>
            <c:spPr>
              <a:solidFill>
                <a:srgbClr val="FF6326"/>
              </a:solidFill>
              <a:ln w="19050">
                <a:noFill/>
              </a:ln>
              <a:effectLst/>
            </c:spPr>
            <c:extLst>
              <c:ext xmlns:c16="http://schemas.microsoft.com/office/drawing/2014/chart" uri="{C3380CC4-5D6E-409C-BE32-E72D297353CC}">
                <c16:uniqueId val="{00000002-FEB5-4CB9-95DE-B87BD08A451A}"/>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FEB5-4CB9-95DE-B87BD08A451A}"/>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fr-F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77CE-4EEF-AE9B-B16DD999C6A5}"/>
              </c:ext>
            </c:extLst>
          </c:dPt>
          <c:dPt>
            <c:idx val="1"/>
            <c:bubble3D val="0"/>
            <c:spPr>
              <a:solidFill>
                <a:srgbClr val="FF304C"/>
              </a:solidFill>
              <a:ln w="19050">
                <a:noFill/>
              </a:ln>
              <a:effectLst/>
            </c:spPr>
            <c:extLst>
              <c:ext xmlns:c16="http://schemas.microsoft.com/office/drawing/2014/chart" uri="{C3380CC4-5D6E-409C-BE32-E72D297353CC}">
                <c16:uniqueId val="{00000002-77CE-4EEF-AE9B-B16DD999C6A5}"/>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77CE-4EEF-AE9B-B16DD999C6A5}"/>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fr-F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2605-4303-8F55-87781EA2230E}"/>
              </c:ext>
            </c:extLst>
          </c:dPt>
          <c:dPt>
            <c:idx val="1"/>
            <c:bubble3D val="0"/>
            <c:spPr>
              <a:solidFill>
                <a:srgbClr val="00C27A"/>
              </a:solidFill>
              <a:ln w="19050">
                <a:noFill/>
              </a:ln>
              <a:effectLst/>
            </c:spPr>
            <c:extLst>
              <c:ext xmlns:c16="http://schemas.microsoft.com/office/drawing/2014/chart" uri="{C3380CC4-5D6E-409C-BE32-E72D297353CC}">
                <c16:uniqueId val="{00000002-2605-4303-8F55-87781EA2230E}"/>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2605-4303-8F55-87781EA2230E}"/>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fr-F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D5F1-4256-A047-6D581DF73588}"/>
              </c:ext>
            </c:extLst>
          </c:dPt>
          <c:dPt>
            <c:idx val="1"/>
            <c:bubble3D val="0"/>
            <c:spPr>
              <a:solidFill>
                <a:srgbClr val="CC2980"/>
              </a:solidFill>
              <a:ln w="19050">
                <a:noFill/>
              </a:ln>
              <a:effectLst/>
            </c:spPr>
            <c:extLst>
              <c:ext xmlns:c16="http://schemas.microsoft.com/office/drawing/2014/chart" uri="{C3380CC4-5D6E-409C-BE32-E72D297353CC}">
                <c16:uniqueId val="{00000002-D5F1-4256-A047-6D581DF73588}"/>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D5F1-4256-A047-6D581DF73588}"/>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fr-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62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4</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63E-3"/>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32</c:v>
                </c:pt>
                <c:pt idx="1">
                  <c:v>0.22</c:v>
                </c:pt>
                <c:pt idx="2">
                  <c:v>0.14000000000000001</c:v>
                </c:pt>
                <c:pt idx="3">
                  <c:v>0.28000000000000008</c:v>
                </c:pt>
              </c:numCache>
            </c:numRef>
          </c:val>
          <c:extLs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404275600"/>
        <c:axId val="472106720"/>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5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399E-2"/>
                  <c:y val="3.22102733018139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399E-2"/>
                  <c:y val="1.3804402843634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64</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404275600"/>
        <c:axId val="472106720"/>
      </c:lineChart>
      <c:catAx>
        <c:axId val="404275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fr-FR"/>
          </a:p>
        </c:txPr>
        <c:crossAx val="472106720"/>
        <c:crosses val="autoZero"/>
        <c:auto val="1"/>
        <c:lblAlgn val="ctr"/>
        <c:lblOffset val="100"/>
        <c:noMultiLvlLbl val="0"/>
      </c:catAx>
      <c:valAx>
        <c:axId val="472106720"/>
        <c:scaling>
          <c:orientation val="minMax"/>
        </c:scaling>
        <c:delete val="1"/>
        <c:axPos val="l"/>
        <c:numFmt formatCode="0%" sourceLinked="1"/>
        <c:majorTickMark val="none"/>
        <c:minorTickMark val="none"/>
        <c:tickLblPos val="none"/>
        <c:crossAx val="404275600"/>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72E-2"/>
          <c:y val="0.12287789919021795"/>
          <c:w val="0.94491392258217732"/>
          <c:h val="0.51833238446269247"/>
        </c:manualLayout>
      </c:layout>
      <c:barChart>
        <c:barDir val="col"/>
        <c:grouping val="clustered"/>
        <c:varyColors val="0"/>
        <c:ser>
          <c:idx val="0"/>
          <c:order val="0"/>
          <c:tx>
            <c:strRef>
              <c:f>Sheet1!$B$1</c:f>
              <c:strCache>
                <c:ptCount val="1"/>
                <c:pt idx="0">
                  <c:v>Series 1</c:v>
                </c:pt>
              </c:strCache>
            </c:strRef>
          </c:tx>
          <c:spPr>
            <a:solidFill>
              <a:srgbClr val="FF304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304C"/>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A36-4308-B95F-5A19A5C8C423}"/>
            </c:ext>
          </c:extLst>
        </c:ser>
        <c:ser>
          <c:idx val="1"/>
          <c:order val="1"/>
          <c:tx>
            <c:strRef>
              <c:f>Sheet1!$C$1</c:f>
              <c:strCache>
                <c:ptCount val="1"/>
                <c:pt idx="0">
                  <c:v>Series 2</c:v>
                </c:pt>
              </c:strCache>
            </c:strRef>
          </c:tx>
          <c:spPr>
            <a:solidFill>
              <a:srgbClr val="2C004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A36-4308-B95F-5A19A5C8C423}"/>
            </c:ext>
          </c:extLst>
        </c:ser>
        <c:dLbls>
          <c:showLegendKey val="0"/>
          <c:showVal val="1"/>
          <c:showCatName val="0"/>
          <c:showSerName val="0"/>
          <c:showPercent val="0"/>
          <c:showBubbleSize val="0"/>
        </c:dLbls>
        <c:gapWidth val="219"/>
        <c:overlap val="-27"/>
        <c:axId val="409396008"/>
        <c:axId val="409396792"/>
      </c:barChart>
      <c:catAx>
        <c:axId val="409396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409396792"/>
        <c:crosses val="autoZero"/>
        <c:auto val="1"/>
        <c:lblAlgn val="ctr"/>
        <c:lblOffset val="100"/>
        <c:noMultiLvlLbl val="0"/>
      </c:catAx>
      <c:valAx>
        <c:axId val="409396792"/>
        <c:scaling>
          <c:orientation val="minMax"/>
        </c:scaling>
        <c:delete val="1"/>
        <c:axPos val="l"/>
        <c:numFmt formatCode="General" sourceLinked="1"/>
        <c:majorTickMark val="none"/>
        <c:minorTickMark val="none"/>
        <c:tickLblPos val="none"/>
        <c:crossAx val="4093960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29E-2"/>
          <c:y val="0.12287789919021795"/>
          <c:w val="0.94491393344286101"/>
          <c:h val="0.51833238446269247"/>
        </c:manualLayout>
      </c:layout>
      <c:barChart>
        <c:barDir val="col"/>
        <c:grouping val="clustered"/>
        <c:varyColors val="0"/>
        <c:ser>
          <c:idx val="0"/>
          <c:order val="0"/>
          <c:tx>
            <c:strRef>
              <c:f>Sheet1!$B$1</c:f>
              <c:strCache>
                <c:ptCount val="1"/>
                <c:pt idx="0">
                  <c:v>Series 1</c:v>
                </c:pt>
              </c:strCache>
            </c:strRef>
          </c:tx>
          <c:spPr>
            <a:solidFill>
              <a:srgbClr val="FF304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304C"/>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136-4B65-AA6F-E123FFCB811B}"/>
            </c:ext>
          </c:extLst>
        </c:ser>
        <c:ser>
          <c:idx val="1"/>
          <c:order val="1"/>
          <c:tx>
            <c:strRef>
              <c:f>Sheet1!$C$1</c:f>
              <c:strCache>
                <c:ptCount val="1"/>
                <c:pt idx="0">
                  <c:v>Series 2</c:v>
                </c:pt>
              </c:strCache>
            </c:strRef>
          </c:tx>
          <c:spPr>
            <a:solidFill>
              <a:srgbClr val="2C004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5136-4B65-AA6F-E123FFCB811B}"/>
            </c:ext>
          </c:extLst>
        </c:ser>
        <c:dLbls>
          <c:showLegendKey val="0"/>
          <c:showVal val="0"/>
          <c:showCatName val="0"/>
          <c:showSerName val="0"/>
          <c:showPercent val="0"/>
          <c:showBubbleSize val="0"/>
        </c:dLbls>
        <c:gapWidth val="219"/>
        <c:overlap val="-27"/>
        <c:axId val="409399928"/>
        <c:axId val="409400320"/>
      </c:barChart>
      <c:catAx>
        <c:axId val="409399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409400320"/>
        <c:crosses val="autoZero"/>
        <c:auto val="1"/>
        <c:lblAlgn val="ctr"/>
        <c:lblOffset val="100"/>
        <c:noMultiLvlLbl val="0"/>
      </c:catAx>
      <c:valAx>
        <c:axId val="409400320"/>
        <c:scaling>
          <c:orientation val="minMax"/>
        </c:scaling>
        <c:delete val="1"/>
        <c:axPos val="l"/>
        <c:numFmt formatCode="General" sourceLinked="1"/>
        <c:majorTickMark val="none"/>
        <c:minorTickMark val="none"/>
        <c:tickLblPos val="none"/>
        <c:crossAx val="4093999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29E-2"/>
          <c:y val="0.14874700634555399"/>
          <c:w val="0.94491393344286101"/>
          <c:h val="0.49246309459973497"/>
        </c:manualLayout>
      </c:layout>
      <c:barChart>
        <c:barDir val="col"/>
        <c:grouping val="clustered"/>
        <c:varyColors val="0"/>
        <c:ser>
          <c:idx val="0"/>
          <c:order val="0"/>
          <c:tx>
            <c:strRef>
              <c:f>Sheet1!$B$1</c:f>
              <c:strCache>
                <c:ptCount val="1"/>
                <c:pt idx="0">
                  <c:v>Series 1</c:v>
                </c:pt>
              </c:strCache>
            </c:strRef>
          </c:tx>
          <c:spPr>
            <a:solidFill>
              <a:srgbClr val="FF304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304C"/>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B4C-4672-B7B3-94C071FB2473}"/>
            </c:ext>
          </c:extLst>
        </c:ser>
        <c:ser>
          <c:idx val="1"/>
          <c:order val="1"/>
          <c:tx>
            <c:strRef>
              <c:f>Sheet1!$C$1</c:f>
              <c:strCache>
                <c:ptCount val="1"/>
                <c:pt idx="0">
                  <c:v>Series 2</c:v>
                </c:pt>
              </c:strCache>
            </c:strRef>
          </c:tx>
          <c:spPr>
            <a:solidFill>
              <a:srgbClr val="2C004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B4C-4672-B7B3-94C071FB2473}"/>
            </c:ext>
          </c:extLst>
        </c:ser>
        <c:dLbls>
          <c:showLegendKey val="0"/>
          <c:showVal val="1"/>
          <c:showCatName val="0"/>
          <c:showSerName val="0"/>
          <c:showPercent val="0"/>
          <c:showBubbleSize val="0"/>
        </c:dLbls>
        <c:gapWidth val="219"/>
        <c:overlap val="-27"/>
        <c:axId val="409401104"/>
        <c:axId val="409401496"/>
      </c:barChart>
      <c:catAx>
        <c:axId val="409401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409401496"/>
        <c:crosses val="autoZero"/>
        <c:auto val="1"/>
        <c:lblAlgn val="ctr"/>
        <c:lblOffset val="100"/>
        <c:noMultiLvlLbl val="0"/>
      </c:catAx>
      <c:valAx>
        <c:axId val="409401496"/>
        <c:scaling>
          <c:orientation val="minMax"/>
        </c:scaling>
        <c:delete val="1"/>
        <c:axPos val="l"/>
        <c:numFmt formatCode="General" sourceLinked="1"/>
        <c:majorTickMark val="none"/>
        <c:minorTickMark val="none"/>
        <c:tickLblPos val="none"/>
        <c:crossAx val="4094011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72E-2"/>
          <c:y val="0.14874700634555399"/>
          <c:w val="0.94491392258217732"/>
          <c:h val="0.49246309459973497"/>
        </c:manualLayout>
      </c:layout>
      <c:barChart>
        <c:barDir val="col"/>
        <c:grouping val="clustered"/>
        <c:varyColors val="0"/>
        <c:ser>
          <c:idx val="0"/>
          <c:order val="0"/>
          <c:tx>
            <c:strRef>
              <c:f>Sheet1!$B$1</c:f>
              <c:strCache>
                <c:ptCount val="1"/>
                <c:pt idx="0">
                  <c:v>Series 1</c:v>
                </c:pt>
              </c:strCache>
            </c:strRef>
          </c:tx>
          <c:spPr>
            <a:solidFill>
              <a:srgbClr val="FF304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304C"/>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444-4BC4-9CEF-468969DF1AAC}"/>
            </c:ext>
          </c:extLst>
        </c:ser>
        <c:ser>
          <c:idx val="1"/>
          <c:order val="1"/>
          <c:tx>
            <c:strRef>
              <c:f>Sheet1!$C$1</c:f>
              <c:strCache>
                <c:ptCount val="1"/>
                <c:pt idx="0">
                  <c:v>Series 2</c:v>
                </c:pt>
              </c:strCache>
            </c:strRef>
          </c:tx>
          <c:spPr>
            <a:solidFill>
              <a:srgbClr val="2C004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444-4BC4-9CEF-468969DF1AAC}"/>
            </c:ext>
          </c:extLst>
        </c:ser>
        <c:dLbls>
          <c:showLegendKey val="0"/>
          <c:showVal val="1"/>
          <c:showCatName val="0"/>
          <c:showSerName val="0"/>
          <c:showPercent val="0"/>
          <c:showBubbleSize val="0"/>
        </c:dLbls>
        <c:gapWidth val="219"/>
        <c:overlap val="-27"/>
        <c:axId val="409402280"/>
        <c:axId val="409402672"/>
      </c:barChart>
      <c:catAx>
        <c:axId val="409402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409402672"/>
        <c:crosses val="autoZero"/>
        <c:auto val="1"/>
        <c:lblAlgn val="ctr"/>
        <c:lblOffset val="100"/>
        <c:noMultiLvlLbl val="0"/>
      </c:catAx>
      <c:valAx>
        <c:axId val="409402672"/>
        <c:scaling>
          <c:orientation val="minMax"/>
        </c:scaling>
        <c:delete val="1"/>
        <c:axPos val="l"/>
        <c:numFmt formatCode="General" sourceLinked="1"/>
        <c:majorTickMark val="none"/>
        <c:minorTickMark val="none"/>
        <c:tickLblPos val="none"/>
        <c:crossAx val="4094022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25089168758"/>
          <c:y val="3.7303947329069463E-2"/>
          <c:w val="0.55255001722945052"/>
          <c:h val="0.75445698056456301"/>
        </c:manualLayout>
      </c:layout>
      <c:doughnut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c:ext xmlns:c16="http://schemas.microsoft.com/office/drawing/2014/chart" uri="{C3380CC4-5D6E-409C-BE32-E72D297353CC}">
                <c16:uniqueId val="{00000001-4C36-4FD4-BEC6-AC0745608DC2}"/>
              </c:ext>
            </c:extLst>
          </c:dPt>
          <c:dPt>
            <c:idx val="1"/>
            <c:bubble3D val="0"/>
            <c:spPr>
              <a:solidFill>
                <a:srgbClr val="00D1D1"/>
              </a:solidFill>
              <a:ln w="19050">
                <a:noFill/>
              </a:ln>
              <a:effectLst/>
            </c:spPr>
            <c:extLst>
              <c:ext xmlns:c16="http://schemas.microsoft.com/office/drawing/2014/chart" uri="{C3380CC4-5D6E-409C-BE32-E72D297353CC}">
                <c16:uniqueId val="{00000004-4C36-4FD4-BEC6-AC0745608DC2}"/>
              </c:ext>
            </c:extLst>
          </c:dPt>
          <c:dPt>
            <c:idx val="2"/>
            <c:bubble3D val="0"/>
            <c:spPr>
              <a:solidFill>
                <a:srgbClr val="FF6326"/>
              </a:solidFill>
              <a:ln w="19050">
                <a:noFill/>
              </a:ln>
              <a:effectLst/>
            </c:spPr>
            <c:extLst>
              <c:ext xmlns:c16="http://schemas.microsoft.com/office/drawing/2014/chart" uri="{C3380CC4-5D6E-409C-BE32-E72D297353CC}">
                <c16:uniqueId val="{00000003-4C36-4FD4-BEC6-AC0745608DC2}"/>
              </c:ext>
            </c:extLst>
          </c:dPt>
          <c:dPt>
            <c:idx val="3"/>
            <c:bubble3D val="0"/>
            <c:spPr>
              <a:solidFill>
                <a:srgbClr val="00C27A"/>
              </a:solidFill>
              <a:ln w="19050">
                <a:noFill/>
              </a:ln>
              <a:effectLst/>
            </c:spPr>
            <c:extLst>
              <c:ext xmlns:c16="http://schemas.microsoft.com/office/drawing/2014/chart" uri="{C3380CC4-5D6E-409C-BE32-E72D297353CC}">
                <c16:uniqueId val="{00000002-4C36-4FD4-BEC6-AC0745608DC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4C36-4FD4-BEC6-AC0745608DC2}"/>
            </c:ext>
          </c:extLst>
        </c:ser>
        <c:dLbls>
          <c:showLegendKey val="0"/>
          <c:showVal val="0"/>
          <c:showCatName val="0"/>
          <c:showSerName val="0"/>
          <c:showPercent val="0"/>
          <c:showBubbleSize val="0"/>
          <c:showLeaderLines val="1"/>
        </c:dLbls>
        <c:firstSliceAng val="0"/>
        <c:holeSize val="66"/>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zero"/>
    <c:showDLblsOverMax val="0"/>
  </c:chart>
  <c:spPr>
    <a:noFill/>
    <a:ln>
      <a:noFill/>
    </a:ln>
    <a:effectLst/>
  </c:spPr>
  <c:txPr>
    <a:bodyPr/>
    <a:lstStyle/>
    <a:p>
      <a:pPr>
        <a:defRPr/>
      </a:pPr>
      <a:endParaRPr lang="fr-F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42891911876699"/>
          <c:y val="3.7319762510602233E-2"/>
          <c:w val="0.54478865758310224"/>
          <c:h val="0.74417476441399055"/>
        </c:manualLayout>
      </c:layout>
      <c:pie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c:ext xmlns:c16="http://schemas.microsoft.com/office/drawing/2014/chart" uri="{C3380CC4-5D6E-409C-BE32-E72D297353CC}">
                <c16:uniqueId val="{00000001-F84F-482A-AD01-0014661C825B}"/>
              </c:ext>
            </c:extLst>
          </c:dPt>
          <c:dPt>
            <c:idx val="1"/>
            <c:bubble3D val="0"/>
            <c:explosion val="10"/>
            <c:spPr>
              <a:solidFill>
                <a:srgbClr val="00D1D1"/>
              </a:solidFill>
              <a:ln w="19050">
                <a:noFill/>
              </a:ln>
              <a:effectLst/>
            </c:spPr>
            <c:extLst>
              <c:ext xmlns:c16="http://schemas.microsoft.com/office/drawing/2014/chart" uri="{C3380CC4-5D6E-409C-BE32-E72D297353CC}">
                <c16:uniqueId val="{00000003-F84F-482A-AD01-0014661C825B}"/>
              </c:ext>
            </c:extLst>
          </c:dPt>
          <c:dPt>
            <c:idx val="2"/>
            <c:bubble3D val="0"/>
            <c:spPr>
              <a:solidFill>
                <a:srgbClr val="FF6326"/>
              </a:solidFill>
              <a:ln w="19050">
                <a:noFill/>
              </a:ln>
              <a:effectLst/>
            </c:spPr>
            <c:extLst>
              <c:ext xmlns:c16="http://schemas.microsoft.com/office/drawing/2014/chart" uri="{C3380CC4-5D6E-409C-BE32-E72D297353CC}">
                <c16:uniqueId val="{00000002-F84F-482A-AD01-0014661C825B}"/>
              </c:ext>
            </c:extLst>
          </c:dPt>
          <c:dPt>
            <c:idx val="3"/>
            <c:bubble3D val="0"/>
            <c:spPr>
              <a:solidFill>
                <a:schemeClr val="accent4"/>
              </a:solidFill>
              <a:ln w="19050">
                <a:noFill/>
              </a:ln>
              <a:effectLst/>
            </c:spPr>
            <c:extLst>
              <c:ext xmlns:c16="http://schemas.microsoft.com/office/drawing/2014/chart" uri="{C3380CC4-5D6E-409C-BE32-E72D297353CC}">
                <c16:uniqueId val="{00000007-312B-4E70-8A72-7DDE6AB0068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fr-FR"/>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F84F-482A-AD01-0014661C825B}"/>
            </c:ext>
          </c:extLst>
        </c:ser>
        <c:dLbls>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zero"/>
    <c:showDLblsOverMax val="0"/>
  </c:chart>
  <c:spPr>
    <a:noFill/>
    <a:ln>
      <a:noFill/>
    </a:ln>
    <a:effectLst/>
  </c:spPr>
  <c:txPr>
    <a:bodyPr/>
    <a:lstStyle/>
    <a:p>
      <a:pPr>
        <a:defRPr/>
      </a:pPr>
      <a:endParaRPr lang="fr-F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58595083671724"/>
          <c:y val="0.14285472235829311"/>
          <c:w val="0.3365429638901124"/>
          <c:h val="0.79418345653278233"/>
        </c:manualLayout>
      </c:layout>
      <c:doughnutChart>
        <c:varyColors val="1"/>
        <c:ser>
          <c:idx val="0"/>
          <c:order val="0"/>
          <c:dPt>
            <c:idx val="0"/>
            <c:bubble3D val="0"/>
            <c:spPr>
              <a:solidFill>
                <a:srgbClr val="00C27A"/>
              </a:solidFill>
            </c:spPr>
            <c:extLst>
              <c:ext xmlns:c16="http://schemas.microsoft.com/office/drawing/2014/chart" uri="{C3380CC4-5D6E-409C-BE32-E72D297353CC}">
                <c16:uniqueId val="{00000001-8CD7-4AF5-BDCD-77DDEE162B5C}"/>
              </c:ext>
            </c:extLst>
          </c:dPt>
          <c:dPt>
            <c:idx val="1"/>
            <c:bubble3D val="0"/>
            <c:spPr>
              <a:solidFill>
                <a:srgbClr val="C7FF17"/>
              </a:solidFill>
            </c:spPr>
            <c:extLst>
              <c:ext xmlns:c16="http://schemas.microsoft.com/office/drawing/2014/chart" uri="{C3380CC4-5D6E-409C-BE32-E72D297353CC}">
                <c16:uniqueId val="{00000003-8CD7-4AF5-BDCD-77DDEE162B5C}"/>
              </c:ext>
            </c:extLst>
          </c:dPt>
          <c:dPt>
            <c:idx val="2"/>
            <c:bubble3D val="0"/>
            <c:spPr>
              <a:solidFill>
                <a:srgbClr val="CC2980"/>
              </a:solidFill>
            </c:spPr>
            <c:extLst>
              <c:ext xmlns:c16="http://schemas.microsoft.com/office/drawing/2014/chart" uri="{C3380CC4-5D6E-409C-BE32-E72D297353CC}">
                <c16:uniqueId val="{00000005-8CD7-4AF5-BDCD-77DDEE162B5C}"/>
              </c:ext>
            </c:extLst>
          </c:dPt>
          <c:dPt>
            <c:idx val="3"/>
            <c:bubble3D val="0"/>
            <c:spPr>
              <a:solidFill>
                <a:srgbClr val="FF6326"/>
              </a:solidFill>
            </c:spPr>
            <c:extLst>
              <c:ext xmlns:c16="http://schemas.microsoft.com/office/drawing/2014/chart" uri="{C3380CC4-5D6E-409C-BE32-E72D297353CC}">
                <c16:uniqueId val="{00000007-8CD7-4AF5-BDCD-77DDEE162B5C}"/>
              </c:ext>
            </c:extLst>
          </c:dPt>
          <c:dPt>
            <c:idx val="4"/>
            <c:bubble3D val="0"/>
            <c:spPr>
              <a:solidFill>
                <a:srgbClr val="14596B"/>
              </a:solidFill>
            </c:spPr>
            <c:extLst>
              <c:ext xmlns:c16="http://schemas.microsoft.com/office/drawing/2014/chart" uri="{C3380CC4-5D6E-409C-BE32-E72D297353CC}">
                <c16:uniqueId val="{00000009-8CD7-4AF5-BDCD-77DDEE162B5C}"/>
              </c:ext>
            </c:extLst>
          </c:dPt>
          <c:dPt>
            <c:idx val="5"/>
            <c:bubble3D val="0"/>
            <c:spPr>
              <a:solidFill>
                <a:srgbClr val="00D1D1"/>
              </a:solidFill>
            </c:spPr>
            <c:extLst>
              <c:ext xmlns:c16="http://schemas.microsoft.com/office/drawing/2014/chart" uri="{C3380CC4-5D6E-409C-BE32-E72D297353CC}">
                <c16:uniqueId val="{0000000B-8CD7-4AF5-BDCD-77DDEE162B5C}"/>
              </c:ext>
            </c:extLst>
          </c:dPt>
          <c:dLbls>
            <c:dLbl>
              <c:idx val="0"/>
              <c:layout>
                <c:manualLayout>
                  <c:x val="6.1200337971452176E-2"/>
                  <c:y val="-3.71551730168613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D7-4AF5-BDCD-77DDEE162B5C}"/>
                </c:ext>
              </c:extLst>
            </c:dLbl>
            <c:dLbl>
              <c:idx val="1"/>
              <c:layout>
                <c:manualLayout>
                  <c:x val="6.4667961025419746E-2"/>
                  <c:y val="1.51941053879405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D7-4AF5-BDCD-77DDEE162B5C}"/>
                </c:ext>
              </c:extLst>
            </c:dLbl>
            <c:dLbl>
              <c:idx val="2"/>
              <c:layout>
                <c:manualLayout>
                  <c:x val="-3.830277208499621E-2"/>
                  <c:y val="6.96070830993519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CD7-4AF5-BDCD-77DDEE162B5C}"/>
                </c:ext>
              </c:extLst>
            </c:dLbl>
            <c:dLbl>
              <c:idx val="3"/>
              <c:layout>
                <c:manualLayout>
                  <c:x val="-6.6210045662100356E-2"/>
                  <c:y val="2.8268546742312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CD7-4AF5-BDCD-77DDEE162B5C}"/>
                </c:ext>
              </c:extLst>
            </c:dLbl>
            <c:dLbl>
              <c:idx val="4"/>
              <c:layout>
                <c:manualLayout>
                  <c:x val="-6.3926940639269403E-2"/>
                  <c:y val="-3.23069105626427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CD7-4AF5-BDCD-77DDEE162B5C}"/>
                </c:ext>
              </c:extLst>
            </c:dLbl>
            <c:dLbl>
              <c:idx val="5"/>
              <c:layout>
                <c:manualLayout>
                  <c:x val="-1.3025573725559127E-2"/>
                  <c:y val="-0.1049508555080250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CD7-4AF5-BDCD-77DDEE162B5C}"/>
                </c:ext>
              </c:extLst>
            </c:dLbl>
            <c:spPr>
              <a:noFill/>
              <a:ln>
                <a:noFill/>
              </a:ln>
              <a:effectLst/>
            </c:spPr>
            <c:txPr>
              <a:bodyPr/>
              <a:lstStyle/>
              <a:p>
                <a:pPr>
                  <a:defRPr sz="1200" b="0">
                    <a:solidFill>
                      <a:srgbClr val="2B0A3D"/>
                    </a:solidFill>
                    <a:latin typeface="Verdana" panose="020B0604030504040204" pitchFamily="34" charset="0"/>
                    <a:ea typeface="Verdana" panose="020B0604030504040204" pitchFamily="34" charset="0"/>
                    <a:cs typeface="Verdana" panose="020B060403050404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1:$F$1</c:f>
              <c:strCache>
                <c:ptCount val="6"/>
                <c:pt idx="0">
                  <c:v>North America</c:v>
                </c:pt>
                <c:pt idx="1">
                  <c:v>UK &amp; Ireland</c:v>
                </c:pt>
                <c:pt idx="2">
                  <c:v>France</c:v>
                </c:pt>
                <c:pt idx="3">
                  <c:v>Benelux</c:v>
                </c:pt>
                <c:pt idx="4">
                  <c:v>Rest of Europe</c:v>
                </c:pt>
                <c:pt idx="5">
                  <c:v>APAC &amp; Latam</c:v>
                </c:pt>
              </c:strCache>
            </c:strRef>
          </c:cat>
          <c:val>
            <c:numRef>
              <c:f>Sheet1!$A$2:$F$2</c:f>
              <c:numCache>
                <c:formatCode>0%</c:formatCode>
                <c:ptCount val="6"/>
                <c:pt idx="0">
                  <c:v>0.21000000000000008</c:v>
                </c:pt>
                <c:pt idx="1">
                  <c:v>0.21000000000000008</c:v>
                </c:pt>
                <c:pt idx="2">
                  <c:v>0.22</c:v>
                </c:pt>
                <c:pt idx="3">
                  <c:v>0.1</c:v>
                </c:pt>
                <c:pt idx="4">
                  <c:v>0.18000000000000008</c:v>
                </c:pt>
                <c:pt idx="5">
                  <c:v>8.0000000000000043E-2</c:v>
                </c:pt>
              </c:numCache>
            </c:numRef>
          </c:val>
          <c:extLst>
            <c:ext xmlns:c16="http://schemas.microsoft.com/office/drawing/2014/chart" uri="{C3380CC4-5D6E-409C-BE32-E72D297353CC}">
              <c16:uniqueId val="{0000000C-8CD7-4AF5-BDCD-77DDEE162B5C}"/>
            </c:ext>
          </c:extLst>
        </c:ser>
        <c:dLbls>
          <c:showLegendKey val="0"/>
          <c:showVal val="0"/>
          <c:showCatName val="0"/>
          <c:showSerName val="0"/>
          <c:showPercent val="0"/>
          <c:showBubbleSize val="0"/>
          <c:showLeaderLines val="0"/>
        </c:dLbls>
        <c:firstSliceAng val="0"/>
        <c:holeSize val="74"/>
      </c:doughnutChart>
    </c:plotArea>
    <c:legend>
      <c:legendPos val="b"/>
      <c:layout>
        <c:manualLayout>
          <c:xMode val="edge"/>
          <c:yMode val="edge"/>
          <c:x val="0.65921126328364965"/>
          <c:y val="0.24341547663737201"/>
          <c:w val="0.26222216229820616"/>
          <c:h val="0.57475679192378104"/>
        </c:manualLayout>
      </c:layout>
      <c:overlay val="0"/>
      <c:txPr>
        <a:bodyPr/>
        <a:lstStyle/>
        <a:p>
          <a:pPr>
            <a:defRPr sz="1200">
              <a:latin typeface="Verdana" panose="020B0604030504040204" pitchFamily="34" charset="0"/>
              <a:ea typeface="Verdana" panose="020B0604030504040204" pitchFamily="34" charset="0"/>
              <a:cs typeface="Verdana" panose="020B0604030504040204" pitchFamily="34" charset="0"/>
            </a:defRPr>
          </a:pPr>
          <a:endParaRPr lang="fr-FR"/>
        </a:p>
      </c:txPr>
    </c:legend>
    <c:plotVisOnly val="1"/>
    <c:dispBlanksAs val="zero"/>
    <c:showDLblsOverMax val="0"/>
  </c:chart>
  <c:txPr>
    <a:bodyPr/>
    <a:lstStyle/>
    <a:p>
      <a:pPr>
        <a:defRPr sz="1800"/>
      </a:pPr>
      <a:endParaRPr lang="fr-FR"/>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DF67F0-A526-43B1-97B6-407776D45B13}" type="doc">
      <dgm:prSet loTypeId="urn:microsoft.com/office/officeart/2005/8/layout/chevron1" loCatId="process" qsTypeId="urn:microsoft.com/office/officeart/2005/8/quickstyle/simple1" qsCatId="simple" csTypeId="urn:microsoft.com/office/officeart/2005/8/colors/accent1_2" csCatId="accent1" phldr="1"/>
      <dgm:spPr/>
    </dgm:pt>
    <dgm:pt modelId="{85CAE54F-C913-4571-9706-C9930335C32E}">
      <dgm:prSet phldrT="[Text]" custT="1"/>
      <dgm:spPr>
        <a:solidFill>
          <a:srgbClr val="12ABDB"/>
        </a:solidFill>
        <a:ln w="57150">
          <a:solidFill>
            <a:srgbClr val="E6E7E7"/>
          </a:solidFill>
        </a:ln>
      </dgm:spPr>
      <dgm:t>
        <a:bodyPr/>
        <a:lstStyle/>
        <a:p>
          <a:r>
            <a:rPr lang="en-US" sz="1600" b="1" dirty="0"/>
            <a:t>Text</a:t>
          </a:r>
        </a:p>
      </dgm:t>
    </dgm:pt>
    <dgm:pt modelId="{EB516B1B-6121-4389-A83D-F7F6092084D3}" type="parTrans" cxnId="{BBAE118B-82A5-499F-B362-74876FA9C7CE}">
      <dgm:prSet/>
      <dgm:spPr/>
      <dgm:t>
        <a:bodyPr/>
        <a:lstStyle/>
        <a:p>
          <a:endParaRPr lang="en-US"/>
        </a:p>
      </dgm:t>
    </dgm:pt>
    <dgm:pt modelId="{D0C867EB-F811-4643-B41F-B745ECC80B6C}" type="sibTrans" cxnId="{BBAE118B-82A5-499F-B362-74876FA9C7CE}">
      <dgm:prSet/>
      <dgm:spPr/>
      <dgm:t>
        <a:bodyPr/>
        <a:lstStyle/>
        <a:p>
          <a:endParaRPr lang="en-US"/>
        </a:p>
      </dgm:t>
    </dgm:pt>
    <dgm:pt modelId="{810FCF35-59A0-4E81-8C7A-A4B23D45DF0D}">
      <dgm:prSet phldrT="[Text]" custT="1"/>
      <dgm:spPr>
        <a:ln w="57150">
          <a:solidFill>
            <a:srgbClr val="E6E7E7"/>
          </a:solidFill>
        </a:ln>
      </dgm:spPr>
      <dgm:t>
        <a:bodyPr/>
        <a:lstStyle/>
        <a:p>
          <a:r>
            <a:rPr lang="en-US" sz="1600" b="1" dirty="0"/>
            <a:t>Text</a:t>
          </a:r>
        </a:p>
      </dgm:t>
    </dgm:pt>
    <dgm:pt modelId="{6BECCEC2-80F7-48CE-B6EF-F7DB702304A5}" type="parTrans" cxnId="{9E696252-CC77-4C6F-B289-E06A7FA47036}">
      <dgm:prSet/>
      <dgm:spPr/>
      <dgm:t>
        <a:bodyPr/>
        <a:lstStyle/>
        <a:p>
          <a:endParaRPr lang="en-US"/>
        </a:p>
      </dgm:t>
    </dgm:pt>
    <dgm:pt modelId="{3DC54720-E3D9-4A8D-A0C6-803A212DC7E8}" type="sibTrans" cxnId="{9E696252-CC77-4C6F-B289-E06A7FA47036}">
      <dgm:prSet/>
      <dgm:spPr/>
      <dgm:t>
        <a:bodyPr/>
        <a:lstStyle/>
        <a:p>
          <a:endParaRPr lang="en-US"/>
        </a:p>
      </dgm:t>
    </dgm:pt>
    <dgm:pt modelId="{DC952EC8-E573-44C8-9CD8-D1233DEF8802}">
      <dgm:prSet phldrT="[Text]" custT="1"/>
      <dgm:spPr>
        <a:solidFill>
          <a:srgbClr val="2C004B"/>
        </a:solidFill>
        <a:ln w="57150">
          <a:solidFill>
            <a:srgbClr val="E6E7E7"/>
          </a:solidFill>
        </a:ln>
      </dgm:spPr>
      <dgm:t>
        <a:bodyPr/>
        <a:lstStyle/>
        <a:p>
          <a:r>
            <a:rPr lang="en-US" sz="1600" b="1" dirty="0"/>
            <a:t>Text</a:t>
          </a:r>
        </a:p>
      </dgm:t>
    </dgm:pt>
    <dgm:pt modelId="{666EDF3B-5DC9-4995-8BFF-491F3D5BD6B8}" type="parTrans" cxnId="{B9A430BE-8DF0-48AF-901C-42916C945F15}">
      <dgm:prSet/>
      <dgm:spPr/>
      <dgm:t>
        <a:bodyPr/>
        <a:lstStyle/>
        <a:p>
          <a:endParaRPr lang="en-US"/>
        </a:p>
      </dgm:t>
    </dgm:pt>
    <dgm:pt modelId="{DC6D4C1D-DD93-4C55-8FE4-6489B3423EBA}" type="sibTrans" cxnId="{B9A430BE-8DF0-48AF-901C-42916C945F15}">
      <dgm:prSet/>
      <dgm:spPr/>
      <dgm:t>
        <a:bodyPr/>
        <a:lstStyle/>
        <a:p>
          <a:endParaRPr lang="en-US"/>
        </a:p>
      </dgm:t>
    </dgm:pt>
    <dgm:pt modelId="{B30FCBA3-0541-455F-84E1-1E2D01C9BDAB}" type="pres">
      <dgm:prSet presAssocID="{69DF67F0-A526-43B1-97B6-407776D45B13}" presName="Name0" presStyleCnt="0">
        <dgm:presLayoutVars>
          <dgm:dir/>
          <dgm:animLvl val="lvl"/>
          <dgm:resizeHandles val="exact"/>
        </dgm:presLayoutVars>
      </dgm:prSet>
      <dgm:spPr/>
    </dgm:pt>
    <dgm:pt modelId="{F42D2B1D-6782-4926-8B4D-91715D6319D8}" type="pres">
      <dgm:prSet presAssocID="{85CAE54F-C913-4571-9706-C9930335C32E}" presName="parTxOnly" presStyleLbl="node1" presStyleIdx="0" presStyleCnt="3">
        <dgm:presLayoutVars>
          <dgm:chMax val="0"/>
          <dgm:chPref val="0"/>
          <dgm:bulletEnabled val="1"/>
        </dgm:presLayoutVars>
      </dgm:prSet>
      <dgm:spPr/>
    </dgm:pt>
    <dgm:pt modelId="{11975B8E-6271-437F-B560-2A953DA196BC}" type="pres">
      <dgm:prSet presAssocID="{D0C867EB-F811-4643-B41F-B745ECC80B6C}" presName="parTxOnlySpace" presStyleCnt="0"/>
      <dgm:spPr/>
    </dgm:pt>
    <dgm:pt modelId="{88AEDFAE-AC01-4D9E-99B6-37B49A0545A2}" type="pres">
      <dgm:prSet presAssocID="{810FCF35-59A0-4E81-8C7A-A4B23D45DF0D}" presName="parTxOnly" presStyleLbl="node1" presStyleIdx="1" presStyleCnt="3">
        <dgm:presLayoutVars>
          <dgm:chMax val="0"/>
          <dgm:chPref val="0"/>
          <dgm:bulletEnabled val="1"/>
        </dgm:presLayoutVars>
      </dgm:prSet>
      <dgm:spPr/>
    </dgm:pt>
    <dgm:pt modelId="{C804B756-E047-4785-B8DA-DAE96F276AFA}" type="pres">
      <dgm:prSet presAssocID="{3DC54720-E3D9-4A8D-A0C6-803A212DC7E8}" presName="parTxOnlySpace" presStyleCnt="0"/>
      <dgm:spPr/>
    </dgm:pt>
    <dgm:pt modelId="{8E7ECE7A-1B71-49BA-A774-E8E037F3F7EC}" type="pres">
      <dgm:prSet presAssocID="{DC952EC8-E573-44C8-9CD8-D1233DEF8802}" presName="parTxOnly" presStyleLbl="node1" presStyleIdx="2" presStyleCnt="3">
        <dgm:presLayoutVars>
          <dgm:chMax val="0"/>
          <dgm:chPref val="0"/>
          <dgm:bulletEnabled val="1"/>
        </dgm:presLayoutVars>
      </dgm:prSet>
      <dgm:spPr/>
    </dgm:pt>
  </dgm:ptLst>
  <dgm:cxnLst>
    <dgm:cxn modelId="{9E696252-CC77-4C6F-B289-E06A7FA47036}" srcId="{69DF67F0-A526-43B1-97B6-407776D45B13}" destId="{810FCF35-59A0-4E81-8C7A-A4B23D45DF0D}" srcOrd="1" destOrd="0" parTransId="{6BECCEC2-80F7-48CE-B6EF-F7DB702304A5}" sibTransId="{3DC54720-E3D9-4A8D-A0C6-803A212DC7E8}"/>
    <dgm:cxn modelId="{662B0A53-DA22-4ECB-AA63-D094E84F1CF7}" type="presOf" srcId="{DC952EC8-E573-44C8-9CD8-D1233DEF8802}" destId="{8E7ECE7A-1B71-49BA-A774-E8E037F3F7EC}" srcOrd="0" destOrd="0" presId="urn:microsoft.com/office/officeart/2005/8/layout/chevron1"/>
    <dgm:cxn modelId="{BBAE118B-82A5-499F-B362-74876FA9C7CE}" srcId="{69DF67F0-A526-43B1-97B6-407776D45B13}" destId="{85CAE54F-C913-4571-9706-C9930335C32E}" srcOrd="0" destOrd="0" parTransId="{EB516B1B-6121-4389-A83D-F7F6092084D3}" sibTransId="{D0C867EB-F811-4643-B41F-B745ECC80B6C}"/>
    <dgm:cxn modelId="{B9A430BE-8DF0-48AF-901C-42916C945F15}" srcId="{69DF67F0-A526-43B1-97B6-407776D45B13}" destId="{DC952EC8-E573-44C8-9CD8-D1233DEF8802}" srcOrd="2" destOrd="0" parTransId="{666EDF3B-5DC9-4995-8BFF-491F3D5BD6B8}" sibTransId="{DC6D4C1D-DD93-4C55-8FE4-6489B3423EBA}"/>
    <dgm:cxn modelId="{42E116E8-96FB-4839-BC70-600DDCA8DE5D}" type="presOf" srcId="{85CAE54F-C913-4571-9706-C9930335C32E}" destId="{F42D2B1D-6782-4926-8B4D-91715D6319D8}" srcOrd="0" destOrd="0" presId="urn:microsoft.com/office/officeart/2005/8/layout/chevron1"/>
    <dgm:cxn modelId="{6D3C8DEF-8A3D-4361-88C7-6D81A5CD9816}" type="presOf" srcId="{810FCF35-59A0-4E81-8C7A-A4B23D45DF0D}" destId="{88AEDFAE-AC01-4D9E-99B6-37B49A0545A2}" srcOrd="0" destOrd="0" presId="urn:microsoft.com/office/officeart/2005/8/layout/chevron1"/>
    <dgm:cxn modelId="{2F3ABBFC-650A-47FA-9888-8CC59BF6111D}" type="presOf" srcId="{69DF67F0-A526-43B1-97B6-407776D45B13}" destId="{B30FCBA3-0541-455F-84E1-1E2D01C9BDAB}" srcOrd="0" destOrd="0" presId="urn:microsoft.com/office/officeart/2005/8/layout/chevron1"/>
    <dgm:cxn modelId="{43B13496-099B-44E4-A8EF-1C1B59330BEB}" type="presParOf" srcId="{B30FCBA3-0541-455F-84E1-1E2D01C9BDAB}" destId="{F42D2B1D-6782-4926-8B4D-91715D6319D8}" srcOrd="0" destOrd="0" presId="urn:microsoft.com/office/officeart/2005/8/layout/chevron1"/>
    <dgm:cxn modelId="{A604DAA0-81BF-47A0-A8F4-3A577A0A734F}" type="presParOf" srcId="{B30FCBA3-0541-455F-84E1-1E2D01C9BDAB}" destId="{11975B8E-6271-437F-B560-2A953DA196BC}" srcOrd="1" destOrd="0" presId="urn:microsoft.com/office/officeart/2005/8/layout/chevron1"/>
    <dgm:cxn modelId="{7A20C53E-6D05-43C0-AA42-E52F54D1026B}" type="presParOf" srcId="{B30FCBA3-0541-455F-84E1-1E2D01C9BDAB}" destId="{88AEDFAE-AC01-4D9E-99B6-37B49A0545A2}" srcOrd="2" destOrd="0" presId="urn:microsoft.com/office/officeart/2005/8/layout/chevron1"/>
    <dgm:cxn modelId="{AA12F7E3-5CA6-477C-A84A-481C0CF332D8}" type="presParOf" srcId="{B30FCBA3-0541-455F-84E1-1E2D01C9BDAB}" destId="{C804B756-E047-4785-B8DA-DAE96F276AFA}" srcOrd="3" destOrd="0" presId="urn:microsoft.com/office/officeart/2005/8/layout/chevron1"/>
    <dgm:cxn modelId="{3741BA44-AF64-4F5E-A9F9-7F106D0D2B35}" type="presParOf" srcId="{B30FCBA3-0541-455F-84E1-1E2D01C9BDAB}" destId="{8E7ECE7A-1B71-49BA-A774-E8E037F3F7EC}"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2</a:t>
          </a:r>
        </a:p>
      </dsp:txBody>
      <dsp:txXfrm>
        <a:off x="8542029" y="75393"/>
        <a:ext cx="507243" cy="3381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2D2B1D-6782-4926-8B4D-91715D6319D8}">
      <dsp:nvSpPr>
        <dsp:cNvPr id="0" name=""/>
        <dsp:cNvSpPr/>
      </dsp:nvSpPr>
      <dsp:spPr>
        <a:xfrm>
          <a:off x="2320" y="0"/>
          <a:ext cx="2827494" cy="647700"/>
        </a:xfrm>
        <a:prstGeom prst="chevron">
          <a:avLst/>
        </a:prstGeom>
        <a:solidFill>
          <a:srgbClr val="12ABD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Text</a:t>
          </a:r>
        </a:p>
      </dsp:txBody>
      <dsp:txXfrm>
        <a:off x="326170" y="0"/>
        <a:ext cx="2179794" cy="647700"/>
      </dsp:txXfrm>
    </dsp:sp>
    <dsp:sp modelId="{88AEDFAE-AC01-4D9E-99B6-37B49A0545A2}">
      <dsp:nvSpPr>
        <dsp:cNvPr id="0" name=""/>
        <dsp:cNvSpPr/>
      </dsp:nvSpPr>
      <dsp:spPr>
        <a:xfrm>
          <a:off x="2547065" y="0"/>
          <a:ext cx="2827494" cy="647700"/>
        </a:xfrm>
        <a:prstGeom prst="chevron">
          <a:avLst/>
        </a:prstGeom>
        <a:solidFill>
          <a:schemeClr val="accent1">
            <a:hueOff val="0"/>
            <a:satOff val="0"/>
            <a:lumOff val="0"/>
            <a:alphaOff val="0"/>
          </a:schemeClr>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Text</a:t>
          </a:r>
        </a:p>
      </dsp:txBody>
      <dsp:txXfrm>
        <a:off x="2870915" y="0"/>
        <a:ext cx="2179794" cy="647700"/>
      </dsp:txXfrm>
    </dsp:sp>
    <dsp:sp modelId="{8E7ECE7A-1B71-49BA-A774-E8E037F3F7EC}">
      <dsp:nvSpPr>
        <dsp:cNvPr id="0" name=""/>
        <dsp:cNvSpPr/>
      </dsp:nvSpPr>
      <dsp:spPr>
        <a:xfrm>
          <a:off x="5091810" y="0"/>
          <a:ext cx="2827494" cy="647700"/>
        </a:xfrm>
        <a:prstGeom prst="chevron">
          <a:avLst/>
        </a:prstGeom>
        <a:solidFill>
          <a:srgbClr val="2C004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Text</a:t>
          </a:r>
        </a:p>
      </dsp:txBody>
      <dsp:txXfrm>
        <a:off x="5415660" y="0"/>
        <a:ext cx="2179794" cy="6477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17/05/2018</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N°›</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17/05/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N°›</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dirty="0"/>
          </a:p>
        </p:txBody>
      </p:sp>
    </p:spTree>
    <p:extLst>
      <p:ext uri="{BB962C8B-B14F-4D97-AF65-F5344CB8AC3E}">
        <p14:creationId xmlns:p14="http://schemas.microsoft.com/office/powerpoint/2010/main" val="1322101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1</a:t>
            </a:fld>
            <a:endParaRPr lang="pt-BR" dirty="0"/>
          </a:p>
        </p:txBody>
      </p:sp>
    </p:spTree>
    <p:extLst>
      <p:ext uri="{BB962C8B-B14F-4D97-AF65-F5344CB8AC3E}">
        <p14:creationId xmlns:p14="http://schemas.microsoft.com/office/powerpoint/2010/main" val="3082146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2</a:t>
            </a:fld>
            <a:endParaRPr lang="pt-BR" dirty="0"/>
          </a:p>
        </p:txBody>
      </p:sp>
    </p:spTree>
    <p:extLst>
      <p:ext uri="{BB962C8B-B14F-4D97-AF65-F5344CB8AC3E}">
        <p14:creationId xmlns:p14="http://schemas.microsoft.com/office/powerpoint/2010/main" val="16034248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3</a:t>
            </a:fld>
            <a:endParaRPr lang="pt-BR" dirty="0"/>
          </a:p>
        </p:txBody>
      </p:sp>
    </p:spTree>
    <p:extLst>
      <p:ext uri="{BB962C8B-B14F-4D97-AF65-F5344CB8AC3E}">
        <p14:creationId xmlns:p14="http://schemas.microsoft.com/office/powerpoint/2010/main" val="23825518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4</a:t>
            </a:fld>
            <a:endParaRPr lang="pt-BR" dirty="0"/>
          </a:p>
        </p:txBody>
      </p:sp>
    </p:spTree>
    <p:extLst>
      <p:ext uri="{BB962C8B-B14F-4D97-AF65-F5344CB8AC3E}">
        <p14:creationId xmlns:p14="http://schemas.microsoft.com/office/powerpoint/2010/main" val="14380341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5</a:t>
            </a:fld>
            <a:endParaRPr lang="pt-BR" dirty="0"/>
          </a:p>
        </p:txBody>
      </p:sp>
    </p:spTree>
    <p:extLst>
      <p:ext uri="{BB962C8B-B14F-4D97-AF65-F5344CB8AC3E}">
        <p14:creationId xmlns:p14="http://schemas.microsoft.com/office/powerpoint/2010/main" val="21225523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6</a:t>
            </a:fld>
            <a:endParaRPr lang="pt-BR" dirty="0"/>
          </a:p>
        </p:txBody>
      </p:sp>
    </p:spTree>
    <p:extLst>
      <p:ext uri="{BB962C8B-B14F-4D97-AF65-F5344CB8AC3E}">
        <p14:creationId xmlns:p14="http://schemas.microsoft.com/office/powerpoint/2010/main" val="39906209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dirty="0"/>
          </a:p>
        </p:txBody>
      </p:sp>
    </p:spTree>
    <p:extLst>
      <p:ext uri="{BB962C8B-B14F-4D97-AF65-F5344CB8AC3E}">
        <p14:creationId xmlns:p14="http://schemas.microsoft.com/office/powerpoint/2010/main" val="16592999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8</a:t>
            </a:fld>
            <a:endParaRPr lang="pt-BR" dirty="0"/>
          </a:p>
        </p:txBody>
      </p:sp>
    </p:spTree>
    <p:extLst>
      <p:ext uri="{BB962C8B-B14F-4D97-AF65-F5344CB8AC3E}">
        <p14:creationId xmlns:p14="http://schemas.microsoft.com/office/powerpoint/2010/main" val="21503624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9</a:t>
            </a:fld>
            <a:endParaRPr lang="pt-BR" dirty="0"/>
          </a:p>
        </p:txBody>
      </p:sp>
    </p:spTree>
    <p:extLst>
      <p:ext uri="{BB962C8B-B14F-4D97-AF65-F5344CB8AC3E}">
        <p14:creationId xmlns:p14="http://schemas.microsoft.com/office/powerpoint/2010/main" val="2526033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22306305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dirty="0"/>
          </a:p>
        </p:txBody>
      </p:sp>
    </p:spTree>
    <p:extLst>
      <p:ext uri="{BB962C8B-B14F-4D97-AF65-F5344CB8AC3E}">
        <p14:creationId xmlns:p14="http://schemas.microsoft.com/office/powerpoint/2010/main" val="41521062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1</a:t>
            </a:fld>
            <a:endParaRPr lang="pt-BR" dirty="0"/>
          </a:p>
        </p:txBody>
      </p:sp>
    </p:spTree>
    <p:extLst>
      <p:ext uri="{BB962C8B-B14F-4D97-AF65-F5344CB8AC3E}">
        <p14:creationId xmlns:p14="http://schemas.microsoft.com/office/powerpoint/2010/main" val="5244930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2</a:t>
            </a:fld>
            <a:endParaRPr lang="pt-BR" dirty="0"/>
          </a:p>
        </p:txBody>
      </p:sp>
    </p:spTree>
    <p:extLst>
      <p:ext uri="{BB962C8B-B14F-4D97-AF65-F5344CB8AC3E}">
        <p14:creationId xmlns:p14="http://schemas.microsoft.com/office/powerpoint/2010/main" val="31867755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3</a:t>
            </a:fld>
            <a:endParaRPr lang="pt-BR" dirty="0"/>
          </a:p>
        </p:txBody>
      </p:sp>
    </p:spTree>
    <p:extLst>
      <p:ext uri="{BB962C8B-B14F-4D97-AF65-F5344CB8AC3E}">
        <p14:creationId xmlns:p14="http://schemas.microsoft.com/office/powerpoint/2010/main" val="17621111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4</a:t>
            </a:fld>
            <a:endParaRPr lang="pt-BR" dirty="0"/>
          </a:p>
        </p:txBody>
      </p:sp>
    </p:spTree>
    <p:extLst>
      <p:ext uri="{BB962C8B-B14F-4D97-AF65-F5344CB8AC3E}">
        <p14:creationId xmlns:p14="http://schemas.microsoft.com/office/powerpoint/2010/main" val="32986570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5</a:t>
            </a:fld>
            <a:endParaRPr lang="pt-BR" dirty="0"/>
          </a:p>
        </p:txBody>
      </p:sp>
    </p:spTree>
    <p:extLst>
      <p:ext uri="{BB962C8B-B14F-4D97-AF65-F5344CB8AC3E}">
        <p14:creationId xmlns:p14="http://schemas.microsoft.com/office/powerpoint/2010/main" val="29220041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6</a:t>
            </a:fld>
            <a:endParaRPr lang="pt-BR" dirty="0"/>
          </a:p>
        </p:txBody>
      </p:sp>
    </p:spTree>
    <p:extLst>
      <p:ext uri="{BB962C8B-B14F-4D97-AF65-F5344CB8AC3E}">
        <p14:creationId xmlns:p14="http://schemas.microsoft.com/office/powerpoint/2010/main" val="4813875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2223461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8</a:t>
            </a:fld>
            <a:endParaRPr lang="pt-BR" dirty="0"/>
          </a:p>
        </p:txBody>
      </p:sp>
    </p:spTree>
    <p:extLst>
      <p:ext uri="{BB962C8B-B14F-4D97-AF65-F5344CB8AC3E}">
        <p14:creationId xmlns:p14="http://schemas.microsoft.com/office/powerpoint/2010/main" val="13662653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9</a:t>
            </a:fld>
            <a:endParaRPr lang="pt-BR" dirty="0"/>
          </a:p>
        </p:txBody>
      </p:sp>
    </p:spTree>
    <p:extLst>
      <p:ext uri="{BB962C8B-B14F-4D97-AF65-F5344CB8AC3E}">
        <p14:creationId xmlns:p14="http://schemas.microsoft.com/office/powerpoint/2010/main" val="1755833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a:t>
            </a:fld>
            <a:endParaRPr lang="pt-BR" dirty="0"/>
          </a:p>
        </p:txBody>
      </p:sp>
    </p:spTree>
    <p:extLst>
      <p:ext uri="{BB962C8B-B14F-4D97-AF65-F5344CB8AC3E}">
        <p14:creationId xmlns:p14="http://schemas.microsoft.com/office/powerpoint/2010/main" val="37634206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0</a:t>
            </a:fld>
            <a:endParaRPr lang="pt-BR" dirty="0"/>
          </a:p>
        </p:txBody>
      </p:sp>
    </p:spTree>
    <p:extLst>
      <p:ext uri="{BB962C8B-B14F-4D97-AF65-F5344CB8AC3E}">
        <p14:creationId xmlns:p14="http://schemas.microsoft.com/office/powerpoint/2010/main" val="22626027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1</a:t>
            </a:fld>
            <a:endParaRPr lang="pt-BR" dirty="0"/>
          </a:p>
        </p:txBody>
      </p:sp>
    </p:spTree>
    <p:extLst>
      <p:ext uri="{BB962C8B-B14F-4D97-AF65-F5344CB8AC3E}">
        <p14:creationId xmlns:p14="http://schemas.microsoft.com/office/powerpoint/2010/main" val="14810596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2</a:t>
            </a:fld>
            <a:endParaRPr lang="pt-BR" dirty="0"/>
          </a:p>
        </p:txBody>
      </p:sp>
    </p:spTree>
    <p:extLst>
      <p:ext uri="{BB962C8B-B14F-4D97-AF65-F5344CB8AC3E}">
        <p14:creationId xmlns:p14="http://schemas.microsoft.com/office/powerpoint/2010/main" val="414496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3</a:t>
            </a:fld>
            <a:endParaRPr lang="pt-BR" dirty="0"/>
          </a:p>
        </p:txBody>
      </p:sp>
    </p:spTree>
    <p:extLst>
      <p:ext uri="{BB962C8B-B14F-4D97-AF65-F5344CB8AC3E}">
        <p14:creationId xmlns:p14="http://schemas.microsoft.com/office/powerpoint/2010/main" val="36114505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4</a:t>
            </a:fld>
            <a:endParaRPr lang="pt-BR" dirty="0"/>
          </a:p>
        </p:txBody>
      </p:sp>
    </p:spTree>
    <p:extLst>
      <p:ext uri="{BB962C8B-B14F-4D97-AF65-F5344CB8AC3E}">
        <p14:creationId xmlns:p14="http://schemas.microsoft.com/office/powerpoint/2010/main" val="6754997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5</a:t>
            </a:fld>
            <a:endParaRPr lang="pt-BR" dirty="0"/>
          </a:p>
        </p:txBody>
      </p:sp>
    </p:spTree>
    <p:extLst>
      <p:ext uri="{BB962C8B-B14F-4D97-AF65-F5344CB8AC3E}">
        <p14:creationId xmlns:p14="http://schemas.microsoft.com/office/powerpoint/2010/main" val="42545322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6</a:t>
            </a:fld>
            <a:endParaRPr lang="pt-BR" dirty="0"/>
          </a:p>
        </p:txBody>
      </p:sp>
    </p:spTree>
    <p:extLst>
      <p:ext uri="{BB962C8B-B14F-4D97-AF65-F5344CB8AC3E}">
        <p14:creationId xmlns:p14="http://schemas.microsoft.com/office/powerpoint/2010/main" val="34823546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7</a:t>
            </a:fld>
            <a:endParaRPr lang="pt-BR" dirty="0"/>
          </a:p>
        </p:txBody>
      </p:sp>
    </p:spTree>
    <p:extLst>
      <p:ext uri="{BB962C8B-B14F-4D97-AF65-F5344CB8AC3E}">
        <p14:creationId xmlns:p14="http://schemas.microsoft.com/office/powerpoint/2010/main" val="9838777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8</a:t>
            </a:fld>
            <a:endParaRPr lang="pt-BR" dirty="0"/>
          </a:p>
        </p:txBody>
      </p:sp>
    </p:spTree>
    <p:extLst>
      <p:ext uri="{BB962C8B-B14F-4D97-AF65-F5344CB8AC3E}">
        <p14:creationId xmlns:p14="http://schemas.microsoft.com/office/powerpoint/2010/main" val="24013958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9</a:t>
            </a:fld>
            <a:endParaRPr lang="pt-BR" dirty="0"/>
          </a:p>
        </p:txBody>
      </p:sp>
    </p:spTree>
    <p:extLst>
      <p:ext uri="{BB962C8B-B14F-4D97-AF65-F5344CB8AC3E}">
        <p14:creationId xmlns:p14="http://schemas.microsoft.com/office/powerpoint/2010/main" val="27215165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a:t>
            </a:fld>
            <a:endParaRPr lang="pt-BR" dirty="0"/>
          </a:p>
        </p:txBody>
      </p:sp>
    </p:spTree>
    <p:extLst>
      <p:ext uri="{BB962C8B-B14F-4D97-AF65-F5344CB8AC3E}">
        <p14:creationId xmlns:p14="http://schemas.microsoft.com/office/powerpoint/2010/main" val="26968827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0</a:t>
            </a:fld>
            <a:endParaRPr lang="pt-BR" dirty="0"/>
          </a:p>
        </p:txBody>
      </p:sp>
    </p:spTree>
    <p:extLst>
      <p:ext uri="{BB962C8B-B14F-4D97-AF65-F5344CB8AC3E}">
        <p14:creationId xmlns:p14="http://schemas.microsoft.com/office/powerpoint/2010/main" val="30848586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1</a:t>
            </a:fld>
            <a:endParaRPr lang="pt-BR" dirty="0"/>
          </a:p>
        </p:txBody>
      </p:sp>
    </p:spTree>
    <p:extLst>
      <p:ext uri="{BB962C8B-B14F-4D97-AF65-F5344CB8AC3E}">
        <p14:creationId xmlns:p14="http://schemas.microsoft.com/office/powerpoint/2010/main" val="35518830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2</a:t>
            </a:fld>
            <a:endParaRPr lang="pt-BR" dirty="0"/>
          </a:p>
        </p:txBody>
      </p:sp>
    </p:spTree>
    <p:extLst>
      <p:ext uri="{BB962C8B-B14F-4D97-AF65-F5344CB8AC3E}">
        <p14:creationId xmlns:p14="http://schemas.microsoft.com/office/powerpoint/2010/main" val="53603316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3</a:t>
            </a:fld>
            <a:endParaRPr lang="pt-BR" dirty="0"/>
          </a:p>
        </p:txBody>
      </p:sp>
    </p:spTree>
    <p:extLst>
      <p:ext uri="{BB962C8B-B14F-4D97-AF65-F5344CB8AC3E}">
        <p14:creationId xmlns:p14="http://schemas.microsoft.com/office/powerpoint/2010/main" val="36960213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44</a:t>
            </a:fld>
            <a:endParaRPr lang="pt-BR"/>
          </a:p>
        </p:txBody>
      </p:sp>
    </p:spTree>
    <p:extLst>
      <p:ext uri="{BB962C8B-B14F-4D97-AF65-F5344CB8AC3E}">
        <p14:creationId xmlns:p14="http://schemas.microsoft.com/office/powerpoint/2010/main" val="320167379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5</a:t>
            </a:fld>
            <a:endParaRPr lang="pt-BR" dirty="0"/>
          </a:p>
        </p:txBody>
      </p:sp>
    </p:spTree>
    <p:extLst>
      <p:ext uri="{BB962C8B-B14F-4D97-AF65-F5344CB8AC3E}">
        <p14:creationId xmlns:p14="http://schemas.microsoft.com/office/powerpoint/2010/main" val="29887392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8</a:t>
            </a:fld>
            <a:endParaRPr lang="pt-BR" dirty="0"/>
          </a:p>
        </p:txBody>
      </p:sp>
    </p:spTree>
    <p:extLst>
      <p:ext uri="{BB962C8B-B14F-4D97-AF65-F5344CB8AC3E}">
        <p14:creationId xmlns:p14="http://schemas.microsoft.com/office/powerpoint/2010/main" val="32339844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3</a:t>
            </a:fld>
            <a:endParaRPr lang="pt-BR" dirty="0"/>
          </a:p>
        </p:txBody>
      </p:sp>
    </p:spTree>
    <p:extLst>
      <p:ext uri="{BB962C8B-B14F-4D97-AF65-F5344CB8AC3E}">
        <p14:creationId xmlns:p14="http://schemas.microsoft.com/office/powerpoint/2010/main" val="32502747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4</a:t>
            </a:fld>
            <a:endParaRPr lang="pt-BR" dirty="0"/>
          </a:p>
        </p:txBody>
      </p:sp>
    </p:spTree>
    <p:extLst>
      <p:ext uri="{BB962C8B-B14F-4D97-AF65-F5344CB8AC3E}">
        <p14:creationId xmlns:p14="http://schemas.microsoft.com/office/powerpoint/2010/main" val="35049842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5</a:t>
            </a:fld>
            <a:endParaRPr lang="pt-BR" dirty="0"/>
          </a:p>
        </p:txBody>
      </p:sp>
    </p:spTree>
    <p:extLst>
      <p:ext uri="{BB962C8B-B14F-4D97-AF65-F5344CB8AC3E}">
        <p14:creationId xmlns:p14="http://schemas.microsoft.com/office/powerpoint/2010/main" val="31816873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a:t>
            </a:fld>
            <a:endParaRPr lang="pt-BR" dirty="0"/>
          </a:p>
        </p:txBody>
      </p:sp>
    </p:spTree>
    <p:extLst>
      <p:ext uri="{BB962C8B-B14F-4D97-AF65-F5344CB8AC3E}">
        <p14:creationId xmlns:p14="http://schemas.microsoft.com/office/powerpoint/2010/main" val="159941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a:t>
            </a:fld>
            <a:endParaRPr lang="pt-BR" dirty="0"/>
          </a:p>
        </p:txBody>
      </p:sp>
    </p:spTree>
    <p:extLst>
      <p:ext uri="{BB962C8B-B14F-4D97-AF65-F5344CB8AC3E}">
        <p14:creationId xmlns:p14="http://schemas.microsoft.com/office/powerpoint/2010/main" val="48079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a:t>
            </a:fld>
            <a:endParaRPr lang="pt-BR" dirty="0"/>
          </a:p>
        </p:txBody>
      </p:sp>
    </p:spTree>
    <p:extLst>
      <p:ext uri="{BB962C8B-B14F-4D97-AF65-F5344CB8AC3E}">
        <p14:creationId xmlns:p14="http://schemas.microsoft.com/office/powerpoint/2010/main" val="38954463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8</a:t>
            </a:fld>
            <a:endParaRPr lang="pt-BR" dirty="0"/>
          </a:p>
        </p:txBody>
      </p:sp>
    </p:spTree>
    <p:extLst>
      <p:ext uri="{BB962C8B-B14F-4D97-AF65-F5344CB8AC3E}">
        <p14:creationId xmlns:p14="http://schemas.microsoft.com/office/powerpoint/2010/main" val="14246109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dirty="0"/>
          </a:p>
        </p:txBody>
      </p:sp>
    </p:spTree>
    <p:extLst>
      <p:ext uri="{BB962C8B-B14F-4D97-AF65-F5344CB8AC3E}">
        <p14:creationId xmlns:p14="http://schemas.microsoft.com/office/powerpoint/2010/main" val="16102231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3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3.png"/><Relationship Id="rId18" Type="http://schemas.openxmlformats.org/officeDocument/2006/relationships/hyperlink" Target="http://www.facebook.com/capgemini" TargetMode="External"/><Relationship Id="rId3" Type="http://schemas.openxmlformats.org/officeDocument/2006/relationships/tags" Target="../tags/tag34.xml"/><Relationship Id="rId21" Type="http://schemas.openxmlformats.org/officeDocument/2006/relationships/hyperlink" Target="http://www.capgemini.com/" TargetMode="External"/><Relationship Id="rId7" Type="http://schemas.openxmlformats.org/officeDocument/2006/relationships/image" Target="../media/image11.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33.xml"/><Relationship Id="rId16" Type="http://schemas.openxmlformats.org/officeDocument/2006/relationships/image" Target="../media/image14.png"/><Relationship Id="rId20" Type="http://schemas.microsoft.com/office/2007/relationships/hdphoto" Target="../media/hdphoto5.wdp"/><Relationship Id="rId1" Type="http://schemas.openxmlformats.org/officeDocument/2006/relationships/tags" Target="../tags/tag3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12.png"/><Relationship Id="rId19" Type="http://schemas.openxmlformats.org/officeDocument/2006/relationships/image" Target="../media/image15.png"/><Relationship Id="rId4" Type="http://schemas.openxmlformats.org/officeDocument/2006/relationships/tags" Target="../tags/tag3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1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N°›</a:t>
            </a:fld>
            <a:endParaRPr lang="en-US" sz="800" dirty="0">
              <a:solidFill>
                <a:schemeClr val="bg1">
                  <a:lumMod val="50000"/>
                </a:schemeClr>
              </a:solidFill>
              <a:cs typeface="Arial" panose="020B0604020202020204" pitchFamily="34" charset="0"/>
            </a:endParaRP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8.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fr-FR"/>
              <a:t>Modifiez le style du titr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281836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3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160484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4">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965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6949440" y="1259376"/>
            <a:ext cx="4704974" cy="2801255"/>
          </a:xfrm>
          <a:prstGeom prst="rect">
            <a:avLst/>
          </a:prstGeom>
        </p:spPr>
        <p:txBody>
          <a:bodyPr>
            <a:noAutofit/>
          </a:bodyPr>
          <a:lstStyle>
            <a:lvl1pPr marL="0" indent="0" algn="l">
              <a:lnSpc>
                <a:spcPct val="100000"/>
              </a:lnSpc>
              <a:spcBef>
                <a:spcPts val="0"/>
              </a:spcBef>
              <a:buNone/>
              <a:defRPr sz="16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7"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949440" y="5568661"/>
            <a:ext cx="4704974" cy="333830"/>
          </a:xfrm>
          <a:prstGeom prst="rect">
            <a:avLst/>
          </a:prstGeom>
        </p:spPr>
        <p:txBody>
          <a:bodyPr>
            <a:noAutofit/>
          </a:bodyPr>
          <a:lstStyle>
            <a:lvl1pPr marL="0" indent="0" algn="ctr">
              <a:lnSpc>
                <a:spcPct val="100000"/>
              </a:lnSpc>
              <a:spcBef>
                <a:spcPts val="0"/>
              </a:spcBef>
              <a:buNone/>
              <a:defRPr sz="1500" b="1">
                <a:solidFill>
                  <a:schemeClr val="tx1"/>
                </a:solidFill>
              </a:defRPr>
            </a:lvl1pPr>
            <a:lvl2pPr algn="ctr">
              <a:defRPr/>
            </a:lvl2pPr>
            <a:lvl3pPr algn="ctr">
              <a:defRPr/>
            </a:lvl3pPr>
            <a:lvl4pPr algn="ctr">
              <a:defRPr/>
            </a:lvl4pPr>
            <a:lvl5pPr algn="ctr">
              <a:defRPr/>
            </a:lvl5pPr>
          </a:lstStyle>
          <a:p>
            <a:pPr lvl="0"/>
            <a:r>
              <a:rPr lang="en-US" dirty="0"/>
              <a:t>Insert text data</a:t>
            </a:r>
          </a:p>
        </p:txBody>
      </p:sp>
      <p:sp>
        <p:nvSpPr>
          <p:cNvPr id="28"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949440" y="4581128"/>
            <a:ext cx="4704974" cy="983347"/>
          </a:xfrm>
          <a:prstGeom prst="rect">
            <a:avLst/>
          </a:prstGeom>
        </p:spPr>
        <p:txBody>
          <a:bodyPr>
            <a:noAutofit/>
          </a:bodyPr>
          <a:lstStyle>
            <a:lvl1pPr marL="0" indent="0" algn="ctr">
              <a:lnSpc>
                <a:spcPct val="100000"/>
              </a:lnSpc>
              <a:spcBef>
                <a:spcPts val="0"/>
              </a:spcBef>
              <a:buNone/>
              <a:defRPr sz="6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1" name="Title 1"/>
          <p:cNvSpPr>
            <a:spLocks noGrp="1"/>
          </p:cNvSpPr>
          <p:nvPr>
            <p:ph type="title"/>
          </p:nvPr>
        </p:nvSpPr>
        <p:spPr>
          <a:xfrm>
            <a:off x="227349" y="0"/>
            <a:ext cx="6362137" cy="1104900"/>
          </a:xfrm>
          <a:prstGeom prst="rect">
            <a:avLst/>
          </a:prstGeom>
        </p:spPr>
        <p:txBody>
          <a:bodyPr/>
          <a:lstStyle/>
          <a:p>
            <a:r>
              <a:rPr lang="fr-FR"/>
              <a:t>Modifiez le style du titre</a:t>
            </a:r>
            <a:endParaRPr lang="en-GB" dirty="0"/>
          </a:p>
        </p:txBody>
      </p:sp>
      <p:sp>
        <p:nvSpPr>
          <p:cNvPr id="31"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N°›</a:t>
            </a:fld>
            <a:endParaRPr lang="en-US" sz="800" dirty="0">
              <a:solidFill>
                <a:schemeClr val="bg1">
                  <a:lumMod val="50000"/>
                </a:schemeClr>
              </a:solidFill>
              <a:cs typeface="Arial" panose="020B0604020202020204" pitchFamily="34" charset="0"/>
            </a:endParaRPr>
          </a:p>
        </p:txBody>
      </p:sp>
      <p:sp>
        <p:nvSpPr>
          <p:cNvPr id="34"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8. All rights reserved |</a:t>
            </a:r>
          </a:p>
        </p:txBody>
      </p:sp>
    </p:spTree>
    <p:extLst>
      <p:ext uri="{BB962C8B-B14F-4D97-AF65-F5344CB8AC3E}">
        <p14:creationId xmlns:p14="http://schemas.microsoft.com/office/powerpoint/2010/main" val="17045306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68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7548409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userDrawn="1"/>
        </p:nvSpPr>
        <p:spPr bwMode="auto">
          <a:xfrm>
            <a:off x="7189244"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6899165" cy="1104900"/>
          </a:xfrm>
          <a:prstGeom prst="rect">
            <a:avLst/>
          </a:prstGeom>
        </p:spPr>
        <p:txBody>
          <a:bodyPr/>
          <a:lstStyle/>
          <a:p>
            <a:r>
              <a:rPr lang="fr-FR"/>
              <a:t>Modifiez le style du titre</a:t>
            </a:r>
            <a:endParaRPr lang="en-GB" dirty="0"/>
          </a:p>
        </p:txBody>
      </p:sp>
      <p:sp>
        <p:nvSpPr>
          <p:cNvPr id="23"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076210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73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858867" y="1927056"/>
            <a:ext cx="9088323" cy="432048"/>
          </a:xfrm>
          <a:prstGeom prst="rect">
            <a:avLst/>
          </a:prstGeom>
        </p:spPr>
        <p:txBody>
          <a:bodyPr anchor="ctr">
            <a:noAutofit/>
          </a:bodyPr>
          <a:lstStyle>
            <a:lvl1pPr>
              <a:lnSpc>
                <a:spcPct val="100000"/>
              </a:lnSpc>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9"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0"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462490"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306971"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151452"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7995933"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id="{266B7D82-19EF-4C8A-8D75-AEA2758E426F}"/>
              </a:ext>
            </a:extLst>
          </p:cNvPr>
          <p:cNvSpPr>
            <a:spLocks noGrp="1"/>
          </p:cNvSpPr>
          <p:nvPr>
            <p:ph type="body" sz="quarter" idx="40" hasCustomPrompt="1"/>
          </p:nvPr>
        </p:nvSpPr>
        <p:spPr>
          <a:xfrm>
            <a:off x="9840416"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 name="Title 1"/>
          <p:cNvSpPr>
            <a:spLocks noGrp="1"/>
          </p:cNvSpPr>
          <p:nvPr>
            <p:ph type="title"/>
          </p:nvPr>
        </p:nvSpPr>
        <p:spPr>
          <a:xfrm>
            <a:off x="227349" y="0"/>
            <a:ext cx="10164880" cy="1104900"/>
          </a:xfrm>
          <a:prstGeom prst="rect">
            <a:avLst/>
          </a:prstGeom>
        </p:spPr>
        <p:txBody>
          <a:bodyPr/>
          <a:lstStyle/>
          <a:p>
            <a:r>
              <a:rPr lang="fr-FR"/>
              <a:t>Modifiez le style du titre</a:t>
            </a:r>
            <a:endParaRPr lang="en-GB" dirty="0"/>
          </a:p>
        </p:txBody>
      </p:sp>
      <p:sp>
        <p:nvSpPr>
          <p:cNvPr id="77840" name="Freeform 16"/>
          <p:cNvSpPr>
            <a:spLocks/>
          </p:cNvSpPr>
          <p:nvPr userDrawn="1"/>
        </p:nvSpPr>
        <p:spPr bwMode="auto">
          <a:xfrm>
            <a:off x="10448711" y="0"/>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858867"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ABE7F41D-73F9-4353-AE3F-71AB8377048D}"/>
              </a:ext>
            </a:extLst>
          </p:cNvPr>
          <p:cNvSpPr>
            <a:spLocks noGrp="1"/>
          </p:cNvSpPr>
          <p:nvPr>
            <p:ph type="body" sz="quarter" idx="41" hasCustomPrompt="1"/>
          </p:nvPr>
        </p:nvSpPr>
        <p:spPr>
          <a:xfrm>
            <a:off x="4028375"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Text Placeholder 7">
            <a:extLst>
              <a:ext uri="{FF2B5EF4-FFF2-40B4-BE49-F238E27FC236}">
                <a16:creationId xmlns:a16="http://schemas.microsoft.com/office/drawing/2014/main" id="{ABE7F41D-73F9-4353-AE3F-71AB8377048D}"/>
              </a:ext>
            </a:extLst>
          </p:cNvPr>
          <p:cNvSpPr>
            <a:spLocks noGrp="1"/>
          </p:cNvSpPr>
          <p:nvPr>
            <p:ph type="body" sz="quarter" idx="42" hasCustomPrompt="1"/>
          </p:nvPr>
        </p:nvSpPr>
        <p:spPr>
          <a:xfrm>
            <a:off x="7197884"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dirty="0">
              <a:solidFill>
                <a:schemeClr val="bg1">
                  <a:lumMod val="65000"/>
                </a:schemeClr>
              </a:solidFill>
              <a:cs typeface="Arial" panose="020B0604020202020204" pitchFamily="34" charset="0"/>
            </a:endParaRPr>
          </a:p>
        </p:txBody>
      </p:sp>
      <p:sp>
        <p:nvSpPr>
          <p:cNvPr id="36"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p>
        </p:txBody>
      </p:sp>
    </p:spTree>
    <p:extLst>
      <p:ext uri="{BB962C8B-B14F-4D97-AF65-F5344CB8AC3E}">
        <p14:creationId xmlns:p14="http://schemas.microsoft.com/office/powerpoint/2010/main" val="28848762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375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3" name="Freeform 5"/>
          <p:cNvSpPr>
            <a:spLocks/>
          </p:cNvSpPr>
          <p:nvPr userDrawn="1"/>
        </p:nvSpPr>
        <p:spPr bwMode="auto">
          <a:xfrm>
            <a:off x="0" y="0"/>
            <a:ext cx="6884760" cy="6403070"/>
          </a:xfrm>
          <a:custGeom>
            <a:avLst/>
            <a:gdLst/>
            <a:ahLst/>
            <a:cxnLst>
              <a:cxn ang="0">
                <a:pos x="0" y="1449"/>
              </a:cxn>
              <a:cxn ang="0">
                <a:pos x="0" y="0"/>
              </a:cxn>
              <a:cxn ang="0">
                <a:pos x="2215" y="0"/>
              </a:cxn>
              <a:cxn ang="0">
                <a:pos x="2229" y="14"/>
              </a:cxn>
              <a:cxn ang="0">
                <a:pos x="2486" y="284"/>
              </a:cxn>
              <a:cxn ang="0">
                <a:pos x="2694" y="575"/>
              </a:cxn>
              <a:cxn ang="0">
                <a:pos x="2806" y="855"/>
              </a:cxn>
              <a:cxn ang="0">
                <a:pos x="2824" y="979"/>
              </a:cxn>
              <a:cxn ang="0">
                <a:pos x="2824" y="1044"/>
              </a:cxn>
              <a:cxn ang="0">
                <a:pos x="2822" y="1069"/>
              </a:cxn>
              <a:cxn ang="0">
                <a:pos x="2816" y="1118"/>
              </a:cxn>
              <a:cxn ang="0">
                <a:pos x="2733" y="1340"/>
              </a:cxn>
              <a:cxn ang="0">
                <a:pos x="2652" y="1454"/>
              </a:cxn>
              <a:cxn ang="0">
                <a:pos x="2441" y="1652"/>
              </a:cxn>
              <a:cxn ang="0">
                <a:pos x="2098" y="1873"/>
              </a:cxn>
              <a:cxn ang="0">
                <a:pos x="1711" y="2073"/>
              </a:cxn>
              <a:cxn ang="0">
                <a:pos x="1382" y="2243"/>
              </a:cxn>
              <a:cxn ang="0">
                <a:pos x="1159" y="2392"/>
              </a:cxn>
              <a:cxn ang="0">
                <a:pos x="1101" y="2445"/>
              </a:cxn>
              <a:cxn ang="0">
                <a:pos x="1018" y="2588"/>
              </a:cxn>
              <a:cxn ang="0">
                <a:pos x="1011" y="2595"/>
              </a:cxn>
              <a:cxn ang="0">
                <a:pos x="983" y="2603"/>
              </a:cxn>
              <a:cxn ang="0">
                <a:pos x="878" y="2622"/>
              </a:cxn>
              <a:cxn ang="0">
                <a:pos x="863" y="2626"/>
              </a:cxn>
              <a:cxn ang="0">
                <a:pos x="783" y="2626"/>
              </a:cxn>
              <a:cxn ang="0">
                <a:pos x="769" y="2624"/>
              </a:cxn>
              <a:cxn ang="0">
                <a:pos x="711" y="2616"/>
              </a:cxn>
              <a:cxn ang="0">
                <a:pos x="445" y="2480"/>
              </a:cxn>
              <a:cxn ang="0">
                <a:pos x="299" y="2312"/>
              </a:cxn>
              <a:cxn ang="0">
                <a:pos x="149" y="2020"/>
              </a:cxn>
              <a:cxn ang="0">
                <a:pos x="48" y="1690"/>
              </a:cxn>
              <a:cxn ang="0">
                <a:pos x="4" y="1458"/>
              </a:cxn>
              <a:cxn ang="0">
                <a:pos x="0" y="1449"/>
              </a:cxn>
            </a:cxnLst>
            <a:rect l="0" t="0" r="r" b="b"/>
            <a:pathLst>
              <a:path w="2824" h="2626">
                <a:moveTo>
                  <a:pt x="0" y="1449"/>
                </a:moveTo>
                <a:cubicBezTo>
                  <a:pt x="0" y="966"/>
                  <a:pt x="0" y="483"/>
                  <a:pt x="0" y="0"/>
                </a:cubicBezTo>
                <a:cubicBezTo>
                  <a:pt x="738" y="0"/>
                  <a:pt x="1477" y="0"/>
                  <a:pt x="2215" y="0"/>
                </a:cubicBezTo>
                <a:cubicBezTo>
                  <a:pt x="2219" y="6"/>
                  <a:pt x="2224" y="9"/>
                  <a:pt x="2229" y="14"/>
                </a:cubicBezTo>
                <a:cubicBezTo>
                  <a:pt x="2319" y="100"/>
                  <a:pt x="2407" y="188"/>
                  <a:pt x="2486" y="284"/>
                </a:cubicBezTo>
                <a:cubicBezTo>
                  <a:pt x="2563" y="375"/>
                  <a:pt x="2635" y="471"/>
                  <a:pt x="2694" y="575"/>
                </a:cubicBezTo>
                <a:cubicBezTo>
                  <a:pt x="2744" y="663"/>
                  <a:pt x="2784" y="756"/>
                  <a:pt x="2806" y="855"/>
                </a:cubicBezTo>
                <a:cubicBezTo>
                  <a:pt x="2816" y="896"/>
                  <a:pt x="2821" y="937"/>
                  <a:pt x="2824" y="979"/>
                </a:cubicBezTo>
                <a:cubicBezTo>
                  <a:pt x="2824" y="1001"/>
                  <a:pt x="2824" y="1022"/>
                  <a:pt x="2824" y="1044"/>
                </a:cubicBezTo>
                <a:cubicBezTo>
                  <a:pt x="2824" y="1052"/>
                  <a:pt x="2820" y="1060"/>
                  <a:pt x="2822" y="1069"/>
                </a:cubicBezTo>
                <a:cubicBezTo>
                  <a:pt x="2821" y="1085"/>
                  <a:pt x="2819" y="1102"/>
                  <a:pt x="2816" y="1118"/>
                </a:cubicBezTo>
                <a:cubicBezTo>
                  <a:pt x="2802" y="1197"/>
                  <a:pt x="2773" y="1271"/>
                  <a:pt x="2733" y="1340"/>
                </a:cubicBezTo>
                <a:cubicBezTo>
                  <a:pt x="2709" y="1381"/>
                  <a:pt x="2682" y="1418"/>
                  <a:pt x="2652" y="1454"/>
                </a:cubicBezTo>
                <a:cubicBezTo>
                  <a:pt x="2590" y="1529"/>
                  <a:pt x="2518" y="1593"/>
                  <a:pt x="2441" y="1652"/>
                </a:cubicBezTo>
                <a:cubicBezTo>
                  <a:pt x="2333" y="1735"/>
                  <a:pt x="2217" y="1806"/>
                  <a:pt x="2098" y="1873"/>
                </a:cubicBezTo>
                <a:cubicBezTo>
                  <a:pt x="1972" y="1944"/>
                  <a:pt x="1841" y="2008"/>
                  <a:pt x="1711" y="2073"/>
                </a:cubicBezTo>
                <a:cubicBezTo>
                  <a:pt x="1600" y="2128"/>
                  <a:pt x="1490" y="2182"/>
                  <a:pt x="1382" y="2243"/>
                </a:cubicBezTo>
                <a:cubicBezTo>
                  <a:pt x="1304" y="2287"/>
                  <a:pt x="1227" y="2333"/>
                  <a:pt x="1159" y="2392"/>
                </a:cubicBezTo>
                <a:cubicBezTo>
                  <a:pt x="1139" y="2409"/>
                  <a:pt x="1119" y="2426"/>
                  <a:pt x="1101" y="2445"/>
                </a:cubicBezTo>
                <a:cubicBezTo>
                  <a:pt x="1062" y="2487"/>
                  <a:pt x="1030" y="2532"/>
                  <a:pt x="1018" y="2588"/>
                </a:cubicBezTo>
                <a:cubicBezTo>
                  <a:pt x="1017" y="2593"/>
                  <a:pt x="1014" y="2594"/>
                  <a:pt x="1011" y="2595"/>
                </a:cubicBezTo>
                <a:cubicBezTo>
                  <a:pt x="1001" y="2598"/>
                  <a:pt x="992" y="2601"/>
                  <a:pt x="983" y="2603"/>
                </a:cubicBezTo>
                <a:cubicBezTo>
                  <a:pt x="948" y="2612"/>
                  <a:pt x="913" y="2618"/>
                  <a:pt x="878" y="2622"/>
                </a:cubicBezTo>
                <a:cubicBezTo>
                  <a:pt x="873" y="2623"/>
                  <a:pt x="867" y="2621"/>
                  <a:pt x="863" y="2626"/>
                </a:cubicBezTo>
                <a:cubicBezTo>
                  <a:pt x="836" y="2626"/>
                  <a:pt x="810" y="2626"/>
                  <a:pt x="783" y="2626"/>
                </a:cubicBezTo>
                <a:cubicBezTo>
                  <a:pt x="778" y="2624"/>
                  <a:pt x="774" y="2624"/>
                  <a:pt x="769" y="2624"/>
                </a:cubicBezTo>
                <a:cubicBezTo>
                  <a:pt x="750" y="2622"/>
                  <a:pt x="730" y="2619"/>
                  <a:pt x="711" y="2616"/>
                </a:cubicBezTo>
                <a:cubicBezTo>
                  <a:pt x="609" y="2596"/>
                  <a:pt x="522" y="2548"/>
                  <a:pt x="445" y="2480"/>
                </a:cubicBezTo>
                <a:cubicBezTo>
                  <a:pt x="388" y="2431"/>
                  <a:pt x="341" y="2373"/>
                  <a:pt x="299" y="2312"/>
                </a:cubicBezTo>
                <a:cubicBezTo>
                  <a:pt x="237" y="2220"/>
                  <a:pt x="190" y="2122"/>
                  <a:pt x="149" y="2020"/>
                </a:cubicBezTo>
                <a:cubicBezTo>
                  <a:pt x="107" y="1913"/>
                  <a:pt x="74" y="1802"/>
                  <a:pt x="48" y="1690"/>
                </a:cubicBezTo>
                <a:cubicBezTo>
                  <a:pt x="30" y="1614"/>
                  <a:pt x="14" y="1536"/>
                  <a:pt x="4" y="1458"/>
                </a:cubicBezTo>
                <a:cubicBezTo>
                  <a:pt x="3" y="1455"/>
                  <a:pt x="3" y="1451"/>
                  <a:pt x="0" y="1449"/>
                </a:cubicBezTo>
                <a:close/>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8854" name="Freeform 6"/>
          <p:cNvSpPr>
            <a:spLocks/>
          </p:cNvSpPr>
          <p:nvPr userDrawn="1"/>
        </p:nvSpPr>
        <p:spPr bwMode="auto">
          <a:xfrm>
            <a:off x="10391775" y="2719388"/>
            <a:ext cx="12700"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Title 1"/>
          <p:cNvSpPr>
            <a:spLocks noGrp="1"/>
          </p:cNvSpPr>
          <p:nvPr>
            <p:ph type="title"/>
          </p:nvPr>
        </p:nvSpPr>
        <p:spPr>
          <a:xfrm>
            <a:off x="227350" y="0"/>
            <a:ext cx="5061342"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1"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24201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49546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id="{ABF327CC-2917-45F5-82B2-75A9F742E63A}"/>
              </a:ext>
            </a:extLst>
          </p:cNvPr>
          <p:cNvSpPr>
            <a:spLocks noGrp="1"/>
          </p:cNvSpPr>
          <p:nvPr>
            <p:ph type="body" sz="quarter" idx="39" hasCustomPrompt="1"/>
          </p:nvPr>
        </p:nvSpPr>
        <p:spPr>
          <a:xfrm>
            <a:off x="7896200" y="464477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id="{169195DA-4761-45A5-B68F-E20845F04F0C}"/>
              </a:ext>
            </a:extLst>
          </p:cNvPr>
          <p:cNvSpPr>
            <a:spLocks noGrp="1"/>
          </p:cNvSpPr>
          <p:nvPr>
            <p:ph type="body" sz="quarter" idx="40" hasCustomPrompt="1"/>
          </p:nvPr>
        </p:nvSpPr>
        <p:spPr>
          <a:xfrm>
            <a:off x="7896200" y="379408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ext Placeholder 7">
            <a:extLst>
              <a:ext uri="{FF2B5EF4-FFF2-40B4-BE49-F238E27FC236}">
                <a16:creationId xmlns:a16="http://schemas.microsoft.com/office/drawing/2014/main" id="{343313FC-7C2A-4C39-A322-E5328A14AED9}"/>
              </a:ext>
            </a:extLst>
          </p:cNvPr>
          <p:cNvSpPr>
            <a:spLocks noGrp="1"/>
          </p:cNvSpPr>
          <p:nvPr>
            <p:ph type="body" sz="quarter" idx="41" hasCustomPrompt="1"/>
          </p:nvPr>
        </p:nvSpPr>
        <p:spPr>
          <a:xfrm>
            <a:off x="7896200" y="294339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6" name="Text Placeholder 7">
            <a:extLst>
              <a:ext uri="{FF2B5EF4-FFF2-40B4-BE49-F238E27FC236}">
                <a16:creationId xmlns:a16="http://schemas.microsoft.com/office/drawing/2014/main" id="{C9E896F1-84B5-4E7A-BD88-FFAFED8559EB}"/>
              </a:ext>
            </a:extLst>
          </p:cNvPr>
          <p:cNvSpPr>
            <a:spLocks noGrp="1"/>
          </p:cNvSpPr>
          <p:nvPr>
            <p:ph type="body" sz="quarter" idx="42" hasCustomPrompt="1"/>
          </p:nvPr>
        </p:nvSpPr>
        <p:spPr>
          <a:xfrm>
            <a:off x="7896200" y="209270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Espace réservé du texte 2"/>
          <p:cNvSpPr>
            <a:spLocks noGrp="1"/>
          </p:cNvSpPr>
          <p:nvPr>
            <p:ph type="body" sz="quarter" idx="43"/>
          </p:nvPr>
        </p:nvSpPr>
        <p:spPr>
          <a:xfrm>
            <a:off x="227013" y="1808163"/>
            <a:ext cx="5060950"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7492866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9">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8595375" cy="1104900"/>
          </a:xfrm>
          <a:prstGeom prst="rect">
            <a:avLst/>
          </a:prstGeom>
        </p:spPr>
        <p:txBody>
          <a:bodyPr/>
          <a:lstStyle/>
          <a:p>
            <a:r>
              <a:rPr lang="fr-FR"/>
              <a:t>Modifiez le style du titre</a:t>
            </a:r>
            <a:endParaRPr lang="en-GB" dirty="0"/>
          </a:p>
        </p:txBody>
      </p:sp>
      <p:sp>
        <p:nvSpPr>
          <p:cNvPr id="3"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5"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510762" y="3878263"/>
            <a:ext cx="4169465" cy="1459050"/>
          </a:xfrm>
          <a:prstGeom prst="rect">
            <a:avLst/>
          </a:prstGeom>
        </p:spPr>
        <p:txBody>
          <a:bodyPr>
            <a:noAutofit/>
          </a:bodyPr>
          <a:lstStyle>
            <a:lvl1pPr algn="r">
              <a:lnSpc>
                <a:spcPct val="85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8"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8035327" y="2742306"/>
            <a:ext cx="3644899" cy="974725"/>
          </a:xfrm>
          <a:prstGeom prst="rect">
            <a:avLst/>
          </a:prstGeom>
        </p:spPr>
        <p:txBody>
          <a:bodyPr>
            <a:noAutofit/>
          </a:bodyPr>
          <a:lstStyle>
            <a:lvl1pPr algn="r">
              <a:lnSpc>
                <a:spcPct val="85000"/>
              </a:lnSpc>
              <a:defRPr sz="3200">
                <a:solidFill>
                  <a:schemeClr val="bg1"/>
                </a:solidFill>
              </a:defRPr>
            </a:lvl1pPr>
          </a:lstStyle>
          <a:p>
            <a:pPr lvl="0"/>
            <a:r>
              <a:rPr lang="en-US" dirty="0"/>
              <a:t>Click to add subtitle</a:t>
            </a:r>
          </a:p>
        </p:txBody>
      </p:sp>
      <p:sp>
        <p:nvSpPr>
          <p:cNvPr id="9" name="Espace réservé du texte 4"/>
          <p:cNvSpPr>
            <a:spLocks noGrp="1"/>
          </p:cNvSpPr>
          <p:nvPr>
            <p:ph type="body" sz="quarter" idx="16" hasCustomPrompt="1"/>
          </p:nvPr>
        </p:nvSpPr>
        <p:spPr>
          <a:xfrm>
            <a:off x="227349" y="1148607"/>
            <a:ext cx="8595375"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N°›</a:t>
            </a:fld>
            <a:endParaRPr lang="en-US" sz="800" dirty="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8. All rights reserved |</a:t>
            </a:r>
          </a:p>
        </p:txBody>
      </p:sp>
    </p:spTree>
    <p:extLst>
      <p:ext uri="{BB962C8B-B14F-4D97-AF65-F5344CB8AC3E}">
        <p14:creationId xmlns:p14="http://schemas.microsoft.com/office/powerpoint/2010/main" val="16457425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10">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477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9" name="Group 18"/>
          <p:cNvGrpSpPr/>
          <p:nvPr userDrawn="1"/>
        </p:nvGrpSpPr>
        <p:grpSpPr>
          <a:xfrm>
            <a:off x="5474198" y="1"/>
            <a:ext cx="6717802" cy="6879906"/>
            <a:chOff x="5301197" y="14514"/>
            <a:chExt cx="6689458" cy="6850879"/>
          </a:xfrm>
          <a:solidFill>
            <a:schemeClr val="accent4"/>
          </a:solidFill>
        </p:grpSpPr>
        <p:sp>
          <p:nvSpPr>
            <p:cNvPr id="87046"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047"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a:xfrm>
            <a:off x="227349" y="0"/>
            <a:ext cx="9991689" cy="1104900"/>
          </a:xfrm>
          <a:prstGeom prst="rect">
            <a:avLst/>
          </a:prstGeom>
        </p:spPr>
        <p:txBody>
          <a:bodyPr/>
          <a:lstStyle/>
          <a:p>
            <a:r>
              <a:rPr lang="fr-FR"/>
              <a:t>Modifiez le style du titre</a:t>
            </a:r>
            <a:endParaRPr lang="en-GB" dirty="0"/>
          </a:p>
        </p:txBody>
      </p:sp>
      <p:sp>
        <p:nvSpPr>
          <p:cNvPr id="6"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fr-FR"/>
              <a:t>Cliquez sur l'icône pour ajouter une image</a:t>
            </a:r>
            <a:endParaRPr lang="pt-PT"/>
          </a:p>
        </p:txBody>
      </p:sp>
      <p:sp>
        <p:nvSpPr>
          <p:cNvPr id="8"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N°›</a:t>
            </a:fld>
            <a:endParaRPr lang="en-US" sz="800" dirty="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8. All rights reserved |</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3"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5" name="Text Placeholder 7">
            <a:extLst>
              <a:ext uri="{FF2B5EF4-FFF2-40B4-BE49-F238E27FC236}">
                <a16:creationId xmlns:a16="http://schemas.microsoft.com/office/drawing/2014/main" id="{92D6AE9D-467E-46C0-B32B-79A9B07CDD13}"/>
              </a:ext>
            </a:extLst>
          </p:cNvPr>
          <p:cNvSpPr>
            <a:spLocks noGrp="1"/>
          </p:cNvSpPr>
          <p:nvPr>
            <p:ph type="body" sz="quarter" idx="35"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19596805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11">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80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1" name="Group 10"/>
          <p:cNvGrpSpPr/>
          <p:nvPr userDrawn="1"/>
        </p:nvGrpSpPr>
        <p:grpSpPr>
          <a:xfrm>
            <a:off x="5474198" y="1"/>
            <a:ext cx="6717802" cy="6879906"/>
            <a:chOff x="5301197" y="14514"/>
            <a:chExt cx="6689458" cy="6850879"/>
          </a:xfrm>
          <a:solidFill>
            <a:schemeClr val="accent4"/>
          </a:solidFill>
        </p:grpSpPr>
        <p:sp>
          <p:nvSpPr>
            <p:cNvPr id="12"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893124" y="4430870"/>
            <a:ext cx="4123375" cy="2046130"/>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N°›</a:t>
            </a:fld>
            <a:endParaRPr lang="en-US" sz="800" dirty="0">
              <a:solidFill>
                <a:schemeClr val="bg1"/>
              </a:solidFill>
              <a:cs typeface="Arial" panose="020B0604020202020204" pitchFamily="34" charset="0"/>
            </a:endParaRPr>
          </a:p>
        </p:txBody>
      </p:sp>
      <p:sp>
        <p:nvSpPr>
          <p:cNvPr id="9"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8. All rights reserved |</a:t>
            </a:r>
          </a:p>
        </p:txBody>
      </p:sp>
      <p:sp>
        <p:nvSpPr>
          <p:cNvPr id="2" name="Title 1"/>
          <p:cNvSpPr>
            <a:spLocks noGrp="1"/>
          </p:cNvSpPr>
          <p:nvPr>
            <p:ph type="title"/>
          </p:nvPr>
        </p:nvSpPr>
        <p:spPr>
          <a:xfrm>
            <a:off x="6688365" y="4199582"/>
            <a:ext cx="3484336" cy="2218871"/>
          </a:xfrm>
          <a:prstGeom prst="rect">
            <a:avLst/>
          </a:prstGeom>
        </p:spPr>
        <p:txBody>
          <a:bodyPr/>
          <a:lstStyle>
            <a:lvl1pPr>
              <a:defRPr>
                <a:solidFill>
                  <a:schemeClr val="bg1"/>
                </a:solidFill>
              </a:defRPr>
            </a:lvl1pPr>
          </a:lstStyle>
          <a:p>
            <a:r>
              <a:rPr lang="fr-FR"/>
              <a:t>Modifiez le style du titre</a:t>
            </a:r>
            <a:endParaRPr lang="en-GB" dirty="0"/>
          </a:p>
        </p:txBody>
      </p:sp>
    </p:spTree>
    <p:extLst>
      <p:ext uri="{BB962C8B-B14F-4D97-AF65-F5344CB8AC3E}">
        <p14:creationId xmlns:p14="http://schemas.microsoft.com/office/powerpoint/2010/main" val="30596929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682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userDrawn="1"/>
        </p:nvSpPr>
        <p:spPr bwMode="auto">
          <a:xfrm>
            <a:off x="-1" y="0"/>
            <a:ext cx="5557037"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824315"/>
            <a:ext cx="3763883" cy="1830078"/>
          </a:xfrm>
          <a:prstGeom prst="rect">
            <a:avLst/>
          </a:prstGeom>
        </p:spPr>
        <p:txBody>
          <a:bodyPr/>
          <a:lstStyle>
            <a:lvl1pPr>
              <a:defRPr>
                <a:solidFill>
                  <a:schemeClr val="accent2"/>
                </a:solidFill>
              </a:defRPr>
            </a:lvl1pPr>
          </a:lstStyle>
          <a:p>
            <a:r>
              <a:rPr lang="fr-FR"/>
              <a:t>Modifiez le style du titre</a:t>
            </a:r>
            <a:endParaRPr lang="en-GB" dirty="0"/>
          </a:p>
        </p:txBody>
      </p:sp>
      <p:sp>
        <p:nvSpPr>
          <p:cNvPr id="4"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640369"/>
            <a:ext cx="3763883" cy="23888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2351584" y="-1"/>
            <a:ext cx="12192000" cy="6857998"/>
          </a:xfrm>
          <a:prstGeom prst="rect">
            <a:avLst/>
          </a:prstGeom>
          <a:noFill/>
        </p:spPr>
        <p:txBody>
          <a:bodyPr anchor="ctr"/>
          <a:lstStyle>
            <a:lvl1pPr algn="ctr">
              <a:defRPr/>
            </a:lvl1pPr>
          </a:lstStyle>
          <a:p>
            <a:r>
              <a:rPr lang="fr-FR"/>
              <a:t>Cliquez sur l'icône pour ajouter une image</a:t>
            </a:r>
            <a:endParaRPr lang="pt-PT" dirty="0"/>
          </a:p>
        </p:txBody>
      </p:sp>
    </p:spTree>
    <p:extLst>
      <p:ext uri="{BB962C8B-B14F-4D97-AF65-F5344CB8AC3E}">
        <p14:creationId xmlns:p14="http://schemas.microsoft.com/office/powerpoint/2010/main" val="1603706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1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785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6" name="Freeform 6"/>
          <p:cNvSpPr>
            <a:spLocks/>
          </p:cNvSpPr>
          <p:nvPr userDrawn="1"/>
        </p:nvSpPr>
        <p:spPr bwMode="auto">
          <a:xfrm>
            <a:off x="0" y="2312"/>
            <a:ext cx="9360442"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50" y="824315"/>
            <a:ext cx="4500650" cy="1830078"/>
          </a:xfrm>
          <a:prstGeom prst="rect">
            <a:avLst/>
          </a:prstGeom>
        </p:spPr>
        <p:txBody>
          <a:bodyPr/>
          <a:lstStyle>
            <a:lvl1pPr>
              <a:defRPr>
                <a:solidFill>
                  <a:schemeClr val="accent2"/>
                </a:solidFill>
              </a:defRPr>
            </a:lvl1pPr>
          </a:lstStyle>
          <a:p>
            <a:r>
              <a:rPr lang="fr-FR" dirty="0"/>
              <a:t>Modifiez le style du titre</a:t>
            </a:r>
            <a:endParaRPr lang="en-GB" dirty="0"/>
          </a:p>
        </p:txBody>
      </p:sp>
      <p:sp>
        <p:nvSpPr>
          <p:cNvPr id="4" name="Espace réservé du texte 3"/>
          <p:cNvSpPr>
            <a:spLocks noGrp="1"/>
          </p:cNvSpPr>
          <p:nvPr>
            <p:ph type="body" sz="quarter" idx="33"/>
          </p:nvPr>
        </p:nvSpPr>
        <p:spPr>
          <a:xfrm>
            <a:off x="5160000" y="2997000"/>
            <a:ext cx="6755775" cy="3492700"/>
          </a:xfr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0723241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14">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887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950" name="Freeform 6"/>
          <p:cNvSpPr>
            <a:spLocks/>
          </p:cNvSpPr>
          <p:nvPr userDrawn="1"/>
        </p:nvSpPr>
        <p:spPr bwMode="auto">
          <a:xfrm>
            <a:off x="4102100" y="957972"/>
            <a:ext cx="8089900"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7505700" y="2158999"/>
            <a:ext cx="4051300" cy="1701893"/>
          </a:xfrm>
          <a:prstGeom prst="rect">
            <a:avLst/>
          </a:prstGeom>
        </p:spPr>
        <p:txBody>
          <a:bodyPr/>
          <a:lstStyle>
            <a:lvl1pPr>
              <a:defRPr>
                <a:solidFill>
                  <a:schemeClr val="accent5"/>
                </a:solidFill>
              </a:defRPr>
            </a:lvl1pPr>
          </a:lstStyle>
          <a:p>
            <a:r>
              <a:rPr lang="fr-FR" dirty="0"/>
              <a:t>Modifiez le style du titre</a:t>
            </a:r>
            <a:endParaRPr lang="en-GB" dirty="0"/>
          </a:p>
        </p:txBody>
      </p:sp>
      <p:sp>
        <p:nvSpPr>
          <p:cNvPr id="13"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7505699" y="3846869"/>
            <a:ext cx="4051300" cy="22491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fr-FR"/>
              <a:t>Cliquez sur l'icône pour ajouter une imag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N°›</a:t>
            </a:fld>
            <a:endParaRPr lang="en-US" sz="800" dirty="0">
              <a:solidFill>
                <a:schemeClr val="bg1">
                  <a:lumMod val="50000"/>
                </a:schemeClr>
              </a:solidFill>
              <a:cs typeface="Arial" panose="020B0604020202020204" pitchFamily="34" charset="0"/>
            </a:endParaRPr>
          </a:p>
        </p:txBody>
      </p:sp>
      <p:sp>
        <p:nvSpPr>
          <p:cNvPr id="20"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8. All rights reserved |</a:t>
            </a:r>
          </a:p>
        </p:txBody>
      </p:sp>
    </p:spTree>
    <p:extLst>
      <p:ext uri="{BB962C8B-B14F-4D97-AF65-F5344CB8AC3E}">
        <p14:creationId xmlns:p14="http://schemas.microsoft.com/office/powerpoint/2010/main" val="34078337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1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989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971" name="AutoShape 3"/>
          <p:cNvSpPr>
            <a:spLocks noChangeAspect="1" noChangeArrowheads="1" noTextEdit="1"/>
          </p:cNvSpPr>
          <p:nvPr userDrawn="1"/>
        </p:nvSpPr>
        <p:spPr bwMode="auto">
          <a:xfrm>
            <a:off x="0" y="0"/>
            <a:ext cx="7481888" cy="6886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3973" name="Freeform 5"/>
          <p:cNvSpPr>
            <a:spLocks/>
          </p:cNvSpPr>
          <p:nvPr userDrawn="1"/>
        </p:nvSpPr>
        <p:spPr bwMode="auto">
          <a:xfrm>
            <a:off x="1588" y="-3175"/>
            <a:ext cx="5280025"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975" name="Freeform 7"/>
          <p:cNvSpPr>
            <a:spLocks/>
          </p:cNvSpPr>
          <p:nvPr userDrawn="1"/>
        </p:nvSpPr>
        <p:spPr bwMode="auto">
          <a:xfrm>
            <a:off x="1651000" y="5957888"/>
            <a:ext cx="19050" cy="6350"/>
          </a:xfrm>
          <a:custGeom>
            <a:avLst/>
            <a:gdLst/>
            <a:ahLst/>
            <a:cxnLst>
              <a:cxn ang="0">
                <a:pos x="0" y="3"/>
              </a:cxn>
              <a:cxn ang="0">
                <a:pos x="8" y="0"/>
              </a:cxn>
              <a:cxn ang="0">
                <a:pos x="0" y="3"/>
              </a:cxn>
            </a:cxnLst>
            <a:rect l="0" t="0" r="r" b="b"/>
            <a:pathLst>
              <a:path w="8" h="3">
                <a:moveTo>
                  <a:pt x="0" y="3"/>
                </a:moveTo>
                <a:cubicBezTo>
                  <a:pt x="2" y="2"/>
                  <a:pt x="5" y="1"/>
                  <a:pt x="8" y="0"/>
                </a:cubicBezTo>
                <a:cubicBezTo>
                  <a:pt x="5" y="0"/>
                  <a:pt x="2" y="1"/>
                  <a:pt x="0" y="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976" name="Freeform 8"/>
          <p:cNvSpPr>
            <a:spLocks/>
          </p:cNvSpPr>
          <p:nvPr userDrawn="1"/>
        </p:nvSpPr>
        <p:spPr bwMode="auto">
          <a:xfrm>
            <a:off x="4763" y="-3175"/>
            <a:ext cx="7481888"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0" y="2419570"/>
            <a:ext cx="4264593" cy="2063579"/>
          </a:xfrm>
          <a:prstGeom prst="rect">
            <a:avLst/>
          </a:prstGeom>
        </p:spPr>
        <p:txBody>
          <a:bodyPr>
            <a:noAutofit/>
          </a:bodyPr>
          <a:lstStyle>
            <a:lvl1pPr>
              <a:lnSpc>
                <a:spcPct val="100000"/>
              </a:lnSpc>
              <a:buClr>
                <a:schemeClr val="bg1"/>
              </a:buClr>
              <a:defRPr sz="1600">
                <a:solidFill>
                  <a:schemeClr val="bg1"/>
                </a:solidFill>
              </a:defRPr>
            </a:lvl1pPr>
            <a:lvl2pPr>
              <a:lnSpc>
                <a:spcPct val="100000"/>
              </a:lnSpc>
              <a:buClr>
                <a:schemeClr val="bg1"/>
              </a:buClr>
              <a:defRPr sz="1600">
                <a:solidFill>
                  <a:schemeClr val="bg1"/>
                </a:solidFill>
              </a:defRPr>
            </a:lvl2pPr>
            <a:lvl3pPr>
              <a:lnSpc>
                <a:spcPct val="100000"/>
              </a:lnSpc>
              <a:buClr>
                <a:schemeClr val="bg1"/>
              </a:buClr>
              <a:defRPr sz="1600">
                <a:solidFill>
                  <a:schemeClr val="bg1"/>
                </a:solidFill>
              </a:defRPr>
            </a:lvl3pPr>
            <a:lvl4pPr>
              <a:lnSpc>
                <a:spcPct val="100000"/>
              </a:lnSpc>
              <a:buClr>
                <a:schemeClr val="bg1"/>
              </a:buClr>
              <a:defRPr sz="1600">
                <a:solidFill>
                  <a:schemeClr val="bg1"/>
                </a:solidFill>
              </a:defRPr>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4" name="Title 1"/>
          <p:cNvSpPr>
            <a:spLocks noGrp="1"/>
          </p:cNvSpPr>
          <p:nvPr>
            <p:ph type="title"/>
          </p:nvPr>
        </p:nvSpPr>
        <p:spPr>
          <a:xfrm>
            <a:off x="227350" y="566057"/>
            <a:ext cx="4257564"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5"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fr-FR"/>
              <a:t>Cliquez sur l'icône pour ajouter une image</a:t>
            </a:r>
            <a:endParaRPr lang="pt-PT" dirty="0"/>
          </a:p>
        </p:txBody>
      </p:sp>
    </p:spTree>
    <p:extLst>
      <p:ext uri="{BB962C8B-B14F-4D97-AF65-F5344CB8AC3E}">
        <p14:creationId xmlns:p14="http://schemas.microsoft.com/office/powerpoint/2010/main" val="16101698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16">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6724994" cy="1104900"/>
          </a:xfrm>
          <a:prstGeom prst="rect">
            <a:avLst/>
          </a:prstGeom>
        </p:spPr>
        <p:txBody>
          <a:bodyPr/>
          <a:lstStyle/>
          <a:p>
            <a:r>
              <a:rPr lang="fr-FR"/>
              <a:t>Modifiez le style du titre</a:t>
            </a:r>
            <a:endParaRPr lang="en-GB" dirty="0"/>
          </a:p>
        </p:txBody>
      </p:sp>
      <p:sp>
        <p:nvSpPr>
          <p:cNvPr id="9" name="Freeform 6"/>
          <p:cNvSpPr>
            <a:spLocks/>
          </p:cNvSpPr>
          <p:nvPr userDrawn="1"/>
        </p:nvSpPr>
        <p:spPr bwMode="auto">
          <a:xfrm>
            <a:off x="6441978" y="0"/>
            <a:ext cx="5750022" cy="5887322"/>
          </a:xfrm>
          <a:custGeom>
            <a:avLst/>
            <a:gdLst/>
            <a:ahLst/>
            <a:cxnLst>
              <a:cxn ang="0">
                <a:pos x="782" y="0"/>
              </a:cxn>
              <a:cxn ang="0">
                <a:pos x="2429" y="0"/>
              </a:cxn>
              <a:cxn ang="0">
                <a:pos x="2429" y="1457"/>
              </a:cxn>
              <a:cxn ang="0">
                <a:pos x="2429" y="1472"/>
              </a:cxn>
              <a:cxn ang="0">
                <a:pos x="2428" y="1482"/>
              </a:cxn>
              <a:cxn ang="0">
                <a:pos x="2388" y="1687"/>
              </a:cxn>
              <a:cxn ang="0">
                <a:pos x="2249" y="2084"/>
              </a:cxn>
              <a:cxn ang="0">
                <a:pos x="2122" y="2284"/>
              </a:cxn>
              <a:cxn ang="0">
                <a:pos x="2025" y="2379"/>
              </a:cxn>
              <a:cxn ang="0">
                <a:pos x="1819" y="2476"/>
              </a:cxn>
              <a:cxn ang="0">
                <a:pos x="1760" y="2484"/>
              </a:cxn>
              <a:cxn ang="0">
                <a:pos x="1699" y="2484"/>
              </a:cxn>
              <a:cxn ang="0">
                <a:pos x="1690" y="2483"/>
              </a:cxn>
              <a:cxn ang="0">
                <a:pos x="1562" y="2459"/>
              </a:cxn>
              <a:cxn ang="0">
                <a:pos x="1554" y="2451"/>
              </a:cxn>
              <a:cxn ang="0">
                <a:pos x="1522" y="2378"/>
              </a:cxn>
              <a:cxn ang="0">
                <a:pos x="1415" y="2267"/>
              </a:cxn>
              <a:cxn ang="0">
                <a:pos x="1266" y="2168"/>
              </a:cxn>
              <a:cxn ang="0">
                <a:pos x="929" y="1993"/>
              </a:cxn>
              <a:cxn ang="0">
                <a:pos x="556" y="1797"/>
              </a:cxn>
              <a:cxn ang="0">
                <a:pos x="256" y="1586"/>
              </a:cxn>
              <a:cxn ang="0">
                <a:pos x="68" y="1358"/>
              </a:cxn>
              <a:cxn ang="0">
                <a:pos x="24" y="1256"/>
              </a:cxn>
              <a:cxn ang="0">
                <a:pos x="0" y="1129"/>
              </a:cxn>
              <a:cxn ang="0">
                <a:pos x="0" y="1060"/>
              </a:cxn>
              <a:cxn ang="0">
                <a:pos x="12" y="973"/>
              </a:cxn>
              <a:cxn ang="0">
                <a:pos x="112" y="718"/>
              </a:cxn>
              <a:cxn ang="0">
                <a:pos x="336" y="415"/>
              </a:cxn>
              <a:cxn ang="0">
                <a:pos x="730" y="43"/>
              </a:cxn>
              <a:cxn ang="0">
                <a:pos x="782" y="0"/>
              </a:cxn>
            </a:cxnLst>
            <a:rect l="0" t="0" r="r" b="b"/>
            <a:pathLst>
              <a:path w="2429" h="2484">
                <a:moveTo>
                  <a:pt x="782" y="0"/>
                </a:moveTo>
                <a:cubicBezTo>
                  <a:pt x="1331" y="0"/>
                  <a:pt x="1880" y="0"/>
                  <a:pt x="2429" y="0"/>
                </a:cubicBezTo>
                <a:cubicBezTo>
                  <a:pt x="2429" y="486"/>
                  <a:pt x="2429" y="971"/>
                  <a:pt x="2429" y="1457"/>
                </a:cubicBezTo>
                <a:cubicBezTo>
                  <a:pt x="2429" y="1462"/>
                  <a:pt x="2429" y="1467"/>
                  <a:pt x="2429" y="1472"/>
                </a:cubicBezTo>
                <a:cubicBezTo>
                  <a:pt x="2429" y="1476"/>
                  <a:pt x="2429" y="1479"/>
                  <a:pt x="2428" y="1482"/>
                </a:cubicBezTo>
                <a:cubicBezTo>
                  <a:pt x="2418" y="1551"/>
                  <a:pt x="2405" y="1619"/>
                  <a:pt x="2388" y="1687"/>
                </a:cubicBezTo>
                <a:cubicBezTo>
                  <a:pt x="2355" y="1824"/>
                  <a:pt x="2312" y="1957"/>
                  <a:pt x="2249" y="2084"/>
                </a:cubicBezTo>
                <a:cubicBezTo>
                  <a:pt x="2214" y="2155"/>
                  <a:pt x="2171" y="2222"/>
                  <a:pt x="2122" y="2284"/>
                </a:cubicBezTo>
                <a:cubicBezTo>
                  <a:pt x="2093" y="2319"/>
                  <a:pt x="2061" y="2351"/>
                  <a:pt x="2025" y="2379"/>
                </a:cubicBezTo>
                <a:cubicBezTo>
                  <a:pt x="1964" y="2427"/>
                  <a:pt x="1896" y="2461"/>
                  <a:pt x="1819" y="2476"/>
                </a:cubicBezTo>
                <a:cubicBezTo>
                  <a:pt x="1799" y="2480"/>
                  <a:pt x="1779" y="2481"/>
                  <a:pt x="1760" y="2484"/>
                </a:cubicBezTo>
                <a:cubicBezTo>
                  <a:pt x="1740" y="2484"/>
                  <a:pt x="1719" y="2484"/>
                  <a:pt x="1699" y="2484"/>
                </a:cubicBezTo>
                <a:cubicBezTo>
                  <a:pt x="1696" y="2484"/>
                  <a:pt x="1693" y="2483"/>
                  <a:pt x="1690" y="2483"/>
                </a:cubicBezTo>
                <a:cubicBezTo>
                  <a:pt x="1647" y="2480"/>
                  <a:pt x="1604" y="2471"/>
                  <a:pt x="1562" y="2459"/>
                </a:cubicBezTo>
                <a:cubicBezTo>
                  <a:pt x="1558" y="2457"/>
                  <a:pt x="1555" y="2455"/>
                  <a:pt x="1554" y="2451"/>
                </a:cubicBezTo>
                <a:cubicBezTo>
                  <a:pt x="1549" y="2424"/>
                  <a:pt x="1537" y="2400"/>
                  <a:pt x="1522" y="2378"/>
                </a:cubicBezTo>
                <a:cubicBezTo>
                  <a:pt x="1494" y="2334"/>
                  <a:pt x="1455" y="2300"/>
                  <a:pt x="1415" y="2267"/>
                </a:cubicBezTo>
                <a:cubicBezTo>
                  <a:pt x="1369" y="2229"/>
                  <a:pt x="1317" y="2198"/>
                  <a:pt x="1266" y="2168"/>
                </a:cubicBezTo>
                <a:cubicBezTo>
                  <a:pt x="1156" y="2105"/>
                  <a:pt x="1042" y="2050"/>
                  <a:pt x="929" y="1993"/>
                </a:cubicBezTo>
                <a:cubicBezTo>
                  <a:pt x="803" y="1930"/>
                  <a:pt x="677" y="1868"/>
                  <a:pt x="556" y="1797"/>
                </a:cubicBezTo>
                <a:cubicBezTo>
                  <a:pt x="450" y="1734"/>
                  <a:pt x="348" y="1667"/>
                  <a:pt x="256" y="1586"/>
                </a:cubicBezTo>
                <a:cubicBezTo>
                  <a:pt x="181" y="1520"/>
                  <a:pt x="115" y="1447"/>
                  <a:pt x="68" y="1358"/>
                </a:cubicBezTo>
                <a:cubicBezTo>
                  <a:pt x="50" y="1325"/>
                  <a:pt x="35" y="1292"/>
                  <a:pt x="24" y="1256"/>
                </a:cubicBezTo>
                <a:cubicBezTo>
                  <a:pt x="11" y="1215"/>
                  <a:pt x="2" y="1173"/>
                  <a:pt x="0" y="1129"/>
                </a:cubicBezTo>
                <a:cubicBezTo>
                  <a:pt x="0" y="1106"/>
                  <a:pt x="0" y="1083"/>
                  <a:pt x="0" y="1060"/>
                </a:cubicBezTo>
                <a:cubicBezTo>
                  <a:pt x="1" y="1031"/>
                  <a:pt x="6" y="1002"/>
                  <a:pt x="12" y="973"/>
                </a:cubicBezTo>
                <a:cubicBezTo>
                  <a:pt x="30" y="883"/>
                  <a:pt x="67" y="799"/>
                  <a:pt x="112" y="718"/>
                </a:cubicBezTo>
                <a:cubicBezTo>
                  <a:pt x="175" y="608"/>
                  <a:pt x="252" y="509"/>
                  <a:pt x="336" y="415"/>
                </a:cubicBezTo>
                <a:cubicBezTo>
                  <a:pt x="456" y="280"/>
                  <a:pt x="591" y="159"/>
                  <a:pt x="730" y="43"/>
                </a:cubicBezTo>
                <a:cubicBezTo>
                  <a:pt x="748" y="29"/>
                  <a:pt x="766" y="15"/>
                  <a:pt x="782" y="0"/>
                </a:cubicBez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fr-FR"/>
              <a:t>Cliquez sur l'icône pour ajouter une image</a:t>
            </a:r>
            <a:endParaRPr lang="pt-PT" dirty="0"/>
          </a:p>
        </p:txBody>
      </p:sp>
      <p:sp>
        <p:nvSpPr>
          <p:cNvPr id="13"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1919898"/>
            <a:ext cx="4123375" cy="4016445"/>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20597032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092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1"/>
            <a:ext cx="5975743" cy="1865871"/>
          </a:xfrm>
          <a:prstGeom prst="rect">
            <a:avLst/>
          </a:prstGeom>
        </p:spPr>
        <p:txBody>
          <a:bodyPr/>
          <a:lstStyle/>
          <a:p>
            <a:r>
              <a:rPr lang="fr-FR"/>
              <a:t>Modifiez le style du titre</a:t>
            </a:r>
            <a:endParaRPr lang="en-GB" dirty="0"/>
          </a:p>
        </p:txBody>
      </p:sp>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085518"/>
            <a:ext cx="5988100" cy="4286253"/>
          </a:xfrm>
          <a:prstGeom prst="rect">
            <a:avLst/>
          </a:prstGeom>
        </p:spPr>
        <p:txBody>
          <a:bodyPr>
            <a:noAutofit/>
          </a:bodyPr>
          <a:lstStyle>
            <a:lvl1pPr>
              <a:lnSpc>
                <a:spcPct val="100000"/>
              </a:lnSpc>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4427397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602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6532450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8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907971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80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3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4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1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b="1">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6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Title Slide 5">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rgbClr val="95E6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591671"/>
            <a:ext cx="4822491" cy="2810435"/>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721706" y="5921017"/>
            <a:ext cx="3911494"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tx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3398015"/>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Title Slide 6">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97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591671"/>
            <a:ext cx="5392948" cy="2810435"/>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721705" y="5921017"/>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58470426"/>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51"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5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profile 2">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5"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367326"/>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1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889136"/>
            <a:ext cx="3296647" cy="412363"/>
          </a:xfrm>
          <a:prstGeom prst="rect">
            <a:avLst/>
          </a:prstGeom>
          <a:noFill/>
        </p:spPr>
        <p:txBody>
          <a:bodyPr anchor="ctr">
            <a:noAutofit/>
          </a:bodyPr>
          <a:lstStyle>
            <a:lvl1pPr algn="l">
              <a:defRPr sz="20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1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16883"/>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5"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90297"/>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Tree>
    <p:extLst>
      <p:ext uri="{BB962C8B-B14F-4D97-AF65-F5344CB8AC3E}">
        <p14:creationId xmlns:p14="http://schemas.microsoft.com/office/powerpoint/2010/main" val="25590907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8" y="0"/>
            <a:ext cx="6732651" cy="1104900"/>
          </a:xfrm>
          <a:prstGeom prst="rect">
            <a:avLst/>
          </a:prstGeom>
        </p:spPr>
        <p:txBody>
          <a:bodyPr/>
          <a:lstStyle/>
          <a:p>
            <a:r>
              <a:rPr lang="fr-FR"/>
              <a:t>Modifiez le style du titre</a:t>
            </a:r>
            <a:endParaRPr lang="en-GB" dirty="0"/>
          </a:p>
        </p:txBody>
      </p:sp>
      <p:sp>
        <p:nvSpPr>
          <p:cNvPr id="3" name="Freeform 6"/>
          <p:cNvSpPr>
            <a:spLocks/>
          </p:cNvSpPr>
          <p:nvPr userDrawn="1"/>
        </p:nvSpPr>
        <p:spPr bwMode="auto">
          <a:xfrm>
            <a:off x="6351587"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N°›</a:t>
            </a:fld>
            <a:endParaRPr lang="en-US" sz="800" dirty="0">
              <a:solidFill>
                <a:schemeClr val="bg1"/>
              </a:solidFill>
              <a:cs typeface="Arial" panose="020B0604020202020204" pitchFamily="34" charset="0"/>
            </a:endParaRPr>
          </a:p>
        </p:txBody>
      </p:sp>
      <p:sp>
        <p:nvSpPr>
          <p:cNvPr id="5"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18. All rights reserved |</a:t>
            </a:r>
          </a:p>
        </p:txBody>
      </p:sp>
      <p:sp>
        <p:nvSpPr>
          <p:cNvPr id="6"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7752183" y="2813833"/>
            <a:ext cx="3801187" cy="2629024"/>
          </a:xfrm>
          <a:prstGeom prst="rect">
            <a:avLst/>
          </a:prstGeom>
        </p:spPr>
        <p:txBody>
          <a:bodyPr>
            <a:noAutofit/>
          </a:bodyPr>
          <a:lstStyle>
            <a:lvl1pPr algn="l">
              <a:lnSpc>
                <a:spcPct val="850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8" name="Espace réservé du texte 7"/>
          <p:cNvSpPr>
            <a:spLocks noGrp="1"/>
          </p:cNvSpPr>
          <p:nvPr>
            <p:ph type="body" sz="quarter" idx="13"/>
          </p:nvPr>
        </p:nvSpPr>
        <p:spPr>
          <a:xfrm>
            <a:off x="227013" y="1808163"/>
            <a:ext cx="6013450" cy="46815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8197532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0.xml"/><Relationship Id="rId7" Type="http://schemas.openxmlformats.org/officeDocument/2006/relationships/oleObject" Target="../embeddings/oleObject19.bin"/><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ags" Target="../tags/tag20.xml"/><Relationship Id="rId5" Type="http://schemas.openxmlformats.org/officeDocument/2006/relationships/vmlDrawing" Target="../drawings/vmlDrawing19.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23.vml"/><Relationship Id="rId3" Type="http://schemas.openxmlformats.org/officeDocument/2006/relationships/slideLayout" Target="../slideLayouts/slideLayout33.xml"/><Relationship Id="rId7" Type="http://schemas.openxmlformats.org/officeDocument/2006/relationships/theme" Target="../theme/theme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1.emf"/><Relationship Id="rId5" Type="http://schemas.openxmlformats.org/officeDocument/2006/relationships/slideLayout" Target="../slideLayouts/slideLayout35.xml"/><Relationship Id="rId10" Type="http://schemas.openxmlformats.org/officeDocument/2006/relationships/oleObject" Target="../embeddings/oleObject23.bin"/><Relationship Id="rId4" Type="http://schemas.openxmlformats.org/officeDocument/2006/relationships/slideLayout" Target="../slideLayouts/slideLayout34.xml"/><Relationship Id="rId9" Type="http://schemas.openxmlformats.org/officeDocument/2006/relationships/tags" Target="../tags/tag2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oleObject" Target="../embeddings/oleObject30.bin"/><Relationship Id="rId5" Type="http://schemas.openxmlformats.org/officeDocument/2006/relationships/tags" Target="../tags/tag31.xml"/><Relationship Id="rId4" Type="http://schemas.openxmlformats.org/officeDocument/2006/relationships/vmlDrawing" Target="../drawings/vmlDrawing3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45" name="think-cell Slide" r:id="rId31" imgW="270" imgH="270" progId="TCLayout.ActiveDocument.1">
                  <p:embed/>
                </p:oleObj>
              </mc:Choice>
              <mc:Fallback>
                <p:oleObj name="think-cell Slide" r:id="rId31" imgW="270" imgH="270" progId="TCLayout.ActiveDocument.1">
                  <p:embed/>
                  <p:pic>
                    <p:nvPicPr>
                      <p:cNvPr id="0" name="Picture 8"/>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11" name="Groupe 10">
            <a:extLst>
              <a:ext uri="{FF2B5EF4-FFF2-40B4-BE49-F238E27FC236}">
                <a16:creationId xmlns:a16="http://schemas.microsoft.com/office/drawing/2014/main" id="{01121859-F762-419C-9C4A-40A01CD7C49C}"/>
              </a:ext>
            </a:extLst>
          </p:cNvPr>
          <p:cNvGrpSpPr/>
          <p:nvPr userDrawn="1"/>
        </p:nvGrpSpPr>
        <p:grpSpPr>
          <a:xfrm>
            <a:off x="12355040" y="33161"/>
            <a:ext cx="360000" cy="1800000"/>
            <a:chOff x="12355040" y="33161"/>
            <a:chExt cx="360000" cy="1800000"/>
          </a:xfrm>
        </p:grpSpPr>
        <p:sp>
          <p:nvSpPr>
            <p:cNvPr id="12" name="Rectangle 11">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6" name="Rectangle 15">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17" name="Groupe 16">
            <a:extLst>
              <a:ext uri="{FF2B5EF4-FFF2-40B4-BE49-F238E27FC236}">
                <a16:creationId xmlns:a16="http://schemas.microsoft.com/office/drawing/2014/main" id="{EF5AB0F2-6E64-46F0-BD92-6EB0249F7869}"/>
              </a:ext>
            </a:extLst>
          </p:cNvPr>
          <p:cNvGrpSpPr/>
          <p:nvPr userDrawn="1"/>
        </p:nvGrpSpPr>
        <p:grpSpPr>
          <a:xfrm>
            <a:off x="12355040" y="1954479"/>
            <a:ext cx="360000" cy="4875772"/>
            <a:chOff x="12355040" y="1954479"/>
            <a:chExt cx="360000" cy="4875772"/>
          </a:xfrm>
        </p:grpSpPr>
        <p:sp>
          <p:nvSpPr>
            <p:cNvPr id="18" name="Rectangle 17">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9" name="Rectangle 18">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20" name="Rectangle 19">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1" name="Rectangle 30">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2" name="Rectangle 31">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6" r:id="rId8"/>
    <p:sldLayoutId id="2147483912" r:id="rId9"/>
    <p:sldLayoutId id="2147483913" r:id="rId10"/>
    <p:sldLayoutId id="2147483914" r:id="rId11"/>
    <p:sldLayoutId id="2147483915"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 id="2147483927" r:id="rId23"/>
    <p:sldLayoutId id="2147483928" r:id="rId24"/>
    <p:sldLayoutId id="2147483929" r:id="rId25"/>
    <p:sldLayoutId id="2147483930" r:id="rId26"/>
    <p:sldLayoutId id="2147483931" r:id="rId2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64" name="think-cell Slide" r:id="rId7" imgW="270" imgH="270" progId="TCLayout.ActiveDocument.1">
                  <p:embed/>
                </p:oleObj>
              </mc:Choice>
              <mc:Fallback>
                <p:oleObj name="think-cell Slide" r:id="rId7" imgW="270" imgH="270" progId="TCLayout.ActiveDocument.1">
                  <p:embed/>
                  <p:pic>
                    <p:nvPicPr>
                      <p:cNvPr id="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p>
        </p:txBody>
      </p:sp>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8" name="Groupe 7">
            <a:extLst>
              <a:ext uri="{FF2B5EF4-FFF2-40B4-BE49-F238E27FC236}">
                <a16:creationId xmlns:a16="http://schemas.microsoft.com/office/drawing/2014/main" id="{F6421C34-0A09-46F2-86BC-288CFA416EE6}"/>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3151FA3C-727B-4874-9DE0-A2E0DD894DAE}"/>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431E8439-67F4-4B42-B33E-B870A8B921B3}"/>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8330BDCE-2004-4534-8C99-7231837B319C}"/>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F0A7B28-9053-41D0-A5E7-0F6EF24AB349}"/>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BB84313C-0E77-44B2-AC18-6D8070725E5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23" name="think-cell Slide" r:id="rId10" imgW="270" imgH="270" progId="TCLayout.ActiveDocument.1">
                  <p:embed/>
                </p:oleObj>
              </mc:Choice>
              <mc:Fallback>
                <p:oleObj name="think-cell Slide" r:id="rId10" imgW="270" imgH="270" progId="TCLayout.ActiveDocument.1">
                  <p:embed/>
                  <p:pic>
                    <p:nvPicPr>
                      <p:cNvPr id="0" name="Picture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F40BB7E4-8ECC-4C78-AD84-365CCD1BF3BA}"/>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E3744E6B-CB52-459A-B303-28B410FC13B6}"/>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50728129-E1A3-44AD-A94D-EAC3F5A33EC9}"/>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E1D9C6C3-E70E-40BE-9312-BC398A91B9C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39DECA47-208E-41FD-B79D-328EF538D430}"/>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B7BE54DE-F115-407F-8B7F-8C11B9FD4BF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09" r:id="rId5"/>
    <p:sldLayoutId id="2147483910" r:id="rId6"/>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39"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slideLayout" Target="../slideLayouts/slideLayout6.xml"/><Relationship Id="rId7" Type="http://schemas.openxmlformats.org/officeDocument/2006/relationships/chart" Target="../charts/chart3.xml"/><Relationship Id="rId2" Type="http://schemas.openxmlformats.org/officeDocument/2006/relationships/tags" Target="../tags/tag37.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10" Type="http://schemas.openxmlformats.org/officeDocument/2006/relationships/chart" Target="../charts/chart6.xml"/><Relationship Id="rId4" Type="http://schemas.openxmlformats.org/officeDocument/2006/relationships/notesSlide" Target="../notesSlides/notesSlide15.xml"/><Relationship Id="rId9" Type="http://schemas.openxmlformats.org/officeDocument/2006/relationships/chart" Target="../charts/chart5.xml"/></Relationships>
</file>

<file path=ppt/slides/_rels/slide16.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slideLayout" Target="../slideLayouts/slideLayout6.xml"/><Relationship Id="rId7" Type="http://schemas.openxmlformats.org/officeDocument/2006/relationships/chart" Target="../charts/chart7.xml"/><Relationship Id="rId2" Type="http://schemas.openxmlformats.org/officeDocument/2006/relationships/tags" Target="../tags/tag38.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slideLayout" Target="../slideLayouts/slideLayout6.xml"/><Relationship Id="rId7" Type="http://schemas.openxmlformats.org/officeDocument/2006/relationships/chart" Target="../charts/chart10.xml"/><Relationship Id="rId2" Type="http://schemas.openxmlformats.org/officeDocument/2006/relationships/tags" Target="../tags/tag39.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10" Type="http://schemas.openxmlformats.org/officeDocument/2006/relationships/chart" Target="../charts/chart13.xml"/><Relationship Id="rId4" Type="http://schemas.openxmlformats.org/officeDocument/2006/relationships/notesSlide" Target="../notesSlides/notesSlide20.xml"/><Relationship Id="rId9" Type="http://schemas.openxmlformats.org/officeDocument/2006/relationships/chart" Target="../charts/char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7.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1.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2.xml"/><Relationship Id="rId1" Type="http://schemas.openxmlformats.org/officeDocument/2006/relationships/slideLayout" Target="../slideLayouts/slideLayout16.xml"/><Relationship Id="rId4" Type="http://schemas.openxmlformats.org/officeDocument/2006/relationships/image" Target="../media/image17.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1.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42.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the presentation</a:t>
            </a:r>
            <a:br>
              <a:rPr lang="en-US" dirty="0"/>
            </a:br>
            <a:r>
              <a:rPr lang="en-US" dirty="0"/>
              <a:t>2 lines</a:t>
            </a:r>
            <a:endParaRPr lang="en-GB" dirty="0"/>
          </a:p>
        </p:txBody>
      </p:sp>
      <p:sp>
        <p:nvSpPr>
          <p:cNvPr id="3" name="Subtitle 2"/>
          <p:cNvSpPr>
            <a:spLocks noGrp="1"/>
          </p:cNvSpPr>
          <p:nvPr>
            <p:ph type="subTitle" idx="1"/>
          </p:nvPr>
        </p:nvSpPr>
        <p:spPr/>
        <p:txBody>
          <a:bodyPr/>
          <a:lstStyle/>
          <a:p>
            <a:r>
              <a:rPr lang="en-US" dirty="0"/>
              <a:t>Location, Date, Author</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a:xfrm>
            <a:off x="227350"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7"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0" y="4528457"/>
            <a:ext cx="12192000" cy="179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4"/>
          <p:cNvSpPr txBox="1">
            <a:spLocks/>
          </p:cNvSpPr>
          <p:nvPr/>
        </p:nvSpPr>
        <p:spPr>
          <a:xfrm>
            <a:off x="227350" y="5122689"/>
            <a:ext cx="11761450" cy="1060396"/>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3" name="Text Placeholder 5"/>
          <p:cNvSpPr txBox="1">
            <a:spLocks/>
          </p:cNvSpPr>
          <p:nvPr/>
        </p:nvSpPr>
        <p:spPr>
          <a:xfrm>
            <a:off x="227350" y="4659085"/>
            <a:ext cx="11761450" cy="423261"/>
          </a:xfrm>
          <a:prstGeom prst="rect">
            <a:avLst/>
          </a:prstGeom>
        </p:spPr>
        <p:txBody>
          <a:bodyPr vert="horz" lIns="0" tIns="0" rIns="0" bIns="0" rtlCol="0" anchor="b" anchorCtr="0">
            <a:no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accent4"/>
                </a:solidFill>
                <a:effectLst/>
                <a:uLnTx/>
                <a:uFillTx/>
                <a:latin typeface="+mj-lt"/>
                <a:ea typeface="+mn-ea"/>
                <a:cs typeface="+mn-cs"/>
              </a:rPr>
              <a:t>Header</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Title</a:t>
            </a:r>
            <a:br>
              <a:rPr lang="en-US"/>
            </a:br>
            <a:r>
              <a:rPr lang="en-US"/>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97" name="think-cell Slide" r:id="rId5" imgW="270" imgH="270" progId="TCLayout.ActiveDocument.1">
                  <p:embed/>
                </p:oleObj>
              </mc:Choice>
              <mc:Fallback>
                <p:oleObj name="think-cell Slide" r:id="rId5" imgW="270" imgH="270" progId="TCLayout.ActiveDocument.1">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0" name="Text Placeholder 9"/>
          <p:cNvSpPr>
            <a:spLocks noGrp="1"/>
          </p:cNvSpPr>
          <p:nvPr>
            <p:ph type="body" sz="quarter" idx="11"/>
          </p:nvPr>
        </p:nvSpPr>
        <p:spPr/>
        <p:txBody>
          <a:bodyPr/>
          <a:lstStyle/>
          <a:p>
            <a:r>
              <a:rPr lang="en-GB" dirty="0"/>
              <a:t>Subtitle</a:t>
            </a:r>
          </a:p>
        </p:txBody>
      </p:sp>
      <p:sp>
        <p:nvSpPr>
          <p:cNvPr id="11" name="Text Placeholder 10"/>
          <p:cNvSpPr>
            <a:spLocks noGrp="1"/>
          </p:cNvSpPr>
          <p:nvPr>
            <p:ph type="body" sz="quarter" idx="12"/>
          </p:nvPr>
        </p:nvSpPr>
        <p:spPr/>
        <p:txBody>
          <a:bodyPr/>
          <a:lstStyle/>
          <a:p>
            <a:r>
              <a:rPr lang="en-GB" dirty="0"/>
              <a:t>1</a:t>
            </a:r>
          </a:p>
        </p:txBody>
      </p:sp>
      <p:sp>
        <p:nvSpPr>
          <p:cNvPr id="5" name="Rectangle: Rounded Corners 8">
            <a:extLst>
              <a:ext uri="{FF2B5EF4-FFF2-40B4-BE49-F238E27FC236}">
                <a16:creationId xmlns:a16="http://schemas.microsoft.com/office/drawing/2014/main" id="{0AFA1266-C342-4169-A88F-97489206098B}"/>
              </a:ext>
            </a:extLst>
          </p:cNvPr>
          <p:cNvSpPr/>
          <p:nvPr/>
        </p:nvSpPr>
        <p:spPr>
          <a:xfrm>
            <a:off x="803191" y="4868265"/>
            <a:ext cx="10601410" cy="1128258"/>
          </a:xfrm>
          <a:prstGeom prst="roundRect">
            <a:avLst>
              <a:gd name="adj" fmla="val 20384"/>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1823945" y="1910357"/>
            <a:ext cx="9571521"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202310439"/>
              </p:ext>
            </p:extLst>
          </p:nvPr>
        </p:nvGraphicFramePr>
        <p:xfrm>
          <a:off x="798398" y="2073275"/>
          <a:ext cx="10595204" cy="3887790"/>
        </p:xfrm>
        <a:graphic>
          <a:graphicData uri="http://schemas.openxmlformats.org/drawingml/2006/table">
            <a:tbl>
              <a:tblPr firstRow="1" bandRow="1">
                <a:tableStyleId>{5C22544A-7EE6-4342-B048-85BDC9FD1C3A}</a:tableStyleId>
              </a:tblPr>
              <a:tblGrid>
                <a:gridCol w="1023425">
                  <a:extLst>
                    <a:ext uri="{9D8B030D-6E8A-4147-A177-3AD203B41FA5}">
                      <a16:colId xmlns:a16="http://schemas.microsoft.com/office/drawing/2014/main" val="2607851620"/>
                    </a:ext>
                  </a:extLst>
                </a:gridCol>
                <a:gridCol w="1367397">
                  <a:extLst>
                    <a:ext uri="{9D8B030D-6E8A-4147-A177-3AD203B41FA5}">
                      <a16:colId xmlns:a16="http://schemas.microsoft.com/office/drawing/2014/main" val="1243403413"/>
                    </a:ext>
                  </a:extLst>
                </a:gridCol>
                <a:gridCol w="1367397">
                  <a:extLst>
                    <a:ext uri="{9D8B030D-6E8A-4147-A177-3AD203B41FA5}">
                      <a16:colId xmlns:a16="http://schemas.microsoft.com/office/drawing/2014/main" val="1389503925"/>
                    </a:ext>
                  </a:extLst>
                </a:gridCol>
                <a:gridCol w="1367397">
                  <a:extLst>
                    <a:ext uri="{9D8B030D-6E8A-4147-A177-3AD203B41FA5}">
                      <a16:colId xmlns:a16="http://schemas.microsoft.com/office/drawing/2014/main" val="3631262642"/>
                    </a:ext>
                  </a:extLst>
                </a:gridCol>
                <a:gridCol w="1367397">
                  <a:extLst>
                    <a:ext uri="{9D8B030D-6E8A-4147-A177-3AD203B41FA5}">
                      <a16:colId xmlns:a16="http://schemas.microsoft.com/office/drawing/2014/main" val="2121792064"/>
                    </a:ext>
                  </a:extLst>
                </a:gridCol>
                <a:gridCol w="1367397">
                  <a:extLst>
                    <a:ext uri="{9D8B030D-6E8A-4147-A177-3AD203B41FA5}">
                      <a16:colId xmlns:a16="http://schemas.microsoft.com/office/drawing/2014/main" val="2163038458"/>
                    </a:ext>
                  </a:extLst>
                </a:gridCol>
                <a:gridCol w="1367397">
                  <a:extLst>
                    <a:ext uri="{9D8B030D-6E8A-4147-A177-3AD203B41FA5}">
                      <a16:colId xmlns:a16="http://schemas.microsoft.com/office/drawing/2014/main" val="2134234959"/>
                    </a:ext>
                  </a:extLst>
                </a:gridCol>
                <a:gridCol w="1367397">
                  <a:extLst>
                    <a:ext uri="{9D8B030D-6E8A-4147-A177-3AD203B41FA5}">
                      <a16:colId xmlns:a16="http://schemas.microsoft.com/office/drawing/2014/main" val="1865152723"/>
                    </a:ext>
                  </a:extLst>
                </a:gridCol>
              </a:tblGrid>
              <a:tr h="532788">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9" y="5004485"/>
            <a:ext cx="5341256" cy="1277067"/>
          </a:xfrm>
        </p:spPr>
        <p:txBody>
          <a:bodyPr/>
          <a:lstStyle/>
          <a:p>
            <a:r>
              <a:rPr lang="en-US" dirty="0"/>
              <a:t>Click to insert </a:t>
            </a:r>
            <a:r>
              <a:rPr lang="pt-PT" dirty="0"/>
              <a:t>text</a:t>
            </a:r>
          </a:p>
          <a:p>
            <a:endParaRPr lang="en-GB" dirty="0"/>
          </a:p>
        </p:txBody>
      </p:sp>
      <p:sp>
        <p:nvSpPr>
          <p:cNvPr id="17" name="Text Placeholder 16"/>
          <p:cNvSpPr>
            <a:spLocks noGrp="1"/>
          </p:cNvSpPr>
          <p:nvPr>
            <p:ph type="body" sz="quarter" idx="12"/>
          </p:nvPr>
        </p:nvSpPr>
        <p:spPr>
          <a:xfrm>
            <a:off x="227349" y="1420989"/>
            <a:ext cx="5341256" cy="743987"/>
          </a:xfrm>
        </p:spPr>
        <p:txBody>
          <a:bodyPr/>
          <a:lstStyle/>
          <a:p>
            <a:r>
              <a:rPr lang="en-US" dirty="0"/>
              <a:t>Click to insert chart title</a:t>
            </a:r>
            <a:endParaRPr lang="pt-PT" dirty="0"/>
          </a:p>
        </p:txBody>
      </p:sp>
      <p:sp>
        <p:nvSpPr>
          <p:cNvPr id="18" name="Text Placeholder 17"/>
          <p:cNvSpPr>
            <a:spLocks noGrp="1"/>
          </p:cNvSpPr>
          <p:nvPr>
            <p:ph type="body" sz="quarter" idx="13"/>
          </p:nvPr>
        </p:nvSpPr>
        <p:spPr>
          <a:xfrm>
            <a:off x="6474016" y="1420989"/>
            <a:ext cx="5341256" cy="743987"/>
          </a:xfrm>
        </p:spPr>
        <p:txBody>
          <a:bodyPr/>
          <a:lstStyle/>
          <a:p>
            <a:r>
              <a:rPr lang="en-US" dirty="0"/>
              <a:t>Click to insert chart title</a:t>
            </a:r>
            <a:endParaRPr lang="pt-PT" dirty="0"/>
          </a:p>
        </p:txBody>
      </p:sp>
      <p:sp>
        <p:nvSpPr>
          <p:cNvPr id="15" name="Title 14"/>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9" name="Text Placeholder 18"/>
          <p:cNvSpPr>
            <a:spLocks noGrp="1"/>
          </p:cNvSpPr>
          <p:nvPr>
            <p:ph type="body" sz="quarter" idx="14"/>
          </p:nvPr>
        </p:nvSpPr>
        <p:spPr>
          <a:xfrm>
            <a:off x="6474016" y="5004485"/>
            <a:ext cx="5341256" cy="1277067"/>
          </a:xfrm>
        </p:spPr>
        <p:txBody>
          <a:bodyPr/>
          <a:lstStyle/>
          <a:p>
            <a:r>
              <a:rPr lang="en-US" dirty="0"/>
              <a:t>Click to insert </a:t>
            </a:r>
            <a:r>
              <a:rPr lang="pt-PT" dirty="0"/>
              <a:t>text</a:t>
            </a:r>
          </a:p>
          <a:p>
            <a:endParaRPr lang="en-GB" dirty="0"/>
          </a:p>
        </p:txBody>
      </p:sp>
      <p:sp>
        <p:nvSpPr>
          <p:cNvPr id="7" name="Rectangle 6">
            <a:extLst>
              <a:ext uri="{FF2B5EF4-FFF2-40B4-BE49-F238E27FC236}">
                <a16:creationId xmlns:a16="http://schemas.microsoft.com/office/drawing/2014/main" id="{B47F42EC-C83D-4615-BDBC-32991AAFC708}"/>
              </a:ext>
            </a:extLst>
          </p:cNvPr>
          <p:cNvSpPr/>
          <p:nvPr/>
        </p:nvSpPr>
        <p:spPr>
          <a:xfrm>
            <a:off x="227349"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9"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227349" y="2274718"/>
          <a:ext cx="5341256" cy="2692698"/>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20">
            <a:extLst>
              <a:ext uri="{FF2B5EF4-FFF2-40B4-BE49-F238E27FC236}">
                <a16:creationId xmlns:a16="http://schemas.microsoft.com/office/drawing/2014/main" id="{B47F42EC-C83D-4615-BDBC-32991AAFC708}"/>
              </a:ext>
            </a:extLst>
          </p:cNvPr>
          <p:cNvSpPr/>
          <p:nvPr/>
        </p:nvSpPr>
        <p:spPr>
          <a:xfrm>
            <a:off x="6474016"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22"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6474016" y="2274718"/>
          <a:ext cx="5341256" cy="2692698"/>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3996"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a:extLst>
              <a:ext uri="{FF2B5EF4-FFF2-40B4-BE49-F238E27FC236}">
                <a16:creationId xmlns:a16="http://schemas.microsoft.com/office/drawing/2014/main" id="{A265CEE4-266C-455B-ABB2-28035014A6EB}"/>
              </a:ext>
            </a:extLst>
          </p:cNvPr>
          <p:cNvSpPr/>
          <p:nvPr/>
        </p:nvSpPr>
        <p:spPr>
          <a:xfrm>
            <a:off x="235157" y="4452934"/>
            <a:ext cx="5480599" cy="1941512"/>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Rectangle 8">
            <a:extLst>
              <a:ext uri="{FF2B5EF4-FFF2-40B4-BE49-F238E27FC236}">
                <a16:creationId xmlns:a16="http://schemas.microsoft.com/office/drawing/2014/main" id="{2D2F9E45-CEE8-454A-A235-847BE30A097A}"/>
              </a:ext>
            </a:extLst>
          </p:cNvPr>
          <p:cNvSpPr/>
          <p:nvPr/>
        </p:nvSpPr>
        <p:spPr>
          <a:xfrm>
            <a:off x="6323455" y="4461665"/>
            <a:ext cx="5480599" cy="1941512"/>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0" name="Rectangle 9">
            <a:extLst>
              <a:ext uri="{FF2B5EF4-FFF2-40B4-BE49-F238E27FC236}">
                <a16:creationId xmlns:a16="http://schemas.microsoft.com/office/drawing/2014/main" id="{0A8002E6-B484-40B4-B9A4-62F5567F6687}"/>
              </a:ext>
            </a:extLst>
          </p:cNvPr>
          <p:cNvSpPr/>
          <p:nvPr/>
        </p:nvSpPr>
        <p:spPr>
          <a:xfrm>
            <a:off x="6322650" y="1874836"/>
            <a:ext cx="5480599" cy="1941512"/>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1" name="Rectangle 10">
            <a:extLst>
              <a:ext uri="{FF2B5EF4-FFF2-40B4-BE49-F238E27FC236}">
                <a16:creationId xmlns:a16="http://schemas.microsoft.com/office/drawing/2014/main" id="{BC48C050-E666-4C6D-8E52-E0CE16E9A805}"/>
              </a:ext>
            </a:extLst>
          </p:cNvPr>
          <p:cNvSpPr/>
          <p:nvPr/>
        </p:nvSpPr>
        <p:spPr>
          <a:xfrm>
            <a:off x="227349" y="1874415"/>
            <a:ext cx="5480599" cy="1941934"/>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Text Placeholder 13">
            <a:extLst>
              <a:ext uri="{FF2B5EF4-FFF2-40B4-BE49-F238E27FC236}">
                <a16:creationId xmlns:a16="http://schemas.microsoft.com/office/drawing/2014/main" id="{BAFBF1BB-4988-42D7-89C4-204C23AA6353}"/>
              </a:ext>
            </a:extLst>
          </p:cNvPr>
          <p:cNvSpPr txBox="1">
            <a:spLocks/>
          </p:cNvSpPr>
          <p:nvPr/>
        </p:nvSpPr>
        <p:spPr>
          <a:xfrm>
            <a:off x="227349" y="1413338"/>
            <a:ext cx="5486575" cy="412363"/>
          </a:xfrm>
          <a:prstGeom prst="rect">
            <a:avLst/>
          </a:prstGeom>
        </p:spPr>
        <p:txBody>
          <a:bodyPr vert="horz" lIns="0" tIns="0" rIns="0" bIns="0" rtlCol="0" anchor="b" anchorCtr="0">
            <a:noAutofit/>
          </a:bodyPr>
          <a:lstStyle/>
          <a:p>
            <a:pPr marR="0" lvl="0" fontAlgn="auto">
              <a:spcBef>
                <a:spcPts val="1000"/>
              </a:spcBef>
              <a:spcAft>
                <a:spcPts val="0"/>
              </a:spcAft>
              <a:buClrTx/>
              <a:buSzTx/>
              <a:tabLst/>
              <a:defRPr/>
            </a:pPr>
            <a:r>
              <a:rPr lang="en-US" b="1" dirty="0">
                <a:solidFill>
                  <a:srgbClr val="12ABDB"/>
                </a:solidFill>
                <a:latin typeface="+mj-lt"/>
              </a:rPr>
              <a:t>Click to insert chart title</a:t>
            </a:r>
            <a:endParaRPr lang="pt-PT" b="1" dirty="0">
              <a:solidFill>
                <a:srgbClr val="12ABDB"/>
              </a:solidFill>
              <a:latin typeface="+mj-lt"/>
            </a:endParaRPr>
          </a:p>
        </p:txBody>
      </p:sp>
      <p:graphicFrame>
        <p:nvGraphicFramePr>
          <p:cNvPr id="13" name="Chart Placeholder 19">
            <a:extLst>
              <a:ext uri="{FF2B5EF4-FFF2-40B4-BE49-F238E27FC236}">
                <a16:creationId xmlns:a16="http://schemas.microsoft.com/office/drawing/2014/main" id="{C2617C2C-E871-4571-BEA2-0FBBBC7AA286}"/>
              </a:ext>
            </a:extLst>
          </p:cNvPr>
          <p:cNvGraphicFramePr>
            <a:graphicFrameLocks/>
          </p:cNvGraphicFramePr>
          <p:nvPr>
            <p:extLst/>
          </p:nvPr>
        </p:nvGraphicFramePr>
        <p:xfrm>
          <a:off x="227349" y="1854198"/>
          <a:ext cx="5486575" cy="196373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Chart Placeholder 23">
            <a:extLst>
              <a:ext uri="{FF2B5EF4-FFF2-40B4-BE49-F238E27FC236}">
                <a16:creationId xmlns:a16="http://schemas.microsoft.com/office/drawing/2014/main" id="{DE4D4E53-9940-4284-9B58-96FEE49EFA5B}"/>
              </a:ext>
            </a:extLst>
          </p:cNvPr>
          <p:cNvGraphicFramePr>
            <a:graphicFrameLocks/>
          </p:cNvGraphicFramePr>
          <p:nvPr>
            <p:extLst/>
          </p:nvPr>
        </p:nvGraphicFramePr>
        <p:xfrm>
          <a:off x="6328695" y="1854198"/>
          <a:ext cx="5486576" cy="196373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hart Placeholder 29">
            <a:extLst>
              <a:ext uri="{FF2B5EF4-FFF2-40B4-BE49-F238E27FC236}">
                <a16:creationId xmlns:a16="http://schemas.microsoft.com/office/drawing/2014/main" id="{40DFD1D5-79A3-4624-9BE8-E922FA1F60FA}"/>
              </a:ext>
            </a:extLst>
          </p:cNvPr>
          <p:cNvGraphicFramePr>
            <a:graphicFrameLocks/>
          </p:cNvGraphicFramePr>
          <p:nvPr>
            <p:extLst/>
          </p:nvPr>
        </p:nvGraphicFramePr>
        <p:xfrm>
          <a:off x="6328695" y="4424359"/>
          <a:ext cx="5486576" cy="196373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6" name="Chart Placeholder 33">
            <a:extLst>
              <a:ext uri="{FF2B5EF4-FFF2-40B4-BE49-F238E27FC236}">
                <a16:creationId xmlns:a16="http://schemas.microsoft.com/office/drawing/2014/main" id="{17F82733-4D34-47E4-951E-70E0D903D187}"/>
              </a:ext>
            </a:extLst>
          </p:cNvPr>
          <p:cNvGraphicFramePr>
            <a:graphicFrameLocks/>
          </p:cNvGraphicFramePr>
          <p:nvPr>
            <p:extLst/>
          </p:nvPr>
        </p:nvGraphicFramePr>
        <p:xfrm>
          <a:off x="227349" y="4424359"/>
          <a:ext cx="5486575" cy="1963737"/>
        </p:xfrm>
        <a:graphic>
          <a:graphicData uri="http://schemas.openxmlformats.org/drawingml/2006/chart">
            <c:chart xmlns:c="http://schemas.openxmlformats.org/drawingml/2006/chart" xmlns:r="http://schemas.openxmlformats.org/officeDocument/2006/relationships" r:id="rId10"/>
          </a:graphicData>
        </a:graphic>
      </p:graphicFrame>
      <p:sp>
        <p:nvSpPr>
          <p:cNvPr id="17" name="Text Placeholder 14">
            <a:extLst>
              <a:ext uri="{FF2B5EF4-FFF2-40B4-BE49-F238E27FC236}">
                <a16:creationId xmlns:a16="http://schemas.microsoft.com/office/drawing/2014/main" id="{4BE36402-790C-4165-BE4F-3CA3E262617D}"/>
              </a:ext>
            </a:extLst>
          </p:cNvPr>
          <p:cNvSpPr txBox="1">
            <a:spLocks/>
          </p:cNvSpPr>
          <p:nvPr/>
        </p:nvSpPr>
        <p:spPr>
          <a:xfrm>
            <a:off x="6328416" y="1413338"/>
            <a:ext cx="5486575" cy="412363"/>
          </a:xfrm>
          <a:prstGeom prst="rect">
            <a:avLst/>
          </a:prstGeom>
        </p:spPr>
        <p:txBody>
          <a:bodyPr vert="horz" lIns="0" tIns="0" rIns="0" bIns="0" rtlCol="0" anchor="b" anchorCtr="0">
            <a:noAutofit/>
          </a:bodyPr>
          <a:lstStyle/>
          <a:p>
            <a:pPr marR="0" lvl="0" fontAlgn="auto">
              <a:spcBef>
                <a:spcPts val="1000"/>
              </a:spcBef>
              <a:spcAft>
                <a:spcPts val="0"/>
              </a:spcAft>
              <a:buClrTx/>
              <a:buSzTx/>
              <a:tabLst/>
              <a:defRPr/>
            </a:pPr>
            <a:r>
              <a:rPr lang="en-US" b="1">
                <a:solidFill>
                  <a:srgbClr val="12ABDB"/>
                </a:solidFill>
                <a:latin typeface="+mj-lt"/>
              </a:rPr>
              <a:t>Click to insert chart title</a:t>
            </a:r>
            <a:endParaRPr lang="pt-PT" b="1" dirty="0">
              <a:solidFill>
                <a:srgbClr val="12ABDB"/>
              </a:solidFill>
              <a:latin typeface="+mj-lt"/>
            </a:endParaRPr>
          </a:p>
        </p:txBody>
      </p:sp>
      <p:sp>
        <p:nvSpPr>
          <p:cNvPr id="18" name="Text Placeholder 15">
            <a:extLst>
              <a:ext uri="{FF2B5EF4-FFF2-40B4-BE49-F238E27FC236}">
                <a16:creationId xmlns:a16="http://schemas.microsoft.com/office/drawing/2014/main" id="{4E7142AA-9B1D-4D00-A1B7-09FA27DBCFFA}"/>
              </a:ext>
            </a:extLst>
          </p:cNvPr>
          <p:cNvSpPr txBox="1">
            <a:spLocks/>
          </p:cNvSpPr>
          <p:nvPr/>
        </p:nvSpPr>
        <p:spPr>
          <a:xfrm>
            <a:off x="6328416" y="3982893"/>
            <a:ext cx="5486575" cy="412363"/>
          </a:xfrm>
          <a:prstGeom prst="rect">
            <a:avLst/>
          </a:prstGeom>
        </p:spPr>
        <p:txBody>
          <a:bodyPr vert="horz" lIns="0" tIns="0" rIns="0" bIns="0" rtlCol="0" anchor="b" anchorCtr="0">
            <a:noAutofit/>
          </a:bodyPr>
          <a:lstStyle/>
          <a:p>
            <a:pPr marR="0" lvl="0" fontAlgn="auto">
              <a:spcBef>
                <a:spcPts val="1000"/>
              </a:spcBef>
              <a:spcAft>
                <a:spcPts val="0"/>
              </a:spcAft>
              <a:buClrTx/>
              <a:buSzTx/>
              <a:tabLst/>
              <a:defRPr/>
            </a:pPr>
            <a:r>
              <a:rPr lang="en-US" b="1">
                <a:solidFill>
                  <a:srgbClr val="12ABDB"/>
                </a:solidFill>
                <a:latin typeface="+mj-lt"/>
              </a:rPr>
              <a:t>Click to insert chart title</a:t>
            </a:r>
            <a:endParaRPr lang="pt-PT" b="1" dirty="0">
              <a:solidFill>
                <a:srgbClr val="12ABDB"/>
              </a:solidFill>
              <a:latin typeface="+mj-lt"/>
            </a:endParaRPr>
          </a:p>
        </p:txBody>
      </p:sp>
      <p:sp>
        <p:nvSpPr>
          <p:cNvPr id="19" name="Text Placeholder 16">
            <a:extLst>
              <a:ext uri="{FF2B5EF4-FFF2-40B4-BE49-F238E27FC236}">
                <a16:creationId xmlns:a16="http://schemas.microsoft.com/office/drawing/2014/main" id="{12C43DA4-4965-4C22-BE11-8889653272C8}"/>
              </a:ext>
            </a:extLst>
          </p:cNvPr>
          <p:cNvSpPr txBox="1">
            <a:spLocks/>
          </p:cNvSpPr>
          <p:nvPr/>
        </p:nvSpPr>
        <p:spPr>
          <a:xfrm>
            <a:off x="227349" y="3982893"/>
            <a:ext cx="5486575" cy="412363"/>
          </a:xfrm>
          <a:prstGeom prst="rect">
            <a:avLst/>
          </a:prstGeom>
        </p:spPr>
        <p:txBody>
          <a:bodyPr vert="horz" lIns="0" tIns="0" rIns="0" bIns="0" rtlCol="0" anchor="b" anchorCtr="0">
            <a:noAutofit/>
          </a:bodyPr>
          <a:lstStyle/>
          <a:p>
            <a:pPr marR="0" lvl="0" fontAlgn="auto">
              <a:spcBef>
                <a:spcPts val="1000"/>
              </a:spcBef>
              <a:spcAft>
                <a:spcPts val="0"/>
              </a:spcAft>
              <a:buClrTx/>
              <a:buSzTx/>
              <a:tabLst/>
              <a:defRPr/>
            </a:pPr>
            <a:r>
              <a:rPr lang="en-US" b="1" dirty="0">
                <a:solidFill>
                  <a:srgbClr val="12ABDB"/>
                </a:solidFill>
                <a:latin typeface="+mj-lt"/>
              </a:rPr>
              <a:t>Click to insert chart title</a:t>
            </a:r>
            <a:endParaRPr lang="pt-PT" b="1" dirty="0">
              <a:solidFill>
                <a:srgbClr val="12ABDB"/>
              </a:solidFill>
              <a:latin typeface="+mj-lt"/>
            </a:endParaRPr>
          </a:p>
        </p:txBody>
      </p:sp>
      <p:sp>
        <p:nvSpPr>
          <p:cNvPr id="7" name="Title 6"/>
          <p:cNvSpPr>
            <a:spLocks noGrp="1"/>
          </p:cNvSpPr>
          <p:nvPr>
            <p:ph type="title"/>
          </p:nvPr>
        </p:nvSpPr>
        <p:spPr/>
        <p:txBody>
          <a:bodyPr/>
          <a:lstStyle/>
          <a:p>
            <a:r>
              <a:rPr lang="en-US" dirty="0"/>
              <a:t>Title</a:t>
            </a:r>
            <a:br>
              <a:rPr lang="en-US" dirty="0"/>
            </a:br>
            <a:r>
              <a:rPr lang="en-US" dirty="0"/>
              <a:t>(Can be one or two lines)</a:t>
            </a:r>
            <a:endParaRPr lang="en-GB" dirty="0"/>
          </a:p>
        </p:txBody>
      </p:sp>
    </p:spTree>
    <p:extLst>
      <p:ext uri="{BB962C8B-B14F-4D97-AF65-F5344CB8AC3E}">
        <p14:creationId xmlns:p14="http://schemas.microsoft.com/office/powerpoint/2010/main" val="40201520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71" name="think-cell Slide" r:id="rId5" imgW="270" imgH="270" progId="TCLayout.ActiveDocument.1">
                  <p:embed/>
                </p:oleObj>
              </mc:Choice>
              <mc:Fallback>
                <p:oleObj name="think-cell Slide" r:id="rId5" imgW="270" imgH="270" progId="TCLayout.ActiveDocument.1">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Oval 20">
            <a:extLst>
              <a:ext uri="{FF2B5EF4-FFF2-40B4-BE49-F238E27FC236}">
                <a16:creationId xmlns:a16="http://schemas.microsoft.com/office/drawing/2014/main" id="{83825B1A-06E4-4C1E-B67C-4D1E98B779D1}"/>
              </a:ext>
            </a:extLst>
          </p:cNvPr>
          <p:cNvSpPr/>
          <p:nvPr/>
        </p:nvSpPr>
        <p:spPr>
          <a:xfrm>
            <a:off x="703132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8" name="Oval 20">
            <a:extLst>
              <a:ext uri="{FF2B5EF4-FFF2-40B4-BE49-F238E27FC236}">
                <a16:creationId xmlns:a16="http://schemas.microsoft.com/office/drawing/2014/main" id="{758261D3-3B6E-4055-A5DA-9443A2ED77F2}"/>
              </a:ext>
            </a:extLst>
          </p:cNvPr>
          <p:cNvSpPr/>
          <p:nvPr/>
        </p:nvSpPr>
        <p:spPr>
          <a:xfrm>
            <a:off x="1371892" y="222774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le 1"/>
          <p:cNvSpPr>
            <a:spLocks noGrp="1"/>
          </p:cNvSpPr>
          <p:nvPr>
            <p:ph type="title"/>
          </p:nvPr>
        </p:nvSpPr>
        <p:spPr/>
        <p:txBody>
          <a:bodyPr/>
          <a:lstStyle/>
          <a:p>
            <a:r>
              <a:rPr lang="en-US"/>
              <a:t>Title</a:t>
            </a:r>
            <a:br>
              <a:rPr lang="en-US"/>
            </a:br>
            <a:r>
              <a:rPr lang="en-US"/>
              <a:t>(Work for 1 or 2 lines of title)</a:t>
            </a:r>
            <a:endParaRPr lang="en-GB" dirty="0"/>
          </a:p>
        </p:txBody>
      </p:sp>
      <p:sp>
        <p:nvSpPr>
          <p:cNvPr id="3" name="Text Placeholder 3">
            <a:extLst>
              <a:ext uri="{FF2B5EF4-FFF2-40B4-BE49-F238E27FC236}">
                <a16:creationId xmlns:a16="http://schemas.microsoft.com/office/drawing/2014/main" id="{D271D366-DAD6-443B-B28E-15C58219AEC2}"/>
              </a:ext>
            </a:extLst>
          </p:cNvPr>
          <p:cNvSpPr txBox="1">
            <a:spLocks/>
          </p:cNvSpPr>
          <p:nvPr/>
        </p:nvSpPr>
        <p:spPr>
          <a:xfrm>
            <a:off x="695325" y="1737305"/>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4" name="Chart Placeholder 13">
            <a:extLst>
              <a:ext uri="{FF2B5EF4-FFF2-40B4-BE49-F238E27FC236}">
                <a16:creationId xmlns:a16="http://schemas.microsoft.com/office/drawing/2014/main" id="{1B8EBEFD-D01C-4602-B12A-FD6804B55AB2}"/>
              </a:ext>
            </a:extLst>
          </p:cNvPr>
          <p:cNvGraphicFramePr>
            <a:graphicFrameLocks/>
          </p:cNvGraphicFramePr>
          <p:nvPr>
            <p:extLst>
              <p:ext uri="{D42A27DB-BD31-4B8C-83A1-F6EECF244321}">
                <p14:modId xmlns:p14="http://schemas.microsoft.com/office/powerpoint/2010/main" val="3587129420"/>
              </p:ext>
            </p:extLst>
          </p:nvPr>
        </p:nvGraphicFramePr>
        <p:xfrm>
          <a:off x="695325" y="2420938"/>
          <a:ext cx="5113338" cy="3744912"/>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 Placeholder 5">
            <a:extLst>
              <a:ext uri="{FF2B5EF4-FFF2-40B4-BE49-F238E27FC236}">
                <a16:creationId xmlns:a16="http://schemas.microsoft.com/office/drawing/2014/main" id="{24B98095-57B7-46B7-9CCA-A894F31CC343}"/>
              </a:ext>
            </a:extLst>
          </p:cNvPr>
          <p:cNvSpPr txBox="1">
            <a:spLocks/>
          </p:cNvSpPr>
          <p:nvPr/>
        </p:nvSpPr>
        <p:spPr>
          <a:xfrm>
            <a:off x="6355457" y="1765949"/>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6" name="Chart Placeholder 18">
            <a:extLst>
              <a:ext uri="{FF2B5EF4-FFF2-40B4-BE49-F238E27FC236}">
                <a16:creationId xmlns:a16="http://schemas.microsoft.com/office/drawing/2014/main" id="{EDF07F57-EB7C-4C5B-A845-FD24BA6647EB}"/>
              </a:ext>
            </a:extLst>
          </p:cNvPr>
          <p:cNvGraphicFramePr>
            <a:graphicFrameLocks/>
          </p:cNvGraphicFramePr>
          <p:nvPr>
            <p:extLst>
              <p:ext uri="{D42A27DB-BD31-4B8C-83A1-F6EECF244321}">
                <p14:modId xmlns:p14="http://schemas.microsoft.com/office/powerpoint/2010/main" val="2357231606"/>
              </p:ext>
            </p:extLst>
          </p:nvPr>
        </p:nvGraphicFramePr>
        <p:xfrm>
          <a:off x="6485230" y="2422525"/>
          <a:ext cx="5113337" cy="3743325"/>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42"/>
          </p:nvPr>
        </p:nvSpPr>
        <p:spPr/>
        <p:txBody>
          <a:bodyPr/>
          <a:lstStyle/>
          <a:p>
            <a:r>
              <a:rPr lang="en-US" dirty="0"/>
              <a:t>Click to insert text</a:t>
            </a:r>
            <a:endParaRPr lang="pt-PT" dirty="0"/>
          </a:p>
          <a:p>
            <a:endParaRPr lang="en-GB" dirty="0"/>
          </a:p>
        </p:txBody>
      </p:sp>
      <p:sp>
        <p:nvSpPr>
          <p:cNvPr id="14" name="Text Placeholder 13"/>
          <p:cNvSpPr>
            <a:spLocks noGrp="1"/>
          </p:cNvSpPr>
          <p:nvPr>
            <p:ph type="body" sz="quarter" idx="44"/>
          </p:nvPr>
        </p:nvSpPr>
        <p:spPr/>
        <p:txBody>
          <a:bodyPr/>
          <a:lstStyle/>
          <a:p>
            <a:r>
              <a:rPr lang="pt-PT" dirty="0">
                <a:solidFill>
                  <a:srgbClr val="2C004B"/>
                </a:solidFill>
              </a:rPr>
              <a:t>Insert text data</a:t>
            </a:r>
          </a:p>
        </p:txBody>
      </p:sp>
      <p:sp>
        <p:nvSpPr>
          <p:cNvPr id="15" name="Text Placeholder 14"/>
          <p:cNvSpPr>
            <a:spLocks noGrp="1"/>
          </p:cNvSpPr>
          <p:nvPr>
            <p:ph type="body" sz="quarter" idx="45"/>
          </p:nvPr>
        </p:nvSpPr>
        <p:spPr/>
        <p:txBody>
          <a:bodyPr/>
          <a:lstStyle/>
          <a:p>
            <a:r>
              <a:rPr lang="pt-PT" dirty="0">
                <a:solidFill>
                  <a:srgbClr val="2C004B"/>
                </a:solidFill>
              </a:rPr>
              <a:t>30%</a:t>
            </a:r>
          </a:p>
        </p:txBody>
      </p:sp>
      <p:sp>
        <p:nvSpPr>
          <p:cNvPr id="12" name="Title 11"/>
          <p:cNvSpPr>
            <a:spLocks noGrp="1"/>
          </p:cNvSpPr>
          <p:nvPr>
            <p:ph type="title"/>
          </p:nvPr>
        </p:nvSpPr>
        <p:spPr>
          <a:xfrm>
            <a:off x="227349" y="0"/>
            <a:ext cx="6362137" cy="1104900"/>
          </a:xfrm>
        </p:spPr>
        <p:txBody>
          <a:bodyPr/>
          <a:lstStyle/>
          <a:p>
            <a:r>
              <a:rPr lang="en-US" dirty="0"/>
              <a:t>Click to insert title</a:t>
            </a:r>
            <a:endParaRPr lang="en-GB" dirty="0"/>
          </a:p>
        </p:txBody>
      </p:sp>
      <p:graphicFrame>
        <p:nvGraphicFramePr>
          <p:cNvPr id="16" name="Object 139">
            <a:extLst>
              <a:ext uri="{FF2B5EF4-FFF2-40B4-BE49-F238E27FC236}">
                <a16:creationId xmlns:a16="http://schemas.microsoft.com/office/drawing/2014/main" id="{F802B891-1BAC-4F06-AACD-D1438BA760C7}"/>
              </a:ext>
            </a:extLst>
          </p:cNvPr>
          <p:cNvGraphicFramePr>
            <a:graphicFrameLocks noChangeAspect="1"/>
          </p:cNvGraphicFramePr>
          <p:nvPr>
            <p:extLst/>
          </p:nvPr>
        </p:nvGraphicFramePr>
        <p:xfrm>
          <a:off x="620260" y="2249713"/>
          <a:ext cx="5370512" cy="2483086"/>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 Placeholder 10">
            <a:extLst>
              <a:ext uri="{FF2B5EF4-FFF2-40B4-BE49-F238E27FC236}">
                <a16:creationId xmlns:a16="http://schemas.microsoft.com/office/drawing/2014/main" id="{6AD99149-B6C1-4E48-BB60-5EC17248EF81}"/>
              </a:ext>
            </a:extLst>
          </p:cNvPr>
          <p:cNvSpPr txBox="1">
            <a:spLocks/>
          </p:cNvSpPr>
          <p:nvPr/>
        </p:nvSpPr>
        <p:spPr>
          <a:xfrm>
            <a:off x="620261" y="1364343"/>
            <a:ext cx="5374703" cy="694715"/>
          </a:xfrm>
          <a:prstGeom prst="rect">
            <a:avLst/>
          </a:prstGeom>
        </p:spPr>
        <p:txBody>
          <a:bodyPr vert="horz" lIns="0" tIns="0" rIns="0" bIns="0" rtlCol="0" anchor="b" anchorCtr="0">
            <a:noAutofit/>
          </a:bodyPr>
          <a:lstStyle/>
          <a:p>
            <a:pPr indent="0">
              <a:lnSpc>
                <a:spcPct val="90000"/>
              </a:lnSpc>
              <a:spcBef>
                <a:spcPts val="1000"/>
              </a:spcBef>
              <a:buFont typeface="Arial" panose="020B0604020202020204" pitchFamily="34" charset="0"/>
              <a:buNone/>
            </a:pPr>
            <a:r>
              <a:rPr lang="en-US" b="1" dirty="0">
                <a:solidFill>
                  <a:srgbClr val="12ABDB"/>
                </a:solidFill>
                <a:latin typeface="+mj-lt"/>
              </a:rPr>
              <a:t>Click to insert title</a:t>
            </a:r>
            <a:endParaRPr lang="pt-PT" b="1" dirty="0">
              <a:solidFill>
                <a:srgbClr val="12ABDB"/>
              </a:solidFill>
              <a:latin typeface="+mj-lt"/>
            </a:endParaRPr>
          </a:p>
        </p:txBody>
      </p:sp>
      <p:sp>
        <p:nvSpPr>
          <p:cNvPr id="18" name="Text Placeholder 11">
            <a:extLst>
              <a:ext uri="{FF2B5EF4-FFF2-40B4-BE49-F238E27FC236}">
                <a16:creationId xmlns:a16="http://schemas.microsoft.com/office/drawing/2014/main" id="{98EB6AB7-C898-40BD-AAC1-0B07210AC6BE}"/>
              </a:ext>
            </a:extLst>
          </p:cNvPr>
          <p:cNvSpPr txBox="1">
            <a:spLocks/>
          </p:cNvSpPr>
          <p:nvPr/>
        </p:nvSpPr>
        <p:spPr>
          <a:xfrm>
            <a:off x="620261" y="5095868"/>
            <a:ext cx="5374702" cy="877506"/>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cxnSp>
        <p:nvCxnSpPr>
          <p:cNvPr id="19" name="Conector reto 49">
            <a:extLst>
              <a:ext uri="{FF2B5EF4-FFF2-40B4-BE49-F238E27FC236}">
                <a16:creationId xmlns:a16="http://schemas.microsoft.com/office/drawing/2014/main" id="{6D3C8860-959C-49EB-A684-8580F80961E9}"/>
              </a:ext>
            </a:extLst>
          </p:cNvPr>
          <p:cNvCxnSpPr>
            <a:cxnSpLocks/>
          </p:cNvCxnSpPr>
          <p:nvPr/>
        </p:nvCxnSpPr>
        <p:spPr>
          <a:xfrm>
            <a:off x="227349" y="1104900"/>
            <a:ext cx="6362136" cy="0"/>
          </a:xfrm>
          <a:prstGeom prst="line">
            <a:avLst/>
          </a:prstGeom>
          <a:solidFill>
            <a:schemeClr val="tx1"/>
          </a:solidFill>
          <a:ln w="76200"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F8358315-2705-476B-8EAE-FBB310F13E29}"/>
              </a:ext>
            </a:extLst>
          </p:cNvPr>
          <p:cNvSpPr/>
          <p:nvPr/>
        </p:nvSpPr>
        <p:spPr>
          <a:xfrm>
            <a:off x="620261" y="2162629"/>
            <a:ext cx="5374702" cy="265725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4825006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SmartArt Placeholder 17">
            <a:extLst>
              <a:ext uri="{FF2B5EF4-FFF2-40B4-BE49-F238E27FC236}">
                <a16:creationId xmlns:a16="http://schemas.microsoft.com/office/drawing/2014/main" id="{270F303C-7A30-43E7-BE9A-76AA5EDFF927}"/>
              </a:ext>
            </a:extLst>
          </p:cNvPr>
          <p:cNvGraphicFramePr>
            <a:graphicFrameLocks/>
          </p:cNvGraphicFramePr>
          <p:nvPr>
            <p:extLst>
              <p:ext uri="{D42A27DB-BD31-4B8C-83A1-F6EECF244321}">
                <p14:modId xmlns:p14="http://schemas.microsoft.com/office/powerpoint/2010/main" val="1473533253"/>
              </p:ext>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Table Placeholder 16">
            <a:extLst>
              <a:ext uri="{FF2B5EF4-FFF2-40B4-BE49-F238E27FC236}">
                <a16:creationId xmlns:a16="http://schemas.microsoft.com/office/drawing/2014/main" id="{EB046D6D-7152-4985-8D8C-F9BF93B773A5}"/>
              </a:ext>
            </a:extLst>
          </p:cNvPr>
          <p:cNvGraphicFramePr>
            <a:graphicFrameLocks/>
          </p:cNvGraphicFramePr>
          <p:nvPr>
            <p:extLst>
              <p:ext uri="{D42A27DB-BD31-4B8C-83A1-F6EECF244321}">
                <p14:modId xmlns:p14="http://schemas.microsoft.com/office/powerpoint/2010/main" val="2774064308"/>
              </p:ext>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val="3926787875"/>
                    </a:ext>
                  </a:extLst>
                </a:gridCol>
                <a:gridCol w="768903">
                  <a:extLst>
                    <a:ext uri="{9D8B030D-6E8A-4147-A177-3AD203B41FA5}">
                      <a16:colId xmlns:a16="http://schemas.microsoft.com/office/drawing/2014/main" val="1347465143"/>
                    </a:ext>
                  </a:extLst>
                </a:gridCol>
                <a:gridCol w="768903">
                  <a:extLst>
                    <a:ext uri="{9D8B030D-6E8A-4147-A177-3AD203B41FA5}">
                      <a16:colId xmlns:a16="http://schemas.microsoft.com/office/drawing/2014/main" val="802954316"/>
                    </a:ext>
                  </a:extLst>
                </a:gridCol>
                <a:gridCol w="768903">
                  <a:extLst>
                    <a:ext uri="{9D8B030D-6E8A-4147-A177-3AD203B41FA5}">
                      <a16:colId xmlns:a16="http://schemas.microsoft.com/office/drawing/2014/main" val="237998491"/>
                    </a:ext>
                  </a:extLst>
                </a:gridCol>
                <a:gridCol w="768903">
                  <a:extLst>
                    <a:ext uri="{9D8B030D-6E8A-4147-A177-3AD203B41FA5}">
                      <a16:colId xmlns:a16="http://schemas.microsoft.com/office/drawing/2014/main" val="559338291"/>
                    </a:ext>
                  </a:extLst>
                </a:gridCol>
                <a:gridCol w="768903">
                  <a:extLst>
                    <a:ext uri="{9D8B030D-6E8A-4147-A177-3AD203B41FA5}">
                      <a16:colId xmlns:a16="http://schemas.microsoft.com/office/drawing/2014/main" val="2662145481"/>
                    </a:ext>
                  </a:extLst>
                </a:gridCol>
                <a:gridCol w="768903">
                  <a:extLst>
                    <a:ext uri="{9D8B030D-6E8A-4147-A177-3AD203B41FA5}">
                      <a16:colId xmlns:a16="http://schemas.microsoft.com/office/drawing/2014/main" val="842013454"/>
                    </a:ext>
                  </a:extLst>
                </a:gridCol>
                <a:gridCol w="768903">
                  <a:extLst>
                    <a:ext uri="{9D8B030D-6E8A-4147-A177-3AD203B41FA5}">
                      <a16:colId xmlns:a16="http://schemas.microsoft.com/office/drawing/2014/main" val="1726885786"/>
                    </a:ext>
                  </a:extLst>
                </a:gridCol>
                <a:gridCol w="768903">
                  <a:extLst>
                    <a:ext uri="{9D8B030D-6E8A-4147-A177-3AD203B41FA5}">
                      <a16:colId xmlns:a16="http://schemas.microsoft.com/office/drawing/2014/main" val="3535952006"/>
                    </a:ext>
                  </a:extLst>
                </a:gridCol>
                <a:gridCol w="768903">
                  <a:extLst>
                    <a:ext uri="{9D8B030D-6E8A-4147-A177-3AD203B41FA5}">
                      <a16:colId xmlns:a16="http://schemas.microsoft.com/office/drawing/2014/main" val="2591906777"/>
                    </a:ext>
                  </a:extLst>
                </a:gridCol>
                <a:gridCol w="768903">
                  <a:extLst>
                    <a:ext uri="{9D8B030D-6E8A-4147-A177-3AD203B41FA5}">
                      <a16:colId xmlns:a16="http://schemas.microsoft.com/office/drawing/2014/main" val="4149502341"/>
                    </a:ext>
                  </a:extLst>
                </a:gridCol>
                <a:gridCol w="768903">
                  <a:extLst>
                    <a:ext uri="{9D8B030D-6E8A-4147-A177-3AD203B41FA5}">
                      <a16:colId xmlns:a16="http://schemas.microsoft.com/office/drawing/2014/main" val="3973496842"/>
                    </a:ext>
                  </a:extLst>
                </a:gridCol>
                <a:gridCol w="768903">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grpSp>
        <p:nvGrpSpPr>
          <p:cNvPr id="10" name="Group 9">
            <a:extLst>
              <a:ext uri="{FF2B5EF4-FFF2-40B4-BE49-F238E27FC236}">
                <a16:creationId xmlns:a16="http://schemas.microsoft.com/office/drawing/2014/main"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2" name="Rectangle 51">
            <a:extLst>
              <a:ext uri="{FF2B5EF4-FFF2-40B4-BE49-F238E27FC236}">
                <a16:creationId xmlns:a16="http://schemas.microsoft.com/office/drawing/2014/main" id="{3004B549-EB02-42FD-B432-43F5D9AC551E}"/>
              </a:ext>
            </a:extLst>
          </p:cNvPr>
          <p:cNvSpPr/>
          <p:nvPr/>
        </p:nvSpPr>
        <p:spPr>
          <a:xfrm>
            <a:off x="2689156" y="1871519"/>
            <a:ext cx="2068473" cy="817353"/>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Rectangle 52">
            <a:extLst>
              <a:ext uri="{FF2B5EF4-FFF2-40B4-BE49-F238E27FC236}">
                <a16:creationId xmlns:a16="http://schemas.microsoft.com/office/drawing/2014/main" id="{86304B18-FE01-4A88-AA17-A2A76AB7E3F6}"/>
              </a:ext>
            </a:extLst>
          </p:cNvPr>
          <p:cNvSpPr/>
          <p:nvPr/>
        </p:nvSpPr>
        <p:spPr>
          <a:xfrm>
            <a:off x="247135"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Rectangle 53">
            <a:extLst>
              <a:ext uri="{FF2B5EF4-FFF2-40B4-BE49-F238E27FC236}">
                <a16:creationId xmlns:a16="http://schemas.microsoft.com/office/drawing/2014/main" id="{AC8E1C88-76B5-4FBC-8619-E07B3932BC02}"/>
              </a:ext>
            </a:extLst>
          </p:cNvPr>
          <p:cNvSpPr/>
          <p:nvPr/>
        </p:nvSpPr>
        <p:spPr>
          <a:xfrm>
            <a:off x="303853" y="1871519"/>
            <a:ext cx="2068473" cy="817353"/>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55" name="Group 23">
            <a:extLst>
              <a:ext uri="{FF2B5EF4-FFF2-40B4-BE49-F238E27FC236}">
                <a16:creationId xmlns:a16="http://schemas.microsoft.com/office/drawing/2014/main" id="{1B58497A-0F7B-4703-85F2-39E02EFE84A4}"/>
              </a:ext>
            </a:extLst>
          </p:cNvPr>
          <p:cNvGrpSpPr/>
          <p:nvPr/>
        </p:nvGrpSpPr>
        <p:grpSpPr>
          <a:xfrm>
            <a:off x="407515" y="2021579"/>
            <a:ext cx="569860" cy="503634"/>
            <a:chOff x="-3076576" y="4076701"/>
            <a:chExt cx="1465263" cy="1363663"/>
          </a:xfrm>
        </p:grpSpPr>
        <p:sp>
          <p:nvSpPr>
            <p:cNvPr id="98" name="Freeform 5">
              <a:extLst>
                <a:ext uri="{FF2B5EF4-FFF2-40B4-BE49-F238E27FC236}">
                  <a16:creationId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Rectangle 55">
            <a:extLst>
              <a:ext uri="{FF2B5EF4-FFF2-40B4-BE49-F238E27FC236}">
                <a16:creationId xmlns:a16="http://schemas.microsoft.com/office/drawing/2014/main" id="{A1809CA5-7D56-407C-9D28-9C025BC3466D}"/>
              </a:ext>
            </a:extLst>
          </p:cNvPr>
          <p:cNvSpPr/>
          <p:nvPr/>
        </p:nvSpPr>
        <p:spPr>
          <a:xfrm>
            <a:off x="2632438"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7" name="Group 9">
            <a:extLst>
              <a:ext uri="{FF2B5EF4-FFF2-40B4-BE49-F238E27FC236}">
                <a16:creationId xmlns:a16="http://schemas.microsoft.com/office/drawing/2014/main" id="{C6611CCA-FE04-4683-AE2D-7BE320258138}"/>
              </a:ext>
            </a:extLst>
          </p:cNvPr>
          <p:cNvGrpSpPr>
            <a:grpSpLocks noChangeAspect="1"/>
          </p:cNvGrpSpPr>
          <p:nvPr/>
        </p:nvGrpSpPr>
        <p:grpSpPr>
          <a:xfrm>
            <a:off x="2819460" y="2022061"/>
            <a:ext cx="544820" cy="482948"/>
            <a:chOff x="-2063751" y="3944938"/>
            <a:chExt cx="882651" cy="823913"/>
          </a:xfrm>
        </p:grpSpPr>
        <p:sp>
          <p:nvSpPr>
            <p:cNvPr id="89" name="Freeform 5">
              <a:extLst>
                <a:ext uri="{FF2B5EF4-FFF2-40B4-BE49-F238E27FC236}">
                  <a16:creationId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8" name="Rectangle 57">
            <a:extLst>
              <a:ext uri="{FF2B5EF4-FFF2-40B4-BE49-F238E27FC236}">
                <a16:creationId xmlns:a16="http://schemas.microsoft.com/office/drawing/2014/main" id="{E84F61DF-65CA-45BF-9A0B-34B97F6A97EA}"/>
              </a:ext>
            </a:extLst>
          </p:cNvPr>
          <p:cNvSpPr/>
          <p:nvPr/>
        </p:nvSpPr>
        <p:spPr>
          <a:xfrm>
            <a:off x="5017740"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a16="http://schemas.microsoft.com/office/drawing/2014/main" id="{831AED31-10FD-4B27-990C-A819D745E531}"/>
              </a:ext>
            </a:extLst>
          </p:cNvPr>
          <p:cNvSpPr/>
          <p:nvPr/>
        </p:nvSpPr>
        <p:spPr>
          <a:xfrm>
            <a:off x="5074458" y="1871519"/>
            <a:ext cx="2068473" cy="81735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0" name="Group 8">
            <a:extLst>
              <a:ext uri="{FF2B5EF4-FFF2-40B4-BE49-F238E27FC236}">
                <a16:creationId xmlns:a16="http://schemas.microsoft.com/office/drawing/2014/main" id="{B2B8CB78-28CC-46E6-8507-EF0E6B4E5F39}"/>
              </a:ext>
            </a:extLst>
          </p:cNvPr>
          <p:cNvGrpSpPr/>
          <p:nvPr/>
        </p:nvGrpSpPr>
        <p:grpSpPr>
          <a:xfrm>
            <a:off x="5178357" y="2021681"/>
            <a:ext cx="557448" cy="499258"/>
            <a:chOff x="6460778" y="5092349"/>
            <a:chExt cx="1114525" cy="1051130"/>
          </a:xfrm>
        </p:grpSpPr>
        <p:sp>
          <p:nvSpPr>
            <p:cNvPr id="87" name="Freeform 7">
              <a:extLst>
                <a:ext uri="{FF2B5EF4-FFF2-40B4-BE49-F238E27FC236}">
                  <a16:creationId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
              <a:extLst>
                <a:ext uri="{FF2B5EF4-FFF2-40B4-BE49-F238E27FC236}">
                  <a16:creationId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id="{6A2E64E3-C40B-4FA6-866D-445B474C04A6}"/>
              </a:ext>
            </a:extLst>
          </p:cNvPr>
          <p:cNvSpPr/>
          <p:nvPr/>
        </p:nvSpPr>
        <p:spPr>
          <a:xfrm>
            <a:off x="7403043"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a16="http://schemas.microsoft.com/office/drawing/2014/main" id="{E6142444-0D7A-4B76-850A-8328C7265351}"/>
              </a:ext>
            </a:extLst>
          </p:cNvPr>
          <p:cNvSpPr/>
          <p:nvPr/>
        </p:nvSpPr>
        <p:spPr>
          <a:xfrm>
            <a:off x="7459761" y="1871519"/>
            <a:ext cx="2068473"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a16="http://schemas.microsoft.com/office/drawing/2014/main" id="{1726E9E8-BDE6-475F-B50B-255DDC05C427}"/>
              </a:ext>
            </a:extLst>
          </p:cNvPr>
          <p:cNvGrpSpPr>
            <a:grpSpLocks noChangeAspect="1"/>
          </p:cNvGrpSpPr>
          <p:nvPr/>
        </p:nvGrpSpPr>
        <p:grpSpPr>
          <a:xfrm>
            <a:off x="7563325" y="2021644"/>
            <a:ext cx="565005" cy="500840"/>
            <a:chOff x="-2187576" y="5018088"/>
            <a:chExt cx="882651" cy="823913"/>
          </a:xfrm>
        </p:grpSpPr>
        <p:sp>
          <p:nvSpPr>
            <p:cNvPr id="84" name="Freeform 17">
              <a:extLst>
                <a:ext uri="{FF2B5EF4-FFF2-40B4-BE49-F238E27FC236}">
                  <a16:creationId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8">
              <a:extLst>
                <a:ext uri="{FF2B5EF4-FFF2-40B4-BE49-F238E27FC236}">
                  <a16:creationId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4" name="Rectangle 63">
            <a:extLst>
              <a:ext uri="{FF2B5EF4-FFF2-40B4-BE49-F238E27FC236}">
                <a16:creationId xmlns:a16="http://schemas.microsoft.com/office/drawing/2014/main" id="{9C16D0F2-2CA3-4538-9C3C-86C7AA9E9C07}"/>
              </a:ext>
            </a:extLst>
          </p:cNvPr>
          <p:cNvSpPr/>
          <p:nvPr/>
        </p:nvSpPr>
        <p:spPr>
          <a:xfrm>
            <a:off x="9788346"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5" name="Rectangle 64">
            <a:extLst>
              <a:ext uri="{FF2B5EF4-FFF2-40B4-BE49-F238E27FC236}">
                <a16:creationId xmlns:a16="http://schemas.microsoft.com/office/drawing/2014/main" id="{F632AB97-A0B1-4CCB-95C6-07407A0214F2}"/>
              </a:ext>
            </a:extLst>
          </p:cNvPr>
          <p:cNvSpPr/>
          <p:nvPr/>
        </p:nvSpPr>
        <p:spPr>
          <a:xfrm>
            <a:off x="9845064" y="1871519"/>
            <a:ext cx="2068473" cy="8173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6" name="Group 23">
            <a:extLst>
              <a:ext uri="{FF2B5EF4-FFF2-40B4-BE49-F238E27FC236}">
                <a16:creationId xmlns:a16="http://schemas.microsoft.com/office/drawing/2014/main" id="{6637FD03-2A69-4B0E-9145-84BE19095B05}"/>
              </a:ext>
            </a:extLst>
          </p:cNvPr>
          <p:cNvGrpSpPr>
            <a:grpSpLocks noChangeAspect="1"/>
          </p:cNvGrpSpPr>
          <p:nvPr/>
        </p:nvGrpSpPr>
        <p:grpSpPr>
          <a:xfrm>
            <a:off x="9942541" y="2021487"/>
            <a:ext cx="574680" cy="507592"/>
            <a:chOff x="-2836862" y="6440488"/>
            <a:chExt cx="885824" cy="823913"/>
          </a:xfrm>
        </p:grpSpPr>
        <p:sp>
          <p:nvSpPr>
            <p:cNvPr id="77" name="Freeform 23">
              <a:extLst>
                <a:ext uri="{FF2B5EF4-FFF2-40B4-BE49-F238E27FC236}">
                  <a16:creationId xmlns:a16="http://schemas.microsoft.com/office/drawing/2014/main"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4">
              <a:extLst>
                <a:ext uri="{FF2B5EF4-FFF2-40B4-BE49-F238E27FC236}">
                  <a16:creationId xmlns:a16="http://schemas.microsoft.com/office/drawing/2014/main"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5">
              <a:extLst>
                <a:ext uri="{FF2B5EF4-FFF2-40B4-BE49-F238E27FC236}">
                  <a16:creationId xmlns:a16="http://schemas.microsoft.com/office/drawing/2014/main"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6">
              <a:extLst>
                <a:ext uri="{FF2B5EF4-FFF2-40B4-BE49-F238E27FC236}">
                  <a16:creationId xmlns:a16="http://schemas.microsoft.com/office/drawing/2014/main"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7">
              <a:extLst>
                <a:ext uri="{FF2B5EF4-FFF2-40B4-BE49-F238E27FC236}">
                  <a16:creationId xmlns:a16="http://schemas.microsoft.com/office/drawing/2014/main"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8">
              <a:extLst>
                <a:ext uri="{FF2B5EF4-FFF2-40B4-BE49-F238E27FC236}">
                  <a16:creationId xmlns:a16="http://schemas.microsoft.com/office/drawing/2014/main"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29">
              <a:extLst>
                <a:ext uri="{FF2B5EF4-FFF2-40B4-BE49-F238E27FC236}">
                  <a16:creationId xmlns:a16="http://schemas.microsoft.com/office/drawing/2014/main"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Text Placeholder 49">
            <a:extLst>
              <a:ext uri="{FF2B5EF4-FFF2-40B4-BE49-F238E27FC236}">
                <a16:creationId xmlns:a16="http://schemas.microsoft.com/office/drawing/2014/main" id="{B7587CDB-1C07-4A35-9025-AA8CE7486F0C}"/>
              </a:ext>
            </a:extLst>
          </p:cNvPr>
          <p:cNvSpPr txBox="1">
            <a:spLocks/>
          </p:cNvSpPr>
          <p:nvPr/>
        </p:nvSpPr>
        <p:spPr>
          <a:xfrm>
            <a:off x="970302"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8" name="Text Placeholder 49">
            <a:extLst>
              <a:ext uri="{FF2B5EF4-FFF2-40B4-BE49-F238E27FC236}">
                <a16:creationId xmlns:a16="http://schemas.microsoft.com/office/drawing/2014/main" id="{34D2C465-7F4C-4412-92A1-4BD3CF691704}"/>
              </a:ext>
            </a:extLst>
          </p:cNvPr>
          <p:cNvSpPr txBox="1">
            <a:spLocks/>
          </p:cNvSpPr>
          <p:nvPr/>
        </p:nvSpPr>
        <p:spPr>
          <a:xfrm>
            <a:off x="5741018"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a16="http://schemas.microsoft.com/office/drawing/2014/main" id="{57B6C7B7-664B-4E3D-88DB-E05D01E893A5}"/>
              </a:ext>
            </a:extLst>
          </p:cNvPr>
          <p:cNvSpPr txBox="1">
            <a:spLocks/>
          </p:cNvSpPr>
          <p:nvPr/>
        </p:nvSpPr>
        <p:spPr>
          <a:xfrm>
            <a:off x="8125739"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0" name="Text Placeholder 49">
            <a:extLst>
              <a:ext uri="{FF2B5EF4-FFF2-40B4-BE49-F238E27FC236}">
                <a16:creationId xmlns:a16="http://schemas.microsoft.com/office/drawing/2014/main"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1" name="Text Placeholder 53">
            <a:extLst>
              <a:ext uri="{FF2B5EF4-FFF2-40B4-BE49-F238E27FC236}">
                <a16:creationId xmlns:a16="http://schemas.microsoft.com/office/drawing/2014/main" id="{B381AF7E-E2EF-45EC-A796-E48D60A5BD42}"/>
              </a:ext>
            </a:extLst>
          </p:cNvPr>
          <p:cNvSpPr txBox="1">
            <a:spLocks/>
          </p:cNvSpPr>
          <p:nvPr/>
        </p:nvSpPr>
        <p:spPr>
          <a:xfrm>
            <a:off x="327117"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p:txBody>
      </p:sp>
      <p:sp>
        <p:nvSpPr>
          <p:cNvPr id="72" name="Text Placeholder 54">
            <a:extLst>
              <a:ext uri="{FF2B5EF4-FFF2-40B4-BE49-F238E27FC236}">
                <a16:creationId xmlns:a16="http://schemas.microsoft.com/office/drawing/2014/main" id="{CFEE2F2B-C0AC-4233-BD61-A582DD47325E}"/>
              </a:ext>
            </a:extLst>
          </p:cNvPr>
          <p:cNvSpPr txBox="1">
            <a:spLocks/>
          </p:cNvSpPr>
          <p:nvPr/>
        </p:nvSpPr>
        <p:spPr>
          <a:xfrm>
            <a:off x="2701203"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3" name="Text Placeholder 55">
            <a:extLst>
              <a:ext uri="{FF2B5EF4-FFF2-40B4-BE49-F238E27FC236}">
                <a16:creationId xmlns:a16="http://schemas.microsoft.com/office/drawing/2014/main" id="{2490ED01-BBF4-4534-BC78-234CA59A4782}"/>
              </a:ext>
            </a:extLst>
          </p:cNvPr>
          <p:cNvSpPr txBox="1">
            <a:spLocks/>
          </p:cNvSpPr>
          <p:nvPr/>
        </p:nvSpPr>
        <p:spPr>
          <a:xfrm>
            <a:off x="5099131"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4" name="Text Placeholder 56">
            <a:extLst>
              <a:ext uri="{FF2B5EF4-FFF2-40B4-BE49-F238E27FC236}">
                <a16:creationId xmlns:a16="http://schemas.microsoft.com/office/drawing/2014/main" id="{67D0B6C8-3FAB-4C9A-849C-9BA2E2856233}"/>
              </a:ext>
            </a:extLst>
          </p:cNvPr>
          <p:cNvSpPr txBox="1">
            <a:spLocks/>
          </p:cNvSpPr>
          <p:nvPr/>
        </p:nvSpPr>
        <p:spPr>
          <a:xfrm>
            <a:off x="7482554"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5" name="Text Placeholder 57">
            <a:extLst>
              <a:ext uri="{FF2B5EF4-FFF2-40B4-BE49-F238E27FC236}">
                <a16:creationId xmlns:a16="http://schemas.microsoft.com/office/drawing/2014/main" id="{32A1182A-5A8F-41C4-B8F2-95E010CBB41A}"/>
              </a:ext>
            </a:extLst>
          </p:cNvPr>
          <p:cNvSpPr txBox="1">
            <a:spLocks/>
          </p:cNvSpPr>
          <p:nvPr/>
        </p:nvSpPr>
        <p:spPr>
          <a:xfrm>
            <a:off x="9873229"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6" name="Text Placeholder 49">
            <a:extLst>
              <a:ext uri="{FF2B5EF4-FFF2-40B4-BE49-F238E27FC236}">
                <a16:creationId xmlns:a16="http://schemas.microsoft.com/office/drawing/2014/main" id="{DF8B7F35-0F7B-446E-8B36-6743367C0AA4}"/>
              </a:ext>
            </a:extLst>
          </p:cNvPr>
          <p:cNvSpPr txBox="1">
            <a:spLocks/>
          </p:cNvSpPr>
          <p:nvPr/>
        </p:nvSpPr>
        <p:spPr>
          <a:xfrm>
            <a:off x="3382247"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Title of the presentation</a:t>
            </a:r>
            <a:br>
              <a:rPr lang="en-US" dirty="0"/>
            </a:br>
            <a:r>
              <a:rPr lang="en-US" dirty="0"/>
              <a:t>2 lines</a:t>
            </a:r>
            <a:endParaRPr lang="en-GB" dirty="0"/>
          </a:p>
        </p:txBody>
      </p:sp>
      <p:sp>
        <p:nvSpPr>
          <p:cNvPr id="5" name="Subtitle 4"/>
          <p:cNvSpPr>
            <a:spLocks noGrp="1"/>
          </p:cNvSpPr>
          <p:nvPr>
            <p:ph type="subTitle" idx="1"/>
          </p:nvPr>
        </p:nvSpPr>
        <p:spPr/>
        <p:txBody>
          <a:bodyPr/>
          <a:lstStyle/>
          <a:p>
            <a:r>
              <a:rPr lang="en-US"/>
              <a:t>Location, Date, Author</a:t>
            </a:r>
          </a:p>
          <a:p>
            <a:endParaRPr lang="en-GB"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3" name="think-cell Slide" r:id="rId5" imgW="270" imgH="270" progId="TCLayout.ActiveDocument.1">
                  <p:embed/>
                </p:oleObj>
              </mc:Choice>
              <mc:Fallback>
                <p:oleObj name="think-cell Slide" r:id="rId5" imgW="270" imgH="270" progId="TCLayout.ActiveDocument.1">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1767017"/>
            <a:ext cx="12192000" cy="30274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3" name="Chart Placeholder 53">
            <a:extLst>
              <a:ext uri="{FF2B5EF4-FFF2-40B4-BE49-F238E27FC236}">
                <a16:creationId xmlns:a16="http://schemas.microsoft.com/office/drawing/2014/main" id="{322A5327-C51A-4B7F-B6E5-E485AE586C16}"/>
              </a:ext>
            </a:extLst>
          </p:cNvPr>
          <p:cNvGraphicFramePr>
            <a:graphicFrameLocks/>
          </p:cNvGraphicFramePr>
          <p:nvPr>
            <p:extLst>
              <p:ext uri="{D42A27DB-BD31-4B8C-83A1-F6EECF244321}">
                <p14:modId xmlns:p14="http://schemas.microsoft.com/office/powerpoint/2010/main" val="2226346901"/>
              </p:ext>
            </p:extLst>
          </p:nvPr>
        </p:nvGraphicFramePr>
        <p:xfrm>
          <a:off x="6580188" y="2099611"/>
          <a:ext cx="1727200" cy="1617663"/>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 Placeholder 14">
            <a:extLst>
              <a:ext uri="{FF2B5EF4-FFF2-40B4-BE49-F238E27FC236}">
                <a16:creationId xmlns:a16="http://schemas.microsoft.com/office/drawing/2014/main" id="{DA44DA33-78E9-4A33-9092-C1D362091F9D}"/>
              </a:ext>
            </a:extLst>
          </p:cNvPr>
          <p:cNvSpPr txBox="1">
            <a:spLocks/>
          </p:cNvSpPr>
          <p:nvPr/>
        </p:nvSpPr>
        <p:spPr>
          <a:xfrm>
            <a:off x="911424"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5" name="Chart Placeholder 30">
            <a:extLst>
              <a:ext uri="{FF2B5EF4-FFF2-40B4-BE49-F238E27FC236}">
                <a16:creationId xmlns:a16="http://schemas.microsoft.com/office/drawing/2014/main" id="{ACEEE356-0C8E-4A2E-81C6-7EEA751EBA66}"/>
              </a:ext>
            </a:extLst>
          </p:cNvPr>
          <p:cNvGraphicFramePr>
            <a:graphicFrameLocks/>
          </p:cNvGraphicFramePr>
          <p:nvPr>
            <p:extLst>
              <p:ext uri="{D42A27DB-BD31-4B8C-83A1-F6EECF244321}">
                <p14:modId xmlns:p14="http://schemas.microsoft.com/office/powerpoint/2010/main" val="4279159395"/>
              </p:ext>
            </p:extLst>
          </p:nvPr>
        </p:nvGraphicFramePr>
        <p:xfrm>
          <a:off x="1235075" y="2094849"/>
          <a:ext cx="1728788" cy="1617662"/>
        </p:xfrm>
        <a:graphic>
          <a:graphicData uri="http://schemas.openxmlformats.org/drawingml/2006/chart">
            <c:chart xmlns:c="http://schemas.openxmlformats.org/drawingml/2006/chart" xmlns:r="http://schemas.openxmlformats.org/officeDocument/2006/relationships" r:id="rId8"/>
          </a:graphicData>
        </a:graphic>
      </p:graphicFrame>
      <p:sp>
        <p:nvSpPr>
          <p:cNvPr id="6" name="Text Placeholder 39">
            <a:extLst>
              <a:ext uri="{FF2B5EF4-FFF2-40B4-BE49-F238E27FC236}">
                <a16:creationId xmlns:a16="http://schemas.microsoft.com/office/drawing/2014/main" id="{2E524EE0-5878-4F14-AFA3-7F9BAB057DA6}"/>
              </a:ext>
            </a:extLst>
          </p:cNvPr>
          <p:cNvSpPr txBox="1">
            <a:spLocks/>
          </p:cNvSpPr>
          <p:nvPr/>
        </p:nvSpPr>
        <p:spPr>
          <a:xfrm>
            <a:off x="1702767"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7" name="Text Placeholder 17">
            <a:extLst>
              <a:ext uri="{FF2B5EF4-FFF2-40B4-BE49-F238E27FC236}">
                <a16:creationId xmlns:a16="http://schemas.microsoft.com/office/drawing/2014/main" id="{D231228D-9F22-40E5-A20B-336BA601701D}"/>
              </a:ext>
            </a:extLst>
          </p:cNvPr>
          <p:cNvSpPr txBox="1">
            <a:spLocks/>
          </p:cNvSpPr>
          <p:nvPr/>
        </p:nvSpPr>
        <p:spPr>
          <a:xfrm>
            <a:off x="3588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8" name="Chart Placeholder 35">
            <a:extLst>
              <a:ext uri="{FF2B5EF4-FFF2-40B4-BE49-F238E27FC236}">
                <a16:creationId xmlns:a16="http://schemas.microsoft.com/office/drawing/2014/main" id="{D0A47225-DD87-46CE-A4CB-EDD222528DF1}"/>
              </a:ext>
            </a:extLst>
          </p:cNvPr>
          <p:cNvGraphicFramePr>
            <a:graphicFrameLocks/>
          </p:cNvGraphicFramePr>
          <p:nvPr>
            <p:extLst>
              <p:ext uri="{D42A27DB-BD31-4B8C-83A1-F6EECF244321}">
                <p14:modId xmlns:p14="http://schemas.microsoft.com/office/powerpoint/2010/main" val="47690117"/>
              </p:ext>
            </p:extLst>
          </p:nvPr>
        </p:nvGraphicFramePr>
        <p:xfrm>
          <a:off x="3913188" y="2094849"/>
          <a:ext cx="1727200" cy="1617662"/>
        </p:xfrm>
        <a:graphic>
          <a:graphicData uri="http://schemas.openxmlformats.org/drawingml/2006/chart">
            <c:chart xmlns:c="http://schemas.openxmlformats.org/drawingml/2006/chart" xmlns:r="http://schemas.openxmlformats.org/officeDocument/2006/relationships" r:id="rId9"/>
          </a:graphicData>
        </a:graphic>
      </p:graphicFrame>
      <p:sp>
        <p:nvSpPr>
          <p:cNvPr id="9" name="Text Placeholder 40">
            <a:extLst>
              <a:ext uri="{FF2B5EF4-FFF2-40B4-BE49-F238E27FC236}">
                <a16:creationId xmlns:a16="http://schemas.microsoft.com/office/drawing/2014/main" id="{2C3C2496-0128-4F64-83C3-54CA8BA06E87}"/>
              </a:ext>
            </a:extLst>
          </p:cNvPr>
          <p:cNvSpPr txBox="1">
            <a:spLocks/>
          </p:cNvSpPr>
          <p:nvPr/>
        </p:nvSpPr>
        <p:spPr>
          <a:xfrm>
            <a:off x="4379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sp>
        <p:nvSpPr>
          <p:cNvPr id="10" name="Text Placeholder 24">
            <a:extLst>
              <a:ext uri="{FF2B5EF4-FFF2-40B4-BE49-F238E27FC236}">
                <a16:creationId xmlns:a16="http://schemas.microsoft.com/office/drawing/2014/main" id="{CD150A06-D17B-4451-A66D-BF657C294B01}"/>
              </a:ext>
            </a:extLst>
          </p:cNvPr>
          <p:cNvSpPr txBox="1">
            <a:spLocks/>
          </p:cNvSpPr>
          <p:nvPr/>
        </p:nvSpPr>
        <p:spPr>
          <a:xfrm>
            <a:off x="6255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Text Placeholder 41">
            <a:extLst>
              <a:ext uri="{FF2B5EF4-FFF2-40B4-BE49-F238E27FC236}">
                <a16:creationId xmlns:a16="http://schemas.microsoft.com/office/drawing/2014/main" id="{A8F2CE77-1A35-4D03-87DD-E05C2542AC37}"/>
              </a:ext>
            </a:extLst>
          </p:cNvPr>
          <p:cNvSpPr txBox="1">
            <a:spLocks/>
          </p:cNvSpPr>
          <p:nvPr/>
        </p:nvSpPr>
        <p:spPr>
          <a:xfrm>
            <a:off x="7046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graphicFrame>
        <p:nvGraphicFramePr>
          <p:cNvPr id="12" name="Chart Placeholder 56">
            <a:extLst>
              <a:ext uri="{FF2B5EF4-FFF2-40B4-BE49-F238E27FC236}">
                <a16:creationId xmlns:a16="http://schemas.microsoft.com/office/drawing/2014/main" id="{301D6B04-6B84-4106-BB90-EB0E02E96A65}"/>
              </a:ext>
            </a:extLst>
          </p:cNvPr>
          <p:cNvGraphicFramePr>
            <a:graphicFrameLocks/>
          </p:cNvGraphicFramePr>
          <p:nvPr>
            <p:extLst>
              <p:ext uri="{D42A27DB-BD31-4B8C-83A1-F6EECF244321}">
                <p14:modId xmlns:p14="http://schemas.microsoft.com/office/powerpoint/2010/main" val="725777661"/>
              </p:ext>
            </p:extLst>
          </p:nvPr>
        </p:nvGraphicFramePr>
        <p:xfrm>
          <a:off x="9285288" y="2099611"/>
          <a:ext cx="1727200" cy="1617663"/>
        </p:xfrm>
        <a:graphic>
          <a:graphicData uri="http://schemas.openxmlformats.org/drawingml/2006/chart">
            <c:chart xmlns:c="http://schemas.openxmlformats.org/drawingml/2006/chart" xmlns:r="http://schemas.openxmlformats.org/officeDocument/2006/relationships" r:id="rId10"/>
          </a:graphicData>
        </a:graphic>
      </p:graphicFrame>
      <p:sp>
        <p:nvSpPr>
          <p:cNvPr id="13" name="Text Placeholder 2">
            <a:extLst>
              <a:ext uri="{FF2B5EF4-FFF2-40B4-BE49-F238E27FC236}">
                <a16:creationId xmlns:a16="http://schemas.microsoft.com/office/drawing/2014/main" id="{87F1E121-A610-434F-90A5-14844FECF79E}"/>
              </a:ext>
            </a:extLst>
          </p:cNvPr>
          <p:cNvSpPr txBox="1">
            <a:spLocks/>
          </p:cNvSpPr>
          <p:nvPr/>
        </p:nvSpPr>
        <p:spPr>
          <a:xfrm>
            <a:off x="89605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42">
            <a:extLst>
              <a:ext uri="{FF2B5EF4-FFF2-40B4-BE49-F238E27FC236}">
                <a16:creationId xmlns:a16="http://schemas.microsoft.com/office/drawing/2014/main" id="{76AE2B0C-8B81-47CA-9189-E8A2C0F187E6}"/>
              </a:ext>
            </a:extLst>
          </p:cNvPr>
          <p:cNvSpPr txBox="1">
            <a:spLocks/>
          </p:cNvSpPr>
          <p:nvPr/>
        </p:nvSpPr>
        <p:spPr>
          <a:xfrm>
            <a:off x="97518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cxnSp>
        <p:nvCxnSpPr>
          <p:cNvPr id="15" name="Straight Connector 14">
            <a:extLst>
              <a:ext uri="{FF2B5EF4-FFF2-40B4-BE49-F238E27FC236}">
                <a16:creationId xmlns:a16="http://schemas.microsoft.com/office/drawing/2014/main" id="{464D7262-D6B4-4BB1-BADB-37E4B41FECEE}"/>
              </a:ext>
            </a:extLst>
          </p:cNvPr>
          <p:cNvCxnSpPr/>
          <p:nvPr/>
        </p:nvCxnSpPr>
        <p:spPr>
          <a:xfrm>
            <a:off x="3454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610C8C5-B18E-4C44-B2C0-20655D1E04EE}"/>
              </a:ext>
            </a:extLst>
          </p:cNvPr>
          <p:cNvCxnSpPr/>
          <p:nvPr/>
        </p:nvCxnSpPr>
        <p:spPr>
          <a:xfrm>
            <a:off x="6121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F306E4E-256D-438B-8832-0885F0740738}"/>
              </a:ext>
            </a:extLst>
          </p:cNvPr>
          <p:cNvCxnSpPr/>
          <p:nvPr/>
        </p:nvCxnSpPr>
        <p:spPr>
          <a:xfrm>
            <a:off x="8788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20" name="Text Placeholder 39">
            <a:extLst>
              <a:ext uri="{FF2B5EF4-FFF2-40B4-BE49-F238E27FC236}">
                <a16:creationId xmlns:a16="http://schemas.microsoft.com/office/drawing/2014/main" id="{2E524EE0-5878-4F14-AFA3-7F9BAB057DA6}"/>
              </a:ext>
            </a:extLst>
          </p:cNvPr>
          <p:cNvSpPr txBox="1">
            <a:spLocks/>
          </p:cNvSpPr>
          <p:nvPr/>
        </p:nvSpPr>
        <p:spPr>
          <a:xfrm>
            <a:off x="1678053"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1" name="Text Placeholder 40">
            <a:extLst>
              <a:ext uri="{FF2B5EF4-FFF2-40B4-BE49-F238E27FC236}">
                <a16:creationId xmlns:a16="http://schemas.microsoft.com/office/drawing/2014/main" id="{2C3C2496-0128-4F64-83C3-54CA8BA06E87}"/>
              </a:ext>
            </a:extLst>
          </p:cNvPr>
          <p:cNvSpPr txBox="1">
            <a:spLocks/>
          </p:cNvSpPr>
          <p:nvPr/>
        </p:nvSpPr>
        <p:spPr>
          <a:xfrm>
            <a:off x="4355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2" name="Text Placeholder 41">
            <a:extLst>
              <a:ext uri="{FF2B5EF4-FFF2-40B4-BE49-F238E27FC236}">
                <a16:creationId xmlns:a16="http://schemas.microsoft.com/office/drawing/2014/main" id="{A8F2CE77-1A35-4D03-87DD-E05C2542AC37}"/>
              </a:ext>
            </a:extLst>
          </p:cNvPr>
          <p:cNvSpPr txBox="1">
            <a:spLocks/>
          </p:cNvSpPr>
          <p:nvPr/>
        </p:nvSpPr>
        <p:spPr>
          <a:xfrm>
            <a:off x="7022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3" name="Text Placeholder 42">
            <a:extLst>
              <a:ext uri="{FF2B5EF4-FFF2-40B4-BE49-F238E27FC236}">
                <a16:creationId xmlns:a16="http://schemas.microsoft.com/office/drawing/2014/main" id="{76AE2B0C-8B81-47CA-9189-E8A2C0F187E6}"/>
              </a:ext>
            </a:extLst>
          </p:cNvPr>
          <p:cNvSpPr txBox="1">
            <a:spLocks/>
          </p:cNvSpPr>
          <p:nvPr/>
        </p:nvSpPr>
        <p:spPr>
          <a:xfrm>
            <a:off x="97271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grpSp>
        <p:nvGrpSpPr>
          <p:cNvPr id="24" name="Group 23">
            <a:extLst>
              <a:ext uri="{FF2B5EF4-FFF2-40B4-BE49-F238E27FC236}">
                <a16:creationId xmlns:a16="http://schemas.microsoft.com/office/drawing/2014/main" id="{5115DA0E-84AF-4670-8313-548B9C1E4EF8}"/>
              </a:ext>
            </a:extLst>
          </p:cNvPr>
          <p:cNvGrpSpPr/>
          <p:nvPr/>
        </p:nvGrpSpPr>
        <p:grpSpPr>
          <a:xfrm>
            <a:off x="1034732" y="4647216"/>
            <a:ext cx="1748156" cy="1655868"/>
            <a:chOff x="1371031" y="3542662"/>
            <a:chExt cx="2138044" cy="2025173"/>
          </a:xfrm>
        </p:grpSpPr>
        <p:sp>
          <p:nvSpPr>
            <p:cNvPr id="25" name="Oval 20">
              <a:extLst>
                <a:ext uri="{FF2B5EF4-FFF2-40B4-BE49-F238E27FC236}">
                  <a16:creationId xmlns:a16="http://schemas.microsoft.com/office/drawing/2014/main" id="{83C57463-C8D5-4CF6-917A-B078429E10DD}"/>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Oval 20">
              <a:extLst>
                <a:ext uri="{FF2B5EF4-FFF2-40B4-BE49-F238E27FC236}">
                  <a16:creationId xmlns:a16="http://schemas.microsoft.com/office/drawing/2014/main" id="{5408540F-1CF0-4B99-9A16-F8B2358FA0B6}"/>
                </a:ext>
              </a:extLst>
            </p:cNvPr>
            <p:cNvSpPr/>
            <p:nvPr/>
          </p:nvSpPr>
          <p:spPr>
            <a:xfrm>
              <a:off x="1432372" y="354266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
        <p:nvSpPr>
          <p:cNvPr id="27" name="Text Placeholder 43">
            <a:extLst>
              <a:ext uri="{FF2B5EF4-FFF2-40B4-BE49-F238E27FC236}">
                <a16:creationId xmlns:a16="http://schemas.microsoft.com/office/drawing/2014/main" id="{ECA7EB6E-E28D-498B-A941-3FF8BD484FF2}"/>
              </a:ext>
            </a:extLst>
          </p:cNvPr>
          <p:cNvSpPr txBox="1">
            <a:spLocks/>
          </p:cNvSpPr>
          <p:nvPr/>
        </p:nvSpPr>
        <p:spPr>
          <a:xfrm>
            <a:off x="1127448" y="5151272"/>
            <a:ext cx="1656184" cy="576064"/>
          </a:xfrm>
          <a:prstGeom prst="rect">
            <a:avLst/>
          </a:prstGeom>
        </p:spPr>
        <p:txBody>
          <a:bodyPr vert="horz" lIns="0" tIns="0" rIns="0" bIns="0" rtlCol="0" anchor="ctr">
            <a:noAutofit/>
          </a:body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t-PT" sz="2800" b="1" i="0" u="none" strike="noStrike" kern="1200" cap="none" spc="0" normalizeH="0" baseline="0" noProof="0">
                <a:ln>
                  <a:noFill/>
                </a:ln>
                <a:solidFill>
                  <a:schemeClr val="bg1"/>
                </a:solidFill>
                <a:effectLst/>
                <a:uLnTx/>
                <a:uFillTx/>
                <a:latin typeface="+mn-lt"/>
                <a:ea typeface="+mn-ea"/>
                <a:cs typeface="+mn-cs"/>
              </a:rPr>
              <a:t>XX%</a:t>
            </a:r>
            <a:endParaRPr kumimoji="0" lang="pt-PT" sz="2800" b="1" i="0" u="none" strike="noStrike" kern="1200" cap="none" spc="0" normalizeH="0" baseline="0" noProof="0" dirty="0">
              <a:ln>
                <a:noFill/>
              </a:ln>
              <a:solidFill>
                <a:schemeClr val="bg1"/>
              </a:solidFill>
              <a:effectLst/>
              <a:uLnTx/>
              <a:uFillTx/>
              <a:latin typeface="+mn-lt"/>
              <a:ea typeface="+mn-ea"/>
              <a:cs typeface="+mn-cs"/>
            </a:endParaRPr>
          </a:p>
        </p:txBody>
      </p:sp>
      <p:sp>
        <p:nvSpPr>
          <p:cNvPr id="28" name="Text Placeholder 5">
            <a:extLst>
              <a:ext uri="{FF2B5EF4-FFF2-40B4-BE49-F238E27FC236}">
                <a16:creationId xmlns:a16="http://schemas.microsoft.com/office/drawing/2014/main" id="{EE5433E1-FF5B-43D0-BC11-F3B54C80DDEE}"/>
              </a:ext>
            </a:extLst>
          </p:cNvPr>
          <p:cNvSpPr txBox="1">
            <a:spLocks/>
          </p:cNvSpPr>
          <p:nvPr/>
        </p:nvSpPr>
        <p:spPr>
          <a:xfrm>
            <a:off x="2883395" y="5085184"/>
            <a:ext cx="8399412" cy="867147"/>
          </a:xfrm>
          <a:prstGeom prst="rect">
            <a:avLst/>
          </a:prstGeom>
        </p:spPr>
        <p:txBody>
          <a:bodyPr vert="horz" lIns="0" tIns="0" rIns="0" bIns="0" rtlCol="0">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Click to insert text</a:t>
            </a:r>
            <a:endParaRPr kumimoji="0" lang="pt-PT"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21" name="Group 20"/>
          <p:cNvGrpSpPr/>
          <p:nvPr/>
        </p:nvGrpSpPr>
        <p:grpSpPr>
          <a:xfrm>
            <a:off x="1162807" y="1529120"/>
            <a:ext cx="9866387" cy="4499756"/>
            <a:chOff x="1167830" y="1529120"/>
            <a:chExt cx="9866387" cy="4499756"/>
          </a:xfrm>
        </p:grpSpPr>
        <p:sp>
          <p:nvSpPr>
            <p:cNvPr id="3" name="Rectangle 2">
              <a:extLst>
                <a:ext uri="{FF2B5EF4-FFF2-40B4-BE49-F238E27FC236}">
                  <a16:creationId xmlns:a16="http://schemas.microsoft.com/office/drawing/2014/main" id="{46919663-CB01-46C8-8B1A-7D7C5FFB79D0}"/>
                </a:ext>
              </a:extLst>
            </p:cNvPr>
            <p:cNvSpPr/>
            <p:nvPr/>
          </p:nvSpPr>
          <p:spPr>
            <a:xfrm>
              <a:off x="1167830" y="2465299"/>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id="{07A11129-008D-4898-86B9-B6C83562FA3A}"/>
                </a:ext>
              </a:extLst>
            </p:cNvPr>
            <p:cNvSpPr/>
            <p:nvPr/>
          </p:nvSpPr>
          <p:spPr>
            <a:xfrm>
              <a:off x="4655840"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92D1F7AF-5F53-4627-A1CF-B58FCC387FCC}"/>
                </a:ext>
              </a:extLst>
            </p:cNvPr>
            <p:cNvSpPr/>
            <p:nvPr/>
          </p:nvSpPr>
          <p:spPr>
            <a:xfrm>
              <a:off x="8070007"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C5DBDB28-88AB-4F14-9F73-9D7C1E6EE4B1}"/>
                </a:ext>
              </a:extLst>
            </p:cNvPr>
            <p:cNvSpPr/>
            <p:nvPr/>
          </p:nvSpPr>
          <p:spPr>
            <a:xfrm>
              <a:off x="851376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2F532516-8DF9-44A4-935A-3131E96D437E}"/>
                </a:ext>
              </a:extLst>
            </p:cNvPr>
            <p:cNvSpPr/>
            <p:nvPr/>
          </p:nvSpPr>
          <p:spPr>
            <a:xfrm>
              <a:off x="5087888"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41ACABC2-6590-4E4B-9507-376785C34C7E}"/>
                </a:ext>
              </a:extLst>
            </p:cNvPr>
            <p:cNvSpPr/>
            <p:nvPr/>
          </p:nvSpPr>
          <p:spPr>
            <a:xfrm>
              <a:off x="1703512"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cxnSp>
          <p:nvCxnSpPr>
            <p:cNvPr id="9" name="Conector reto 49">
              <a:extLst>
                <a:ext uri="{FF2B5EF4-FFF2-40B4-BE49-F238E27FC236}">
                  <a16:creationId xmlns:a16="http://schemas.microsoft.com/office/drawing/2014/main" id="{B24CB8AF-46AC-455D-8122-E42F0897FF83}"/>
                </a:ext>
              </a:extLst>
            </p:cNvPr>
            <p:cNvCxnSpPr>
              <a:cxnSpLocks/>
            </p:cNvCxnSpPr>
            <p:nvPr/>
          </p:nvCxnSpPr>
          <p:spPr>
            <a:xfrm>
              <a:off x="1946733" y="44244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id="{F17687FD-99B5-4B72-9DFC-457C3922A1C4}"/>
                </a:ext>
              </a:extLst>
            </p:cNvPr>
            <p:cNvCxnSpPr>
              <a:cxnSpLocks/>
            </p:cNvCxnSpPr>
            <p:nvPr/>
          </p:nvCxnSpPr>
          <p:spPr>
            <a:xfrm>
              <a:off x="5403117" y="4424412"/>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7CC4FC7-46E1-46F0-A644-A72F52997BBF}"/>
                </a:ext>
              </a:extLst>
            </p:cNvPr>
            <p:cNvCxnSpPr>
              <a:cxnSpLocks/>
            </p:cNvCxnSpPr>
            <p:nvPr/>
          </p:nvCxnSpPr>
          <p:spPr>
            <a:xfrm>
              <a:off x="8828990" y="442441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194DDC7F-051F-4D2F-A24A-3A7095CA7629}"/>
                </a:ext>
              </a:extLst>
            </p:cNvPr>
            <p:cNvSpPr txBox="1">
              <a:spLocks/>
            </p:cNvSpPr>
            <p:nvPr/>
          </p:nvSpPr>
          <p:spPr>
            <a:xfrm>
              <a:off x="1919412" y="224867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60%</a:t>
              </a:r>
            </a:p>
          </p:txBody>
        </p:sp>
        <p:sp>
          <p:nvSpPr>
            <p:cNvPr id="13" name="Text Placeholder 3">
              <a:extLst>
                <a:ext uri="{FF2B5EF4-FFF2-40B4-BE49-F238E27FC236}">
                  <a16:creationId xmlns:a16="http://schemas.microsoft.com/office/drawing/2014/main" id="{088DDC99-EBD3-473B-AD17-3620C3CE5635}"/>
                </a:ext>
              </a:extLst>
            </p:cNvPr>
            <p:cNvSpPr txBox="1">
              <a:spLocks/>
            </p:cNvSpPr>
            <p:nvPr/>
          </p:nvSpPr>
          <p:spPr>
            <a:xfrm>
              <a:off x="5298569" y="2249200"/>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a:ln>
                    <a:noFill/>
                  </a:ln>
                  <a:solidFill>
                    <a:schemeClr val="bg1"/>
                  </a:solidFill>
                  <a:effectLst/>
                  <a:uLnTx/>
                  <a:uFillTx/>
                  <a:latin typeface="+mj-lt"/>
                  <a:ea typeface="+mn-ea"/>
                  <a:cs typeface="+mn-cs"/>
                </a:rPr>
                <a:t>50%</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4" name="Text Placeholder 4">
              <a:extLst>
                <a:ext uri="{FF2B5EF4-FFF2-40B4-BE49-F238E27FC236}">
                  <a16:creationId xmlns:a16="http://schemas.microsoft.com/office/drawing/2014/main" id="{17AAA994-6697-45F7-83CB-D8499F7079CD}"/>
                </a:ext>
              </a:extLst>
            </p:cNvPr>
            <p:cNvSpPr txBox="1">
              <a:spLocks/>
            </p:cNvSpPr>
            <p:nvPr/>
          </p:nvSpPr>
          <p:spPr>
            <a:xfrm>
              <a:off x="8724442" y="222215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a:ln>
                    <a:noFill/>
                  </a:ln>
                  <a:solidFill>
                    <a:schemeClr val="bg1"/>
                  </a:solidFill>
                  <a:effectLst/>
                  <a:uLnTx/>
                  <a:uFillTx/>
                  <a:latin typeface="+mj-lt"/>
                  <a:ea typeface="+mn-ea"/>
                  <a:cs typeface="+mn-cs"/>
                </a:rPr>
                <a:t>35%</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5" name="Text Placeholder 5">
              <a:extLst>
                <a:ext uri="{FF2B5EF4-FFF2-40B4-BE49-F238E27FC236}">
                  <a16:creationId xmlns:a16="http://schemas.microsoft.com/office/drawing/2014/main" id="{6EA9DB1E-7539-46A1-9A03-6542333AAC84}"/>
                </a:ext>
              </a:extLst>
            </p:cNvPr>
            <p:cNvSpPr txBox="1">
              <a:spLocks/>
            </p:cNvSpPr>
            <p:nvPr/>
          </p:nvSpPr>
          <p:spPr>
            <a:xfrm>
              <a:off x="1343149" y="3761567"/>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6" name="Text Placeholder 6">
              <a:extLst>
                <a:ext uri="{FF2B5EF4-FFF2-40B4-BE49-F238E27FC236}">
                  <a16:creationId xmlns:a16="http://schemas.microsoft.com/office/drawing/2014/main" id="{75274B2E-8793-4B8B-A3DB-BFA011A97CBB}"/>
                </a:ext>
              </a:extLst>
            </p:cNvPr>
            <p:cNvSpPr txBox="1">
              <a:spLocks/>
            </p:cNvSpPr>
            <p:nvPr/>
          </p:nvSpPr>
          <p:spPr>
            <a:xfrm>
              <a:off x="478215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7" name="Text Placeholder 7">
              <a:extLst>
                <a:ext uri="{FF2B5EF4-FFF2-40B4-BE49-F238E27FC236}">
                  <a16:creationId xmlns:a16="http://schemas.microsoft.com/office/drawing/2014/main" id="{20D12679-5B74-4281-B81F-25186A63B8F3}"/>
                </a:ext>
              </a:extLst>
            </p:cNvPr>
            <p:cNvSpPr txBox="1">
              <a:spLocks/>
            </p:cNvSpPr>
            <p:nvPr/>
          </p:nvSpPr>
          <p:spPr>
            <a:xfrm>
              <a:off x="818368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8" name="Text Placeholder 8">
              <a:extLst>
                <a:ext uri="{FF2B5EF4-FFF2-40B4-BE49-F238E27FC236}">
                  <a16:creationId xmlns:a16="http://schemas.microsoft.com/office/drawing/2014/main" id="{06938CA8-9A9B-499F-B3AB-16F6B4F00B3C}"/>
                </a:ext>
              </a:extLst>
            </p:cNvPr>
            <p:cNvSpPr txBox="1">
              <a:spLocks/>
            </p:cNvSpPr>
            <p:nvPr/>
          </p:nvSpPr>
          <p:spPr>
            <a:xfrm>
              <a:off x="8183687" y="4698192"/>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sp>
          <p:nvSpPr>
            <p:cNvPr id="19" name="Text Placeholder 9">
              <a:extLst>
                <a:ext uri="{FF2B5EF4-FFF2-40B4-BE49-F238E27FC236}">
                  <a16:creationId xmlns:a16="http://schemas.microsoft.com/office/drawing/2014/main" id="{B145D658-5264-4A6A-942B-0AA31EDDABE0}"/>
                </a:ext>
              </a:extLst>
            </p:cNvPr>
            <p:cNvSpPr txBox="1">
              <a:spLocks/>
            </p:cNvSpPr>
            <p:nvPr/>
          </p:nvSpPr>
          <p:spPr>
            <a:xfrm>
              <a:off x="476952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sp>
          <p:nvSpPr>
            <p:cNvPr id="20" name="Text Placeholder 10">
              <a:extLst>
                <a:ext uri="{FF2B5EF4-FFF2-40B4-BE49-F238E27FC236}">
                  <a16:creationId xmlns:a16="http://schemas.microsoft.com/office/drawing/2014/main" id="{77DE995B-35F1-4693-946A-2BC146A142A6}"/>
                </a:ext>
              </a:extLst>
            </p:cNvPr>
            <p:cNvSpPr txBox="1">
              <a:spLocks/>
            </p:cNvSpPr>
            <p:nvPr/>
          </p:nvSpPr>
          <p:spPr>
            <a:xfrm>
              <a:off x="128151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3524" name="think-cell Slide" r:id="rId5" imgW="270" imgH="270" progId="TCLayout.ActiveDocument.1">
                  <p:embed/>
                </p:oleObj>
              </mc:Choice>
              <mc:Fallback>
                <p:oleObj name="think-cell Slide" r:id="rId5" imgW="270" imgH="27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Oval 20">
            <a:extLst>
              <a:ext uri="{FF2B5EF4-FFF2-40B4-BE49-F238E27FC236}">
                <a16:creationId xmlns:a16="http://schemas.microsoft.com/office/drawing/2014/main" id="{41ACABC2-6590-4E4B-9507-376785C34C7E}"/>
              </a:ext>
            </a:extLst>
          </p:cNvPr>
          <p:cNvSpPr/>
          <p:nvPr/>
        </p:nvSpPr>
        <p:spPr>
          <a:xfrm>
            <a:off x="1334177" y="1300206"/>
            <a:ext cx="2553883" cy="2413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tx1"/>
                </a:solidFill>
              </a:rPr>
              <a:t>Photo</a:t>
            </a:r>
          </a:p>
        </p:txBody>
      </p:sp>
      <p:sp>
        <p:nvSpPr>
          <p:cNvPr id="6" name="Text Placeholder 5"/>
          <p:cNvSpPr>
            <a:spLocks noGrp="1"/>
          </p:cNvSpPr>
          <p:nvPr>
            <p:ph type="body" sz="quarter" idx="14"/>
          </p:nvPr>
        </p:nvSpPr>
        <p:spPr/>
        <p:txBody>
          <a:bodyPr/>
          <a:lstStyle/>
          <a:p>
            <a:r>
              <a:rPr lang="en-GB" dirty="0"/>
              <a:t>Education</a:t>
            </a:r>
          </a:p>
        </p:txBody>
      </p:sp>
      <p:sp>
        <p:nvSpPr>
          <p:cNvPr id="5" name="Text Placeholder 4"/>
          <p:cNvSpPr>
            <a:spLocks noGrp="1"/>
          </p:cNvSpPr>
          <p:nvPr>
            <p:ph type="body" sz="quarter" idx="13"/>
          </p:nvPr>
        </p:nvSpPr>
        <p:spPr/>
        <p:txBody>
          <a:bodyPr/>
          <a:lstStyle/>
          <a:p>
            <a:r>
              <a:rPr lang="en-GB" dirty="0"/>
              <a:t>Name</a:t>
            </a:r>
          </a:p>
        </p:txBody>
      </p:sp>
      <p:sp>
        <p:nvSpPr>
          <p:cNvPr id="4" name="Text Placeholder 3"/>
          <p:cNvSpPr>
            <a:spLocks noGrp="1"/>
          </p:cNvSpPr>
          <p:nvPr>
            <p:ph type="body" sz="quarter" idx="10"/>
          </p:nvPr>
        </p:nvSpPr>
        <p:spPr/>
        <p:txBody>
          <a:bodyPr/>
          <a:lstStyle/>
          <a:p>
            <a:r>
              <a:rPr lang="en-GB" dirty="0"/>
              <a:t>Text </a:t>
            </a:r>
          </a:p>
        </p:txBody>
      </p:sp>
      <p:sp>
        <p:nvSpPr>
          <p:cNvPr id="7" name="Text Placeholder 6"/>
          <p:cNvSpPr>
            <a:spLocks noGrp="1"/>
          </p:cNvSpPr>
          <p:nvPr>
            <p:ph type="body" sz="quarter" idx="15"/>
          </p:nvPr>
        </p:nvSpPr>
        <p:spPr/>
        <p:txBody>
          <a:bodyPr/>
          <a:lstStyle/>
          <a:p>
            <a:r>
              <a:rPr lang="en-GB" dirty="0"/>
              <a:t>Text </a:t>
            </a:r>
          </a:p>
        </p:txBody>
      </p:sp>
      <p:sp>
        <p:nvSpPr>
          <p:cNvPr id="10" name="Text Placeholder 3">
            <a:extLst>
              <a:ext uri="{FF2B5EF4-FFF2-40B4-BE49-F238E27FC236}">
                <a16:creationId xmlns:a16="http://schemas.microsoft.com/office/drawing/2014/main" id="{1ECD94BA-AD3F-4309-8C6F-E7497083CD6E}"/>
              </a:ext>
            </a:extLst>
          </p:cNvPr>
          <p:cNvSpPr txBox="1">
            <a:spLocks/>
          </p:cNvSpPr>
          <p:nvPr/>
        </p:nvSpPr>
        <p:spPr>
          <a:xfrm>
            <a:off x="4941301" y="96390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1" name="Text Placeholder 8">
            <a:extLst>
              <a:ext uri="{FF2B5EF4-FFF2-40B4-BE49-F238E27FC236}">
                <a16:creationId xmlns:a16="http://schemas.microsoft.com/office/drawing/2014/main" id="{42AFF2AD-5C9E-4F60-8D83-05AFAEFBD137}"/>
              </a:ext>
            </a:extLst>
          </p:cNvPr>
          <p:cNvSpPr txBox="1">
            <a:spLocks/>
          </p:cNvSpPr>
          <p:nvPr/>
        </p:nvSpPr>
        <p:spPr>
          <a:xfrm>
            <a:off x="4939177" y="138605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12" name="Rectangle 11">
            <a:extLst>
              <a:ext uri="{FF2B5EF4-FFF2-40B4-BE49-F238E27FC236}">
                <a16:creationId xmlns:a16="http://schemas.microsoft.com/office/drawing/2014/main" id="{4DC6DE90-FB0F-4774-B533-4415E1BDD803}"/>
              </a:ext>
            </a:extLst>
          </p:cNvPr>
          <p:cNvSpPr/>
          <p:nvPr/>
        </p:nvSpPr>
        <p:spPr>
          <a:xfrm>
            <a:off x="8493608" y="854529"/>
            <a:ext cx="3220597" cy="535474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Text Placeholder 3">
            <a:extLst>
              <a:ext uri="{FF2B5EF4-FFF2-40B4-BE49-F238E27FC236}">
                <a16:creationId xmlns:a16="http://schemas.microsoft.com/office/drawing/2014/main" id="{1ECD94BA-AD3F-4309-8C6F-E7497083CD6E}"/>
              </a:ext>
            </a:extLst>
          </p:cNvPr>
          <p:cNvSpPr txBox="1">
            <a:spLocks/>
          </p:cNvSpPr>
          <p:nvPr/>
        </p:nvSpPr>
        <p:spPr>
          <a:xfrm>
            <a:off x="8589720" y="963904"/>
            <a:ext cx="2995918"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14" name="Text Placeholder 8">
            <a:extLst>
              <a:ext uri="{FF2B5EF4-FFF2-40B4-BE49-F238E27FC236}">
                <a16:creationId xmlns:a16="http://schemas.microsoft.com/office/drawing/2014/main" id="{42AFF2AD-5C9E-4F60-8D83-05AFAEFBD137}"/>
              </a:ext>
            </a:extLst>
          </p:cNvPr>
          <p:cNvSpPr txBox="1">
            <a:spLocks/>
          </p:cNvSpPr>
          <p:nvPr/>
        </p:nvSpPr>
        <p:spPr>
          <a:xfrm>
            <a:off x="8587596" y="1386051"/>
            <a:ext cx="3015399"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9" name="Rectangle 8">
            <a:extLst>
              <a:ext uri="{FF2B5EF4-FFF2-40B4-BE49-F238E27FC236}">
                <a16:creationId xmlns:a16="http://schemas.microsoft.com/office/drawing/2014/main" id="{4DC6DE90-FB0F-4774-B533-4415E1BDD803}"/>
              </a:ext>
            </a:extLst>
          </p:cNvPr>
          <p:cNvSpPr/>
          <p:nvPr/>
        </p:nvSpPr>
        <p:spPr>
          <a:xfrm>
            <a:off x="4845190" y="854529"/>
            <a:ext cx="3433838" cy="2574472"/>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4DC6DE90-FB0F-4774-B533-4415E1BDD803}"/>
              </a:ext>
            </a:extLst>
          </p:cNvPr>
          <p:cNvSpPr/>
          <p:nvPr/>
        </p:nvSpPr>
        <p:spPr>
          <a:xfrm>
            <a:off x="4845190" y="3634799"/>
            <a:ext cx="3433838" cy="257447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3">
            <a:extLst>
              <a:ext uri="{FF2B5EF4-FFF2-40B4-BE49-F238E27FC236}">
                <a16:creationId xmlns:a16="http://schemas.microsoft.com/office/drawing/2014/main" id="{1ECD94BA-AD3F-4309-8C6F-E7497083CD6E}"/>
              </a:ext>
            </a:extLst>
          </p:cNvPr>
          <p:cNvSpPr txBox="1">
            <a:spLocks/>
          </p:cNvSpPr>
          <p:nvPr/>
        </p:nvSpPr>
        <p:spPr>
          <a:xfrm>
            <a:off x="4941301" y="374417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7" name="Text Placeholder 8">
            <a:extLst>
              <a:ext uri="{FF2B5EF4-FFF2-40B4-BE49-F238E27FC236}">
                <a16:creationId xmlns:a16="http://schemas.microsoft.com/office/drawing/2014/main" id="{42AFF2AD-5C9E-4F60-8D83-05AFAEFBD137}"/>
              </a:ext>
            </a:extLst>
          </p:cNvPr>
          <p:cNvSpPr txBox="1">
            <a:spLocks/>
          </p:cNvSpPr>
          <p:nvPr/>
        </p:nvSpPr>
        <p:spPr>
          <a:xfrm>
            <a:off x="4939177" y="416632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4"/>
          </p:nvPr>
        </p:nvSpPr>
        <p:spPr/>
        <p:txBody>
          <a:bodyPr/>
          <a:lstStyle/>
          <a:p>
            <a:r>
              <a:rPr lang="en-GB" dirty="0"/>
              <a:t>Education</a:t>
            </a:r>
          </a:p>
        </p:txBody>
      </p:sp>
      <p:sp>
        <p:nvSpPr>
          <p:cNvPr id="14" name="Text Placeholder 13"/>
          <p:cNvSpPr>
            <a:spLocks noGrp="1"/>
          </p:cNvSpPr>
          <p:nvPr>
            <p:ph type="body" sz="quarter" idx="13"/>
          </p:nvPr>
        </p:nvSpPr>
        <p:spPr/>
        <p:txBody>
          <a:bodyPr/>
          <a:lstStyle/>
          <a:p>
            <a:r>
              <a:rPr lang="en-GB" dirty="0"/>
              <a:t>Name</a:t>
            </a:r>
          </a:p>
        </p:txBody>
      </p:sp>
      <p:sp>
        <p:nvSpPr>
          <p:cNvPr id="13" name="Text Placeholder 12"/>
          <p:cNvSpPr>
            <a:spLocks noGrp="1"/>
          </p:cNvSpPr>
          <p:nvPr>
            <p:ph type="body" sz="quarter" idx="10"/>
          </p:nvPr>
        </p:nvSpPr>
        <p:spPr/>
        <p:txBody>
          <a:bodyPr/>
          <a:lstStyle/>
          <a:p>
            <a:r>
              <a:rPr lang="en-GB" dirty="0"/>
              <a:t>Text </a:t>
            </a:r>
          </a:p>
          <a:p>
            <a:endParaRPr lang="en-GB" dirty="0"/>
          </a:p>
        </p:txBody>
      </p:sp>
      <p:sp>
        <p:nvSpPr>
          <p:cNvPr id="16" name="Text Placeholder 15"/>
          <p:cNvSpPr>
            <a:spLocks noGrp="1"/>
          </p:cNvSpPr>
          <p:nvPr>
            <p:ph type="body" sz="quarter" idx="15"/>
          </p:nvPr>
        </p:nvSpPr>
        <p:spPr/>
        <p:txBody>
          <a:bodyPr/>
          <a:lstStyle/>
          <a:p>
            <a:r>
              <a:rPr lang="en-GB" dirty="0"/>
              <a:t>Text </a:t>
            </a:r>
          </a:p>
          <a:p>
            <a:endParaRPr lang="en-GB" dirty="0"/>
          </a:p>
        </p:txBody>
      </p:sp>
      <p:sp>
        <p:nvSpPr>
          <p:cNvPr id="17" name="Oval 20">
            <a:extLst>
              <a:ext uri="{FF2B5EF4-FFF2-40B4-BE49-F238E27FC236}">
                <a16:creationId xmlns:a16="http://schemas.microsoft.com/office/drawing/2014/main" id="{41ACABC2-6590-4E4B-9507-376785C34C7E}"/>
              </a:ext>
            </a:extLst>
          </p:cNvPr>
          <p:cNvSpPr/>
          <p:nvPr/>
        </p:nvSpPr>
        <p:spPr>
          <a:xfrm>
            <a:off x="710064" y="966378"/>
            <a:ext cx="2553883" cy="2413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tx1"/>
                </a:solidFill>
              </a:rPr>
              <a:t>Photo</a:t>
            </a:r>
          </a:p>
        </p:txBody>
      </p:sp>
      <p:sp>
        <p:nvSpPr>
          <p:cNvPr id="18" name="Text Placeholder 3">
            <a:extLst>
              <a:ext uri="{FF2B5EF4-FFF2-40B4-BE49-F238E27FC236}">
                <a16:creationId xmlns:a16="http://schemas.microsoft.com/office/drawing/2014/main" id="{1ECD94BA-AD3F-4309-8C6F-E7497083CD6E}"/>
              </a:ext>
            </a:extLst>
          </p:cNvPr>
          <p:cNvSpPr txBox="1">
            <a:spLocks/>
          </p:cNvSpPr>
          <p:nvPr/>
        </p:nvSpPr>
        <p:spPr>
          <a:xfrm>
            <a:off x="4941301" y="96390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9" name="Text Placeholder 8">
            <a:extLst>
              <a:ext uri="{FF2B5EF4-FFF2-40B4-BE49-F238E27FC236}">
                <a16:creationId xmlns:a16="http://schemas.microsoft.com/office/drawing/2014/main" id="{42AFF2AD-5C9E-4F60-8D83-05AFAEFBD137}"/>
              </a:ext>
            </a:extLst>
          </p:cNvPr>
          <p:cNvSpPr txBox="1">
            <a:spLocks/>
          </p:cNvSpPr>
          <p:nvPr/>
        </p:nvSpPr>
        <p:spPr>
          <a:xfrm>
            <a:off x="4939177" y="138605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20" name="Rectangle 19">
            <a:extLst>
              <a:ext uri="{FF2B5EF4-FFF2-40B4-BE49-F238E27FC236}">
                <a16:creationId xmlns:a16="http://schemas.microsoft.com/office/drawing/2014/main" id="{4DC6DE90-FB0F-4774-B533-4415E1BDD803}"/>
              </a:ext>
            </a:extLst>
          </p:cNvPr>
          <p:cNvSpPr/>
          <p:nvPr/>
        </p:nvSpPr>
        <p:spPr>
          <a:xfrm>
            <a:off x="8493608" y="854529"/>
            <a:ext cx="3220597" cy="535474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Text Placeholder 3">
            <a:extLst>
              <a:ext uri="{FF2B5EF4-FFF2-40B4-BE49-F238E27FC236}">
                <a16:creationId xmlns:a16="http://schemas.microsoft.com/office/drawing/2014/main" id="{1ECD94BA-AD3F-4309-8C6F-E7497083CD6E}"/>
              </a:ext>
            </a:extLst>
          </p:cNvPr>
          <p:cNvSpPr txBox="1">
            <a:spLocks/>
          </p:cNvSpPr>
          <p:nvPr/>
        </p:nvSpPr>
        <p:spPr>
          <a:xfrm>
            <a:off x="8589720" y="963904"/>
            <a:ext cx="2995918"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22" name="Text Placeholder 8">
            <a:extLst>
              <a:ext uri="{FF2B5EF4-FFF2-40B4-BE49-F238E27FC236}">
                <a16:creationId xmlns:a16="http://schemas.microsoft.com/office/drawing/2014/main" id="{42AFF2AD-5C9E-4F60-8D83-05AFAEFBD137}"/>
              </a:ext>
            </a:extLst>
          </p:cNvPr>
          <p:cNvSpPr txBox="1">
            <a:spLocks/>
          </p:cNvSpPr>
          <p:nvPr/>
        </p:nvSpPr>
        <p:spPr>
          <a:xfrm>
            <a:off x="8587596" y="1386051"/>
            <a:ext cx="3015399"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23" name="Rectangle 22">
            <a:extLst>
              <a:ext uri="{FF2B5EF4-FFF2-40B4-BE49-F238E27FC236}">
                <a16:creationId xmlns:a16="http://schemas.microsoft.com/office/drawing/2014/main" id="{4DC6DE90-FB0F-4774-B533-4415E1BDD803}"/>
              </a:ext>
            </a:extLst>
          </p:cNvPr>
          <p:cNvSpPr/>
          <p:nvPr/>
        </p:nvSpPr>
        <p:spPr>
          <a:xfrm>
            <a:off x="4845190" y="854529"/>
            <a:ext cx="3433838" cy="2574472"/>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4" name="Rectangle 23">
            <a:extLst>
              <a:ext uri="{FF2B5EF4-FFF2-40B4-BE49-F238E27FC236}">
                <a16:creationId xmlns:a16="http://schemas.microsoft.com/office/drawing/2014/main" id="{4DC6DE90-FB0F-4774-B533-4415E1BDD803}"/>
              </a:ext>
            </a:extLst>
          </p:cNvPr>
          <p:cNvSpPr/>
          <p:nvPr/>
        </p:nvSpPr>
        <p:spPr>
          <a:xfrm>
            <a:off x="4845190" y="3634799"/>
            <a:ext cx="3433838" cy="257447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5" name="Text Placeholder 3">
            <a:extLst>
              <a:ext uri="{FF2B5EF4-FFF2-40B4-BE49-F238E27FC236}">
                <a16:creationId xmlns:a16="http://schemas.microsoft.com/office/drawing/2014/main" id="{1ECD94BA-AD3F-4309-8C6F-E7497083CD6E}"/>
              </a:ext>
            </a:extLst>
          </p:cNvPr>
          <p:cNvSpPr txBox="1">
            <a:spLocks/>
          </p:cNvSpPr>
          <p:nvPr/>
        </p:nvSpPr>
        <p:spPr>
          <a:xfrm>
            <a:off x="4941301" y="374417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26" name="Text Placeholder 8">
            <a:extLst>
              <a:ext uri="{FF2B5EF4-FFF2-40B4-BE49-F238E27FC236}">
                <a16:creationId xmlns:a16="http://schemas.microsoft.com/office/drawing/2014/main" id="{42AFF2AD-5C9E-4F60-8D83-05AFAEFBD137}"/>
              </a:ext>
            </a:extLst>
          </p:cNvPr>
          <p:cNvSpPr txBox="1">
            <a:spLocks/>
          </p:cNvSpPr>
          <p:nvPr/>
        </p:nvSpPr>
        <p:spPr>
          <a:xfrm>
            <a:off x="4939177" y="416632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Tree>
    <p:extLst>
      <p:ext uri="{BB962C8B-B14F-4D97-AF65-F5344CB8AC3E}">
        <p14:creationId xmlns:p14="http://schemas.microsoft.com/office/powerpoint/2010/main" val="40007986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0AD"/>
                </a:solidFill>
              </a:rPr>
              <a:t>Click to insert title</a:t>
            </a:r>
            <a:endParaRPr lang="en-GB" dirty="0"/>
          </a:p>
        </p:txBody>
      </p:sp>
      <p:graphicFrame>
        <p:nvGraphicFramePr>
          <p:cNvPr id="3" name="Table Placeholder 16">
            <a:extLst>
              <a:ext uri="{FF2B5EF4-FFF2-40B4-BE49-F238E27FC236}">
                <a16:creationId xmlns:a16="http://schemas.microsoft.com/office/drawing/2014/main" id="{0245F8C1-E617-4099-A93F-16EF08B9C652}"/>
              </a:ext>
            </a:extLst>
          </p:cNvPr>
          <p:cNvGraphicFramePr>
            <a:graphicFrameLocks/>
          </p:cNvGraphicFramePr>
          <p:nvPr>
            <p:extLst/>
          </p:nvPr>
        </p:nvGraphicFramePr>
        <p:xfrm>
          <a:off x="839788" y="1557338"/>
          <a:ext cx="10490202" cy="4633914"/>
        </p:xfrm>
        <a:graphic>
          <a:graphicData uri="http://schemas.openxmlformats.org/drawingml/2006/table">
            <a:tbl>
              <a:tblPr firstRow="1" bandRow="1">
                <a:tableStyleId>{5C22544A-7EE6-4342-B048-85BDC9FD1C3A}</a:tableStyleId>
              </a:tblPr>
              <a:tblGrid>
                <a:gridCol w="1748367">
                  <a:extLst>
                    <a:ext uri="{9D8B030D-6E8A-4147-A177-3AD203B41FA5}">
                      <a16:colId xmlns:a16="http://schemas.microsoft.com/office/drawing/2014/main" val="2565660528"/>
                    </a:ext>
                  </a:extLst>
                </a:gridCol>
                <a:gridCol w="1748367">
                  <a:extLst>
                    <a:ext uri="{9D8B030D-6E8A-4147-A177-3AD203B41FA5}">
                      <a16:colId xmlns:a16="http://schemas.microsoft.com/office/drawing/2014/main" val="1377318063"/>
                    </a:ext>
                  </a:extLst>
                </a:gridCol>
                <a:gridCol w="1748367">
                  <a:extLst>
                    <a:ext uri="{9D8B030D-6E8A-4147-A177-3AD203B41FA5}">
                      <a16:colId xmlns:a16="http://schemas.microsoft.com/office/drawing/2014/main" val="4255207643"/>
                    </a:ext>
                  </a:extLst>
                </a:gridCol>
                <a:gridCol w="1748367">
                  <a:extLst>
                    <a:ext uri="{9D8B030D-6E8A-4147-A177-3AD203B41FA5}">
                      <a16:colId xmlns:a16="http://schemas.microsoft.com/office/drawing/2014/main" val="575525298"/>
                    </a:ext>
                  </a:extLst>
                </a:gridCol>
                <a:gridCol w="1748367">
                  <a:extLst>
                    <a:ext uri="{9D8B030D-6E8A-4147-A177-3AD203B41FA5}">
                      <a16:colId xmlns:a16="http://schemas.microsoft.com/office/drawing/2014/main" val="4273360529"/>
                    </a:ext>
                  </a:extLst>
                </a:gridCol>
                <a:gridCol w="1748367">
                  <a:extLst>
                    <a:ext uri="{9D8B030D-6E8A-4147-A177-3AD203B41FA5}">
                      <a16:colId xmlns:a16="http://schemas.microsoft.com/office/drawing/2014/main" val="1065295435"/>
                    </a:ext>
                  </a:extLst>
                </a:gridCol>
              </a:tblGrid>
              <a:tr h="416142">
                <a:tc>
                  <a:txBody>
                    <a:bodyPr/>
                    <a:lstStyle/>
                    <a:p>
                      <a:pPr>
                        <a:lnSpc>
                          <a:spcPct val="85000"/>
                        </a:lnSpc>
                      </a:pPr>
                      <a:endParaRPr lang="pt-PT" dirty="0"/>
                    </a:p>
                  </a:txBody>
                  <a:tcPr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Minimal</a:t>
                      </a:r>
                    </a:p>
                  </a:txBody>
                  <a:tcPr marL="45725" marR="45725" marT="45725" marB="45725"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Basic</a:t>
                      </a:r>
                    </a:p>
                  </a:txBody>
                  <a:tcPr marL="45725" marR="45725" marT="45725" marB="45725"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Median</a:t>
                      </a:r>
                    </a:p>
                  </a:txBody>
                  <a:tcPr marL="45725" marR="45725" marT="45725" marB="45725"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Advanced</a:t>
                      </a:r>
                    </a:p>
                  </a:txBody>
                  <a:tcPr marL="45725" marR="45725" marT="45725" marB="45725"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Leading</a:t>
                      </a:r>
                    </a:p>
                  </a:txBody>
                  <a:tcPr marL="45725" marR="45725" marT="45725" marB="45725" anchor="ctr">
                    <a:noFill/>
                  </a:tcPr>
                </a:tc>
                <a:extLst>
                  <a:ext uri="{0D108BD9-81ED-4DB2-BD59-A6C34878D82A}">
                    <a16:rowId xmlns:a16="http://schemas.microsoft.com/office/drawing/2014/main" val="3490737412"/>
                  </a:ext>
                </a:extLst>
              </a:tr>
              <a:tr h="1054443">
                <a:tc>
                  <a:txBody>
                    <a:bodyPr/>
                    <a:lstStyle/>
                    <a:p>
                      <a:pPr marL="0" marR="0" lvl="0" indent="0" algn="l" rtl="0">
                        <a:lnSpc>
                          <a:spcPct val="85000"/>
                        </a:lnSpc>
                        <a:spcBef>
                          <a:spcPts val="0"/>
                        </a:spcBef>
                        <a:spcAft>
                          <a:spcPts val="0"/>
                        </a:spcAft>
                        <a:buClr>
                          <a:srgbClr val="000000"/>
                        </a:buClr>
                        <a:buSzPct val="25000"/>
                        <a:buFont typeface="Calibri"/>
                        <a:buNone/>
                      </a:pPr>
                      <a:r>
                        <a:rPr lang="en-CA" sz="1100" b="1" i="0" u="none" strike="noStrike" kern="1200" cap="none" dirty="0">
                          <a:solidFill>
                            <a:schemeClr val="tx1"/>
                          </a:solidFill>
                          <a:latin typeface="+mn-lt"/>
                          <a:ea typeface="Georgia" charset="0"/>
                          <a:cs typeface="Georgia" charset="0"/>
                          <a:sym typeface="Calibri"/>
                        </a:rPr>
                        <a:t>Heading</a:t>
                      </a:r>
                    </a:p>
                    <a:p>
                      <a:pPr marL="0" marR="0" lvl="0" indent="0" algn="l" rtl="0">
                        <a:lnSpc>
                          <a:spcPct val="85000"/>
                        </a:lnSpc>
                        <a:spcBef>
                          <a:spcPts val="0"/>
                        </a:spcBef>
                        <a:spcAft>
                          <a:spcPts val="0"/>
                        </a:spcAft>
                        <a:buClr>
                          <a:srgbClr val="000000"/>
                        </a:buClr>
                        <a:buSzPct val="25000"/>
                        <a:buFont typeface="Calibri"/>
                        <a:buNone/>
                      </a:pPr>
                      <a:r>
                        <a:rPr lang="en-CA" sz="900" b="0" i="0" u="none" strike="noStrike" kern="1200" cap="none" dirty="0">
                          <a:solidFill>
                            <a:srgbClr val="000000"/>
                          </a:solidFill>
                          <a:latin typeface="+mn-lt"/>
                          <a:ea typeface="Arial" charset="0"/>
                          <a:cs typeface="Arial" charset="0"/>
                          <a:sym typeface="Calibri"/>
                        </a:rPr>
                        <a:t>Lorem ipsum dolor sit </a:t>
                      </a:r>
                      <a:r>
                        <a:rPr lang="en-CA" sz="900" b="0" i="0" u="none" strike="noStrike" kern="1200" cap="none" dirty="0" err="1">
                          <a:solidFill>
                            <a:srgbClr val="000000"/>
                          </a:solidFill>
                          <a:latin typeface="+mn-lt"/>
                          <a:ea typeface="Arial" charset="0"/>
                          <a:cs typeface="Arial" charset="0"/>
                          <a:sym typeface="Calibri"/>
                        </a:rPr>
                        <a:t>amet</a:t>
                      </a:r>
                      <a:r>
                        <a:rPr lang="en-CA" sz="900" b="0" i="0" u="none" strike="noStrike" kern="1200" cap="none" dirty="0">
                          <a:solidFill>
                            <a:srgbClr val="000000"/>
                          </a:solidFill>
                          <a:latin typeface="+mn-lt"/>
                          <a:ea typeface="Arial" charset="0"/>
                          <a:cs typeface="Arial" charset="0"/>
                          <a:sym typeface="Calibri"/>
                        </a:rPr>
                        <a:t>, </a:t>
                      </a:r>
                      <a:r>
                        <a:rPr lang="en-CA" sz="900" b="0" i="0" u="none" strike="noStrike" kern="1200" cap="none" dirty="0" err="1">
                          <a:solidFill>
                            <a:srgbClr val="000000"/>
                          </a:solidFill>
                          <a:latin typeface="+mn-lt"/>
                          <a:ea typeface="Arial" charset="0"/>
                          <a:cs typeface="Arial" charset="0"/>
                          <a:sym typeface="Calibri"/>
                        </a:rPr>
                        <a:t>consectetur</a:t>
                      </a:r>
                      <a:r>
                        <a:rPr lang="en-CA" sz="900" b="0" i="0" u="none" strike="noStrike" kern="1200" cap="none" dirty="0">
                          <a:solidFill>
                            <a:srgbClr val="000000"/>
                          </a:solidFill>
                          <a:latin typeface="+mn-lt"/>
                          <a:ea typeface="Arial" charset="0"/>
                          <a:cs typeface="Arial" charset="0"/>
                          <a:sym typeface="Calibri"/>
                        </a:rPr>
                        <a:t> </a:t>
                      </a:r>
                      <a:r>
                        <a:rPr lang="en-CA" sz="900" b="0" i="0" u="none" strike="noStrike" kern="1200" cap="none" dirty="0" err="1">
                          <a:solidFill>
                            <a:srgbClr val="000000"/>
                          </a:solidFill>
                          <a:latin typeface="+mn-lt"/>
                          <a:ea typeface="Arial" charset="0"/>
                          <a:cs typeface="Arial" charset="0"/>
                          <a:sym typeface="Calibri"/>
                        </a:rPr>
                        <a:t>adipiscing</a:t>
                      </a:r>
                      <a:r>
                        <a:rPr lang="en-CA" sz="900" b="0" i="0" u="none" strike="noStrike" kern="1200" cap="none" dirty="0">
                          <a:solidFill>
                            <a:srgbClr val="000000"/>
                          </a:solidFill>
                          <a:latin typeface="+mn-lt"/>
                          <a:ea typeface="Arial" charset="0"/>
                          <a:cs typeface="Arial" charset="0"/>
                          <a:sym typeface="Calibri"/>
                        </a:rPr>
                        <a:t> </a:t>
                      </a:r>
                      <a:r>
                        <a:rPr lang="en-CA" sz="900" b="0" i="0" u="none" strike="noStrike" kern="1200" cap="none" dirty="0" err="1">
                          <a:solidFill>
                            <a:srgbClr val="000000"/>
                          </a:solidFill>
                          <a:latin typeface="+mn-lt"/>
                          <a:ea typeface="Arial" charset="0"/>
                          <a:cs typeface="Arial" charset="0"/>
                          <a:sym typeface="Calibri"/>
                        </a:rPr>
                        <a:t>elit</a:t>
                      </a:r>
                      <a:r>
                        <a:rPr lang="en-CA" sz="900" b="0" i="0" u="none" strike="noStrike" kern="1200" cap="none" dirty="0">
                          <a:solidFill>
                            <a:srgbClr val="000000"/>
                          </a:solidFill>
                          <a:latin typeface="+mn-lt"/>
                          <a:ea typeface="Arial" charset="0"/>
                          <a:cs typeface="Arial" charset="0"/>
                          <a:sym typeface="Calibri"/>
                        </a:rPr>
                        <a:t>.</a:t>
                      </a:r>
                    </a:p>
                  </a:txBody>
                  <a:tcPr anchor="ctr">
                    <a:lnR w="12700" cap="flat" cmpd="sng" algn="ctr">
                      <a:solidFill>
                        <a:srgbClr val="E6E6E6"/>
                      </a:solidFill>
                      <a:prstDash val="solid"/>
                      <a:round/>
                      <a:headEnd type="none" w="med" len="med"/>
                      <a:tailEnd type="none" w="med" len="med"/>
                    </a:lnR>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L w="12700" cap="flat" cmpd="sng" algn="ctr">
                      <a:solidFill>
                        <a:srgbClr val="E6E6E6"/>
                      </a:solidFill>
                      <a:prstDash val="solid"/>
                      <a:round/>
                      <a:headEnd type="none" w="med" len="med"/>
                      <a:tailEnd type="none" w="med" len="med"/>
                    </a:lnL>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consectetur</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adipiscing</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elit</a:t>
                      </a:r>
                      <a:r>
                        <a:rPr lang="en-CA" sz="900" b="0" i="0" u="none" strike="noStrike" cap="none" dirty="0">
                          <a:solidFill>
                            <a:schemeClr val="bg1"/>
                          </a:solidFill>
                          <a:latin typeface="+mj-lt"/>
                          <a:ea typeface="Arial" charset="0"/>
                          <a:cs typeface="Arial" charset="0"/>
                          <a:sym typeface="Calibri"/>
                        </a:rPr>
                        <a:t>.</a:t>
                      </a:r>
                    </a:p>
                  </a:txBody>
                  <a:tcPr marL="137165" marR="137165" marT="45725" marB="45725" anchor="ctr">
                    <a:solidFill>
                      <a:srgbClr val="FF304C"/>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consectetur</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adipiscing</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elit</a:t>
                      </a:r>
                      <a:r>
                        <a:rPr lang="en-CA" sz="900" b="0" i="0" u="none" strike="noStrike" cap="none" dirty="0">
                          <a:solidFill>
                            <a:schemeClr val="bg1"/>
                          </a:solidFill>
                          <a:latin typeface="+mj-lt"/>
                          <a:ea typeface="Arial" charset="0"/>
                          <a:cs typeface="Arial" charset="0"/>
                          <a:sym typeface="Calibri"/>
                        </a:rPr>
                        <a:t>.</a:t>
                      </a:r>
                    </a:p>
                  </a:txBody>
                  <a:tcPr marL="137165" marR="137165" marT="45725" marB="45725" anchor="ctr">
                    <a:solidFill>
                      <a:srgbClr val="0070AD"/>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1086260795"/>
                  </a:ext>
                </a:extLst>
              </a:tr>
              <a:tr h="1054443">
                <a:tc>
                  <a:txBody>
                    <a:bodyPr/>
                    <a:lstStyle/>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1100" b="1" i="0" u="none" strike="noStrike" kern="1200" cap="none" spc="0" normalizeH="0" baseline="0" noProof="0" dirty="0">
                          <a:ln>
                            <a:noFill/>
                          </a:ln>
                          <a:solidFill>
                            <a:prstClr val="black"/>
                          </a:solidFill>
                          <a:effectLst/>
                          <a:uLnTx/>
                          <a:uFillTx/>
                          <a:latin typeface="+mn-lt"/>
                          <a:ea typeface="Georgia" charset="0"/>
                          <a:cs typeface="Georgia" charset="0"/>
                          <a:sym typeface="Calibri"/>
                        </a:rPr>
                        <a:t>Heading</a:t>
                      </a:r>
                    </a:p>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Lorem ipsum dolor si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me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consectetur</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dipiscing</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eli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endParaRPr lang="en-CA" sz="900" b="0" i="0" u="none" strike="noStrike" cap="none" dirty="0">
                        <a:solidFill>
                          <a:srgbClr val="000000"/>
                        </a:solidFill>
                        <a:latin typeface="+mj-lt"/>
                        <a:ea typeface="Arial" charset="0"/>
                        <a:cs typeface="Arial" charset="0"/>
                        <a:sym typeface="Calibri"/>
                      </a:endParaRPr>
                    </a:p>
                  </a:txBody>
                  <a:tcPr marL="137165" marR="137165" marT="45725" marB="45725" anchor="ctr">
                    <a:lnL w="12700" cap="flat" cmpd="sng" algn="ctr">
                      <a:solidFill>
                        <a:srgbClr val="E6E6E6"/>
                      </a:solidFill>
                      <a:prstDash val="solid"/>
                      <a:round/>
                      <a:headEnd type="none" w="med" len="med"/>
                      <a:tailEnd type="none" w="med" len="med"/>
                    </a:lnL>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endParaRPr lang="en-CA" sz="900" b="0" i="0" dirty="0">
                        <a:solidFill>
                          <a:schemeClr val="bg1"/>
                        </a:solidFill>
                        <a:latin typeface="+mj-lt"/>
                        <a:ea typeface="Arial" charset="0"/>
                        <a:cs typeface="Arial" charset="0"/>
                        <a:sym typeface="Calibri"/>
                      </a:endParaRPr>
                    </a:p>
                  </a:txBody>
                  <a:tcPr marL="137165" marR="137165" marT="45725" marB="45725" anchor="ctr">
                    <a:solidFill>
                      <a:srgbClr val="FF304C"/>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75% assigned automatically</a:t>
                      </a:r>
                    </a:p>
                  </a:txBody>
                  <a:tcPr marL="137165" marR="137165" marT="45725" marB="45725" anchor="ctr">
                    <a:solidFill>
                      <a:srgbClr val="0070AD"/>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err="1">
                          <a:solidFill>
                            <a:srgbClr val="000000"/>
                          </a:solidFill>
                          <a:latin typeface="+mj-lt"/>
                          <a:ea typeface="Arial" charset="0"/>
                          <a:cs typeface="Arial" charset="0"/>
                          <a:sym typeface="Calibri"/>
                        </a:rPr>
                        <a:t>Vestibulum</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laore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liqu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massa</a:t>
                      </a:r>
                      <a:r>
                        <a:rPr lang="en-CA" sz="900" b="0" i="0" u="none" strike="noStrike" cap="none" dirty="0">
                          <a:solidFill>
                            <a:srgbClr val="000000"/>
                          </a:solidFill>
                          <a:latin typeface="+mj-lt"/>
                          <a:ea typeface="Arial" charset="0"/>
                          <a:cs typeface="Arial" charset="0"/>
                          <a:sym typeface="Calibri"/>
                        </a:rPr>
                        <a:t> at </a:t>
                      </a:r>
                      <a:r>
                        <a:rPr lang="en-CA" sz="900" b="0" i="0" u="none" strike="noStrike" cap="none" dirty="0" err="1">
                          <a:solidFill>
                            <a:srgbClr val="000000"/>
                          </a:solidFill>
                          <a:latin typeface="+mj-lt"/>
                          <a:ea typeface="Arial" charset="0"/>
                          <a:cs typeface="Arial" charset="0"/>
                          <a:sym typeface="Calibri"/>
                        </a:rPr>
                        <a:t>volutpat</a:t>
                      </a:r>
                      <a:r>
                        <a:rPr lang="en-CA" sz="900" b="0" i="0" u="none" strike="noStrike" cap="none" dirty="0">
                          <a:solidFill>
                            <a:srgbClr val="000000"/>
                          </a:solidFill>
                          <a:latin typeface="+mj-lt"/>
                          <a:ea typeface="Arial" charset="0"/>
                          <a:cs typeface="Arial" charset="0"/>
                          <a:sym typeface="Calibri"/>
                        </a:rPr>
                        <a:t>. </a:t>
                      </a:r>
                    </a:p>
                  </a:txBody>
                  <a:tcPr marL="137165" marR="137165" marT="45725" marB="45725" anchor="ctr">
                    <a:lnR w="12700" cap="flat" cmpd="sng" algn="ctr">
                      <a:solidFill>
                        <a:srgbClr val="E6E6E6"/>
                      </a:solidFill>
                      <a:prstDash val="solid"/>
                      <a:round/>
                      <a:headEnd type="none" w="med" len="med"/>
                      <a:tailEnd type="none" w="med" len="med"/>
                    </a:lnR>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L w="12700" cap="flat" cmpd="sng" algn="ctr">
                      <a:solidFill>
                        <a:srgbClr val="E6E6E6"/>
                      </a:solidFill>
                      <a:prstDash val="solid"/>
                      <a:round/>
                      <a:headEnd type="none" w="med" len="med"/>
                      <a:tailEnd type="none" w="med" len="med"/>
                    </a:lnL>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582475389"/>
                  </a:ext>
                </a:extLst>
              </a:tr>
              <a:tr h="1054443">
                <a:tc>
                  <a:txBody>
                    <a:bodyPr/>
                    <a:lstStyle/>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1100" b="1" i="0" u="none" strike="noStrike" kern="1200" cap="none" spc="0" normalizeH="0" baseline="0" noProof="0" dirty="0">
                          <a:ln>
                            <a:noFill/>
                          </a:ln>
                          <a:solidFill>
                            <a:prstClr val="black"/>
                          </a:solidFill>
                          <a:effectLst/>
                          <a:uLnTx/>
                          <a:uFillTx/>
                          <a:latin typeface="+mn-lt"/>
                          <a:ea typeface="Georgia" charset="0"/>
                          <a:cs typeface="Georgia" charset="0"/>
                          <a:sym typeface="Calibri"/>
                        </a:rPr>
                        <a:t>Heading</a:t>
                      </a:r>
                    </a:p>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Lorem ipsum dolor si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me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consectetur</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dipiscing</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eli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endParaRPr lang="en-CA" sz="900" b="0" i="0" u="none" strike="noStrike" cap="none" dirty="0">
                        <a:solidFill>
                          <a:srgbClr val="000000"/>
                        </a:solidFill>
                        <a:latin typeface="+mj-lt"/>
                        <a:ea typeface="Arial" charset="0"/>
                        <a:cs typeface="Arial" charset="0"/>
                        <a:sym typeface="Calibri"/>
                      </a:endParaRPr>
                    </a:p>
                  </a:txBody>
                  <a:tcPr marL="137165" marR="137165" marT="45725" marB="45725" anchor="ctr">
                    <a:lnL w="12700" cap="flat" cmpd="sng" algn="ctr">
                      <a:solidFill>
                        <a:srgbClr val="E6E6E6"/>
                      </a:solidFill>
                      <a:prstDash val="solid"/>
                      <a:round/>
                      <a:headEnd type="none" w="med" len="med"/>
                      <a:tailEnd type="none" w="med" len="med"/>
                    </a:lnL>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endParaRPr lang="en-CA" sz="900" b="0" i="0" u="none" strike="noStrike" cap="none" dirty="0">
                        <a:solidFill>
                          <a:srgbClr val="000000"/>
                        </a:solidFill>
                        <a:latin typeface="+mj-lt"/>
                        <a:ea typeface="Arial" charset="0"/>
                        <a:cs typeface="Arial" charset="0"/>
                        <a:sym typeface="Calibri"/>
                      </a:endParaRPr>
                    </a:p>
                  </a:txBody>
                  <a:tcPr marL="137165" marR="137165" marT="45725" marB="45725" anchor="ctr">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endParaRPr lang="en-CA" sz="900" b="0" i="0" u="none" strike="noStrike" cap="none" dirty="0">
                        <a:solidFill>
                          <a:schemeClr val="bg1"/>
                        </a:solidFill>
                        <a:latin typeface="+mj-lt"/>
                        <a:ea typeface="Arial" charset="0"/>
                        <a:cs typeface="Arial" charset="0"/>
                        <a:sym typeface="Calibri"/>
                      </a:endParaRPr>
                    </a:p>
                  </a:txBody>
                  <a:tcPr marL="137165" marR="137165" marT="45725" marB="45725" anchor="ctr">
                    <a:solidFill>
                      <a:srgbClr val="FF304C"/>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endParaRPr lang="en-CA" sz="900" b="0" i="0" u="none" strike="noStrike" cap="none" dirty="0">
                        <a:solidFill>
                          <a:schemeClr val="bg1"/>
                        </a:solidFill>
                        <a:latin typeface="+mj-lt"/>
                        <a:ea typeface="Arial" charset="0"/>
                        <a:cs typeface="Arial" charset="0"/>
                        <a:sym typeface="Calibri"/>
                      </a:endParaRPr>
                    </a:p>
                  </a:txBody>
                  <a:tcPr marL="137165" marR="137165" marT="45725" marB="45725" anchor="ctr">
                    <a:solidFill>
                      <a:srgbClr val="0070AD"/>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3650024200"/>
                  </a:ext>
                </a:extLst>
              </a:tr>
              <a:tr h="1054443">
                <a:tc>
                  <a:txBody>
                    <a:bodyPr/>
                    <a:lstStyle/>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1100" b="1" i="0" u="none" strike="noStrike" kern="1200" cap="none" spc="0" normalizeH="0" baseline="0" noProof="0" dirty="0">
                          <a:ln>
                            <a:noFill/>
                          </a:ln>
                          <a:solidFill>
                            <a:prstClr val="black"/>
                          </a:solidFill>
                          <a:effectLst/>
                          <a:uLnTx/>
                          <a:uFillTx/>
                          <a:latin typeface="+mn-lt"/>
                          <a:ea typeface="Georgia" charset="0"/>
                          <a:cs typeface="Georgia" charset="0"/>
                          <a:sym typeface="Calibri"/>
                        </a:rPr>
                        <a:t>Heading</a:t>
                      </a:r>
                    </a:p>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Lorem ipsum dolor si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me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consectetur</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dipiscing</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eli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L w="12700" cap="flat" cmpd="sng" algn="ctr">
                      <a:solidFill>
                        <a:srgbClr val="E6E6E6"/>
                      </a:solidFill>
                      <a:prstDash val="solid"/>
                      <a:round/>
                      <a:headEnd type="none" w="med" len="med"/>
                      <a:tailEnd type="none" w="med" len="med"/>
                    </a:lnL>
                    <a:lnT w="12700" cap="flat" cmpd="sng" algn="ctr">
                      <a:solidFill>
                        <a:srgbClr val="E6E6E6"/>
                      </a:solidFill>
                      <a:prstDash val="solid"/>
                      <a:round/>
                      <a:headEnd type="none" w="med" len="med"/>
                      <a:tailEnd type="none" w="med" len="med"/>
                    </a:lnT>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consectetur</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adipiscing</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elit</a:t>
                      </a:r>
                      <a:r>
                        <a:rPr lang="en-CA" sz="900" b="0" i="0" u="none" strike="noStrike" cap="none" dirty="0">
                          <a:solidFill>
                            <a:schemeClr val="bg1"/>
                          </a:solidFill>
                          <a:latin typeface="+mj-lt"/>
                          <a:ea typeface="Arial" charset="0"/>
                          <a:cs typeface="Arial" charset="0"/>
                          <a:sym typeface="Calibri"/>
                        </a:rPr>
                        <a:t>.</a:t>
                      </a:r>
                    </a:p>
                  </a:txBody>
                  <a:tcPr marL="137165" marR="137165" marT="45725" marB="45725" anchor="ctr">
                    <a:solidFill>
                      <a:srgbClr val="FF304C"/>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consectetur</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adipiscing</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elit</a:t>
                      </a:r>
                      <a:r>
                        <a:rPr lang="en-CA" sz="900" b="0" i="0" u="none" strike="noStrike" cap="none" dirty="0">
                          <a:solidFill>
                            <a:schemeClr val="bg1"/>
                          </a:solidFill>
                          <a:latin typeface="+mj-lt"/>
                          <a:ea typeface="Arial" charset="0"/>
                          <a:cs typeface="Arial" charset="0"/>
                          <a:sym typeface="Calibri"/>
                        </a:rPr>
                        <a:t>.</a:t>
                      </a:r>
                    </a:p>
                  </a:txBody>
                  <a:tcPr marL="137165" marR="137165" marT="45725" marB="45725" anchor="ctr">
                    <a:solidFill>
                      <a:srgbClr val="0070AD"/>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T w="12700" cap="flat" cmpd="sng" algn="ctr">
                      <a:solidFill>
                        <a:srgbClr val="E6E6E6"/>
                      </a:solidFill>
                      <a:prstDash val="solid"/>
                      <a:round/>
                      <a:headEnd type="none" w="med" len="med"/>
                      <a:tailEnd type="none" w="med" len="med"/>
                    </a:lnT>
                    <a:noFill/>
                  </a:tcPr>
                </a:tc>
                <a:extLst>
                  <a:ext uri="{0D108BD9-81ED-4DB2-BD59-A6C34878D82A}">
                    <a16:rowId xmlns:a16="http://schemas.microsoft.com/office/drawing/2014/main" val="504483324"/>
                  </a:ext>
                </a:extLst>
              </a:tr>
            </a:tbl>
          </a:graphicData>
        </a:graphic>
      </p:graphicFrame>
      <p:cxnSp>
        <p:nvCxnSpPr>
          <p:cNvPr id="4" name="Conector reto 49">
            <a:extLst>
              <a:ext uri="{FF2B5EF4-FFF2-40B4-BE49-F238E27FC236}">
                <a16:creationId xmlns:a16="http://schemas.microsoft.com/office/drawing/2014/main" id="{F08D944B-9D5F-4B68-82C5-B498CB228F2E}"/>
              </a:ext>
            </a:extLst>
          </p:cNvPr>
          <p:cNvCxnSpPr>
            <a:cxnSpLocks/>
          </p:cNvCxnSpPr>
          <p:nvPr/>
        </p:nvCxnSpPr>
        <p:spPr>
          <a:xfrm>
            <a:off x="826900" y="1955064"/>
            <a:ext cx="10499405" cy="0"/>
          </a:xfrm>
          <a:prstGeom prst="line">
            <a:avLst/>
          </a:prstGeom>
          <a:solidFill>
            <a:schemeClr val="tx1"/>
          </a:solidFill>
          <a:ln w="47625" cap="flat">
            <a:solidFill>
              <a:srgbClr val="E6E6E6"/>
            </a:solidFill>
            <a:round/>
          </a:ln>
        </p:spPr>
        <p:style>
          <a:lnRef idx="1">
            <a:schemeClr val="accent1"/>
          </a:lnRef>
          <a:fillRef idx="0">
            <a:schemeClr val="accent1"/>
          </a:fillRef>
          <a:effectRef idx="0">
            <a:schemeClr val="accent1"/>
          </a:effectRef>
          <a:fontRef idx="minor">
            <a:schemeClr val="tx1"/>
          </a:fontRef>
        </p:style>
      </p:cxnSp>
      <p:sp>
        <p:nvSpPr>
          <p:cNvPr id="5" name="Oval 20">
            <a:extLst>
              <a:ext uri="{FF2B5EF4-FFF2-40B4-BE49-F238E27FC236}">
                <a16:creationId xmlns:a16="http://schemas.microsoft.com/office/drawing/2014/main" id="{5A582732-693F-4796-B456-46062C238349}"/>
              </a:ext>
            </a:extLst>
          </p:cNvPr>
          <p:cNvSpPr/>
          <p:nvPr/>
        </p:nvSpPr>
        <p:spPr>
          <a:xfrm>
            <a:off x="10164393" y="777014"/>
            <a:ext cx="552012" cy="52156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00"/>
          </a:p>
        </p:txBody>
      </p:sp>
      <p:sp>
        <p:nvSpPr>
          <p:cNvPr id="6" name="Oval 20">
            <a:extLst>
              <a:ext uri="{FF2B5EF4-FFF2-40B4-BE49-F238E27FC236}">
                <a16:creationId xmlns:a16="http://schemas.microsoft.com/office/drawing/2014/main" id="{BB86515C-6069-40A3-BD4B-D6F9C83D6EB5}"/>
              </a:ext>
            </a:extLst>
          </p:cNvPr>
          <p:cNvSpPr/>
          <p:nvPr/>
        </p:nvSpPr>
        <p:spPr>
          <a:xfrm>
            <a:off x="10800572" y="793245"/>
            <a:ext cx="552012" cy="52156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00"/>
          </a:p>
        </p:txBody>
      </p:sp>
      <p:sp>
        <p:nvSpPr>
          <p:cNvPr id="7" name="Text Placeholder 1">
            <a:extLst>
              <a:ext uri="{FF2B5EF4-FFF2-40B4-BE49-F238E27FC236}">
                <a16:creationId xmlns:a16="http://schemas.microsoft.com/office/drawing/2014/main" id="{FAF9348E-33D7-4525-A594-4CD600F199FF}"/>
              </a:ext>
            </a:extLst>
          </p:cNvPr>
          <p:cNvSpPr txBox="1">
            <a:spLocks/>
          </p:cNvSpPr>
          <p:nvPr/>
        </p:nvSpPr>
        <p:spPr>
          <a:xfrm>
            <a:off x="10165024" y="935008"/>
            <a:ext cx="539488" cy="216024"/>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000" b="0" i="0" u="none" strike="noStrike" kern="1200" cap="none" spc="0" normalizeH="0" baseline="0" noProof="0">
                <a:ln>
                  <a:noFill/>
                </a:ln>
                <a:solidFill>
                  <a:schemeClr val="bg1"/>
                </a:solidFill>
                <a:effectLst/>
                <a:uLnTx/>
                <a:uFillTx/>
                <a:latin typeface="+mj-lt"/>
                <a:ea typeface="+mn-ea"/>
                <a:cs typeface="+mn-cs"/>
              </a:rPr>
              <a:t>Text</a:t>
            </a:r>
            <a:endParaRPr kumimoji="0" lang="pt-PT" sz="1000" b="0" i="0" u="none" strike="noStrike" kern="1200" cap="none" spc="0" normalizeH="0" baseline="0" noProof="0" dirty="0">
              <a:ln>
                <a:noFill/>
              </a:ln>
              <a:solidFill>
                <a:schemeClr val="bg1"/>
              </a:solidFill>
              <a:effectLst/>
              <a:uLnTx/>
              <a:uFillTx/>
              <a:latin typeface="+mj-lt"/>
              <a:ea typeface="+mn-ea"/>
              <a:cs typeface="+mn-cs"/>
            </a:endParaRPr>
          </a:p>
        </p:txBody>
      </p:sp>
      <p:sp>
        <p:nvSpPr>
          <p:cNvPr id="8" name="Text Placeholder 2">
            <a:extLst>
              <a:ext uri="{FF2B5EF4-FFF2-40B4-BE49-F238E27FC236}">
                <a16:creationId xmlns:a16="http://schemas.microsoft.com/office/drawing/2014/main" id="{7029F3CD-4B4B-48FA-B5BC-735187506866}"/>
              </a:ext>
            </a:extLst>
          </p:cNvPr>
          <p:cNvSpPr txBox="1">
            <a:spLocks/>
          </p:cNvSpPr>
          <p:nvPr/>
        </p:nvSpPr>
        <p:spPr>
          <a:xfrm>
            <a:off x="10813096" y="935008"/>
            <a:ext cx="539488" cy="216024"/>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000" b="0" i="0" u="none" strike="noStrike" kern="1200" cap="none" spc="0" normalizeH="0" baseline="0" noProof="0">
                <a:ln>
                  <a:noFill/>
                </a:ln>
                <a:solidFill>
                  <a:schemeClr val="bg1"/>
                </a:solidFill>
                <a:effectLst/>
                <a:uLnTx/>
                <a:uFillTx/>
                <a:latin typeface="+mj-lt"/>
                <a:ea typeface="+mn-ea"/>
                <a:cs typeface="+mn-cs"/>
              </a:rPr>
              <a:t>Text</a:t>
            </a:r>
            <a:endParaRPr kumimoji="0" lang="pt-PT" sz="1000" b="0" i="0" u="none" strike="noStrike" kern="1200" cap="none" spc="0" normalizeH="0" baseline="0" noProof="0" dirty="0">
              <a:ln>
                <a:noFill/>
              </a:ln>
              <a:solidFill>
                <a:schemeClr val="bg1"/>
              </a:solidFill>
              <a:effectLst/>
              <a:uLnTx/>
              <a:uFillTx/>
              <a:latin typeface="+mj-lt"/>
              <a:ea typeface="+mn-ea"/>
              <a:cs typeface="+mn-cs"/>
            </a:endParaRPr>
          </a:p>
        </p:txBody>
      </p:sp>
    </p:spTree>
    <p:extLst>
      <p:ext uri="{BB962C8B-B14F-4D97-AF65-F5344CB8AC3E}">
        <p14:creationId xmlns:p14="http://schemas.microsoft.com/office/powerpoint/2010/main" val="24524548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a:t>Click to insert title</a:t>
            </a:r>
            <a:endParaRPr lang="en-GB" dirty="0"/>
          </a:p>
        </p:txBody>
      </p:sp>
      <p:sp>
        <p:nvSpPr>
          <p:cNvPr id="33" name="Text Placeholder 32"/>
          <p:cNvSpPr>
            <a:spLocks noGrp="1"/>
          </p:cNvSpPr>
          <p:nvPr>
            <p:ph type="body" sz="quarter" idx="12"/>
          </p:nvPr>
        </p:nvSpPr>
        <p:spPr>
          <a:xfrm>
            <a:off x="7752183" y="2813833"/>
            <a:ext cx="3801187" cy="2629024"/>
          </a:xfrm>
        </p:spPr>
        <p:txBody>
          <a:bodyPr/>
          <a:lstStyle/>
          <a:p>
            <a:r>
              <a:rPr lang="en-US" dirty="0"/>
              <a:t>Click to insert text</a:t>
            </a:r>
            <a:endParaRPr lang="pt-PT" dirty="0"/>
          </a:p>
          <a:p>
            <a:endParaRPr lang="en-GB" dirty="0"/>
          </a:p>
          <a:p>
            <a:endParaRPr lang="en-GB" dirty="0"/>
          </a:p>
        </p:txBody>
      </p:sp>
      <p:graphicFrame>
        <p:nvGraphicFramePr>
          <p:cNvPr id="34" name="Table Placeholder 11">
            <a:extLst>
              <a:ext uri="{FF2B5EF4-FFF2-40B4-BE49-F238E27FC236}">
                <a16:creationId xmlns:a16="http://schemas.microsoft.com/office/drawing/2014/main" id="{4A57E409-926F-46F8-9CC3-BF45743D4C9F}"/>
              </a:ext>
            </a:extLst>
          </p:cNvPr>
          <p:cNvGraphicFramePr>
            <a:graphicFrameLocks/>
          </p:cNvGraphicFramePr>
          <p:nvPr>
            <p:extLst/>
          </p:nvPr>
        </p:nvGraphicFramePr>
        <p:xfrm>
          <a:off x="695325" y="2133600"/>
          <a:ext cx="5256212" cy="4002288"/>
        </p:xfrm>
        <a:graphic>
          <a:graphicData uri="http://schemas.openxmlformats.org/drawingml/2006/table">
            <a:tbl>
              <a:tblPr firstRow="1" bandRow="1">
                <a:tableStyleId>{5C22544A-7EE6-4342-B048-85BDC9FD1C3A}</a:tableStyleId>
              </a:tblPr>
              <a:tblGrid>
                <a:gridCol w="1314053">
                  <a:extLst>
                    <a:ext uri="{9D8B030D-6E8A-4147-A177-3AD203B41FA5}">
                      <a16:colId xmlns:a16="http://schemas.microsoft.com/office/drawing/2014/main" val="4035871393"/>
                    </a:ext>
                  </a:extLst>
                </a:gridCol>
                <a:gridCol w="1314053">
                  <a:extLst>
                    <a:ext uri="{9D8B030D-6E8A-4147-A177-3AD203B41FA5}">
                      <a16:colId xmlns:a16="http://schemas.microsoft.com/office/drawing/2014/main" val="2800999230"/>
                    </a:ext>
                  </a:extLst>
                </a:gridCol>
                <a:gridCol w="1314053">
                  <a:extLst>
                    <a:ext uri="{9D8B030D-6E8A-4147-A177-3AD203B41FA5}">
                      <a16:colId xmlns:a16="http://schemas.microsoft.com/office/drawing/2014/main" val="2335668724"/>
                    </a:ext>
                  </a:extLst>
                </a:gridCol>
                <a:gridCol w="1314053">
                  <a:extLst>
                    <a:ext uri="{9D8B030D-6E8A-4147-A177-3AD203B41FA5}">
                      <a16:colId xmlns:a16="http://schemas.microsoft.com/office/drawing/2014/main" val="329443219"/>
                    </a:ext>
                  </a:extLst>
                </a:gridCol>
              </a:tblGrid>
              <a:tr h="719336">
                <a:tc>
                  <a:txBody>
                    <a:bodyPr/>
                    <a:lstStyle/>
                    <a:p>
                      <a:r>
                        <a:rPr lang="en-US" sz="1200" dirty="0"/>
                        <a:t>Table head</a:t>
                      </a:r>
                      <a:endParaRPr lang="en-US" sz="1200" dirty="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Table head</a:t>
                      </a:r>
                      <a:endParaRPr lang="en-US" sz="1200" dirty="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Table head</a:t>
                      </a:r>
                      <a:endParaRPr lang="en-US" sz="1200" dirty="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Table head</a:t>
                      </a:r>
                      <a:endParaRPr lang="en-US" sz="1200" dirty="0">
                        <a:latin typeface="+mj-lt"/>
                      </a:endParaRP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22849599"/>
                  </a:ext>
                </a:extLst>
              </a:tr>
              <a:tr h="820738">
                <a:tc>
                  <a:txBody>
                    <a:bodyPr/>
                    <a:lstStyle/>
                    <a:p>
                      <a:r>
                        <a:rPr lang="en-US" sz="1200" b="1" dirty="0">
                          <a:solidFill>
                            <a:schemeClr val="bg1"/>
                          </a:solidFill>
                        </a:rPr>
                        <a:t>Table text</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25510702"/>
                  </a:ext>
                </a:extLst>
              </a:tr>
              <a:tr h="820738">
                <a:tc>
                  <a:txBody>
                    <a:bodyPr/>
                    <a:lstStyle/>
                    <a:p>
                      <a:r>
                        <a:rPr lang="en-US" sz="1200" b="1" dirty="0">
                          <a:solidFill>
                            <a:schemeClr val="bg1"/>
                          </a:solidFill>
                        </a:rPr>
                        <a:t>Table text</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pt-PT" dirty="0"/>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85090195"/>
                  </a:ext>
                </a:extLst>
              </a:tr>
              <a:tr h="820738">
                <a:tc>
                  <a:txBody>
                    <a:bodyPr/>
                    <a:lstStyle/>
                    <a:p>
                      <a:r>
                        <a:rPr lang="en-US" sz="1200" b="1" dirty="0">
                          <a:solidFill>
                            <a:schemeClr val="bg1"/>
                          </a:solidFill>
                        </a:rPr>
                        <a:t>Table text</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57563053"/>
                  </a:ext>
                </a:extLst>
              </a:tr>
              <a:tr h="820738">
                <a:tc>
                  <a:txBody>
                    <a:bodyPr/>
                    <a:lstStyle/>
                    <a:p>
                      <a:r>
                        <a:rPr lang="en-US" sz="1200" b="1" dirty="0">
                          <a:solidFill>
                            <a:schemeClr val="bg1"/>
                          </a:solidFill>
                        </a:rPr>
                        <a:t>Table text</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endParaRPr lang="pt-PT" dirty="0"/>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4800010"/>
                  </a:ext>
                </a:extLst>
              </a:tr>
            </a:tbl>
          </a:graphicData>
        </a:graphic>
      </p:graphicFrame>
      <p:sp>
        <p:nvSpPr>
          <p:cNvPr id="35" name="Text Placeholder 3">
            <a:extLst>
              <a:ext uri="{FF2B5EF4-FFF2-40B4-BE49-F238E27FC236}">
                <a16:creationId xmlns:a16="http://schemas.microsoft.com/office/drawing/2014/main" id="{486EE99D-0F26-4C00-B9D1-4A7357C5E15C}"/>
              </a:ext>
            </a:extLst>
          </p:cNvPr>
          <p:cNvSpPr txBox="1">
            <a:spLocks/>
          </p:cNvSpPr>
          <p:nvPr/>
        </p:nvSpPr>
        <p:spPr>
          <a:xfrm>
            <a:off x="695400" y="1709192"/>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a:ln>
                  <a:noFill/>
                </a:ln>
                <a:solidFill>
                  <a:srgbClr val="12ABDB"/>
                </a:solidFill>
                <a:effectLst/>
                <a:uLnTx/>
                <a:uFillTx/>
                <a:latin typeface="+mj-lt"/>
                <a:ea typeface="+mn-ea"/>
                <a:cs typeface="+mn-cs"/>
              </a:rPr>
              <a:t>Click to insert subtitle</a:t>
            </a:r>
            <a:endParaRPr kumimoji="0" lang="pt-PT" sz="1800" b="1" i="0" u="none" strike="noStrike" kern="1200" cap="none" spc="0" normalizeH="0" baseline="0" noProof="0" dirty="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a16="http://schemas.microsoft.com/office/drawing/2014/main" id="{4C290FE1-62B6-44AF-9203-06067F6FEBC2}"/>
              </a:ext>
            </a:extLst>
          </p:cNvPr>
          <p:cNvCxnSpPr>
            <a:cxnSpLocks/>
          </p:cNvCxnSpPr>
          <p:nvPr/>
        </p:nvCxnSpPr>
        <p:spPr>
          <a:xfrm>
            <a:off x="694645" y="2132856"/>
            <a:ext cx="5257339"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59B4B1D1-A71F-4389-8C09-13E9A08EDCA8}"/>
              </a:ext>
            </a:extLst>
          </p:cNvPr>
          <p:cNvGrpSpPr/>
          <p:nvPr/>
        </p:nvGrpSpPr>
        <p:grpSpPr>
          <a:xfrm flipH="1">
            <a:off x="2411119" y="4653136"/>
            <a:ext cx="457200" cy="457200"/>
            <a:chOff x="4372583" y="2688920"/>
            <a:chExt cx="1245140" cy="1245140"/>
          </a:xfrm>
        </p:grpSpPr>
        <p:sp>
          <p:nvSpPr>
            <p:cNvPr id="38" name="Oval 37">
              <a:extLst>
                <a:ext uri="{FF2B5EF4-FFF2-40B4-BE49-F238E27FC236}">
                  <a16:creationId xmlns:a16="http://schemas.microsoft.com/office/drawing/2014/main" id="{91904E0E-3E96-4A14-8394-43485252E0E5}"/>
                </a:ext>
              </a:extLst>
            </p:cNvPr>
            <p:cNvSpPr/>
            <p:nvPr/>
          </p:nvSpPr>
          <p:spPr bwMode="auto">
            <a:xfrm>
              <a:off x="4372583" y="2688920"/>
              <a:ext cx="1245140" cy="1245140"/>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39" name="Pie 6">
              <a:extLst>
                <a:ext uri="{FF2B5EF4-FFF2-40B4-BE49-F238E27FC236}">
                  <a16:creationId xmlns:a16="http://schemas.microsoft.com/office/drawing/2014/main" id="{20448A13-196A-4BCE-8940-0CFA5D74FF95}"/>
                </a:ext>
              </a:extLst>
            </p:cNvPr>
            <p:cNvSpPr/>
            <p:nvPr/>
          </p:nvSpPr>
          <p:spPr bwMode="auto">
            <a:xfrm>
              <a:off x="4373361" y="2689698"/>
              <a:ext cx="1243584" cy="1243584"/>
            </a:xfrm>
            <a:prstGeom prst="pi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grpSp>
        <p:nvGrpSpPr>
          <p:cNvPr id="40" name="Group 39">
            <a:extLst>
              <a:ext uri="{FF2B5EF4-FFF2-40B4-BE49-F238E27FC236}">
                <a16:creationId xmlns:a16="http://schemas.microsoft.com/office/drawing/2014/main" id="{33C0939B-D806-447E-86E0-CA7E1782BB1F}"/>
              </a:ext>
            </a:extLst>
          </p:cNvPr>
          <p:cNvGrpSpPr/>
          <p:nvPr/>
        </p:nvGrpSpPr>
        <p:grpSpPr>
          <a:xfrm rot="5400000" flipH="1">
            <a:off x="3719736" y="3020380"/>
            <a:ext cx="457200" cy="457200"/>
            <a:chOff x="4372583" y="2688920"/>
            <a:chExt cx="1245140" cy="1245140"/>
          </a:xfrm>
        </p:grpSpPr>
        <p:sp>
          <p:nvSpPr>
            <p:cNvPr id="41" name="Oval 40">
              <a:extLst>
                <a:ext uri="{FF2B5EF4-FFF2-40B4-BE49-F238E27FC236}">
                  <a16:creationId xmlns:a16="http://schemas.microsoft.com/office/drawing/2014/main" id="{30642EE9-EB3F-4B7F-8759-7A1BB09A4DCD}"/>
                </a:ext>
              </a:extLst>
            </p:cNvPr>
            <p:cNvSpPr/>
            <p:nvPr/>
          </p:nvSpPr>
          <p:spPr bwMode="auto">
            <a:xfrm>
              <a:off x="4372583" y="2688920"/>
              <a:ext cx="1245140" cy="1245140"/>
            </a:xfrm>
            <a:prstGeom prst="ellips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42" name="Pie 9">
              <a:extLst>
                <a:ext uri="{FF2B5EF4-FFF2-40B4-BE49-F238E27FC236}">
                  <a16:creationId xmlns:a16="http://schemas.microsoft.com/office/drawing/2014/main" id="{D6778914-2FCF-409F-BD0D-E6175A77FF12}"/>
                </a:ext>
              </a:extLst>
            </p:cNvPr>
            <p:cNvSpPr/>
            <p:nvPr/>
          </p:nvSpPr>
          <p:spPr bwMode="auto">
            <a:xfrm>
              <a:off x="4373361" y="2689697"/>
              <a:ext cx="1243585" cy="1243585"/>
            </a:xfrm>
            <a:prstGeom prst="pi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grpSp>
        <p:nvGrpSpPr>
          <p:cNvPr id="43" name="Group 42">
            <a:extLst>
              <a:ext uri="{FF2B5EF4-FFF2-40B4-BE49-F238E27FC236}">
                <a16:creationId xmlns:a16="http://schemas.microsoft.com/office/drawing/2014/main" id="{1D1517D1-F103-4F25-8915-FD88E6E825FD}"/>
              </a:ext>
            </a:extLst>
          </p:cNvPr>
          <p:cNvGrpSpPr/>
          <p:nvPr/>
        </p:nvGrpSpPr>
        <p:grpSpPr>
          <a:xfrm flipH="1">
            <a:off x="2410911" y="3861048"/>
            <a:ext cx="457200" cy="457200"/>
            <a:chOff x="4348164" y="2807208"/>
            <a:chExt cx="1245678" cy="1243584"/>
          </a:xfrm>
        </p:grpSpPr>
        <p:sp>
          <p:nvSpPr>
            <p:cNvPr id="44" name="Oval 43">
              <a:extLst>
                <a:ext uri="{FF2B5EF4-FFF2-40B4-BE49-F238E27FC236}">
                  <a16:creationId xmlns:a16="http://schemas.microsoft.com/office/drawing/2014/main" id="{DB1B4AF2-74D5-4709-9EE3-24B1F1122042}"/>
                </a:ext>
              </a:extLst>
            </p:cNvPr>
            <p:cNvSpPr/>
            <p:nvPr/>
          </p:nvSpPr>
          <p:spPr bwMode="auto">
            <a:xfrm>
              <a:off x="4350258" y="2807208"/>
              <a:ext cx="1243584" cy="1243584"/>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45" name="Freeform 12">
              <a:extLst>
                <a:ext uri="{FF2B5EF4-FFF2-40B4-BE49-F238E27FC236}">
                  <a16:creationId xmlns:a16="http://schemas.microsoft.com/office/drawing/2014/main" id="{05C87EB5-617D-495A-92F0-08A501CD789D}"/>
                </a:ext>
              </a:extLst>
            </p:cNvPr>
            <p:cNvSpPr/>
            <p:nvPr/>
          </p:nvSpPr>
          <p:spPr bwMode="auto">
            <a:xfrm>
              <a:off x="4348164" y="2807494"/>
              <a:ext cx="621506" cy="1243012"/>
            </a:xfrm>
            <a:custGeom>
              <a:avLst/>
              <a:gdLst>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806 h 1243806"/>
                <a:gd name="connsiteX1" fmla="*/ 621506 w 621506"/>
                <a:gd name="connsiteY1" fmla="*/ 794 h 1243806"/>
                <a:gd name="connsiteX2" fmla="*/ 0 w 621506"/>
                <a:gd name="connsiteY2" fmla="*/ 619919 h 1243806"/>
                <a:gd name="connsiteX3" fmla="*/ 621506 w 621506"/>
                <a:gd name="connsiteY3" fmla="*/ 1243806 h 1243806"/>
                <a:gd name="connsiteX0" fmla="*/ 626268 w 626268"/>
                <a:gd name="connsiteY0" fmla="*/ 1243806 h 1243806"/>
                <a:gd name="connsiteX1" fmla="*/ 626268 w 626268"/>
                <a:gd name="connsiteY1" fmla="*/ 794 h 1243806"/>
                <a:gd name="connsiteX2" fmla="*/ 4762 w 626268"/>
                <a:gd name="connsiteY2" fmla="*/ 619919 h 1243806"/>
                <a:gd name="connsiteX3" fmla="*/ 626268 w 626268"/>
                <a:gd name="connsiteY3" fmla="*/ 1243806 h 1243806"/>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62063"/>
                <a:gd name="connsiteX1" fmla="*/ 626268 w 626268"/>
                <a:gd name="connsiteY1" fmla="*/ 5556 h 1262063"/>
                <a:gd name="connsiteX2" fmla="*/ 4762 w 626268"/>
                <a:gd name="connsiteY2" fmla="*/ 624681 h 1262063"/>
                <a:gd name="connsiteX3" fmla="*/ 626268 w 626268"/>
                <a:gd name="connsiteY3" fmla="*/ 1248568 h 1262063"/>
                <a:gd name="connsiteX0" fmla="*/ 626268 w 626268"/>
                <a:gd name="connsiteY0" fmla="*/ 1248568 h 1262063"/>
                <a:gd name="connsiteX1" fmla="*/ 626268 w 626268"/>
                <a:gd name="connsiteY1" fmla="*/ 5556 h 1262063"/>
                <a:gd name="connsiteX2" fmla="*/ 4762 w 626268"/>
                <a:gd name="connsiteY2" fmla="*/ 624681 h 1262063"/>
                <a:gd name="connsiteX3" fmla="*/ 626268 w 626268"/>
                <a:gd name="connsiteY3" fmla="*/ 1248568 h 1262063"/>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3887 w 623887"/>
                <a:gd name="connsiteY0" fmla="*/ 1248568 h 1248568"/>
                <a:gd name="connsiteX1" fmla="*/ 623887 w 623887"/>
                <a:gd name="connsiteY1" fmla="*/ 5556 h 1248568"/>
                <a:gd name="connsiteX2" fmla="*/ 2381 w 623887"/>
                <a:gd name="connsiteY2" fmla="*/ 624681 h 1248568"/>
                <a:gd name="connsiteX3" fmla="*/ 623887 w 623887"/>
                <a:gd name="connsiteY3" fmla="*/ 1248568 h 1248568"/>
                <a:gd name="connsiteX0" fmla="*/ 623887 w 623887"/>
                <a:gd name="connsiteY0" fmla="*/ 1248568 h 1248568"/>
                <a:gd name="connsiteX1" fmla="*/ 623887 w 623887"/>
                <a:gd name="connsiteY1" fmla="*/ 5556 h 1248568"/>
                <a:gd name="connsiteX2" fmla="*/ 2381 w 623887"/>
                <a:gd name="connsiteY2" fmla="*/ 624681 h 1248568"/>
                <a:gd name="connsiteX3" fmla="*/ 623887 w 623887"/>
                <a:gd name="connsiteY3" fmla="*/ 1248568 h 1248568"/>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Lst>
              <a:ahLst/>
              <a:cxnLst>
                <a:cxn ang="0">
                  <a:pos x="connsiteX0" y="connsiteY0"/>
                </a:cxn>
                <a:cxn ang="0">
                  <a:pos x="connsiteX1" y="connsiteY1"/>
                </a:cxn>
                <a:cxn ang="0">
                  <a:pos x="connsiteX2" y="connsiteY2"/>
                </a:cxn>
                <a:cxn ang="0">
                  <a:pos x="connsiteX3" y="connsiteY3"/>
                </a:cxn>
              </a:cxnLst>
              <a:rect l="l" t="t" r="r" b="b"/>
              <a:pathLst>
                <a:path w="621506" h="1243012">
                  <a:moveTo>
                    <a:pt x="621506" y="1243012"/>
                  </a:moveTo>
                  <a:lnTo>
                    <a:pt x="621506" y="0"/>
                  </a:lnTo>
                  <a:cubicBezTo>
                    <a:pt x="228599" y="1588"/>
                    <a:pt x="0" y="334169"/>
                    <a:pt x="0" y="619125"/>
                  </a:cubicBezTo>
                  <a:cubicBezTo>
                    <a:pt x="4764" y="934244"/>
                    <a:pt x="250031" y="1237457"/>
                    <a:pt x="621506" y="1243012"/>
                  </a:cubicBezTo>
                  <a:close/>
                </a:path>
              </a:pathLst>
            </a:cu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sp>
        <p:nvSpPr>
          <p:cNvPr id="46" name="Oval 45">
            <a:extLst>
              <a:ext uri="{FF2B5EF4-FFF2-40B4-BE49-F238E27FC236}">
                <a16:creationId xmlns:a16="http://schemas.microsoft.com/office/drawing/2014/main" id="{C13A3395-3636-46D2-B22D-40BBFC23D109}"/>
              </a:ext>
            </a:extLst>
          </p:cNvPr>
          <p:cNvSpPr/>
          <p:nvPr/>
        </p:nvSpPr>
        <p:spPr bwMode="auto">
          <a:xfrm flipH="1">
            <a:off x="3749348" y="3861048"/>
            <a:ext cx="457200" cy="457200"/>
          </a:xfrm>
          <a:prstGeom prst="ellips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47" name="Oval 46">
            <a:extLst>
              <a:ext uri="{FF2B5EF4-FFF2-40B4-BE49-F238E27FC236}">
                <a16:creationId xmlns:a16="http://schemas.microsoft.com/office/drawing/2014/main" id="{B4081E18-19ED-4208-9A5B-6E67D4C3D418}"/>
              </a:ext>
            </a:extLst>
          </p:cNvPr>
          <p:cNvSpPr/>
          <p:nvPr/>
        </p:nvSpPr>
        <p:spPr bwMode="auto">
          <a:xfrm flipH="1">
            <a:off x="2410703" y="3020066"/>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48" name="Oval 47">
            <a:extLst>
              <a:ext uri="{FF2B5EF4-FFF2-40B4-BE49-F238E27FC236}">
                <a16:creationId xmlns:a16="http://schemas.microsoft.com/office/drawing/2014/main" id="{91337087-71FE-4295-A2BC-AFCE55C057B4}"/>
              </a:ext>
            </a:extLst>
          </p:cNvPr>
          <p:cNvSpPr/>
          <p:nvPr/>
        </p:nvSpPr>
        <p:spPr bwMode="auto">
          <a:xfrm flipH="1">
            <a:off x="2410703" y="5517232"/>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nvGrpSpPr>
          <p:cNvPr id="49" name="Group 48">
            <a:extLst>
              <a:ext uri="{FF2B5EF4-FFF2-40B4-BE49-F238E27FC236}">
                <a16:creationId xmlns:a16="http://schemas.microsoft.com/office/drawing/2014/main" id="{DFE75DD1-D579-4C8E-8DE0-C3A8BA87726E}"/>
              </a:ext>
            </a:extLst>
          </p:cNvPr>
          <p:cNvGrpSpPr/>
          <p:nvPr/>
        </p:nvGrpSpPr>
        <p:grpSpPr>
          <a:xfrm flipH="1">
            <a:off x="3749452" y="4653136"/>
            <a:ext cx="457200" cy="457200"/>
            <a:chOff x="4372583" y="2688920"/>
            <a:chExt cx="1245140" cy="1245140"/>
          </a:xfrm>
        </p:grpSpPr>
        <p:sp>
          <p:nvSpPr>
            <p:cNvPr id="50" name="Oval 49">
              <a:extLst>
                <a:ext uri="{FF2B5EF4-FFF2-40B4-BE49-F238E27FC236}">
                  <a16:creationId xmlns:a16="http://schemas.microsoft.com/office/drawing/2014/main" id="{B2E3C4BF-4084-46B1-8232-CB2265999E54}"/>
                </a:ext>
              </a:extLst>
            </p:cNvPr>
            <p:cNvSpPr/>
            <p:nvPr/>
          </p:nvSpPr>
          <p:spPr bwMode="auto">
            <a:xfrm>
              <a:off x="4372583" y="2688920"/>
              <a:ext cx="1245140" cy="1245140"/>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51" name="Pie 6">
              <a:extLst>
                <a:ext uri="{FF2B5EF4-FFF2-40B4-BE49-F238E27FC236}">
                  <a16:creationId xmlns:a16="http://schemas.microsoft.com/office/drawing/2014/main" id="{25536C57-5EC6-41F9-9B38-F5633DEDB6EC}"/>
                </a:ext>
              </a:extLst>
            </p:cNvPr>
            <p:cNvSpPr/>
            <p:nvPr/>
          </p:nvSpPr>
          <p:spPr bwMode="auto">
            <a:xfrm>
              <a:off x="4373361" y="2689698"/>
              <a:ext cx="1243584" cy="1243584"/>
            </a:xfrm>
            <a:prstGeom prst="pi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sp>
        <p:nvSpPr>
          <p:cNvPr id="52" name="Oval 51">
            <a:extLst>
              <a:ext uri="{FF2B5EF4-FFF2-40B4-BE49-F238E27FC236}">
                <a16:creationId xmlns:a16="http://schemas.microsoft.com/office/drawing/2014/main" id="{86F1E358-D0FB-40E7-AECF-3926526D93AF}"/>
              </a:ext>
            </a:extLst>
          </p:cNvPr>
          <p:cNvSpPr/>
          <p:nvPr/>
        </p:nvSpPr>
        <p:spPr bwMode="auto">
          <a:xfrm flipH="1">
            <a:off x="3749088" y="5517232"/>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nvGrpSpPr>
          <p:cNvPr id="53" name="Group 52">
            <a:extLst>
              <a:ext uri="{FF2B5EF4-FFF2-40B4-BE49-F238E27FC236}">
                <a16:creationId xmlns:a16="http://schemas.microsoft.com/office/drawing/2014/main" id="{04C4E6D8-F45C-45A4-92DF-BB988AB6DB56}"/>
              </a:ext>
            </a:extLst>
          </p:cNvPr>
          <p:cNvGrpSpPr/>
          <p:nvPr/>
        </p:nvGrpSpPr>
        <p:grpSpPr>
          <a:xfrm flipH="1">
            <a:off x="5087784" y="4692757"/>
            <a:ext cx="457200" cy="457200"/>
            <a:chOff x="4372583" y="2688920"/>
            <a:chExt cx="1245140" cy="1245140"/>
          </a:xfrm>
        </p:grpSpPr>
        <p:sp>
          <p:nvSpPr>
            <p:cNvPr id="54" name="Oval 53">
              <a:extLst>
                <a:ext uri="{FF2B5EF4-FFF2-40B4-BE49-F238E27FC236}">
                  <a16:creationId xmlns:a16="http://schemas.microsoft.com/office/drawing/2014/main" id="{6B349CA8-7C00-424C-8974-FA45455A6D9C}"/>
                </a:ext>
              </a:extLst>
            </p:cNvPr>
            <p:cNvSpPr/>
            <p:nvPr/>
          </p:nvSpPr>
          <p:spPr bwMode="auto">
            <a:xfrm>
              <a:off x="4372583" y="2688920"/>
              <a:ext cx="1245140" cy="1245140"/>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55" name="Pie 6">
              <a:extLst>
                <a:ext uri="{FF2B5EF4-FFF2-40B4-BE49-F238E27FC236}">
                  <a16:creationId xmlns:a16="http://schemas.microsoft.com/office/drawing/2014/main" id="{CAE218AE-839D-4A21-9085-D7F52B0A33CA}"/>
                </a:ext>
              </a:extLst>
            </p:cNvPr>
            <p:cNvSpPr/>
            <p:nvPr/>
          </p:nvSpPr>
          <p:spPr bwMode="auto">
            <a:xfrm>
              <a:off x="4373361" y="2689698"/>
              <a:ext cx="1243584" cy="1243584"/>
            </a:xfrm>
            <a:prstGeom prst="pi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grpSp>
        <p:nvGrpSpPr>
          <p:cNvPr id="56" name="Group 55">
            <a:extLst>
              <a:ext uri="{FF2B5EF4-FFF2-40B4-BE49-F238E27FC236}">
                <a16:creationId xmlns:a16="http://schemas.microsoft.com/office/drawing/2014/main" id="{04DD3590-A38C-4385-B8AF-5B4F4A6463D8}"/>
              </a:ext>
            </a:extLst>
          </p:cNvPr>
          <p:cNvGrpSpPr/>
          <p:nvPr/>
        </p:nvGrpSpPr>
        <p:grpSpPr>
          <a:xfrm flipH="1">
            <a:off x="5087784" y="3868283"/>
            <a:ext cx="457200" cy="457200"/>
            <a:chOff x="4348164" y="2807208"/>
            <a:chExt cx="1245678" cy="1243584"/>
          </a:xfrm>
        </p:grpSpPr>
        <p:sp>
          <p:nvSpPr>
            <p:cNvPr id="57" name="Oval 56">
              <a:extLst>
                <a:ext uri="{FF2B5EF4-FFF2-40B4-BE49-F238E27FC236}">
                  <a16:creationId xmlns:a16="http://schemas.microsoft.com/office/drawing/2014/main" id="{FBD8651A-C13A-4FEF-8BCD-87D513D89AE7}"/>
                </a:ext>
              </a:extLst>
            </p:cNvPr>
            <p:cNvSpPr/>
            <p:nvPr/>
          </p:nvSpPr>
          <p:spPr bwMode="auto">
            <a:xfrm>
              <a:off x="4350258" y="2807208"/>
              <a:ext cx="1243584" cy="1243584"/>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58" name="Freeform 12">
              <a:extLst>
                <a:ext uri="{FF2B5EF4-FFF2-40B4-BE49-F238E27FC236}">
                  <a16:creationId xmlns:a16="http://schemas.microsoft.com/office/drawing/2014/main" id="{06B6D8DE-78A8-412F-AF3D-1B33331DDE65}"/>
                </a:ext>
              </a:extLst>
            </p:cNvPr>
            <p:cNvSpPr/>
            <p:nvPr/>
          </p:nvSpPr>
          <p:spPr bwMode="auto">
            <a:xfrm>
              <a:off x="4348164" y="2807494"/>
              <a:ext cx="621506" cy="1243012"/>
            </a:xfrm>
            <a:custGeom>
              <a:avLst/>
              <a:gdLst>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806 h 1243806"/>
                <a:gd name="connsiteX1" fmla="*/ 621506 w 621506"/>
                <a:gd name="connsiteY1" fmla="*/ 794 h 1243806"/>
                <a:gd name="connsiteX2" fmla="*/ 0 w 621506"/>
                <a:gd name="connsiteY2" fmla="*/ 619919 h 1243806"/>
                <a:gd name="connsiteX3" fmla="*/ 621506 w 621506"/>
                <a:gd name="connsiteY3" fmla="*/ 1243806 h 1243806"/>
                <a:gd name="connsiteX0" fmla="*/ 626268 w 626268"/>
                <a:gd name="connsiteY0" fmla="*/ 1243806 h 1243806"/>
                <a:gd name="connsiteX1" fmla="*/ 626268 w 626268"/>
                <a:gd name="connsiteY1" fmla="*/ 794 h 1243806"/>
                <a:gd name="connsiteX2" fmla="*/ 4762 w 626268"/>
                <a:gd name="connsiteY2" fmla="*/ 619919 h 1243806"/>
                <a:gd name="connsiteX3" fmla="*/ 626268 w 626268"/>
                <a:gd name="connsiteY3" fmla="*/ 1243806 h 1243806"/>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62063"/>
                <a:gd name="connsiteX1" fmla="*/ 626268 w 626268"/>
                <a:gd name="connsiteY1" fmla="*/ 5556 h 1262063"/>
                <a:gd name="connsiteX2" fmla="*/ 4762 w 626268"/>
                <a:gd name="connsiteY2" fmla="*/ 624681 h 1262063"/>
                <a:gd name="connsiteX3" fmla="*/ 626268 w 626268"/>
                <a:gd name="connsiteY3" fmla="*/ 1248568 h 1262063"/>
                <a:gd name="connsiteX0" fmla="*/ 626268 w 626268"/>
                <a:gd name="connsiteY0" fmla="*/ 1248568 h 1262063"/>
                <a:gd name="connsiteX1" fmla="*/ 626268 w 626268"/>
                <a:gd name="connsiteY1" fmla="*/ 5556 h 1262063"/>
                <a:gd name="connsiteX2" fmla="*/ 4762 w 626268"/>
                <a:gd name="connsiteY2" fmla="*/ 624681 h 1262063"/>
                <a:gd name="connsiteX3" fmla="*/ 626268 w 626268"/>
                <a:gd name="connsiteY3" fmla="*/ 1248568 h 1262063"/>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3887 w 623887"/>
                <a:gd name="connsiteY0" fmla="*/ 1248568 h 1248568"/>
                <a:gd name="connsiteX1" fmla="*/ 623887 w 623887"/>
                <a:gd name="connsiteY1" fmla="*/ 5556 h 1248568"/>
                <a:gd name="connsiteX2" fmla="*/ 2381 w 623887"/>
                <a:gd name="connsiteY2" fmla="*/ 624681 h 1248568"/>
                <a:gd name="connsiteX3" fmla="*/ 623887 w 623887"/>
                <a:gd name="connsiteY3" fmla="*/ 1248568 h 1248568"/>
                <a:gd name="connsiteX0" fmla="*/ 623887 w 623887"/>
                <a:gd name="connsiteY0" fmla="*/ 1248568 h 1248568"/>
                <a:gd name="connsiteX1" fmla="*/ 623887 w 623887"/>
                <a:gd name="connsiteY1" fmla="*/ 5556 h 1248568"/>
                <a:gd name="connsiteX2" fmla="*/ 2381 w 623887"/>
                <a:gd name="connsiteY2" fmla="*/ 624681 h 1248568"/>
                <a:gd name="connsiteX3" fmla="*/ 623887 w 623887"/>
                <a:gd name="connsiteY3" fmla="*/ 1248568 h 1248568"/>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Lst>
              <a:ahLst/>
              <a:cxnLst>
                <a:cxn ang="0">
                  <a:pos x="connsiteX0" y="connsiteY0"/>
                </a:cxn>
                <a:cxn ang="0">
                  <a:pos x="connsiteX1" y="connsiteY1"/>
                </a:cxn>
                <a:cxn ang="0">
                  <a:pos x="connsiteX2" y="connsiteY2"/>
                </a:cxn>
                <a:cxn ang="0">
                  <a:pos x="connsiteX3" y="connsiteY3"/>
                </a:cxn>
              </a:cxnLst>
              <a:rect l="l" t="t" r="r" b="b"/>
              <a:pathLst>
                <a:path w="621506" h="1243012">
                  <a:moveTo>
                    <a:pt x="621506" y="1243012"/>
                  </a:moveTo>
                  <a:lnTo>
                    <a:pt x="621506" y="0"/>
                  </a:lnTo>
                  <a:cubicBezTo>
                    <a:pt x="228599" y="1588"/>
                    <a:pt x="0" y="334169"/>
                    <a:pt x="0" y="619125"/>
                  </a:cubicBezTo>
                  <a:cubicBezTo>
                    <a:pt x="4764" y="934244"/>
                    <a:pt x="250031" y="1237457"/>
                    <a:pt x="621506" y="1243012"/>
                  </a:cubicBezTo>
                  <a:close/>
                </a:path>
              </a:pathLst>
            </a:cu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sp>
        <p:nvSpPr>
          <p:cNvPr id="59" name="Oval 58">
            <a:extLst>
              <a:ext uri="{FF2B5EF4-FFF2-40B4-BE49-F238E27FC236}">
                <a16:creationId xmlns:a16="http://schemas.microsoft.com/office/drawing/2014/main" id="{266ACB75-134F-4734-A536-702DE8976EE4}"/>
              </a:ext>
            </a:extLst>
          </p:cNvPr>
          <p:cNvSpPr/>
          <p:nvPr/>
        </p:nvSpPr>
        <p:spPr bwMode="auto">
          <a:xfrm flipH="1">
            <a:off x="5087472" y="3020066"/>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60" name="Oval 59">
            <a:extLst>
              <a:ext uri="{FF2B5EF4-FFF2-40B4-BE49-F238E27FC236}">
                <a16:creationId xmlns:a16="http://schemas.microsoft.com/office/drawing/2014/main" id="{975D2BB1-1FA5-4B52-962E-CC19B52AC623}"/>
              </a:ext>
            </a:extLst>
          </p:cNvPr>
          <p:cNvSpPr/>
          <p:nvPr/>
        </p:nvSpPr>
        <p:spPr bwMode="auto">
          <a:xfrm flipH="1">
            <a:off x="5087472" y="5517232"/>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nvGrpSpPr>
          <p:cNvPr id="61" name="Group 25">
            <a:extLst>
              <a:ext uri="{FF2B5EF4-FFF2-40B4-BE49-F238E27FC236}">
                <a16:creationId xmlns:a16="http://schemas.microsoft.com/office/drawing/2014/main"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a16="http://schemas.microsoft.com/office/drawing/2014/main"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a16="http://schemas.microsoft.com/office/drawing/2014/main"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18781441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a:t>Click to insert title</a:t>
            </a:r>
            <a:endParaRPr lang="en-GB" dirty="0"/>
          </a:p>
        </p:txBody>
      </p:sp>
      <p:sp>
        <p:nvSpPr>
          <p:cNvPr id="14" name="Text Placeholder 1">
            <a:extLst>
              <a:ext uri="{FF2B5EF4-FFF2-40B4-BE49-F238E27FC236}">
                <a16:creationId xmlns:a16="http://schemas.microsoft.com/office/drawing/2014/main" id="{B5191259-6044-43E8-BDD8-90D2E7034488}"/>
              </a:ext>
            </a:extLst>
          </p:cNvPr>
          <p:cNvSpPr txBox="1">
            <a:spLocks/>
          </p:cNvSpPr>
          <p:nvPr/>
        </p:nvSpPr>
        <p:spPr>
          <a:xfrm>
            <a:off x="839416"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graphicFrame>
        <p:nvGraphicFramePr>
          <p:cNvPr id="15" name="SmartArt Placeholder 11">
            <a:extLst>
              <a:ext uri="{FF2B5EF4-FFF2-40B4-BE49-F238E27FC236}">
                <a16:creationId xmlns:a16="http://schemas.microsoft.com/office/drawing/2014/main" id="{4159C739-6F6A-4522-A222-FE5E7CB171D5}"/>
              </a:ext>
            </a:extLst>
          </p:cNvPr>
          <p:cNvGraphicFramePr>
            <a:graphicFrameLocks/>
          </p:cNvGraphicFramePr>
          <p:nvPr>
            <p:extLst/>
          </p:nvPr>
        </p:nvGraphicFramePr>
        <p:xfrm>
          <a:off x="695325" y="3429000"/>
          <a:ext cx="7921625" cy="647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Text Placeholder 5">
            <a:extLst>
              <a:ext uri="{FF2B5EF4-FFF2-40B4-BE49-F238E27FC236}">
                <a16:creationId xmlns:a16="http://schemas.microsoft.com/office/drawing/2014/main" id="{0365D349-21F4-44C3-AFFD-1F7CDD64A72C}"/>
              </a:ext>
            </a:extLst>
          </p:cNvPr>
          <p:cNvSpPr txBox="1">
            <a:spLocks/>
          </p:cNvSpPr>
          <p:nvPr/>
        </p:nvSpPr>
        <p:spPr>
          <a:xfrm>
            <a:off x="3359696"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17" name="Text Placeholder 6">
            <a:extLst>
              <a:ext uri="{FF2B5EF4-FFF2-40B4-BE49-F238E27FC236}">
                <a16:creationId xmlns:a16="http://schemas.microsoft.com/office/drawing/2014/main" id="{19BC914A-80FE-4100-A8A2-E0E123124AF1}"/>
              </a:ext>
            </a:extLst>
          </p:cNvPr>
          <p:cNvSpPr txBox="1">
            <a:spLocks/>
          </p:cNvSpPr>
          <p:nvPr/>
        </p:nvSpPr>
        <p:spPr>
          <a:xfrm>
            <a:off x="5951984"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cxnSp>
        <p:nvCxnSpPr>
          <p:cNvPr id="18" name="Conector reto 49">
            <a:extLst>
              <a:ext uri="{FF2B5EF4-FFF2-40B4-BE49-F238E27FC236}">
                <a16:creationId xmlns:a16="http://schemas.microsoft.com/office/drawing/2014/main" id="{B7E1EADD-9835-4720-B7A2-7F019ED6D61B}"/>
              </a:ext>
            </a:extLst>
          </p:cNvPr>
          <p:cNvCxnSpPr>
            <a:cxnSpLocks/>
          </p:cNvCxnSpPr>
          <p:nvPr/>
        </p:nvCxnSpPr>
        <p:spPr>
          <a:xfrm flipV="1">
            <a:off x="3254874" y="4110049"/>
            <a:ext cx="0" cy="1623108"/>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cxnSp>
        <p:nvCxnSpPr>
          <p:cNvPr id="19" name="Conector reto 49">
            <a:extLst>
              <a:ext uri="{FF2B5EF4-FFF2-40B4-BE49-F238E27FC236}">
                <a16:creationId xmlns:a16="http://schemas.microsoft.com/office/drawing/2014/main" id="{F7902B49-D8D3-4DD4-8912-A99C364BA376}"/>
              </a:ext>
            </a:extLst>
          </p:cNvPr>
          <p:cNvCxnSpPr>
            <a:cxnSpLocks/>
          </p:cNvCxnSpPr>
          <p:nvPr/>
        </p:nvCxnSpPr>
        <p:spPr>
          <a:xfrm flipV="1">
            <a:off x="5813769" y="4110148"/>
            <a:ext cx="0" cy="1623009"/>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193D1C38-AC9A-4E5E-A40C-E189A14A239D}"/>
              </a:ext>
            </a:extLst>
          </p:cNvPr>
          <p:cNvGrpSpPr/>
          <p:nvPr/>
        </p:nvGrpSpPr>
        <p:grpSpPr>
          <a:xfrm>
            <a:off x="10422217" y="5175250"/>
            <a:ext cx="1030290" cy="958850"/>
            <a:chOff x="-3076576" y="4076701"/>
            <a:chExt cx="1465263" cy="1363663"/>
          </a:xfrm>
        </p:grpSpPr>
        <p:sp>
          <p:nvSpPr>
            <p:cNvPr id="21" name="Freeform 5">
              <a:extLst>
                <a:ext uri="{FF2B5EF4-FFF2-40B4-BE49-F238E27FC236}">
                  <a16:creationId xmlns:a16="http://schemas.microsoft.com/office/drawing/2014/main" id="{038B2AC1-7039-42DF-8BFF-907E36B9B705}"/>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a:extLst>
                <a:ext uri="{FF2B5EF4-FFF2-40B4-BE49-F238E27FC236}">
                  <a16:creationId xmlns:a16="http://schemas.microsoft.com/office/drawing/2014/main" id="{580961AC-3102-4E7C-91DD-CD3BF0F6C5F4}"/>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7E39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634462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5019"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Oval 20">
            <a:extLst>
              <a:ext uri="{FF2B5EF4-FFF2-40B4-BE49-F238E27FC236}">
                <a16:creationId xmlns:a16="http://schemas.microsoft.com/office/drawing/2014/main" id="{ADB39E78-E9B7-40CD-9999-E8302C610DC2}"/>
              </a:ext>
            </a:extLst>
          </p:cNvPr>
          <p:cNvSpPr/>
          <p:nvPr/>
        </p:nvSpPr>
        <p:spPr>
          <a:xfrm>
            <a:off x="5563594"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Oval 20">
            <a:extLst>
              <a:ext uri="{FF2B5EF4-FFF2-40B4-BE49-F238E27FC236}">
                <a16:creationId xmlns:a16="http://schemas.microsoft.com/office/drawing/2014/main" id="{80DEC651-0810-4FD4-A2CA-C54974433D45}"/>
              </a:ext>
            </a:extLst>
          </p:cNvPr>
          <p:cNvSpPr/>
          <p:nvPr/>
        </p:nvSpPr>
        <p:spPr>
          <a:xfrm>
            <a:off x="5563595"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Oval 20">
            <a:extLst>
              <a:ext uri="{FF2B5EF4-FFF2-40B4-BE49-F238E27FC236}">
                <a16:creationId xmlns:a16="http://schemas.microsoft.com/office/drawing/2014/main" id="{4F0142AD-298C-4A60-9F24-035D4F3F07D0}"/>
              </a:ext>
            </a:extLst>
          </p:cNvPr>
          <p:cNvSpPr/>
          <p:nvPr/>
        </p:nvSpPr>
        <p:spPr>
          <a:xfrm>
            <a:off x="5516146"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US"/>
              <a:t>Title</a:t>
            </a:r>
            <a:br>
              <a:rPr lang="en-US"/>
            </a:br>
            <a:r>
              <a:rPr lang="en-US"/>
              <a:t>(Can be one </a:t>
            </a:r>
            <a:br>
              <a:rPr lang="en-US"/>
            </a:br>
            <a:r>
              <a:rPr lang="en-US"/>
              <a:t>or two lines)</a:t>
            </a:r>
            <a:endParaRPr lang="en-GB" dirty="0"/>
          </a:p>
        </p:txBody>
      </p:sp>
      <p:sp>
        <p:nvSpPr>
          <p:cNvPr id="16" name="Text Placeholder 15"/>
          <p:cNvSpPr>
            <a:spLocks noGrp="1"/>
          </p:cNvSpPr>
          <p:nvPr>
            <p:ph type="body" sz="quarter" idx="38"/>
          </p:nvPr>
        </p:nvSpPr>
        <p:spPr/>
        <p:txBody>
          <a:bodyPr/>
          <a:lstStyle/>
          <a:p>
            <a:r>
              <a:rPr lang="pt-PT"/>
              <a:t>Click to insert text</a:t>
            </a:r>
            <a:endParaRPr lang="pt-PT" dirty="0"/>
          </a:p>
        </p:txBody>
      </p:sp>
      <p:sp>
        <p:nvSpPr>
          <p:cNvPr id="7" name="Text Placeholder 6"/>
          <p:cNvSpPr>
            <a:spLocks noGrp="1"/>
          </p:cNvSpPr>
          <p:nvPr>
            <p:ph type="body" sz="quarter" idx="29"/>
          </p:nvPr>
        </p:nvSpPr>
        <p:spPr/>
        <p:txBody>
          <a:bodyPr/>
          <a:lstStyle/>
          <a:p>
            <a:pPr lvl="0"/>
            <a:r>
              <a:rPr lang="en-US"/>
              <a:t>Click to insert title</a:t>
            </a:r>
            <a:endParaRPr lang="en-US" dirty="0"/>
          </a:p>
        </p:txBody>
      </p:sp>
      <p:sp>
        <p:nvSpPr>
          <p:cNvPr id="8" name="Text Placeholder 7"/>
          <p:cNvSpPr>
            <a:spLocks noGrp="1"/>
          </p:cNvSpPr>
          <p:nvPr>
            <p:ph type="body" sz="quarter" idx="30"/>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GB" dirty="0"/>
          </a:p>
        </p:txBody>
      </p:sp>
      <p:sp>
        <p:nvSpPr>
          <p:cNvPr id="9" name="Text Placeholder 8"/>
          <p:cNvSpPr>
            <a:spLocks noGrp="1"/>
          </p:cNvSpPr>
          <p:nvPr>
            <p:ph type="body" sz="quarter" idx="31"/>
          </p:nvPr>
        </p:nvSpPr>
        <p:spPr/>
        <p:txBody>
          <a:bodyPr/>
          <a:lstStyle/>
          <a:p>
            <a:pPr lvl="0"/>
            <a:r>
              <a:rPr lang="en-US"/>
              <a:t>Click to insert title</a:t>
            </a:r>
            <a:endParaRPr lang="en-US" dirty="0"/>
          </a:p>
        </p:txBody>
      </p:sp>
      <p:sp>
        <p:nvSpPr>
          <p:cNvPr id="10" name="Text Placeholder 9"/>
          <p:cNvSpPr>
            <a:spLocks noGrp="1"/>
          </p:cNvSpPr>
          <p:nvPr>
            <p:ph type="body" sz="quarter" idx="32"/>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GB" dirty="0"/>
          </a:p>
        </p:txBody>
      </p:sp>
      <p:sp>
        <p:nvSpPr>
          <p:cNvPr id="11" name="Text Placeholder 10"/>
          <p:cNvSpPr>
            <a:spLocks noGrp="1"/>
          </p:cNvSpPr>
          <p:nvPr>
            <p:ph type="body" sz="quarter" idx="33"/>
          </p:nvPr>
        </p:nvSpPr>
        <p:spPr/>
        <p:txBody>
          <a:bodyPr/>
          <a:lstStyle/>
          <a:p>
            <a:pPr lvl="0"/>
            <a:r>
              <a:rPr lang="en-US" dirty="0"/>
              <a:t>Click to insert title</a:t>
            </a:r>
          </a:p>
        </p:txBody>
      </p:sp>
      <p:sp>
        <p:nvSpPr>
          <p:cNvPr id="12" name="Text Placeholder 11"/>
          <p:cNvSpPr>
            <a:spLocks noGrp="1"/>
          </p:cNvSpPr>
          <p:nvPr>
            <p:ph type="body" sz="quarter" idx="34"/>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GB" dirty="0"/>
          </a:p>
        </p:txBody>
      </p:sp>
      <p:sp>
        <p:nvSpPr>
          <p:cNvPr id="13" name="Text Placeholder 12"/>
          <p:cNvSpPr>
            <a:spLocks noGrp="1"/>
          </p:cNvSpPr>
          <p:nvPr>
            <p:ph type="body" sz="quarter" idx="35"/>
          </p:nvPr>
        </p:nvSpPr>
        <p:spPr/>
        <p:txBody>
          <a:bodyPr/>
          <a:lstStyle/>
          <a:p>
            <a:r>
              <a:rPr lang="en-GB"/>
              <a:t>01</a:t>
            </a:r>
            <a:endParaRPr lang="en-GB" dirty="0"/>
          </a:p>
        </p:txBody>
      </p:sp>
      <p:sp>
        <p:nvSpPr>
          <p:cNvPr id="14" name="Text Placeholder 13"/>
          <p:cNvSpPr>
            <a:spLocks noGrp="1"/>
          </p:cNvSpPr>
          <p:nvPr>
            <p:ph type="body" sz="quarter" idx="36"/>
          </p:nvPr>
        </p:nvSpPr>
        <p:spPr/>
        <p:txBody>
          <a:bodyPr/>
          <a:lstStyle/>
          <a:p>
            <a:r>
              <a:rPr lang="en-GB"/>
              <a:t>02</a:t>
            </a:r>
            <a:endParaRPr lang="en-GB" dirty="0"/>
          </a:p>
        </p:txBody>
      </p:sp>
      <p:sp>
        <p:nvSpPr>
          <p:cNvPr id="15" name="Text Placeholder 14"/>
          <p:cNvSpPr>
            <a:spLocks noGrp="1"/>
          </p:cNvSpPr>
          <p:nvPr>
            <p:ph type="body" sz="quarter" idx="37"/>
          </p:nvPr>
        </p:nvSpPr>
        <p:spPr/>
        <p:txBody>
          <a:bodyPr/>
          <a:lstStyle/>
          <a:p>
            <a:r>
              <a:rPr lang="en-GB"/>
              <a:t>03</a:t>
            </a:r>
            <a:endParaRPr lang="en-GB" dirty="0"/>
          </a:p>
        </p:txBody>
      </p:sp>
    </p:spTree>
    <p:extLst>
      <p:ext uri="{BB962C8B-B14F-4D97-AF65-F5344CB8AC3E}">
        <p14:creationId xmlns:p14="http://schemas.microsoft.com/office/powerpoint/2010/main" val="22002849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insert title</a:t>
            </a:r>
            <a:endParaRPr lang="en-GB" dirty="0"/>
          </a:p>
        </p:txBody>
      </p:sp>
      <p:sp>
        <p:nvSpPr>
          <p:cNvPr id="7" name="Text Placeholder 6"/>
          <p:cNvSpPr>
            <a:spLocks noGrp="1"/>
          </p:cNvSpPr>
          <p:nvPr>
            <p:ph type="body" sz="quarter" idx="37"/>
          </p:nvPr>
        </p:nvSpPr>
        <p:spPr/>
        <p:txBody>
          <a:bodyPr/>
          <a:lstStyle/>
          <a:p>
            <a:r>
              <a:rPr lang="pt-PT" dirty="0">
                <a:latin typeface="Verdana" panose="020B0604030504040204" pitchFamily="34" charset="0"/>
                <a:ea typeface="Verdana" panose="020B0604030504040204" pitchFamily="34" charset="0"/>
                <a:cs typeface="Verdana" panose="020B0604030504040204" pitchFamily="34" charset="0"/>
              </a:rPr>
              <a:t>Click to insert text</a:t>
            </a:r>
          </a:p>
        </p:txBody>
      </p:sp>
      <p:sp>
        <p:nvSpPr>
          <p:cNvPr id="8" name="Rectangle 7"/>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1"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12"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5"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16"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7"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8"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19"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3"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24"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25"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26"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27"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28"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29"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extLst>
      <p:ext uri="{BB962C8B-B14F-4D97-AF65-F5344CB8AC3E}">
        <p14:creationId xmlns:p14="http://schemas.microsoft.com/office/powerpoint/2010/main" val="36497880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Title of the presentation</a:t>
            </a:r>
            <a:br>
              <a:rPr lang="en-US" dirty="0"/>
            </a:br>
            <a:r>
              <a:rPr lang="en-US" dirty="0"/>
              <a:t>2 lines</a:t>
            </a:r>
            <a:endParaRPr lang="en-GB" dirty="0"/>
          </a:p>
        </p:txBody>
      </p:sp>
      <p:sp>
        <p:nvSpPr>
          <p:cNvPr id="5" name="Subtitle 4"/>
          <p:cNvSpPr>
            <a:spLocks noGrp="1"/>
          </p:cNvSpPr>
          <p:nvPr>
            <p:ph type="subTitle" idx="1"/>
          </p:nvPr>
        </p:nvSpPr>
        <p:spPr/>
        <p:txBody>
          <a:bodyPr/>
          <a:lstStyle/>
          <a:p>
            <a:r>
              <a:rPr lang="en-US"/>
              <a:t>Location, Date, Author</a:t>
            </a:r>
          </a:p>
          <a:p>
            <a:endParaRPr lang="en-GB" dirty="0"/>
          </a:p>
        </p:txBody>
      </p:sp>
      <p:sp>
        <p:nvSpPr>
          <p:cNvPr id="9" name="Picture Placeholder 8"/>
          <p:cNvSpPr>
            <a:spLocks noGrp="1"/>
          </p:cNvSpPr>
          <p:nvPr>
            <p:ph type="pic" sz="quarter" idx="10"/>
          </p:nvPr>
        </p:nvSpPr>
        <p:spPr/>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p:cNvSpPr>
            <a:spLocks noGrp="1"/>
          </p:cNvSpPr>
          <p:nvPr>
            <p:ph type="body" sz="quarter" idx="32"/>
          </p:nvPr>
        </p:nvSpPr>
        <p:spPr/>
        <p:txBody>
          <a:bodyPr/>
          <a:lstStyle/>
          <a:p>
            <a:r>
              <a:rPr lang="pt-PT" dirty="0"/>
              <a:t>Click to insert title</a:t>
            </a:r>
          </a:p>
        </p:txBody>
      </p:sp>
      <p:sp>
        <p:nvSpPr>
          <p:cNvPr id="30" name="Text Placeholder 29"/>
          <p:cNvSpPr>
            <a:spLocks noGrp="1"/>
          </p:cNvSpPr>
          <p:nvPr>
            <p:ph type="body" sz="quarter" idx="35"/>
          </p:nvPr>
        </p:nvSpPr>
        <p:spPr>
          <a:xfrm>
            <a:off x="618009" y="5661248"/>
            <a:ext cx="1692449" cy="432048"/>
          </a:xfrm>
        </p:spPr>
        <p:txBody>
          <a:bodyPr/>
          <a:lstStyle/>
          <a:p>
            <a:r>
              <a:rPr lang="pt-PT" dirty="0"/>
              <a:t>Click to insert text</a:t>
            </a:r>
            <a:endParaRPr lang="en-US" dirty="0"/>
          </a:p>
        </p:txBody>
      </p:sp>
      <p:sp>
        <p:nvSpPr>
          <p:cNvPr id="31" name="Text Placeholder 30"/>
          <p:cNvSpPr>
            <a:spLocks noGrp="1"/>
          </p:cNvSpPr>
          <p:nvPr>
            <p:ph type="body" sz="quarter" idx="36"/>
          </p:nvPr>
        </p:nvSpPr>
        <p:spPr/>
        <p:txBody>
          <a:bodyPr/>
          <a:lstStyle/>
          <a:p>
            <a:r>
              <a:rPr lang="pt-PT" dirty="0"/>
              <a:t>Click to insert text</a:t>
            </a:r>
            <a:endParaRPr lang="en-US" dirty="0"/>
          </a:p>
        </p:txBody>
      </p:sp>
      <p:sp>
        <p:nvSpPr>
          <p:cNvPr id="32" name="Text Placeholder 31"/>
          <p:cNvSpPr>
            <a:spLocks noGrp="1"/>
          </p:cNvSpPr>
          <p:nvPr>
            <p:ph type="body" sz="quarter" idx="37"/>
          </p:nvPr>
        </p:nvSpPr>
        <p:spPr/>
        <p:txBody>
          <a:bodyPr/>
          <a:lstStyle/>
          <a:p>
            <a:r>
              <a:rPr lang="pt-PT" dirty="0"/>
              <a:t>Click to insert text</a:t>
            </a:r>
            <a:endParaRPr lang="en-US" dirty="0"/>
          </a:p>
        </p:txBody>
      </p:sp>
      <p:sp>
        <p:nvSpPr>
          <p:cNvPr id="33" name="Text Placeholder 32"/>
          <p:cNvSpPr>
            <a:spLocks noGrp="1"/>
          </p:cNvSpPr>
          <p:nvPr>
            <p:ph type="body" sz="quarter" idx="38"/>
          </p:nvPr>
        </p:nvSpPr>
        <p:spPr/>
        <p:txBody>
          <a:bodyPr/>
          <a:lstStyle/>
          <a:p>
            <a:r>
              <a:rPr lang="pt-PT" dirty="0"/>
              <a:t>Click to insert text</a:t>
            </a:r>
            <a:endParaRPr lang="en-US" dirty="0"/>
          </a:p>
        </p:txBody>
      </p:sp>
      <p:sp>
        <p:nvSpPr>
          <p:cNvPr id="34" name="Text Placeholder 33"/>
          <p:cNvSpPr>
            <a:spLocks noGrp="1"/>
          </p:cNvSpPr>
          <p:nvPr>
            <p:ph type="body" sz="quarter" idx="39"/>
          </p:nvPr>
        </p:nvSpPr>
        <p:spPr/>
        <p:txBody>
          <a:bodyPr/>
          <a:lstStyle/>
          <a:p>
            <a:r>
              <a:rPr lang="pt-PT" dirty="0"/>
              <a:t>Click to insert text</a:t>
            </a:r>
            <a:endParaRPr lang="en-US" dirty="0"/>
          </a:p>
        </p:txBody>
      </p:sp>
      <p:sp>
        <p:nvSpPr>
          <p:cNvPr id="35" name="Text Placeholder 34"/>
          <p:cNvSpPr>
            <a:spLocks noGrp="1"/>
          </p:cNvSpPr>
          <p:nvPr>
            <p:ph type="body" sz="quarter" idx="40"/>
          </p:nvPr>
        </p:nvSpPr>
        <p:spPr>
          <a:xfrm>
            <a:off x="9840416" y="5661248"/>
            <a:ext cx="1692449" cy="432048"/>
          </a:xfrm>
        </p:spPr>
        <p:txBody>
          <a:bodyPr/>
          <a:lstStyle/>
          <a:p>
            <a:r>
              <a:rPr lang="pt-PT" dirty="0"/>
              <a:t>Click to insert text</a:t>
            </a:r>
            <a:endParaRPr lang="en-US" dirty="0"/>
          </a:p>
        </p:txBody>
      </p:sp>
      <p:sp>
        <p:nvSpPr>
          <p:cNvPr id="28" name="Title 27"/>
          <p:cNvSpPr>
            <a:spLocks noGrp="1"/>
          </p:cNvSpPr>
          <p:nvPr>
            <p:ph type="title"/>
          </p:nvPr>
        </p:nvSpPr>
        <p:spPr/>
        <p:txBody>
          <a:bodyPr/>
          <a:lstStyle/>
          <a:p>
            <a:r>
              <a:rPr lang="pt-PT" dirty="0"/>
              <a:t>Click to insert title</a:t>
            </a:r>
            <a:endParaRPr lang="en-GB" dirty="0"/>
          </a:p>
        </p:txBody>
      </p:sp>
      <p:sp>
        <p:nvSpPr>
          <p:cNvPr id="15" name="Text Placeholder 14"/>
          <p:cNvSpPr>
            <a:spLocks noGrp="1"/>
          </p:cNvSpPr>
          <p:nvPr>
            <p:ph type="body" sz="quarter" idx="30"/>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US" dirty="0"/>
          </a:p>
          <a:p>
            <a:pPr marL="179388" lvl="1"/>
            <a:endParaRPr lang="en-GB" dirty="0"/>
          </a:p>
        </p:txBody>
      </p:sp>
      <p:sp>
        <p:nvSpPr>
          <p:cNvPr id="23" name="Text Placeholder 22"/>
          <p:cNvSpPr>
            <a:spLocks noGrp="1"/>
          </p:cNvSpPr>
          <p:nvPr>
            <p:ph type="body" sz="quarter" idx="41"/>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US" dirty="0"/>
          </a:p>
          <a:p>
            <a:pPr marL="179388" lvl="1"/>
            <a:endParaRPr lang="en-GB" dirty="0"/>
          </a:p>
        </p:txBody>
      </p:sp>
      <p:sp>
        <p:nvSpPr>
          <p:cNvPr id="24" name="Text Placeholder 23"/>
          <p:cNvSpPr>
            <a:spLocks noGrp="1"/>
          </p:cNvSpPr>
          <p:nvPr>
            <p:ph type="body" sz="quarter" idx="42"/>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US" dirty="0"/>
          </a:p>
          <a:p>
            <a:pPr marL="179388" lvl="1"/>
            <a:endParaRPr lang="en-GB" dirty="0"/>
          </a:p>
        </p:txBody>
      </p:sp>
      <p:cxnSp>
        <p:nvCxnSpPr>
          <p:cNvPr id="13" name="Straight Connector 12">
            <a:extLst>
              <a:ext uri="{FF2B5EF4-FFF2-40B4-BE49-F238E27FC236}">
                <a16:creationId xmlns:a16="http://schemas.microsoft.com/office/drawing/2014/main" id="{0FF5023A-0693-40EF-A144-6A5D8AD8789F}"/>
              </a:ext>
            </a:extLst>
          </p:cNvPr>
          <p:cNvCxnSpPr>
            <a:cxnSpLocks/>
          </p:cNvCxnSpPr>
          <p:nvPr/>
        </p:nvCxnSpPr>
        <p:spPr>
          <a:xfrm>
            <a:off x="858867" y="2426510"/>
            <a:ext cx="9088322"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nvGrpSpPr>
          <p:cNvPr id="36" name="Group 25">
            <a:extLst>
              <a:ext uri="{FF2B5EF4-FFF2-40B4-BE49-F238E27FC236}">
                <a16:creationId xmlns:a16="http://schemas.microsoft.com/office/drawing/2014/main" id="{630120C7-0DB3-4FAA-97D1-F127E50059F0}"/>
              </a:ext>
            </a:extLst>
          </p:cNvPr>
          <p:cNvGrpSpPr>
            <a:grpSpLocks noChangeAspect="1"/>
          </p:cNvGrpSpPr>
          <p:nvPr/>
        </p:nvGrpSpPr>
        <p:grpSpPr bwMode="auto">
          <a:xfrm>
            <a:off x="8499252" y="4796933"/>
            <a:ext cx="685810" cy="642834"/>
            <a:chOff x="-61" y="-66"/>
            <a:chExt cx="1133" cy="1062"/>
          </a:xfrm>
        </p:grpSpPr>
        <p:sp>
          <p:nvSpPr>
            <p:cNvPr id="37" name="Freeform 26">
              <a:extLst>
                <a:ext uri="{FF2B5EF4-FFF2-40B4-BE49-F238E27FC236}">
                  <a16:creationId xmlns:a16="http://schemas.microsoft.com/office/drawing/2014/main" id="{B209C646-1B97-4608-8133-583D0C0567EF}"/>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8" name="Freeform 27">
              <a:extLst>
                <a:ext uri="{FF2B5EF4-FFF2-40B4-BE49-F238E27FC236}">
                  <a16:creationId xmlns:a16="http://schemas.microsoft.com/office/drawing/2014/main" id="{6E1A95CD-5007-4D0F-9377-CE570260DDD8}"/>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9" name="Group 25">
            <a:extLst>
              <a:ext uri="{FF2B5EF4-FFF2-40B4-BE49-F238E27FC236}">
                <a16:creationId xmlns:a16="http://schemas.microsoft.com/office/drawing/2014/main" id="{6C1833B4-0E6E-4189-8419-6620446A6076}"/>
              </a:ext>
            </a:extLst>
          </p:cNvPr>
          <p:cNvGrpSpPr>
            <a:grpSpLocks noChangeAspect="1"/>
          </p:cNvGrpSpPr>
          <p:nvPr/>
        </p:nvGrpSpPr>
        <p:grpSpPr bwMode="auto">
          <a:xfrm>
            <a:off x="10343735" y="4796933"/>
            <a:ext cx="685810" cy="642834"/>
            <a:chOff x="-61" y="-66"/>
            <a:chExt cx="1133" cy="1062"/>
          </a:xfrm>
        </p:grpSpPr>
        <p:sp>
          <p:nvSpPr>
            <p:cNvPr id="40" name="Freeform 26">
              <a:extLst>
                <a:ext uri="{FF2B5EF4-FFF2-40B4-BE49-F238E27FC236}">
                  <a16:creationId xmlns:a16="http://schemas.microsoft.com/office/drawing/2014/main" id="{6C314FE8-A87A-4AA4-9AD9-CEA88B83960F}"/>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1" name="Freeform 27">
              <a:extLst>
                <a:ext uri="{FF2B5EF4-FFF2-40B4-BE49-F238E27FC236}">
                  <a16:creationId xmlns:a16="http://schemas.microsoft.com/office/drawing/2014/main" id="{DE82F92F-FDEA-44E2-B756-C6847DE4A868}"/>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42" name="Group 25">
            <a:extLst>
              <a:ext uri="{FF2B5EF4-FFF2-40B4-BE49-F238E27FC236}">
                <a16:creationId xmlns:a16="http://schemas.microsoft.com/office/drawing/2014/main" id="{C11AD258-E110-46E4-AF9C-BF99CE933BC4}"/>
              </a:ext>
            </a:extLst>
          </p:cNvPr>
          <p:cNvGrpSpPr>
            <a:grpSpLocks noChangeAspect="1"/>
          </p:cNvGrpSpPr>
          <p:nvPr/>
        </p:nvGrpSpPr>
        <p:grpSpPr bwMode="auto">
          <a:xfrm>
            <a:off x="4810290" y="4796933"/>
            <a:ext cx="685810" cy="642834"/>
            <a:chOff x="-61" y="-66"/>
            <a:chExt cx="1133" cy="1062"/>
          </a:xfrm>
        </p:grpSpPr>
        <p:sp>
          <p:nvSpPr>
            <p:cNvPr id="43" name="Freeform 26">
              <a:extLst>
                <a:ext uri="{FF2B5EF4-FFF2-40B4-BE49-F238E27FC236}">
                  <a16:creationId xmlns:a16="http://schemas.microsoft.com/office/drawing/2014/main" id="{20BCF342-37F3-43B8-B61E-58D35A4EB945}"/>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4" name="Freeform 27">
              <a:extLst>
                <a:ext uri="{FF2B5EF4-FFF2-40B4-BE49-F238E27FC236}">
                  <a16:creationId xmlns:a16="http://schemas.microsoft.com/office/drawing/2014/main" id="{D42CC72D-A24E-4CD7-8841-C04C7371E357}"/>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45" name="Group 25">
            <a:extLst>
              <a:ext uri="{FF2B5EF4-FFF2-40B4-BE49-F238E27FC236}">
                <a16:creationId xmlns:a16="http://schemas.microsoft.com/office/drawing/2014/main" id="{3D9108A8-9D4A-4ABB-BF50-F27FDD44C268}"/>
              </a:ext>
            </a:extLst>
          </p:cNvPr>
          <p:cNvGrpSpPr>
            <a:grpSpLocks noChangeAspect="1"/>
          </p:cNvGrpSpPr>
          <p:nvPr/>
        </p:nvGrpSpPr>
        <p:grpSpPr bwMode="auto">
          <a:xfrm>
            <a:off x="6654771" y="4796933"/>
            <a:ext cx="685810" cy="642834"/>
            <a:chOff x="-61" y="-66"/>
            <a:chExt cx="1133" cy="1062"/>
          </a:xfrm>
        </p:grpSpPr>
        <p:sp>
          <p:nvSpPr>
            <p:cNvPr id="46" name="Freeform 26">
              <a:extLst>
                <a:ext uri="{FF2B5EF4-FFF2-40B4-BE49-F238E27FC236}">
                  <a16:creationId xmlns:a16="http://schemas.microsoft.com/office/drawing/2014/main" id="{DE172EC6-F226-4B3E-B2E2-03CE5A4EDF6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7" name="Freeform 27">
              <a:extLst>
                <a:ext uri="{FF2B5EF4-FFF2-40B4-BE49-F238E27FC236}">
                  <a16:creationId xmlns:a16="http://schemas.microsoft.com/office/drawing/2014/main" id="{42B6B81F-EB03-4D4F-91B8-3E9B86C58122}"/>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48" name="Group 25">
            <a:extLst>
              <a:ext uri="{FF2B5EF4-FFF2-40B4-BE49-F238E27FC236}">
                <a16:creationId xmlns:a16="http://schemas.microsoft.com/office/drawing/2014/main" id="{0F868FF6-2674-4F98-980D-ED2611DD7D51}"/>
              </a:ext>
            </a:extLst>
          </p:cNvPr>
          <p:cNvGrpSpPr>
            <a:grpSpLocks noChangeAspect="1"/>
          </p:cNvGrpSpPr>
          <p:nvPr/>
        </p:nvGrpSpPr>
        <p:grpSpPr bwMode="auto">
          <a:xfrm>
            <a:off x="1121328" y="4796933"/>
            <a:ext cx="685810" cy="642834"/>
            <a:chOff x="-61" y="-66"/>
            <a:chExt cx="1133" cy="1062"/>
          </a:xfrm>
        </p:grpSpPr>
        <p:sp>
          <p:nvSpPr>
            <p:cNvPr id="49" name="Freeform 26">
              <a:extLst>
                <a:ext uri="{FF2B5EF4-FFF2-40B4-BE49-F238E27FC236}">
                  <a16:creationId xmlns:a16="http://schemas.microsoft.com/office/drawing/2014/main" id="{1E09DADA-7AB3-41C2-A4D5-C1068E001872}"/>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0" name="Freeform 27">
              <a:extLst>
                <a:ext uri="{FF2B5EF4-FFF2-40B4-BE49-F238E27FC236}">
                  <a16:creationId xmlns:a16="http://schemas.microsoft.com/office/drawing/2014/main" id="{41B7CF45-DDFE-43FD-B7F5-00F167946C36}"/>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1" name="Group 25">
            <a:extLst>
              <a:ext uri="{FF2B5EF4-FFF2-40B4-BE49-F238E27FC236}">
                <a16:creationId xmlns:a16="http://schemas.microsoft.com/office/drawing/2014/main" id="{F8E7725A-BC6B-416D-9048-EE87F74277C2}"/>
              </a:ext>
            </a:extLst>
          </p:cNvPr>
          <p:cNvGrpSpPr>
            <a:grpSpLocks noChangeAspect="1"/>
          </p:cNvGrpSpPr>
          <p:nvPr/>
        </p:nvGrpSpPr>
        <p:grpSpPr bwMode="auto">
          <a:xfrm>
            <a:off x="2965809" y="4796933"/>
            <a:ext cx="685810" cy="642834"/>
            <a:chOff x="-61" y="-66"/>
            <a:chExt cx="1133" cy="1062"/>
          </a:xfrm>
        </p:grpSpPr>
        <p:sp>
          <p:nvSpPr>
            <p:cNvPr id="52" name="Freeform 26">
              <a:extLst>
                <a:ext uri="{FF2B5EF4-FFF2-40B4-BE49-F238E27FC236}">
                  <a16:creationId xmlns:a16="http://schemas.microsoft.com/office/drawing/2014/main" id="{52653A58-BBE8-420A-BA3C-AB1838CA5EF7}"/>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3" name="Freeform 27">
              <a:extLst>
                <a:ext uri="{FF2B5EF4-FFF2-40B4-BE49-F238E27FC236}">
                  <a16:creationId xmlns:a16="http://schemas.microsoft.com/office/drawing/2014/main" id="{85B1035F-780F-4D11-B4C5-77B216CA5CCD}"/>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0479679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Click to insert title</a:t>
            </a:r>
            <a:endParaRPr lang="en-GB" dirty="0"/>
          </a:p>
        </p:txBody>
      </p:sp>
      <p:sp>
        <p:nvSpPr>
          <p:cNvPr id="4" name="Text Placeholder 3"/>
          <p:cNvSpPr>
            <a:spLocks noGrp="1"/>
          </p:cNvSpPr>
          <p:nvPr>
            <p:ph type="body" sz="quarter" idx="11"/>
          </p:nvPr>
        </p:nvSpPr>
        <p:spPr/>
        <p:txBody>
          <a:bodyPr/>
          <a:lstStyle/>
          <a:p>
            <a:r>
              <a:rPr lang="en-US" dirty="0"/>
              <a:t>Click to insert text</a:t>
            </a:r>
            <a:endParaRPr lang="pt-PT" dirty="0">
              <a:solidFill>
                <a:srgbClr val="2B0A3D"/>
              </a:solidFill>
            </a:endParaRPr>
          </a:p>
        </p:txBody>
      </p:sp>
      <p:sp>
        <p:nvSpPr>
          <p:cNvPr id="5" name="Text Placeholder 4"/>
          <p:cNvSpPr>
            <a:spLocks noGrp="1"/>
          </p:cNvSpPr>
          <p:nvPr>
            <p:ph type="body" sz="quarter" idx="12"/>
          </p:nvPr>
        </p:nvSpPr>
        <p:spPr/>
        <p:txBody>
          <a:bodyPr/>
          <a:lstStyle/>
          <a:p>
            <a:r>
              <a:rPr lang="en-US" dirty="0"/>
              <a:t>Click to insert text</a:t>
            </a:r>
            <a:endParaRPr lang="pt-PT" dirty="0">
              <a:solidFill>
                <a:srgbClr val="2B0A3D"/>
              </a:solidFill>
            </a:endParaRPr>
          </a:p>
        </p:txBody>
      </p:sp>
      <p:sp>
        <p:nvSpPr>
          <p:cNvPr id="6" name="Text Placeholder 5"/>
          <p:cNvSpPr>
            <a:spLocks noGrp="1"/>
          </p:cNvSpPr>
          <p:nvPr>
            <p:ph type="body" sz="quarter" idx="13"/>
          </p:nvPr>
        </p:nvSpPr>
        <p:spPr/>
        <p:txBody>
          <a:bodyPr/>
          <a:lstStyle/>
          <a:p>
            <a:r>
              <a:rPr lang="en-US" dirty="0"/>
              <a:t>Click to insert text</a:t>
            </a:r>
            <a:endParaRPr lang="pt-PT" dirty="0">
              <a:solidFill>
                <a:srgbClr val="2B0A3D"/>
              </a:solidFill>
            </a:endParaRPr>
          </a:p>
        </p:txBody>
      </p:sp>
      <p:sp>
        <p:nvSpPr>
          <p:cNvPr id="7" name="Text Placeholder 6"/>
          <p:cNvSpPr>
            <a:spLocks noGrp="1"/>
          </p:cNvSpPr>
          <p:nvPr>
            <p:ph type="body" sz="quarter" idx="14"/>
          </p:nvPr>
        </p:nvSpPr>
        <p:spPr/>
        <p:txBody>
          <a:bodyPr/>
          <a:lstStyle/>
          <a:p>
            <a:r>
              <a:rPr lang="en-US" dirty="0"/>
              <a:t>Click to insert text</a:t>
            </a:r>
            <a:endParaRPr lang="pt-PT" dirty="0">
              <a:solidFill>
                <a:srgbClr val="2B0A3D"/>
              </a:solidFill>
            </a:endParaRPr>
          </a:p>
        </p:txBody>
      </p:sp>
      <p:sp>
        <p:nvSpPr>
          <p:cNvPr id="8" name="Text Placeholder 7"/>
          <p:cNvSpPr>
            <a:spLocks noGrp="1"/>
          </p:cNvSpPr>
          <p:nvPr>
            <p:ph type="body" sz="quarter" idx="15"/>
          </p:nvPr>
        </p:nvSpPr>
        <p:spPr/>
        <p:txBody>
          <a:bodyPr/>
          <a:lstStyle/>
          <a:p>
            <a:r>
              <a:rPr lang="en-US" dirty="0"/>
              <a:t>Click to insert text</a:t>
            </a:r>
            <a:endParaRPr lang="pt-PT" dirty="0">
              <a:solidFill>
                <a:srgbClr val="2B0A3D"/>
              </a:solidFill>
            </a:endParaRPr>
          </a:p>
        </p:txBody>
      </p:sp>
      <p:sp>
        <p:nvSpPr>
          <p:cNvPr id="9" name="Text Placeholder 8"/>
          <p:cNvSpPr>
            <a:spLocks noGrp="1"/>
          </p:cNvSpPr>
          <p:nvPr>
            <p:ph type="body" sz="quarter" idx="16"/>
          </p:nvPr>
        </p:nvSpPr>
        <p:spPr/>
        <p:txBody>
          <a:bodyPr/>
          <a:lstStyle/>
          <a:p>
            <a:r>
              <a:rPr lang="en-US" dirty="0"/>
              <a:t>Click to insert text</a:t>
            </a:r>
            <a:endParaRPr lang="pt-PT" dirty="0">
              <a:solidFill>
                <a:srgbClr val="2B0A3D"/>
              </a:solidFill>
            </a:endParaRPr>
          </a:p>
        </p:txBody>
      </p:sp>
      <p:sp>
        <p:nvSpPr>
          <p:cNvPr id="10" name="Text Placeholder 9"/>
          <p:cNvSpPr>
            <a:spLocks noGrp="1"/>
          </p:cNvSpPr>
          <p:nvPr>
            <p:ph type="body" sz="quarter" idx="17"/>
          </p:nvPr>
        </p:nvSpPr>
        <p:spPr/>
        <p:txBody>
          <a:bodyPr/>
          <a:lstStyle/>
          <a:p>
            <a:r>
              <a:rPr lang="en-US" dirty="0"/>
              <a:t>Click to insert text</a:t>
            </a:r>
            <a:endParaRPr lang="pt-PT" dirty="0">
              <a:solidFill>
                <a:srgbClr val="2B0A3D"/>
              </a:solidFill>
            </a:endParaRPr>
          </a:p>
        </p:txBody>
      </p:sp>
      <p:sp>
        <p:nvSpPr>
          <p:cNvPr id="11" name="Text Placeholder 10"/>
          <p:cNvSpPr>
            <a:spLocks noGrp="1"/>
          </p:cNvSpPr>
          <p:nvPr>
            <p:ph type="body" sz="quarter" idx="18"/>
          </p:nvPr>
        </p:nvSpPr>
        <p:spPr/>
        <p:txBody>
          <a:bodyPr/>
          <a:lstStyle/>
          <a:p>
            <a:r>
              <a:rPr lang="en-US" dirty="0"/>
              <a:t>Click to insert text</a:t>
            </a:r>
            <a:endParaRPr lang="pt-PT" dirty="0">
              <a:solidFill>
                <a:srgbClr val="2B0A3D"/>
              </a:solidFill>
            </a:endParaRPr>
          </a:p>
        </p:txBody>
      </p:sp>
      <p:sp>
        <p:nvSpPr>
          <p:cNvPr id="12" name="Picture Placeholder 11"/>
          <p:cNvSpPr>
            <a:spLocks noGrp="1"/>
          </p:cNvSpPr>
          <p:nvPr>
            <p:ph type="pic" sz="quarter" idx="19"/>
          </p:nvPr>
        </p:nvSpPr>
        <p:spPr/>
      </p:sp>
      <p:grpSp>
        <p:nvGrpSpPr>
          <p:cNvPr id="13" name="Group 12">
            <a:extLst>
              <a:ext uri="{FF2B5EF4-FFF2-40B4-BE49-F238E27FC236}">
                <a16:creationId xmlns:a16="http://schemas.microsoft.com/office/drawing/2014/main" id="{4355C12A-73CF-432A-BF98-DD896761F988}"/>
              </a:ext>
            </a:extLst>
          </p:cNvPr>
          <p:cNvGrpSpPr/>
          <p:nvPr/>
        </p:nvGrpSpPr>
        <p:grpSpPr>
          <a:xfrm>
            <a:off x="7087039" y="1204685"/>
            <a:ext cx="634560" cy="599554"/>
            <a:chOff x="6230532" y="1335315"/>
            <a:chExt cx="1204015" cy="1137596"/>
          </a:xfrm>
        </p:grpSpPr>
        <p:sp>
          <p:nvSpPr>
            <p:cNvPr id="1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1</a:t>
              </a:r>
            </a:p>
          </p:txBody>
        </p:sp>
      </p:grpSp>
      <p:grpSp>
        <p:nvGrpSpPr>
          <p:cNvPr id="16" name="Group 15">
            <a:extLst>
              <a:ext uri="{FF2B5EF4-FFF2-40B4-BE49-F238E27FC236}">
                <a16:creationId xmlns:a16="http://schemas.microsoft.com/office/drawing/2014/main" id="{37CE2E9A-D16D-4728-93E9-77D9F10FF84D}"/>
              </a:ext>
            </a:extLst>
          </p:cNvPr>
          <p:cNvGrpSpPr/>
          <p:nvPr/>
        </p:nvGrpSpPr>
        <p:grpSpPr>
          <a:xfrm>
            <a:off x="7087040" y="1888035"/>
            <a:ext cx="634560" cy="599554"/>
            <a:chOff x="6230534" y="1335315"/>
            <a:chExt cx="1204015" cy="1137595"/>
          </a:xfrm>
        </p:grpSpPr>
        <p:sp>
          <p:nvSpPr>
            <p:cNvPr id="17"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2</a:t>
              </a:r>
            </a:p>
          </p:txBody>
        </p:sp>
      </p:grpSp>
      <p:grpSp>
        <p:nvGrpSpPr>
          <p:cNvPr id="19" name="Group 18">
            <a:extLst>
              <a:ext uri="{FF2B5EF4-FFF2-40B4-BE49-F238E27FC236}">
                <a16:creationId xmlns:a16="http://schemas.microsoft.com/office/drawing/2014/main" id="{BF6695B8-A1F9-4BAF-B035-C9665FAD6B20}"/>
              </a:ext>
            </a:extLst>
          </p:cNvPr>
          <p:cNvGrpSpPr/>
          <p:nvPr/>
        </p:nvGrpSpPr>
        <p:grpSpPr>
          <a:xfrm>
            <a:off x="7087040" y="2571385"/>
            <a:ext cx="634560" cy="599554"/>
            <a:chOff x="6230534" y="1335315"/>
            <a:chExt cx="1204015" cy="1137595"/>
          </a:xfrm>
        </p:grpSpPr>
        <p:sp>
          <p:nvSpPr>
            <p:cNvPr id="20" name="Oval 20">
              <a:extLst>
                <a:ext uri="{FF2B5EF4-FFF2-40B4-BE49-F238E27FC236}">
                  <a16:creationId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a16="http://schemas.microsoft.com/office/drawing/2014/main" id="{7A7F6C08-9BE8-4609-B27D-D68DDAB763A3}"/>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3</a:t>
              </a:r>
            </a:p>
          </p:txBody>
        </p:sp>
      </p:grpSp>
      <p:grpSp>
        <p:nvGrpSpPr>
          <p:cNvPr id="22" name="Group 21">
            <a:extLst>
              <a:ext uri="{FF2B5EF4-FFF2-40B4-BE49-F238E27FC236}">
                <a16:creationId xmlns:a16="http://schemas.microsoft.com/office/drawing/2014/main" id="{11EEF4D5-4815-4248-AFF4-A3B0893BA6AE}"/>
              </a:ext>
            </a:extLst>
          </p:cNvPr>
          <p:cNvGrpSpPr/>
          <p:nvPr/>
        </p:nvGrpSpPr>
        <p:grpSpPr>
          <a:xfrm>
            <a:off x="7087040" y="3254735"/>
            <a:ext cx="634560" cy="599554"/>
            <a:chOff x="6230534" y="1335315"/>
            <a:chExt cx="1204015" cy="1137595"/>
          </a:xfrm>
        </p:grpSpPr>
        <p:sp>
          <p:nvSpPr>
            <p:cNvPr id="23" name="Oval 20">
              <a:extLst>
                <a:ext uri="{FF2B5EF4-FFF2-40B4-BE49-F238E27FC236}">
                  <a16:creationId xmlns:a16="http://schemas.microsoft.com/office/drawing/2014/main"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4" name="Text Placeholder 14">
              <a:extLst>
                <a:ext uri="{FF2B5EF4-FFF2-40B4-BE49-F238E27FC236}">
                  <a16:creationId xmlns:a16="http://schemas.microsoft.com/office/drawing/2014/main"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4</a:t>
              </a:r>
            </a:p>
          </p:txBody>
        </p:sp>
      </p:grpSp>
      <p:grpSp>
        <p:nvGrpSpPr>
          <p:cNvPr id="25" name="Group 24">
            <a:extLst>
              <a:ext uri="{FF2B5EF4-FFF2-40B4-BE49-F238E27FC236}">
                <a16:creationId xmlns:a16="http://schemas.microsoft.com/office/drawing/2014/main" id="{72594B11-398B-4F44-BD01-75E581F8C550}"/>
              </a:ext>
            </a:extLst>
          </p:cNvPr>
          <p:cNvGrpSpPr/>
          <p:nvPr/>
        </p:nvGrpSpPr>
        <p:grpSpPr>
          <a:xfrm>
            <a:off x="7087040" y="3938085"/>
            <a:ext cx="634560" cy="599554"/>
            <a:chOff x="6230534" y="1335315"/>
            <a:chExt cx="1204015" cy="1137595"/>
          </a:xfrm>
        </p:grpSpPr>
        <p:sp>
          <p:nvSpPr>
            <p:cNvPr id="26" name="Oval 20">
              <a:extLst>
                <a:ext uri="{FF2B5EF4-FFF2-40B4-BE49-F238E27FC236}">
                  <a16:creationId xmlns:a16="http://schemas.microsoft.com/office/drawing/2014/main" id="{17E8B294-1CC0-4A4C-85F9-C7DB5881222A}"/>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7" name="Text Placeholder 14">
              <a:extLst>
                <a:ext uri="{FF2B5EF4-FFF2-40B4-BE49-F238E27FC236}">
                  <a16:creationId xmlns:a16="http://schemas.microsoft.com/office/drawing/2014/main" id="{09E1C985-F8CD-41D6-8959-B41A3B9513A3}"/>
                </a:ext>
              </a:extLst>
            </p:cNvPr>
            <p:cNvSpPr txBox="1">
              <a:spLocks/>
            </p:cNvSpPr>
            <p:nvPr/>
          </p:nvSpPr>
          <p:spPr>
            <a:xfrm>
              <a:off x="6369574" y="1662761"/>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5</a:t>
              </a:r>
            </a:p>
          </p:txBody>
        </p:sp>
      </p:grpSp>
      <p:grpSp>
        <p:nvGrpSpPr>
          <p:cNvPr id="28" name="Group 27">
            <a:extLst>
              <a:ext uri="{FF2B5EF4-FFF2-40B4-BE49-F238E27FC236}">
                <a16:creationId xmlns:a16="http://schemas.microsoft.com/office/drawing/2014/main" id="{4BD570E1-278A-405C-87FB-5B84C24FB095}"/>
              </a:ext>
            </a:extLst>
          </p:cNvPr>
          <p:cNvGrpSpPr/>
          <p:nvPr/>
        </p:nvGrpSpPr>
        <p:grpSpPr>
          <a:xfrm>
            <a:off x="7087040" y="4621435"/>
            <a:ext cx="634560" cy="599554"/>
            <a:chOff x="6230534" y="1335315"/>
            <a:chExt cx="1204015" cy="1137595"/>
          </a:xfrm>
        </p:grpSpPr>
        <p:sp>
          <p:nvSpPr>
            <p:cNvPr id="29" name="Oval 20">
              <a:extLst>
                <a:ext uri="{FF2B5EF4-FFF2-40B4-BE49-F238E27FC236}">
                  <a16:creationId xmlns:a16="http://schemas.microsoft.com/office/drawing/2014/main" id="{D0AE255E-C288-43BF-AE52-2647828320B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0" name="Text Placeholder 14">
              <a:extLst>
                <a:ext uri="{FF2B5EF4-FFF2-40B4-BE49-F238E27FC236}">
                  <a16:creationId xmlns:a16="http://schemas.microsoft.com/office/drawing/2014/main" id="{03DFDE39-148C-4885-818F-2927D7807DFE}"/>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6</a:t>
              </a:r>
            </a:p>
          </p:txBody>
        </p:sp>
      </p:grpSp>
      <p:grpSp>
        <p:nvGrpSpPr>
          <p:cNvPr id="31" name="Group 30">
            <a:extLst>
              <a:ext uri="{FF2B5EF4-FFF2-40B4-BE49-F238E27FC236}">
                <a16:creationId xmlns:a16="http://schemas.microsoft.com/office/drawing/2014/main" id="{05578C47-505C-43CD-8EE1-579AF2F3DC8A}"/>
              </a:ext>
            </a:extLst>
          </p:cNvPr>
          <p:cNvGrpSpPr/>
          <p:nvPr/>
        </p:nvGrpSpPr>
        <p:grpSpPr>
          <a:xfrm>
            <a:off x="7087040" y="5304785"/>
            <a:ext cx="634560" cy="599554"/>
            <a:chOff x="6230534" y="1335315"/>
            <a:chExt cx="1204015" cy="1137595"/>
          </a:xfrm>
        </p:grpSpPr>
        <p:sp>
          <p:nvSpPr>
            <p:cNvPr id="32" name="Oval 20">
              <a:extLst>
                <a:ext uri="{FF2B5EF4-FFF2-40B4-BE49-F238E27FC236}">
                  <a16:creationId xmlns:a16="http://schemas.microsoft.com/office/drawing/2014/main" id="{B72D63E8-B1C0-40DE-9F7F-D13FE5A56C9D}"/>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3" name="Text Placeholder 14">
              <a:extLst>
                <a:ext uri="{FF2B5EF4-FFF2-40B4-BE49-F238E27FC236}">
                  <a16:creationId xmlns:a16="http://schemas.microsoft.com/office/drawing/2014/main" id="{1AC3DFA3-FA27-4997-A5ED-355E054783FE}"/>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7</a:t>
              </a:r>
            </a:p>
          </p:txBody>
        </p:sp>
      </p:grpSp>
      <p:grpSp>
        <p:nvGrpSpPr>
          <p:cNvPr id="34" name="Group 33">
            <a:extLst>
              <a:ext uri="{FF2B5EF4-FFF2-40B4-BE49-F238E27FC236}">
                <a16:creationId xmlns:a16="http://schemas.microsoft.com/office/drawing/2014/main" id="{D0DA5D86-A063-4EB2-B822-B4BFE2351FE6}"/>
              </a:ext>
            </a:extLst>
          </p:cNvPr>
          <p:cNvGrpSpPr/>
          <p:nvPr/>
        </p:nvGrpSpPr>
        <p:grpSpPr>
          <a:xfrm>
            <a:off x="7087040" y="5988138"/>
            <a:ext cx="634560" cy="599554"/>
            <a:chOff x="6230534" y="1335315"/>
            <a:chExt cx="1204015" cy="1137595"/>
          </a:xfrm>
        </p:grpSpPr>
        <p:sp>
          <p:nvSpPr>
            <p:cNvPr id="35" name="Oval 20">
              <a:extLst>
                <a:ext uri="{FF2B5EF4-FFF2-40B4-BE49-F238E27FC236}">
                  <a16:creationId xmlns:a16="http://schemas.microsoft.com/office/drawing/2014/main" id="{F1C363A0-3646-4DCC-81DA-686AE2C3CC3C}"/>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6" name="Text Placeholder 14">
              <a:extLst>
                <a:ext uri="{FF2B5EF4-FFF2-40B4-BE49-F238E27FC236}">
                  <a16:creationId xmlns:a16="http://schemas.microsoft.com/office/drawing/2014/main" id="{25A4F313-C8B2-40B3-9EE5-A9CF4A261E83}"/>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8</a:t>
              </a:r>
            </a:p>
          </p:txBody>
        </p:sp>
      </p:grpSp>
    </p:spTree>
    <p:extLst>
      <p:ext uri="{BB962C8B-B14F-4D97-AF65-F5344CB8AC3E}">
        <p14:creationId xmlns:p14="http://schemas.microsoft.com/office/powerpoint/2010/main" val="22875082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4294967295"/>
          </p:nvPr>
        </p:nvSpPr>
        <p:spPr>
          <a:xfrm>
            <a:off x="231351" y="1853513"/>
            <a:ext cx="5069698" cy="2063579"/>
          </a:xfrm>
        </p:spPr>
        <p:txBody>
          <a:bodyPr/>
          <a:lstStyle/>
          <a:p>
            <a:r>
              <a:rPr lang="pt-PT" dirty="0"/>
              <a:t>Click to insert text</a:t>
            </a:r>
            <a:endParaRPr lang="en-US" dirty="0"/>
          </a:p>
        </p:txBody>
      </p:sp>
      <p:sp>
        <p:nvSpPr>
          <p:cNvPr id="13" name="Title 12"/>
          <p:cNvSpPr>
            <a:spLocks noGrp="1"/>
          </p:cNvSpPr>
          <p:nvPr>
            <p:ph type="title"/>
          </p:nvPr>
        </p:nvSpPr>
        <p:spPr/>
        <p:txBody>
          <a:bodyPr/>
          <a:lstStyle/>
          <a:p>
            <a:r>
              <a:rPr lang="pt-PT" dirty="0"/>
              <a:t>Click to insert title</a:t>
            </a:r>
            <a:endParaRPr lang="en-GB" dirty="0"/>
          </a:p>
        </p:txBody>
      </p:sp>
      <p:sp>
        <p:nvSpPr>
          <p:cNvPr id="14" name="Text Placeholder 13"/>
          <p:cNvSpPr>
            <a:spLocks noGrp="1"/>
          </p:cNvSpPr>
          <p:nvPr>
            <p:ph type="body" sz="quarter" idx="36"/>
          </p:nvPr>
        </p:nvSpPr>
        <p:spPr/>
        <p:txBody>
          <a:bodyPr/>
          <a:lstStyle/>
          <a:p>
            <a:r>
              <a:rPr lang="pt-PT" dirty="0"/>
              <a:t>Click to insert text</a:t>
            </a:r>
            <a:endParaRPr lang="en-US" dirty="0"/>
          </a:p>
        </p:txBody>
      </p:sp>
      <p:sp>
        <p:nvSpPr>
          <p:cNvPr id="15" name="Text Placeholder 14"/>
          <p:cNvSpPr>
            <a:spLocks noGrp="1"/>
          </p:cNvSpPr>
          <p:nvPr>
            <p:ph type="body" sz="quarter" idx="37"/>
          </p:nvPr>
        </p:nvSpPr>
        <p:spPr/>
        <p:txBody>
          <a:bodyPr/>
          <a:lstStyle/>
          <a:p>
            <a:r>
              <a:rPr lang="pt-PT" dirty="0"/>
              <a:t>Click to insert text</a:t>
            </a:r>
            <a:endParaRPr lang="en-US" dirty="0"/>
          </a:p>
        </p:txBody>
      </p:sp>
      <p:sp>
        <p:nvSpPr>
          <p:cNvPr id="17" name="Text Placeholder 16"/>
          <p:cNvSpPr>
            <a:spLocks noGrp="1"/>
          </p:cNvSpPr>
          <p:nvPr>
            <p:ph type="body" sz="quarter" idx="39"/>
          </p:nvPr>
        </p:nvSpPr>
        <p:spPr/>
        <p:txBody>
          <a:bodyPr/>
          <a:lstStyle/>
          <a:p>
            <a:r>
              <a:rPr lang="pt-PT" dirty="0"/>
              <a:t>Click to insert text</a:t>
            </a:r>
            <a:endParaRPr lang="en-US" dirty="0"/>
          </a:p>
        </p:txBody>
      </p:sp>
      <p:sp>
        <p:nvSpPr>
          <p:cNvPr id="18" name="Text Placeholder 17"/>
          <p:cNvSpPr>
            <a:spLocks noGrp="1"/>
          </p:cNvSpPr>
          <p:nvPr>
            <p:ph type="body" sz="quarter" idx="40"/>
          </p:nvPr>
        </p:nvSpPr>
        <p:spPr/>
        <p:txBody>
          <a:bodyPr/>
          <a:lstStyle/>
          <a:p>
            <a:r>
              <a:rPr lang="pt-PT" dirty="0"/>
              <a:t>Click to insert text</a:t>
            </a:r>
            <a:endParaRPr lang="en-US" dirty="0"/>
          </a:p>
        </p:txBody>
      </p:sp>
      <p:sp>
        <p:nvSpPr>
          <p:cNvPr id="19" name="Text Placeholder 18"/>
          <p:cNvSpPr>
            <a:spLocks noGrp="1"/>
          </p:cNvSpPr>
          <p:nvPr>
            <p:ph type="body" sz="quarter" idx="41"/>
          </p:nvPr>
        </p:nvSpPr>
        <p:spPr/>
        <p:txBody>
          <a:bodyPr/>
          <a:lstStyle/>
          <a:p>
            <a:r>
              <a:rPr lang="pt-PT" dirty="0"/>
              <a:t>Click to insert text</a:t>
            </a:r>
            <a:endParaRPr lang="en-US" dirty="0"/>
          </a:p>
        </p:txBody>
      </p:sp>
      <p:sp>
        <p:nvSpPr>
          <p:cNvPr id="20" name="Text Placeholder 19"/>
          <p:cNvSpPr>
            <a:spLocks noGrp="1"/>
          </p:cNvSpPr>
          <p:nvPr>
            <p:ph type="body" sz="quarter" idx="42"/>
          </p:nvPr>
        </p:nvSpPr>
        <p:spPr/>
        <p:txBody>
          <a:bodyPr/>
          <a:lstStyle/>
          <a:p>
            <a:r>
              <a:rPr lang="pt-PT" dirty="0"/>
              <a:t>Click to insert text</a:t>
            </a:r>
            <a:endParaRPr lang="en-US" dirty="0"/>
          </a:p>
        </p:txBody>
      </p:sp>
      <p:grpSp>
        <p:nvGrpSpPr>
          <p:cNvPr id="21" name="Group 20">
            <a:extLst>
              <a:ext uri="{FF2B5EF4-FFF2-40B4-BE49-F238E27FC236}">
                <a16:creationId xmlns:a16="http://schemas.microsoft.com/office/drawing/2014/main" id="{7022443D-0666-4202-91AA-65B818BC2AE3}"/>
              </a:ext>
            </a:extLst>
          </p:cNvPr>
          <p:cNvGrpSpPr/>
          <p:nvPr/>
        </p:nvGrpSpPr>
        <p:grpSpPr>
          <a:xfrm>
            <a:off x="7087039" y="1204685"/>
            <a:ext cx="634560" cy="599554"/>
            <a:chOff x="7087039" y="1204685"/>
            <a:chExt cx="634560" cy="599554"/>
          </a:xfrm>
        </p:grpSpPr>
        <p:sp>
          <p:nvSpPr>
            <p:cNvPr id="22" name="Oval 20">
              <a:extLst>
                <a:ext uri="{FF2B5EF4-FFF2-40B4-BE49-F238E27FC236}">
                  <a16:creationId xmlns:a16="http://schemas.microsoft.com/office/drawing/2014/main" id="{1EA810CF-2B31-4A9C-B605-BF818AA96489}"/>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3" name="Graphic 16">
              <a:extLst>
                <a:ext uri="{FF2B5EF4-FFF2-40B4-BE49-F238E27FC236}">
                  <a16:creationId xmlns:a16="http://schemas.microsoft.com/office/drawing/2014/main" id="{DEC48A31-3CC1-4C6C-9875-69DA86479D6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grpSp>
        <p:nvGrpSpPr>
          <p:cNvPr id="24" name="Group 23">
            <a:extLst>
              <a:ext uri="{FF2B5EF4-FFF2-40B4-BE49-F238E27FC236}">
                <a16:creationId xmlns:a16="http://schemas.microsoft.com/office/drawing/2014/main" id="{C44FD527-5B90-4FEB-B0CF-CC9895776D34}"/>
              </a:ext>
            </a:extLst>
          </p:cNvPr>
          <p:cNvGrpSpPr/>
          <p:nvPr/>
        </p:nvGrpSpPr>
        <p:grpSpPr>
          <a:xfrm>
            <a:off x="7087040" y="2057977"/>
            <a:ext cx="634560" cy="599554"/>
            <a:chOff x="7087040" y="2057977"/>
            <a:chExt cx="634560" cy="599554"/>
          </a:xfrm>
        </p:grpSpPr>
        <p:sp>
          <p:nvSpPr>
            <p:cNvPr id="25" name="Oval 20">
              <a:extLst>
                <a:ext uri="{FF2B5EF4-FFF2-40B4-BE49-F238E27FC236}">
                  <a16:creationId xmlns:a16="http://schemas.microsoft.com/office/drawing/2014/main" id="{42AC5BAE-92E1-429B-8AB7-96FD4A200BE1}"/>
                </a:ext>
              </a:extLst>
            </p:cNvPr>
            <p:cNvSpPr/>
            <p:nvPr/>
          </p:nvSpPr>
          <p:spPr>
            <a:xfrm flipV="1">
              <a:off x="7087040" y="2057977"/>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6" name="Graphic 18">
              <a:extLst>
                <a:ext uri="{FF2B5EF4-FFF2-40B4-BE49-F238E27FC236}">
                  <a16:creationId xmlns:a16="http://schemas.microsoft.com/office/drawing/2014/main" id="{71BD0536-CD41-4C03-91B6-D87F0DF671B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2217198"/>
              <a:ext cx="281112" cy="281112"/>
            </a:xfrm>
            <a:prstGeom prst="rect">
              <a:avLst/>
            </a:prstGeom>
          </p:spPr>
        </p:pic>
      </p:grpSp>
      <p:grpSp>
        <p:nvGrpSpPr>
          <p:cNvPr id="27" name="Group 26">
            <a:extLst>
              <a:ext uri="{FF2B5EF4-FFF2-40B4-BE49-F238E27FC236}">
                <a16:creationId xmlns:a16="http://schemas.microsoft.com/office/drawing/2014/main" id="{F7BD4124-8E0F-402D-94CD-ADFE242E2307}"/>
              </a:ext>
            </a:extLst>
          </p:cNvPr>
          <p:cNvGrpSpPr/>
          <p:nvPr/>
        </p:nvGrpSpPr>
        <p:grpSpPr>
          <a:xfrm>
            <a:off x="7087040" y="2911269"/>
            <a:ext cx="634560" cy="599554"/>
            <a:chOff x="7087040" y="2911269"/>
            <a:chExt cx="634560" cy="599554"/>
          </a:xfrm>
        </p:grpSpPr>
        <p:sp>
          <p:nvSpPr>
            <p:cNvPr id="28" name="Oval 20">
              <a:extLst>
                <a:ext uri="{FF2B5EF4-FFF2-40B4-BE49-F238E27FC236}">
                  <a16:creationId xmlns:a16="http://schemas.microsoft.com/office/drawing/2014/main" id="{AC7DBD34-4FD3-4596-A25F-A41C8C4D80CE}"/>
                </a:ext>
              </a:extLst>
            </p:cNvPr>
            <p:cNvSpPr/>
            <p:nvPr/>
          </p:nvSpPr>
          <p:spPr>
            <a:xfrm flipV="1">
              <a:off x="7087040" y="2911269"/>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9" name="Graphic 20">
              <a:extLst>
                <a:ext uri="{FF2B5EF4-FFF2-40B4-BE49-F238E27FC236}">
                  <a16:creationId xmlns:a16="http://schemas.microsoft.com/office/drawing/2014/main" id="{B5F0A8BD-1F5D-43AB-9CD1-F467D5D5466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3070490"/>
              <a:ext cx="281112" cy="281112"/>
            </a:xfrm>
            <a:prstGeom prst="rect">
              <a:avLst/>
            </a:prstGeom>
          </p:spPr>
        </p:pic>
      </p:grpSp>
      <p:grpSp>
        <p:nvGrpSpPr>
          <p:cNvPr id="30" name="Group 29">
            <a:extLst>
              <a:ext uri="{FF2B5EF4-FFF2-40B4-BE49-F238E27FC236}">
                <a16:creationId xmlns:a16="http://schemas.microsoft.com/office/drawing/2014/main" id="{5A39C268-5000-4A77-9344-0D889A1D0D8B}"/>
              </a:ext>
            </a:extLst>
          </p:cNvPr>
          <p:cNvGrpSpPr/>
          <p:nvPr/>
        </p:nvGrpSpPr>
        <p:grpSpPr>
          <a:xfrm>
            <a:off x="7087040" y="3764561"/>
            <a:ext cx="634560" cy="599554"/>
            <a:chOff x="7087040" y="3764561"/>
            <a:chExt cx="634560" cy="599554"/>
          </a:xfrm>
        </p:grpSpPr>
        <p:sp>
          <p:nvSpPr>
            <p:cNvPr id="31" name="Oval 20">
              <a:extLst>
                <a:ext uri="{FF2B5EF4-FFF2-40B4-BE49-F238E27FC236}">
                  <a16:creationId xmlns:a16="http://schemas.microsoft.com/office/drawing/2014/main" id="{EE712418-DA7D-438C-84EC-B0FF7C3D7892}"/>
                </a:ext>
              </a:extLst>
            </p:cNvPr>
            <p:cNvSpPr/>
            <p:nvPr/>
          </p:nvSpPr>
          <p:spPr>
            <a:xfrm flipV="1">
              <a:off x="7087040" y="3764561"/>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32" name="Graphic 22">
              <a:extLst>
                <a:ext uri="{FF2B5EF4-FFF2-40B4-BE49-F238E27FC236}">
                  <a16:creationId xmlns:a16="http://schemas.microsoft.com/office/drawing/2014/main" id="{31305387-6005-438D-8996-42FA30D2463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3923782"/>
              <a:ext cx="281112" cy="281112"/>
            </a:xfrm>
            <a:prstGeom prst="rect">
              <a:avLst/>
            </a:prstGeom>
          </p:spPr>
        </p:pic>
      </p:grpSp>
      <p:grpSp>
        <p:nvGrpSpPr>
          <p:cNvPr id="33" name="Group 32">
            <a:extLst>
              <a:ext uri="{FF2B5EF4-FFF2-40B4-BE49-F238E27FC236}">
                <a16:creationId xmlns:a16="http://schemas.microsoft.com/office/drawing/2014/main" id="{B6AF32A2-EC31-424E-84DE-230C3D24CDCC}"/>
              </a:ext>
            </a:extLst>
          </p:cNvPr>
          <p:cNvGrpSpPr/>
          <p:nvPr/>
        </p:nvGrpSpPr>
        <p:grpSpPr>
          <a:xfrm>
            <a:off x="7087040" y="4617853"/>
            <a:ext cx="634560" cy="599554"/>
            <a:chOff x="7087040" y="4617853"/>
            <a:chExt cx="634560" cy="599554"/>
          </a:xfrm>
        </p:grpSpPr>
        <p:sp>
          <p:nvSpPr>
            <p:cNvPr id="34" name="Oval 20">
              <a:extLst>
                <a:ext uri="{FF2B5EF4-FFF2-40B4-BE49-F238E27FC236}">
                  <a16:creationId xmlns:a16="http://schemas.microsoft.com/office/drawing/2014/main" id="{5C03F25C-44C3-4EC0-A598-67BC9C811A3E}"/>
                </a:ext>
              </a:extLst>
            </p:cNvPr>
            <p:cNvSpPr/>
            <p:nvPr/>
          </p:nvSpPr>
          <p:spPr>
            <a:xfrm flipV="1">
              <a:off x="7087040" y="4617853"/>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35" name="Graphic 24">
              <a:extLst>
                <a:ext uri="{FF2B5EF4-FFF2-40B4-BE49-F238E27FC236}">
                  <a16:creationId xmlns:a16="http://schemas.microsoft.com/office/drawing/2014/main" id="{33F298C3-51DB-4725-B6C8-DBF28CA16A9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4777074"/>
              <a:ext cx="281112" cy="281112"/>
            </a:xfrm>
            <a:prstGeom prst="rect">
              <a:avLst/>
            </a:prstGeom>
          </p:spPr>
        </p:pic>
      </p:grpSp>
      <p:grpSp>
        <p:nvGrpSpPr>
          <p:cNvPr id="36" name="Group 35">
            <a:extLst>
              <a:ext uri="{FF2B5EF4-FFF2-40B4-BE49-F238E27FC236}">
                <a16:creationId xmlns:a16="http://schemas.microsoft.com/office/drawing/2014/main" id="{3AD1EDC7-8A3C-413D-B985-AF5CBEC78043}"/>
              </a:ext>
            </a:extLst>
          </p:cNvPr>
          <p:cNvGrpSpPr/>
          <p:nvPr/>
        </p:nvGrpSpPr>
        <p:grpSpPr>
          <a:xfrm>
            <a:off x="7087040" y="5458135"/>
            <a:ext cx="634560" cy="599554"/>
            <a:chOff x="7087040" y="5458135"/>
            <a:chExt cx="634560" cy="599554"/>
          </a:xfrm>
        </p:grpSpPr>
        <p:sp>
          <p:nvSpPr>
            <p:cNvPr id="37" name="Oval 20">
              <a:extLst>
                <a:ext uri="{FF2B5EF4-FFF2-40B4-BE49-F238E27FC236}">
                  <a16:creationId xmlns:a16="http://schemas.microsoft.com/office/drawing/2014/main" id="{F1AD22C6-F76F-4F23-80FD-3213F9CDE314}"/>
                </a:ext>
              </a:extLst>
            </p:cNvPr>
            <p:cNvSpPr/>
            <p:nvPr/>
          </p:nvSpPr>
          <p:spPr>
            <a:xfrm flipV="1">
              <a:off x="7087040" y="545813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38" name="Graphic 26">
              <a:extLst>
                <a:ext uri="{FF2B5EF4-FFF2-40B4-BE49-F238E27FC236}">
                  <a16:creationId xmlns:a16="http://schemas.microsoft.com/office/drawing/2014/main" id="{B9BCE2F9-9EFB-4FEC-9F9E-11560A7D351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5617356"/>
              <a:ext cx="281112" cy="281112"/>
            </a:xfrm>
            <a:prstGeom prst="rect">
              <a:avLst/>
            </a:prstGeom>
          </p:spPr>
        </p:pic>
      </p:grpSp>
    </p:spTree>
    <p:extLst>
      <p:ext uri="{BB962C8B-B14F-4D97-AF65-F5344CB8AC3E}">
        <p14:creationId xmlns:p14="http://schemas.microsoft.com/office/powerpoint/2010/main" val="32339515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lick to insert title</a:t>
            </a:r>
            <a:endParaRPr lang="en-GB" dirty="0"/>
          </a:p>
        </p:txBody>
      </p:sp>
      <p:sp>
        <p:nvSpPr>
          <p:cNvPr id="7" name="Text Placeholder 6"/>
          <p:cNvSpPr>
            <a:spLocks noGrp="1"/>
          </p:cNvSpPr>
          <p:nvPr>
            <p:ph type="body" sz="quarter" idx="12"/>
          </p:nvPr>
        </p:nvSpPr>
        <p:spPr/>
        <p:txBody>
          <a:bodyPr/>
          <a:lstStyle/>
          <a:p>
            <a:r>
              <a:rPr lang="en-US" dirty="0"/>
              <a:t>Click to insert text</a:t>
            </a:r>
            <a:endParaRPr lang="pt-PT" dirty="0">
              <a:solidFill>
                <a:srgbClr val="2B0A3D"/>
              </a:solidFill>
            </a:endParaRPr>
          </a:p>
        </p:txBody>
      </p:sp>
      <p:sp>
        <p:nvSpPr>
          <p:cNvPr id="8" name="Text Placeholder 7"/>
          <p:cNvSpPr>
            <a:spLocks noGrp="1"/>
          </p:cNvSpPr>
          <p:nvPr>
            <p:ph type="body" sz="quarter" idx="13"/>
          </p:nvPr>
        </p:nvSpPr>
        <p:spPr/>
        <p:txBody>
          <a:bodyPr/>
          <a:lstStyle/>
          <a:p>
            <a:r>
              <a:rPr lang="en-US" dirty="0"/>
              <a:t>Click to insert text</a:t>
            </a:r>
            <a:endParaRPr lang="pt-PT" dirty="0">
              <a:solidFill>
                <a:srgbClr val="2B0A3D"/>
              </a:solidFill>
            </a:endParaRPr>
          </a:p>
        </p:txBody>
      </p:sp>
      <p:sp>
        <p:nvSpPr>
          <p:cNvPr id="6" name="Text Placeholder 5"/>
          <p:cNvSpPr>
            <a:spLocks noGrp="1"/>
          </p:cNvSpPr>
          <p:nvPr>
            <p:ph type="body" sz="quarter" idx="11"/>
          </p:nvPr>
        </p:nvSpPr>
        <p:spPr/>
        <p:txBody>
          <a:bodyPr/>
          <a:lstStyle/>
          <a:p>
            <a:r>
              <a:rPr lang="en-US" dirty="0"/>
              <a:t>Click to insert text</a:t>
            </a:r>
            <a:endParaRPr lang="pt-PT" dirty="0">
              <a:solidFill>
                <a:srgbClr val="2B0A3D"/>
              </a:solidFill>
            </a:endParaRPr>
          </a:p>
        </p:txBody>
      </p:sp>
      <p:sp>
        <p:nvSpPr>
          <p:cNvPr id="9" name="Text Placeholder 8"/>
          <p:cNvSpPr>
            <a:spLocks noGrp="1"/>
          </p:cNvSpPr>
          <p:nvPr>
            <p:ph type="body" sz="quarter" idx="14"/>
          </p:nvPr>
        </p:nvSpPr>
        <p:spPr/>
        <p:txBody>
          <a:bodyPr/>
          <a:lstStyle/>
          <a:p>
            <a:r>
              <a:rPr lang="en-US" dirty="0"/>
              <a:t>Click to insert text</a:t>
            </a:r>
            <a:endParaRPr lang="pt-PT" dirty="0">
              <a:solidFill>
                <a:srgbClr val="2B0A3D"/>
              </a:solidFill>
            </a:endParaRPr>
          </a:p>
          <a:p>
            <a:endParaRPr lang="en-GB" dirty="0"/>
          </a:p>
        </p:txBody>
      </p:sp>
      <p:sp>
        <p:nvSpPr>
          <p:cNvPr id="10" name="Text Placeholder 9"/>
          <p:cNvSpPr>
            <a:spLocks noGrp="1"/>
          </p:cNvSpPr>
          <p:nvPr>
            <p:ph type="body" sz="quarter" idx="15"/>
          </p:nvPr>
        </p:nvSpPr>
        <p:spPr/>
        <p:txBody>
          <a:bodyPr/>
          <a:lstStyle/>
          <a:p>
            <a:r>
              <a:rPr lang="pt-PT" dirty="0"/>
              <a:t>Click to insert subtitle</a:t>
            </a:r>
          </a:p>
          <a:p>
            <a:endParaRPr lang="en-GB" dirty="0"/>
          </a:p>
        </p:txBody>
      </p:sp>
      <p:sp>
        <p:nvSpPr>
          <p:cNvPr id="11" name="Text Placeholder 10"/>
          <p:cNvSpPr>
            <a:spLocks noGrp="1"/>
          </p:cNvSpPr>
          <p:nvPr>
            <p:ph type="body" sz="quarter" idx="16"/>
          </p:nvPr>
        </p:nvSpPr>
        <p:spPr/>
        <p:txBody>
          <a:bodyPr/>
          <a:lstStyle/>
          <a:p>
            <a:r>
              <a:rPr lang="en-US" dirty="0"/>
              <a:t>Click to insert text</a:t>
            </a:r>
            <a:endParaRPr lang="pt-PT" dirty="0">
              <a:solidFill>
                <a:srgbClr val="2B0A3D"/>
              </a:solidFill>
            </a:endParaRPr>
          </a:p>
        </p:txBody>
      </p:sp>
      <p:grpSp>
        <p:nvGrpSpPr>
          <p:cNvPr id="12" name="Group 11">
            <a:extLst>
              <a:ext uri="{FF2B5EF4-FFF2-40B4-BE49-F238E27FC236}">
                <a16:creationId xmlns:a16="http://schemas.microsoft.com/office/drawing/2014/main" id="{DF6E3461-4143-4496-B9F0-198EAF5BC2A7}"/>
              </a:ext>
            </a:extLst>
          </p:cNvPr>
          <p:cNvGrpSpPr>
            <a:grpSpLocks noChangeAspect="1"/>
          </p:cNvGrpSpPr>
          <p:nvPr/>
        </p:nvGrpSpPr>
        <p:grpSpPr>
          <a:xfrm>
            <a:off x="727442" y="2486189"/>
            <a:ext cx="1253758" cy="1170324"/>
            <a:chOff x="-2063751" y="3944938"/>
            <a:chExt cx="882651" cy="823913"/>
          </a:xfrm>
        </p:grpSpPr>
        <p:sp>
          <p:nvSpPr>
            <p:cNvPr id="13" name="Freeform 5">
              <a:extLst>
                <a:ext uri="{FF2B5EF4-FFF2-40B4-BE49-F238E27FC236}">
                  <a16:creationId xmlns:a16="http://schemas.microsoft.com/office/drawing/2014/main" id="{1B43BA72-7F0E-4100-8E6D-1AADE07A448C}"/>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6">
              <a:extLst>
                <a:ext uri="{FF2B5EF4-FFF2-40B4-BE49-F238E27FC236}">
                  <a16:creationId xmlns:a16="http://schemas.microsoft.com/office/drawing/2014/main" id="{E9C89F97-A40B-4EE8-A26E-480E3D798CF9}"/>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
              <a:extLst>
                <a:ext uri="{FF2B5EF4-FFF2-40B4-BE49-F238E27FC236}">
                  <a16:creationId xmlns:a16="http://schemas.microsoft.com/office/drawing/2014/main" id="{BB7F5574-423B-4E21-AA8B-CC603DB0D819}"/>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8">
              <a:extLst>
                <a:ext uri="{FF2B5EF4-FFF2-40B4-BE49-F238E27FC236}">
                  <a16:creationId xmlns:a16="http://schemas.microsoft.com/office/drawing/2014/main" id="{F2DB638A-3687-4E4C-B81D-2F063EBB4430}"/>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9">
              <a:extLst>
                <a:ext uri="{FF2B5EF4-FFF2-40B4-BE49-F238E27FC236}">
                  <a16:creationId xmlns:a16="http://schemas.microsoft.com/office/drawing/2014/main" id="{6A2838FA-8D57-47B7-8FD8-1270422DC035}"/>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0">
              <a:extLst>
                <a:ext uri="{FF2B5EF4-FFF2-40B4-BE49-F238E27FC236}">
                  <a16:creationId xmlns:a16="http://schemas.microsoft.com/office/drawing/2014/main" id="{5E1EB8D0-2B1E-448A-B128-744737A4BF6B}"/>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1">
              <a:extLst>
                <a:ext uri="{FF2B5EF4-FFF2-40B4-BE49-F238E27FC236}">
                  <a16:creationId xmlns:a16="http://schemas.microsoft.com/office/drawing/2014/main" id="{F4FA5803-467B-4980-8184-31ADEA1C07A8}"/>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2">
              <a:extLst>
                <a:ext uri="{FF2B5EF4-FFF2-40B4-BE49-F238E27FC236}">
                  <a16:creationId xmlns:a16="http://schemas.microsoft.com/office/drawing/2014/main" id="{1C838725-A3D9-4185-A943-9B8F1B12AA7E}"/>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3">
              <a:extLst>
                <a:ext uri="{FF2B5EF4-FFF2-40B4-BE49-F238E27FC236}">
                  <a16:creationId xmlns:a16="http://schemas.microsoft.com/office/drawing/2014/main" id="{4F10E9F3-6707-4E2F-BC2E-404B7E57DF25}"/>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 name="Group 21">
            <a:extLst>
              <a:ext uri="{FF2B5EF4-FFF2-40B4-BE49-F238E27FC236}">
                <a16:creationId xmlns:a16="http://schemas.microsoft.com/office/drawing/2014/main" id="{BB5784EC-49E8-407D-987A-A863F2D36570}"/>
              </a:ext>
            </a:extLst>
          </p:cNvPr>
          <p:cNvGrpSpPr>
            <a:grpSpLocks noChangeAspect="1"/>
          </p:cNvGrpSpPr>
          <p:nvPr/>
        </p:nvGrpSpPr>
        <p:grpSpPr>
          <a:xfrm>
            <a:off x="727442" y="4973664"/>
            <a:ext cx="1253758" cy="1170324"/>
            <a:chOff x="-2187576" y="5018088"/>
            <a:chExt cx="882651" cy="823913"/>
          </a:xfrm>
        </p:grpSpPr>
        <p:sp>
          <p:nvSpPr>
            <p:cNvPr id="23" name="Freeform 17">
              <a:extLst>
                <a:ext uri="{FF2B5EF4-FFF2-40B4-BE49-F238E27FC236}">
                  <a16:creationId xmlns:a16="http://schemas.microsoft.com/office/drawing/2014/main" id="{7E727CF0-7D58-4100-9D07-F1957A9AE28B}"/>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8">
              <a:extLst>
                <a:ext uri="{FF2B5EF4-FFF2-40B4-BE49-F238E27FC236}">
                  <a16:creationId xmlns:a16="http://schemas.microsoft.com/office/drawing/2014/main" id="{2A14EC50-B72C-4582-A71A-F876A955FC72}"/>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9">
              <a:extLst>
                <a:ext uri="{FF2B5EF4-FFF2-40B4-BE49-F238E27FC236}">
                  <a16:creationId xmlns:a16="http://schemas.microsoft.com/office/drawing/2014/main" id="{59D45D1A-7BDB-43EB-88C3-909C675C59BB}"/>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25">
            <a:extLst>
              <a:ext uri="{FF2B5EF4-FFF2-40B4-BE49-F238E27FC236}">
                <a16:creationId xmlns:a16="http://schemas.microsoft.com/office/drawing/2014/main" id="{A5CC9547-E03B-4936-B48D-80FC89BBA50C}"/>
              </a:ext>
            </a:extLst>
          </p:cNvPr>
          <p:cNvGrpSpPr>
            <a:grpSpLocks noChangeAspect="1"/>
          </p:cNvGrpSpPr>
          <p:nvPr/>
        </p:nvGrpSpPr>
        <p:grpSpPr>
          <a:xfrm>
            <a:off x="727037" y="3776051"/>
            <a:ext cx="1258262" cy="1170322"/>
            <a:chOff x="-2836862" y="6440488"/>
            <a:chExt cx="885824" cy="823913"/>
          </a:xfrm>
        </p:grpSpPr>
        <p:sp>
          <p:nvSpPr>
            <p:cNvPr id="27" name="Freeform 23">
              <a:extLst>
                <a:ext uri="{FF2B5EF4-FFF2-40B4-BE49-F238E27FC236}">
                  <a16:creationId xmlns:a16="http://schemas.microsoft.com/office/drawing/2014/main" id="{929D665D-CE9F-4213-881C-2394AC828DA1}"/>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4">
              <a:extLst>
                <a:ext uri="{FF2B5EF4-FFF2-40B4-BE49-F238E27FC236}">
                  <a16:creationId xmlns:a16="http://schemas.microsoft.com/office/drawing/2014/main" id="{1E6D4C6D-F3DB-4B5F-BE0B-7C55659292B0}"/>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5">
              <a:extLst>
                <a:ext uri="{FF2B5EF4-FFF2-40B4-BE49-F238E27FC236}">
                  <a16:creationId xmlns:a16="http://schemas.microsoft.com/office/drawing/2014/main" id="{2812AA78-6A2C-478E-963B-18A170B6B9AD}"/>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6">
              <a:extLst>
                <a:ext uri="{FF2B5EF4-FFF2-40B4-BE49-F238E27FC236}">
                  <a16:creationId xmlns:a16="http://schemas.microsoft.com/office/drawing/2014/main" id="{7E4FBEA3-9A12-4E57-B2A4-C529E407A06D}"/>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7">
              <a:extLst>
                <a:ext uri="{FF2B5EF4-FFF2-40B4-BE49-F238E27FC236}">
                  <a16:creationId xmlns:a16="http://schemas.microsoft.com/office/drawing/2014/main" id="{EB5667A3-8D34-4BA5-B629-F17644165A2B}"/>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8">
              <a:extLst>
                <a:ext uri="{FF2B5EF4-FFF2-40B4-BE49-F238E27FC236}">
                  <a16:creationId xmlns:a16="http://schemas.microsoft.com/office/drawing/2014/main" id="{9B207602-8AFE-419B-83E4-6E3E6A6265B5}"/>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9">
              <a:extLst>
                <a:ext uri="{FF2B5EF4-FFF2-40B4-BE49-F238E27FC236}">
                  <a16:creationId xmlns:a16="http://schemas.microsoft.com/office/drawing/2014/main" id="{3ABE074E-2792-4BB8-A853-009F53A188F1}"/>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0131756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pt-PT"/>
              <a:t>Click to insert title</a:t>
            </a:r>
            <a:endParaRPr lang="en-GB" dirty="0"/>
          </a:p>
        </p:txBody>
      </p:sp>
      <p:sp>
        <p:nvSpPr>
          <p:cNvPr id="25" name="Picture Placeholder 24"/>
          <p:cNvSpPr>
            <a:spLocks noGrp="1"/>
          </p:cNvSpPr>
          <p:nvPr>
            <p:ph type="pic" sz="quarter" idx="10"/>
          </p:nvPr>
        </p:nvSpPr>
        <p:spPr/>
      </p:sp>
      <p:sp>
        <p:nvSpPr>
          <p:cNvPr id="22" name="Text Placeholder 21"/>
          <p:cNvSpPr>
            <a:spLocks noGrp="1"/>
          </p:cNvSpPr>
          <p:nvPr>
            <p:ph type="body" sz="quarter" idx="32"/>
          </p:nvPr>
        </p:nvSpPr>
        <p:spPr/>
        <p:txBody>
          <a:bodyPr/>
          <a:lstStyle/>
          <a:p>
            <a:r>
              <a:rPr lang="pt-PT" dirty="0"/>
              <a:t>Click to insert text</a:t>
            </a:r>
            <a:endParaRPr lang="en-US" dirty="0"/>
          </a:p>
        </p:txBody>
      </p:sp>
      <p:sp>
        <p:nvSpPr>
          <p:cNvPr id="26" name="Text Placeholder 25"/>
          <p:cNvSpPr>
            <a:spLocks noGrp="1"/>
          </p:cNvSpPr>
          <p:nvPr>
            <p:ph type="body" sz="quarter" idx="33"/>
          </p:nvPr>
        </p:nvSpPr>
        <p:spPr/>
        <p:txBody>
          <a:bodyPr/>
          <a:lstStyle/>
          <a:p>
            <a:r>
              <a:rPr lang="pt-PT" dirty="0"/>
              <a:t>Click to insert text</a:t>
            </a:r>
            <a:endParaRPr lang="en-US" dirty="0"/>
          </a:p>
        </p:txBody>
      </p:sp>
      <p:sp>
        <p:nvSpPr>
          <p:cNvPr id="27" name="Text Placeholder 26"/>
          <p:cNvSpPr>
            <a:spLocks noGrp="1"/>
          </p:cNvSpPr>
          <p:nvPr>
            <p:ph type="body" sz="quarter" idx="35"/>
          </p:nvPr>
        </p:nvSpPr>
        <p:spPr/>
        <p:txBody>
          <a:bodyPr/>
          <a:lstStyle/>
          <a:p>
            <a:r>
              <a:rPr lang="pt-PT" dirty="0"/>
              <a:t>Click to insert text</a:t>
            </a:r>
            <a:endParaRPr lang="en-US" dirty="0"/>
          </a:p>
        </p:txBody>
      </p:sp>
      <p:grpSp>
        <p:nvGrpSpPr>
          <p:cNvPr id="28" name="Group 12">
            <a:extLst>
              <a:ext uri="{FF2B5EF4-FFF2-40B4-BE49-F238E27FC236}">
                <a16:creationId xmlns:a16="http://schemas.microsoft.com/office/drawing/2014/main" id="{692B28B0-FB92-4F95-884C-DA7D5007BE2F}"/>
              </a:ext>
            </a:extLst>
          </p:cNvPr>
          <p:cNvGrpSpPr>
            <a:grpSpLocks noChangeAspect="1"/>
          </p:cNvGrpSpPr>
          <p:nvPr/>
        </p:nvGrpSpPr>
        <p:grpSpPr bwMode="auto">
          <a:xfrm>
            <a:off x="767408" y="4581128"/>
            <a:ext cx="1022803" cy="954000"/>
            <a:chOff x="-60" y="-50"/>
            <a:chExt cx="996" cy="929"/>
          </a:xfrm>
        </p:grpSpPr>
        <p:sp>
          <p:nvSpPr>
            <p:cNvPr id="29" name="Freeform 13">
              <a:extLst>
                <a:ext uri="{FF2B5EF4-FFF2-40B4-BE49-F238E27FC236}">
                  <a16:creationId xmlns:a16="http://schemas.microsoft.com/office/drawing/2014/main" id="{73800201-B76E-4387-93B3-66E7B0DEAF14}"/>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14">
              <a:extLst>
                <a:ext uri="{FF2B5EF4-FFF2-40B4-BE49-F238E27FC236}">
                  <a16:creationId xmlns:a16="http://schemas.microsoft.com/office/drawing/2014/main" id="{C3E3AD52-CA1F-4B13-AE74-51C0CAED4591}"/>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15">
              <a:extLst>
                <a:ext uri="{FF2B5EF4-FFF2-40B4-BE49-F238E27FC236}">
                  <a16:creationId xmlns:a16="http://schemas.microsoft.com/office/drawing/2014/main" id="{3C8E4C47-C8D4-4FB2-9E44-7298884A3F60}"/>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2" name="Freeform 16">
              <a:extLst>
                <a:ext uri="{FF2B5EF4-FFF2-40B4-BE49-F238E27FC236}">
                  <a16:creationId xmlns:a16="http://schemas.microsoft.com/office/drawing/2014/main" id="{33C9DD14-42D0-4F86-9EAC-88BC343D514D}"/>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3" name="Group 25">
            <a:extLst>
              <a:ext uri="{FF2B5EF4-FFF2-40B4-BE49-F238E27FC236}">
                <a16:creationId xmlns:a16="http://schemas.microsoft.com/office/drawing/2014/main" id="{F3FD5851-2DB9-4493-BE4C-0006EDC51387}"/>
              </a:ext>
            </a:extLst>
          </p:cNvPr>
          <p:cNvGrpSpPr>
            <a:grpSpLocks noChangeAspect="1"/>
          </p:cNvGrpSpPr>
          <p:nvPr/>
        </p:nvGrpSpPr>
        <p:grpSpPr bwMode="auto">
          <a:xfrm>
            <a:off x="770592" y="2579238"/>
            <a:ext cx="982654" cy="921076"/>
            <a:chOff x="-61" y="-66"/>
            <a:chExt cx="1133" cy="1062"/>
          </a:xfrm>
        </p:grpSpPr>
        <p:sp>
          <p:nvSpPr>
            <p:cNvPr id="34" name="Freeform 26">
              <a:extLst>
                <a:ext uri="{FF2B5EF4-FFF2-40B4-BE49-F238E27FC236}">
                  <a16:creationId xmlns:a16="http://schemas.microsoft.com/office/drawing/2014/main" id="{8D446F1C-33BB-410E-ACF0-1C2411FBD89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27">
              <a:extLst>
                <a:ext uri="{FF2B5EF4-FFF2-40B4-BE49-F238E27FC236}">
                  <a16:creationId xmlns:a16="http://schemas.microsoft.com/office/drawing/2014/main" id="{5FF12984-E465-477E-BB01-F705B9C7E38E}"/>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6" name="Group 30">
            <a:extLst>
              <a:ext uri="{FF2B5EF4-FFF2-40B4-BE49-F238E27FC236}">
                <a16:creationId xmlns:a16="http://schemas.microsoft.com/office/drawing/2014/main" id="{B30B8C63-8CA6-4DAC-9A4A-C37810C8F8A7}"/>
              </a:ext>
            </a:extLst>
          </p:cNvPr>
          <p:cNvGrpSpPr>
            <a:grpSpLocks noChangeAspect="1"/>
          </p:cNvGrpSpPr>
          <p:nvPr/>
        </p:nvGrpSpPr>
        <p:grpSpPr bwMode="auto">
          <a:xfrm>
            <a:off x="767408" y="3573016"/>
            <a:ext cx="985838" cy="921600"/>
            <a:chOff x="-223" y="-210"/>
            <a:chExt cx="3852" cy="3601"/>
          </a:xfrm>
        </p:grpSpPr>
        <p:sp>
          <p:nvSpPr>
            <p:cNvPr id="37" name="Freeform 31">
              <a:extLst>
                <a:ext uri="{FF2B5EF4-FFF2-40B4-BE49-F238E27FC236}">
                  <a16:creationId xmlns:a16="http://schemas.microsoft.com/office/drawing/2014/main" id="{A82BE29C-60E0-456E-AD98-001B7FD1932D}"/>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8" name="Freeform 32">
              <a:extLst>
                <a:ext uri="{FF2B5EF4-FFF2-40B4-BE49-F238E27FC236}">
                  <a16:creationId xmlns:a16="http://schemas.microsoft.com/office/drawing/2014/main" id="{1E58E2D5-F4D4-4ED4-86C3-7A3325A07022}"/>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33">
              <a:extLst>
                <a:ext uri="{FF2B5EF4-FFF2-40B4-BE49-F238E27FC236}">
                  <a16:creationId xmlns:a16="http://schemas.microsoft.com/office/drawing/2014/main" id="{5B420DCF-96F9-4DDA-A9BC-B4A28C3A326D}"/>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0" name="Freeform 34">
              <a:extLst>
                <a:ext uri="{FF2B5EF4-FFF2-40B4-BE49-F238E27FC236}">
                  <a16:creationId xmlns:a16="http://schemas.microsoft.com/office/drawing/2014/main" id="{6497F936-DBBA-4E7A-A1BC-510C898AC49D}"/>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1" name="Freeform 35">
              <a:extLst>
                <a:ext uri="{FF2B5EF4-FFF2-40B4-BE49-F238E27FC236}">
                  <a16:creationId xmlns:a16="http://schemas.microsoft.com/office/drawing/2014/main" id="{315422AE-4C60-4F19-9E4B-4FDB4F980F2C}"/>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1997153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p:cNvSpPr>
            <a:spLocks noGrp="1"/>
          </p:cNvSpPr>
          <p:nvPr>
            <p:ph type="body" sz="quarter" idx="32"/>
          </p:nvPr>
        </p:nvSpPr>
        <p:spPr/>
        <p:txBody>
          <a:bodyPr/>
          <a:lstStyle/>
          <a:p>
            <a:r>
              <a:rPr lang="pt-PT" dirty="0"/>
              <a:t>Click to insert text</a:t>
            </a:r>
            <a:endParaRPr lang="en-US" dirty="0"/>
          </a:p>
          <a:p>
            <a:endParaRPr lang="en-GB" dirty="0"/>
          </a:p>
        </p:txBody>
      </p:sp>
      <p:sp>
        <p:nvSpPr>
          <p:cNvPr id="29" name="Title 28"/>
          <p:cNvSpPr>
            <a:spLocks noGrp="1"/>
          </p:cNvSpPr>
          <p:nvPr>
            <p:ph type="title"/>
          </p:nvPr>
        </p:nvSpPr>
        <p:spPr/>
        <p:txBody>
          <a:bodyPr/>
          <a:lstStyle/>
          <a:p>
            <a:r>
              <a:rPr lang="pt-PT" dirty="0"/>
              <a:t>Click to insert title</a:t>
            </a:r>
            <a:endParaRPr lang="en-GB" dirty="0"/>
          </a:p>
        </p:txBody>
      </p:sp>
      <p:sp>
        <p:nvSpPr>
          <p:cNvPr id="31" name="ZoneTexte 17"/>
          <p:cNvSpPr txBox="1"/>
          <p:nvPr/>
        </p:nvSpPr>
        <p:spPr>
          <a:xfrm>
            <a:off x="12528621" y="2620283"/>
            <a:ext cx="2451331" cy="1415772"/>
          </a:xfrm>
          <a:prstGeom prst="rect">
            <a:avLst/>
          </a:prstGeom>
          <a:noFill/>
        </p:spPr>
        <p:txBody>
          <a:bodyPr wrap="square" rtlCol="0">
            <a:spAutoFit/>
          </a:bodyPr>
          <a:lstStyle/>
          <a:p>
            <a:r>
              <a:rPr lang="fr-FR" sz="900" dirty="0">
                <a:solidFill>
                  <a:schemeClr val="tx2"/>
                </a:solidFill>
                <a:latin typeface="Arial" panose="020B0604020202020204" pitchFamily="34" charset="0"/>
                <a:cs typeface="Arial" panose="020B0604020202020204" pitchFamily="34" charset="0"/>
              </a:rPr>
              <a:t>Pour modifier </a:t>
            </a:r>
            <a:r>
              <a:rPr lang="fr-FR" sz="900" b="1" baseline="0" dirty="0">
                <a:solidFill>
                  <a:schemeClr val="tx2"/>
                </a:solidFill>
                <a:latin typeface="Arial" panose="020B0604020202020204" pitchFamily="34" charset="0"/>
                <a:cs typeface="Arial" panose="020B0604020202020204" pitchFamily="34" charset="0"/>
              </a:rPr>
              <a:t>l’image d'arrière-plan </a:t>
            </a:r>
            <a:r>
              <a:rPr lang="fr-FR" sz="900" baseline="0" dirty="0">
                <a:solidFill>
                  <a:schemeClr val="tx2"/>
                </a:solidFill>
                <a:latin typeface="Arial" panose="020B0604020202020204" pitchFamily="34" charset="0"/>
                <a:cs typeface="Arial" panose="020B0604020202020204" pitchFamily="34" charset="0"/>
              </a:rPr>
              <a:t>:</a:t>
            </a:r>
          </a:p>
          <a:p>
            <a:pPr marL="228600" indent="-228600">
              <a:spcBef>
                <a:spcPts val="200"/>
              </a:spcBef>
              <a:buAutoNum type="arabicPeriod"/>
            </a:pPr>
            <a:r>
              <a:rPr lang="fr-FR" sz="900" dirty="0">
                <a:solidFill>
                  <a:schemeClr val="tx2"/>
                </a:solidFill>
                <a:latin typeface="Arial" panose="020B0604020202020204" pitchFamily="34" charset="0"/>
                <a:cs typeface="Arial" panose="020B0604020202020204" pitchFamily="34" charset="0"/>
              </a:rPr>
              <a:t>Faites un clic droit</a:t>
            </a:r>
            <a:r>
              <a:rPr lang="fr-FR" sz="900" baseline="0" dirty="0">
                <a:solidFill>
                  <a:schemeClr val="tx2"/>
                </a:solidFill>
                <a:latin typeface="Arial" panose="020B0604020202020204" pitchFamily="34" charset="0"/>
                <a:cs typeface="Arial" panose="020B0604020202020204" pitchFamily="34" charset="0"/>
              </a:rPr>
              <a:t> et cliquez sur </a:t>
            </a:r>
            <a:r>
              <a:rPr lang="fr-FR" sz="900" b="1" baseline="0" dirty="0">
                <a:solidFill>
                  <a:schemeClr val="tx2"/>
                </a:solidFill>
                <a:latin typeface="Arial" panose="020B0604020202020204" pitchFamily="34" charset="0"/>
                <a:cs typeface="Arial" panose="020B0604020202020204" pitchFamily="34" charset="0"/>
              </a:rPr>
              <a:t>Mise en forme de l’arrière-plan</a:t>
            </a:r>
            <a:endParaRPr lang="fr-FR" sz="900" b="0" baseline="0" dirty="0">
              <a:solidFill>
                <a:schemeClr val="tx2"/>
              </a:solidFill>
              <a:latin typeface="Arial" panose="020B0604020202020204" pitchFamily="34" charset="0"/>
              <a:cs typeface="Arial" panose="020B0604020202020204" pitchFamily="34" charset="0"/>
            </a:endParaRPr>
          </a:p>
          <a:p>
            <a:pPr marL="228600" indent="-228600">
              <a:spcBef>
                <a:spcPts val="200"/>
              </a:spcBef>
              <a:buAutoNum type="arabicPeriod"/>
            </a:pPr>
            <a:r>
              <a:rPr lang="fr-FR" sz="900" b="0" baseline="0" dirty="0">
                <a:solidFill>
                  <a:schemeClr val="tx2"/>
                </a:solidFill>
                <a:latin typeface="Arial" panose="020B0604020202020204" pitchFamily="34" charset="0"/>
                <a:cs typeface="Arial" panose="020B0604020202020204" pitchFamily="34" charset="0"/>
              </a:rPr>
              <a:t>Dans la fenêtre Remplissage, choisissez </a:t>
            </a:r>
            <a:r>
              <a:rPr lang="fr-FR" sz="900" b="1" baseline="0" dirty="0">
                <a:solidFill>
                  <a:schemeClr val="tx2"/>
                </a:solidFill>
                <a:latin typeface="Arial" panose="020B0604020202020204" pitchFamily="34" charset="0"/>
                <a:cs typeface="Arial" panose="020B0604020202020204" pitchFamily="34" charset="0"/>
              </a:rPr>
              <a:t>Remplissage avec image ou texture</a:t>
            </a:r>
            <a:r>
              <a:rPr lang="fr-FR" sz="900" b="0" baseline="0" dirty="0">
                <a:solidFill>
                  <a:schemeClr val="tx2"/>
                </a:solidFill>
                <a:latin typeface="Arial" panose="020B0604020202020204" pitchFamily="34" charset="0"/>
                <a:cs typeface="Arial" panose="020B0604020202020204" pitchFamily="34" charset="0"/>
              </a:rPr>
              <a:t> puis cliquez sur </a:t>
            </a:r>
            <a:r>
              <a:rPr lang="fr-FR" sz="900" b="1" baseline="0" dirty="0">
                <a:solidFill>
                  <a:schemeClr val="tx2"/>
                </a:solidFill>
                <a:latin typeface="Arial" panose="020B0604020202020204" pitchFamily="34" charset="0"/>
                <a:cs typeface="Arial" panose="020B0604020202020204" pitchFamily="34" charset="0"/>
              </a:rPr>
              <a:t>Insérer à partir de : Fichier</a:t>
            </a:r>
          </a:p>
          <a:p>
            <a:pPr marL="228600" indent="-228600">
              <a:spcBef>
                <a:spcPts val="200"/>
              </a:spcBef>
              <a:buAutoNum type="arabicPeriod"/>
            </a:pPr>
            <a:r>
              <a:rPr lang="fr-FR" sz="900" b="0" baseline="0" dirty="0">
                <a:solidFill>
                  <a:schemeClr val="tx2"/>
                </a:solidFill>
                <a:latin typeface="Arial" panose="020B0604020202020204" pitchFamily="34" charset="0"/>
                <a:cs typeface="Arial" panose="020B0604020202020204" pitchFamily="34" charset="0"/>
              </a:rPr>
              <a:t>Sélectionnez votre image puis cliquez sur </a:t>
            </a:r>
            <a:r>
              <a:rPr lang="fr-FR" sz="900" b="1" baseline="0" dirty="0">
                <a:solidFill>
                  <a:schemeClr val="tx2"/>
                </a:solidFill>
                <a:latin typeface="Arial" panose="020B0604020202020204" pitchFamily="34" charset="0"/>
                <a:cs typeface="Arial" panose="020B0604020202020204" pitchFamily="34" charset="0"/>
              </a:rPr>
              <a:t>Fermer</a:t>
            </a:r>
            <a:endParaRPr lang="fr-FR" sz="900" baseline="0" dirty="0">
              <a:solidFill>
                <a:schemeClr val="tx2"/>
              </a:solidFill>
              <a:latin typeface="Arial" panose="020B0604020202020204" pitchFamily="34" charset="0"/>
              <a:cs typeface="Arial" panose="020B0604020202020204" pitchFamily="34" charset="0"/>
            </a:endParaRPr>
          </a:p>
        </p:txBody>
      </p:sp>
      <p:grpSp>
        <p:nvGrpSpPr>
          <p:cNvPr id="32" name="Groupe 18"/>
          <p:cNvGrpSpPr/>
          <p:nvPr/>
        </p:nvGrpSpPr>
        <p:grpSpPr>
          <a:xfrm flipH="1">
            <a:off x="12384605" y="2667486"/>
            <a:ext cx="144016" cy="2828439"/>
            <a:chOff x="-252536" y="0"/>
            <a:chExt cx="144016" cy="2828439"/>
          </a:xfrm>
        </p:grpSpPr>
        <p:cxnSp>
          <p:nvCxnSpPr>
            <p:cNvPr id="33" name="Connecteur droit 21"/>
            <p:cNvCxnSpPr/>
            <p:nvPr/>
          </p:nvCxnSpPr>
          <p:spPr>
            <a:xfrm flipH="1">
              <a:off x="-252536" y="0"/>
              <a:ext cx="0" cy="282843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Connecteur droit 22"/>
            <p:cNvCxnSpPr/>
            <p:nvPr/>
          </p:nvCxnSpPr>
          <p:spPr>
            <a:xfrm flipH="1">
              <a:off x="-252536" y="288032"/>
              <a:ext cx="14401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35" name="Imag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46353" y="4004057"/>
            <a:ext cx="1921932" cy="1444809"/>
          </a:xfrm>
          <a:prstGeom prst="rect">
            <a:avLst/>
          </a:prstGeom>
        </p:spPr>
      </p:pic>
    </p:spTree>
    <p:extLst>
      <p:ext uri="{BB962C8B-B14F-4D97-AF65-F5344CB8AC3E}">
        <p14:creationId xmlns:p14="http://schemas.microsoft.com/office/powerpoint/2010/main" val="16615905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a:t>Click to insert title</a:t>
            </a:r>
            <a:endParaRPr lang="en-GB" dirty="0"/>
          </a:p>
        </p:txBody>
      </p:sp>
      <p:sp>
        <p:nvSpPr>
          <p:cNvPr id="14" name="Text Placeholder 13"/>
          <p:cNvSpPr>
            <a:spLocks noGrp="1"/>
          </p:cNvSpPr>
          <p:nvPr>
            <p:ph type="body" sz="quarter" idx="32"/>
          </p:nvPr>
        </p:nvSpPr>
        <p:spPr/>
        <p:txBody>
          <a:bodyPr/>
          <a:lstStyle/>
          <a:p>
            <a:r>
              <a:rPr lang="pt-PT" dirty="0"/>
              <a:t>Click to insert text</a:t>
            </a:r>
            <a:endParaRPr lang="en-US" dirty="0"/>
          </a:p>
          <a:p>
            <a:endParaRPr lang="en-GB" dirty="0"/>
          </a:p>
          <a:p>
            <a:endParaRPr lang="en-GB" dirty="0"/>
          </a:p>
        </p:txBody>
      </p:sp>
    </p:spTree>
    <p:extLst>
      <p:ext uri="{BB962C8B-B14F-4D97-AF65-F5344CB8AC3E}">
        <p14:creationId xmlns:p14="http://schemas.microsoft.com/office/powerpoint/2010/main" val="25669112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4294967295"/>
          </p:nvPr>
        </p:nvSpPr>
        <p:spPr>
          <a:xfrm>
            <a:off x="5376000" y="2853000"/>
            <a:ext cx="6539775" cy="3384000"/>
          </a:xfrm>
        </p:spPr>
        <p:txBody>
          <a:bodyPr/>
          <a:lstStyle/>
          <a:p>
            <a:r>
              <a:rPr lang="pt-PT" dirty="0"/>
              <a:t>Click to insert text</a:t>
            </a:r>
            <a:endParaRPr lang="en-US" dirty="0"/>
          </a:p>
          <a:p>
            <a:endParaRPr lang="en-GB" dirty="0"/>
          </a:p>
          <a:p>
            <a:endParaRPr lang="en-GB" dirty="0"/>
          </a:p>
        </p:txBody>
      </p:sp>
      <p:sp>
        <p:nvSpPr>
          <p:cNvPr id="16" name="Title 15"/>
          <p:cNvSpPr>
            <a:spLocks noGrp="1"/>
          </p:cNvSpPr>
          <p:nvPr>
            <p:ph type="title"/>
          </p:nvPr>
        </p:nvSpPr>
        <p:spPr/>
        <p:txBody>
          <a:bodyPr/>
          <a:lstStyle/>
          <a:p>
            <a:r>
              <a:rPr lang="pt-PT" dirty="0"/>
              <a:t>Click to insert title</a:t>
            </a:r>
            <a:endParaRPr lang="en-GB" dirty="0"/>
          </a:p>
        </p:txBody>
      </p:sp>
    </p:spTree>
    <p:extLst>
      <p:ext uri="{BB962C8B-B14F-4D97-AF65-F5344CB8AC3E}">
        <p14:creationId xmlns:p14="http://schemas.microsoft.com/office/powerpoint/2010/main" val="15677002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a:t>Click to insert title</a:t>
            </a:r>
            <a:endParaRPr lang="en-GB" dirty="0"/>
          </a:p>
        </p:txBody>
      </p:sp>
      <p:sp>
        <p:nvSpPr>
          <p:cNvPr id="15" name="Text Placeholder 14"/>
          <p:cNvSpPr>
            <a:spLocks noGrp="1"/>
          </p:cNvSpPr>
          <p:nvPr>
            <p:ph type="body" sz="quarter" idx="32"/>
          </p:nvPr>
        </p:nvSpPr>
        <p:spPr/>
        <p:txBody>
          <a:bodyPr/>
          <a:lstStyle/>
          <a:p>
            <a:r>
              <a:rPr lang="pt-PT" dirty="0"/>
              <a:t>Click to insert text</a:t>
            </a:r>
            <a:endParaRPr lang="en-US" dirty="0"/>
          </a:p>
          <a:p>
            <a:endParaRPr lang="en-GB" dirty="0"/>
          </a:p>
          <a:p>
            <a:endParaRPr lang="en-GB" dirty="0"/>
          </a:p>
          <a:p>
            <a:endParaRPr lang="en-GB" dirty="0"/>
          </a:p>
        </p:txBody>
      </p:sp>
      <p:sp>
        <p:nvSpPr>
          <p:cNvPr id="14" name="Picture Placeholder 13"/>
          <p:cNvSpPr>
            <a:spLocks noGrp="1"/>
          </p:cNvSpPr>
          <p:nvPr>
            <p:ph type="pic" sz="quarter" idx="10"/>
          </p:nvPr>
        </p:nvSpPr>
        <p:spPr/>
      </p:sp>
    </p:spTree>
    <p:extLst>
      <p:ext uri="{BB962C8B-B14F-4D97-AF65-F5344CB8AC3E}">
        <p14:creationId xmlns:p14="http://schemas.microsoft.com/office/powerpoint/2010/main" val="1575930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6"/>
          <p:cNvSpPr>
            <a:spLocks noGrp="1"/>
          </p:cNvSpPr>
          <p:nvPr>
            <p:ph type="body" sz="quarter" idx="38"/>
          </p:nvPr>
        </p:nvSpPr>
        <p:spPr/>
        <p:txBody>
          <a:bodyPr/>
          <a:lstStyle/>
          <a:p>
            <a:r>
              <a:rPr lang="pt-PT" dirty="0"/>
              <a:t>Click to insert text</a:t>
            </a:r>
            <a:endParaRPr lang="en-US" dirty="0"/>
          </a:p>
          <a:p>
            <a:endParaRPr lang="en-GB" dirty="0"/>
          </a:p>
          <a:p>
            <a:endParaRPr lang="en-GB" dirty="0"/>
          </a:p>
          <a:p>
            <a:endParaRPr lang="en-GB" dirty="0"/>
          </a:p>
        </p:txBody>
      </p:sp>
      <p:sp>
        <p:nvSpPr>
          <p:cNvPr id="25" name="Title 24"/>
          <p:cNvSpPr>
            <a:spLocks noGrp="1"/>
          </p:cNvSpPr>
          <p:nvPr>
            <p:ph type="title"/>
          </p:nvPr>
        </p:nvSpPr>
        <p:spPr/>
        <p:txBody>
          <a:bodyPr/>
          <a:lstStyle/>
          <a:p>
            <a:r>
              <a:rPr lang="pt-PT" dirty="0"/>
              <a:t>Click to insert title</a:t>
            </a:r>
            <a:endParaRPr lang="en-GB" dirty="0"/>
          </a:p>
        </p:txBody>
      </p:sp>
      <p:sp>
        <p:nvSpPr>
          <p:cNvPr id="26" name="Picture Placeholder 25"/>
          <p:cNvSpPr>
            <a:spLocks noGrp="1"/>
          </p:cNvSpPr>
          <p:nvPr>
            <p:ph type="pic" sz="quarter" idx="4294967295"/>
          </p:nvPr>
        </p:nvSpPr>
        <p:spPr>
          <a:xfrm>
            <a:off x="4833257" y="-1"/>
            <a:ext cx="7358743" cy="6857998"/>
          </a:xfrm>
        </p:spPr>
      </p:sp>
    </p:spTree>
    <p:extLst>
      <p:ext uri="{BB962C8B-B14F-4D97-AF65-F5344CB8AC3E}">
        <p14:creationId xmlns:p14="http://schemas.microsoft.com/office/powerpoint/2010/main" val="29979574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US" dirty="0"/>
              <a:t>Title of The presentation</a:t>
            </a:r>
          </a:p>
        </p:txBody>
      </p:sp>
      <p:sp>
        <p:nvSpPr>
          <p:cNvPr id="5" name="Subtitle 4"/>
          <p:cNvSpPr>
            <a:spLocks noGrp="1"/>
          </p:cNvSpPr>
          <p:nvPr>
            <p:ph type="subTitle" idx="1"/>
          </p:nvPr>
        </p:nvSpPr>
        <p:spPr/>
        <p:txBody>
          <a:bodyPr/>
          <a:lstStyle/>
          <a:p>
            <a:r>
              <a:rPr lang="en-US" dirty="0"/>
              <a:t>Location, Date, Author</a:t>
            </a:r>
          </a:p>
          <a:p>
            <a:endParaRPr lang="en-GB" dirty="0"/>
          </a:p>
        </p:txBody>
      </p:sp>
    </p:spTree>
    <p:extLst>
      <p:ext uri="{BB962C8B-B14F-4D97-AF65-F5344CB8AC3E}">
        <p14:creationId xmlns:p14="http://schemas.microsoft.com/office/powerpoint/2010/main" val="8137187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a:t>Click to insert title</a:t>
            </a:r>
            <a:endParaRPr lang="en-GB" dirty="0"/>
          </a:p>
        </p:txBody>
      </p:sp>
      <p:sp>
        <p:nvSpPr>
          <p:cNvPr id="18" name="Picture Placeholder 17"/>
          <p:cNvSpPr>
            <a:spLocks noGrp="1"/>
          </p:cNvSpPr>
          <p:nvPr>
            <p:ph type="pic" sz="quarter" idx="10"/>
          </p:nvPr>
        </p:nvSpPr>
        <p:spPr/>
      </p:sp>
      <p:sp>
        <p:nvSpPr>
          <p:cNvPr id="19" name="Text Placeholder 18"/>
          <p:cNvSpPr>
            <a:spLocks noGrp="1"/>
          </p:cNvSpPr>
          <p:nvPr>
            <p:ph type="body" sz="quarter" idx="32"/>
          </p:nvPr>
        </p:nvSpPr>
        <p:spPr/>
        <p:txBody>
          <a:bodyPr/>
          <a:lstStyle/>
          <a:p>
            <a:r>
              <a:rPr lang="pt-PT" dirty="0"/>
              <a:t>Click to insert text</a:t>
            </a:r>
            <a:endParaRPr lang="en-US" dirty="0"/>
          </a:p>
          <a:p>
            <a:endParaRPr lang="en-GB" dirty="0"/>
          </a:p>
          <a:p>
            <a:endParaRPr lang="en-GB" dirty="0"/>
          </a:p>
          <a:p>
            <a:endParaRPr lang="en-GB" dirty="0"/>
          </a:p>
        </p:txBody>
      </p:sp>
    </p:spTree>
    <p:extLst>
      <p:ext uri="{BB962C8B-B14F-4D97-AF65-F5344CB8AC3E}">
        <p14:creationId xmlns:p14="http://schemas.microsoft.com/office/powerpoint/2010/main" val="24883894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a:t>Click to insert title</a:t>
            </a:r>
            <a:endParaRPr lang="en-GB" dirty="0"/>
          </a:p>
        </p:txBody>
      </p:sp>
      <p:sp>
        <p:nvSpPr>
          <p:cNvPr id="15" name="Text Placeholder 14"/>
          <p:cNvSpPr>
            <a:spLocks noGrp="1"/>
          </p:cNvSpPr>
          <p:nvPr>
            <p:ph type="body" sz="quarter" idx="33"/>
          </p:nvPr>
        </p:nvSpPr>
        <p:spPr/>
        <p:txBody>
          <a:bodyPr/>
          <a:lstStyle/>
          <a:p>
            <a:r>
              <a:rPr lang="pt-PT" dirty="0"/>
              <a:t>Click to insert text</a:t>
            </a:r>
          </a:p>
          <a:p>
            <a:endParaRPr lang="en-GB" dirty="0"/>
          </a:p>
        </p:txBody>
      </p:sp>
      <p:sp>
        <p:nvSpPr>
          <p:cNvPr id="14" name="Text Placeholder 13"/>
          <p:cNvSpPr>
            <a:spLocks noGrp="1"/>
          </p:cNvSpPr>
          <p:nvPr>
            <p:ph type="body" sz="quarter" idx="32"/>
          </p:nvPr>
        </p:nvSpPr>
        <p:spPr/>
        <p:txBody>
          <a:bodyPr/>
          <a:lstStyle/>
          <a:p>
            <a:r>
              <a:rPr lang="pt-PT" dirty="0"/>
              <a:t>Click to insert text</a:t>
            </a:r>
            <a:endParaRPr lang="en-US" dirty="0"/>
          </a:p>
          <a:p>
            <a:endParaRPr lang="en-GB" dirty="0"/>
          </a:p>
          <a:p>
            <a:endParaRPr lang="en-GB" dirty="0"/>
          </a:p>
          <a:p>
            <a:endParaRPr lang="en-GB" dirty="0"/>
          </a:p>
        </p:txBody>
      </p:sp>
      <p:sp>
        <p:nvSpPr>
          <p:cNvPr id="16" name="ZoneTexte 17"/>
          <p:cNvSpPr txBox="1"/>
          <p:nvPr/>
        </p:nvSpPr>
        <p:spPr>
          <a:xfrm>
            <a:off x="12528621" y="2620283"/>
            <a:ext cx="2451331" cy="1415772"/>
          </a:xfrm>
          <a:prstGeom prst="rect">
            <a:avLst/>
          </a:prstGeom>
          <a:noFill/>
        </p:spPr>
        <p:txBody>
          <a:bodyPr wrap="square" rtlCol="0">
            <a:spAutoFit/>
          </a:bodyPr>
          <a:lstStyle/>
          <a:p>
            <a:r>
              <a:rPr lang="fr-FR" sz="900" dirty="0">
                <a:solidFill>
                  <a:schemeClr val="tx2"/>
                </a:solidFill>
                <a:latin typeface="Arial" panose="020B0604020202020204" pitchFamily="34" charset="0"/>
                <a:cs typeface="Arial" panose="020B0604020202020204" pitchFamily="34" charset="0"/>
              </a:rPr>
              <a:t>Pour modifier </a:t>
            </a:r>
            <a:r>
              <a:rPr lang="fr-FR" sz="900" b="1" baseline="0" dirty="0">
                <a:solidFill>
                  <a:schemeClr val="tx2"/>
                </a:solidFill>
                <a:latin typeface="Arial" panose="020B0604020202020204" pitchFamily="34" charset="0"/>
                <a:cs typeface="Arial" panose="020B0604020202020204" pitchFamily="34" charset="0"/>
              </a:rPr>
              <a:t>l’image d'arrière-plan </a:t>
            </a:r>
            <a:r>
              <a:rPr lang="fr-FR" sz="900" baseline="0" dirty="0">
                <a:solidFill>
                  <a:schemeClr val="tx2"/>
                </a:solidFill>
                <a:latin typeface="Arial" panose="020B0604020202020204" pitchFamily="34" charset="0"/>
                <a:cs typeface="Arial" panose="020B0604020202020204" pitchFamily="34" charset="0"/>
              </a:rPr>
              <a:t>:</a:t>
            </a:r>
          </a:p>
          <a:p>
            <a:pPr marL="228600" indent="-228600">
              <a:spcBef>
                <a:spcPts val="200"/>
              </a:spcBef>
              <a:buAutoNum type="arabicPeriod"/>
            </a:pPr>
            <a:r>
              <a:rPr lang="fr-FR" sz="900" dirty="0">
                <a:solidFill>
                  <a:schemeClr val="tx2"/>
                </a:solidFill>
                <a:latin typeface="Arial" panose="020B0604020202020204" pitchFamily="34" charset="0"/>
                <a:cs typeface="Arial" panose="020B0604020202020204" pitchFamily="34" charset="0"/>
              </a:rPr>
              <a:t>Faites un clic droit</a:t>
            </a:r>
            <a:r>
              <a:rPr lang="fr-FR" sz="900" baseline="0" dirty="0">
                <a:solidFill>
                  <a:schemeClr val="tx2"/>
                </a:solidFill>
                <a:latin typeface="Arial" panose="020B0604020202020204" pitchFamily="34" charset="0"/>
                <a:cs typeface="Arial" panose="020B0604020202020204" pitchFamily="34" charset="0"/>
              </a:rPr>
              <a:t> et cliquez sur </a:t>
            </a:r>
            <a:r>
              <a:rPr lang="fr-FR" sz="900" b="1" baseline="0" dirty="0">
                <a:solidFill>
                  <a:schemeClr val="tx2"/>
                </a:solidFill>
                <a:latin typeface="Arial" panose="020B0604020202020204" pitchFamily="34" charset="0"/>
                <a:cs typeface="Arial" panose="020B0604020202020204" pitchFamily="34" charset="0"/>
              </a:rPr>
              <a:t>Mise en forme de l’arrière-plan</a:t>
            </a:r>
            <a:endParaRPr lang="fr-FR" sz="900" b="0" baseline="0" dirty="0">
              <a:solidFill>
                <a:schemeClr val="tx2"/>
              </a:solidFill>
              <a:latin typeface="Arial" panose="020B0604020202020204" pitchFamily="34" charset="0"/>
              <a:cs typeface="Arial" panose="020B0604020202020204" pitchFamily="34" charset="0"/>
            </a:endParaRPr>
          </a:p>
          <a:p>
            <a:pPr marL="228600" indent="-228600">
              <a:spcBef>
                <a:spcPts val="200"/>
              </a:spcBef>
              <a:buAutoNum type="arabicPeriod"/>
            </a:pPr>
            <a:r>
              <a:rPr lang="fr-FR" sz="900" b="0" baseline="0" dirty="0">
                <a:solidFill>
                  <a:schemeClr val="tx2"/>
                </a:solidFill>
                <a:latin typeface="Arial" panose="020B0604020202020204" pitchFamily="34" charset="0"/>
                <a:cs typeface="Arial" panose="020B0604020202020204" pitchFamily="34" charset="0"/>
              </a:rPr>
              <a:t>Dans la fenêtre Remplissage, choisissez </a:t>
            </a:r>
            <a:r>
              <a:rPr lang="fr-FR" sz="900" b="1" baseline="0" dirty="0">
                <a:solidFill>
                  <a:schemeClr val="tx2"/>
                </a:solidFill>
                <a:latin typeface="Arial" panose="020B0604020202020204" pitchFamily="34" charset="0"/>
                <a:cs typeface="Arial" panose="020B0604020202020204" pitchFamily="34" charset="0"/>
              </a:rPr>
              <a:t>Remplissage avec image ou texture</a:t>
            </a:r>
            <a:r>
              <a:rPr lang="fr-FR" sz="900" b="0" baseline="0" dirty="0">
                <a:solidFill>
                  <a:schemeClr val="tx2"/>
                </a:solidFill>
                <a:latin typeface="Arial" panose="020B0604020202020204" pitchFamily="34" charset="0"/>
                <a:cs typeface="Arial" panose="020B0604020202020204" pitchFamily="34" charset="0"/>
              </a:rPr>
              <a:t> puis cliquez sur </a:t>
            </a:r>
            <a:r>
              <a:rPr lang="fr-FR" sz="900" b="1" baseline="0" dirty="0">
                <a:solidFill>
                  <a:schemeClr val="tx2"/>
                </a:solidFill>
                <a:latin typeface="Arial" panose="020B0604020202020204" pitchFamily="34" charset="0"/>
                <a:cs typeface="Arial" panose="020B0604020202020204" pitchFamily="34" charset="0"/>
              </a:rPr>
              <a:t>Insérer à partir de : Fichier</a:t>
            </a:r>
          </a:p>
          <a:p>
            <a:pPr marL="228600" indent="-228600">
              <a:spcBef>
                <a:spcPts val="200"/>
              </a:spcBef>
              <a:buAutoNum type="arabicPeriod"/>
            </a:pPr>
            <a:r>
              <a:rPr lang="fr-FR" sz="900" b="0" baseline="0" dirty="0">
                <a:solidFill>
                  <a:schemeClr val="tx2"/>
                </a:solidFill>
                <a:latin typeface="Arial" panose="020B0604020202020204" pitchFamily="34" charset="0"/>
                <a:cs typeface="Arial" panose="020B0604020202020204" pitchFamily="34" charset="0"/>
              </a:rPr>
              <a:t>Sélectionnez votre image puis cliquez sur </a:t>
            </a:r>
            <a:r>
              <a:rPr lang="fr-FR" sz="900" b="1" baseline="0" dirty="0">
                <a:solidFill>
                  <a:schemeClr val="tx2"/>
                </a:solidFill>
                <a:latin typeface="Arial" panose="020B0604020202020204" pitchFamily="34" charset="0"/>
                <a:cs typeface="Arial" panose="020B0604020202020204" pitchFamily="34" charset="0"/>
              </a:rPr>
              <a:t>Fermer</a:t>
            </a:r>
            <a:endParaRPr lang="fr-FR" sz="900" baseline="0" dirty="0">
              <a:solidFill>
                <a:schemeClr val="tx2"/>
              </a:solidFill>
              <a:latin typeface="Arial" panose="020B0604020202020204" pitchFamily="34" charset="0"/>
              <a:cs typeface="Arial" panose="020B0604020202020204" pitchFamily="34" charset="0"/>
            </a:endParaRPr>
          </a:p>
        </p:txBody>
      </p:sp>
      <p:grpSp>
        <p:nvGrpSpPr>
          <p:cNvPr id="17" name="Groupe 18"/>
          <p:cNvGrpSpPr/>
          <p:nvPr/>
        </p:nvGrpSpPr>
        <p:grpSpPr>
          <a:xfrm flipH="1">
            <a:off x="12384605" y="2667486"/>
            <a:ext cx="144016" cy="2828439"/>
            <a:chOff x="-252536" y="0"/>
            <a:chExt cx="144016" cy="2828439"/>
          </a:xfrm>
        </p:grpSpPr>
        <p:cxnSp>
          <p:nvCxnSpPr>
            <p:cNvPr id="18" name="Connecteur droit 21"/>
            <p:cNvCxnSpPr/>
            <p:nvPr/>
          </p:nvCxnSpPr>
          <p:spPr>
            <a:xfrm flipH="1">
              <a:off x="-252536" y="0"/>
              <a:ext cx="0" cy="282843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Connecteur droit 22"/>
            <p:cNvCxnSpPr/>
            <p:nvPr/>
          </p:nvCxnSpPr>
          <p:spPr>
            <a:xfrm flipH="1">
              <a:off x="-252536" y="288032"/>
              <a:ext cx="14401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20" name="Imag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46353" y="4004057"/>
            <a:ext cx="1921932" cy="1444809"/>
          </a:xfrm>
          <a:prstGeom prst="rect">
            <a:avLst/>
          </a:prstGeom>
        </p:spPr>
      </p:pic>
    </p:spTree>
    <p:extLst>
      <p:ext uri="{BB962C8B-B14F-4D97-AF65-F5344CB8AC3E}">
        <p14:creationId xmlns:p14="http://schemas.microsoft.com/office/powerpoint/2010/main" val="23137093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4" name="Picture Placeholder 3"/>
          <p:cNvSpPr>
            <a:spLocks noGrp="1"/>
          </p:cNvSpPr>
          <p:nvPr>
            <p:ph type="pic" sz="quarter" idx="10"/>
          </p:nvPr>
        </p:nvSpPr>
        <p:spPr/>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Graphic elements</a:t>
            </a:r>
            <a:endParaRPr lang="en-GB" dirty="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Colors</a:t>
            </a:r>
            <a:endParaRPr lang="en-GB" dirty="0"/>
          </a:p>
        </p:txBody>
      </p:sp>
      <p:sp>
        <p:nvSpPr>
          <p:cNvPr id="24" name="Rectangle 23"/>
          <p:cNvSpPr/>
          <p:nvPr/>
        </p:nvSpPr>
        <p:spPr>
          <a:xfrm>
            <a:off x="227013" y="1462467"/>
            <a:ext cx="1101730" cy="9275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Capgemini Blue</a:t>
            </a:r>
          </a:p>
          <a:p>
            <a:pPr marL="171450">
              <a:spcAft>
                <a:spcPts val="300"/>
              </a:spcAft>
            </a:pPr>
            <a:r>
              <a:rPr lang="en-GB" sz="900" dirty="0"/>
              <a:t>R 0</a:t>
            </a:r>
          </a:p>
          <a:p>
            <a:pPr marL="171450">
              <a:spcAft>
                <a:spcPts val="300"/>
              </a:spcAft>
            </a:pPr>
            <a:r>
              <a:rPr lang="en-GB" sz="900" dirty="0"/>
              <a:t>G 112</a:t>
            </a:r>
          </a:p>
          <a:p>
            <a:pPr marL="171450">
              <a:spcAft>
                <a:spcPts val="300"/>
              </a:spcAft>
            </a:pPr>
            <a:r>
              <a:rPr lang="en-GB" sz="900" dirty="0"/>
              <a:t>B 173</a:t>
            </a:r>
          </a:p>
        </p:txBody>
      </p:sp>
      <p:sp>
        <p:nvSpPr>
          <p:cNvPr id="25" name="Rectangle 24"/>
          <p:cNvSpPr/>
          <p:nvPr/>
        </p:nvSpPr>
        <p:spPr>
          <a:xfrm>
            <a:off x="1328743" y="1462467"/>
            <a:ext cx="1101730" cy="9275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Vibrant Blue</a:t>
            </a:r>
          </a:p>
          <a:p>
            <a:pPr marL="171450">
              <a:spcAft>
                <a:spcPts val="300"/>
              </a:spcAft>
            </a:pPr>
            <a:r>
              <a:rPr lang="en-GB" sz="900" dirty="0"/>
              <a:t>R 18</a:t>
            </a:r>
          </a:p>
          <a:p>
            <a:pPr marL="171450">
              <a:spcAft>
                <a:spcPts val="300"/>
              </a:spcAft>
            </a:pPr>
            <a:r>
              <a:rPr lang="en-GB" sz="900" dirty="0"/>
              <a:t>G 171</a:t>
            </a:r>
          </a:p>
          <a:p>
            <a:pPr marL="171450">
              <a:spcAft>
                <a:spcPts val="300"/>
              </a:spcAft>
            </a:pPr>
            <a:r>
              <a:rPr lang="en-GB" sz="900" dirty="0"/>
              <a:t>B 219</a:t>
            </a:r>
          </a:p>
        </p:txBody>
      </p:sp>
      <p:sp>
        <p:nvSpPr>
          <p:cNvPr id="26" name="Rectangle 25"/>
          <p:cNvSpPr/>
          <p:nvPr/>
        </p:nvSpPr>
        <p:spPr>
          <a:xfrm>
            <a:off x="2430474" y="1462467"/>
            <a:ext cx="1101730" cy="927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eep Purple</a:t>
            </a:r>
          </a:p>
          <a:p>
            <a:pPr marL="171450">
              <a:spcAft>
                <a:spcPts val="300"/>
              </a:spcAft>
            </a:pPr>
            <a:r>
              <a:rPr lang="en-GB" sz="900" dirty="0"/>
              <a:t>R 43</a:t>
            </a:r>
          </a:p>
          <a:p>
            <a:pPr marL="171450">
              <a:spcAft>
                <a:spcPts val="300"/>
              </a:spcAft>
            </a:pPr>
            <a:r>
              <a:rPr lang="en-GB" sz="900" dirty="0"/>
              <a:t>G 10</a:t>
            </a:r>
          </a:p>
          <a:p>
            <a:pPr marL="171450">
              <a:spcAft>
                <a:spcPts val="300"/>
              </a:spcAft>
            </a:pPr>
            <a:r>
              <a:rPr lang="en-GB" sz="900" dirty="0"/>
              <a:t>B 61</a:t>
            </a:r>
          </a:p>
        </p:txBody>
      </p:sp>
      <p:sp>
        <p:nvSpPr>
          <p:cNvPr id="27" name="Rectangle 26"/>
          <p:cNvSpPr/>
          <p:nvPr/>
        </p:nvSpPr>
        <p:spPr>
          <a:xfrm>
            <a:off x="3532206" y="1462467"/>
            <a:ext cx="1101730" cy="927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Tech Red</a:t>
            </a:r>
          </a:p>
          <a:p>
            <a:pPr marL="171450">
              <a:spcAft>
                <a:spcPts val="300"/>
              </a:spcAft>
            </a:pPr>
            <a:r>
              <a:rPr lang="en-GB" sz="900" dirty="0"/>
              <a:t>R 255</a:t>
            </a:r>
          </a:p>
          <a:p>
            <a:pPr marL="171450">
              <a:spcAft>
                <a:spcPts val="300"/>
              </a:spcAft>
            </a:pPr>
            <a:r>
              <a:rPr lang="en-GB" sz="900" dirty="0"/>
              <a:t>G 48</a:t>
            </a:r>
          </a:p>
          <a:p>
            <a:pPr marL="171450">
              <a:spcAft>
                <a:spcPts val="300"/>
              </a:spcAft>
            </a:pPr>
            <a:r>
              <a:rPr lang="en-GB" sz="900" dirty="0"/>
              <a:t>B 76</a:t>
            </a:r>
          </a:p>
        </p:txBody>
      </p:sp>
      <p:sp>
        <p:nvSpPr>
          <p:cNvPr id="28" name="Rectangle 27"/>
          <p:cNvSpPr/>
          <p:nvPr/>
        </p:nvSpPr>
        <p:spPr>
          <a:xfrm>
            <a:off x="4633935" y="1462467"/>
            <a:ext cx="1101730" cy="9275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Zest Green</a:t>
            </a:r>
          </a:p>
          <a:p>
            <a:pPr marL="171450">
              <a:spcAft>
                <a:spcPts val="300"/>
              </a:spcAft>
            </a:pPr>
            <a:r>
              <a:rPr lang="en-GB" sz="900" dirty="0"/>
              <a:t>R 149</a:t>
            </a:r>
          </a:p>
          <a:p>
            <a:pPr marL="171450">
              <a:spcAft>
                <a:spcPts val="300"/>
              </a:spcAft>
            </a:pPr>
            <a:r>
              <a:rPr lang="en-GB" sz="900" dirty="0"/>
              <a:t>G 230</a:t>
            </a:r>
          </a:p>
          <a:p>
            <a:pPr marL="171450">
              <a:spcAft>
                <a:spcPts val="300"/>
              </a:spcAft>
            </a:pPr>
            <a:r>
              <a:rPr lang="en-GB" sz="900" dirty="0"/>
              <a:t>B 22</a:t>
            </a:r>
          </a:p>
        </p:txBody>
      </p:sp>
      <p:sp>
        <p:nvSpPr>
          <p:cNvPr id="42" name="Rectangle 41"/>
          <p:cNvSpPr/>
          <p:nvPr/>
        </p:nvSpPr>
        <p:spPr>
          <a:xfrm>
            <a:off x="227013" y="1209444"/>
            <a:ext cx="684483"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Primary</a:t>
            </a:r>
          </a:p>
        </p:txBody>
      </p:sp>
      <p:sp>
        <p:nvSpPr>
          <p:cNvPr id="44" name="Rectangle 43"/>
          <p:cNvSpPr/>
          <p:nvPr/>
        </p:nvSpPr>
        <p:spPr>
          <a:xfrm>
            <a:off x="2430474" y="1209444"/>
            <a:ext cx="90249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Secondary</a:t>
            </a:r>
          </a:p>
        </p:txBody>
      </p:sp>
      <p:sp>
        <p:nvSpPr>
          <p:cNvPr id="29" name="Rectangle 28"/>
          <p:cNvSpPr/>
          <p:nvPr/>
        </p:nvSpPr>
        <p:spPr>
          <a:xfrm>
            <a:off x="6024000" y="1462467"/>
            <a:ext cx="1137600" cy="927594"/>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r>
              <a:rPr lang="en-GB" sz="900" b="1" dirty="0"/>
              <a:t>Capgemini Blue</a:t>
            </a:r>
            <a:r>
              <a:rPr lang="en-GB" sz="900" dirty="0"/>
              <a:t> (-50%)</a:t>
            </a:r>
          </a:p>
          <a:p>
            <a:pPr marL="171450">
              <a:spcAft>
                <a:spcPts val="300"/>
              </a:spcAft>
            </a:pPr>
            <a:r>
              <a:rPr lang="en-GB" sz="900" dirty="0"/>
              <a:t>R 128</a:t>
            </a:r>
          </a:p>
          <a:p>
            <a:pPr marL="171450">
              <a:spcAft>
                <a:spcPts val="300"/>
              </a:spcAft>
            </a:pPr>
            <a:r>
              <a:rPr lang="en-GB" sz="900" dirty="0"/>
              <a:t>G 184</a:t>
            </a:r>
          </a:p>
          <a:p>
            <a:pPr marL="171450">
              <a:spcAft>
                <a:spcPts val="300"/>
              </a:spcAft>
            </a:pPr>
            <a:r>
              <a:rPr lang="en-GB" sz="900" dirty="0"/>
              <a:t>B 214</a:t>
            </a:r>
          </a:p>
        </p:txBody>
      </p:sp>
      <p:sp>
        <p:nvSpPr>
          <p:cNvPr id="30" name="Rectangle 29"/>
          <p:cNvSpPr/>
          <p:nvPr/>
        </p:nvSpPr>
        <p:spPr>
          <a:xfrm>
            <a:off x="7161600" y="1462467"/>
            <a:ext cx="1137600" cy="927594"/>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r>
              <a:rPr lang="en-GB" sz="900" b="1" dirty="0"/>
              <a:t>Vibrant Blue</a:t>
            </a:r>
            <a:br>
              <a:rPr lang="en-GB" sz="900" b="1" dirty="0"/>
            </a:br>
            <a:r>
              <a:rPr lang="en-GB" sz="900" dirty="0"/>
              <a:t>(-50%)</a:t>
            </a:r>
          </a:p>
          <a:p>
            <a:pPr marL="171450">
              <a:spcAft>
                <a:spcPts val="300"/>
              </a:spcAft>
            </a:pPr>
            <a:r>
              <a:rPr lang="en-GB" sz="900" dirty="0"/>
              <a:t>R 136</a:t>
            </a:r>
          </a:p>
          <a:p>
            <a:pPr marL="171450">
              <a:spcAft>
                <a:spcPts val="300"/>
              </a:spcAft>
            </a:pPr>
            <a:r>
              <a:rPr lang="en-GB" sz="900" dirty="0"/>
              <a:t>G 213</a:t>
            </a:r>
          </a:p>
          <a:p>
            <a:pPr marL="171450">
              <a:spcAft>
                <a:spcPts val="300"/>
              </a:spcAft>
            </a:pPr>
            <a:r>
              <a:rPr lang="en-GB" sz="900" dirty="0"/>
              <a:t>B 237</a:t>
            </a:r>
          </a:p>
        </p:txBody>
      </p:sp>
      <p:sp>
        <p:nvSpPr>
          <p:cNvPr id="31" name="Rectangle 30"/>
          <p:cNvSpPr/>
          <p:nvPr/>
        </p:nvSpPr>
        <p:spPr>
          <a:xfrm>
            <a:off x="8299198" y="1462467"/>
            <a:ext cx="1137600" cy="927594"/>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Purple</a:t>
            </a:r>
          </a:p>
          <a:p>
            <a:pPr marL="171450">
              <a:spcAft>
                <a:spcPts val="300"/>
              </a:spcAft>
            </a:pPr>
            <a:r>
              <a:rPr lang="en-GB" sz="900" dirty="0"/>
              <a:t>R 109</a:t>
            </a:r>
          </a:p>
          <a:p>
            <a:pPr marL="171450">
              <a:spcAft>
                <a:spcPts val="300"/>
              </a:spcAft>
            </a:pPr>
            <a:r>
              <a:rPr lang="en-GB" sz="900" dirty="0"/>
              <a:t>G 100</a:t>
            </a:r>
          </a:p>
          <a:p>
            <a:pPr marL="171450">
              <a:spcAft>
                <a:spcPts val="300"/>
              </a:spcAft>
            </a:pPr>
            <a:r>
              <a:rPr lang="en-GB" sz="900" dirty="0"/>
              <a:t>B 204</a:t>
            </a:r>
          </a:p>
        </p:txBody>
      </p:sp>
      <p:sp>
        <p:nvSpPr>
          <p:cNvPr id="32" name="Rectangle 31"/>
          <p:cNvSpPr/>
          <p:nvPr/>
        </p:nvSpPr>
        <p:spPr>
          <a:xfrm>
            <a:off x="9436799" y="1462467"/>
            <a:ext cx="1137600" cy="927594"/>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Orange</a:t>
            </a:r>
          </a:p>
          <a:p>
            <a:pPr marL="171450">
              <a:spcAft>
                <a:spcPts val="300"/>
              </a:spcAft>
            </a:pPr>
            <a:r>
              <a:rPr lang="en-GB" sz="900" dirty="0"/>
              <a:t>R 255</a:t>
            </a:r>
          </a:p>
          <a:p>
            <a:pPr marL="171450">
              <a:spcAft>
                <a:spcPts val="300"/>
              </a:spcAft>
            </a:pPr>
            <a:r>
              <a:rPr lang="en-GB" sz="900" dirty="0"/>
              <a:t>G 99</a:t>
            </a:r>
          </a:p>
          <a:p>
            <a:pPr marL="171450">
              <a:spcAft>
                <a:spcPts val="300"/>
              </a:spcAft>
            </a:pPr>
            <a:r>
              <a:rPr lang="en-GB" sz="900" dirty="0"/>
              <a:t>B 39</a:t>
            </a:r>
          </a:p>
        </p:txBody>
      </p:sp>
      <p:sp>
        <p:nvSpPr>
          <p:cNvPr id="33" name="Rectangle 32"/>
          <p:cNvSpPr/>
          <p:nvPr/>
        </p:nvSpPr>
        <p:spPr>
          <a:xfrm>
            <a:off x="10574400" y="1462467"/>
            <a:ext cx="1137600" cy="927594"/>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Green</a:t>
            </a:r>
          </a:p>
          <a:p>
            <a:pPr marL="171450">
              <a:spcAft>
                <a:spcPts val="300"/>
              </a:spcAft>
            </a:pPr>
            <a:r>
              <a:rPr lang="en-GB" sz="900" dirty="0"/>
              <a:t>R 200</a:t>
            </a:r>
          </a:p>
          <a:p>
            <a:pPr marL="171450">
              <a:spcAft>
                <a:spcPts val="300"/>
              </a:spcAft>
            </a:pPr>
            <a:r>
              <a:rPr lang="en-GB" sz="900" dirty="0"/>
              <a:t>G 255</a:t>
            </a:r>
          </a:p>
          <a:p>
            <a:pPr marL="171450">
              <a:spcAft>
                <a:spcPts val="300"/>
              </a:spcAft>
            </a:pPr>
            <a:r>
              <a:rPr lang="en-GB" sz="900" dirty="0"/>
              <a:t>B 22</a:t>
            </a:r>
          </a:p>
        </p:txBody>
      </p:sp>
      <p:sp>
        <p:nvSpPr>
          <p:cNvPr id="34" name="Rectangle 33"/>
          <p:cNvSpPr/>
          <p:nvPr/>
        </p:nvSpPr>
        <p:spPr>
          <a:xfrm>
            <a:off x="8299198" y="2390062"/>
            <a:ext cx="1137600" cy="92759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Purple</a:t>
            </a:r>
          </a:p>
          <a:p>
            <a:pPr marL="171450">
              <a:spcAft>
                <a:spcPts val="300"/>
              </a:spcAft>
            </a:pPr>
            <a:r>
              <a:rPr lang="en-GB" sz="900" dirty="0"/>
              <a:t>R 126</a:t>
            </a:r>
          </a:p>
          <a:p>
            <a:pPr marL="171450">
              <a:spcAft>
                <a:spcPts val="300"/>
              </a:spcAft>
            </a:pPr>
            <a:r>
              <a:rPr lang="en-GB" sz="900" dirty="0"/>
              <a:t>G 57</a:t>
            </a:r>
          </a:p>
          <a:p>
            <a:pPr marL="171450">
              <a:spcAft>
                <a:spcPts val="300"/>
              </a:spcAft>
            </a:pPr>
            <a:r>
              <a:rPr lang="en-GB" sz="900" dirty="0"/>
              <a:t>B 186</a:t>
            </a:r>
          </a:p>
        </p:txBody>
      </p:sp>
      <p:sp>
        <p:nvSpPr>
          <p:cNvPr id="35" name="Rectangle 34"/>
          <p:cNvSpPr/>
          <p:nvPr/>
        </p:nvSpPr>
        <p:spPr>
          <a:xfrm>
            <a:off x="10574400" y="2390062"/>
            <a:ext cx="1137600" cy="92759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Green</a:t>
            </a:r>
          </a:p>
          <a:p>
            <a:pPr marL="171450">
              <a:spcAft>
                <a:spcPts val="300"/>
              </a:spcAft>
            </a:pPr>
            <a:r>
              <a:rPr lang="en-GB" sz="900" dirty="0"/>
              <a:t>R 0</a:t>
            </a:r>
          </a:p>
          <a:p>
            <a:pPr marL="171450">
              <a:spcAft>
                <a:spcPts val="300"/>
              </a:spcAft>
            </a:pPr>
            <a:r>
              <a:rPr lang="en-GB" sz="900" dirty="0"/>
              <a:t>G 195</a:t>
            </a:r>
          </a:p>
          <a:p>
            <a:pPr marL="171450">
              <a:spcAft>
                <a:spcPts val="300"/>
              </a:spcAft>
            </a:pPr>
            <a:r>
              <a:rPr lang="en-GB" sz="900" dirty="0"/>
              <a:t>B 123</a:t>
            </a:r>
          </a:p>
        </p:txBody>
      </p:sp>
      <p:sp>
        <p:nvSpPr>
          <p:cNvPr id="36" name="Rectangle 35"/>
          <p:cNvSpPr/>
          <p:nvPr/>
        </p:nvSpPr>
        <p:spPr>
          <a:xfrm>
            <a:off x="10574400" y="5165406"/>
            <a:ext cx="1137600" cy="927594"/>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ark Green</a:t>
            </a:r>
          </a:p>
          <a:p>
            <a:pPr marL="171450">
              <a:spcAft>
                <a:spcPts val="300"/>
              </a:spcAft>
            </a:pPr>
            <a:r>
              <a:rPr lang="en-GB" sz="900" dirty="0"/>
              <a:t>R 21</a:t>
            </a:r>
          </a:p>
          <a:p>
            <a:pPr marL="171450">
              <a:spcAft>
                <a:spcPts val="300"/>
              </a:spcAft>
            </a:pPr>
            <a:r>
              <a:rPr lang="en-GB" sz="900" dirty="0"/>
              <a:t>G 99</a:t>
            </a:r>
          </a:p>
          <a:p>
            <a:pPr marL="171450">
              <a:spcAft>
                <a:spcPts val="300"/>
              </a:spcAft>
            </a:pPr>
            <a:r>
              <a:rPr lang="en-GB" sz="900" dirty="0"/>
              <a:t>B 107</a:t>
            </a:r>
          </a:p>
        </p:txBody>
      </p:sp>
      <p:sp>
        <p:nvSpPr>
          <p:cNvPr id="37" name="Rectangle 36"/>
          <p:cNvSpPr/>
          <p:nvPr/>
        </p:nvSpPr>
        <p:spPr>
          <a:xfrm>
            <a:off x="10574400" y="4241530"/>
            <a:ext cx="1137600" cy="92759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Aqua</a:t>
            </a:r>
          </a:p>
          <a:p>
            <a:pPr marL="171450">
              <a:spcAft>
                <a:spcPts val="300"/>
              </a:spcAft>
            </a:pPr>
            <a:r>
              <a:rPr lang="en-GB" sz="900" dirty="0"/>
              <a:t>R 15</a:t>
            </a:r>
          </a:p>
          <a:p>
            <a:pPr marL="171450">
              <a:spcAft>
                <a:spcPts val="300"/>
              </a:spcAft>
            </a:pPr>
            <a:r>
              <a:rPr lang="en-GB" sz="900" dirty="0"/>
              <a:t>G 153</a:t>
            </a:r>
          </a:p>
          <a:p>
            <a:pPr marL="171450">
              <a:spcAft>
                <a:spcPts val="300"/>
              </a:spcAft>
            </a:pPr>
            <a:r>
              <a:rPr lang="en-GB" sz="900" dirty="0"/>
              <a:t>B 156</a:t>
            </a:r>
          </a:p>
        </p:txBody>
      </p:sp>
      <p:sp>
        <p:nvSpPr>
          <p:cNvPr id="38" name="Rectangle 37"/>
          <p:cNvSpPr/>
          <p:nvPr/>
        </p:nvSpPr>
        <p:spPr>
          <a:xfrm>
            <a:off x="10574400" y="3317656"/>
            <a:ext cx="1137600" cy="927594"/>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Aqua</a:t>
            </a:r>
          </a:p>
          <a:p>
            <a:pPr marL="171450">
              <a:spcAft>
                <a:spcPts val="300"/>
              </a:spcAft>
            </a:pPr>
            <a:r>
              <a:rPr lang="en-GB" sz="900" dirty="0"/>
              <a:t>R 1</a:t>
            </a:r>
          </a:p>
          <a:p>
            <a:pPr marL="171450">
              <a:spcAft>
                <a:spcPts val="300"/>
              </a:spcAft>
            </a:pPr>
            <a:r>
              <a:rPr lang="en-GB" sz="900" dirty="0"/>
              <a:t>G 209</a:t>
            </a:r>
          </a:p>
          <a:p>
            <a:pPr marL="171450">
              <a:spcAft>
                <a:spcPts val="300"/>
              </a:spcAft>
            </a:pPr>
            <a:r>
              <a:rPr lang="en-GB" sz="900" dirty="0"/>
              <a:t>B 208</a:t>
            </a:r>
          </a:p>
        </p:txBody>
      </p:sp>
      <p:sp>
        <p:nvSpPr>
          <p:cNvPr id="39" name="Rectangle 38"/>
          <p:cNvSpPr/>
          <p:nvPr/>
        </p:nvSpPr>
        <p:spPr>
          <a:xfrm>
            <a:off x="9436799" y="2390062"/>
            <a:ext cx="1137600" cy="927594"/>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Peach</a:t>
            </a:r>
          </a:p>
          <a:p>
            <a:pPr marL="171450">
              <a:spcAft>
                <a:spcPts val="300"/>
              </a:spcAft>
            </a:pPr>
            <a:r>
              <a:rPr lang="en-GB" sz="900" dirty="0"/>
              <a:t>R 255</a:t>
            </a:r>
          </a:p>
          <a:p>
            <a:pPr marL="171450">
              <a:spcAft>
                <a:spcPts val="300"/>
              </a:spcAft>
            </a:pPr>
            <a:r>
              <a:rPr lang="en-GB" sz="900" dirty="0"/>
              <a:t>G 126</a:t>
            </a:r>
          </a:p>
          <a:p>
            <a:pPr marL="171450">
              <a:spcAft>
                <a:spcPts val="300"/>
              </a:spcAft>
            </a:pPr>
            <a:r>
              <a:rPr lang="en-GB" sz="900" dirty="0"/>
              <a:t>B 131</a:t>
            </a:r>
          </a:p>
        </p:txBody>
      </p:sp>
      <p:sp>
        <p:nvSpPr>
          <p:cNvPr id="40" name="Rectangle 39"/>
          <p:cNvSpPr/>
          <p:nvPr/>
        </p:nvSpPr>
        <p:spPr>
          <a:xfrm>
            <a:off x="9436799" y="3317656"/>
            <a:ext cx="1137600" cy="927594"/>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Light Claret</a:t>
            </a:r>
          </a:p>
          <a:p>
            <a:pPr marL="171450">
              <a:spcAft>
                <a:spcPts val="300"/>
              </a:spcAft>
            </a:pPr>
            <a:r>
              <a:rPr lang="en-GB" sz="900" dirty="0"/>
              <a:t>R 203</a:t>
            </a:r>
          </a:p>
          <a:p>
            <a:pPr marL="171450">
              <a:spcAft>
                <a:spcPts val="300"/>
              </a:spcAft>
            </a:pPr>
            <a:r>
              <a:rPr lang="en-GB" sz="900" dirty="0"/>
              <a:t>G 41</a:t>
            </a:r>
          </a:p>
          <a:p>
            <a:pPr marL="171450">
              <a:spcAft>
                <a:spcPts val="300"/>
              </a:spcAft>
            </a:pPr>
            <a:r>
              <a:rPr lang="en-GB" sz="900" dirty="0"/>
              <a:t>B 128</a:t>
            </a:r>
          </a:p>
        </p:txBody>
      </p:sp>
      <p:sp>
        <p:nvSpPr>
          <p:cNvPr id="41" name="Rectangle 40"/>
          <p:cNvSpPr/>
          <p:nvPr/>
        </p:nvSpPr>
        <p:spPr>
          <a:xfrm>
            <a:off x="9436799" y="4241530"/>
            <a:ext cx="1137600" cy="92759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Claret</a:t>
            </a:r>
          </a:p>
          <a:p>
            <a:pPr marL="171450">
              <a:spcAft>
                <a:spcPts val="300"/>
              </a:spcAft>
            </a:pPr>
            <a:r>
              <a:rPr lang="en-GB" sz="900" dirty="0"/>
              <a:t>R 134</a:t>
            </a:r>
          </a:p>
          <a:p>
            <a:pPr marL="171450">
              <a:spcAft>
                <a:spcPts val="300"/>
              </a:spcAft>
            </a:pPr>
            <a:r>
              <a:rPr lang="en-GB" sz="900" dirty="0"/>
              <a:t>G 8</a:t>
            </a:r>
          </a:p>
          <a:p>
            <a:pPr marL="171450">
              <a:spcAft>
                <a:spcPts val="300"/>
              </a:spcAft>
            </a:pPr>
            <a:r>
              <a:rPr lang="en-GB" sz="900" dirty="0"/>
              <a:t>B 100</a:t>
            </a:r>
          </a:p>
        </p:txBody>
      </p:sp>
      <p:sp>
        <p:nvSpPr>
          <p:cNvPr id="43" name="Rectangle 42"/>
          <p:cNvSpPr/>
          <p:nvPr/>
        </p:nvSpPr>
        <p:spPr>
          <a:xfrm>
            <a:off x="6024000" y="1211491"/>
            <a:ext cx="1429879"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Infographic only</a:t>
            </a:r>
          </a:p>
        </p:txBody>
      </p:sp>
      <p:sp>
        <p:nvSpPr>
          <p:cNvPr id="45" name="Rectangle 44"/>
          <p:cNvSpPr/>
          <p:nvPr/>
        </p:nvSpPr>
        <p:spPr>
          <a:xfrm>
            <a:off x="8299198" y="3317656"/>
            <a:ext cx="1137600" cy="927594"/>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ark Purple</a:t>
            </a:r>
          </a:p>
          <a:p>
            <a:pPr marL="171450">
              <a:spcAft>
                <a:spcPts val="300"/>
              </a:spcAft>
            </a:pPr>
            <a:r>
              <a:rPr lang="en-GB" sz="900" dirty="0"/>
              <a:t>R 71</a:t>
            </a:r>
          </a:p>
          <a:p>
            <a:pPr marL="171450">
              <a:spcAft>
                <a:spcPts val="300"/>
              </a:spcAft>
            </a:pPr>
            <a:r>
              <a:rPr lang="en-GB" sz="900" dirty="0"/>
              <a:t>G 1</a:t>
            </a:r>
          </a:p>
          <a:p>
            <a:pPr marL="171450">
              <a:spcAft>
                <a:spcPts val="300"/>
              </a:spcAft>
            </a:pPr>
            <a:r>
              <a:rPr lang="en-GB" sz="900" dirty="0"/>
              <a:t>B 167</a:t>
            </a:r>
          </a:p>
        </p:txBody>
      </p:sp>
    </p:spTree>
    <p:extLst>
      <p:ext uri="{BB962C8B-B14F-4D97-AF65-F5344CB8AC3E}">
        <p14:creationId xmlns:p14="http://schemas.microsoft.com/office/powerpoint/2010/main" val="40020089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Infographics</a:t>
            </a:r>
            <a:r>
              <a:rPr lang="en-GB" dirty="0"/>
              <a:t> </a:t>
            </a:r>
            <a:r>
              <a:rPr lang="en-GB" dirty="0" err="1"/>
              <a:t>color</a:t>
            </a:r>
            <a:r>
              <a:rPr lang="en-GB" dirty="0"/>
              <a:t> groups </a:t>
            </a:r>
          </a:p>
        </p:txBody>
      </p:sp>
      <p:sp>
        <p:nvSpPr>
          <p:cNvPr id="71117" name="Freeform 461"/>
          <p:cNvSpPr>
            <a:spLocks/>
          </p:cNvSpPr>
          <p:nvPr/>
        </p:nvSpPr>
        <p:spPr bwMode="auto">
          <a:xfrm>
            <a:off x="7659350" y="4143950"/>
            <a:ext cx="31437" cy="958839"/>
          </a:xfrm>
          <a:custGeom>
            <a:avLst/>
            <a:gdLst/>
            <a:ahLst/>
            <a:cxnLst>
              <a:cxn ang="0">
                <a:pos x="9" y="274"/>
              </a:cxn>
              <a:cxn ang="0">
                <a:pos x="0" y="0"/>
              </a:cxn>
              <a:cxn ang="0">
                <a:pos x="9" y="0"/>
              </a:cxn>
              <a:cxn ang="0">
                <a:pos x="9" y="274"/>
              </a:cxn>
            </a:cxnLst>
            <a:rect l="0" t="0" r="r" b="b"/>
            <a:pathLst>
              <a:path w="9" h="274">
                <a:moveTo>
                  <a:pt x="9" y="274"/>
                </a:moveTo>
                <a:cubicBezTo>
                  <a:pt x="0" y="0"/>
                  <a:pt x="0" y="0"/>
                  <a:pt x="0" y="0"/>
                </a:cubicBezTo>
                <a:cubicBezTo>
                  <a:pt x="3" y="0"/>
                  <a:pt x="6" y="0"/>
                  <a:pt x="9" y="0"/>
                </a:cubicBezTo>
                <a:lnTo>
                  <a:pt x="9" y="274"/>
                </a:lnTo>
                <a:close/>
              </a:path>
            </a:pathLst>
          </a:custGeom>
          <a:solidFill>
            <a:srgbClr val="B9D53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18" name="Freeform 462"/>
          <p:cNvSpPr>
            <a:spLocks/>
          </p:cNvSpPr>
          <p:nvPr/>
        </p:nvSpPr>
        <p:spPr bwMode="auto">
          <a:xfrm>
            <a:off x="7526615" y="4143950"/>
            <a:ext cx="164173" cy="958839"/>
          </a:xfrm>
          <a:custGeom>
            <a:avLst/>
            <a:gdLst/>
            <a:ahLst/>
            <a:cxnLst>
              <a:cxn ang="0">
                <a:pos x="47" y="274"/>
              </a:cxn>
              <a:cxn ang="0">
                <a:pos x="0" y="4"/>
              </a:cxn>
              <a:cxn ang="0">
                <a:pos x="38" y="0"/>
              </a:cxn>
              <a:cxn ang="0">
                <a:pos x="47" y="274"/>
              </a:cxn>
            </a:cxnLst>
            <a:rect l="0" t="0" r="r" b="b"/>
            <a:pathLst>
              <a:path w="47" h="274">
                <a:moveTo>
                  <a:pt x="47" y="274"/>
                </a:moveTo>
                <a:cubicBezTo>
                  <a:pt x="0" y="4"/>
                  <a:pt x="0" y="4"/>
                  <a:pt x="0" y="4"/>
                </a:cubicBezTo>
                <a:cubicBezTo>
                  <a:pt x="13" y="2"/>
                  <a:pt x="25" y="1"/>
                  <a:pt x="38" y="0"/>
                </a:cubicBezTo>
                <a:lnTo>
                  <a:pt x="47" y="274"/>
                </a:lnTo>
                <a:close/>
              </a:path>
            </a:pathLst>
          </a:custGeom>
          <a:solidFill>
            <a:srgbClr val="1A9C9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19" name="Freeform 463"/>
          <p:cNvSpPr>
            <a:spLocks/>
          </p:cNvSpPr>
          <p:nvPr/>
        </p:nvSpPr>
        <p:spPr bwMode="auto">
          <a:xfrm>
            <a:off x="7334498" y="4157923"/>
            <a:ext cx="356290" cy="944867"/>
          </a:xfrm>
          <a:custGeom>
            <a:avLst/>
            <a:gdLst/>
            <a:ahLst/>
            <a:cxnLst>
              <a:cxn ang="0">
                <a:pos x="102" y="270"/>
              </a:cxn>
              <a:cxn ang="0">
                <a:pos x="0" y="16"/>
              </a:cxn>
              <a:cxn ang="0">
                <a:pos x="55" y="0"/>
              </a:cxn>
              <a:cxn ang="0">
                <a:pos x="102" y="270"/>
              </a:cxn>
            </a:cxnLst>
            <a:rect l="0" t="0" r="r" b="b"/>
            <a:pathLst>
              <a:path w="102" h="270">
                <a:moveTo>
                  <a:pt x="102" y="270"/>
                </a:moveTo>
                <a:cubicBezTo>
                  <a:pt x="0" y="16"/>
                  <a:pt x="0" y="16"/>
                  <a:pt x="0" y="16"/>
                </a:cubicBezTo>
                <a:cubicBezTo>
                  <a:pt x="18" y="9"/>
                  <a:pt x="35" y="4"/>
                  <a:pt x="55" y="0"/>
                </a:cubicBezTo>
                <a:lnTo>
                  <a:pt x="102" y="270"/>
                </a:lnTo>
                <a:close/>
              </a:path>
            </a:pathLst>
          </a:custGeom>
          <a:solidFill>
            <a:srgbClr val="3CC0C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0" name="Freeform 464"/>
          <p:cNvSpPr>
            <a:spLocks/>
          </p:cNvSpPr>
          <p:nvPr/>
        </p:nvSpPr>
        <p:spPr bwMode="auto">
          <a:xfrm>
            <a:off x="7103957" y="4213811"/>
            <a:ext cx="586830" cy="888979"/>
          </a:xfrm>
          <a:custGeom>
            <a:avLst/>
            <a:gdLst/>
            <a:ahLst/>
            <a:cxnLst>
              <a:cxn ang="0">
                <a:pos x="168" y="254"/>
              </a:cxn>
              <a:cxn ang="0">
                <a:pos x="0" y="38"/>
              </a:cxn>
              <a:cxn ang="0">
                <a:pos x="66" y="0"/>
              </a:cxn>
              <a:cxn ang="0">
                <a:pos x="168" y="254"/>
              </a:cxn>
            </a:cxnLst>
            <a:rect l="0" t="0" r="r" b="b"/>
            <a:pathLst>
              <a:path w="168" h="254">
                <a:moveTo>
                  <a:pt x="168" y="254"/>
                </a:moveTo>
                <a:cubicBezTo>
                  <a:pt x="0" y="38"/>
                  <a:pt x="0" y="38"/>
                  <a:pt x="0" y="38"/>
                </a:cubicBezTo>
                <a:cubicBezTo>
                  <a:pt x="21" y="22"/>
                  <a:pt x="41" y="10"/>
                  <a:pt x="66" y="0"/>
                </a:cubicBezTo>
                <a:lnTo>
                  <a:pt x="168" y="254"/>
                </a:lnTo>
                <a:close/>
              </a:path>
            </a:pathLst>
          </a:custGeom>
          <a:solidFill>
            <a:srgbClr val="38B88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1" name="Freeform 465"/>
          <p:cNvSpPr>
            <a:spLocks/>
          </p:cNvSpPr>
          <p:nvPr/>
        </p:nvSpPr>
        <p:spPr bwMode="auto">
          <a:xfrm>
            <a:off x="6847219" y="4348293"/>
            <a:ext cx="843569" cy="754496"/>
          </a:xfrm>
          <a:custGeom>
            <a:avLst/>
            <a:gdLst/>
            <a:ahLst/>
            <a:cxnLst>
              <a:cxn ang="0">
                <a:pos x="241" y="216"/>
              </a:cxn>
              <a:cxn ang="0">
                <a:pos x="0" y="87"/>
              </a:cxn>
              <a:cxn ang="0">
                <a:pos x="73" y="0"/>
              </a:cxn>
              <a:cxn ang="0">
                <a:pos x="241" y="216"/>
              </a:cxn>
            </a:cxnLst>
            <a:rect l="0" t="0" r="r" b="b"/>
            <a:pathLst>
              <a:path w="241" h="216">
                <a:moveTo>
                  <a:pt x="241" y="216"/>
                </a:moveTo>
                <a:cubicBezTo>
                  <a:pt x="0" y="87"/>
                  <a:pt x="0" y="87"/>
                  <a:pt x="0" y="87"/>
                </a:cubicBezTo>
                <a:cubicBezTo>
                  <a:pt x="19" y="52"/>
                  <a:pt x="42" y="25"/>
                  <a:pt x="73" y="0"/>
                </a:cubicBezTo>
                <a:lnTo>
                  <a:pt x="241" y="216"/>
                </a:lnTo>
                <a:close/>
              </a:path>
            </a:pathLst>
          </a:custGeom>
          <a:solidFill>
            <a:srgbClr val="135B6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2" name="Freeform 466"/>
          <p:cNvSpPr>
            <a:spLocks/>
          </p:cNvSpPr>
          <p:nvPr/>
        </p:nvSpPr>
        <p:spPr bwMode="auto">
          <a:xfrm>
            <a:off x="6714484" y="4652187"/>
            <a:ext cx="976305" cy="583337"/>
          </a:xfrm>
          <a:custGeom>
            <a:avLst/>
            <a:gdLst/>
            <a:ahLst/>
            <a:cxnLst>
              <a:cxn ang="0">
                <a:pos x="279" y="129"/>
              </a:cxn>
              <a:cxn ang="0">
                <a:pos x="9" y="167"/>
              </a:cxn>
              <a:cxn ang="0">
                <a:pos x="38" y="0"/>
              </a:cxn>
              <a:cxn ang="0">
                <a:pos x="279" y="129"/>
              </a:cxn>
            </a:cxnLst>
            <a:rect l="0" t="0" r="r" b="b"/>
            <a:pathLst>
              <a:path w="279" h="167">
                <a:moveTo>
                  <a:pt x="279" y="129"/>
                </a:moveTo>
                <a:cubicBezTo>
                  <a:pt x="9" y="167"/>
                  <a:pt x="9" y="167"/>
                  <a:pt x="9" y="167"/>
                </a:cubicBezTo>
                <a:cubicBezTo>
                  <a:pt x="0" y="107"/>
                  <a:pt x="10" y="53"/>
                  <a:pt x="38" y="0"/>
                </a:cubicBezTo>
                <a:lnTo>
                  <a:pt x="279" y="129"/>
                </a:lnTo>
                <a:close/>
              </a:path>
            </a:pathLst>
          </a:custGeom>
          <a:solidFill>
            <a:srgbClr val="77CFE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3" name="Freeform 467"/>
          <p:cNvSpPr>
            <a:spLocks/>
          </p:cNvSpPr>
          <p:nvPr/>
        </p:nvSpPr>
        <p:spPr bwMode="auto">
          <a:xfrm>
            <a:off x="6745921" y="5102789"/>
            <a:ext cx="944867" cy="752750"/>
          </a:xfrm>
          <a:custGeom>
            <a:avLst/>
            <a:gdLst/>
            <a:ahLst/>
            <a:cxnLst>
              <a:cxn ang="0">
                <a:pos x="270" y="0"/>
              </a:cxn>
              <a:cxn ang="0">
                <a:pos x="102" y="215"/>
              </a:cxn>
              <a:cxn ang="0">
                <a:pos x="0" y="38"/>
              </a:cxn>
              <a:cxn ang="0">
                <a:pos x="270" y="0"/>
              </a:cxn>
            </a:cxnLst>
            <a:rect l="0" t="0" r="r" b="b"/>
            <a:pathLst>
              <a:path w="270" h="215">
                <a:moveTo>
                  <a:pt x="270" y="0"/>
                </a:moveTo>
                <a:cubicBezTo>
                  <a:pt x="102" y="215"/>
                  <a:pt x="102" y="215"/>
                  <a:pt x="102" y="215"/>
                </a:cubicBezTo>
                <a:cubicBezTo>
                  <a:pt x="44" y="170"/>
                  <a:pt x="10" y="110"/>
                  <a:pt x="0" y="38"/>
                </a:cubicBezTo>
                <a:lnTo>
                  <a:pt x="270" y="0"/>
                </a:lnTo>
                <a:close/>
              </a:path>
            </a:pathLst>
          </a:custGeom>
          <a:solidFill>
            <a:srgbClr val="75B3D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4" name="Freeform 468"/>
          <p:cNvSpPr>
            <a:spLocks/>
          </p:cNvSpPr>
          <p:nvPr/>
        </p:nvSpPr>
        <p:spPr bwMode="auto">
          <a:xfrm>
            <a:off x="7103957" y="5102789"/>
            <a:ext cx="866274" cy="1007742"/>
          </a:xfrm>
          <a:custGeom>
            <a:avLst/>
            <a:gdLst/>
            <a:ahLst/>
            <a:cxnLst>
              <a:cxn ang="0">
                <a:pos x="168" y="0"/>
              </a:cxn>
              <a:cxn ang="0">
                <a:pos x="248" y="261"/>
              </a:cxn>
              <a:cxn ang="0">
                <a:pos x="0" y="215"/>
              </a:cxn>
              <a:cxn ang="0">
                <a:pos x="168" y="0"/>
              </a:cxn>
            </a:cxnLst>
            <a:rect l="0" t="0" r="r" b="b"/>
            <a:pathLst>
              <a:path w="248" h="288">
                <a:moveTo>
                  <a:pt x="168" y="0"/>
                </a:moveTo>
                <a:cubicBezTo>
                  <a:pt x="248" y="261"/>
                  <a:pt x="248" y="261"/>
                  <a:pt x="248" y="261"/>
                </a:cubicBezTo>
                <a:cubicBezTo>
                  <a:pt x="159" y="288"/>
                  <a:pt x="74" y="273"/>
                  <a:pt x="0" y="215"/>
                </a:cubicBezTo>
                <a:lnTo>
                  <a:pt x="168" y="0"/>
                </a:lnTo>
                <a:close/>
              </a:path>
            </a:pathLst>
          </a:custGeom>
          <a:solidFill>
            <a:srgbClr val="00ADD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5" name="Freeform 469"/>
          <p:cNvSpPr>
            <a:spLocks/>
          </p:cNvSpPr>
          <p:nvPr/>
        </p:nvSpPr>
        <p:spPr bwMode="auto">
          <a:xfrm>
            <a:off x="7690788" y="5102789"/>
            <a:ext cx="944867" cy="913430"/>
          </a:xfrm>
          <a:custGeom>
            <a:avLst/>
            <a:gdLst/>
            <a:ahLst/>
            <a:cxnLst>
              <a:cxn ang="0">
                <a:pos x="0" y="0"/>
              </a:cxn>
              <a:cxn ang="0">
                <a:pos x="270" y="42"/>
              </a:cxn>
              <a:cxn ang="0">
                <a:pos x="80" y="261"/>
              </a:cxn>
              <a:cxn ang="0">
                <a:pos x="0" y="0"/>
              </a:cxn>
            </a:cxnLst>
            <a:rect l="0" t="0" r="r" b="b"/>
            <a:pathLst>
              <a:path w="270" h="261">
                <a:moveTo>
                  <a:pt x="0" y="0"/>
                </a:moveTo>
                <a:cubicBezTo>
                  <a:pt x="270" y="42"/>
                  <a:pt x="270" y="42"/>
                  <a:pt x="270" y="42"/>
                </a:cubicBezTo>
                <a:cubicBezTo>
                  <a:pt x="254" y="148"/>
                  <a:pt x="182" y="230"/>
                  <a:pt x="80" y="261"/>
                </a:cubicBezTo>
                <a:lnTo>
                  <a:pt x="0" y="0"/>
                </a:lnTo>
                <a:close/>
              </a:path>
            </a:pathLst>
          </a:custGeom>
          <a:solidFill>
            <a:srgbClr val="0475AE"/>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6" name="Freeform 470"/>
          <p:cNvSpPr>
            <a:spLocks/>
          </p:cNvSpPr>
          <p:nvPr/>
        </p:nvSpPr>
        <p:spPr bwMode="auto">
          <a:xfrm>
            <a:off x="7690788" y="4143950"/>
            <a:ext cx="958840" cy="1105547"/>
          </a:xfrm>
          <a:custGeom>
            <a:avLst/>
            <a:gdLst/>
            <a:ahLst/>
            <a:cxnLst>
              <a:cxn ang="0">
                <a:pos x="0" y="274"/>
              </a:cxn>
              <a:cxn ang="0">
                <a:pos x="0" y="0"/>
              </a:cxn>
              <a:cxn ang="0">
                <a:pos x="274" y="274"/>
              </a:cxn>
              <a:cxn ang="0">
                <a:pos x="270" y="316"/>
              </a:cxn>
              <a:cxn ang="0">
                <a:pos x="0" y="274"/>
              </a:cxn>
            </a:cxnLst>
            <a:rect l="0" t="0" r="r" b="b"/>
            <a:pathLst>
              <a:path w="274" h="316">
                <a:moveTo>
                  <a:pt x="0" y="274"/>
                </a:moveTo>
                <a:cubicBezTo>
                  <a:pt x="0" y="0"/>
                  <a:pt x="0" y="0"/>
                  <a:pt x="0" y="0"/>
                </a:cubicBezTo>
                <a:cubicBezTo>
                  <a:pt x="151" y="0"/>
                  <a:pt x="274" y="123"/>
                  <a:pt x="274" y="274"/>
                </a:cubicBezTo>
                <a:cubicBezTo>
                  <a:pt x="274" y="289"/>
                  <a:pt x="273" y="301"/>
                  <a:pt x="270" y="316"/>
                </a:cubicBezTo>
                <a:lnTo>
                  <a:pt x="0" y="274"/>
                </a:lnTo>
                <a:close/>
              </a:path>
            </a:pathLst>
          </a:cu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grpSp>
        <p:nvGrpSpPr>
          <p:cNvPr id="575" name="Group 574"/>
          <p:cNvGrpSpPr/>
          <p:nvPr/>
        </p:nvGrpSpPr>
        <p:grpSpPr>
          <a:xfrm>
            <a:off x="2641600" y="1758162"/>
            <a:ext cx="1168422" cy="881992"/>
            <a:chOff x="2641600" y="1758162"/>
            <a:chExt cx="1168422" cy="881992"/>
          </a:xfrm>
        </p:grpSpPr>
        <p:sp>
          <p:nvSpPr>
            <p:cNvPr id="71127" name="Rectangle 471"/>
            <p:cNvSpPr>
              <a:spLocks noChangeArrowheads="1"/>
            </p:cNvSpPr>
            <p:nvPr/>
          </p:nvSpPr>
          <p:spPr bwMode="auto">
            <a:xfrm>
              <a:off x="2641600" y="1758162"/>
              <a:ext cx="1168422" cy="293415"/>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28" name="Rectangle 472"/>
            <p:cNvSpPr>
              <a:spLocks noChangeArrowheads="1"/>
            </p:cNvSpPr>
            <p:nvPr/>
          </p:nvSpPr>
          <p:spPr bwMode="auto">
            <a:xfrm>
              <a:off x="2641600" y="2051578"/>
              <a:ext cx="583337" cy="295162"/>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
          <p:nvSpPr>
            <p:cNvPr id="71129" name="Rectangle 473"/>
            <p:cNvSpPr>
              <a:spLocks noChangeArrowheads="1"/>
            </p:cNvSpPr>
            <p:nvPr/>
          </p:nvSpPr>
          <p:spPr bwMode="auto">
            <a:xfrm>
              <a:off x="3224937" y="2051578"/>
              <a:ext cx="585084" cy="295162"/>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30" name="Rectangle 474"/>
            <p:cNvSpPr>
              <a:spLocks noChangeArrowheads="1"/>
            </p:cNvSpPr>
            <p:nvPr/>
          </p:nvSpPr>
          <p:spPr bwMode="auto">
            <a:xfrm>
              <a:off x="2641600" y="2346739"/>
              <a:ext cx="583337" cy="293415"/>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
          <p:nvSpPr>
            <p:cNvPr id="71131" name="Rectangle 475"/>
            <p:cNvSpPr>
              <a:spLocks noChangeArrowheads="1"/>
            </p:cNvSpPr>
            <p:nvPr/>
          </p:nvSpPr>
          <p:spPr bwMode="auto">
            <a:xfrm>
              <a:off x="3224937" y="2346739"/>
              <a:ext cx="585084" cy="293415"/>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grpSp>
      <p:sp>
        <p:nvSpPr>
          <p:cNvPr id="71132" name="Rectangle 476"/>
          <p:cNvSpPr>
            <a:spLocks noChangeArrowheads="1"/>
          </p:cNvSpPr>
          <p:nvPr/>
        </p:nvSpPr>
        <p:spPr bwMode="auto">
          <a:xfrm>
            <a:off x="6108441" y="1073527"/>
            <a:ext cx="1173661" cy="293415"/>
          </a:xfrm>
          <a:prstGeom prst="rect">
            <a:avLst/>
          </a:prstGeom>
          <a:solidFill>
            <a:srgbClr val="15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3" name="Rectangle 477"/>
          <p:cNvSpPr>
            <a:spLocks noChangeArrowheads="1"/>
          </p:cNvSpPr>
          <p:nvPr/>
        </p:nvSpPr>
        <p:spPr bwMode="auto">
          <a:xfrm>
            <a:off x="6108441" y="1366942"/>
            <a:ext cx="588578" cy="293415"/>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4" name="Rectangle 478"/>
          <p:cNvSpPr>
            <a:spLocks noChangeArrowheads="1"/>
          </p:cNvSpPr>
          <p:nvPr/>
        </p:nvSpPr>
        <p:spPr bwMode="auto">
          <a:xfrm>
            <a:off x="6697019" y="1366942"/>
            <a:ext cx="585084" cy="293415"/>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5" name="Rectangle 479"/>
          <p:cNvSpPr>
            <a:spLocks noChangeArrowheads="1"/>
          </p:cNvSpPr>
          <p:nvPr/>
        </p:nvSpPr>
        <p:spPr bwMode="auto">
          <a:xfrm>
            <a:off x="6108441" y="1660357"/>
            <a:ext cx="588578" cy="293415"/>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6" name="Rectangle 480"/>
          <p:cNvSpPr>
            <a:spLocks noChangeArrowheads="1"/>
          </p:cNvSpPr>
          <p:nvPr/>
        </p:nvSpPr>
        <p:spPr bwMode="auto">
          <a:xfrm>
            <a:off x="6697019" y="1660357"/>
            <a:ext cx="585084" cy="293415"/>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7" name="Rectangle 481"/>
          <p:cNvSpPr>
            <a:spLocks noChangeArrowheads="1"/>
          </p:cNvSpPr>
          <p:nvPr/>
        </p:nvSpPr>
        <p:spPr bwMode="auto">
          <a:xfrm>
            <a:off x="4674548" y="4774443"/>
            <a:ext cx="1171915" cy="293415"/>
          </a:xfrm>
          <a:prstGeom prst="rect">
            <a:avLst/>
          </a:prstGeom>
          <a:solidFill>
            <a:srgbClr val="15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8" name="Rectangle 482"/>
          <p:cNvSpPr>
            <a:spLocks noChangeArrowheads="1"/>
          </p:cNvSpPr>
          <p:nvPr/>
        </p:nvSpPr>
        <p:spPr bwMode="auto">
          <a:xfrm>
            <a:off x="4674548" y="5067858"/>
            <a:ext cx="583337" cy="293415"/>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9" name="Rectangle 483"/>
          <p:cNvSpPr>
            <a:spLocks noChangeArrowheads="1"/>
          </p:cNvSpPr>
          <p:nvPr/>
        </p:nvSpPr>
        <p:spPr bwMode="auto">
          <a:xfrm>
            <a:off x="5257887" y="5067858"/>
            <a:ext cx="588578" cy="293415"/>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0" name="Rectangle 484"/>
          <p:cNvSpPr>
            <a:spLocks noChangeArrowheads="1"/>
          </p:cNvSpPr>
          <p:nvPr/>
        </p:nvSpPr>
        <p:spPr bwMode="auto">
          <a:xfrm>
            <a:off x="4674548" y="5361274"/>
            <a:ext cx="583337" cy="29516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1" name="Rectangle 485"/>
          <p:cNvSpPr>
            <a:spLocks noChangeArrowheads="1"/>
          </p:cNvSpPr>
          <p:nvPr/>
        </p:nvSpPr>
        <p:spPr bwMode="auto">
          <a:xfrm>
            <a:off x="5257887" y="5361274"/>
            <a:ext cx="588578" cy="295162"/>
          </a:xfrm>
          <a:prstGeom prst="rect">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2" name="Rectangle 486"/>
          <p:cNvSpPr>
            <a:spLocks noChangeArrowheads="1"/>
          </p:cNvSpPr>
          <p:nvPr/>
        </p:nvSpPr>
        <p:spPr bwMode="auto">
          <a:xfrm>
            <a:off x="4681534" y="2493446"/>
            <a:ext cx="1171915" cy="29341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3" name="Rectangle 487"/>
          <p:cNvSpPr>
            <a:spLocks noChangeArrowheads="1"/>
          </p:cNvSpPr>
          <p:nvPr/>
        </p:nvSpPr>
        <p:spPr bwMode="auto">
          <a:xfrm>
            <a:off x="4681534" y="2786862"/>
            <a:ext cx="586830" cy="293415"/>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4" name="Rectangle 488"/>
          <p:cNvSpPr>
            <a:spLocks noChangeArrowheads="1"/>
          </p:cNvSpPr>
          <p:nvPr/>
        </p:nvSpPr>
        <p:spPr bwMode="auto">
          <a:xfrm>
            <a:off x="5268366" y="2786862"/>
            <a:ext cx="585084" cy="293415"/>
          </a:xfrm>
          <a:prstGeom prst="rect">
            <a:avLst/>
          </a:prstGeom>
          <a:solidFill>
            <a:srgbClr val="EF455A"/>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45" name="Rectangle 489"/>
          <p:cNvSpPr>
            <a:spLocks noChangeArrowheads="1"/>
          </p:cNvSpPr>
          <p:nvPr/>
        </p:nvSpPr>
        <p:spPr bwMode="auto">
          <a:xfrm>
            <a:off x="4681534" y="3080277"/>
            <a:ext cx="586830" cy="29516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6" name="Rectangle 490"/>
          <p:cNvSpPr>
            <a:spLocks noChangeArrowheads="1"/>
          </p:cNvSpPr>
          <p:nvPr/>
        </p:nvSpPr>
        <p:spPr bwMode="auto">
          <a:xfrm>
            <a:off x="5268366" y="3080277"/>
            <a:ext cx="585084" cy="295162"/>
          </a:xfrm>
          <a:prstGeom prst="rect">
            <a:avLst/>
          </a:prstGeom>
          <a:solidFill>
            <a:srgbClr val="135B6B"/>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47" name="Rectangle 491"/>
          <p:cNvSpPr>
            <a:spLocks noChangeArrowheads="1"/>
          </p:cNvSpPr>
          <p:nvPr/>
        </p:nvSpPr>
        <p:spPr bwMode="auto">
          <a:xfrm>
            <a:off x="7523122" y="2493446"/>
            <a:ext cx="1171915" cy="293415"/>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8" name="Rectangle 492"/>
          <p:cNvSpPr>
            <a:spLocks noChangeArrowheads="1"/>
          </p:cNvSpPr>
          <p:nvPr/>
        </p:nvSpPr>
        <p:spPr bwMode="auto">
          <a:xfrm>
            <a:off x="7523122" y="2786862"/>
            <a:ext cx="588578" cy="29341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9" name="Rectangle 493"/>
          <p:cNvSpPr>
            <a:spLocks noChangeArrowheads="1"/>
          </p:cNvSpPr>
          <p:nvPr/>
        </p:nvSpPr>
        <p:spPr bwMode="auto">
          <a:xfrm>
            <a:off x="8111699" y="2786862"/>
            <a:ext cx="583337" cy="293415"/>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0" name="Rectangle 494"/>
          <p:cNvSpPr>
            <a:spLocks noChangeArrowheads="1"/>
          </p:cNvSpPr>
          <p:nvPr/>
        </p:nvSpPr>
        <p:spPr bwMode="auto">
          <a:xfrm>
            <a:off x="7523122" y="3080277"/>
            <a:ext cx="588578" cy="29516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1" name="Rectangle 495"/>
          <p:cNvSpPr>
            <a:spLocks noChangeArrowheads="1"/>
          </p:cNvSpPr>
          <p:nvPr/>
        </p:nvSpPr>
        <p:spPr bwMode="auto">
          <a:xfrm>
            <a:off x="8111699" y="3080277"/>
            <a:ext cx="583337" cy="29516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2" name="Rectangle 496"/>
          <p:cNvSpPr>
            <a:spLocks noChangeArrowheads="1"/>
          </p:cNvSpPr>
          <p:nvPr/>
        </p:nvSpPr>
        <p:spPr bwMode="auto">
          <a:xfrm>
            <a:off x="7523122" y="1073527"/>
            <a:ext cx="1171915" cy="293415"/>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3" name="Rectangle 497"/>
          <p:cNvSpPr>
            <a:spLocks noChangeArrowheads="1"/>
          </p:cNvSpPr>
          <p:nvPr/>
        </p:nvSpPr>
        <p:spPr bwMode="auto">
          <a:xfrm>
            <a:off x="7523122" y="1366942"/>
            <a:ext cx="588578" cy="293415"/>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4" name="Rectangle 498"/>
          <p:cNvSpPr>
            <a:spLocks noChangeArrowheads="1"/>
          </p:cNvSpPr>
          <p:nvPr/>
        </p:nvSpPr>
        <p:spPr bwMode="auto">
          <a:xfrm>
            <a:off x="8111699" y="1366942"/>
            <a:ext cx="583337" cy="293415"/>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5" name="Rectangle 499"/>
          <p:cNvSpPr>
            <a:spLocks noChangeArrowheads="1"/>
          </p:cNvSpPr>
          <p:nvPr/>
        </p:nvSpPr>
        <p:spPr bwMode="auto">
          <a:xfrm>
            <a:off x="7523122" y="1660357"/>
            <a:ext cx="588578" cy="293415"/>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6" name="Rectangle 500"/>
          <p:cNvSpPr>
            <a:spLocks noChangeArrowheads="1"/>
          </p:cNvSpPr>
          <p:nvPr/>
        </p:nvSpPr>
        <p:spPr bwMode="auto">
          <a:xfrm>
            <a:off x="8111699" y="1660357"/>
            <a:ext cx="583337" cy="293415"/>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7" name="Rectangle 501"/>
          <p:cNvSpPr>
            <a:spLocks noChangeArrowheads="1"/>
          </p:cNvSpPr>
          <p:nvPr/>
        </p:nvSpPr>
        <p:spPr bwMode="auto">
          <a:xfrm>
            <a:off x="6108441" y="2493446"/>
            <a:ext cx="1173661" cy="293415"/>
          </a:xfrm>
          <a:prstGeom prst="rect">
            <a:avLst/>
          </a:prstGeom>
          <a:solidFill>
            <a:srgbClr val="15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8" name="Rectangle 502"/>
          <p:cNvSpPr>
            <a:spLocks noChangeArrowheads="1"/>
          </p:cNvSpPr>
          <p:nvPr/>
        </p:nvSpPr>
        <p:spPr bwMode="auto">
          <a:xfrm>
            <a:off x="6108441" y="2786862"/>
            <a:ext cx="588578" cy="293415"/>
          </a:xfrm>
          <a:prstGeom prst="rect">
            <a:avLst/>
          </a:prstGeom>
          <a:solidFill>
            <a:srgbClr val="8FC73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59" name="Rectangle 503"/>
          <p:cNvSpPr>
            <a:spLocks noChangeArrowheads="1"/>
          </p:cNvSpPr>
          <p:nvPr/>
        </p:nvSpPr>
        <p:spPr bwMode="auto">
          <a:xfrm>
            <a:off x="6697019" y="2786862"/>
            <a:ext cx="585084" cy="293415"/>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0" name="Rectangle 504"/>
          <p:cNvSpPr>
            <a:spLocks noChangeArrowheads="1"/>
          </p:cNvSpPr>
          <p:nvPr/>
        </p:nvSpPr>
        <p:spPr bwMode="auto">
          <a:xfrm>
            <a:off x="6108441" y="3080277"/>
            <a:ext cx="588578" cy="29516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1" name="Rectangle 505"/>
          <p:cNvSpPr>
            <a:spLocks noChangeArrowheads="1"/>
          </p:cNvSpPr>
          <p:nvPr/>
        </p:nvSpPr>
        <p:spPr bwMode="auto">
          <a:xfrm>
            <a:off x="6697019" y="3080277"/>
            <a:ext cx="585084" cy="29516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2" name="Rectangle 506"/>
          <p:cNvSpPr>
            <a:spLocks noChangeArrowheads="1"/>
          </p:cNvSpPr>
          <p:nvPr/>
        </p:nvSpPr>
        <p:spPr bwMode="auto">
          <a:xfrm>
            <a:off x="4681534" y="1073527"/>
            <a:ext cx="1171915" cy="29341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3" name="Rectangle 507"/>
          <p:cNvSpPr>
            <a:spLocks noChangeArrowheads="1"/>
          </p:cNvSpPr>
          <p:nvPr/>
        </p:nvSpPr>
        <p:spPr bwMode="auto">
          <a:xfrm>
            <a:off x="4681534" y="1660357"/>
            <a:ext cx="586830" cy="293415"/>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4" name="Rectangle 508"/>
          <p:cNvSpPr>
            <a:spLocks noChangeArrowheads="1"/>
          </p:cNvSpPr>
          <p:nvPr/>
        </p:nvSpPr>
        <p:spPr bwMode="auto">
          <a:xfrm>
            <a:off x="5268366" y="1366942"/>
            <a:ext cx="585084" cy="293415"/>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5" name="Rectangle 509"/>
          <p:cNvSpPr>
            <a:spLocks noChangeArrowheads="1"/>
          </p:cNvSpPr>
          <p:nvPr/>
        </p:nvSpPr>
        <p:spPr bwMode="auto">
          <a:xfrm>
            <a:off x="4681534" y="1366942"/>
            <a:ext cx="586830" cy="293415"/>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6" name="Rectangle 510"/>
          <p:cNvSpPr>
            <a:spLocks noChangeArrowheads="1"/>
          </p:cNvSpPr>
          <p:nvPr/>
        </p:nvSpPr>
        <p:spPr bwMode="auto">
          <a:xfrm>
            <a:off x="5268366" y="1660357"/>
            <a:ext cx="585084" cy="293415"/>
          </a:xfrm>
          <a:prstGeom prst="rect">
            <a:avLst/>
          </a:prstGeom>
          <a:solidFill>
            <a:srgbClr val="EF455A"/>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67" name="Line 511"/>
          <p:cNvSpPr>
            <a:spLocks noChangeShapeType="1"/>
          </p:cNvSpPr>
          <p:nvPr/>
        </p:nvSpPr>
        <p:spPr bwMode="auto">
          <a:xfrm>
            <a:off x="4243159" y="2055071"/>
            <a:ext cx="1747" cy="288176"/>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68" name="Line 512"/>
          <p:cNvSpPr>
            <a:spLocks noChangeShapeType="1"/>
          </p:cNvSpPr>
          <p:nvPr/>
        </p:nvSpPr>
        <p:spPr bwMode="auto">
          <a:xfrm>
            <a:off x="4099944" y="2200031"/>
            <a:ext cx="288176" cy="1747"/>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4" name="Line 518"/>
          <p:cNvSpPr>
            <a:spLocks noChangeShapeType="1"/>
          </p:cNvSpPr>
          <p:nvPr/>
        </p:nvSpPr>
        <p:spPr bwMode="auto">
          <a:xfrm>
            <a:off x="4243159" y="5074844"/>
            <a:ext cx="1747" cy="282936"/>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5" name="Line 519"/>
          <p:cNvSpPr>
            <a:spLocks noChangeShapeType="1"/>
          </p:cNvSpPr>
          <p:nvPr/>
        </p:nvSpPr>
        <p:spPr bwMode="auto">
          <a:xfrm>
            <a:off x="4099944" y="5214566"/>
            <a:ext cx="288176" cy="1747"/>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6" name="Line 520"/>
          <p:cNvSpPr>
            <a:spLocks noChangeShapeType="1"/>
          </p:cNvSpPr>
          <p:nvPr/>
        </p:nvSpPr>
        <p:spPr bwMode="auto">
          <a:xfrm>
            <a:off x="6125906" y="5305385"/>
            <a:ext cx="288176" cy="1747"/>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7" name="Line 521"/>
          <p:cNvSpPr>
            <a:spLocks noChangeShapeType="1"/>
          </p:cNvSpPr>
          <p:nvPr/>
        </p:nvSpPr>
        <p:spPr bwMode="auto">
          <a:xfrm>
            <a:off x="6125906" y="5193608"/>
            <a:ext cx="288176" cy="1747"/>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8" name="Freeform 522"/>
          <p:cNvSpPr>
            <a:spLocks/>
          </p:cNvSpPr>
          <p:nvPr/>
        </p:nvSpPr>
        <p:spPr bwMode="auto">
          <a:xfrm>
            <a:off x="6571269" y="3983271"/>
            <a:ext cx="2242531" cy="2242530"/>
          </a:xfrm>
          <a:custGeom>
            <a:avLst/>
            <a:gdLst/>
            <a:ahLst/>
            <a:cxnLst>
              <a:cxn ang="0">
                <a:pos x="498" y="98"/>
              </a:cxn>
              <a:cxn ang="0">
                <a:pos x="542" y="498"/>
              </a:cxn>
              <a:cxn ang="0">
                <a:pos x="142" y="542"/>
              </a:cxn>
              <a:cxn ang="0">
                <a:pos x="98" y="142"/>
              </a:cxn>
              <a:cxn ang="0">
                <a:pos x="498" y="98"/>
              </a:cxn>
            </a:cxnLst>
            <a:rect l="0" t="0" r="r" b="b"/>
            <a:pathLst>
              <a:path w="641" h="641">
                <a:moveTo>
                  <a:pt x="498" y="98"/>
                </a:moveTo>
                <a:cubicBezTo>
                  <a:pt x="621" y="197"/>
                  <a:pt x="641" y="376"/>
                  <a:pt x="542" y="498"/>
                </a:cubicBezTo>
                <a:cubicBezTo>
                  <a:pt x="444" y="621"/>
                  <a:pt x="265" y="641"/>
                  <a:pt x="142" y="542"/>
                </a:cubicBezTo>
                <a:cubicBezTo>
                  <a:pt x="20" y="444"/>
                  <a:pt x="0" y="265"/>
                  <a:pt x="98" y="142"/>
                </a:cubicBezTo>
                <a:cubicBezTo>
                  <a:pt x="197" y="20"/>
                  <a:pt x="376" y="0"/>
                  <a:pt x="498" y="98"/>
                </a:cubicBezTo>
                <a:close/>
              </a:path>
            </a:pathLst>
          </a:custGeom>
          <a:noFill/>
          <a:ln w="6350" cap="flat">
            <a:solidFill>
              <a:srgbClr val="B8BF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9" name="Freeform 523"/>
          <p:cNvSpPr>
            <a:spLocks/>
          </p:cNvSpPr>
          <p:nvPr/>
        </p:nvSpPr>
        <p:spPr bwMode="auto">
          <a:xfrm>
            <a:off x="6917714" y="4322095"/>
            <a:ext cx="1564881" cy="1564881"/>
          </a:xfrm>
          <a:custGeom>
            <a:avLst/>
            <a:gdLst/>
            <a:ahLst/>
            <a:cxnLst>
              <a:cxn ang="0">
                <a:pos x="348" y="68"/>
              </a:cxn>
              <a:cxn ang="0">
                <a:pos x="378" y="347"/>
              </a:cxn>
              <a:cxn ang="0">
                <a:pos x="99" y="378"/>
              </a:cxn>
              <a:cxn ang="0">
                <a:pos x="68" y="99"/>
              </a:cxn>
              <a:cxn ang="0">
                <a:pos x="348" y="68"/>
              </a:cxn>
            </a:cxnLst>
            <a:rect l="0" t="0" r="r" b="b"/>
            <a:pathLst>
              <a:path w="447" h="447">
                <a:moveTo>
                  <a:pt x="348" y="68"/>
                </a:moveTo>
                <a:cubicBezTo>
                  <a:pt x="433" y="137"/>
                  <a:pt x="447" y="262"/>
                  <a:pt x="378" y="347"/>
                </a:cubicBezTo>
                <a:cubicBezTo>
                  <a:pt x="310" y="433"/>
                  <a:pt x="185" y="447"/>
                  <a:pt x="99" y="378"/>
                </a:cubicBezTo>
                <a:cubicBezTo>
                  <a:pt x="14" y="309"/>
                  <a:pt x="0" y="184"/>
                  <a:pt x="68" y="99"/>
                </a:cubicBezTo>
                <a:cubicBezTo>
                  <a:pt x="137" y="13"/>
                  <a:pt x="262" y="0"/>
                  <a:pt x="348" y="68"/>
                </a:cubicBezTo>
              </a:path>
            </a:pathLst>
          </a:custGeom>
          <a:solidFill>
            <a:srgbClr val="FFFFFF"/>
          </a:solidFill>
          <a:ln w="9525">
            <a:noFill/>
            <a:round/>
            <a:headEnd/>
            <a:tailEnd/>
          </a:ln>
        </p:spPr>
        <p:txBody>
          <a:bodyPr vert="horz" wrap="square" lIns="91440" tIns="45720" rIns="91440" bIns="45720" numCol="1" anchor="ctr" anchorCtr="0" compatLnSpc="1">
            <a:prstTxWarp prst="textNoShape">
              <a:avLst/>
            </a:prstTxWarp>
          </a:bodyPr>
          <a:lstStyle/>
          <a:p>
            <a:pPr algn="ctr"/>
            <a:r>
              <a:rPr lang="en-GB" b="1" dirty="0"/>
              <a:t>3.6bn</a:t>
            </a:r>
          </a:p>
          <a:p>
            <a:pPr algn="ctr"/>
            <a:r>
              <a:rPr lang="en-US" sz="1050" dirty="0"/>
              <a:t>within the </a:t>
            </a:r>
            <a:br>
              <a:rPr lang="en-US" sz="1050" dirty="0"/>
            </a:br>
            <a:r>
              <a:rPr lang="en-US" sz="1050" dirty="0"/>
              <a:t>next 2 years</a:t>
            </a:r>
            <a:endParaRPr lang="en-GB" sz="1050" dirty="0"/>
          </a:p>
        </p:txBody>
      </p:sp>
      <p:sp>
        <p:nvSpPr>
          <p:cNvPr id="71180" name="Freeform 524"/>
          <p:cNvSpPr>
            <a:spLocks/>
          </p:cNvSpPr>
          <p:nvPr/>
        </p:nvSpPr>
        <p:spPr bwMode="auto">
          <a:xfrm>
            <a:off x="6938038" y="4351786"/>
            <a:ext cx="1505500" cy="1503753"/>
          </a:xfrm>
          <a:custGeom>
            <a:avLst/>
            <a:gdLst/>
            <a:ahLst/>
            <a:cxnLst>
              <a:cxn ang="0">
                <a:pos x="335" y="66"/>
              </a:cxn>
              <a:cxn ang="0">
                <a:pos x="364" y="335"/>
              </a:cxn>
              <a:cxn ang="0">
                <a:pos x="96" y="364"/>
              </a:cxn>
              <a:cxn ang="0">
                <a:pos x="66" y="96"/>
              </a:cxn>
              <a:cxn ang="0">
                <a:pos x="335" y="66"/>
              </a:cxn>
            </a:cxnLst>
            <a:rect l="0" t="0" r="r" b="b"/>
            <a:pathLst>
              <a:path w="430" h="430">
                <a:moveTo>
                  <a:pt x="335" y="66"/>
                </a:moveTo>
                <a:cubicBezTo>
                  <a:pt x="417" y="132"/>
                  <a:pt x="430" y="252"/>
                  <a:pt x="364" y="335"/>
                </a:cubicBezTo>
                <a:cubicBezTo>
                  <a:pt x="298" y="417"/>
                  <a:pt x="178" y="430"/>
                  <a:pt x="96" y="364"/>
                </a:cubicBezTo>
                <a:cubicBezTo>
                  <a:pt x="13" y="298"/>
                  <a:pt x="0" y="178"/>
                  <a:pt x="66" y="96"/>
                </a:cubicBezTo>
                <a:cubicBezTo>
                  <a:pt x="132" y="13"/>
                  <a:pt x="253" y="0"/>
                  <a:pt x="335" y="66"/>
                </a:cubicBezTo>
                <a:close/>
              </a:path>
            </a:pathLst>
          </a:custGeom>
          <a:noFill/>
          <a:ln w="6350" cap="flat">
            <a:solidFill>
              <a:srgbClr val="B8BF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86" name="Rectangle 530"/>
          <p:cNvSpPr>
            <a:spLocks noChangeArrowheads="1"/>
          </p:cNvSpPr>
          <p:nvPr/>
        </p:nvSpPr>
        <p:spPr bwMode="auto">
          <a:xfrm>
            <a:off x="8577263" y="7539038"/>
            <a:ext cx="85725" cy="1270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700" b="0" i="0" u="none" strike="noStrike" cap="none" normalizeH="0" baseline="0">
                <a:ln>
                  <a:noFill/>
                </a:ln>
                <a:solidFill>
                  <a:srgbClr val="00ADDA"/>
                </a:solidFill>
                <a:effectLst/>
                <a:latin typeface="Myriad Pro" pitchFamily="34" charset="0"/>
                <a:cs typeface="Arial" pitchFamily="34" charset="0"/>
              </a:rPr>
              <a:t>7</a:t>
            </a:r>
            <a:endParaRPr kumimoji="0" lang="fr-FR" sz="1800" b="0" i="0" u="none" strike="noStrike" cap="none" normalizeH="0" baseline="0">
              <a:ln>
                <a:noFill/>
              </a:ln>
              <a:solidFill>
                <a:schemeClr val="tx1"/>
              </a:solidFill>
              <a:effectLst/>
              <a:latin typeface="Arial" pitchFamily="34" charset="0"/>
              <a:cs typeface="Arial" pitchFamily="34" charset="0"/>
            </a:endParaRPr>
          </a:p>
        </p:txBody>
      </p:sp>
      <p:sp>
        <p:nvSpPr>
          <p:cNvPr id="71187" name="Rectangle 531"/>
          <p:cNvSpPr>
            <a:spLocks noChangeArrowheads="1"/>
          </p:cNvSpPr>
          <p:nvPr/>
        </p:nvSpPr>
        <p:spPr bwMode="auto">
          <a:xfrm>
            <a:off x="8620125" y="7539038"/>
            <a:ext cx="85725" cy="1270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700" b="0" i="0" u="none" strike="noStrike" cap="none" normalizeH="0" baseline="0">
                <a:ln>
                  <a:noFill/>
                </a:ln>
                <a:solidFill>
                  <a:srgbClr val="00ADDA"/>
                </a:solidFill>
                <a:effectLst/>
                <a:latin typeface="Myriad Pro" pitchFamily="34" charset="0"/>
                <a:cs typeface="Arial" pitchFamily="34" charset="0"/>
              </a:rPr>
              <a:t>1</a:t>
            </a:r>
            <a:endParaRPr kumimoji="0" lang="fr-FR" sz="1800" b="0" i="0" u="none" strike="noStrike" cap="none" normalizeH="0" baseline="0">
              <a:ln>
                <a:noFill/>
              </a:ln>
              <a:solidFill>
                <a:schemeClr val="tx1"/>
              </a:solidFill>
              <a:effectLst/>
              <a:latin typeface="Arial" pitchFamily="34" charset="0"/>
              <a:cs typeface="Arial" pitchFamily="34" charset="0"/>
            </a:endParaRPr>
          </a:p>
        </p:txBody>
      </p:sp>
      <p:sp>
        <p:nvSpPr>
          <p:cNvPr id="577" name="Rectangle 471"/>
          <p:cNvSpPr>
            <a:spLocks noChangeArrowheads="1"/>
          </p:cNvSpPr>
          <p:nvPr/>
        </p:nvSpPr>
        <p:spPr bwMode="auto">
          <a:xfrm>
            <a:off x="2641600" y="4774444"/>
            <a:ext cx="1168422" cy="293415"/>
          </a:xfrm>
          <a:prstGeom prst="rect">
            <a:avLst/>
          </a:prstGeom>
          <a:solidFill>
            <a:srgbClr val="2B143D"/>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8" name="Rectangle 472"/>
          <p:cNvSpPr>
            <a:spLocks noChangeArrowheads="1"/>
          </p:cNvSpPr>
          <p:nvPr/>
        </p:nvSpPr>
        <p:spPr bwMode="auto">
          <a:xfrm>
            <a:off x="2641600" y="5067860"/>
            <a:ext cx="583337" cy="295162"/>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
        <p:nvSpPr>
          <p:cNvPr id="579" name="Rectangle 473"/>
          <p:cNvSpPr>
            <a:spLocks noChangeArrowheads="1"/>
          </p:cNvSpPr>
          <p:nvPr/>
        </p:nvSpPr>
        <p:spPr bwMode="auto">
          <a:xfrm>
            <a:off x="3224937" y="5067860"/>
            <a:ext cx="585084" cy="295162"/>
          </a:xfrm>
          <a:prstGeom prst="rect">
            <a:avLst/>
          </a:prstGeom>
          <a:solidFill>
            <a:srgbClr val="12ABDB"/>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0" name="Rectangle 474"/>
          <p:cNvSpPr>
            <a:spLocks noChangeArrowheads="1"/>
          </p:cNvSpPr>
          <p:nvPr/>
        </p:nvSpPr>
        <p:spPr bwMode="auto">
          <a:xfrm>
            <a:off x="2641600" y="5363021"/>
            <a:ext cx="583337" cy="293415"/>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
        <p:nvSpPr>
          <p:cNvPr id="581" name="Rectangle 475"/>
          <p:cNvSpPr>
            <a:spLocks noChangeArrowheads="1"/>
          </p:cNvSpPr>
          <p:nvPr/>
        </p:nvSpPr>
        <p:spPr bwMode="auto">
          <a:xfrm>
            <a:off x="3224937" y="5363021"/>
            <a:ext cx="585084" cy="293415"/>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Tree>
    <p:extLst>
      <p:ext uri="{BB962C8B-B14F-4D97-AF65-F5344CB8AC3E}">
        <p14:creationId xmlns:p14="http://schemas.microsoft.com/office/powerpoint/2010/main" val="29792598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8" name="Object 82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7053" name="think-cell Slide" r:id="rId4" imgW="270" imgH="270" progId="TCLayout.ActiveDocument.1">
                  <p:embed/>
                </p:oleObj>
              </mc:Choice>
              <mc:Fallback>
                <p:oleObj name="think-cell Slide" r:id="rId4" imgW="270" imgH="270" progId="TCLayout.ActiveDocument.1">
                  <p:embed/>
                  <p:pic>
                    <p:nvPicPr>
                      <p:cNvPr id="828" name="Object 82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9" name="Rectangle 828"/>
          <p:cNvSpPr/>
          <p:nvPr/>
        </p:nvSpPr>
        <p:spPr>
          <a:xfrm>
            <a:off x="9408368" y="1340768"/>
            <a:ext cx="2783632" cy="48965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2" name="Title 1"/>
          <p:cNvSpPr>
            <a:spLocks noGrp="1"/>
          </p:cNvSpPr>
          <p:nvPr>
            <p:ph type="title"/>
          </p:nvPr>
        </p:nvSpPr>
        <p:spPr/>
        <p:txBody>
          <a:bodyPr/>
          <a:lstStyle/>
          <a:p>
            <a:r>
              <a:rPr lang="en-GB" dirty="0"/>
              <a:t>World map</a:t>
            </a:r>
          </a:p>
        </p:txBody>
      </p:sp>
      <p:cxnSp>
        <p:nvCxnSpPr>
          <p:cNvPr id="841" name="Conector reto 49">
            <a:extLst>
              <a:ext uri="{FF2B5EF4-FFF2-40B4-BE49-F238E27FC236}">
                <a16:creationId xmlns:a16="http://schemas.microsoft.com/office/drawing/2014/main" id="{F1E95489-109C-4C2E-84E1-4AB39C984EBB}"/>
              </a:ext>
            </a:extLst>
          </p:cNvPr>
          <p:cNvCxnSpPr>
            <a:cxnSpLocks/>
          </p:cNvCxnSpPr>
          <p:nvPr/>
        </p:nvCxnSpPr>
        <p:spPr>
          <a:xfrm>
            <a:off x="10794202"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52" name="Group 851"/>
          <p:cNvGrpSpPr/>
          <p:nvPr/>
        </p:nvGrpSpPr>
        <p:grpSpPr>
          <a:xfrm>
            <a:off x="9796850" y="1874434"/>
            <a:ext cx="917885" cy="3866697"/>
            <a:chOff x="9858635" y="1874434"/>
            <a:chExt cx="917885" cy="3866697"/>
          </a:xfrm>
        </p:grpSpPr>
        <p:sp>
          <p:nvSpPr>
            <p:cNvPr id="830" name="Text Placeholder 1">
              <a:extLst>
                <a:ext uri="{FF2B5EF4-FFF2-40B4-BE49-F238E27FC236}">
                  <a16:creationId xmlns:a16="http://schemas.microsoft.com/office/drawing/2014/main" id="{B6FAE2AE-E5D8-42DD-BCED-2651B82A3167}"/>
                </a:ext>
              </a:extLst>
            </p:cNvPr>
            <p:cNvSpPr txBox="1">
              <a:spLocks/>
            </p:cNvSpPr>
            <p:nvPr/>
          </p:nvSpPr>
          <p:spPr>
            <a:xfrm>
              <a:off x="9858635"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32" name="Text Placeholder 3">
              <a:extLst>
                <a:ext uri="{FF2B5EF4-FFF2-40B4-BE49-F238E27FC236}">
                  <a16:creationId xmlns:a16="http://schemas.microsoft.com/office/drawing/2014/main" id="{3EEA278C-FA1A-47A3-935A-80481A4AFD49}"/>
                </a:ext>
              </a:extLst>
            </p:cNvPr>
            <p:cNvSpPr txBox="1">
              <a:spLocks/>
            </p:cNvSpPr>
            <p:nvPr/>
          </p:nvSpPr>
          <p:spPr>
            <a:xfrm>
              <a:off x="9858635"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4" name="Text Placeholder 5">
              <a:extLst>
                <a:ext uri="{FF2B5EF4-FFF2-40B4-BE49-F238E27FC236}">
                  <a16:creationId xmlns:a16="http://schemas.microsoft.com/office/drawing/2014/main" id="{4C55F3E8-5432-436E-9DC8-30E6A0067524}"/>
                </a:ext>
              </a:extLst>
            </p:cNvPr>
            <p:cNvSpPr txBox="1">
              <a:spLocks/>
            </p:cNvSpPr>
            <p:nvPr/>
          </p:nvSpPr>
          <p:spPr>
            <a:xfrm>
              <a:off x="9858635"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6" name="Text Placeholder 403">
              <a:extLst>
                <a:ext uri="{FF2B5EF4-FFF2-40B4-BE49-F238E27FC236}">
                  <a16:creationId xmlns:a16="http://schemas.microsoft.com/office/drawing/2014/main" id="{B1CEF7BF-F1C1-4AC8-B5A8-59C4BB851ABD}"/>
                </a:ext>
              </a:extLst>
            </p:cNvPr>
            <p:cNvSpPr txBox="1">
              <a:spLocks/>
            </p:cNvSpPr>
            <p:nvPr/>
          </p:nvSpPr>
          <p:spPr>
            <a:xfrm>
              <a:off x="9858635"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8" name="Text Placeholder 416">
              <a:extLst>
                <a:ext uri="{FF2B5EF4-FFF2-40B4-BE49-F238E27FC236}">
                  <a16:creationId xmlns:a16="http://schemas.microsoft.com/office/drawing/2014/main" id="{03DC4C9D-A7BE-47C7-97DD-F780C1E6529A}"/>
                </a:ext>
              </a:extLst>
            </p:cNvPr>
            <p:cNvSpPr txBox="1">
              <a:spLocks/>
            </p:cNvSpPr>
            <p:nvPr/>
          </p:nvSpPr>
          <p:spPr>
            <a:xfrm>
              <a:off x="9858635"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40" name="Teardrop 839">
              <a:extLst>
                <a:ext uri="{FF2B5EF4-FFF2-40B4-BE49-F238E27FC236}">
                  <a16:creationId xmlns:a16="http://schemas.microsoft.com/office/drawing/2014/main" id="{4CA42A9F-EA2D-46F5-B630-BB81BB959492}"/>
                </a:ext>
              </a:extLst>
            </p:cNvPr>
            <p:cNvSpPr/>
            <p:nvPr/>
          </p:nvSpPr>
          <p:spPr>
            <a:xfrm rot="8100000">
              <a:off x="10184811" y="2663498"/>
              <a:ext cx="265533" cy="219449"/>
            </a:xfrm>
            <a:prstGeom prst="teardrop">
              <a:avLst/>
            </a:prstGeom>
            <a:solidFill>
              <a:srgbClr val="FF7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3" name="Teardrop 842">
              <a:extLst>
                <a:ext uri="{FF2B5EF4-FFF2-40B4-BE49-F238E27FC236}">
                  <a16:creationId xmlns:a16="http://schemas.microsoft.com/office/drawing/2014/main" id="{6D692C4B-DC35-4A4C-9BF9-CE79FF7AF7B3}"/>
                </a:ext>
              </a:extLst>
            </p:cNvPr>
            <p:cNvSpPr/>
            <p:nvPr/>
          </p:nvSpPr>
          <p:spPr>
            <a:xfrm rot="8100000">
              <a:off x="10184811" y="3461264"/>
              <a:ext cx="265533" cy="219449"/>
            </a:xfrm>
            <a:prstGeom prst="teardrop">
              <a:avLst/>
            </a:pr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5" name="Teardrop 844">
              <a:extLst>
                <a:ext uri="{FF2B5EF4-FFF2-40B4-BE49-F238E27FC236}">
                  <a16:creationId xmlns:a16="http://schemas.microsoft.com/office/drawing/2014/main" id="{1BDDC728-5300-4C6D-915F-34981B9F3733}"/>
                </a:ext>
              </a:extLst>
            </p:cNvPr>
            <p:cNvSpPr/>
            <p:nvPr/>
          </p:nvSpPr>
          <p:spPr>
            <a:xfrm rot="8100000">
              <a:off x="10184811" y="4273521"/>
              <a:ext cx="265533" cy="219449"/>
            </a:xfrm>
            <a:prstGeom prst="teardrop">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7" name="Teardrop 846">
              <a:extLst>
                <a:ext uri="{FF2B5EF4-FFF2-40B4-BE49-F238E27FC236}">
                  <a16:creationId xmlns:a16="http://schemas.microsoft.com/office/drawing/2014/main" id="{FAE5B8FF-0FD3-490E-AAC4-414F0676793D}"/>
                </a:ext>
              </a:extLst>
            </p:cNvPr>
            <p:cNvSpPr/>
            <p:nvPr/>
          </p:nvSpPr>
          <p:spPr>
            <a:xfrm rot="8100000">
              <a:off x="10184811" y="5044449"/>
              <a:ext cx="265533" cy="219449"/>
            </a:xfrm>
            <a:prstGeom prst="teardrop">
              <a:avLst/>
            </a:prstGeom>
            <a:solidFill>
              <a:srgbClr val="6E6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9" name="Teardrop 848">
              <a:extLst>
                <a:ext uri="{FF2B5EF4-FFF2-40B4-BE49-F238E27FC236}">
                  <a16:creationId xmlns:a16="http://schemas.microsoft.com/office/drawing/2014/main" id="{0D857775-9A74-4D5D-AD50-780FCEA0E282}"/>
                </a:ext>
              </a:extLst>
            </p:cNvPr>
            <p:cNvSpPr/>
            <p:nvPr/>
          </p:nvSpPr>
          <p:spPr>
            <a:xfrm rot="8100000">
              <a:off x="10184811" y="1874434"/>
              <a:ext cx="265533" cy="219449"/>
            </a:xfrm>
            <a:prstGeom prst="teardrop">
              <a:avLst/>
            </a:prstGeom>
            <a:solidFill>
              <a:srgbClr val="8708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51" name="Group 850"/>
          <p:cNvGrpSpPr/>
          <p:nvPr/>
        </p:nvGrpSpPr>
        <p:grpSpPr>
          <a:xfrm>
            <a:off x="10873669" y="1874434"/>
            <a:ext cx="917885" cy="3866697"/>
            <a:chOff x="10873669" y="1874434"/>
            <a:chExt cx="917885" cy="3866697"/>
          </a:xfrm>
        </p:grpSpPr>
        <p:sp>
          <p:nvSpPr>
            <p:cNvPr id="831" name="Text Placeholder 2">
              <a:extLst>
                <a:ext uri="{FF2B5EF4-FFF2-40B4-BE49-F238E27FC236}">
                  <a16:creationId xmlns:a16="http://schemas.microsoft.com/office/drawing/2014/main" id="{A199C2E0-A7DF-4EBA-A97E-072106C23D00}"/>
                </a:ext>
              </a:extLst>
            </p:cNvPr>
            <p:cNvSpPr txBox="1">
              <a:spLocks/>
            </p:cNvSpPr>
            <p:nvPr/>
          </p:nvSpPr>
          <p:spPr>
            <a:xfrm>
              <a:off x="10873669"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3" name="Text Placeholder 4">
              <a:extLst>
                <a:ext uri="{FF2B5EF4-FFF2-40B4-BE49-F238E27FC236}">
                  <a16:creationId xmlns:a16="http://schemas.microsoft.com/office/drawing/2014/main" id="{DD536368-ECAB-4C89-A193-6847675CE6A2}"/>
                </a:ext>
              </a:extLst>
            </p:cNvPr>
            <p:cNvSpPr txBox="1">
              <a:spLocks/>
            </p:cNvSpPr>
            <p:nvPr/>
          </p:nvSpPr>
          <p:spPr>
            <a:xfrm>
              <a:off x="10873669"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5" name="Text Placeholder 6">
              <a:extLst>
                <a:ext uri="{FF2B5EF4-FFF2-40B4-BE49-F238E27FC236}">
                  <a16:creationId xmlns:a16="http://schemas.microsoft.com/office/drawing/2014/main" id="{E6C6AC57-674D-40EF-9523-F2DB58DE4BD5}"/>
                </a:ext>
              </a:extLst>
            </p:cNvPr>
            <p:cNvSpPr txBox="1">
              <a:spLocks/>
            </p:cNvSpPr>
            <p:nvPr/>
          </p:nvSpPr>
          <p:spPr>
            <a:xfrm>
              <a:off x="10873669"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7" name="Text Placeholder 415">
              <a:extLst>
                <a:ext uri="{FF2B5EF4-FFF2-40B4-BE49-F238E27FC236}">
                  <a16:creationId xmlns:a16="http://schemas.microsoft.com/office/drawing/2014/main" id="{A1DA6B4B-1D4C-4F25-9EE3-D5126C871D5C}"/>
                </a:ext>
              </a:extLst>
            </p:cNvPr>
            <p:cNvSpPr txBox="1">
              <a:spLocks/>
            </p:cNvSpPr>
            <p:nvPr/>
          </p:nvSpPr>
          <p:spPr>
            <a:xfrm>
              <a:off x="10873669"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9" name="Text Placeholder 417">
              <a:extLst>
                <a:ext uri="{FF2B5EF4-FFF2-40B4-BE49-F238E27FC236}">
                  <a16:creationId xmlns:a16="http://schemas.microsoft.com/office/drawing/2014/main" id="{A7800EA9-36C4-44FF-9CD3-7A07FA1EE168}"/>
                </a:ext>
              </a:extLst>
            </p:cNvPr>
            <p:cNvSpPr txBox="1">
              <a:spLocks/>
            </p:cNvSpPr>
            <p:nvPr/>
          </p:nvSpPr>
          <p:spPr>
            <a:xfrm>
              <a:off x="10873669"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42" name="Teardrop 841">
              <a:extLst>
                <a:ext uri="{FF2B5EF4-FFF2-40B4-BE49-F238E27FC236}">
                  <a16:creationId xmlns:a16="http://schemas.microsoft.com/office/drawing/2014/main" id="{C507B056-BABF-43F8-BBC4-21C8E5523E9A}"/>
                </a:ext>
              </a:extLst>
            </p:cNvPr>
            <p:cNvSpPr/>
            <p:nvPr/>
          </p:nvSpPr>
          <p:spPr>
            <a:xfrm rot="8100000">
              <a:off x="11199845" y="2663498"/>
              <a:ext cx="265533" cy="219449"/>
            </a:xfrm>
            <a:prstGeom prst="teardrop">
              <a:avLst/>
            </a:prstGeom>
            <a:solidFill>
              <a:srgbClr val="00C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4" name="Teardrop 843">
              <a:extLst>
                <a:ext uri="{FF2B5EF4-FFF2-40B4-BE49-F238E27FC236}">
                  <a16:creationId xmlns:a16="http://schemas.microsoft.com/office/drawing/2014/main" id="{3CB2B779-109D-489E-98A4-007DA4957BD1}"/>
                </a:ext>
              </a:extLst>
            </p:cNvPr>
            <p:cNvSpPr/>
            <p:nvPr/>
          </p:nvSpPr>
          <p:spPr>
            <a:xfrm rot="8100000">
              <a:off x="11199845" y="3461264"/>
              <a:ext cx="265533" cy="219449"/>
            </a:xfrm>
            <a:prstGeom prst="teardrop">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6" name="Teardrop 845">
              <a:extLst>
                <a:ext uri="{FF2B5EF4-FFF2-40B4-BE49-F238E27FC236}">
                  <a16:creationId xmlns:a16="http://schemas.microsoft.com/office/drawing/2014/main" id="{AC7DD453-AD6A-457E-99CE-D897B8E3088F}"/>
                </a:ext>
              </a:extLst>
            </p:cNvPr>
            <p:cNvSpPr/>
            <p:nvPr/>
          </p:nvSpPr>
          <p:spPr>
            <a:xfrm rot="8100000">
              <a:off x="11199845" y="4273521"/>
              <a:ext cx="265533" cy="219449"/>
            </a:xfrm>
            <a:prstGeom prst="teardrop">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8" name="Teardrop 847">
              <a:extLst>
                <a:ext uri="{FF2B5EF4-FFF2-40B4-BE49-F238E27FC236}">
                  <a16:creationId xmlns:a16="http://schemas.microsoft.com/office/drawing/2014/main" id="{C1CE8C60-8037-4368-B135-9A191FF67189}"/>
                </a:ext>
              </a:extLst>
            </p:cNvPr>
            <p:cNvSpPr/>
            <p:nvPr/>
          </p:nvSpPr>
          <p:spPr>
            <a:xfrm rot="8100000">
              <a:off x="11199845" y="1874434"/>
              <a:ext cx="265533" cy="219449"/>
            </a:xfrm>
            <a:prstGeom prst="teardrop">
              <a:avLst/>
            </a:prstGeom>
            <a:solidFill>
              <a:srgbClr val="C7FF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50" name="Teardrop 849">
              <a:extLst>
                <a:ext uri="{FF2B5EF4-FFF2-40B4-BE49-F238E27FC236}">
                  <a16:creationId xmlns:a16="http://schemas.microsoft.com/office/drawing/2014/main" id="{D80EAA5E-8877-4911-88D4-FED293639FAF}"/>
                </a:ext>
              </a:extLst>
            </p:cNvPr>
            <p:cNvSpPr/>
            <p:nvPr/>
          </p:nvSpPr>
          <p:spPr>
            <a:xfrm rot="8100000">
              <a:off x="11199845" y="5044449"/>
              <a:ext cx="265533" cy="219449"/>
            </a:xfrm>
            <a:prstGeom prst="teardrop">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1861" name="Group 204">
            <a:extLst>
              <a:ext uri="{FF2B5EF4-FFF2-40B4-BE49-F238E27FC236}">
                <a16:creationId xmlns:a16="http://schemas.microsoft.com/office/drawing/2014/main" id="{3F3A009A-D6FA-44E1-ADB0-8C634DA7484D}"/>
              </a:ext>
            </a:extLst>
          </p:cNvPr>
          <p:cNvGrpSpPr>
            <a:grpSpLocks/>
          </p:cNvGrpSpPr>
          <p:nvPr/>
        </p:nvGrpSpPr>
        <p:grpSpPr bwMode="auto">
          <a:xfrm>
            <a:off x="-57487" y="971981"/>
            <a:ext cx="9436913" cy="5265331"/>
            <a:chOff x="-263" y="745"/>
            <a:chExt cx="6238" cy="3575"/>
          </a:xfrm>
        </p:grpSpPr>
        <p:sp>
          <p:nvSpPr>
            <p:cNvPr id="1862" name="Freeform 4">
              <a:extLst>
                <a:ext uri="{FF2B5EF4-FFF2-40B4-BE49-F238E27FC236}">
                  <a16:creationId xmlns:a16="http://schemas.microsoft.com/office/drawing/2014/main" id="{EEE7F70E-8C95-4932-A220-19F962FDC577}"/>
                </a:ext>
              </a:extLst>
            </p:cNvPr>
            <p:cNvSpPr>
              <a:spLocks noEditPoints="1"/>
            </p:cNvSpPr>
            <p:nvPr/>
          </p:nvSpPr>
          <p:spPr bwMode="auto">
            <a:xfrm>
              <a:off x="3903" y="1854"/>
              <a:ext cx="1203" cy="895"/>
            </a:xfrm>
            <a:custGeom>
              <a:avLst/>
              <a:gdLst/>
              <a:ahLst/>
              <a:cxnLst>
                <a:cxn ang="0">
                  <a:pos x="896" y="119"/>
                </a:cxn>
                <a:cxn ang="0">
                  <a:pos x="905" y="85"/>
                </a:cxn>
                <a:cxn ang="0">
                  <a:pos x="909" y="42"/>
                </a:cxn>
                <a:cxn ang="0">
                  <a:pos x="903" y="15"/>
                </a:cxn>
                <a:cxn ang="0">
                  <a:pos x="939" y="4"/>
                </a:cxn>
                <a:cxn ang="0">
                  <a:pos x="975" y="6"/>
                </a:cxn>
                <a:cxn ang="0">
                  <a:pos x="994" y="19"/>
                </a:cxn>
                <a:cxn ang="0">
                  <a:pos x="1012" y="42"/>
                </a:cxn>
                <a:cxn ang="0">
                  <a:pos x="1041" y="76"/>
                </a:cxn>
                <a:cxn ang="0">
                  <a:pos x="1065" y="108"/>
                </a:cxn>
                <a:cxn ang="0">
                  <a:pos x="1090" y="110"/>
                </a:cxn>
                <a:cxn ang="0">
                  <a:pos x="1114" y="126"/>
                </a:cxn>
                <a:cxn ang="0">
                  <a:pos x="1125" y="149"/>
                </a:cxn>
                <a:cxn ang="0">
                  <a:pos x="1161" y="155"/>
                </a:cxn>
                <a:cxn ang="0">
                  <a:pos x="1186" y="130"/>
                </a:cxn>
                <a:cxn ang="0">
                  <a:pos x="1197" y="160"/>
                </a:cxn>
                <a:cxn ang="0">
                  <a:pos x="1199" y="192"/>
                </a:cxn>
                <a:cxn ang="0">
                  <a:pos x="1197" y="221"/>
                </a:cxn>
                <a:cxn ang="0">
                  <a:pos x="1165" y="238"/>
                </a:cxn>
                <a:cxn ang="0">
                  <a:pos x="1176" y="287"/>
                </a:cxn>
                <a:cxn ang="0">
                  <a:pos x="1086" y="386"/>
                </a:cxn>
                <a:cxn ang="0">
                  <a:pos x="1043" y="415"/>
                </a:cxn>
                <a:cxn ang="0">
                  <a:pos x="1043" y="403"/>
                </a:cxn>
                <a:cxn ang="0">
                  <a:pos x="1043" y="373"/>
                </a:cxn>
                <a:cxn ang="0">
                  <a:pos x="999" y="386"/>
                </a:cxn>
                <a:cxn ang="0">
                  <a:pos x="969" y="420"/>
                </a:cxn>
                <a:cxn ang="0">
                  <a:pos x="994" y="445"/>
                </a:cxn>
                <a:cxn ang="0">
                  <a:pos x="1022" y="445"/>
                </a:cxn>
                <a:cxn ang="0">
                  <a:pos x="1067" y="454"/>
                </a:cxn>
                <a:cxn ang="0">
                  <a:pos x="1043" y="473"/>
                </a:cxn>
                <a:cxn ang="0">
                  <a:pos x="1018" y="499"/>
                </a:cxn>
                <a:cxn ang="0">
                  <a:pos x="1052" y="558"/>
                </a:cxn>
                <a:cxn ang="0">
                  <a:pos x="1060" y="588"/>
                </a:cxn>
                <a:cxn ang="0">
                  <a:pos x="1028" y="584"/>
                </a:cxn>
                <a:cxn ang="0">
                  <a:pos x="1073" y="620"/>
                </a:cxn>
                <a:cxn ang="0">
                  <a:pos x="1073" y="628"/>
                </a:cxn>
                <a:cxn ang="0">
                  <a:pos x="1090" y="641"/>
                </a:cxn>
                <a:cxn ang="0">
                  <a:pos x="1086" y="658"/>
                </a:cxn>
                <a:cxn ang="0">
                  <a:pos x="1076" y="680"/>
                </a:cxn>
                <a:cxn ang="0">
                  <a:pos x="1073" y="703"/>
                </a:cxn>
                <a:cxn ang="0">
                  <a:pos x="1060" y="718"/>
                </a:cxn>
                <a:cxn ang="0">
                  <a:pos x="1060" y="741"/>
                </a:cxn>
                <a:cxn ang="0">
                  <a:pos x="1048" y="748"/>
                </a:cxn>
                <a:cxn ang="0">
                  <a:pos x="1035" y="765"/>
                </a:cxn>
                <a:cxn ang="0">
                  <a:pos x="1022" y="776"/>
                </a:cxn>
                <a:cxn ang="0">
                  <a:pos x="999" y="799"/>
                </a:cxn>
                <a:cxn ang="0">
                  <a:pos x="973" y="806"/>
                </a:cxn>
                <a:cxn ang="0">
                  <a:pos x="954" y="812"/>
                </a:cxn>
                <a:cxn ang="0">
                  <a:pos x="918" y="827"/>
                </a:cxn>
                <a:cxn ang="0">
                  <a:pos x="905" y="833"/>
                </a:cxn>
                <a:cxn ang="0">
                  <a:pos x="898" y="850"/>
                </a:cxn>
                <a:cxn ang="0">
                  <a:pos x="879" y="825"/>
                </a:cxn>
                <a:cxn ang="0">
                  <a:pos x="738" y="844"/>
                </a:cxn>
                <a:cxn ang="0">
                  <a:pos x="1028" y="786"/>
                </a:cxn>
                <a:cxn ang="0">
                  <a:pos x="1061" y="735"/>
                </a:cxn>
                <a:cxn ang="0">
                  <a:pos x="1076" y="597"/>
                </a:cxn>
                <a:cxn ang="0">
                  <a:pos x="1097" y="799"/>
                </a:cxn>
                <a:cxn ang="0">
                  <a:pos x="1103" y="739"/>
                </a:cxn>
                <a:cxn ang="0">
                  <a:pos x="1078" y="791"/>
                </a:cxn>
                <a:cxn ang="0">
                  <a:pos x="905" y="837"/>
                </a:cxn>
                <a:cxn ang="0">
                  <a:pos x="892" y="859"/>
                </a:cxn>
                <a:cxn ang="0">
                  <a:pos x="900" y="889"/>
                </a:cxn>
                <a:cxn ang="0">
                  <a:pos x="909" y="857"/>
                </a:cxn>
              </a:cxnLst>
              <a:rect l="0" t="0" r="r" b="b"/>
              <a:pathLst>
                <a:path w="1203" h="895">
                  <a:moveTo>
                    <a:pt x="363" y="191"/>
                  </a:moveTo>
                  <a:lnTo>
                    <a:pt x="369" y="191"/>
                  </a:lnTo>
                  <a:lnTo>
                    <a:pt x="372" y="192"/>
                  </a:lnTo>
                  <a:lnTo>
                    <a:pt x="374" y="192"/>
                  </a:lnTo>
                  <a:lnTo>
                    <a:pt x="538" y="196"/>
                  </a:lnTo>
                  <a:lnTo>
                    <a:pt x="826" y="166"/>
                  </a:lnTo>
                  <a:lnTo>
                    <a:pt x="864" y="126"/>
                  </a:lnTo>
                  <a:lnTo>
                    <a:pt x="871" y="125"/>
                  </a:lnTo>
                  <a:lnTo>
                    <a:pt x="871" y="125"/>
                  </a:lnTo>
                  <a:lnTo>
                    <a:pt x="875" y="126"/>
                  </a:lnTo>
                  <a:lnTo>
                    <a:pt x="879" y="126"/>
                  </a:lnTo>
                  <a:lnTo>
                    <a:pt x="884" y="126"/>
                  </a:lnTo>
                  <a:lnTo>
                    <a:pt x="884" y="128"/>
                  </a:lnTo>
                  <a:lnTo>
                    <a:pt x="886" y="128"/>
                  </a:lnTo>
                  <a:lnTo>
                    <a:pt x="896" y="119"/>
                  </a:lnTo>
                  <a:lnTo>
                    <a:pt x="901" y="119"/>
                  </a:lnTo>
                  <a:lnTo>
                    <a:pt x="905" y="115"/>
                  </a:lnTo>
                  <a:lnTo>
                    <a:pt x="909" y="115"/>
                  </a:lnTo>
                  <a:lnTo>
                    <a:pt x="911" y="110"/>
                  </a:lnTo>
                  <a:lnTo>
                    <a:pt x="909" y="106"/>
                  </a:lnTo>
                  <a:lnTo>
                    <a:pt x="909" y="106"/>
                  </a:lnTo>
                  <a:lnTo>
                    <a:pt x="909" y="106"/>
                  </a:lnTo>
                  <a:lnTo>
                    <a:pt x="905" y="106"/>
                  </a:lnTo>
                  <a:lnTo>
                    <a:pt x="905" y="106"/>
                  </a:lnTo>
                  <a:lnTo>
                    <a:pt x="905" y="100"/>
                  </a:lnTo>
                  <a:lnTo>
                    <a:pt x="905" y="98"/>
                  </a:lnTo>
                  <a:lnTo>
                    <a:pt x="905" y="93"/>
                  </a:lnTo>
                  <a:lnTo>
                    <a:pt x="903" y="89"/>
                  </a:lnTo>
                  <a:lnTo>
                    <a:pt x="905" y="89"/>
                  </a:lnTo>
                  <a:lnTo>
                    <a:pt x="905" y="85"/>
                  </a:lnTo>
                  <a:lnTo>
                    <a:pt x="905" y="83"/>
                  </a:lnTo>
                  <a:lnTo>
                    <a:pt x="905" y="81"/>
                  </a:lnTo>
                  <a:lnTo>
                    <a:pt x="905" y="77"/>
                  </a:lnTo>
                  <a:lnTo>
                    <a:pt x="905" y="74"/>
                  </a:lnTo>
                  <a:lnTo>
                    <a:pt x="903" y="72"/>
                  </a:lnTo>
                  <a:lnTo>
                    <a:pt x="903" y="68"/>
                  </a:lnTo>
                  <a:lnTo>
                    <a:pt x="905" y="64"/>
                  </a:lnTo>
                  <a:lnTo>
                    <a:pt x="909" y="64"/>
                  </a:lnTo>
                  <a:lnTo>
                    <a:pt x="909" y="59"/>
                  </a:lnTo>
                  <a:lnTo>
                    <a:pt x="909" y="55"/>
                  </a:lnTo>
                  <a:lnTo>
                    <a:pt x="915" y="53"/>
                  </a:lnTo>
                  <a:lnTo>
                    <a:pt x="915" y="49"/>
                  </a:lnTo>
                  <a:lnTo>
                    <a:pt x="911" y="47"/>
                  </a:lnTo>
                  <a:lnTo>
                    <a:pt x="911" y="44"/>
                  </a:lnTo>
                  <a:lnTo>
                    <a:pt x="909" y="42"/>
                  </a:lnTo>
                  <a:lnTo>
                    <a:pt x="909" y="38"/>
                  </a:lnTo>
                  <a:lnTo>
                    <a:pt x="905" y="34"/>
                  </a:lnTo>
                  <a:lnTo>
                    <a:pt x="903" y="34"/>
                  </a:lnTo>
                  <a:lnTo>
                    <a:pt x="901" y="34"/>
                  </a:lnTo>
                  <a:lnTo>
                    <a:pt x="898" y="36"/>
                  </a:lnTo>
                  <a:lnTo>
                    <a:pt x="894" y="36"/>
                  </a:lnTo>
                  <a:lnTo>
                    <a:pt x="894" y="34"/>
                  </a:lnTo>
                  <a:lnTo>
                    <a:pt x="894" y="30"/>
                  </a:lnTo>
                  <a:lnTo>
                    <a:pt x="894" y="30"/>
                  </a:lnTo>
                  <a:lnTo>
                    <a:pt x="894" y="29"/>
                  </a:lnTo>
                  <a:lnTo>
                    <a:pt x="896" y="25"/>
                  </a:lnTo>
                  <a:lnTo>
                    <a:pt x="898" y="21"/>
                  </a:lnTo>
                  <a:lnTo>
                    <a:pt x="900" y="19"/>
                  </a:lnTo>
                  <a:lnTo>
                    <a:pt x="900" y="17"/>
                  </a:lnTo>
                  <a:lnTo>
                    <a:pt x="903" y="15"/>
                  </a:lnTo>
                  <a:lnTo>
                    <a:pt x="905" y="13"/>
                  </a:lnTo>
                  <a:lnTo>
                    <a:pt x="909" y="13"/>
                  </a:lnTo>
                  <a:lnTo>
                    <a:pt x="911" y="13"/>
                  </a:lnTo>
                  <a:lnTo>
                    <a:pt x="911" y="12"/>
                  </a:lnTo>
                  <a:lnTo>
                    <a:pt x="915" y="13"/>
                  </a:lnTo>
                  <a:lnTo>
                    <a:pt x="916" y="12"/>
                  </a:lnTo>
                  <a:lnTo>
                    <a:pt x="918" y="8"/>
                  </a:lnTo>
                  <a:lnTo>
                    <a:pt x="922" y="8"/>
                  </a:lnTo>
                  <a:lnTo>
                    <a:pt x="924" y="6"/>
                  </a:lnTo>
                  <a:lnTo>
                    <a:pt x="928" y="6"/>
                  </a:lnTo>
                  <a:lnTo>
                    <a:pt x="932" y="6"/>
                  </a:lnTo>
                  <a:lnTo>
                    <a:pt x="935" y="6"/>
                  </a:lnTo>
                  <a:lnTo>
                    <a:pt x="935" y="4"/>
                  </a:lnTo>
                  <a:lnTo>
                    <a:pt x="939" y="4"/>
                  </a:lnTo>
                  <a:lnTo>
                    <a:pt x="939" y="4"/>
                  </a:lnTo>
                  <a:lnTo>
                    <a:pt x="943" y="0"/>
                  </a:lnTo>
                  <a:lnTo>
                    <a:pt x="945" y="0"/>
                  </a:lnTo>
                  <a:lnTo>
                    <a:pt x="947" y="0"/>
                  </a:lnTo>
                  <a:lnTo>
                    <a:pt x="950" y="0"/>
                  </a:lnTo>
                  <a:lnTo>
                    <a:pt x="952" y="4"/>
                  </a:lnTo>
                  <a:lnTo>
                    <a:pt x="958" y="4"/>
                  </a:lnTo>
                  <a:lnTo>
                    <a:pt x="960" y="6"/>
                  </a:lnTo>
                  <a:lnTo>
                    <a:pt x="960" y="8"/>
                  </a:lnTo>
                  <a:lnTo>
                    <a:pt x="965" y="8"/>
                  </a:lnTo>
                  <a:lnTo>
                    <a:pt x="969" y="6"/>
                  </a:lnTo>
                  <a:lnTo>
                    <a:pt x="969" y="8"/>
                  </a:lnTo>
                  <a:lnTo>
                    <a:pt x="973" y="10"/>
                  </a:lnTo>
                  <a:lnTo>
                    <a:pt x="973" y="10"/>
                  </a:lnTo>
                  <a:lnTo>
                    <a:pt x="973" y="6"/>
                  </a:lnTo>
                  <a:lnTo>
                    <a:pt x="975" y="6"/>
                  </a:lnTo>
                  <a:lnTo>
                    <a:pt x="977" y="6"/>
                  </a:lnTo>
                  <a:lnTo>
                    <a:pt x="980" y="6"/>
                  </a:lnTo>
                  <a:lnTo>
                    <a:pt x="980" y="6"/>
                  </a:lnTo>
                  <a:lnTo>
                    <a:pt x="982" y="8"/>
                  </a:lnTo>
                  <a:lnTo>
                    <a:pt x="984" y="8"/>
                  </a:lnTo>
                  <a:lnTo>
                    <a:pt x="988" y="8"/>
                  </a:lnTo>
                  <a:lnTo>
                    <a:pt x="988" y="10"/>
                  </a:lnTo>
                  <a:lnTo>
                    <a:pt x="988" y="12"/>
                  </a:lnTo>
                  <a:lnTo>
                    <a:pt x="990" y="13"/>
                  </a:lnTo>
                  <a:lnTo>
                    <a:pt x="990" y="15"/>
                  </a:lnTo>
                  <a:lnTo>
                    <a:pt x="990" y="15"/>
                  </a:lnTo>
                  <a:lnTo>
                    <a:pt x="994" y="13"/>
                  </a:lnTo>
                  <a:lnTo>
                    <a:pt x="997" y="15"/>
                  </a:lnTo>
                  <a:lnTo>
                    <a:pt x="997" y="17"/>
                  </a:lnTo>
                  <a:lnTo>
                    <a:pt x="994" y="19"/>
                  </a:lnTo>
                  <a:lnTo>
                    <a:pt x="997" y="21"/>
                  </a:lnTo>
                  <a:lnTo>
                    <a:pt x="999" y="21"/>
                  </a:lnTo>
                  <a:lnTo>
                    <a:pt x="1001" y="21"/>
                  </a:lnTo>
                  <a:lnTo>
                    <a:pt x="1001" y="21"/>
                  </a:lnTo>
                  <a:lnTo>
                    <a:pt x="1001" y="25"/>
                  </a:lnTo>
                  <a:lnTo>
                    <a:pt x="1005" y="25"/>
                  </a:lnTo>
                  <a:lnTo>
                    <a:pt x="1005" y="25"/>
                  </a:lnTo>
                  <a:lnTo>
                    <a:pt x="1005" y="30"/>
                  </a:lnTo>
                  <a:lnTo>
                    <a:pt x="1007" y="30"/>
                  </a:lnTo>
                  <a:lnTo>
                    <a:pt x="1007" y="34"/>
                  </a:lnTo>
                  <a:lnTo>
                    <a:pt x="1007" y="34"/>
                  </a:lnTo>
                  <a:lnTo>
                    <a:pt x="1012" y="34"/>
                  </a:lnTo>
                  <a:lnTo>
                    <a:pt x="1012" y="36"/>
                  </a:lnTo>
                  <a:lnTo>
                    <a:pt x="1012" y="40"/>
                  </a:lnTo>
                  <a:lnTo>
                    <a:pt x="1012" y="42"/>
                  </a:lnTo>
                  <a:lnTo>
                    <a:pt x="1014" y="44"/>
                  </a:lnTo>
                  <a:lnTo>
                    <a:pt x="1018" y="47"/>
                  </a:lnTo>
                  <a:lnTo>
                    <a:pt x="1018" y="49"/>
                  </a:lnTo>
                  <a:lnTo>
                    <a:pt x="1022" y="53"/>
                  </a:lnTo>
                  <a:lnTo>
                    <a:pt x="1022" y="55"/>
                  </a:lnTo>
                  <a:lnTo>
                    <a:pt x="1024" y="55"/>
                  </a:lnTo>
                  <a:lnTo>
                    <a:pt x="1028" y="59"/>
                  </a:lnTo>
                  <a:lnTo>
                    <a:pt x="1028" y="59"/>
                  </a:lnTo>
                  <a:lnTo>
                    <a:pt x="1024" y="61"/>
                  </a:lnTo>
                  <a:lnTo>
                    <a:pt x="1028" y="64"/>
                  </a:lnTo>
                  <a:lnTo>
                    <a:pt x="1028" y="61"/>
                  </a:lnTo>
                  <a:lnTo>
                    <a:pt x="1029" y="64"/>
                  </a:lnTo>
                  <a:lnTo>
                    <a:pt x="1029" y="66"/>
                  </a:lnTo>
                  <a:lnTo>
                    <a:pt x="1033" y="72"/>
                  </a:lnTo>
                  <a:lnTo>
                    <a:pt x="1041" y="76"/>
                  </a:lnTo>
                  <a:lnTo>
                    <a:pt x="1043" y="79"/>
                  </a:lnTo>
                  <a:lnTo>
                    <a:pt x="1043" y="83"/>
                  </a:lnTo>
                  <a:lnTo>
                    <a:pt x="1044" y="85"/>
                  </a:lnTo>
                  <a:lnTo>
                    <a:pt x="1044" y="89"/>
                  </a:lnTo>
                  <a:lnTo>
                    <a:pt x="1046" y="89"/>
                  </a:lnTo>
                  <a:lnTo>
                    <a:pt x="1048" y="89"/>
                  </a:lnTo>
                  <a:lnTo>
                    <a:pt x="1048" y="93"/>
                  </a:lnTo>
                  <a:lnTo>
                    <a:pt x="1048" y="94"/>
                  </a:lnTo>
                  <a:lnTo>
                    <a:pt x="1052" y="98"/>
                  </a:lnTo>
                  <a:lnTo>
                    <a:pt x="1054" y="104"/>
                  </a:lnTo>
                  <a:lnTo>
                    <a:pt x="1058" y="104"/>
                  </a:lnTo>
                  <a:lnTo>
                    <a:pt x="1060" y="108"/>
                  </a:lnTo>
                  <a:lnTo>
                    <a:pt x="1061" y="108"/>
                  </a:lnTo>
                  <a:lnTo>
                    <a:pt x="1063" y="106"/>
                  </a:lnTo>
                  <a:lnTo>
                    <a:pt x="1065" y="108"/>
                  </a:lnTo>
                  <a:lnTo>
                    <a:pt x="1067" y="108"/>
                  </a:lnTo>
                  <a:lnTo>
                    <a:pt x="1071" y="108"/>
                  </a:lnTo>
                  <a:lnTo>
                    <a:pt x="1073" y="106"/>
                  </a:lnTo>
                  <a:lnTo>
                    <a:pt x="1076" y="106"/>
                  </a:lnTo>
                  <a:lnTo>
                    <a:pt x="1076" y="108"/>
                  </a:lnTo>
                  <a:lnTo>
                    <a:pt x="1073" y="108"/>
                  </a:lnTo>
                  <a:lnTo>
                    <a:pt x="1076" y="110"/>
                  </a:lnTo>
                  <a:lnTo>
                    <a:pt x="1078" y="110"/>
                  </a:lnTo>
                  <a:lnTo>
                    <a:pt x="1082" y="110"/>
                  </a:lnTo>
                  <a:lnTo>
                    <a:pt x="1082" y="113"/>
                  </a:lnTo>
                  <a:lnTo>
                    <a:pt x="1084" y="113"/>
                  </a:lnTo>
                  <a:lnTo>
                    <a:pt x="1084" y="113"/>
                  </a:lnTo>
                  <a:lnTo>
                    <a:pt x="1086" y="110"/>
                  </a:lnTo>
                  <a:lnTo>
                    <a:pt x="1088" y="113"/>
                  </a:lnTo>
                  <a:lnTo>
                    <a:pt x="1090" y="110"/>
                  </a:lnTo>
                  <a:lnTo>
                    <a:pt x="1092" y="110"/>
                  </a:lnTo>
                  <a:lnTo>
                    <a:pt x="1093" y="110"/>
                  </a:lnTo>
                  <a:lnTo>
                    <a:pt x="1093" y="113"/>
                  </a:lnTo>
                  <a:lnTo>
                    <a:pt x="1095" y="115"/>
                  </a:lnTo>
                  <a:lnTo>
                    <a:pt x="1097" y="115"/>
                  </a:lnTo>
                  <a:lnTo>
                    <a:pt x="1097" y="115"/>
                  </a:lnTo>
                  <a:lnTo>
                    <a:pt x="1101" y="119"/>
                  </a:lnTo>
                  <a:lnTo>
                    <a:pt x="1101" y="119"/>
                  </a:lnTo>
                  <a:lnTo>
                    <a:pt x="1103" y="119"/>
                  </a:lnTo>
                  <a:lnTo>
                    <a:pt x="1103" y="123"/>
                  </a:lnTo>
                  <a:lnTo>
                    <a:pt x="1107" y="123"/>
                  </a:lnTo>
                  <a:lnTo>
                    <a:pt x="1107" y="125"/>
                  </a:lnTo>
                  <a:lnTo>
                    <a:pt x="1108" y="125"/>
                  </a:lnTo>
                  <a:lnTo>
                    <a:pt x="1110" y="126"/>
                  </a:lnTo>
                  <a:lnTo>
                    <a:pt x="1114" y="126"/>
                  </a:lnTo>
                  <a:lnTo>
                    <a:pt x="1116" y="126"/>
                  </a:lnTo>
                  <a:lnTo>
                    <a:pt x="1118" y="126"/>
                  </a:lnTo>
                  <a:lnTo>
                    <a:pt x="1120" y="125"/>
                  </a:lnTo>
                  <a:lnTo>
                    <a:pt x="1122" y="125"/>
                  </a:lnTo>
                  <a:lnTo>
                    <a:pt x="1124" y="125"/>
                  </a:lnTo>
                  <a:lnTo>
                    <a:pt x="1124" y="126"/>
                  </a:lnTo>
                  <a:lnTo>
                    <a:pt x="1122" y="130"/>
                  </a:lnTo>
                  <a:lnTo>
                    <a:pt x="1122" y="132"/>
                  </a:lnTo>
                  <a:lnTo>
                    <a:pt x="1122" y="134"/>
                  </a:lnTo>
                  <a:lnTo>
                    <a:pt x="1125" y="134"/>
                  </a:lnTo>
                  <a:lnTo>
                    <a:pt x="1125" y="138"/>
                  </a:lnTo>
                  <a:lnTo>
                    <a:pt x="1127" y="142"/>
                  </a:lnTo>
                  <a:lnTo>
                    <a:pt x="1125" y="143"/>
                  </a:lnTo>
                  <a:lnTo>
                    <a:pt x="1125" y="143"/>
                  </a:lnTo>
                  <a:lnTo>
                    <a:pt x="1125" y="149"/>
                  </a:lnTo>
                  <a:lnTo>
                    <a:pt x="1127" y="153"/>
                  </a:lnTo>
                  <a:lnTo>
                    <a:pt x="1131" y="153"/>
                  </a:lnTo>
                  <a:lnTo>
                    <a:pt x="1131" y="157"/>
                  </a:lnTo>
                  <a:lnTo>
                    <a:pt x="1135" y="158"/>
                  </a:lnTo>
                  <a:lnTo>
                    <a:pt x="1137" y="158"/>
                  </a:lnTo>
                  <a:lnTo>
                    <a:pt x="1140" y="157"/>
                  </a:lnTo>
                  <a:lnTo>
                    <a:pt x="1140" y="157"/>
                  </a:lnTo>
                  <a:lnTo>
                    <a:pt x="1142" y="158"/>
                  </a:lnTo>
                  <a:lnTo>
                    <a:pt x="1144" y="160"/>
                  </a:lnTo>
                  <a:lnTo>
                    <a:pt x="1146" y="160"/>
                  </a:lnTo>
                  <a:lnTo>
                    <a:pt x="1148" y="158"/>
                  </a:lnTo>
                  <a:lnTo>
                    <a:pt x="1152" y="158"/>
                  </a:lnTo>
                  <a:lnTo>
                    <a:pt x="1152" y="158"/>
                  </a:lnTo>
                  <a:lnTo>
                    <a:pt x="1159" y="157"/>
                  </a:lnTo>
                  <a:lnTo>
                    <a:pt x="1161" y="155"/>
                  </a:lnTo>
                  <a:lnTo>
                    <a:pt x="1161" y="155"/>
                  </a:lnTo>
                  <a:lnTo>
                    <a:pt x="1161" y="153"/>
                  </a:lnTo>
                  <a:lnTo>
                    <a:pt x="1161" y="149"/>
                  </a:lnTo>
                  <a:lnTo>
                    <a:pt x="1165" y="149"/>
                  </a:lnTo>
                  <a:lnTo>
                    <a:pt x="1165" y="143"/>
                  </a:lnTo>
                  <a:lnTo>
                    <a:pt x="1165" y="143"/>
                  </a:lnTo>
                  <a:lnTo>
                    <a:pt x="1169" y="143"/>
                  </a:lnTo>
                  <a:lnTo>
                    <a:pt x="1172" y="143"/>
                  </a:lnTo>
                  <a:lnTo>
                    <a:pt x="1172" y="140"/>
                  </a:lnTo>
                  <a:lnTo>
                    <a:pt x="1174" y="138"/>
                  </a:lnTo>
                  <a:lnTo>
                    <a:pt x="1176" y="138"/>
                  </a:lnTo>
                  <a:lnTo>
                    <a:pt x="1178" y="134"/>
                  </a:lnTo>
                  <a:lnTo>
                    <a:pt x="1180" y="132"/>
                  </a:lnTo>
                  <a:lnTo>
                    <a:pt x="1184" y="132"/>
                  </a:lnTo>
                  <a:lnTo>
                    <a:pt x="1186" y="130"/>
                  </a:lnTo>
                  <a:lnTo>
                    <a:pt x="1189" y="132"/>
                  </a:lnTo>
                  <a:lnTo>
                    <a:pt x="1189" y="134"/>
                  </a:lnTo>
                  <a:lnTo>
                    <a:pt x="1191" y="134"/>
                  </a:lnTo>
                  <a:lnTo>
                    <a:pt x="1195" y="136"/>
                  </a:lnTo>
                  <a:lnTo>
                    <a:pt x="1195" y="140"/>
                  </a:lnTo>
                  <a:lnTo>
                    <a:pt x="1195" y="142"/>
                  </a:lnTo>
                  <a:lnTo>
                    <a:pt x="1195" y="143"/>
                  </a:lnTo>
                  <a:lnTo>
                    <a:pt x="1197" y="147"/>
                  </a:lnTo>
                  <a:lnTo>
                    <a:pt x="1197" y="149"/>
                  </a:lnTo>
                  <a:lnTo>
                    <a:pt x="1199" y="149"/>
                  </a:lnTo>
                  <a:lnTo>
                    <a:pt x="1203" y="153"/>
                  </a:lnTo>
                  <a:lnTo>
                    <a:pt x="1201" y="155"/>
                  </a:lnTo>
                  <a:lnTo>
                    <a:pt x="1201" y="158"/>
                  </a:lnTo>
                  <a:lnTo>
                    <a:pt x="1201" y="160"/>
                  </a:lnTo>
                  <a:lnTo>
                    <a:pt x="1197" y="160"/>
                  </a:lnTo>
                  <a:lnTo>
                    <a:pt x="1195" y="164"/>
                  </a:lnTo>
                  <a:lnTo>
                    <a:pt x="1195" y="166"/>
                  </a:lnTo>
                  <a:lnTo>
                    <a:pt x="1197" y="168"/>
                  </a:lnTo>
                  <a:lnTo>
                    <a:pt x="1197" y="170"/>
                  </a:lnTo>
                  <a:lnTo>
                    <a:pt x="1197" y="172"/>
                  </a:lnTo>
                  <a:lnTo>
                    <a:pt x="1195" y="174"/>
                  </a:lnTo>
                  <a:lnTo>
                    <a:pt x="1197" y="177"/>
                  </a:lnTo>
                  <a:lnTo>
                    <a:pt x="1199" y="177"/>
                  </a:lnTo>
                  <a:lnTo>
                    <a:pt x="1199" y="179"/>
                  </a:lnTo>
                  <a:lnTo>
                    <a:pt x="1199" y="179"/>
                  </a:lnTo>
                  <a:lnTo>
                    <a:pt x="1199" y="183"/>
                  </a:lnTo>
                  <a:lnTo>
                    <a:pt x="1199" y="183"/>
                  </a:lnTo>
                  <a:lnTo>
                    <a:pt x="1197" y="183"/>
                  </a:lnTo>
                  <a:lnTo>
                    <a:pt x="1197" y="187"/>
                  </a:lnTo>
                  <a:lnTo>
                    <a:pt x="1199" y="192"/>
                  </a:lnTo>
                  <a:lnTo>
                    <a:pt x="1201" y="194"/>
                  </a:lnTo>
                  <a:lnTo>
                    <a:pt x="1201" y="194"/>
                  </a:lnTo>
                  <a:lnTo>
                    <a:pt x="1199" y="196"/>
                  </a:lnTo>
                  <a:lnTo>
                    <a:pt x="1197" y="200"/>
                  </a:lnTo>
                  <a:lnTo>
                    <a:pt x="1199" y="202"/>
                  </a:lnTo>
                  <a:lnTo>
                    <a:pt x="1199" y="204"/>
                  </a:lnTo>
                  <a:lnTo>
                    <a:pt x="1201" y="204"/>
                  </a:lnTo>
                  <a:lnTo>
                    <a:pt x="1197" y="207"/>
                  </a:lnTo>
                  <a:lnTo>
                    <a:pt x="1197" y="207"/>
                  </a:lnTo>
                  <a:lnTo>
                    <a:pt x="1197" y="207"/>
                  </a:lnTo>
                  <a:lnTo>
                    <a:pt x="1199" y="213"/>
                  </a:lnTo>
                  <a:lnTo>
                    <a:pt x="1197" y="213"/>
                  </a:lnTo>
                  <a:lnTo>
                    <a:pt x="1195" y="217"/>
                  </a:lnTo>
                  <a:lnTo>
                    <a:pt x="1195" y="219"/>
                  </a:lnTo>
                  <a:lnTo>
                    <a:pt x="1197" y="221"/>
                  </a:lnTo>
                  <a:lnTo>
                    <a:pt x="1195" y="223"/>
                  </a:lnTo>
                  <a:lnTo>
                    <a:pt x="1197" y="224"/>
                  </a:lnTo>
                  <a:lnTo>
                    <a:pt x="1197" y="226"/>
                  </a:lnTo>
                  <a:lnTo>
                    <a:pt x="1197" y="230"/>
                  </a:lnTo>
                  <a:lnTo>
                    <a:pt x="1197" y="232"/>
                  </a:lnTo>
                  <a:lnTo>
                    <a:pt x="1195" y="232"/>
                  </a:lnTo>
                  <a:lnTo>
                    <a:pt x="1191" y="230"/>
                  </a:lnTo>
                  <a:lnTo>
                    <a:pt x="1182" y="228"/>
                  </a:lnTo>
                  <a:lnTo>
                    <a:pt x="1178" y="228"/>
                  </a:lnTo>
                  <a:lnTo>
                    <a:pt x="1176" y="226"/>
                  </a:lnTo>
                  <a:lnTo>
                    <a:pt x="1174" y="226"/>
                  </a:lnTo>
                  <a:lnTo>
                    <a:pt x="1171" y="232"/>
                  </a:lnTo>
                  <a:lnTo>
                    <a:pt x="1171" y="236"/>
                  </a:lnTo>
                  <a:lnTo>
                    <a:pt x="1169" y="238"/>
                  </a:lnTo>
                  <a:lnTo>
                    <a:pt x="1165" y="238"/>
                  </a:lnTo>
                  <a:lnTo>
                    <a:pt x="1165" y="238"/>
                  </a:lnTo>
                  <a:lnTo>
                    <a:pt x="1165" y="241"/>
                  </a:lnTo>
                  <a:lnTo>
                    <a:pt x="1165" y="243"/>
                  </a:lnTo>
                  <a:lnTo>
                    <a:pt x="1169" y="251"/>
                  </a:lnTo>
                  <a:lnTo>
                    <a:pt x="1169" y="253"/>
                  </a:lnTo>
                  <a:lnTo>
                    <a:pt x="1171" y="255"/>
                  </a:lnTo>
                  <a:lnTo>
                    <a:pt x="1172" y="258"/>
                  </a:lnTo>
                  <a:lnTo>
                    <a:pt x="1172" y="262"/>
                  </a:lnTo>
                  <a:lnTo>
                    <a:pt x="1174" y="268"/>
                  </a:lnTo>
                  <a:lnTo>
                    <a:pt x="1174" y="268"/>
                  </a:lnTo>
                  <a:lnTo>
                    <a:pt x="1174" y="275"/>
                  </a:lnTo>
                  <a:lnTo>
                    <a:pt x="1176" y="277"/>
                  </a:lnTo>
                  <a:lnTo>
                    <a:pt x="1176" y="281"/>
                  </a:lnTo>
                  <a:lnTo>
                    <a:pt x="1176" y="285"/>
                  </a:lnTo>
                  <a:lnTo>
                    <a:pt x="1176" y="287"/>
                  </a:lnTo>
                  <a:lnTo>
                    <a:pt x="1176" y="288"/>
                  </a:lnTo>
                  <a:lnTo>
                    <a:pt x="1176" y="290"/>
                  </a:lnTo>
                  <a:lnTo>
                    <a:pt x="1176" y="292"/>
                  </a:lnTo>
                  <a:lnTo>
                    <a:pt x="1174" y="292"/>
                  </a:lnTo>
                  <a:lnTo>
                    <a:pt x="1171" y="292"/>
                  </a:lnTo>
                  <a:lnTo>
                    <a:pt x="1167" y="292"/>
                  </a:lnTo>
                  <a:lnTo>
                    <a:pt x="1167" y="296"/>
                  </a:lnTo>
                  <a:lnTo>
                    <a:pt x="1169" y="298"/>
                  </a:lnTo>
                  <a:lnTo>
                    <a:pt x="1169" y="302"/>
                  </a:lnTo>
                  <a:lnTo>
                    <a:pt x="1169" y="302"/>
                  </a:lnTo>
                  <a:lnTo>
                    <a:pt x="1169" y="305"/>
                  </a:lnTo>
                  <a:lnTo>
                    <a:pt x="1152" y="317"/>
                  </a:lnTo>
                  <a:lnTo>
                    <a:pt x="1148" y="345"/>
                  </a:lnTo>
                  <a:lnTo>
                    <a:pt x="1095" y="385"/>
                  </a:lnTo>
                  <a:lnTo>
                    <a:pt x="1086" y="386"/>
                  </a:lnTo>
                  <a:lnTo>
                    <a:pt x="1084" y="386"/>
                  </a:lnTo>
                  <a:lnTo>
                    <a:pt x="1084" y="385"/>
                  </a:lnTo>
                  <a:lnTo>
                    <a:pt x="1078" y="390"/>
                  </a:lnTo>
                  <a:lnTo>
                    <a:pt x="1073" y="390"/>
                  </a:lnTo>
                  <a:lnTo>
                    <a:pt x="1073" y="390"/>
                  </a:lnTo>
                  <a:lnTo>
                    <a:pt x="1071" y="390"/>
                  </a:lnTo>
                  <a:lnTo>
                    <a:pt x="1065" y="392"/>
                  </a:lnTo>
                  <a:lnTo>
                    <a:pt x="1061" y="392"/>
                  </a:lnTo>
                  <a:lnTo>
                    <a:pt x="1060" y="396"/>
                  </a:lnTo>
                  <a:lnTo>
                    <a:pt x="1058" y="396"/>
                  </a:lnTo>
                  <a:lnTo>
                    <a:pt x="1052" y="401"/>
                  </a:lnTo>
                  <a:lnTo>
                    <a:pt x="1046" y="405"/>
                  </a:lnTo>
                  <a:lnTo>
                    <a:pt x="1048" y="411"/>
                  </a:lnTo>
                  <a:lnTo>
                    <a:pt x="1048" y="411"/>
                  </a:lnTo>
                  <a:lnTo>
                    <a:pt x="1043" y="415"/>
                  </a:lnTo>
                  <a:lnTo>
                    <a:pt x="1039" y="417"/>
                  </a:lnTo>
                  <a:lnTo>
                    <a:pt x="1037" y="417"/>
                  </a:lnTo>
                  <a:lnTo>
                    <a:pt x="1033" y="420"/>
                  </a:lnTo>
                  <a:lnTo>
                    <a:pt x="1031" y="420"/>
                  </a:lnTo>
                  <a:lnTo>
                    <a:pt x="1031" y="417"/>
                  </a:lnTo>
                  <a:lnTo>
                    <a:pt x="1028" y="417"/>
                  </a:lnTo>
                  <a:lnTo>
                    <a:pt x="1029" y="415"/>
                  </a:lnTo>
                  <a:lnTo>
                    <a:pt x="1033" y="415"/>
                  </a:lnTo>
                  <a:lnTo>
                    <a:pt x="1035" y="411"/>
                  </a:lnTo>
                  <a:lnTo>
                    <a:pt x="1039" y="411"/>
                  </a:lnTo>
                  <a:lnTo>
                    <a:pt x="1041" y="411"/>
                  </a:lnTo>
                  <a:lnTo>
                    <a:pt x="1041" y="409"/>
                  </a:lnTo>
                  <a:lnTo>
                    <a:pt x="1039" y="407"/>
                  </a:lnTo>
                  <a:lnTo>
                    <a:pt x="1039" y="405"/>
                  </a:lnTo>
                  <a:lnTo>
                    <a:pt x="1043" y="403"/>
                  </a:lnTo>
                  <a:lnTo>
                    <a:pt x="1044" y="400"/>
                  </a:lnTo>
                  <a:lnTo>
                    <a:pt x="1039" y="403"/>
                  </a:lnTo>
                  <a:lnTo>
                    <a:pt x="1035" y="405"/>
                  </a:lnTo>
                  <a:lnTo>
                    <a:pt x="1033" y="403"/>
                  </a:lnTo>
                  <a:lnTo>
                    <a:pt x="1033" y="400"/>
                  </a:lnTo>
                  <a:lnTo>
                    <a:pt x="1035" y="400"/>
                  </a:lnTo>
                  <a:lnTo>
                    <a:pt x="1035" y="400"/>
                  </a:lnTo>
                  <a:lnTo>
                    <a:pt x="1031" y="392"/>
                  </a:lnTo>
                  <a:lnTo>
                    <a:pt x="1031" y="390"/>
                  </a:lnTo>
                  <a:lnTo>
                    <a:pt x="1031" y="386"/>
                  </a:lnTo>
                  <a:lnTo>
                    <a:pt x="1035" y="386"/>
                  </a:lnTo>
                  <a:lnTo>
                    <a:pt x="1035" y="383"/>
                  </a:lnTo>
                  <a:lnTo>
                    <a:pt x="1039" y="377"/>
                  </a:lnTo>
                  <a:lnTo>
                    <a:pt x="1041" y="375"/>
                  </a:lnTo>
                  <a:lnTo>
                    <a:pt x="1043" y="373"/>
                  </a:lnTo>
                  <a:lnTo>
                    <a:pt x="1043" y="369"/>
                  </a:lnTo>
                  <a:lnTo>
                    <a:pt x="1033" y="366"/>
                  </a:lnTo>
                  <a:lnTo>
                    <a:pt x="1028" y="360"/>
                  </a:lnTo>
                  <a:lnTo>
                    <a:pt x="1028" y="362"/>
                  </a:lnTo>
                  <a:lnTo>
                    <a:pt x="1024" y="362"/>
                  </a:lnTo>
                  <a:lnTo>
                    <a:pt x="1022" y="360"/>
                  </a:lnTo>
                  <a:lnTo>
                    <a:pt x="1018" y="360"/>
                  </a:lnTo>
                  <a:lnTo>
                    <a:pt x="1014" y="366"/>
                  </a:lnTo>
                  <a:lnTo>
                    <a:pt x="1014" y="366"/>
                  </a:lnTo>
                  <a:lnTo>
                    <a:pt x="1014" y="369"/>
                  </a:lnTo>
                  <a:lnTo>
                    <a:pt x="1009" y="375"/>
                  </a:lnTo>
                  <a:lnTo>
                    <a:pt x="1009" y="383"/>
                  </a:lnTo>
                  <a:lnTo>
                    <a:pt x="1007" y="383"/>
                  </a:lnTo>
                  <a:lnTo>
                    <a:pt x="1003" y="386"/>
                  </a:lnTo>
                  <a:lnTo>
                    <a:pt x="999" y="386"/>
                  </a:lnTo>
                  <a:lnTo>
                    <a:pt x="994" y="390"/>
                  </a:lnTo>
                  <a:lnTo>
                    <a:pt x="990" y="400"/>
                  </a:lnTo>
                  <a:lnTo>
                    <a:pt x="990" y="403"/>
                  </a:lnTo>
                  <a:lnTo>
                    <a:pt x="990" y="403"/>
                  </a:lnTo>
                  <a:lnTo>
                    <a:pt x="994" y="409"/>
                  </a:lnTo>
                  <a:lnTo>
                    <a:pt x="990" y="409"/>
                  </a:lnTo>
                  <a:lnTo>
                    <a:pt x="990" y="411"/>
                  </a:lnTo>
                  <a:lnTo>
                    <a:pt x="990" y="415"/>
                  </a:lnTo>
                  <a:lnTo>
                    <a:pt x="984" y="415"/>
                  </a:lnTo>
                  <a:lnTo>
                    <a:pt x="979" y="415"/>
                  </a:lnTo>
                  <a:lnTo>
                    <a:pt x="973" y="411"/>
                  </a:lnTo>
                  <a:lnTo>
                    <a:pt x="969" y="415"/>
                  </a:lnTo>
                  <a:lnTo>
                    <a:pt x="969" y="417"/>
                  </a:lnTo>
                  <a:lnTo>
                    <a:pt x="969" y="420"/>
                  </a:lnTo>
                  <a:lnTo>
                    <a:pt x="969" y="420"/>
                  </a:lnTo>
                  <a:lnTo>
                    <a:pt x="969" y="424"/>
                  </a:lnTo>
                  <a:lnTo>
                    <a:pt x="965" y="424"/>
                  </a:lnTo>
                  <a:lnTo>
                    <a:pt x="969" y="428"/>
                  </a:lnTo>
                  <a:lnTo>
                    <a:pt x="969" y="433"/>
                  </a:lnTo>
                  <a:lnTo>
                    <a:pt x="973" y="435"/>
                  </a:lnTo>
                  <a:lnTo>
                    <a:pt x="979" y="439"/>
                  </a:lnTo>
                  <a:lnTo>
                    <a:pt x="979" y="441"/>
                  </a:lnTo>
                  <a:lnTo>
                    <a:pt x="982" y="445"/>
                  </a:lnTo>
                  <a:lnTo>
                    <a:pt x="982" y="445"/>
                  </a:lnTo>
                  <a:lnTo>
                    <a:pt x="984" y="445"/>
                  </a:lnTo>
                  <a:lnTo>
                    <a:pt x="984" y="445"/>
                  </a:lnTo>
                  <a:lnTo>
                    <a:pt x="988" y="445"/>
                  </a:lnTo>
                  <a:lnTo>
                    <a:pt x="988" y="445"/>
                  </a:lnTo>
                  <a:lnTo>
                    <a:pt x="990" y="445"/>
                  </a:lnTo>
                  <a:lnTo>
                    <a:pt x="994" y="445"/>
                  </a:lnTo>
                  <a:lnTo>
                    <a:pt x="994" y="449"/>
                  </a:lnTo>
                  <a:lnTo>
                    <a:pt x="994" y="454"/>
                  </a:lnTo>
                  <a:lnTo>
                    <a:pt x="999" y="464"/>
                  </a:lnTo>
                  <a:lnTo>
                    <a:pt x="1005" y="464"/>
                  </a:lnTo>
                  <a:lnTo>
                    <a:pt x="1009" y="462"/>
                  </a:lnTo>
                  <a:lnTo>
                    <a:pt x="1012" y="464"/>
                  </a:lnTo>
                  <a:lnTo>
                    <a:pt x="1014" y="462"/>
                  </a:lnTo>
                  <a:lnTo>
                    <a:pt x="1014" y="458"/>
                  </a:lnTo>
                  <a:lnTo>
                    <a:pt x="1014" y="454"/>
                  </a:lnTo>
                  <a:lnTo>
                    <a:pt x="1012" y="454"/>
                  </a:lnTo>
                  <a:lnTo>
                    <a:pt x="1018" y="454"/>
                  </a:lnTo>
                  <a:lnTo>
                    <a:pt x="1022" y="450"/>
                  </a:lnTo>
                  <a:lnTo>
                    <a:pt x="1022" y="449"/>
                  </a:lnTo>
                  <a:lnTo>
                    <a:pt x="1018" y="445"/>
                  </a:lnTo>
                  <a:lnTo>
                    <a:pt x="1022" y="445"/>
                  </a:lnTo>
                  <a:lnTo>
                    <a:pt x="1031" y="441"/>
                  </a:lnTo>
                  <a:lnTo>
                    <a:pt x="1033" y="445"/>
                  </a:lnTo>
                  <a:lnTo>
                    <a:pt x="1035" y="445"/>
                  </a:lnTo>
                  <a:lnTo>
                    <a:pt x="1037" y="449"/>
                  </a:lnTo>
                  <a:lnTo>
                    <a:pt x="1039" y="450"/>
                  </a:lnTo>
                  <a:lnTo>
                    <a:pt x="1043" y="450"/>
                  </a:lnTo>
                  <a:lnTo>
                    <a:pt x="1052" y="450"/>
                  </a:lnTo>
                  <a:lnTo>
                    <a:pt x="1054" y="450"/>
                  </a:lnTo>
                  <a:lnTo>
                    <a:pt x="1060" y="450"/>
                  </a:lnTo>
                  <a:lnTo>
                    <a:pt x="1058" y="450"/>
                  </a:lnTo>
                  <a:lnTo>
                    <a:pt x="1063" y="450"/>
                  </a:lnTo>
                  <a:lnTo>
                    <a:pt x="1069" y="450"/>
                  </a:lnTo>
                  <a:lnTo>
                    <a:pt x="1071" y="450"/>
                  </a:lnTo>
                  <a:lnTo>
                    <a:pt x="1067" y="450"/>
                  </a:lnTo>
                  <a:lnTo>
                    <a:pt x="1067" y="454"/>
                  </a:lnTo>
                  <a:lnTo>
                    <a:pt x="1069" y="458"/>
                  </a:lnTo>
                  <a:lnTo>
                    <a:pt x="1067" y="458"/>
                  </a:lnTo>
                  <a:lnTo>
                    <a:pt x="1065" y="460"/>
                  </a:lnTo>
                  <a:lnTo>
                    <a:pt x="1065" y="464"/>
                  </a:lnTo>
                  <a:lnTo>
                    <a:pt x="1069" y="464"/>
                  </a:lnTo>
                  <a:lnTo>
                    <a:pt x="1069" y="466"/>
                  </a:lnTo>
                  <a:lnTo>
                    <a:pt x="1063" y="469"/>
                  </a:lnTo>
                  <a:lnTo>
                    <a:pt x="1060" y="467"/>
                  </a:lnTo>
                  <a:lnTo>
                    <a:pt x="1058" y="464"/>
                  </a:lnTo>
                  <a:lnTo>
                    <a:pt x="1058" y="467"/>
                  </a:lnTo>
                  <a:lnTo>
                    <a:pt x="1056" y="464"/>
                  </a:lnTo>
                  <a:lnTo>
                    <a:pt x="1052" y="469"/>
                  </a:lnTo>
                  <a:lnTo>
                    <a:pt x="1048" y="469"/>
                  </a:lnTo>
                  <a:lnTo>
                    <a:pt x="1046" y="473"/>
                  </a:lnTo>
                  <a:lnTo>
                    <a:pt x="1043" y="473"/>
                  </a:lnTo>
                  <a:lnTo>
                    <a:pt x="1043" y="475"/>
                  </a:lnTo>
                  <a:lnTo>
                    <a:pt x="1039" y="473"/>
                  </a:lnTo>
                  <a:lnTo>
                    <a:pt x="1035" y="473"/>
                  </a:lnTo>
                  <a:lnTo>
                    <a:pt x="1039" y="475"/>
                  </a:lnTo>
                  <a:lnTo>
                    <a:pt x="1039" y="479"/>
                  </a:lnTo>
                  <a:lnTo>
                    <a:pt x="1035" y="481"/>
                  </a:lnTo>
                  <a:lnTo>
                    <a:pt x="1035" y="484"/>
                  </a:lnTo>
                  <a:lnTo>
                    <a:pt x="1029" y="484"/>
                  </a:lnTo>
                  <a:lnTo>
                    <a:pt x="1028" y="486"/>
                  </a:lnTo>
                  <a:lnTo>
                    <a:pt x="1028" y="488"/>
                  </a:lnTo>
                  <a:lnTo>
                    <a:pt x="1031" y="490"/>
                  </a:lnTo>
                  <a:lnTo>
                    <a:pt x="1028" y="494"/>
                  </a:lnTo>
                  <a:lnTo>
                    <a:pt x="1028" y="494"/>
                  </a:lnTo>
                  <a:lnTo>
                    <a:pt x="1022" y="499"/>
                  </a:lnTo>
                  <a:lnTo>
                    <a:pt x="1018" y="499"/>
                  </a:lnTo>
                  <a:lnTo>
                    <a:pt x="1018" y="499"/>
                  </a:lnTo>
                  <a:lnTo>
                    <a:pt x="1018" y="505"/>
                  </a:lnTo>
                  <a:lnTo>
                    <a:pt x="1018" y="509"/>
                  </a:lnTo>
                  <a:lnTo>
                    <a:pt x="1018" y="514"/>
                  </a:lnTo>
                  <a:lnTo>
                    <a:pt x="1018" y="524"/>
                  </a:lnTo>
                  <a:lnTo>
                    <a:pt x="1018" y="524"/>
                  </a:lnTo>
                  <a:lnTo>
                    <a:pt x="1028" y="528"/>
                  </a:lnTo>
                  <a:lnTo>
                    <a:pt x="1028" y="531"/>
                  </a:lnTo>
                  <a:lnTo>
                    <a:pt x="1031" y="530"/>
                  </a:lnTo>
                  <a:lnTo>
                    <a:pt x="1043" y="535"/>
                  </a:lnTo>
                  <a:lnTo>
                    <a:pt x="1048" y="545"/>
                  </a:lnTo>
                  <a:lnTo>
                    <a:pt x="1048" y="548"/>
                  </a:lnTo>
                  <a:lnTo>
                    <a:pt x="1048" y="550"/>
                  </a:lnTo>
                  <a:lnTo>
                    <a:pt x="1052" y="552"/>
                  </a:lnTo>
                  <a:lnTo>
                    <a:pt x="1052" y="558"/>
                  </a:lnTo>
                  <a:lnTo>
                    <a:pt x="1058" y="563"/>
                  </a:lnTo>
                  <a:lnTo>
                    <a:pt x="1058" y="569"/>
                  </a:lnTo>
                  <a:lnTo>
                    <a:pt x="1063" y="575"/>
                  </a:lnTo>
                  <a:lnTo>
                    <a:pt x="1067" y="577"/>
                  </a:lnTo>
                  <a:lnTo>
                    <a:pt x="1071" y="575"/>
                  </a:lnTo>
                  <a:lnTo>
                    <a:pt x="1073" y="577"/>
                  </a:lnTo>
                  <a:lnTo>
                    <a:pt x="1073" y="579"/>
                  </a:lnTo>
                  <a:lnTo>
                    <a:pt x="1076" y="584"/>
                  </a:lnTo>
                  <a:lnTo>
                    <a:pt x="1078" y="586"/>
                  </a:lnTo>
                  <a:lnTo>
                    <a:pt x="1082" y="592"/>
                  </a:lnTo>
                  <a:lnTo>
                    <a:pt x="1078" y="592"/>
                  </a:lnTo>
                  <a:lnTo>
                    <a:pt x="1073" y="590"/>
                  </a:lnTo>
                  <a:lnTo>
                    <a:pt x="1067" y="594"/>
                  </a:lnTo>
                  <a:lnTo>
                    <a:pt x="1063" y="588"/>
                  </a:lnTo>
                  <a:lnTo>
                    <a:pt x="1060" y="588"/>
                  </a:lnTo>
                  <a:lnTo>
                    <a:pt x="1056" y="586"/>
                  </a:lnTo>
                  <a:lnTo>
                    <a:pt x="1048" y="584"/>
                  </a:lnTo>
                  <a:lnTo>
                    <a:pt x="1048" y="588"/>
                  </a:lnTo>
                  <a:lnTo>
                    <a:pt x="1044" y="588"/>
                  </a:lnTo>
                  <a:lnTo>
                    <a:pt x="1043" y="586"/>
                  </a:lnTo>
                  <a:lnTo>
                    <a:pt x="1039" y="580"/>
                  </a:lnTo>
                  <a:lnTo>
                    <a:pt x="1035" y="582"/>
                  </a:lnTo>
                  <a:lnTo>
                    <a:pt x="1031" y="580"/>
                  </a:lnTo>
                  <a:lnTo>
                    <a:pt x="1031" y="582"/>
                  </a:lnTo>
                  <a:lnTo>
                    <a:pt x="1028" y="582"/>
                  </a:lnTo>
                  <a:lnTo>
                    <a:pt x="1028" y="582"/>
                  </a:lnTo>
                  <a:lnTo>
                    <a:pt x="1022" y="582"/>
                  </a:lnTo>
                  <a:lnTo>
                    <a:pt x="1018" y="592"/>
                  </a:lnTo>
                  <a:lnTo>
                    <a:pt x="1024" y="586"/>
                  </a:lnTo>
                  <a:lnTo>
                    <a:pt x="1028" y="584"/>
                  </a:lnTo>
                  <a:lnTo>
                    <a:pt x="1033" y="584"/>
                  </a:lnTo>
                  <a:lnTo>
                    <a:pt x="1037" y="582"/>
                  </a:lnTo>
                  <a:lnTo>
                    <a:pt x="1039" y="584"/>
                  </a:lnTo>
                  <a:lnTo>
                    <a:pt x="1039" y="586"/>
                  </a:lnTo>
                  <a:lnTo>
                    <a:pt x="1044" y="590"/>
                  </a:lnTo>
                  <a:lnTo>
                    <a:pt x="1046" y="592"/>
                  </a:lnTo>
                  <a:lnTo>
                    <a:pt x="1052" y="586"/>
                  </a:lnTo>
                  <a:lnTo>
                    <a:pt x="1056" y="586"/>
                  </a:lnTo>
                  <a:lnTo>
                    <a:pt x="1063" y="594"/>
                  </a:lnTo>
                  <a:lnTo>
                    <a:pt x="1071" y="597"/>
                  </a:lnTo>
                  <a:lnTo>
                    <a:pt x="1078" y="603"/>
                  </a:lnTo>
                  <a:lnTo>
                    <a:pt x="1082" y="611"/>
                  </a:lnTo>
                  <a:lnTo>
                    <a:pt x="1082" y="612"/>
                  </a:lnTo>
                  <a:lnTo>
                    <a:pt x="1078" y="614"/>
                  </a:lnTo>
                  <a:lnTo>
                    <a:pt x="1073" y="620"/>
                  </a:lnTo>
                  <a:lnTo>
                    <a:pt x="1073" y="618"/>
                  </a:lnTo>
                  <a:lnTo>
                    <a:pt x="1071" y="620"/>
                  </a:lnTo>
                  <a:lnTo>
                    <a:pt x="1071" y="624"/>
                  </a:lnTo>
                  <a:lnTo>
                    <a:pt x="1067" y="624"/>
                  </a:lnTo>
                  <a:lnTo>
                    <a:pt x="1061" y="624"/>
                  </a:lnTo>
                  <a:lnTo>
                    <a:pt x="1060" y="624"/>
                  </a:lnTo>
                  <a:lnTo>
                    <a:pt x="1058" y="624"/>
                  </a:lnTo>
                  <a:lnTo>
                    <a:pt x="1052" y="628"/>
                  </a:lnTo>
                  <a:lnTo>
                    <a:pt x="1052" y="633"/>
                  </a:lnTo>
                  <a:lnTo>
                    <a:pt x="1054" y="628"/>
                  </a:lnTo>
                  <a:lnTo>
                    <a:pt x="1058" y="628"/>
                  </a:lnTo>
                  <a:lnTo>
                    <a:pt x="1061" y="624"/>
                  </a:lnTo>
                  <a:lnTo>
                    <a:pt x="1065" y="629"/>
                  </a:lnTo>
                  <a:lnTo>
                    <a:pt x="1069" y="633"/>
                  </a:lnTo>
                  <a:lnTo>
                    <a:pt x="1073" y="628"/>
                  </a:lnTo>
                  <a:lnTo>
                    <a:pt x="1076" y="628"/>
                  </a:lnTo>
                  <a:lnTo>
                    <a:pt x="1084" y="637"/>
                  </a:lnTo>
                  <a:lnTo>
                    <a:pt x="1084" y="633"/>
                  </a:lnTo>
                  <a:lnTo>
                    <a:pt x="1086" y="637"/>
                  </a:lnTo>
                  <a:lnTo>
                    <a:pt x="1090" y="637"/>
                  </a:lnTo>
                  <a:lnTo>
                    <a:pt x="1092" y="637"/>
                  </a:lnTo>
                  <a:lnTo>
                    <a:pt x="1082" y="644"/>
                  </a:lnTo>
                  <a:lnTo>
                    <a:pt x="1076" y="644"/>
                  </a:lnTo>
                  <a:lnTo>
                    <a:pt x="1076" y="648"/>
                  </a:lnTo>
                  <a:lnTo>
                    <a:pt x="1078" y="650"/>
                  </a:lnTo>
                  <a:lnTo>
                    <a:pt x="1084" y="644"/>
                  </a:lnTo>
                  <a:lnTo>
                    <a:pt x="1088" y="646"/>
                  </a:lnTo>
                  <a:lnTo>
                    <a:pt x="1088" y="644"/>
                  </a:lnTo>
                  <a:lnTo>
                    <a:pt x="1088" y="643"/>
                  </a:lnTo>
                  <a:lnTo>
                    <a:pt x="1090" y="641"/>
                  </a:lnTo>
                  <a:lnTo>
                    <a:pt x="1092" y="643"/>
                  </a:lnTo>
                  <a:lnTo>
                    <a:pt x="1093" y="648"/>
                  </a:lnTo>
                  <a:lnTo>
                    <a:pt x="1093" y="650"/>
                  </a:lnTo>
                  <a:lnTo>
                    <a:pt x="1092" y="652"/>
                  </a:lnTo>
                  <a:lnTo>
                    <a:pt x="1092" y="650"/>
                  </a:lnTo>
                  <a:lnTo>
                    <a:pt x="1090" y="650"/>
                  </a:lnTo>
                  <a:lnTo>
                    <a:pt x="1088" y="652"/>
                  </a:lnTo>
                  <a:lnTo>
                    <a:pt x="1088" y="652"/>
                  </a:lnTo>
                  <a:lnTo>
                    <a:pt x="1084" y="652"/>
                  </a:lnTo>
                  <a:lnTo>
                    <a:pt x="1078" y="656"/>
                  </a:lnTo>
                  <a:lnTo>
                    <a:pt x="1078" y="658"/>
                  </a:lnTo>
                  <a:lnTo>
                    <a:pt x="1086" y="656"/>
                  </a:lnTo>
                  <a:lnTo>
                    <a:pt x="1088" y="658"/>
                  </a:lnTo>
                  <a:lnTo>
                    <a:pt x="1088" y="658"/>
                  </a:lnTo>
                  <a:lnTo>
                    <a:pt x="1086" y="658"/>
                  </a:lnTo>
                  <a:lnTo>
                    <a:pt x="1082" y="661"/>
                  </a:lnTo>
                  <a:lnTo>
                    <a:pt x="1086" y="661"/>
                  </a:lnTo>
                  <a:lnTo>
                    <a:pt x="1088" y="663"/>
                  </a:lnTo>
                  <a:lnTo>
                    <a:pt x="1084" y="667"/>
                  </a:lnTo>
                  <a:lnTo>
                    <a:pt x="1082" y="667"/>
                  </a:lnTo>
                  <a:lnTo>
                    <a:pt x="1082" y="667"/>
                  </a:lnTo>
                  <a:lnTo>
                    <a:pt x="1082" y="669"/>
                  </a:lnTo>
                  <a:lnTo>
                    <a:pt x="1086" y="669"/>
                  </a:lnTo>
                  <a:lnTo>
                    <a:pt x="1088" y="673"/>
                  </a:lnTo>
                  <a:lnTo>
                    <a:pt x="1086" y="675"/>
                  </a:lnTo>
                  <a:lnTo>
                    <a:pt x="1084" y="678"/>
                  </a:lnTo>
                  <a:lnTo>
                    <a:pt x="1084" y="676"/>
                  </a:lnTo>
                  <a:lnTo>
                    <a:pt x="1082" y="673"/>
                  </a:lnTo>
                  <a:lnTo>
                    <a:pt x="1082" y="675"/>
                  </a:lnTo>
                  <a:lnTo>
                    <a:pt x="1076" y="680"/>
                  </a:lnTo>
                  <a:lnTo>
                    <a:pt x="1076" y="682"/>
                  </a:lnTo>
                  <a:lnTo>
                    <a:pt x="1071" y="680"/>
                  </a:lnTo>
                  <a:lnTo>
                    <a:pt x="1073" y="682"/>
                  </a:lnTo>
                  <a:lnTo>
                    <a:pt x="1073" y="686"/>
                  </a:lnTo>
                  <a:lnTo>
                    <a:pt x="1076" y="688"/>
                  </a:lnTo>
                  <a:lnTo>
                    <a:pt x="1073" y="688"/>
                  </a:lnTo>
                  <a:lnTo>
                    <a:pt x="1073" y="692"/>
                  </a:lnTo>
                  <a:lnTo>
                    <a:pt x="1073" y="692"/>
                  </a:lnTo>
                  <a:lnTo>
                    <a:pt x="1073" y="693"/>
                  </a:lnTo>
                  <a:lnTo>
                    <a:pt x="1073" y="697"/>
                  </a:lnTo>
                  <a:lnTo>
                    <a:pt x="1071" y="699"/>
                  </a:lnTo>
                  <a:lnTo>
                    <a:pt x="1069" y="695"/>
                  </a:lnTo>
                  <a:lnTo>
                    <a:pt x="1067" y="699"/>
                  </a:lnTo>
                  <a:lnTo>
                    <a:pt x="1071" y="699"/>
                  </a:lnTo>
                  <a:lnTo>
                    <a:pt x="1073" y="703"/>
                  </a:lnTo>
                  <a:lnTo>
                    <a:pt x="1069" y="703"/>
                  </a:lnTo>
                  <a:lnTo>
                    <a:pt x="1069" y="705"/>
                  </a:lnTo>
                  <a:lnTo>
                    <a:pt x="1063" y="710"/>
                  </a:lnTo>
                  <a:lnTo>
                    <a:pt x="1061" y="710"/>
                  </a:lnTo>
                  <a:lnTo>
                    <a:pt x="1061" y="707"/>
                  </a:lnTo>
                  <a:lnTo>
                    <a:pt x="1060" y="707"/>
                  </a:lnTo>
                  <a:lnTo>
                    <a:pt x="1058" y="707"/>
                  </a:lnTo>
                  <a:lnTo>
                    <a:pt x="1058" y="709"/>
                  </a:lnTo>
                  <a:lnTo>
                    <a:pt x="1054" y="709"/>
                  </a:lnTo>
                  <a:lnTo>
                    <a:pt x="1056" y="710"/>
                  </a:lnTo>
                  <a:lnTo>
                    <a:pt x="1054" y="712"/>
                  </a:lnTo>
                  <a:lnTo>
                    <a:pt x="1058" y="712"/>
                  </a:lnTo>
                  <a:lnTo>
                    <a:pt x="1060" y="716"/>
                  </a:lnTo>
                  <a:lnTo>
                    <a:pt x="1056" y="716"/>
                  </a:lnTo>
                  <a:lnTo>
                    <a:pt x="1060" y="718"/>
                  </a:lnTo>
                  <a:lnTo>
                    <a:pt x="1063" y="718"/>
                  </a:lnTo>
                  <a:lnTo>
                    <a:pt x="1065" y="718"/>
                  </a:lnTo>
                  <a:lnTo>
                    <a:pt x="1058" y="722"/>
                  </a:lnTo>
                  <a:lnTo>
                    <a:pt x="1054" y="724"/>
                  </a:lnTo>
                  <a:lnTo>
                    <a:pt x="1054" y="727"/>
                  </a:lnTo>
                  <a:lnTo>
                    <a:pt x="1056" y="725"/>
                  </a:lnTo>
                  <a:lnTo>
                    <a:pt x="1058" y="725"/>
                  </a:lnTo>
                  <a:lnTo>
                    <a:pt x="1060" y="727"/>
                  </a:lnTo>
                  <a:lnTo>
                    <a:pt x="1056" y="731"/>
                  </a:lnTo>
                  <a:lnTo>
                    <a:pt x="1060" y="733"/>
                  </a:lnTo>
                  <a:lnTo>
                    <a:pt x="1060" y="735"/>
                  </a:lnTo>
                  <a:lnTo>
                    <a:pt x="1056" y="737"/>
                  </a:lnTo>
                  <a:lnTo>
                    <a:pt x="1058" y="739"/>
                  </a:lnTo>
                  <a:lnTo>
                    <a:pt x="1060" y="739"/>
                  </a:lnTo>
                  <a:lnTo>
                    <a:pt x="1060" y="741"/>
                  </a:lnTo>
                  <a:lnTo>
                    <a:pt x="1060" y="746"/>
                  </a:lnTo>
                  <a:lnTo>
                    <a:pt x="1058" y="742"/>
                  </a:lnTo>
                  <a:lnTo>
                    <a:pt x="1056" y="742"/>
                  </a:lnTo>
                  <a:lnTo>
                    <a:pt x="1056" y="741"/>
                  </a:lnTo>
                  <a:lnTo>
                    <a:pt x="1052" y="737"/>
                  </a:lnTo>
                  <a:lnTo>
                    <a:pt x="1052" y="741"/>
                  </a:lnTo>
                  <a:lnTo>
                    <a:pt x="1052" y="741"/>
                  </a:lnTo>
                  <a:lnTo>
                    <a:pt x="1048" y="742"/>
                  </a:lnTo>
                  <a:lnTo>
                    <a:pt x="1052" y="746"/>
                  </a:lnTo>
                  <a:lnTo>
                    <a:pt x="1052" y="748"/>
                  </a:lnTo>
                  <a:lnTo>
                    <a:pt x="1052" y="746"/>
                  </a:lnTo>
                  <a:lnTo>
                    <a:pt x="1048" y="746"/>
                  </a:lnTo>
                  <a:lnTo>
                    <a:pt x="1048" y="742"/>
                  </a:lnTo>
                  <a:lnTo>
                    <a:pt x="1046" y="746"/>
                  </a:lnTo>
                  <a:lnTo>
                    <a:pt x="1048" y="748"/>
                  </a:lnTo>
                  <a:lnTo>
                    <a:pt x="1048" y="752"/>
                  </a:lnTo>
                  <a:lnTo>
                    <a:pt x="1052" y="752"/>
                  </a:lnTo>
                  <a:lnTo>
                    <a:pt x="1052" y="752"/>
                  </a:lnTo>
                  <a:lnTo>
                    <a:pt x="1048" y="752"/>
                  </a:lnTo>
                  <a:lnTo>
                    <a:pt x="1046" y="752"/>
                  </a:lnTo>
                  <a:lnTo>
                    <a:pt x="1046" y="752"/>
                  </a:lnTo>
                  <a:lnTo>
                    <a:pt x="1046" y="756"/>
                  </a:lnTo>
                  <a:lnTo>
                    <a:pt x="1048" y="756"/>
                  </a:lnTo>
                  <a:lnTo>
                    <a:pt x="1048" y="759"/>
                  </a:lnTo>
                  <a:lnTo>
                    <a:pt x="1043" y="756"/>
                  </a:lnTo>
                  <a:lnTo>
                    <a:pt x="1041" y="757"/>
                  </a:lnTo>
                  <a:lnTo>
                    <a:pt x="1039" y="757"/>
                  </a:lnTo>
                  <a:lnTo>
                    <a:pt x="1037" y="761"/>
                  </a:lnTo>
                  <a:lnTo>
                    <a:pt x="1029" y="761"/>
                  </a:lnTo>
                  <a:lnTo>
                    <a:pt x="1035" y="765"/>
                  </a:lnTo>
                  <a:lnTo>
                    <a:pt x="1039" y="763"/>
                  </a:lnTo>
                  <a:lnTo>
                    <a:pt x="1041" y="765"/>
                  </a:lnTo>
                  <a:lnTo>
                    <a:pt x="1041" y="767"/>
                  </a:lnTo>
                  <a:lnTo>
                    <a:pt x="1037" y="769"/>
                  </a:lnTo>
                  <a:lnTo>
                    <a:pt x="1037" y="773"/>
                  </a:lnTo>
                  <a:lnTo>
                    <a:pt x="1035" y="769"/>
                  </a:lnTo>
                  <a:lnTo>
                    <a:pt x="1033" y="773"/>
                  </a:lnTo>
                  <a:lnTo>
                    <a:pt x="1031" y="774"/>
                  </a:lnTo>
                  <a:lnTo>
                    <a:pt x="1031" y="773"/>
                  </a:lnTo>
                  <a:lnTo>
                    <a:pt x="1029" y="773"/>
                  </a:lnTo>
                  <a:lnTo>
                    <a:pt x="1029" y="776"/>
                  </a:lnTo>
                  <a:lnTo>
                    <a:pt x="1028" y="776"/>
                  </a:lnTo>
                  <a:lnTo>
                    <a:pt x="1028" y="780"/>
                  </a:lnTo>
                  <a:lnTo>
                    <a:pt x="1022" y="780"/>
                  </a:lnTo>
                  <a:lnTo>
                    <a:pt x="1022" y="776"/>
                  </a:lnTo>
                  <a:lnTo>
                    <a:pt x="1018" y="776"/>
                  </a:lnTo>
                  <a:lnTo>
                    <a:pt x="1014" y="782"/>
                  </a:lnTo>
                  <a:lnTo>
                    <a:pt x="1014" y="780"/>
                  </a:lnTo>
                  <a:lnTo>
                    <a:pt x="1014" y="782"/>
                  </a:lnTo>
                  <a:lnTo>
                    <a:pt x="1014" y="788"/>
                  </a:lnTo>
                  <a:lnTo>
                    <a:pt x="1014" y="790"/>
                  </a:lnTo>
                  <a:lnTo>
                    <a:pt x="1014" y="791"/>
                  </a:lnTo>
                  <a:lnTo>
                    <a:pt x="1012" y="793"/>
                  </a:lnTo>
                  <a:lnTo>
                    <a:pt x="1011" y="793"/>
                  </a:lnTo>
                  <a:lnTo>
                    <a:pt x="1009" y="795"/>
                  </a:lnTo>
                  <a:lnTo>
                    <a:pt x="1009" y="791"/>
                  </a:lnTo>
                  <a:lnTo>
                    <a:pt x="1007" y="793"/>
                  </a:lnTo>
                  <a:lnTo>
                    <a:pt x="1005" y="797"/>
                  </a:lnTo>
                  <a:lnTo>
                    <a:pt x="999" y="797"/>
                  </a:lnTo>
                  <a:lnTo>
                    <a:pt x="999" y="799"/>
                  </a:lnTo>
                  <a:lnTo>
                    <a:pt x="997" y="799"/>
                  </a:lnTo>
                  <a:lnTo>
                    <a:pt x="997" y="797"/>
                  </a:lnTo>
                  <a:lnTo>
                    <a:pt x="994" y="797"/>
                  </a:lnTo>
                  <a:lnTo>
                    <a:pt x="994" y="801"/>
                  </a:lnTo>
                  <a:lnTo>
                    <a:pt x="994" y="803"/>
                  </a:lnTo>
                  <a:lnTo>
                    <a:pt x="990" y="799"/>
                  </a:lnTo>
                  <a:lnTo>
                    <a:pt x="988" y="797"/>
                  </a:lnTo>
                  <a:lnTo>
                    <a:pt x="988" y="799"/>
                  </a:lnTo>
                  <a:lnTo>
                    <a:pt x="984" y="799"/>
                  </a:lnTo>
                  <a:lnTo>
                    <a:pt x="984" y="803"/>
                  </a:lnTo>
                  <a:lnTo>
                    <a:pt x="980" y="803"/>
                  </a:lnTo>
                  <a:lnTo>
                    <a:pt x="979" y="801"/>
                  </a:lnTo>
                  <a:lnTo>
                    <a:pt x="977" y="803"/>
                  </a:lnTo>
                  <a:lnTo>
                    <a:pt x="973" y="805"/>
                  </a:lnTo>
                  <a:lnTo>
                    <a:pt x="973" y="806"/>
                  </a:lnTo>
                  <a:lnTo>
                    <a:pt x="965" y="810"/>
                  </a:lnTo>
                  <a:lnTo>
                    <a:pt x="965" y="810"/>
                  </a:lnTo>
                  <a:lnTo>
                    <a:pt x="969" y="806"/>
                  </a:lnTo>
                  <a:lnTo>
                    <a:pt x="969" y="806"/>
                  </a:lnTo>
                  <a:lnTo>
                    <a:pt x="969" y="806"/>
                  </a:lnTo>
                  <a:lnTo>
                    <a:pt x="964" y="803"/>
                  </a:lnTo>
                  <a:lnTo>
                    <a:pt x="964" y="801"/>
                  </a:lnTo>
                  <a:lnTo>
                    <a:pt x="960" y="797"/>
                  </a:lnTo>
                  <a:lnTo>
                    <a:pt x="958" y="795"/>
                  </a:lnTo>
                  <a:lnTo>
                    <a:pt x="958" y="797"/>
                  </a:lnTo>
                  <a:lnTo>
                    <a:pt x="958" y="801"/>
                  </a:lnTo>
                  <a:lnTo>
                    <a:pt x="958" y="805"/>
                  </a:lnTo>
                  <a:lnTo>
                    <a:pt x="960" y="806"/>
                  </a:lnTo>
                  <a:lnTo>
                    <a:pt x="956" y="810"/>
                  </a:lnTo>
                  <a:lnTo>
                    <a:pt x="954" y="812"/>
                  </a:lnTo>
                  <a:lnTo>
                    <a:pt x="952" y="816"/>
                  </a:lnTo>
                  <a:lnTo>
                    <a:pt x="950" y="812"/>
                  </a:lnTo>
                  <a:lnTo>
                    <a:pt x="950" y="810"/>
                  </a:lnTo>
                  <a:lnTo>
                    <a:pt x="948" y="812"/>
                  </a:lnTo>
                  <a:lnTo>
                    <a:pt x="947" y="816"/>
                  </a:lnTo>
                  <a:lnTo>
                    <a:pt x="943" y="820"/>
                  </a:lnTo>
                  <a:lnTo>
                    <a:pt x="939" y="822"/>
                  </a:lnTo>
                  <a:lnTo>
                    <a:pt x="939" y="822"/>
                  </a:lnTo>
                  <a:lnTo>
                    <a:pt x="935" y="822"/>
                  </a:lnTo>
                  <a:lnTo>
                    <a:pt x="932" y="822"/>
                  </a:lnTo>
                  <a:lnTo>
                    <a:pt x="928" y="822"/>
                  </a:lnTo>
                  <a:lnTo>
                    <a:pt x="930" y="825"/>
                  </a:lnTo>
                  <a:lnTo>
                    <a:pt x="924" y="827"/>
                  </a:lnTo>
                  <a:lnTo>
                    <a:pt x="920" y="829"/>
                  </a:lnTo>
                  <a:lnTo>
                    <a:pt x="918" y="827"/>
                  </a:lnTo>
                  <a:lnTo>
                    <a:pt x="916" y="829"/>
                  </a:lnTo>
                  <a:lnTo>
                    <a:pt x="915" y="831"/>
                  </a:lnTo>
                  <a:lnTo>
                    <a:pt x="911" y="833"/>
                  </a:lnTo>
                  <a:lnTo>
                    <a:pt x="909" y="833"/>
                  </a:lnTo>
                  <a:lnTo>
                    <a:pt x="911" y="831"/>
                  </a:lnTo>
                  <a:lnTo>
                    <a:pt x="909" y="831"/>
                  </a:lnTo>
                  <a:lnTo>
                    <a:pt x="909" y="831"/>
                  </a:lnTo>
                  <a:lnTo>
                    <a:pt x="909" y="829"/>
                  </a:lnTo>
                  <a:lnTo>
                    <a:pt x="909" y="829"/>
                  </a:lnTo>
                  <a:lnTo>
                    <a:pt x="909" y="829"/>
                  </a:lnTo>
                  <a:lnTo>
                    <a:pt x="909" y="827"/>
                  </a:lnTo>
                  <a:lnTo>
                    <a:pt x="905" y="829"/>
                  </a:lnTo>
                  <a:lnTo>
                    <a:pt x="905" y="829"/>
                  </a:lnTo>
                  <a:lnTo>
                    <a:pt x="905" y="831"/>
                  </a:lnTo>
                  <a:lnTo>
                    <a:pt x="905" y="833"/>
                  </a:lnTo>
                  <a:lnTo>
                    <a:pt x="903" y="837"/>
                  </a:lnTo>
                  <a:lnTo>
                    <a:pt x="903" y="837"/>
                  </a:lnTo>
                  <a:lnTo>
                    <a:pt x="903" y="840"/>
                  </a:lnTo>
                  <a:lnTo>
                    <a:pt x="905" y="840"/>
                  </a:lnTo>
                  <a:lnTo>
                    <a:pt x="909" y="844"/>
                  </a:lnTo>
                  <a:lnTo>
                    <a:pt x="909" y="844"/>
                  </a:lnTo>
                  <a:lnTo>
                    <a:pt x="909" y="844"/>
                  </a:lnTo>
                  <a:lnTo>
                    <a:pt x="909" y="846"/>
                  </a:lnTo>
                  <a:lnTo>
                    <a:pt x="905" y="850"/>
                  </a:lnTo>
                  <a:lnTo>
                    <a:pt x="905" y="850"/>
                  </a:lnTo>
                  <a:lnTo>
                    <a:pt x="905" y="850"/>
                  </a:lnTo>
                  <a:lnTo>
                    <a:pt x="901" y="850"/>
                  </a:lnTo>
                  <a:lnTo>
                    <a:pt x="900" y="852"/>
                  </a:lnTo>
                  <a:lnTo>
                    <a:pt x="898" y="852"/>
                  </a:lnTo>
                  <a:lnTo>
                    <a:pt x="898" y="850"/>
                  </a:lnTo>
                  <a:lnTo>
                    <a:pt x="898" y="846"/>
                  </a:lnTo>
                  <a:lnTo>
                    <a:pt x="896" y="844"/>
                  </a:lnTo>
                  <a:lnTo>
                    <a:pt x="890" y="840"/>
                  </a:lnTo>
                  <a:lnTo>
                    <a:pt x="890" y="837"/>
                  </a:lnTo>
                  <a:lnTo>
                    <a:pt x="894" y="833"/>
                  </a:lnTo>
                  <a:lnTo>
                    <a:pt x="894" y="831"/>
                  </a:lnTo>
                  <a:lnTo>
                    <a:pt x="898" y="829"/>
                  </a:lnTo>
                  <a:lnTo>
                    <a:pt x="896" y="829"/>
                  </a:lnTo>
                  <a:lnTo>
                    <a:pt x="894" y="827"/>
                  </a:lnTo>
                  <a:lnTo>
                    <a:pt x="892" y="829"/>
                  </a:lnTo>
                  <a:lnTo>
                    <a:pt x="888" y="825"/>
                  </a:lnTo>
                  <a:lnTo>
                    <a:pt x="886" y="829"/>
                  </a:lnTo>
                  <a:lnTo>
                    <a:pt x="884" y="829"/>
                  </a:lnTo>
                  <a:lnTo>
                    <a:pt x="884" y="829"/>
                  </a:lnTo>
                  <a:lnTo>
                    <a:pt x="879" y="825"/>
                  </a:lnTo>
                  <a:lnTo>
                    <a:pt x="877" y="827"/>
                  </a:lnTo>
                  <a:lnTo>
                    <a:pt x="871" y="823"/>
                  </a:lnTo>
                  <a:lnTo>
                    <a:pt x="871" y="820"/>
                  </a:lnTo>
                  <a:lnTo>
                    <a:pt x="871" y="823"/>
                  </a:lnTo>
                  <a:lnTo>
                    <a:pt x="871" y="825"/>
                  </a:lnTo>
                  <a:lnTo>
                    <a:pt x="868" y="827"/>
                  </a:lnTo>
                  <a:lnTo>
                    <a:pt x="866" y="825"/>
                  </a:lnTo>
                  <a:lnTo>
                    <a:pt x="864" y="827"/>
                  </a:lnTo>
                  <a:lnTo>
                    <a:pt x="862" y="825"/>
                  </a:lnTo>
                  <a:lnTo>
                    <a:pt x="862" y="825"/>
                  </a:lnTo>
                  <a:lnTo>
                    <a:pt x="862" y="825"/>
                  </a:lnTo>
                  <a:lnTo>
                    <a:pt x="860" y="825"/>
                  </a:lnTo>
                  <a:lnTo>
                    <a:pt x="841" y="827"/>
                  </a:lnTo>
                  <a:lnTo>
                    <a:pt x="802" y="810"/>
                  </a:lnTo>
                  <a:lnTo>
                    <a:pt x="738" y="844"/>
                  </a:lnTo>
                  <a:lnTo>
                    <a:pt x="692" y="829"/>
                  </a:lnTo>
                  <a:lnTo>
                    <a:pt x="583" y="750"/>
                  </a:lnTo>
                  <a:lnTo>
                    <a:pt x="354" y="727"/>
                  </a:lnTo>
                  <a:lnTo>
                    <a:pt x="231" y="612"/>
                  </a:lnTo>
                  <a:lnTo>
                    <a:pt x="0" y="511"/>
                  </a:lnTo>
                  <a:lnTo>
                    <a:pt x="19" y="313"/>
                  </a:lnTo>
                  <a:lnTo>
                    <a:pt x="171" y="230"/>
                  </a:lnTo>
                  <a:lnTo>
                    <a:pt x="350" y="192"/>
                  </a:lnTo>
                  <a:lnTo>
                    <a:pt x="363" y="191"/>
                  </a:lnTo>
                  <a:lnTo>
                    <a:pt x="363" y="191"/>
                  </a:lnTo>
                  <a:lnTo>
                    <a:pt x="363" y="191"/>
                  </a:lnTo>
                  <a:lnTo>
                    <a:pt x="363" y="191"/>
                  </a:lnTo>
                  <a:close/>
                  <a:moveTo>
                    <a:pt x="1022" y="782"/>
                  </a:moveTo>
                  <a:lnTo>
                    <a:pt x="1022" y="786"/>
                  </a:lnTo>
                  <a:lnTo>
                    <a:pt x="1028" y="786"/>
                  </a:lnTo>
                  <a:lnTo>
                    <a:pt x="1028" y="786"/>
                  </a:lnTo>
                  <a:lnTo>
                    <a:pt x="1024" y="782"/>
                  </a:lnTo>
                  <a:lnTo>
                    <a:pt x="1022" y="782"/>
                  </a:lnTo>
                  <a:lnTo>
                    <a:pt x="1022" y="782"/>
                  </a:lnTo>
                  <a:lnTo>
                    <a:pt x="1022" y="782"/>
                  </a:lnTo>
                  <a:lnTo>
                    <a:pt x="1022" y="782"/>
                  </a:lnTo>
                  <a:close/>
                  <a:moveTo>
                    <a:pt x="1061" y="735"/>
                  </a:moveTo>
                  <a:lnTo>
                    <a:pt x="1063" y="741"/>
                  </a:lnTo>
                  <a:lnTo>
                    <a:pt x="1065" y="739"/>
                  </a:lnTo>
                  <a:lnTo>
                    <a:pt x="1065" y="737"/>
                  </a:lnTo>
                  <a:lnTo>
                    <a:pt x="1063" y="735"/>
                  </a:lnTo>
                  <a:lnTo>
                    <a:pt x="1061" y="735"/>
                  </a:lnTo>
                  <a:lnTo>
                    <a:pt x="1061" y="735"/>
                  </a:lnTo>
                  <a:lnTo>
                    <a:pt x="1061" y="735"/>
                  </a:lnTo>
                  <a:lnTo>
                    <a:pt x="1061" y="735"/>
                  </a:lnTo>
                  <a:close/>
                  <a:moveTo>
                    <a:pt x="1090" y="628"/>
                  </a:moveTo>
                  <a:lnTo>
                    <a:pt x="1092" y="629"/>
                  </a:lnTo>
                  <a:lnTo>
                    <a:pt x="1095" y="633"/>
                  </a:lnTo>
                  <a:lnTo>
                    <a:pt x="1097" y="633"/>
                  </a:lnTo>
                  <a:lnTo>
                    <a:pt x="1097" y="629"/>
                  </a:lnTo>
                  <a:lnTo>
                    <a:pt x="1093" y="628"/>
                  </a:lnTo>
                  <a:lnTo>
                    <a:pt x="1092" y="628"/>
                  </a:lnTo>
                  <a:lnTo>
                    <a:pt x="1090" y="628"/>
                  </a:lnTo>
                  <a:lnTo>
                    <a:pt x="1090" y="628"/>
                  </a:lnTo>
                  <a:lnTo>
                    <a:pt x="1090" y="628"/>
                  </a:lnTo>
                  <a:lnTo>
                    <a:pt x="1090" y="628"/>
                  </a:lnTo>
                  <a:close/>
                  <a:moveTo>
                    <a:pt x="1071" y="592"/>
                  </a:moveTo>
                  <a:lnTo>
                    <a:pt x="1071" y="594"/>
                  </a:lnTo>
                  <a:lnTo>
                    <a:pt x="1073" y="597"/>
                  </a:lnTo>
                  <a:lnTo>
                    <a:pt x="1076" y="597"/>
                  </a:lnTo>
                  <a:lnTo>
                    <a:pt x="1078" y="599"/>
                  </a:lnTo>
                  <a:lnTo>
                    <a:pt x="1078" y="594"/>
                  </a:lnTo>
                  <a:lnTo>
                    <a:pt x="1076" y="594"/>
                  </a:lnTo>
                  <a:lnTo>
                    <a:pt x="1073" y="594"/>
                  </a:lnTo>
                  <a:lnTo>
                    <a:pt x="1071" y="592"/>
                  </a:lnTo>
                  <a:lnTo>
                    <a:pt x="1071" y="592"/>
                  </a:lnTo>
                  <a:lnTo>
                    <a:pt x="1071" y="592"/>
                  </a:lnTo>
                  <a:lnTo>
                    <a:pt x="1071" y="592"/>
                  </a:lnTo>
                  <a:close/>
                  <a:moveTo>
                    <a:pt x="1093" y="816"/>
                  </a:moveTo>
                  <a:lnTo>
                    <a:pt x="1095" y="816"/>
                  </a:lnTo>
                  <a:lnTo>
                    <a:pt x="1097" y="816"/>
                  </a:lnTo>
                  <a:lnTo>
                    <a:pt x="1097" y="812"/>
                  </a:lnTo>
                  <a:lnTo>
                    <a:pt x="1097" y="806"/>
                  </a:lnTo>
                  <a:lnTo>
                    <a:pt x="1097" y="803"/>
                  </a:lnTo>
                  <a:lnTo>
                    <a:pt x="1097" y="799"/>
                  </a:lnTo>
                  <a:lnTo>
                    <a:pt x="1103" y="791"/>
                  </a:lnTo>
                  <a:lnTo>
                    <a:pt x="1103" y="786"/>
                  </a:lnTo>
                  <a:lnTo>
                    <a:pt x="1107" y="786"/>
                  </a:lnTo>
                  <a:lnTo>
                    <a:pt x="1103" y="786"/>
                  </a:lnTo>
                  <a:lnTo>
                    <a:pt x="1107" y="776"/>
                  </a:lnTo>
                  <a:lnTo>
                    <a:pt x="1107" y="773"/>
                  </a:lnTo>
                  <a:lnTo>
                    <a:pt x="1103" y="767"/>
                  </a:lnTo>
                  <a:lnTo>
                    <a:pt x="1107" y="763"/>
                  </a:lnTo>
                  <a:lnTo>
                    <a:pt x="1107" y="756"/>
                  </a:lnTo>
                  <a:lnTo>
                    <a:pt x="1108" y="750"/>
                  </a:lnTo>
                  <a:lnTo>
                    <a:pt x="1108" y="750"/>
                  </a:lnTo>
                  <a:lnTo>
                    <a:pt x="1108" y="746"/>
                  </a:lnTo>
                  <a:lnTo>
                    <a:pt x="1107" y="742"/>
                  </a:lnTo>
                  <a:lnTo>
                    <a:pt x="1107" y="742"/>
                  </a:lnTo>
                  <a:lnTo>
                    <a:pt x="1103" y="739"/>
                  </a:lnTo>
                  <a:lnTo>
                    <a:pt x="1097" y="739"/>
                  </a:lnTo>
                  <a:lnTo>
                    <a:pt x="1097" y="739"/>
                  </a:lnTo>
                  <a:lnTo>
                    <a:pt x="1097" y="742"/>
                  </a:lnTo>
                  <a:lnTo>
                    <a:pt x="1093" y="742"/>
                  </a:lnTo>
                  <a:lnTo>
                    <a:pt x="1090" y="748"/>
                  </a:lnTo>
                  <a:lnTo>
                    <a:pt x="1086" y="756"/>
                  </a:lnTo>
                  <a:lnTo>
                    <a:pt x="1086" y="756"/>
                  </a:lnTo>
                  <a:lnTo>
                    <a:pt x="1086" y="757"/>
                  </a:lnTo>
                  <a:lnTo>
                    <a:pt x="1084" y="759"/>
                  </a:lnTo>
                  <a:lnTo>
                    <a:pt x="1082" y="767"/>
                  </a:lnTo>
                  <a:lnTo>
                    <a:pt x="1078" y="774"/>
                  </a:lnTo>
                  <a:lnTo>
                    <a:pt x="1076" y="776"/>
                  </a:lnTo>
                  <a:lnTo>
                    <a:pt x="1076" y="776"/>
                  </a:lnTo>
                  <a:lnTo>
                    <a:pt x="1078" y="786"/>
                  </a:lnTo>
                  <a:lnTo>
                    <a:pt x="1078" y="791"/>
                  </a:lnTo>
                  <a:lnTo>
                    <a:pt x="1082" y="793"/>
                  </a:lnTo>
                  <a:lnTo>
                    <a:pt x="1082" y="795"/>
                  </a:lnTo>
                  <a:lnTo>
                    <a:pt x="1082" y="795"/>
                  </a:lnTo>
                  <a:lnTo>
                    <a:pt x="1082" y="797"/>
                  </a:lnTo>
                  <a:lnTo>
                    <a:pt x="1082" y="801"/>
                  </a:lnTo>
                  <a:lnTo>
                    <a:pt x="1084" y="801"/>
                  </a:lnTo>
                  <a:lnTo>
                    <a:pt x="1084" y="805"/>
                  </a:lnTo>
                  <a:lnTo>
                    <a:pt x="1090" y="806"/>
                  </a:lnTo>
                  <a:lnTo>
                    <a:pt x="1093" y="810"/>
                  </a:lnTo>
                  <a:lnTo>
                    <a:pt x="1093" y="812"/>
                  </a:lnTo>
                  <a:lnTo>
                    <a:pt x="1093" y="816"/>
                  </a:lnTo>
                  <a:lnTo>
                    <a:pt x="1093" y="816"/>
                  </a:lnTo>
                  <a:lnTo>
                    <a:pt x="1093" y="816"/>
                  </a:lnTo>
                  <a:lnTo>
                    <a:pt x="1093" y="816"/>
                  </a:lnTo>
                  <a:close/>
                  <a:moveTo>
                    <a:pt x="905" y="837"/>
                  </a:moveTo>
                  <a:lnTo>
                    <a:pt x="909" y="837"/>
                  </a:lnTo>
                  <a:lnTo>
                    <a:pt x="911" y="837"/>
                  </a:lnTo>
                  <a:lnTo>
                    <a:pt x="915" y="840"/>
                  </a:lnTo>
                  <a:lnTo>
                    <a:pt x="915" y="837"/>
                  </a:lnTo>
                  <a:lnTo>
                    <a:pt x="911" y="837"/>
                  </a:lnTo>
                  <a:lnTo>
                    <a:pt x="905" y="837"/>
                  </a:lnTo>
                  <a:lnTo>
                    <a:pt x="905" y="837"/>
                  </a:lnTo>
                  <a:lnTo>
                    <a:pt x="905" y="837"/>
                  </a:lnTo>
                  <a:lnTo>
                    <a:pt x="905" y="837"/>
                  </a:lnTo>
                  <a:close/>
                  <a:moveTo>
                    <a:pt x="909" y="855"/>
                  </a:moveTo>
                  <a:lnTo>
                    <a:pt x="903" y="855"/>
                  </a:lnTo>
                  <a:lnTo>
                    <a:pt x="901" y="855"/>
                  </a:lnTo>
                  <a:lnTo>
                    <a:pt x="900" y="857"/>
                  </a:lnTo>
                  <a:lnTo>
                    <a:pt x="896" y="857"/>
                  </a:lnTo>
                  <a:lnTo>
                    <a:pt x="892" y="859"/>
                  </a:lnTo>
                  <a:lnTo>
                    <a:pt x="888" y="859"/>
                  </a:lnTo>
                  <a:lnTo>
                    <a:pt x="886" y="861"/>
                  </a:lnTo>
                  <a:lnTo>
                    <a:pt x="881" y="867"/>
                  </a:lnTo>
                  <a:lnTo>
                    <a:pt x="879" y="870"/>
                  </a:lnTo>
                  <a:lnTo>
                    <a:pt x="881" y="874"/>
                  </a:lnTo>
                  <a:lnTo>
                    <a:pt x="881" y="882"/>
                  </a:lnTo>
                  <a:lnTo>
                    <a:pt x="881" y="886"/>
                  </a:lnTo>
                  <a:lnTo>
                    <a:pt x="881" y="887"/>
                  </a:lnTo>
                  <a:lnTo>
                    <a:pt x="884" y="891"/>
                  </a:lnTo>
                  <a:lnTo>
                    <a:pt x="888" y="891"/>
                  </a:lnTo>
                  <a:lnTo>
                    <a:pt x="890" y="893"/>
                  </a:lnTo>
                  <a:lnTo>
                    <a:pt x="894" y="893"/>
                  </a:lnTo>
                  <a:lnTo>
                    <a:pt x="898" y="895"/>
                  </a:lnTo>
                  <a:lnTo>
                    <a:pt x="900" y="893"/>
                  </a:lnTo>
                  <a:lnTo>
                    <a:pt x="900" y="889"/>
                  </a:lnTo>
                  <a:lnTo>
                    <a:pt x="903" y="889"/>
                  </a:lnTo>
                  <a:lnTo>
                    <a:pt x="905" y="891"/>
                  </a:lnTo>
                  <a:lnTo>
                    <a:pt x="909" y="887"/>
                  </a:lnTo>
                  <a:lnTo>
                    <a:pt x="909" y="886"/>
                  </a:lnTo>
                  <a:lnTo>
                    <a:pt x="911" y="884"/>
                  </a:lnTo>
                  <a:lnTo>
                    <a:pt x="915" y="882"/>
                  </a:lnTo>
                  <a:lnTo>
                    <a:pt x="915" y="878"/>
                  </a:lnTo>
                  <a:lnTo>
                    <a:pt x="915" y="874"/>
                  </a:lnTo>
                  <a:lnTo>
                    <a:pt x="916" y="870"/>
                  </a:lnTo>
                  <a:lnTo>
                    <a:pt x="918" y="869"/>
                  </a:lnTo>
                  <a:lnTo>
                    <a:pt x="920" y="865"/>
                  </a:lnTo>
                  <a:lnTo>
                    <a:pt x="920" y="859"/>
                  </a:lnTo>
                  <a:lnTo>
                    <a:pt x="915" y="857"/>
                  </a:lnTo>
                  <a:lnTo>
                    <a:pt x="911" y="855"/>
                  </a:lnTo>
                  <a:lnTo>
                    <a:pt x="909" y="857"/>
                  </a:lnTo>
                  <a:lnTo>
                    <a:pt x="909" y="857"/>
                  </a:lnTo>
                  <a:lnTo>
                    <a:pt x="909" y="855"/>
                  </a:lnTo>
                  <a:lnTo>
                    <a:pt x="909" y="855"/>
                  </a:lnTo>
                  <a:lnTo>
                    <a:pt x="909" y="855"/>
                  </a:lnTo>
                  <a:lnTo>
                    <a:pt x="909" y="855"/>
                  </a:lnTo>
                  <a:close/>
                </a:path>
              </a:pathLst>
            </a:custGeom>
            <a:solidFill>
              <a:srgbClr val="6E63C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3" name="Freeform 5">
              <a:extLst>
                <a:ext uri="{FF2B5EF4-FFF2-40B4-BE49-F238E27FC236}">
                  <a16:creationId xmlns:a16="http://schemas.microsoft.com/office/drawing/2014/main" id="{9A1F2BE4-A9A8-4143-9E3B-FD8F2A46B9EC}"/>
                </a:ext>
              </a:extLst>
            </p:cNvPr>
            <p:cNvSpPr>
              <a:spLocks noEditPoints="1"/>
            </p:cNvSpPr>
            <p:nvPr/>
          </p:nvSpPr>
          <p:spPr bwMode="auto">
            <a:xfrm>
              <a:off x="3186" y="807"/>
              <a:ext cx="2430" cy="1477"/>
            </a:xfrm>
            <a:custGeom>
              <a:avLst/>
              <a:gdLst/>
              <a:ahLst/>
              <a:cxnLst>
                <a:cxn ang="0">
                  <a:pos x="1854" y="1205"/>
                </a:cxn>
                <a:cxn ang="0">
                  <a:pos x="1686" y="1057"/>
                </a:cxn>
                <a:cxn ang="0">
                  <a:pos x="1470" y="1205"/>
                </a:cxn>
                <a:cxn ang="0">
                  <a:pos x="1135" y="1196"/>
                </a:cxn>
                <a:cxn ang="0">
                  <a:pos x="792" y="1134"/>
                </a:cxn>
                <a:cxn ang="0">
                  <a:pos x="615" y="1213"/>
                </a:cxn>
                <a:cxn ang="0">
                  <a:pos x="433" y="1343"/>
                </a:cxn>
                <a:cxn ang="0">
                  <a:pos x="280" y="1418"/>
                </a:cxn>
                <a:cxn ang="0">
                  <a:pos x="124" y="1177"/>
                </a:cxn>
                <a:cxn ang="0">
                  <a:pos x="28" y="765"/>
                </a:cxn>
                <a:cxn ang="0">
                  <a:pos x="173" y="738"/>
                </a:cxn>
                <a:cxn ang="0">
                  <a:pos x="163" y="881"/>
                </a:cxn>
                <a:cxn ang="0">
                  <a:pos x="282" y="774"/>
                </a:cxn>
                <a:cxn ang="0">
                  <a:pos x="465" y="701"/>
                </a:cxn>
                <a:cxn ang="0">
                  <a:pos x="547" y="501"/>
                </a:cxn>
                <a:cxn ang="0">
                  <a:pos x="687" y="706"/>
                </a:cxn>
                <a:cxn ang="0">
                  <a:pos x="673" y="559"/>
                </a:cxn>
                <a:cxn ang="0">
                  <a:pos x="788" y="573"/>
                </a:cxn>
                <a:cxn ang="0">
                  <a:pos x="753" y="339"/>
                </a:cxn>
                <a:cxn ang="0">
                  <a:pos x="864" y="211"/>
                </a:cxn>
                <a:cxn ang="0">
                  <a:pos x="1067" y="234"/>
                </a:cxn>
                <a:cxn ang="0">
                  <a:pos x="1093" y="324"/>
                </a:cxn>
                <a:cxn ang="0">
                  <a:pos x="1342" y="288"/>
                </a:cxn>
                <a:cxn ang="0">
                  <a:pos x="1528" y="328"/>
                </a:cxn>
                <a:cxn ang="0">
                  <a:pos x="1686" y="264"/>
                </a:cxn>
                <a:cxn ang="0">
                  <a:pos x="2042" y="271"/>
                </a:cxn>
                <a:cxn ang="0">
                  <a:pos x="2289" y="226"/>
                </a:cxn>
                <a:cxn ang="0">
                  <a:pos x="2400" y="296"/>
                </a:cxn>
                <a:cxn ang="0">
                  <a:pos x="2337" y="411"/>
                </a:cxn>
                <a:cxn ang="0">
                  <a:pos x="2345" y="565"/>
                </a:cxn>
                <a:cxn ang="0">
                  <a:pos x="2232" y="774"/>
                </a:cxn>
                <a:cxn ang="0">
                  <a:pos x="2255" y="1036"/>
                </a:cxn>
                <a:cxn ang="0">
                  <a:pos x="2161" y="586"/>
                </a:cxn>
                <a:cxn ang="0">
                  <a:pos x="2083" y="748"/>
                </a:cxn>
                <a:cxn ang="0">
                  <a:pos x="1886" y="831"/>
                </a:cxn>
                <a:cxn ang="0">
                  <a:pos x="1978" y="1053"/>
                </a:cxn>
                <a:cxn ang="0">
                  <a:pos x="114" y="179"/>
                </a:cxn>
                <a:cxn ang="0">
                  <a:pos x="141" y="173"/>
                </a:cxn>
                <a:cxn ang="0">
                  <a:pos x="231" y="100"/>
                </a:cxn>
                <a:cxn ang="0">
                  <a:pos x="237" y="149"/>
                </a:cxn>
                <a:cxn ang="0">
                  <a:pos x="225" y="183"/>
                </a:cxn>
                <a:cxn ang="0">
                  <a:pos x="267" y="186"/>
                </a:cxn>
                <a:cxn ang="0">
                  <a:pos x="301" y="128"/>
                </a:cxn>
                <a:cxn ang="0">
                  <a:pos x="410" y="405"/>
                </a:cxn>
                <a:cxn ang="0">
                  <a:pos x="321" y="433"/>
                </a:cxn>
                <a:cxn ang="0">
                  <a:pos x="395" y="612"/>
                </a:cxn>
                <a:cxn ang="0">
                  <a:pos x="352" y="622"/>
                </a:cxn>
                <a:cxn ang="0">
                  <a:pos x="384" y="710"/>
                </a:cxn>
                <a:cxn ang="0">
                  <a:pos x="444" y="637"/>
                </a:cxn>
                <a:cxn ang="0">
                  <a:pos x="617" y="456"/>
                </a:cxn>
                <a:cxn ang="0">
                  <a:pos x="719" y="394"/>
                </a:cxn>
                <a:cxn ang="0">
                  <a:pos x="796" y="258"/>
                </a:cxn>
                <a:cxn ang="0">
                  <a:pos x="655" y="88"/>
                </a:cxn>
                <a:cxn ang="0">
                  <a:pos x="1498" y="85"/>
                </a:cxn>
                <a:cxn ang="0">
                  <a:pos x="1402" y="83"/>
                </a:cxn>
                <a:cxn ang="0">
                  <a:pos x="1426" y="77"/>
                </a:cxn>
                <a:cxn ang="0">
                  <a:pos x="905" y="134"/>
                </a:cxn>
                <a:cxn ang="0">
                  <a:pos x="1528" y="198"/>
                </a:cxn>
                <a:cxn ang="0">
                  <a:pos x="1997" y="241"/>
                </a:cxn>
                <a:cxn ang="0">
                  <a:pos x="1997" y="1008"/>
                </a:cxn>
                <a:cxn ang="0">
                  <a:pos x="1869" y="968"/>
                </a:cxn>
                <a:cxn ang="0">
                  <a:pos x="2238" y="1057"/>
                </a:cxn>
                <a:cxn ang="0">
                  <a:pos x="2225" y="1187"/>
                </a:cxn>
              </a:cxnLst>
              <a:rect l="0" t="0" r="r" b="b"/>
              <a:pathLst>
                <a:path w="2430" h="1477">
                  <a:moveTo>
                    <a:pt x="1886" y="1354"/>
                  </a:moveTo>
                  <a:lnTo>
                    <a:pt x="1886" y="1354"/>
                  </a:lnTo>
                  <a:lnTo>
                    <a:pt x="1882" y="1352"/>
                  </a:lnTo>
                  <a:lnTo>
                    <a:pt x="1882" y="1352"/>
                  </a:lnTo>
                  <a:lnTo>
                    <a:pt x="1882" y="1351"/>
                  </a:lnTo>
                  <a:lnTo>
                    <a:pt x="1882" y="1349"/>
                  </a:lnTo>
                  <a:lnTo>
                    <a:pt x="1882" y="1345"/>
                  </a:lnTo>
                  <a:lnTo>
                    <a:pt x="1880" y="1343"/>
                  </a:lnTo>
                  <a:lnTo>
                    <a:pt x="1880" y="1341"/>
                  </a:lnTo>
                  <a:lnTo>
                    <a:pt x="1884" y="1341"/>
                  </a:lnTo>
                  <a:lnTo>
                    <a:pt x="1888" y="1341"/>
                  </a:lnTo>
                  <a:lnTo>
                    <a:pt x="1889" y="1341"/>
                  </a:lnTo>
                  <a:lnTo>
                    <a:pt x="1889" y="1337"/>
                  </a:lnTo>
                  <a:lnTo>
                    <a:pt x="1889" y="1335"/>
                  </a:lnTo>
                  <a:lnTo>
                    <a:pt x="1889" y="1334"/>
                  </a:lnTo>
                  <a:lnTo>
                    <a:pt x="1889" y="1334"/>
                  </a:lnTo>
                  <a:lnTo>
                    <a:pt x="1889" y="1328"/>
                  </a:lnTo>
                  <a:lnTo>
                    <a:pt x="1889" y="1324"/>
                  </a:lnTo>
                  <a:lnTo>
                    <a:pt x="1888" y="1324"/>
                  </a:lnTo>
                  <a:lnTo>
                    <a:pt x="1888" y="1317"/>
                  </a:lnTo>
                  <a:lnTo>
                    <a:pt x="1888" y="1315"/>
                  </a:lnTo>
                  <a:lnTo>
                    <a:pt x="1886" y="1309"/>
                  </a:lnTo>
                  <a:lnTo>
                    <a:pt x="1886" y="1305"/>
                  </a:lnTo>
                  <a:lnTo>
                    <a:pt x="1884" y="1302"/>
                  </a:lnTo>
                  <a:lnTo>
                    <a:pt x="1882" y="1300"/>
                  </a:lnTo>
                  <a:lnTo>
                    <a:pt x="1882" y="1300"/>
                  </a:lnTo>
                  <a:lnTo>
                    <a:pt x="1878" y="1290"/>
                  </a:lnTo>
                  <a:lnTo>
                    <a:pt x="1878" y="1288"/>
                  </a:lnTo>
                  <a:lnTo>
                    <a:pt x="1878" y="1286"/>
                  </a:lnTo>
                  <a:lnTo>
                    <a:pt x="1878" y="1285"/>
                  </a:lnTo>
                  <a:lnTo>
                    <a:pt x="1882" y="1285"/>
                  </a:lnTo>
                  <a:lnTo>
                    <a:pt x="1884" y="1283"/>
                  </a:lnTo>
                  <a:lnTo>
                    <a:pt x="1884" y="1279"/>
                  </a:lnTo>
                  <a:lnTo>
                    <a:pt x="1888" y="1273"/>
                  </a:lnTo>
                  <a:lnTo>
                    <a:pt x="1889" y="1273"/>
                  </a:lnTo>
                  <a:lnTo>
                    <a:pt x="1891" y="1275"/>
                  </a:lnTo>
                  <a:lnTo>
                    <a:pt x="1895" y="1275"/>
                  </a:lnTo>
                  <a:lnTo>
                    <a:pt x="1905" y="1277"/>
                  </a:lnTo>
                  <a:lnTo>
                    <a:pt x="1908" y="1279"/>
                  </a:lnTo>
                  <a:lnTo>
                    <a:pt x="1910" y="1279"/>
                  </a:lnTo>
                  <a:lnTo>
                    <a:pt x="1910" y="1277"/>
                  </a:lnTo>
                  <a:lnTo>
                    <a:pt x="1910" y="1273"/>
                  </a:lnTo>
                  <a:lnTo>
                    <a:pt x="1910" y="1271"/>
                  </a:lnTo>
                  <a:lnTo>
                    <a:pt x="1908" y="1270"/>
                  </a:lnTo>
                  <a:lnTo>
                    <a:pt x="1910" y="1270"/>
                  </a:lnTo>
                  <a:lnTo>
                    <a:pt x="1908" y="1266"/>
                  </a:lnTo>
                  <a:lnTo>
                    <a:pt x="1908" y="1266"/>
                  </a:lnTo>
                  <a:lnTo>
                    <a:pt x="1910" y="1260"/>
                  </a:lnTo>
                  <a:lnTo>
                    <a:pt x="1912" y="1260"/>
                  </a:lnTo>
                  <a:lnTo>
                    <a:pt x="1910" y="1256"/>
                  </a:lnTo>
                  <a:lnTo>
                    <a:pt x="1910" y="1254"/>
                  </a:lnTo>
                  <a:lnTo>
                    <a:pt x="1910" y="1254"/>
                  </a:lnTo>
                  <a:lnTo>
                    <a:pt x="1914" y="1253"/>
                  </a:lnTo>
                  <a:lnTo>
                    <a:pt x="1912" y="1251"/>
                  </a:lnTo>
                  <a:lnTo>
                    <a:pt x="1912" y="1249"/>
                  </a:lnTo>
                  <a:lnTo>
                    <a:pt x="1910" y="1247"/>
                  </a:lnTo>
                  <a:lnTo>
                    <a:pt x="1912" y="1243"/>
                  </a:lnTo>
                  <a:lnTo>
                    <a:pt x="1914" y="1241"/>
                  </a:lnTo>
                  <a:lnTo>
                    <a:pt x="1914" y="1241"/>
                  </a:lnTo>
                  <a:lnTo>
                    <a:pt x="1912" y="1239"/>
                  </a:lnTo>
                  <a:lnTo>
                    <a:pt x="1910" y="1236"/>
                  </a:lnTo>
                  <a:lnTo>
                    <a:pt x="1910" y="1230"/>
                  </a:lnTo>
                  <a:lnTo>
                    <a:pt x="1912" y="1230"/>
                  </a:lnTo>
                  <a:lnTo>
                    <a:pt x="1912" y="1230"/>
                  </a:lnTo>
                  <a:lnTo>
                    <a:pt x="1912" y="1226"/>
                  </a:lnTo>
                  <a:lnTo>
                    <a:pt x="1912" y="1226"/>
                  </a:lnTo>
                  <a:lnTo>
                    <a:pt x="1912" y="1224"/>
                  </a:lnTo>
                  <a:lnTo>
                    <a:pt x="1910" y="1224"/>
                  </a:lnTo>
                  <a:lnTo>
                    <a:pt x="1908" y="1222"/>
                  </a:lnTo>
                  <a:lnTo>
                    <a:pt x="1910" y="1219"/>
                  </a:lnTo>
                  <a:lnTo>
                    <a:pt x="1910" y="1217"/>
                  </a:lnTo>
                  <a:lnTo>
                    <a:pt x="1910" y="1215"/>
                  </a:lnTo>
                  <a:lnTo>
                    <a:pt x="1908" y="1213"/>
                  </a:lnTo>
                  <a:lnTo>
                    <a:pt x="1908" y="1211"/>
                  </a:lnTo>
                  <a:lnTo>
                    <a:pt x="1910" y="1207"/>
                  </a:lnTo>
                  <a:lnTo>
                    <a:pt x="1914" y="1207"/>
                  </a:lnTo>
                  <a:lnTo>
                    <a:pt x="1914" y="1205"/>
                  </a:lnTo>
                  <a:lnTo>
                    <a:pt x="1914" y="1202"/>
                  </a:lnTo>
                  <a:lnTo>
                    <a:pt x="1916" y="1200"/>
                  </a:lnTo>
                  <a:lnTo>
                    <a:pt x="1912" y="1196"/>
                  </a:lnTo>
                  <a:lnTo>
                    <a:pt x="1910" y="1196"/>
                  </a:lnTo>
                  <a:lnTo>
                    <a:pt x="1910" y="1194"/>
                  </a:lnTo>
                  <a:lnTo>
                    <a:pt x="1908" y="1190"/>
                  </a:lnTo>
                  <a:lnTo>
                    <a:pt x="1908" y="1189"/>
                  </a:lnTo>
                  <a:lnTo>
                    <a:pt x="1908" y="1187"/>
                  </a:lnTo>
                  <a:lnTo>
                    <a:pt x="1908" y="1183"/>
                  </a:lnTo>
                  <a:lnTo>
                    <a:pt x="1905" y="1181"/>
                  </a:lnTo>
                  <a:lnTo>
                    <a:pt x="1903" y="1181"/>
                  </a:lnTo>
                  <a:lnTo>
                    <a:pt x="1903" y="1179"/>
                  </a:lnTo>
                  <a:lnTo>
                    <a:pt x="1899" y="1177"/>
                  </a:lnTo>
                  <a:lnTo>
                    <a:pt x="1897" y="1179"/>
                  </a:lnTo>
                  <a:lnTo>
                    <a:pt x="1893" y="1179"/>
                  </a:lnTo>
                  <a:lnTo>
                    <a:pt x="1891" y="1181"/>
                  </a:lnTo>
                  <a:lnTo>
                    <a:pt x="1889" y="1185"/>
                  </a:lnTo>
                  <a:lnTo>
                    <a:pt x="1888" y="1185"/>
                  </a:lnTo>
                  <a:lnTo>
                    <a:pt x="1886" y="1187"/>
                  </a:lnTo>
                  <a:lnTo>
                    <a:pt x="1886" y="1190"/>
                  </a:lnTo>
                  <a:lnTo>
                    <a:pt x="1882" y="1190"/>
                  </a:lnTo>
                  <a:lnTo>
                    <a:pt x="1878" y="1190"/>
                  </a:lnTo>
                  <a:lnTo>
                    <a:pt x="1878" y="1192"/>
                  </a:lnTo>
                  <a:lnTo>
                    <a:pt x="1878" y="1196"/>
                  </a:lnTo>
                  <a:lnTo>
                    <a:pt x="1874" y="1196"/>
                  </a:lnTo>
                  <a:lnTo>
                    <a:pt x="1874" y="1202"/>
                  </a:lnTo>
                  <a:lnTo>
                    <a:pt x="1874" y="1202"/>
                  </a:lnTo>
                  <a:lnTo>
                    <a:pt x="1874" y="1202"/>
                  </a:lnTo>
                  <a:lnTo>
                    <a:pt x="1873" y="1205"/>
                  </a:lnTo>
                  <a:lnTo>
                    <a:pt x="1865" y="1205"/>
                  </a:lnTo>
                  <a:lnTo>
                    <a:pt x="1865" y="1205"/>
                  </a:lnTo>
                  <a:lnTo>
                    <a:pt x="1861" y="1205"/>
                  </a:lnTo>
                  <a:lnTo>
                    <a:pt x="1859" y="1207"/>
                  </a:lnTo>
                  <a:lnTo>
                    <a:pt x="1857" y="1207"/>
                  </a:lnTo>
                  <a:lnTo>
                    <a:pt x="1856" y="1205"/>
                  </a:lnTo>
                  <a:lnTo>
                    <a:pt x="1854" y="1205"/>
                  </a:lnTo>
                  <a:lnTo>
                    <a:pt x="1854" y="1205"/>
                  </a:lnTo>
                  <a:lnTo>
                    <a:pt x="1850" y="1205"/>
                  </a:lnTo>
                  <a:lnTo>
                    <a:pt x="1848" y="1205"/>
                  </a:lnTo>
                  <a:lnTo>
                    <a:pt x="1844" y="1205"/>
                  </a:lnTo>
                  <a:lnTo>
                    <a:pt x="1844" y="1202"/>
                  </a:lnTo>
                  <a:lnTo>
                    <a:pt x="1841" y="1200"/>
                  </a:lnTo>
                  <a:lnTo>
                    <a:pt x="1839" y="1196"/>
                  </a:lnTo>
                  <a:lnTo>
                    <a:pt x="1839" y="1192"/>
                  </a:lnTo>
                  <a:lnTo>
                    <a:pt x="1839" y="1192"/>
                  </a:lnTo>
                  <a:lnTo>
                    <a:pt x="1841" y="1189"/>
                  </a:lnTo>
                  <a:lnTo>
                    <a:pt x="1839" y="1185"/>
                  </a:lnTo>
                  <a:lnTo>
                    <a:pt x="1839" y="1181"/>
                  </a:lnTo>
                  <a:lnTo>
                    <a:pt x="1835" y="1181"/>
                  </a:lnTo>
                  <a:lnTo>
                    <a:pt x="1835" y="1179"/>
                  </a:lnTo>
                  <a:lnTo>
                    <a:pt x="1835" y="1177"/>
                  </a:lnTo>
                  <a:lnTo>
                    <a:pt x="1837" y="1175"/>
                  </a:lnTo>
                  <a:lnTo>
                    <a:pt x="1837" y="1172"/>
                  </a:lnTo>
                  <a:lnTo>
                    <a:pt x="1835" y="1172"/>
                  </a:lnTo>
                  <a:lnTo>
                    <a:pt x="1833" y="1172"/>
                  </a:lnTo>
                  <a:lnTo>
                    <a:pt x="1831" y="1175"/>
                  </a:lnTo>
                  <a:lnTo>
                    <a:pt x="1829" y="1175"/>
                  </a:lnTo>
                  <a:lnTo>
                    <a:pt x="1827" y="1175"/>
                  </a:lnTo>
                  <a:lnTo>
                    <a:pt x="1824" y="1175"/>
                  </a:lnTo>
                  <a:lnTo>
                    <a:pt x="1822" y="1172"/>
                  </a:lnTo>
                  <a:lnTo>
                    <a:pt x="1820" y="1172"/>
                  </a:lnTo>
                  <a:lnTo>
                    <a:pt x="1820" y="1172"/>
                  </a:lnTo>
                  <a:lnTo>
                    <a:pt x="1816" y="1170"/>
                  </a:lnTo>
                  <a:lnTo>
                    <a:pt x="1816" y="1168"/>
                  </a:lnTo>
                  <a:lnTo>
                    <a:pt x="1814" y="1166"/>
                  </a:lnTo>
                  <a:lnTo>
                    <a:pt x="1814" y="1166"/>
                  </a:lnTo>
                  <a:lnTo>
                    <a:pt x="1810" y="1162"/>
                  </a:lnTo>
                  <a:lnTo>
                    <a:pt x="1810" y="1162"/>
                  </a:lnTo>
                  <a:lnTo>
                    <a:pt x="1809" y="1162"/>
                  </a:lnTo>
                  <a:lnTo>
                    <a:pt x="1807" y="1160"/>
                  </a:lnTo>
                  <a:lnTo>
                    <a:pt x="1807" y="1158"/>
                  </a:lnTo>
                  <a:lnTo>
                    <a:pt x="1805" y="1157"/>
                  </a:lnTo>
                  <a:lnTo>
                    <a:pt x="1803" y="1157"/>
                  </a:lnTo>
                  <a:lnTo>
                    <a:pt x="1801" y="1160"/>
                  </a:lnTo>
                  <a:lnTo>
                    <a:pt x="1799" y="1158"/>
                  </a:lnTo>
                  <a:lnTo>
                    <a:pt x="1797" y="1160"/>
                  </a:lnTo>
                  <a:lnTo>
                    <a:pt x="1797" y="1160"/>
                  </a:lnTo>
                  <a:lnTo>
                    <a:pt x="1795" y="1160"/>
                  </a:lnTo>
                  <a:lnTo>
                    <a:pt x="1795" y="1158"/>
                  </a:lnTo>
                  <a:lnTo>
                    <a:pt x="1792" y="1157"/>
                  </a:lnTo>
                  <a:lnTo>
                    <a:pt x="1790" y="1157"/>
                  </a:lnTo>
                  <a:lnTo>
                    <a:pt x="1786" y="1155"/>
                  </a:lnTo>
                  <a:lnTo>
                    <a:pt x="1790" y="1155"/>
                  </a:lnTo>
                  <a:lnTo>
                    <a:pt x="1790" y="1153"/>
                  </a:lnTo>
                  <a:lnTo>
                    <a:pt x="1786" y="1153"/>
                  </a:lnTo>
                  <a:lnTo>
                    <a:pt x="1784" y="1155"/>
                  </a:lnTo>
                  <a:lnTo>
                    <a:pt x="1780" y="1155"/>
                  </a:lnTo>
                  <a:lnTo>
                    <a:pt x="1778" y="1155"/>
                  </a:lnTo>
                  <a:lnTo>
                    <a:pt x="1777" y="1153"/>
                  </a:lnTo>
                  <a:lnTo>
                    <a:pt x="1775" y="1155"/>
                  </a:lnTo>
                  <a:lnTo>
                    <a:pt x="1773" y="1155"/>
                  </a:lnTo>
                  <a:lnTo>
                    <a:pt x="1771" y="1151"/>
                  </a:lnTo>
                  <a:lnTo>
                    <a:pt x="1767" y="1151"/>
                  </a:lnTo>
                  <a:lnTo>
                    <a:pt x="1765" y="1145"/>
                  </a:lnTo>
                  <a:lnTo>
                    <a:pt x="1761" y="1141"/>
                  </a:lnTo>
                  <a:lnTo>
                    <a:pt x="1761" y="1141"/>
                  </a:lnTo>
                  <a:lnTo>
                    <a:pt x="1761" y="1138"/>
                  </a:lnTo>
                  <a:lnTo>
                    <a:pt x="1760" y="1138"/>
                  </a:lnTo>
                  <a:lnTo>
                    <a:pt x="1758" y="1136"/>
                  </a:lnTo>
                  <a:lnTo>
                    <a:pt x="1758" y="1132"/>
                  </a:lnTo>
                  <a:lnTo>
                    <a:pt x="1756" y="1130"/>
                  </a:lnTo>
                  <a:lnTo>
                    <a:pt x="1756" y="1126"/>
                  </a:lnTo>
                  <a:lnTo>
                    <a:pt x="1754" y="1123"/>
                  </a:lnTo>
                  <a:lnTo>
                    <a:pt x="1746" y="1121"/>
                  </a:lnTo>
                  <a:lnTo>
                    <a:pt x="1743" y="1113"/>
                  </a:lnTo>
                  <a:lnTo>
                    <a:pt x="1743" y="1111"/>
                  </a:lnTo>
                  <a:lnTo>
                    <a:pt x="1741" y="1108"/>
                  </a:lnTo>
                  <a:lnTo>
                    <a:pt x="1741" y="1111"/>
                  </a:lnTo>
                  <a:lnTo>
                    <a:pt x="1737" y="1108"/>
                  </a:lnTo>
                  <a:lnTo>
                    <a:pt x="1741" y="1108"/>
                  </a:lnTo>
                  <a:lnTo>
                    <a:pt x="1741" y="1106"/>
                  </a:lnTo>
                  <a:lnTo>
                    <a:pt x="1737" y="1104"/>
                  </a:lnTo>
                  <a:lnTo>
                    <a:pt x="1737" y="1102"/>
                  </a:lnTo>
                  <a:lnTo>
                    <a:pt x="1735" y="1100"/>
                  </a:lnTo>
                  <a:lnTo>
                    <a:pt x="1731" y="1096"/>
                  </a:lnTo>
                  <a:lnTo>
                    <a:pt x="1731" y="1094"/>
                  </a:lnTo>
                  <a:lnTo>
                    <a:pt x="1728" y="1091"/>
                  </a:lnTo>
                  <a:lnTo>
                    <a:pt x="1726" y="1089"/>
                  </a:lnTo>
                  <a:lnTo>
                    <a:pt x="1726" y="1087"/>
                  </a:lnTo>
                  <a:lnTo>
                    <a:pt x="1726" y="1083"/>
                  </a:lnTo>
                  <a:lnTo>
                    <a:pt x="1726" y="1083"/>
                  </a:lnTo>
                  <a:lnTo>
                    <a:pt x="1720" y="1083"/>
                  </a:lnTo>
                  <a:lnTo>
                    <a:pt x="1720" y="1081"/>
                  </a:lnTo>
                  <a:lnTo>
                    <a:pt x="1720" y="1077"/>
                  </a:lnTo>
                  <a:lnTo>
                    <a:pt x="1718" y="1077"/>
                  </a:lnTo>
                  <a:lnTo>
                    <a:pt x="1718" y="1074"/>
                  </a:lnTo>
                  <a:lnTo>
                    <a:pt x="1718" y="1072"/>
                  </a:lnTo>
                  <a:lnTo>
                    <a:pt x="1714" y="1072"/>
                  </a:lnTo>
                  <a:lnTo>
                    <a:pt x="1714" y="1070"/>
                  </a:lnTo>
                  <a:lnTo>
                    <a:pt x="1714" y="1068"/>
                  </a:lnTo>
                  <a:lnTo>
                    <a:pt x="1713" y="1068"/>
                  </a:lnTo>
                  <a:lnTo>
                    <a:pt x="1711" y="1068"/>
                  </a:lnTo>
                  <a:lnTo>
                    <a:pt x="1707" y="1066"/>
                  </a:lnTo>
                  <a:lnTo>
                    <a:pt x="1711" y="1064"/>
                  </a:lnTo>
                  <a:lnTo>
                    <a:pt x="1711" y="1062"/>
                  </a:lnTo>
                  <a:lnTo>
                    <a:pt x="1707" y="1060"/>
                  </a:lnTo>
                  <a:lnTo>
                    <a:pt x="1703" y="1062"/>
                  </a:lnTo>
                  <a:lnTo>
                    <a:pt x="1703" y="1062"/>
                  </a:lnTo>
                  <a:lnTo>
                    <a:pt x="1703" y="1060"/>
                  </a:lnTo>
                  <a:lnTo>
                    <a:pt x="1701" y="1059"/>
                  </a:lnTo>
                  <a:lnTo>
                    <a:pt x="1701" y="1057"/>
                  </a:lnTo>
                  <a:lnTo>
                    <a:pt x="1701" y="1057"/>
                  </a:lnTo>
                  <a:lnTo>
                    <a:pt x="1697" y="1057"/>
                  </a:lnTo>
                  <a:lnTo>
                    <a:pt x="1696" y="1057"/>
                  </a:lnTo>
                  <a:lnTo>
                    <a:pt x="1694" y="1053"/>
                  </a:lnTo>
                  <a:lnTo>
                    <a:pt x="1694" y="1053"/>
                  </a:lnTo>
                  <a:lnTo>
                    <a:pt x="1690" y="1053"/>
                  </a:lnTo>
                  <a:lnTo>
                    <a:pt x="1688" y="1053"/>
                  </a:lnTo>
                  <a:lnTo>
                    <a:pt x="1686" y="1053"/>
                  </a:lnTo>
                  <a:lnTo>
                    <a:pt x="1686" y="1057"/>
                  </a:lnTo>
                  <a:lnTo>
                    <a:pt x="1686" y="1057"/>
                  </a:lnTo>
                  <a:lnTo>
                    <a:pt x="1682" y="1057"/>
                  </a:lnTo>
                  <a:lnTo>
                    <a:pt x="1682" y="1053"/>
                  </a:lnTo>
                  <a:lnTo>
                    <a:pt x="1679" y="1057"/>
                  </a:lnTo>
                  <a:lnTo>
                    <a:pt x="1673" y="1057"/>
                  </a:lnTo>
                  <a:lnTo>
                    <a:pt x="1673" y="1053"/>
                  </a:lnTo>
                  <a:lnTo>
                    <a:pt x="1671" y="1053"/>
                  </a:lnTo>
                  <a:lnTo>
                    <a:pt x="1665" y="1053"/>
                  </a:lnTo>
                  <a:lnTo>
                    <a:pt x="1664" y="1049"/>
                  </a:lnTo>
                  <a:lnTo>
                    <a:pt x="1662" y="1049"/>
                  </a:lnTo>
                  <a:lnTo>
                    <a:pt x="1658" y="1049"/>
                  </a:lnTo>
                  <a:lnTo>
                    <a:pt x="1656" y="1049"/>
                  </a:lnTo>
                  <a:lnTo>
                    <a:pt x="1652" y="1051"/>
                  </a:lnTo>
                  <a:lnTo>
                    <a:pt x="1652" y="1053"/>
                  </a:lnTo>
                  <a:lnTo>
                    <a:pt x="1649" y="1053"/>
                  </a:lnTo>
                  <a:lnTo>
                    <a:pt x="1649" y="1053"/>
                  </a:lnTo>
                  <a:lnTo>
                    <a:pt x="1645" y="1053"/>
                  </a:lnTo>
                  <a:lnTo>
                    <a:pt x="1641" y="1053"/>
                  </a:lnTo>
                  <a:lnTo>
                    <a:pt x="1637" y="1053"/>
                  </a:lnTo>
                  <a:lnTo>
                    <a:pt x="1635" y="1057"/>
                  </a:lnTo>
                  <a:lnTo>
                    <a:pt x="1632" y="1057"/>
                  </a:lnTo>
                  <a:lnTo>
                    <a:pt x="1630" y="1059"/>
                  </a:lnTo>
                  <a:lnTo>
                    <a:pt x="1628" y="1060"/>
                  </a:lnTo>
                  <a:lnTo>
                    <a:pt x="1624" y="1059"/>
                  </a:lnTo>
                  <a:lnTo>
                    <a:pt x="1624" y="1060"/>
                  </a:lnTo>
                  <a:lnTo>
                    <a:pt x="1624" y="1060"/>
                  </a:lnTo>
                  <a:lnTo>
                    <a:pt x="1618" y="1060"/>
                  </a:lnTo>
                  <a:lnTo>
                    <a:pt x="1617" y="1062"/>
                  </a:lnTo>
                  <a:lnTo>
                    <a:pt x="1613" y="1064"/>
                  </a:lnTo>
                  <a:lnTo>
                    <a:pt x="1613" y="1066"/>
                  </a:lnTo>
                  <a:lnTo>
                    <a:pt x="1611" y="1070"/>
                  </a:lnTo>
                  <a:lnTo>
                    <a:pt x="1609" y="1074"/>
                  </a:lnTo>
                  <a:lnTo>
                    <a:pt x="1607" y="1076"/>
                  </a:lnTo>
                  <a:lnTo>
                    <a:pt x="1607" y="1077"/>
                  </a:lnTo>
                  <a:lnTo>
                    <a:pt x="1607" y="1077"/>
                  </a:lnTo>
                  <a:lnTo>
                    <a:pt x="1607" y="1083"/>
                  </a:lnTo>
                  <a:lnTo>
                    <a:pt x="1607" y="1083"/>
                  </a:lnTo>
                  <a:lnTo>
                    <a:pt x="1611" y="1083"/>
                  </a:lnTo>
                  <a:lnTo>
                    <a:pt x="1615" y="1083"/>
                  </a:lnTo>
                  <a:lnTo>
                    <a:pt x="1617" y="1081"/>
                  </a:lnTo>
                  <a:lnTo>
                    <a:pt x="1618" y="1081"/>
                  </a:lnTo>
                  <a:lnTo>
                    <a:pt x="1622" y="1087"/>
                  </a:lnTo>
                  <a:lnTo>
                    <a:pt x="1624" y="1089"/>
                  </a:lnTo>
                  <a:lnTo>
                    <a:pt x="1624" y="1091"/>
                  </a:lnTo>
                  <a:lnTo>
                    <a:pt x="1624" y="1094"/>
                  </a:lnTo>
                  <a:lnTo>
                    <a:pt x="1628" y="1096"/>
                  </a:lnTo>
                  <a:lnTo>
                    <a:pt x="1628" y="1100"/>
                  </a:lnTo>
                  <a:lnTo>
                    <a:pt x="1624" y="1102"/>
                  </a:lnTo>
                  <a:lnTo>
                    <a:pt x="1622" y="1106"/>
                  </a:lnTo>
                  <a:lnTo>
                    <a:pt x="1622" y="1111"/>
                  </a:lnTo>
                  <a:lnTo>
                    <a:pt x="1618" y="1111"/>
                  </a:lnTo>
                  <a:lnTo>
                    <a:pt x="1617" y="1117"/>
                  </a:lnTo>
                  <a:lnTo>
                    <a:pt x="1617" y="1121"/>
                  </a:lnTo>
                  <a:lnTo>
                    <a:pt x="1618" y="1121"/>
                  </a:lnTo>
                  <a:lnTo>
                    <a:pt x="1618" y="1124"/>
                  </a:lnTo>
                  <a:lnTo>
                    <a:pt x="1618" y="1128"/>
                  </a:lnTo>
                  <a:lnTo>
                    <a:pt x="1618" y="1130"/>
                  </a:lnTo>
                  <a:lnTo>
                    <a:pt x="1618" y="1134"/>
                  </a:lnTo>
                  <a:lnTo>
                    <a:pt x="1618" y="1136"/>
                  </a:lnTo>
                  <a:lnTo>
                    <a:pt x="1617" y="1138"/>
                  </a:lnTo>
                  <a:lnTo>
                    <a:pt x="1618" y="1141"/>
                  </a:lnTo>
                  <a:lnTo>
                    <a:pt x="1618" y="1145"/>
                  </a:lnTo>
                  <a:lnTo>
                    <a:pt x="1618" y="1147"/>
                  </a:lnTo>
                  <a:lnTo>
                    <a:pt x="1618" y="1153"/>
                  </a:lnTo>
                  <a:lnTo>
                    <a:pt x="1618" y="1153"/>
                  </a:lnTo>
                  <a:lnTo>
                    <a:pt x="1622" y="1153"/>
                  </a:lnTo>
                  <a:lnTo>
                    <a:pt x="1622" y="1153"/>
                  </a:lnTo>
                  <a:lnTo>
                    <a:pt x="1624" y="1153"/>
                  </a:lnTo>
                  <a:lnTo>
                    <a:pt x="1624" y="1158"/>
                  </a:lnTo>
                  <a:lnTo>
                    <a:pt x="1624" y="1162"/>
                  </a:lnTo>
                  <a:lnTo>
                    <a:pt x="1618" y="1162"/>
                  </a:lnTo>
                  <a:lnTo>
                    <a:pt x="1615" y="1166"/>
                  </a:lnTo>
                  <a:lnTo>
                    <a:pt x="1609" y="1168"/>
                  </a:lnTo>
                  <a:lnTo>
                    <a:pt x="1600" y="1175"/>
                  </a:lnTo>
                  <a:lnTo>
                    <a:pt x="1598" y="1175"/>
                  </a:lnTo>
                  <a:lnTo>
                    <a:pt x="1598" y="1175"/>
                  </a:lnTo>
                  <a:lnTo>
                    <a:pt x="1592" y="1175"/>
                  </a:lnTo>
                  <a:lnTo>
                    <a:pt x="1588" y="1175"/>
                  </a:lnTo>
                  <a:lnTo>
                    <a:pt x="1586" y="1172"/>
                  </a:lnTo>
                  <a:lnTo>
                    <a:pt x="1585" y="1172"/>
                  </a:lnTo>
                  <a:lnTo>
                    <a:pt x="1583" y="1172"/>
                  </a:lnTo>
                  <a:lnTo>
                    <a:pt x="1581" y="1172"/>
                  </a:lnTo>
                  <a:lnTo>
                    <a:pt x="1573" y="1170"/>
                  </a:lnTo>
                  <a:lnTo>
                    <a:pt x="1566" y="1172"/>
                  </a:lnTo>
                  <a:lnTo>
                    <a:pt x="1566" y="1172"/>
                  </a:lnTo>
                  <a:lnTo>
                    <a:pt x="1564" y="1175"/>
                  </a:lnTo>
                  <a:lnTo>
                    <a:pt x="1560" y="1175"/>
                  </a:lnTo>
                  <a:lnTo>
                    <a:pt x="1558" y="1172"/>
                  </a:lnTo>
                  <a:lnTo>
                    <a:pt x="1554" y="1175"/>
                  </a:lnTo>
                  <a:lnTo>
                    <a:pt x="1551" y="1175"/>
                  </a:lnTo>
                  <a:lnTo>
                    <a:pt x="1549" y="1172"/>
                  </a:lnTo>
                  <a:lnTo>
                    <a:pt x="1545" y="1168"/>
                  </a:lnTo>
                  <a:lnTo>
                    <a:pt x="1541" y="1168"/>
                  </a:lnTo>
                  <a:lnTo>
                    <a:pt x="1536" y="1170"/>
                  </a:lnTo>
                  <a:lnTo>
                    <a:pt x="1536" y="1168"/>
                  </a:lnTo>
                  <a:lnTo>
                    <a:pt x="1532" y="1168"/>
                  </a:lnTo>
                  <a:lnTo>
                    <a:pt x="1530" y="1172"/>
                  </a:lnTo>
                  <a:lnTo>
                    <a:pt x="1528" y="1175"/>
                  </a:lnTo>
                  <a:lnTo>
                    <a:pt x="1524" y="1177"/>
                  </a:lnTo>
                  <a:lnTo>
                    <a:pt x="1521" y="1179"/>
                  </a:lnTo>
                  <a:lnTo>
                    <a:pt x="1519" y="1183"/>
                  </a:lnTo>
                  <a:lnTo>
                    <a:pt x="1519" y="1185"/>
                  </a:lnTo>
                  <a:lnTo>
                    <a:pt x="1517" y="1189"/>
                  </a:lnTo>
                  <a:lnTo>
                    <a:pt x="1515" y="1192"/>
                  </a:lnTo>
                  <a:lnTo>
                    <a:pt x="1505" y="1192"/>
                  </a:lnTo>
                  <a:lnTo>
                    <a:pt x="1504" y="1192"/>
                  </a:lnTo>
                  <a:lnTo>
                    <a:pt x="1500" y="1196"/>
                  </a:lnTo>
                  <a:lnTo>
                    <a:pt x="1494" y="1196"/>
                  </a:lnTo>
                  <a:lnTo>
                    <a:pt x="1490" y="1200"/>
                  </a:lnTo>
                  <a:lnTo>
                    <a:pt x="1485" y="1205"/>
                  </a:lnTo>
                  <a:lnTo>
                    <a:pt x="1485" y="1205"/>
                  </a:lnTo>
                  <a:lnTo>
                    <a:pt x="1481" y="1202"/>
                  </a:lnTo>
                  <a:lnTo>
                    <a:pt x="1475" y="1202"/>
                  </a:lnTo>
                  <a:lnTo>
                    <a:pt x="1473" y="1202"/>
                  </a:lnTo>
                  <a:lnTo>
                    <a:pt x="1470" y="1205"/>
                  </a:lnTo>
                  <a:lnTo>
                    <a:pt x="1457" y="1205"/>
                  </a:lnTo>
                  <a:lnTo>
                    <a:pt x="1451" y="1202"/>
                  </a:lnTo>
                  <a:lnTo>
                    <a:pt x="1443" y="1202"/>
                  </a:lnTo>
                  <a:lnTo>
                    <a:pt x="1440" y="1202"/>
                  </a:lnTo>
                  <a:lnTo>
                    <a:pt x="1436" y="1200"/>
                  </a:lnTo>
                  <a:lnTo>
                    <a:pt x="1436" y="1200"/>
                  </a:lnTo>
                  <a:lnTo>
                    <a:pt x="1430" y="1196"/>
                  </a:lnTo>
                  <a:lnTo>
                    <a:pt x="1426" y="1196"/>
                  </a:lnTo>
                  <a:lnTo>
                    <a:pt x="1426" y="1189"/>
                  </a:lnTo>
                  <a:lnTo>
                    <a:pt x="1423" y="1187"/>
                  </a:lnTo>
                  <a:lnTo>
                    <a:pt x="1421" y="1189"/>
                  </a:lnTo>
                  <a:lnTo>
                    <a:pt x="1415" y="1189"/>
                  </a:lnTo>
                  <a:lnTo>
                    <a:pt x="1408" y="1185"/>
                  </a:lnTo>
                  <a:lnTo>
                    <a:pt x="1406" y="1179"/>
                  </a:lnTo>
                  <a:lnTo>
                    <a:pt x="1398" y="1181"/>
                  </a:lnTo>
                  <a:lnTo>
                    <a:pt x="1393" y="1179"/>
                  </a:lnTo>
                  <a:lnTo>
                    <a:pt x="1389" y="1177"/>
                  </a:lnTo>
                  <a:lnTo>
                    <a:pt x="1383" y="1179"/>
                  </a:lnTo>
                  <a:lnTo>
                    <a:pt x="1377" y="1179"/>
                  </a:lnTo>
                  <a:lnTo>
                    <a:pt x="1374" y="1181"/>
                  </a:lnTo>
                  <a:lnTo>
                    <a:pt x="1368" y="1181"/>
                  </a:lnTo>
                  <a:lnTo>
                    <a:pt x="1362" y="1183"/>
                  </a:lnTo>
                  <a:lnTo>
                    <a:pt x="1359" y="1187"/>
                  </a:lnTo>
                  <a:lnTo>
                    <a:pt x="1357" y="1189"/>
                  </a:lnTo>
                  <a:lnTo>
                    <a:pt x="1355" y="1187"/>
                  </a:lnTo>
                  <a:lnTo>
                    <a:pt x="1351" y="1187"/>
                  </a:lnTo>
                  <a:lnTo>
                    <a:pt x="1349" y="1189"/>
                  </a:lnTo>
                  <a:lnTo>
                    <a:pt x="1344" y="1189"/>
                  </a:lnTo>
                  <a:lnTo>
                    <a:pt x="1344" y="1190"/>
                  </a:lnTo>
                  <a:lnTo>
                    <a:pt x="1340" y="1190"/>
                  </a:lnTo>
                  <a:lnTo>
                    <a:pt x="1334" y="1187"/>
                  </a:lnTo>
                  <a:lnTo>
                    <a:pt x="1329" y="1185"/>
                  </a:lnTo>
                  <a:lnTo>
                    <a:pt x="1327" y="1183"/>
                  </a:lnTo>
                  <a:lnTo>
                    <a:pt x="1323" y="1179"/>
                  </a:lnTo>
                  <a:lnTo>
                    <a:pt x="1323" y="1179"/>
                  </a:lnTo>
                  <a:lnTo>
                    <a:pt x="1319" y="1177"/>
                  </a:lnTo>
                  <a:lnTo>
                    <a:pt x="1319" y="1175"/>
                  </a:lnTo>
                  <a:lnTo>
                    <a:pt x="1319" y="1172"/>
                  </a:lnTo>
                  <a:lnTo>
                    <a:pt x="1317" y="1170"/>
                  </a:lnTo>
                  <a:lnTo>
                    <a:pt x="1317" y="1166"/>
                  </a:lnTo>
                  <a:lnTo>
                    <a:pt x="1313" y="1162"/>
                  </a:lnTo>
                  <a:lnTo>
                    <a:pt x="1313" y="1160"/>
                  </a:lnTo>
                  <a:lnTo>
                    <a:pt x="1313" y="1158"/>
                  </a:lnTo>
                  <a:lnTo>
                    <a:pt x="1310" y="1157"/>
                  </a:lnTo>
                  <a:lnTo>
                    <a:pt x="1302" y="1157"/>
                  </a:lnTo>
                  <a:lnTo>
                    <a:pt x="1298" y="1157"/>
                  </a:lnTo>
                  <a:lnTo>
                    <a:pt x="1295" y="1155"/>
                  </a:lnTo>
                  <a:lnTo>
                    <a:pt x="1293" y="1155"/>
                  </a:lnTo>
                  <a:lnTo>
                    <a:pt x="1289" y="1153"/>
                  </a:lnTo>
                  <a:lnTo>
                    <a:pt x="1285" y="1151"/>
                  </a:lnTo>
                  <a:lnTo>
                    <a:pt x="1281" y="1151"/>
                  </a:lnTo>
                  <a:lnTo>
                    <a:pt x="1276" y="1151"/>
                  </a:lnTo>
                  <a:lnTo>
                    <a:pt x="1272" y="1151"/>
                  </a:lnTo>
                  <a:lnTo>
                    <a:pt x="1270" y="1147"/>
                  </a:lnTo>
                  <a:lnTo>
                    <a:pt x="1265" y="1145"/>
                  </a:lnTo>
                  <a:lnTo>
                    <a:pt x="1261" y="1145"/>
                  </a:lnTo>
                  <a:lnTo>
                    <a:pt x="1259" y="1141"/>
                  </a:lnTo>
                  <a:lnTo>
                    <a:pt x="1255" y="1141"/>
                  </a:lnTo>
                  <a:lnTo>
                    <a:pt x="1253" y="1145"/>
                  </a:lnTo>
                  <a:lnTo>
                    <a:pt x="1253" y="1147"/>
                  </a:lnTo>
                  <a:lnTo>
                    <a:pt x="1253" y="1151"/>
                  </a:lnTo>
                  <a:lnTo>
                    <a:pt x="1251" y="1153"/>
                  </a:lnTo>
                  <a:lnTo>
                    <a:pt x="1249" y="1153"/>
                  </a:lnTo>
                  <a:lnTo>
                    <a:pt x="1248" y="1155"/>
                  </a:lnTo>
                  <a:lnTo>
                    <a:pt x="1246" y="1157"/>
                  </a:lnTo>
                  <a:lnTo>
                    <a:pt x="1246" y="1160"/>
                  </a:lnTo>
                  <a:lnTo>
                    <a:pt x="1240" y="1162"/>
                  </a:lnTo>
                  <a:lnTo>
                    <a:pt x="1240" y="1175"/>
                  </a:lnTo>
                  <a:lnTo>
                    <a:pt x="1244" y="1177"/>
                  </a:lnTo>
                  <a:lnTo>
                    <a:pt x="1248" y="1179"/>
                  </a:lnTo>
                  <a:lnTo>
                    <a:pt x="1249" y="1181"/>
                  </a:lnTo>
                  <a:lnTo>
                    <a:pt x="1253" y="1183"/>
                  </a:lnTo>
                  <a:lnTo>
                    <a:pt x="1255" y="1185"/>
                  </a:lnTo>
                  <a:lnTo>
                    <a:pt x="1253" y="1192"/>
                  </a:lnTo>
                  <a:lnTo>
                    <a:pt x="1253" y="1196"/>
                  </a:lnTo>
                  <a:lnTo>
                    <a:pt x="1255" y="1200"/>
                  </a:lnTo>
                  <a:lnTo>
                    <a:pt x="1259" y="1202"/>
                  </a:lnTo>
                  <a:lnTo>
                    <a:pt x="1255" y="1207"/>
                  </a:lnTo>
                  <a:lnTo>
                    <a:pt x="1249" y="1207"/>
                  </a:lnTo>
                  <a:lnTo>
                    <a:pt x="1246" y="1207"/>
                  </a:lnTo>
                  <a:lnTo>
                    <a:pt x="1244" y="1207"/>
                  </a:lnTo>
                  <a:lnTo>
                    <a:pt x="1240" y="1209"/>
                  </a:lnTo>
                  <a:lnTo>
                    <a:pt x="1238" y="1207"/>
                  </a:lnTo>
                  <a:lnTo>
                    <a:pt x="1231" y="1207"/>
                  </a:lnTo>
                  <a:lnTo>
                    <a:pt x="1227" y="1207"/>
                  </a:lnTo>
                  <a:lnTo>
                    <a:pt x="1225" y="1205"/>
                  </a:lnTo>
                  <a:lnTo>
                    <a:pt x="1221" y="1205"/>
                  </a:lnTo>
                  <a:lnTo>
                    <a:pt x="1217" y="1205"/>
                  </a:lnTo>
                  <a:lnTo>
                    <a:pt x="1214" y="1207"/>
                  </a:lnTo>
                  <a:lnTo>
                    <a:pt x="1210" y="1209"/>
                  </a:lnTo>
                  <a:lnTo>
                    <a:pt x="1206" y="1211"/>
                  </a:lnTo>
                  <a:lnTo>
                    <a:pt x="1201" y="1207"/>
                  </a:lnTo>
                  <a:lnTo>
                    <a:pt x="1199" y="1205"/>
                  </a:lnTo>
                  <a:lnTo>
                    <a:pt x="1187" y="1202"/>
                  </a:lnTo>
                  <a:lnTo>
                    <a:pt x="1187" y="1196"/>
                  </a:lnTo>
                  <a:lnTo>
                    <a:pt x="1185" y="1196"/>
                  </a:lnTo>
                  <a:lnTo>
                    <a:pt x="1185" y="1192"/>
                  </a:lnTo>
                  <a:lnTo>
                    <a:pt x="1180" y="1192"/>
                  </a:lnTo>
                  <a:lnTo>
                    <a:pt x="1176" y="1194"/>
                  </a:lnTo>
                  <a:lnTo>
                    <a:pt x="1174" y="1194"/>
                  </a:lnTo>
                  <a:lnTo>
                    <a:pt x="1172" y="1194"/>
                  </a:lnTo>
                  <a:lnTo>
                    <a:pt x="1169" y="1196"/>
                  </a:lnTo>
                  <a:lnTo>
                    <a:pt x="1167" y="1192"/>
                  </a:lnTo>
                  <a:lnTo>
                    <a:pt x="1165" y="1190"/>
                  </a:lnTo>
                  <a:lnTo>
                    <a:pt x="1163" y="1187"/>
                  </a:lnTo>
                  <a:lnTo>
                    <a:pt x="1161" y="1187"/>
                  </a:lnTo>
                  <a:lnTo>
                    <a:pt x="1159" y="1189"/>
                  </a:lnTo>
                  <a:lnTo>
                    <a:pt x="1155" y="1189"/>
                  </a:lnTo>
                  <a:lnTo>
                    <a:pt x="1152" y="1189"/>
                  </a:lnTo>
                  <a:lnTo>
                    <a:pt x="1150" y="1190"/>
                  </a:lnTo>
                  <a:lnTo>
                    <a:pt x="1142" y="1190"/>
                  </a:lnTo>
                  <a:lnTo>
                    <a:pt x="1138" y="1192"/>
                  </a:lnTo>
                  <a:lnTo>
                    <a:pt x="1137" y="1196"/>
                  </a:lnTo>
                  <a:lnTo>
                    <a:pt x="1135" y="1196"/>
                  </a:lnTo>
                  <a:lnTo>
                    <a:pt x="1127" y="1196"/>
                  </a:lnTo>
                  <a:lnTo>
                    <a:pt x="1127" y="1196"/>
                  </a:lnTo>
                  <a:lnTo>
                    <a:pt x="1127" y="1202"/>
                  </a:lnTo>
                  <a:lnTo>
                    <a:pt x="1131" y="1202"/>
                  </a:lnTo>
                  <a:lnTo>
                    <a:pt x="1127" y="1202"/>
                  </a:lnTo>
                  <a:lnTo>
                    <a:pt x="1125" y="1205"/>
                  </a:lnTo>
                  <a:lnTo>
                    <a:pt x="1121" y="1207"/>
                  </a:lnTo>
                  <a:lnTo>
                    <a:pt x="1118" y="1211"/>
                  </a:lnTo>
                  <a:lnTo>
                    <a:pt x="1118" y="1213"/>
                  </a:lnTo>
                  <a:lnTo>
                    <a:pt x="1114" y="1215"/>
                  </a:lnTo>
                  <a:lnTo>
                    <a:pt x="1114" y="1219"/>
                  </a:lnTo>
                  <a:lnTo>
                    <a:pt x="1112" y="1224"/>
                  </a:lnTo>
                  <a:lnTo>
                    <a:pt x="1106" y="1226"/>
                  </a:lnTo>
                  <a:lnTo>
                    <a:pt x="1103" y="1230"/>
                  </a:lnTo>
                  <a:lnTo>
                    <a:pt x="1103" y="1230"/>
                  </a:lnTo>
                  <a:lnTo>
                    <a:pt x="1093" y="1230"/>
                  </a:lnTo>
                  <a:lnTo>
                    <a:pt x="1091" y="1232"/>
                  </a:lnTo>
                  <a:lnTo>
                    <a:pt x="1088" y="1239"/>
                  </a:lnTo>
                  <a:lnTo>
                    <a:pt x="1088" y="1239"/>
                  </a:lnTo>
                  <a:lnTo>
                    <a:pt x="1086" y="1239"/>
                  </a:lnTo>
                  <a:lnTo>
                    <a:pt x="1082" y="1239"/>
                  </a:lnTo>
                  <a:lnTo>
                    <a:pt x="1080" y="1239"/>
                  </a:lnTo>
                  <a:lnTo>
                    <a:pt x="1078" y="1236"/>
                  </a:lnTo>
                  <a:lnTo>
                    <a:pt x="1073" y="1236"/>
                  </a:lnTo>
                  <a:lnTo>
                    <a:pt x="1069" y="1230"/>
                  </a:lnTo>
                  <a:lnTo>
                    <a:pt x="1067" y="1230"/>
                  </a:lnTo>
                  <a:lnTo>
                    <a:pt x="1067" y="1226"/>
                  </a:lnTo>
                  <a:lnTo>
                    <a:pt x="1067" y="1222"/>
                  </a:lnTo>
                  <a:lnTo>
                    <a:pt x="1067" y="1222"/>
                  </a:lnTo>
                  <a:lnTo>
                    <a:pt x="1063" y="1224"/>
                  </a:lnTo>
                  <a:lnTo>
                    <a:pt x="1061" y="1226"/>
                  </a:lnTo>
                  <a:lnTo>
                    <a:pt x="1056" y="1230"/>
                  </a:lnTo>
                  <a:lnTo>
                    <a:pt x="1046" y="1230"/>
                  </a:lnTo>
                  <a:lnTo>
                    <a:pt x="1044" y="1230"/>
                  </a:lnTo>
                  <a:lnTo>
                    <a:pt x="1042" y="1232"/>
                  </a:lnTo>
                  <a:lnTo>
                    <a:pt x="1042" y="1230"/>
                  </a:lnTo>
                  <a:lnTo>
                    <a:pt x="1039" y="1230"/>
                  </a:lnTo>
                  <a:lnTo>
                    <a:pt x="1037" y="1230"/>
                  </a:lnTo>
                  <a:lnTo>
                    <a:pt x="1035" y="1230"/>
                  </a:lnTo>
                  <a:lnTo>
                    <a:pt x="1033" y="1226"/>
                  </a:lnTo>
                  <a:lnTo>
                    <a:pt x="1033" y="1224"/>
                  </a:lnTo>
                  <a:lnTo>
                    <a:pt x="1029" y="1222"/>
                  </a:lnTo>
                  <a:lnTo>
                    <a:pt x="1033" y="1221"/>
                  </a:lnTo>
                  <a:lnTo>
                    <a:pt x="1033" y="1217"/>
                  </a:lnTo>
                  <a:lnTo>
                    <a:pt x="1029" y="1217"/>
                  </a:lnTo>
                  <a:lnTo>
                    <a:pt x="1027" y="1217"/>
                  </a:lnTo>
                  <a:lnTo>
                    <a:pt x="1024" y="1213"/>
                  </a:lnTo>
                  <a:lnTo>
                    <a:pt x="1020" y="1211"/>
                  </a:lnTo>
                  <a:lnTo>
                    <a:pt x="1018" y="1211"/>
                  </a:lnTo>
                  <a:lnTo>
                    <a:pt x="1018" y="1207"/>
                  </a:lnTo>
                  <a:lnTo>
                    <a:pt x="1012" y="1202"/>
                  </a:lnTo>
                  <a:lnTo>
                    <a:pt x="1009" y="1200"/>
                  </a:lnTo>
                  <a:lnTo>
                    <a:pt x="1003" y="1196"/>
                  </a:lnTo>
                  <a:lnTo>
                    <a:pt x="995" y="1196"/>
                  </a:lnTo>
                  <a:lnTo>
                    <a:pt x="990" y="1196"/>
                  </a:lnTo>
                  <a:lnTo>
                    <a:pt x="988" y="1200"/>
                  </a:lnTo>
                  <a:lnTo>
                    <a:pt x="990" y="1202"/>
                  </a:lnTo>
                  <a:lnTo>
                    <a:pt x="988" y="1202"/>
                  </a:lnTo>
                  <a:lnTo>
                    <a:pt x="984" y="1205"/>
                  </a:lnTo>
                  <a:lnTo>
                    <a:pt x="984" y="1205"/>
                  </a:lnTo>
                  <a:lnTo>
                    <a:pt x="978" y="1205"/>
                  </a:lnTo>
                  <a:lnTo>
                    <a:pt x="975" y="1202"/>
                  </a:lnTo>
                  <a:lnTo>
                    <a:pt x="971" y="1205"/>
                  </a:lnTo>
                  <a:lnTo>
                    <a:pt x="967" y="1205"/>
                  </a:lnTo>
                  <a:lnTo>
                    <a:pt x="965" y="1205"/>
                  </a:lnTo>
                  <a:lnTo>
                    <a:pt x="963" y="1202"/>
                  </a:lnTo>
                  <a:lnTo>
                    <a:pt x="960" y="1202"/>
                  </a:lnTo>
                  <a:lnTo>
                    <a:pt x="956" y="1200"/>
                  </a:lnTo>
                  <a:lnTo>
                    <a:pt x="960" y="1196"/>
                  </a:lnTo>
                  <a:lnTo>
                    <a:pt x="954" y="1194"/>
                  </a:lnTo>
                  <a:lnTo>
                    <a:pt x="950" y="1196"/>
                  </a:lnTo>
                  <a:lnTo>
                    <a:pt x="950" y="1200"/>
                  </a:lnTo>
                  <a:lnTo>
                    <a:pt x="950" y="1202"/>
                  </a:lnTo>
                  <a:lnTo>
                    <a:pt x="950" y="1202"/>
                  </a:lnTo>
                  <a:lnTo>
                    <a:pt x="948" y="1205"/>
                  </a:lnTo>
                  <a:lnTo>
                    <a:pt x="943" y="1205"/>
                  </a:lnTo>
                  <a:lnTo>
                    <a:pt x="896" y="1147"/>
                  </a:lnTo>
                  <a:lnTo>
                    <a:pt x="864" y="1123"/>
                  </a:lnTo>
                  <a:lnTo>
                    <a:pt x="864" y="1121"/>
                  </a:lnTo>
                  <a:lnTo>
                    <a:pt x="865" y="1121"/>
                  </a:lnTo>
                  <a:lnTo>
                    <a:pt x="867" y="1117"/>
                  </a:lnTo>
                  <a:lnTo>
                    <a:pt x="867" y="1111"/>
                  </a:lnTo>
                  <a:lnTo>
                    <a:pt x="867" y="1111"/>
                  </a:lnTo>
                  <a:lnTo>
                    <a:pt x="862" y="1113"/>
                  </a:lnTo>
                  <a:lnTo>
                    <a:pt x="858" y="1113"/>
                  </a:lnTo>
                  <a:lnTo>
                    <a:pt x="854" y="1117"/>
                  </a:lnTo>
                  <a:lnTo>
                    <a:pt x="852" y="1117"/>
                  </a:lnTo>
                  <a:lnTo>
                    <a:pt x="847" y="1123"/>
                  </a:lnTo>
                  <a:lnTo>
                    <a:pt x="847" y="1124"/>
                  </a:lnTo>
                  <a:lnTo>
                    <a:pt x="847" y="1128"/>
                  </a:lnTo>
                  <a:lnTo>
                    <a:pt x="843" y="1130"/>
                  </a:lnTo>
                  <a:lnTo>
                    <a:pt x="841" y="1134"/>
                  </a:lnTo>
                  <a:lnTo>
                    <a:pt x="835" y="1134"/>
                  </a:lnTo>
                  <a:lnTo>
                    <a:pt x="832" y="1136"/>
                  </a:lnTo>
                  <a:lnTo>
                    <a:pt x="832" y="1138"/>
                  </a:lnTo>
                  <a:lnTo>
                    <a:pt x="830" y="1141"/>
                  </a:lnTo>
                  <a:lnTo>
                    <a:pt x="828" y="1138"/>
                  </a:lnTo>
                  <a:lnTo>
                    <a:pt x="820" y="1138"/>
                  </a:lnTo>
                  <a:lnTo>
                    <a:pt x="817" y="1138"/>
                  </a:lnTo>
                  <a:lnTo>
                    <a:pt x="813" y="1141"/>
                  </a:lnTo>
                  <a:lnTo>
                    <a:pt x="813" y="1141"/>
                  </a:lnTo>
                  <a:lnTo>
                    <a:pt x="809" y="1138"/>
                  </a:lnTo>
                  <a:lnTo>
                    <a:pt x="809" y="1134"/>
                  </a:lnTo>
                  <a:lnTo>
                    <a:pt x="813" y="1132"/>
                  </a:lnTo>
                  <a:lnTo>
                    <a:pt x="813" y="1128"/>
                  </a:lnTo>
                  <a:lnTo>
                    <a:pt x="811" y="1126"/>
                  </a:lnTo>
                  <a:lnTo>
                    <a:pt x="809" y="1130"/>
                  </a:lnTo>
                  <a:lnTo>
                    <a:pt x="805" y="1130"/>
                  </a:lnTo>
                  <a:lnTo>
                    <a:pt x="798" y="1126"/>
                  </a:lnTo>
                  <a:lnTo>
                    <a:pt x="794" y="1126"/>
                  </a:lnTo>
                  <a:lnTo>
                    <a:pt x="796" y="1128"/>
                  </a:lnTo>
                  <a:lnTo>
                    <a:pt x="798" y="1130"/>
                  </a:lnTo>
                  <a:lnTo>
                    <a:pt x="794" y="1132"/>
                  </a:lnTo>
                  <a:lnTo>
                    <a:pt x="792" y="1134"/>
                  </a:lnTo>
                  <a:lnTo>
                    <a:pt x="792" y="1128"/>
                  </a:lnTo>
                  <a:lnTo>
                    <a:pt x="788" y="1123"/>
                  </a:lnTo>
                  <a:lnTo>
                    <a:pt x="783" y="1117"/>
                  </a:lnTo>
                  <a:lnTo>
                    <a:pt x="783" y="1117"/>
                  </a:lnTo>
                  <a:lnTo>
                    <a:pt x="783" y="1123"/>
                  </a:lnTo>
                  <a:lnTo>
                    <a:pt x="783" y="1124"/>
                  </a:lnTo>
                  <a:lnTo>
                    <a:pt x="781" y="1124"/>
                  </a:lnTo>
                  <a:lnTo>
                    <a:pt x="781" y="1121"/>
                  </a:lnTo>
                  <a:lnTo>
                    <a:pt x="777" y="1123"/>
                  </a:lnTo>
                  <a:lnTo>
                    <a:pt x="777" y="1126"/>
                  </a:lnTo>
                  <a:lnTo>
                    <a:pt x="775" y="1126"/>
                  </a:lnTo>
                  <a:lnTo>
                    <a:pt x="771" y="1124"/>
                  </a:lnTo>
                  <a:lnTo>
                    <a:pt x="768" y="1126"/>
                  </a:lnTo>
                  <a:lnTo>
                    <a:pt x="768" y="1124"/>
                  </a:lnTo>
                  <a:lnTo>
                    <a:pt x="764" y="1121"/>
                  </a:lnTo>
                  <a:lnTo>
                    <a:pt x="768" y="1121"/>
                  </a:lnTo>
                  <a:lnTo>
                    <a:pt x="768" y="1121"/>
                  </a:lnTo>
                  <a:lnTo>
                    <a:pt x="768" y="1117"/>
                  </a:lnTo>
                  <a:lnTo>
                    <a:pt x="768" y="1111"/>
                  </a:lnTo>
                  <a:lnTo>
                    <a:pt x="768" y="1111"/>
                  </a:lnTo>
                  <a:lnTo>
                    <a:pt x="764" y="1108"/>
                  </a:lnTo>
                  <a:lnTo>
                    <a:pt x="762" y="1106"/>
                  </a:lnTo>
                  <a:lnTo>
                    <a:pt x="762" y="1102"/>
                  </a:lnTo>
                  <a:lnTo>
                    <a:pt x="758" y="1102"/>
                  </a:lnTo>
                  <a:lnTo>
                    <a:pt x="758" y="1096"/>
                  </a:lnTo>
                  <a:lnTo>
                    <a:pt x="754" y="1096"/>
                  </a:lnTo>
                  <a:lnTo>
                    <a:pt x="751" y="1098"/>
                  </a:lnTo>
                  <a:lnTo>
                    <a:pt x="745" y="1098"/>
                  </a:lnTo>
                  <a:lnTo>
                    <a:pt x="741" y="1094"/>
                  </a:lnTo>
                  <a:lnTo>
                    <a:pt x="737" y="1096"/>
                  </a:lnTo>
                  <a:lnTo>
                    <a:pt x="732" y="1092"/>
                  </a:lnTo>
                  <a:lnTo>
                    <a:pt x="730" y="1094"/>
                  </a:lnTo>
                  <a:lnTo>
                    <a:pt x="724" y="1094"/>
                  </a:lnTo>
                  <a:lnTo>
                    <a:pt x="722" y="1096"/>
                  </a:lnTo>
                  <a:lnTo>
                    <a:pt x="722" y="1100"/>
                  </a:lnTo>
                  <a:lnTo>
                    <a:pt x="717" y="1100"/>
                  </a:lnTo>
                  <a:lnTo>
                    <a:pt x="715" y="1102"/>
                  </a:lnTo>
                  <a:lnTo>
                    <a:pt x="717" y="1104"/>
                  </a:lnTo>
                  <a:lnTo>
                    <a:pt x="717" y="1108"/>
                  </a:lnTo>
                  <a:lnTo>
                    <a:pt x="713" y="1108"/>
                  </a:lnTo>
                  <a:lnTo>
                    <a:pt x="709" y="1108"/>
                  </a:lnTo>
                  <a:lnTo>
                    <a:pt x="707" y="1111"/>
                  </a:lnTo>
                  <a:lnTo>
                    <a:pt x="704" y="1111"/>
                  </a:lnTo>
                  <a:lnTo>
                    <a:pt x="700" y="1111"/>
                  </a:lnTo>
                  <a:lnTo>
                    <a:pt x="700" y="1111"/>
                  </a:lnTo>
                  <a:lnTo>
                    <a:pt x="690" y="1117"/>
                  </a:lnTo>
                  <a:lnTo>
                    <a:pt x="687" y="1121"/>
                  </a:lnTo>
                  <a:lnTo>
                    <a:pt x="683" y="1121"/>
                  </a:lnTo>
                  <a:lnTo>
                    <a:pt x="681" y="1121"/>
                  </a:lnTo>
                  <a:lnTo>
                    <a:pt x="679" y="1117"/>
                  </a:lnTo>
                  <a:lnTo>
                    <a:pt x="675" y="1121"/>
                  </a:lnTo>
                  <a:lnTo>
                    <a:pt x="675" y="1123"/>
                  </a:lnTo>
                  <a:lnTo>
                    <a:pt x="673" y="1123"/>
                  </a:lnTo>
                  <a:lnTo>
                    <a:pt x="670" y="1124"/>
                  </a:lnTo>
                  <a:lnTo>
                    <a:pt x="670" y="1128"/>
                  </a:lnTo>
                  <a:lnTo>
                    <a:pt x="670" y="1130"/>
                  </a:lnTo>
                  <a:lnTo>
                    <a:pt x="666" y="1128"/>
                  </a:lnTo>
                  <a:lnTo>
                    <a:pt x="664" y="1130"/>
                  </a:lnTo>
                  <a:lnTo>
                    <a:pt x="660" y="1132"/>
                  </a:lnTo>
                  <a:lnTo>
                    <a:pt x="655" y="1132"/>
                  </a:lnTo>
                  <a:lnTo>
                    <a:pt x="651" y="1134"/>
                  </a:lnTo>
                  <a:lnTo>
                    <a:pt x="649" y="1136"/>
                  </a:lnTo>
                  <a:lnTo>
                    <a:pt x="645" y="1138"/>
                  </a:lnTo>
                  <a:lnTo>
                    <a:pt x="641" y="1138"/>
                  </a:lnTo>
                  <a:lnTo>
                    <a:pt x="636" y="1138"/>
                  </a:lnTo>
                  <a:lnTo>
                    <a:pt x="630" y="1141"/>
                  </a:lnTo>
                  <a:lnTo>
                    <a:pt x="628" y="1145"/>
                  </a:lnTo>
                  <a:lnTo>
                    <a:pt x="626" y="1145"/>
                  </a:lnTo>
                  <a:lnTo>
                    <a:pt x="625" y="1141"/>
                  </a:lnTo>
                  <a:lnTo>
                    <a:pt x="621" y="1141"/>
                  </a:lnTo>
                  <a:lnTo>
                    <a:pt x="621" y="1145"/>
                  </a:lnTo>
                  <a:lnTo>
                    <a:pt x="621" y="1147"/>
                  </a:lnTo>
                  <a:lnTo>
                    <a:pt x="619" y="1151"/>
                  </a:lnTo>
                  <a:lnTo>
                    <a:pt x="615" y="1145"/>
                  </a:lnTo>
                  <a:lnTo>
                    <a:pt x="609" y="1147"/>
                  </a:lnTo>
                  <a:lnTo>
                    <a:pt x="609" y="1145"/>
                  </a:lnTo>
                  <a:lnTo>
                    <a:pt x="606" y="1145"/>
                  </a:lnTo>
                  <a:lnTo>
                    <a:pt x="604" y="1147"/>
                  </a:lnTo>
                  <a:lnTo>
                    <a:pt x="600" y="1147"/>
                  </a:lnTo>
                  <a:lnTo>
                    <a:pt x="600" y="1147"/>
                  </a:lnTo>
                  <a:lnTo>
                    <a:pt x="600" y="1153"/>
                  </a:lnTo>
                  <a:lnTo>
                    <a:pt x="600" y="1155"/>
                  </a:lnTo>
                  <a:lnTo>
                    <a:pt x="602" y="1157"/>
                  </a:lnTo>
                  <a:lnTo>
                    <a:pt x="608" y="1155"/>
                  </a:lnTo>
                  <a:lnTo>
                    <a:pt x="609" y="1158"/>
                  </a:lnTo>
                  <a:lnTo>
                    <a:pt x="604" y="1158"/>
                  </a:lnTo>
                  <a:lnTo>
                    <a:pt x="602" y="1160"/>
                  </a:lnTo>
                  <a:lnTo>
                    <a:pt x="602" y="1162"/>
                  </a:lnTo>
                  <a:lnTo>
                    <a:pt x="608" y="1162"/>
                  </a:lnTo>
                  <a:lnTo>
                    <a:pt x="611" y="1166"/>
                  </a:lnTo>
                  <a:lnTo>
                    <a:pt x="613" y="1162"/>
                  </a:lnTo>
                  <a:lnTo>
                    <a:pt x="617" y="1162"/>
                  </a:lnTo>
                  <a:lnTo>
                    <a:pt x="621" y="1166"/>
                  </a:lnTo>
                  <a:lnTo>
                    <a:pt x="625" y="1168"/>
                  </a:lnTo>
                  <a:lnTo>
                    <a:pt x="625" y="1172"/>
                  </a:lnTo>
                  <a:lnTo>
                    <a:pt x="621" y="1172"/>
                  </a:lnTo>
                  <a:lnTo>
                    <a:pt x="619" y="1172"/>
                  </a:lnTo>
                  <a:lnTo>
                    <a:pt x="609" y="1172"/>
                  </a:lnTo>
                  <a:lnTo>
                    <a:pt x="606" y="1175"/>
                  </a:lnTo>
                  <a:lnTo>
                    <a:pt x="600" y="1181"/>
                  </a:lnTo>
                  <a:lnTo>
                    <a:pt x="602" y="1185"/>
                  </a:lnTo>
                  <a:lnTo>
                    <a:pt x="604" y="1187"/>
                  </a:lnTo>
                  <a:lnTo>
                    <a:pt x="606" y="1190"/>
                  </a:lnTo>
                  <a:lnTo>
                    <a:pt x="602" y="1194"/>
                  </a:lnTo>
                  <a:lnTo>
                    <a:pt x="602" y="1196"/>
                  </a:lnTo>
                  <a:lnTo>
                    <a:pt x="600" y="1196"/>
                  </a:lnTo>
                  <a:lnTo>
                    <a:pt x="600" y="1200"/>
                  </a:lnTo>
                  <a:lnTo>
                    <a:pt x="600" y="1202"/>
                  </a:lnTo>
                  <a:lnTo>
                    <a:pt x="600" y="1205"/>
                  </a:lnTo>
                  <a:lnTo>
                    <a:pt x="604" y="1205"/>
                  </a:lnTo>
                  <a:lnTo>
                    <a:pt x="606" y="1205"/>
                  </a:lnTo>
                  <a:lnTo>
                    <a:pt x="611" y="1207"/>
                  </a:lnTo>
                  <a:lnTo>
                    <a:pt x="611" y="1209"/>
                  </a:lnTo>
                  <a:lnTo>
                    <a:pt x="615" y="1213"/>
                  </a:lnTo>
                  <a:lnTo>
                    <a:pt x="621" y="1213"/>
                  </a:lnTo>
                  <a:lnTo>
                    <a:pt x="621" y="1215"/>
                  </a:lnTo>
                  <a:lnTo>
                    <a:pt x="625" y="1230"/>
                  </a:lnTo>
                  <a:lnTo>
                    <a:pt x="621" y="1232"/>
                  </a:lnTo>
                  <a:lnTo>
                    <a:pt x="615" y="1236"/>
                  </a:lnTo>
                  <a:lnTo>
                    <a:pt x="609" y="1232"/>
                  </a:lnTo>
                  <a:lnTo>
                    <a:pt x="604" y="1230"/>
                  </a:lnTo>
                  <a:lnTo>
                    <a:pt x="602" y="1230"/>
                  </a:lnTo>
                  <a:lnTo>
                    <a:pt x="602" y="1236"/>
                  </a:lnTo>
                  <a:lnTo>
                    <a:pt x="600" y="1239"/>
                  </a:lnTo>
                  <a:lnTo>
                    <a:pt x="596" y="1239"/>
                  </a:lnTo>
                  <a:lnTo>
                    <a:pt x="591" y="1236"/>
                  </a:lnTo>
                  <a:lnTo>
                    <a:pt x="583" y="1236"/>
                  </a:lnTo>
                  <a:lnTo>
                    <a:pt x="581" y="1236"/>
                  </a:lnTo>
                  <a:lnTo>
                    <a:pt x="579" y="1236"/>
                  </a:lnTo>
                  <a:lnTo>
                    <a:pt x="576" y="1236"/>
                  </a:lnTo>
                  <a:lnTo>
                    <a:pt x="572" y="1230"/>
                  </a:lnTo>
                  <a:lnTo>
                    <a:pt x="576" y="1230"/>
                  </a:lnTo>
                  <a:lnTo>
                    <a:pt x="576" y="1226"/>
                  </a:lnTo>
                  <a:lnTo>
                    <a:pt x="574" y="1226"/>
                  </a:lnTo>
                  <a:lnTo>
                    <a:pt x="570" y="1224"/>
                  </a:lnTo>
                  <a:lnTo>
                    <a:pt x="566" y="1226"/>
                  </a:lnTo>
                  <a:lnTo>
                    <a:pt x="562" y="1226"/>
                  </a:lnTo>
                  <a:lnTo>
                    <a:pt x="561" y="1226"/>
                  </a:lnTo>
                  <a:lnTo>
                    <a:pt x="562" y="1230"/>
                  </a:lnTo>
                  <a:lnTo>
                    <a:pt x="557" y="1230"/>
                  </a:lnTo>
                  <a:lnTo>
                    <a:pt x="555" y="1230"/>
                  </a:lnTo>
                  <a:lnTo>
                    <a:pt x="549" y="1224"/>
                  </a:lnTo>
                  <a:lnTo>
                    <a:pt x="545" y="1226"/>
                  </a:lnTo>
                  <a:lnTo>
                    <a:pt x="545" y="1226"/>
                  </a:lnTo>
                  <a:lnTo>
                    <a:pt x="542" y="1226"/>
                  </a:lnTo>
                  <a:lnTo>
                    <a:pt x="538" y="1226"/>
                  </a:lnTo>
                  <a:lnTo>
                    <a:pt x="538" y="1230"/>
                  </a:lnTo>
                  <a:lnTo>
                    <a:pt x="536" y="1230"/>
                  </a:lnTo>
                  <a:lnTo>
                    <a:pt x="532" y="1236"/>
                  </a:lnTo>
                  <a:lnTo>
                    <a:pt x="530" y="1239"/>
                  </a:lnTo>
                  <a:lnTo>
                    <a:pt x="527" y="1239"/>
                  </a:lnTo>
                  <a:lnTo>
                    <a:pt x="525" y="1236"/>
                  </a:lnTo>
                  <a:lnTo>
                    <a:pt x="517" y="1236"/>
                  </a:lnTo>
                  <a:lnTo>
                    <a:pt x="513" y="1230"/>
                  </a:lnTo>
                  <a:lnTo>
                    <a:pt x="512" y="1232"/>
                  </a:lnTo>
                  <a:lnTo>
                    <a:pt x="512" y="1239"/>
                  </a:lnTo>
                  <a:lnTo>
                    <a:pt x="508" y="1241"/>
                  </a:lnTo>
                  <a:lnTo>
                    <a:pt x="508" y="1241"/>
                  </a:lnTo>
                  <a:lnTo>
                    <a:pt x="508" y="1236"/>
                  </a:lnTo>
                  <a:lnTo>
                    <a:pt x="506" y="1236"/>
                  </a:lnTo>
                  <a:lnTo>
                    <a:pt x="502" y="1236"/>
                  </a:lnTo>
                  <a:lnTo>
                    <a:pt x="498" y="1230"/>
                  </a:lnTo>
                  <a:lnTo>
                    <a:pt x="495" y="1226"/>
                  </a:lnTo>
                  <a:lnTo>
                    <a:pt x="491" y="1226"/>
                  </a:lnTo>
                  <a:lnTo>
                    <a:pt x="487" y="1222"/>
                  </a:lnTo>
                  <a:lnTo>
                    <a:pt x="483" y="1221"/>
                  </a:lnTo>
                  <a:lnTo>
                    <a:pt x="483" y="1219"/>
                  </a:lnTo>
                  <a:lnTo>
                    <a:pt x="481" y="1219"/>
                  </a:lnTo>
                  <a:lnTo>
                    <a:pt x="474" y="1221"/>
                  </a:lnTo>
                  <a:lnTo>
                    <a:pt x="468" y="1217"/>
                  </a:lnTo>
                  <a:lnTo>
                    <a:pt x="466" y="1213"/>
                  </a:lnTo>
                  <a:lnTo>
                    <a:pt x="463" y="1213"/>
                  </a:lnTo>
                  <a:lnTo>
                    <a:pt x="459" y="1215"/>
                  </a:lnTo>
                  <a:lnTo>
                    <a:pt x="457" y="1215"/>
                  </a:lnTo>
                  <a:lnTo>
                    <a:pt x="457" y="1219"/>
                  </a:lnTo>
                  <a:lnTo>
                    <a:pt x="453" y="1221"/>
                  </a:lnTo>
                  <a:lnTo>
                    <a:pt x="453" y="1217"/>
                  </a:lnTo>
                  <a:lnTo>
                    <a:pt x="451" y="1219"/>
                  </a:lnTo>
                  <a:lnTo>
                    <a:pt x="449" y="1222"/>
                  </a:lnTo>
                  <a:lnTo>
                    <a:pt x="448" y="1224"/>
                  </a:lnTo>
                  <a:lnTo>
                    <a:pt x="444" y="1222"/>
                  </a:lnTo>
                  <a:lnTo>
                    <a:pt x="448" y="1219"/>
                  </a:lnTo>
                  <a:lnTo>
                    <a:pt x="448" y="1217"/>
                  </a:lnTo>
                  <a:lnTo>
                    <a:pt x="444" y="1215"/>
                  </a:lnTo>
                  <a:lnTo>
                    <a:pt x="438" y="1211"/>
                  </a:lnTo>
                  <a:lnTo>
                    <a:pt x="436" y="1213"/>
                  </a:lnTo>
                  <a:lnTo>
                    <a:pt x="438" y="1217"/>
                  </a:lnTo>
                  <a:lnTo>
                    <a:pt x="436" y="1221"/>
                  </a:lnTo>
                  <a:lnTo>
                    <a:pt x="433" y="1219"/>
                  </a:lnTo>
                  <a:lnTo>
                    <a:pt x="433" y="1222"/>
                  </a:lnTo>
                  <a:lnTo>
                    <a:pt x="429" y="1226"/>
                  </a:lnTo>
                  <a:lnTo>
                    <a:pt x="425" y="1226"/>
                  </a:lnTo>
                  <a:lnTo>
                    <a:pt x="419" y="1230"/>
                  </a:lnTo>
                  <a:lnTo>
                    <a:pt x="419" y="1236"/>
                  </a:lnTo>
                  <a:lnTo>
                    <a:pt x="423" y="1239"/>
                  </a:lnTo>
                  <a:lnTo>
                    <a:pt x="423" y="1241"/>
                  </a:lnTo>
                  <a:lnTo>
                    <a:pt x="416" y="1241"/>
                  </a:lnTo>
                  <a:lnTo>
                    <a:pt x="410" y="1243"/>
                  </a:lnTo>
                  <a:lnTo>
                    <a:pt x="416" y="1258"/>
                  </a:lnTo>
                  <a:lnTo>
                    <a:pt x="412" y="1260"/>
                  </a:lnTo>
                  <a:lnTo>
                    <a:pt x="414" y="1266"/>
                  </a:lnTo>
                  <a:lnTo>
                    <a:pt x="408" y="1266"/>
                  </a:lnTo>
                  <a:lnTo>
                    <a:pt x="401" y="1264"/>
                  </a:lnTo>
                  <a:lnTo>
                    <a:pt x="401" y="1260"/>
                  </a:lnTo>
                  <a:lnTo>
                    <a:pt x="391" y="1251"/>
                  </a:lnTo>
                  <a:lnTo>
                    <a:pt x="389" y="1254"/>
                  </a:lnTo>
                  <a:lnTo>
                    <a:pt x="389" y="1258"/>
                  </a:lnTo>
                  <a:lnTo>
                    <a:pt x="384" y="1266"/>
                  </a:lnTo>
                  <a:lnTo>
                    <a:pt x="380" y="1266"/>
                  </a:lnTo>
                  <a:lnTo>
                    <a:pt x="380" y="1275"/>
                  </a:lnTo>
                  <a:lnTo>
                    <a:pt x="384" y="1277"/>
                  </a:lnTo>
                  <a:lnTo>
                    <a:pt x="382" y="1290"/>
                  </a:lnTo>
                  <a:lnTo>
                    <a:pt x="378" y="1296"/>
                  </a:lnTo>
                  <a:lnTo>
                    <a:pt x="387" y="1300"/>
                  </a:lnTo>
                  <a:lnTo>
                    <a:pt x="389" y="1303"/>
                  </a:lnTo>
                  <a:lnTo>
                    <a:pt x="389" y="1307"/>
                  </a:lnTo>
                  <a:lnTo>
                    <a:pt x="395" y="1313"/>
                  </a:lnTo>
                  <a:lnTo>
                    <a:pt x="395" y="1309"/>
                  </a:lnTo>
                  <a:lnTo>
                    <a:pt x="408" y="1313"/>
                  </a:lnTo>
                  <a:lnTo>
                    <a:pt x="417" y="1320"/>
                  </a:lnTo>
                  <a:lnTo>
                    <a:pt x="425" y="1334"/>
                  </a:lnTo>
                  <a:lnTo>
                    <a:pt x="417" y="1334"/>
                  </a:lnTo>
                  <a:lnTo>
                    <a:pt x="417" y="1335"/>
                  </a:lnTo>
                  <a:lnTo>
                    <a:pt x="423" y="1341"/>
                  </a:lnTo>
                  <a:lnTo>
                    <a:pt x="429" y="1339"/>
                  </a:lnTo>
                  <a:lnTo>
                    <a:pt x="433" y="1343"/>
                  </a:lnTo>
                  <a:lnTo>
                    <a:pt x="433" y="1343"/>
                  </a:lnTo>
                  <a:lnTo>
                    <a:pt x="433" y="1343"/>
                  </a:lnTo>
                  <a:lnTo>
                    <a:pt x="433" y="1343"/>
                  </a:lnTo>
                  <a:lnTo>
                    <a:pt x="433" y="1345"/>
                  </a:lnTo>
                  <a:lnTo>
                    <a:pt x="429" y="1345"/>
                  </a:lnTo>
                  <a:lnTo>
                    <a:pt x="433" y="1349"/>
                  </a:lnTo>
                  <a:lnTo>
                    <a:pt x="433" y="1351"/>
                  </a:lnTo>
                  <a:lnTo>
                    <a:pt x="429" y="1351"/>
                  </a:lnTo>
                  <a:lnTo>
                    <a:pt x="433" y="1352"/>
                  </a:lnTo>
                  <a:lnTo>
                    <a:pt x="433" y="1354"/>
                  </a:lnTo>
                  <a:lnTo>
                    <a:pt x="429" y="1352"/>
                  </a:lnTo>
                  <a:lnTo>
                    <a:pt x="425" y="1354"/>
                  </a:lnTo>
                  <a:lnTo>
                    <a:pt x="423" y="1352"/>
                  </a:lnTo>
                  <a:lnTo>
                    <a:pt x="419" y="1352"/>
                  </a:lnTo>
                  <a:lnTo>
                    <a:pt x="425" y="1354"/>
                  </a:lnTo>
                  <a:lnTo>
                    <a:pt x="425" y="1358"/>
                  </a:lnTo>
                  <a:lnTo>
                    <a:pt x="425" y="1358"/>
                  </a:lnTo>
                  <a:lnTo>
                    <a:pt x="425" y="1358"/>
                  </a:lnTo>
                  <a:lnTo>
                    <a:pt x="425" y="1358"/>
                  </a:lnTo>
                  <a:lnTo>
                    <a:pt x="419" y="1358"/>
                  </a:lnTo>
                  <a:lnTo>
                    <a:pt x="419" y="1358"/>
                  </a:lnTo>
                  <a:lnTo>
                    <a:pt x="419" y="1358"/>
                  </a:lnTo>
                  <a:lnTo>
                    <a:pt x="417" y="1358"/>
                  </a:lnTo>
                  <a:lnTo>
                    <a:pt x="419" y="1358"/>
                  </a:lnTo>
                  <a:lnTo>
                    <a:pt x="419" y="1360"/>
                  </a:lnTo>
                  <a:lnTo>
                    <a:pt x="417" y="1362"/>
                  </a:lnTo>
                  <a:lnTo>
                    <a:pt x="416" y="1362"/>
                  </a:lnTo>
                  <a:lnTo>
                    <a:pt x="414" y="1362"/>
                  </a:lnTo>
                  <a:lnTo>
                    <a:pt x="412" y="1360"/>
                  </a:lnTo>
                  <a:lnTo>
                    <a:pt x="412" y="1364"/>
                  </a:lnTo>
                  <a:lnTo>
                    <a:pt x="410" y="1364"/>
                  </a:lnTo>
                  <a:lnTo>
                    <a:pt x="408" y="1362"/>
                  </a:lnTo>
                  <a:lnTo>
                    <a:pt x="408" y="1362"/>
                  </a:lnTo>
                  <a:lnTo>
                    <a:pt x="408" y="1364"/>
                  </a:lnTo>
                  <a:lnTo>
                    <a:pt x="404" y="1367"/>
                  </a:lnTo>
                  <a:lnTo>
                    <a:pt x="402" y="1371"/>
                  </a:lnTo>
                  <a:lnTo>
                    <a:pt x="401" y="1373"/>
                  </a:lnTo>
                  <a:lnTo>
                    <a:pt x="401" y="1377"/>
                  </a:lnTo>
                  <a:lnTo>
                    <a:pt x="399" y="1379"/>
                  </a:lnTo>
                  <a:lnTo>
                    <a:pt x="399" y="1388"/>
                  </a:lnTo>
                  <a:lnTo>
                    <a:pt x="399" y="1388"/>
                  </a:lnTo>
                  <a:lnTo>
                    <a:pt x="395" y="1390"/>
                  </a:lnTo>
                  <a:lnTo>
                    <a:pt x="399" y="1398"/>
                  </a:lnTo>
                  <a:lnTo>
                    <a:pt x="401" y="1398"/>
                  </a:lnTo>
                  <a:lnTo>
                    <a:pt x="402" y="1398"/>
                  </a:lnTo>
                  <a:lnTo>
                    <a:pt x="404" y="1401"/>
                  </a:lnTo>
                  <a:lnTo>
                    <a:pt x="408" y="1401"/>
                  </a:lnTo>
                  <a:lnTo>
                    <a:pt x="408" y="1409"/>
                  </a:lnTo>
                  <a:lnTo>
                    <a:pt x="414" y="1409"/>
                  </a:lnTo>
                  <a:lnTo>
                    <a:pt x="416" y="1409"/>
                  </a:lnTo>
                  <a:lnTo>
                    <a:pt x="417" y="1409"/>
                  </a:lnTo>
                  <a:lnTo>
                    <a:pt x="416" y="1413"/>
                  </a:lnTo>
                  <a:lnTo>
                    <a:pt x="416" y="1415"/>
                  </a:lnTo>
                  <a:lnTo>
                    <a:pt x="412" y="1413"/>
                  </a:lnTo>
                  <a:lnTo>
                    <a:pt x="412" y="1418"/>
                  </a:lnTo>
                  <a:lnTo>
                    <a:pt x="416" y="1418"/>
                  </a:lnTo>
                  <a:lnTo>
                    <a:pt x="416" y="1418"/>
                  </a:lnTo>
                  <a:lnTo>
                    <a:pt x="417" y="1422"/>
                  </a:lnTo>
                  <a:lnTo>
                    <a:pt x="417" y="1428"/>
                  </a:lnTo>
                  <a:lnTo>
                    <a:pt x="419" y="1432"/>
                  </a:lnTo>
                  <a:lnTo>
                    <a:pt x="419" y="1437"/>
                  </a:lnTo>
                  <a:lnTo>
                    <a:pt x="429" y="1443"/>
                  </a:lnTo>
                  <a:lnTo>
                    <a:pt x="438" y="1452"/>
                  </a:lnTo>
                  <a:lnTo>
                    <a:pt x="440" y="1454"/>
                  </a:lnTo>
                  <a:lnTo>
                    <a:pt x="438" y="1454"/>
                  </a:lnTo>
                  <a:lnTo>
                    <a:pt x="433" y="1462"/>
                  </a:lnTo>
                  <a:lnTo>
                    <a:pt x="429" y="1464"/>
                  </a:lnTo>
                  <a:lnTo>
                    <a:pt x="425" y="1467"/>
                  </a:lnTo>
                  <a:lnTo>
                    <a:pt x="417" y="1467"/>
                  </a:lnTo>
                  <a:lnTo>
                    <a:pt x="416" y="1462"/>
                  </a:lnTo>
                  <a:lnTo>
                    <a:pt x="408" y="1456"/>
                  </a:lnTo>
                  <a:lnTo>
                    <a:pt x="401" y="1454"/>
                  </a:lnTo>
                  <a:lnTo>
                    <a:pt x="399" y="1462"/>
                  </a:lnTo>
                  <a:lnTo>
                    <a:pt x="404" y="1464"/>
                  </a:lnTo>
                  <a:lnTo>
                    <a:pt x="408" y="1469"/>
                  </a:lnTo>
                  <a:lnTo>
                    <a:pt x="404" y="1477"/>
                  </a:lnTo>
                  <a:lnTo>
                    <a:pt x="399" y="1473"/>
                  </a:lnTo>
                  <a:lnTo>
                    <a:pt x="393" y="1471"/>
                  </a:lnTo>
                  <a:lnTo>
                    <a:pt x="382" y="1464"/>
                  </a:lnTo>
                  <a:lnTo>
                    <a:pt x="374" y="1469"/>
                  </a:lnTo>
                  <a:lnTo>
                    <a:pt x="374" y="1471"/>
                  </a:lnTo>
                  <a:lnTo>
                    <a:pt x="378" y="1473"/>
                  </a:lnTo>
                  <a:lnTo>
                    <a:pt x="374" y="1471"/>
                  </a:lnTo>
                  <a:lnTo>
                    <a:pt x="363" y="1471"/>
                  </a:lnTo>
                  <a:lnTo>
                    <a:pt x="361" y="1471"/>
                  </a:lnTo>
                  <a:lnTo>
                    <a:pt x="352" y="1473"/>
                  </a:lnTo>
                  <a:lnTo>
                    <a:pt x="346" y="1473"/>
                  </a:lnTo>
                  <a:lnTo>
                    <a:pt x="346" y="1473"/>
                  </a:lnTo>
                  <a:lnTo>
                    <a:pt x="344" y="1473"/>
                  </a:lnTo>
                  <a:lnTo>
                    <a:pt x="337" y="1467"/>
                  </a:lnTo>
                  <a:lnTo>
                    <a:pt x="333" y="1464"/>
                  </a:lnTo>
                  <a:lnTo>
                    <a:pt x="329" y="1467"/>
                  </a:lnTo>
                  <a:lnTo>
                    <a:pt x="327" y="1469"/>
                  </a:lnTo>
                  <a:lnTo>
                    <a:pt x="321" y="1467"/>
                  </a:lnTo>
                  <a:lnTo>
                    <a:pt x="320" y="1469"/>
                  </a:lnTo>
                  <a:lnTo>
                    <a:pt x="320" y="1467"/>
                  </a:lnTo>
                  <a:lnTo>
                    <a:pt x="320" y="1464"/>
                  </a:lnTo>
                  <a:lnTo>
                    <a:pt x="316" y="1464"/>
                  </a:lnTo>
                  <a:lnTo>
                    <a:pt x="316" y="1464"/>
                  </a:lnTo>
                  <a:lnTo>
                    <a:pt x="316" y="1464"/>
                  </a:lnTo>
                  <a:lnTo>
                    <a:pt x="316" y="1460"/>
                  </a:lnTo>
                  <a:lnTo>
                    <a:pt x="316" y="1458"/>
                  </a:lnTo>
                  <a:lnTo>
                    <a:pt x="314" y="1452"/>
                  </a:lnTo>
                  <a:lnTo>
                    <a:pt x="314" y="1443"/>
                  </a:lnTo>
                  <a:lnTo>
                    <a:pt x="310" y="1443"/>
                  </a:lnTo>
                  <a:lnTo>
                    <a:pt x="306" y="1435"/>
                  </a:lnTo>
                  <a:lnTo>
                    <a:pt x="303" y="1435"/>
                  </a:lnTo>
                  <a:lnTo>
                    <a:pt x="301" y="1433"/>
                  </a:lnTo>
                  <a:lnTo>
                    <a:pt x="297" y="1428"/>
                  </a:lnTo>
                  <a:lnTo>
                    <a:pt x="295" y="1430"/>
                  </a:lnTo>
                  <a:lnTo>
                    <a:pt x="295" y="1428"/>
                  </a:lnTo>
                  <a:lnTo>
                    <a:pt x="289" y="1428"/>
                  </a:lnTo>
                  <a:lnTo>
                    <a:pt x="286" y="1424"/>
                  </a:lnTo>
                  <a:lnTo>
                    <a:pt x="286" y="1424"/>
                  </a:lnTo>
                  <a:lnTo>
                    <a:pt x="282" y="1422"/>
                  </a:lnTo>
                  <a:lnTo>
                    <a:pt x="280" y="1418"/>
                  </a:lnTo>
                  <a:lnTo>
                    <a:pt x="276" y="1418"/>
                  </a:lnTo>
                  <a:lnTo>
                    <a:pt x="274" y="1418"/>
                  </a:lnTo>
                  <a:lnTo>
                    <a:pt x="273" y="1415"/>
                  </a:lnTo>
                  <a:lnTo>
                    <a:pt x="269" y="1413"/>
                  </a:lnTo>
                  <a:lnTo>
                    <a:pt x="267" y="1409"/>
                  </a:lnTo>
                  <a:lnTo>
                    <a:pt x="256" y="1401"/>
                  </a:lnTo>
                  <a:lnTo>
                    <a:pt x="250" y="1399"/>
                  </a:lnTo>
                  <a:lnTo>
                    <a:pt x="242" y="1394"/>
                  </a:lnTo>
                  <a:lnTo>
                    <a:pt x="237" y="1396"/>
                  </a:lnTo>
                  <a:lnTo>
                    <a:pt x="231" y="1390"/>
                  </a:lnTo>
                  <a:lnTo>
                    <a:pt x="231" y="1388"/>
                  </a:lnTo>
                  <a:lnTo>
                    <a:pt x="227" y="1384"/>
                  </a:lnTo>
                  <a:lnTo>
                    <a:pt x="225" y="1384"/>
                  </a:lnTo>
                  <a:lnTo>
                    <a:pt x="222" y="1384"/>
                  </a:lnTo>
                  <a:lnTo>
                    <a:pt x="224" y="1383"/>
                  </a:lnTo>
                  <a:lnTo>
                    <a:pt x="227" y="1379"/>
                  </a:lnTo>
                  <a:lnTo>
                    <a:pt x="225" y="1379"/>
                  </a:lnTo>
                  <a:lnTo>
                    <a:pt x="225" y="1377"/>
                  </a:lnTo>
                  <a:lnTo>
                    <a:pt x="227" y="1377"/>
                  </a:lnTo>
                  <a:lnTo>
                    <a:pt x="231" y="1379"/>
                  </a:lnTo>
                  <a:lnTo>
                    <a:pt x="231" y="1379"/>
                  </a:lnTo>
                  <a:lnTo>
                    <a:pt x="237" y="1379"/>
                  </a:lnTo>
                  <a:lnTo>
                    <a:pt x="237" y="1375"/>
                  </a:lnTo>
                  <a:lnTo>
                    <a:pt x="237" y="1373"/>
                  </a:lnTo>
                  <a:lnTo>
                    <a:pt x="237" y="1369"/>
                  </a:lnTo>
                  <a:lnTo>
                    <a:pt x="239" y="1366"/>
                  </a:lnTo>
                  <a:lnTo>
                    <a:pt x="239" y="1364"/>
                  </a:lnTo>
                  <a:lnTo>
                    <a:pt x="241" y="1362"/>
                  </a:lnTo>
                  <a:lnTo>
                    <a:pt x="242" y="1362"/>
                  </a:lnTo>
                  <a:lnTo>
                    <a:pt x="244" y="1360"/>
                  </a:lnTo>
                  <a:lnTo>
                    <a:pt x="248" y="1360"/>
                  </a:lnTo>
                  <a:lnTo>
                    <a:pt x="248" y="1358"/>
                  </a:lnTo>
                  <a:lnTo>
                    <a:pt x="242" y="1358"/>
                  </a:lnTo>
                  <a:lnTo>
                    <a:pt x="242" y="1354"/>
                  </a:lnTo>
                  <a:lnTo>
                    <a:pt x="241" y="1358"/>
                  </a:lnTo>
                  <a:lnTo>
                    <a:pt x="237" y="1354"/>
                  </a:lnTo>
                  <a:lnTo>
                    <a:pt x="237" y="1349"/>
                  </a:lnTo>
                  <a:lnTo>
                    <a:pt x="241" y="1349"/>
                  </a:lnTo>
                  <a:lnTo>
                    <a:pt x="246" y="1349"/>
                  </a:lnTo>
                  <a:lnTo>
                    <a:pt x="248" y="1345"/>
                  </a:lnTo>
                  <a:lnTo>
                    <a:pt x="246" y="1345"/>
                  </a:lnTo>
                  <a:lnTo>
                    <a:pt x="244" y="1345"/>
                  </a:lnTo>
                  <a:lnTo>
                    <a:pt x="248" y="1341"/>
                  </a:lnTo>
                  <a:lnTo>
                    <a:pt x="257" y="1335"/>
                  </a:lnTo>
                  <a:lnTo>
                    <a:pt x="257" y="1334"/>
                  </a:lnTo>
                  <a:lnTo>
                    <a:pt x="257" y="1334"/>
                  </a:lnTo>
                  <a:lnTo>
                    <a:pt x="252" y="1334"/>
                  </a:lnTo>
                  <a:lnTo>
                    <a:pt x="248" y="1335"/>
                  </a:lnTo>
                  <a:lnTo>
                    <a:pt x="244" y="1334"/>
                  </a:lnTo>
                  <a:lnTo>
                    <a:pt x="244" y="1334"/>
                  </a:lnTo>
                  <a:lnTo>
                    <a:pt x="244" y="1334"/>
                  </a:lnTo>
                  <a:lnTo>
                    <a:pt x="244" y="1326"/>
                  </a:lnTo>
                  <a:lnTo>
                    <a:pt x="248" y="1324"/>
                  </a:lnTo>
                  <a:lnTo>
                    <a:pt x="252" y="1318"/>
                  </a:lnTo>
                  <a:lnTo>
                    <a:pt x="261" y="1318"/>
                  </a:lnTo>
                  <a:lnTo>
                    <a:pt x="265" y="1317"/>
                  </a:lnTo>
                  <a:lnTo>
                    <a:pt x="265" y="1311"/>
                  </a:lnTo>
                  <a:lnTo>
                    <a:pt x="265" y="1303"/>
                  </a:lnTo>
                  <a:lnTo>
                    <a:pt x="265" y="1300"/>
                  </a:lnTo>
                  <a:lnTo>
                    <a:pt x="257" y="1294"/>
                  </a:lnTo>
                  <a:lnTo>
                    <a:pt x="261" y="1286"/>
                  </a:lnTo>
                  <a:lnTo>
                    <a:pt x="265" y="1286"/>
                  </a:lnTo>
                  <a:lnTo>
                    <a:pt x="267" y="1283"/>
                  </a:lnTo>
                  <a:lnTo>
                    <a:pt x="267" y="1277"/>
                  </a:lnTo>
                  <a:lnTo>
                    <a:pt x="265" y="1275"/>
                  </a:lnTo>
                  <a:lnTo>
                    <a:pt x="265" y="1271"/>
                  </a:lnTo>
                  <a:lnTo>
                    <a:pt x="261" y="1273"/>
                  </a:lnTo>
                  <a:lnTo>
                    <a:pt x="256" y="1273"/>
                  </a:lnTo>
                  <a:lnTo>
                    <a:pt x="250" y="1270"/>
                  </a:lnTo>
                  <a:lnTo>
                    <a:pt x="246" y="1270"/>
                  </a:lnTo>
                  <a:lnTo>
                    <a:pt x="242" y="1270"/>
                  </a:lnTo>
                  <a:lnTo>
                    <a:pt x="237" y="1270"/>
                  </a:lnTo>
                  <a:lnTo>
                    <a:pt x="231" y="1266"/>
                  </a:lnTo>
                  <a:lnTo>
                    <a:pt x="227" y="1270"/>
                  </a:lnTo>
                  <a:lnTo>
                    <a:pt x="227" y="1266"/>
                  </a:lnTo>
                  <a:lnTo>
                    <a:pt x="222" y="1264"/>
                  </a:lnTo>
                  <a:lnTo>
                    <a:pt x="216" y="1253"/>
                  </a:lnTo>
                  <a:lnTo>
                    <a:pt x="214" y="1254"/>
                  </a:lnTo>
                  <a:lnTo>
                    <a:pt x="207" y="1258"/>
                  </a:lnTo>
                  <a:lnTo>
                    <a:pt x="203" y="1258"/>
                  </a:lnTo>
                  <a:lnTo>
                    <a:pt x="201" y="1260"/>
                  </a:lnTo>
                  <a:lnTo>
                    <a:pt x="195" y="1256"/>
                  </a:lnTo>
                  <a:lnTo>
                    <a:pt x="192" y="1260"/>
                  </a:lnTo>
                  <a:lnTo>
                    <a:pt x="182" y="1253"/>
                  </a:lnTo>
                  <a:lnTo>
                    <a:pt x="182" y="1245"/>
                  </a:lnTo>
                  <a:lnTo>
                    <a:pt x="182" y="1239"/>
                  </a:lnTo>
                  <a:lnTo>
                    <a:pt x="178" y="1239"/>
                  </a:lnTo>
                  <a:lnTo>
                    <a:pt x="178" y="1236"/>
                  </a:lnTo>
                  <a:lnTo>
                    <a:pt x="173" y="1232"/>
                  </a:lnTo>
                  <a:lnTo>
                    <a:pt x="163" y="1236"/>
                  </a:lnTo>
                  <a:lnTo>
                    <a:pt x="158" y="1226"/>
                  </a:lnTo>
                  <a:lnTo>
                    <a:pt x="160" y="1224"/>
                  </a:lnTo>
                  <a:lnTo>
                    <a:pt x="156" y="1221"/>
                  </a:lnTo>
                  <a:lnTo>
                    <a:pt x="152" y="1211"/>
                  </a:lnTo>
                  <a:lnTo>
                    <a:pt x="148" y="1211"/>
                  </a:lnTo>
                  <a:lnTo>
                    <a:pt x="145" y="1213"/>
                  </a:lnTo>
                  <a:lnTo>
                    <a:pt x="135" y="1213"/>
                  </a:lnTo>
                  <a:lnTo>
                    <a:pt x="128" y="1211"/>
                  </a:lnTo>
                  <a:lnTo>
                    <a:pt x="124" y="1213"/>
                  </a:lnTo>
                  <a:lnTo>
                    <a:pt x="124" y="1217"/>
                  </a:lnTo>
                  <a:lnTo>
                    <a:pt x="118" y="1219"/>
                  </a:lnTo>
                  <a:lnTo>
                    <a:pt x="114" y="1217"/>
                  </a:lnTo>
                  <a:lnTo>
                    <a:pt x="114" y="1213"/>
                  </a:lnTo>
                  <a:lnTo>
                    <a:pt x="113" y="1207"/>
                  </a:lnTo>
                  <a:lnTo>
                    <a:pt x="113" y="1202"/>
                  </a:lnTo>
                  <a:lnTo>
                    <a:pt x="109" y="1196"/>
                  </a:lnTo>
                  <a:lnTo>
                    <a:pt x="109" y="1192"/>
                  </a:lnTo>
                  <a:lnTo>
                    <a:pt x="111" y="1190"/>
                  </a:lnTo>
                  <a:lnTo>
                    <a:pt x="114" y="1194"/>
                  </a:lnTo>
                  <a:lnTo>
                    <a:pt x="124" y="1192"/>
                  </a:lnTo>
                  <a:lnTo>
                    <a:pt x="128" y="1185"/>
                  </a:lnTo>
                  <a:lnTo>
                    <a:pt x="129" y="1183"/>
                  </a:lnTo>
                  <a:lnTo>
                    <a:pt x="124" y="1181"/>
                  </a:lnTo>
                  <a:lnTo>
                    <a:pt x="124" y="1177"/>
                  </a:lnTo>
                  <a:lnTo>
                    <a:pt x="118" y="1172"/>
                  </a:lnTo>
                  <a:lnTo>
                    <a:pt x="111" y="1170"/>
                  </a:lnTo>
                  <a:lnTo>
                    <a:pt x="109" y="1162"/>
                  </a:lnTo>
                  <a:lnTo>
                    <a:pt x="105" y="1160"/>
                  </a:lnTo>
                  <a:lnTo>
                    <a:pt x="103" y="1153"/>
                  </a:lnTo>
                  <a:lnTo>
                    <a:pt x="97" y="1151"/>
                  </a:lnTo>
                  <a:lnTo>
                    <a:pt x="94" y="1145"/>
                  </a:lnTo>
                  <a:lnTo>
                    <a:pt x="94" y="1138"/>
                  </a:lnTo>
                  <a:lnTo>
                    <a:pt x="90" y="1136"/>
                  </a:lnTo>
                  <a:lnTo>
                    <a:pt x="94" y="1130"/>
                  </a:lnTo>
                  <a:lnTo>
                    <a:pt x="90" y="1126"/>
                  </a:lnTo>
                  <a:lnTo>
                    <a:pt x="84" y="1123"/>
                  </a:lnTo>
                  <a:lnTo>
                    <a:pt x="81" y="1123"/>
                  </a:lnTo>
                  <a:lnTo>
                    <a:pt x="79" y="1121"/>
                  </a:lnTo>
                  <a:lnTo>
                    <a:pt x="73" y="1121"/>
                  </a:lnTo>
                  <a:lnTo>
                    <a:pt x="69" y="1124"/>
                  </a:lnTo>
                  <a:lnTo>
                    <a:pt x="65" y="1121"/>
                  </a:lnTo>
                  <a:lnTo>
                    <a:pt x="60" y="1121"/>
                  </a:lnTo>
                  <a:lnTo>
                    <a:pt x="56" y="1121"/>
                  </a:lnTo>
                  <a:lnTo>
                    <a:pt x="52" y="1117"/>
                  </a:lnTo>
                  <a:lnTo>
                    <a:pt x="49" y="1117"/>
                  </a:lnTo>
                  <a:lnTo>
                    <a:pt x="45" y="1117"/>
                  </a:lnTo>
                  <a:lnTo>
                    <a:pt x="43" y="1117"/>
                  </a:lnTo>
                  <a:lnTo>
                    <a:pt x="43" y="1111"/>
                  </a:lnTo>
                  <a:lnTo>
                    <a:pt x="41" y="1108"/>
                  </a:lnTo>
                  <a:lnTo>
                    <a:pt x="39" y="1102"/>
                  </a:lnTo>
                  <a:lnTo>
                    <a:pt x="39" y="1100"/>
                  </a:lnTo>
                  <a:lnTo>
                    <a:pt x="35" y="1094"/>
                  </a:lnTo>
                  <a:lnTo>
                    <a:pt x="35" y="1092"/>
                  </a:lnTo>
                  <a:lnTo>
                    <a:pt x="35" y="1089"/>
                  </a:lnTo>
                  <a:lnTo>
                    <a:pt x="33" y="1089"/>
                  </a:lnTo>
                  <a:lnTo>
                    <a:pt x="35" y="1087"/>
                  </a:lnTo>
                  <a:lnTo>
                    <a:pt x="33" y="1083"/>
                  </a:lnTo>
                  <a:lnTo>
                    <a:pt x="30" y="1083"/>
                  </a:lnTo>
                  <a:lnTo>
                    <a:pt x="33" y="1077"/>
                  </a:lnTo>
                  <a:lnTo>
                    <a:pt x="33" y="1076"/>
                  </a:lnTo>
                  <a:lnTo>
                    <a:pt x="35" y="1074"/>
                  </a:lnTo>
                  <a:lnTo>
                    <a:pt x="35" y="1070"/>
                  </a:lnTo>
                  <a:lnTo>
                    <a:pt x="26" y="1053"/>
                  </a:lnTo>
                  <a:lnTo>
                    <a:pt x="28" y="1040"/>
                  </a:lnTo>
                  <a:lnTo>
                    <a:pt x="30" y="1038"/>
                  </a:lnTo>
                  <a:lnTo>
                    <a:pt x="32" y="1032"/>
                  </a:lnTo>
                  <a:lnTo>
                    <a:pt x="35" y="1028"/>
                  </a:lnTo>
                  <a:lnTo>
                    <a:pt x="35" y="1027"/>
                  </a:lnTo>
                  <a:lnTo>
                    <a:pt x="35" y="1027"/>
                  </a:lnTo>
                  <a:lnTo>
                    <a:pt x="33" y="1023"/>
                  </a:lnTo>
                  <a:lnTo>
                    <a:pt x="33" y="1023"/>
                  </a:lnTo>
                  <a:lnTo>
                    <a:pt x="35" y="1019"/>
                  </a:lnTo>
                  <a:lnTo>
                    <a:pt x="33" y="1017"/>
                  </a:lnTo>
                  <a:lnTo>
                    <a:pt x="33" y="1015"/>
                  </a:lnTo>
                  <a:lnTo>
                    <a:pt x="35" y="1015"/>
                  </a:lnTo>
                  <a:lnTo>
                    <a:pt x="35" y="1019"/>
                  </a:lnTo>
                  <a:lnTo>
                    <a:pt x="39" y="1017"/>
                  </a:lnTo>
                  <a:lnTo>
                    <a:pt x="39" y="1013"/>
                  </a:lnTo>
                  <a:lnTo>
                    <a:pt x="39" y="1011"/>
                  </a:lnTo>
                  <a:lnTo>
                    <a:pt x="43" y="1013"/>
                  </a:lnTo>
                  <a:lnTo>
                    <a:pt x="49" y="1010"/>
                  </a:lnTo>
                  <a:lnTo>
                    <a:pt x="50" y="1008"/>
                  </a:lnTo>
                  <a:lnTo>
                    <a:pt x="52" y="1006"/>
                  </a:lnTo>
                  <a:lnTo>
                    <a:pt x="58" y="1008"/>
                  </a:lnTo>
                  <a:lnTo>
                    <a:pt x="60" y="1004"/>
                  </a:lnTo>
                  <a:lnTo>
                    <a:pt x="56" y="1002"/>
                  </a:lnTo>
                  <a:lnTo>
                    <a:pt x="54" y="1002"/>
                  </a:lnTo>
                  <a:lnTo>
                    <a:pt x="52" y="1002"/>
                  </a:lnTo>
                  <a:lnTo>
                    <a:pt x="47" y="1002"/>
                  </a:lnTo>
                  <a:lnTo>
                    <a:pt x="45" y="998"/>
                  </a:lnTo>
                  <a:lnTo>
                    <a:pt x="41" y="998"/>
                  </a:lnTo>
                  <a:lnTo>
                    <a:pt x="35" y="993"/>
                  </a:lnTo>
                  <a:lnTo>
                    <a:pt x="35" y="989"/>
                  </a:lnTo>
                  <a:lnTo>
                    <a:pt x="41" y="993"/>
                  </a:lnTo>
                  <a:lnTo>
                    <a:pt x="41" y="989"/>
                  </a:lnTo>
                  <a:lnTo>
                    <a:pt x="39" y="989"/>
                  </a:lnTo>
                  <a:lnTo>
                    <a:pt x="43" y="987"/>
                  </a:lnTo>
                  <a:lnTo>
                    <a:pt x="39" y="987"/>
                  </a:lnTo>
                  <a:lnTo>
                    <a:pt x="39" y="987"/>
                  </a:lnTo>
                  <a:lnTo>
                    <a:pt x="33" y="989"/>
                  </a:lnTo>
                  <a:lnTo>
                    <a:pt x="33" y="989"/>
                  </a:lnTo>
                  <a:lnTo>
                    <a:pt x="33" y="989"/>
                  </a:lnTo>
                  <a:lnTo>
                    <a:pt x="33" y="989"/>
                  </a:lnTo>
                  <a:lnTo>
                    <a:pt x="32" y="985"/>
                  </a:lnTo>
                  <a:lnTo>
                    <a:pt x="39" y="978"/>
                  </a:lnTo>
                  <a:lnTo>
                    <a:pt x="45" y="974"/>
                  </a:lnTo>
                  <a:lnTo>
                    <a:pt x="50" y="964"/>
                  </a:lnTo>
                  <a:lnTo>
                    <a:pt x="54" y="959"/>
                  </a:lnTo>
                  <a:lnTo>
                    <a:pt x="60" y="949"/>
                  </a:lnTo>
                  <a:lnTo>
                    <a:pt x="65" y="938"/>
                  </a:lnTo>
                  <a:lnTo>
                    <a:pt x="71" y="923"/>
                  </a:lnTo>
                  <a:lnTo>
                    <a:pt x="69" y="917"/>
                  </a:lnTo>
                  <a:lnTo>
                    <a:pt x="64" y="908"/>
                  </a:lnTo>
                  <a:lnTo>
                    <a:pt x="58" y="908"/>
                  </a:lnTo>
                  <a:lnTo>
                    <a:pt x="49" y="895"/>
                  </a:lnTo>
                  <a:lnTo>
                    <a:pt x="50" y="889"/>
                  </a:lnTo>
                  <a:lnTo>
                    <a:pt x="54" y="883"/>
                  </a:lnTo>
                  <a:lnTo>
                    <a:pt x="54" y="878"/>
                  </a:lnTo>
                  <a:lnTo>
                    <a:pt x="49" y="874"/>
                  </a:lnTo>
                  <a:lnTo>
                    <a:pt x="45" y="870"/>
                  </a:lnTo>
                  <a:lnTo>
                    <a:pt x="45" y="865"/>
                  </a:lnTo>
                  <a:lnTo>
                    <a:pt x="47" y="863"/>
                  </a:lnTo>
                  <a:lnTo>
                    <a:pt x="45" y="859"/>
                  </a:lnTo>
                  <a:lnTo>
                    <a:pt x="41" y="857"/>
                  </a:lnTo>
                  <a:lnTo>
                    <a:pt x="39" y="855"/>
                  </a:lnTo>
                  <a:lnTo>
                    <a:pt x="39" y="849"/>
                  </a:lnTo>
                  <a:lnTo>
                    <a:pt x="41" y="844"/>
                  </a:lnTo>
                  <a:lnTo>
                    <a:pt x="39" y="844"/>
                  </a:lnTo>
                  <a:lnTo>
                    <a:pt x="39" y="840"/>
                  </a:lnTo>
                  <a:lnTo>
                    <a:pt x="39" y="829"/>
                  </a:lnTo>
                  <a:lnTo>
                    <a:pt x="41" y="829"/>
                  </a:lnTo>
                  <a:lnTo>
                    <a:pt x="33" y="810"/>
                  </a:lnTo>
                  <a:lnTo>
                    <a:pt x="26" y="795"/>
                  </a:lnTo>
                  <a:lnTo>
                    <a:pt x="24" y="789"/>
                  </a:lnTo>
                  <a:lnTo>
                    <a:pt x="20" y="785"/>
                  </a:lnTo>
                  <a:lnTo>
                    <a:pt x="22" y="776"/>
                  </a:lnTo>
                  <a:lnTo>
                    <a:pt x="26" y="770"/>
                  </a:lnTo>
                  <a:lnTo>
                    <a:pt x="28" y="765"/>
                  </a:lnTo>
                  <a:lnTo>
                    <a:pt x="26" y="763"/>
                  </a:lnTo>
                  <a:lnTo>
                    <a:pt x="17" y="757"/>
                  </a:lnTo>
                  <a:lnTo>
                    <a:pt x="17" y="755"/>
                  </a:lnTo>
                  <a:lnTo>
                    <a:pt x="15" y="750"/>
                  </a:lnTo>
                  <a:lnTo>
                    <a:pt x="9" y="748"/>
                  </a:lnTo>
                  <a:lnTo>
                    <a:pt x="7" y="746"/>
                  </a:lnTo>
                  <a:lnTo>
                    <a:pt x="1" y="738"/>
                  </a:lnTo>
                  <a:lnTo>
                    <a:pt x="0" y="735"/>
                  </a:lnTo>
                  <a:lnTo>
                    <a:pt x="1" y="727"/>
                  </a:lnTo>
                  <a:lnTo>
                    <a:pt x="1" y="725"/>
                  </a:lnTo>
                  <a:lnTo>
                    <a:pt x="0" y="721"/>
                  </a:lnTo>
                  <a:lnTo>
                    <a:pt x="1" y="721"/>
                  </a:lnTo>
                  <a:lnTo>
                    <a:pt x="7" y="718"/>
                  </a:lnTo>
                  <a:lnTo>
                    <a:pt x="7" y="718"/>
                  </a:lnTo>
                  <a:lnTo>
                    <a:pt x="11" y="718"/>
                  </a:lnTo>
                  <a:lnTo>
                    <a:pt x="11" y="712"/>
                  </a:lnTo>
                  <a:lnTo>
                    <a:pt x="15" y="706"/>
                  </a:lnTo>
                  <a:lnTo>
                    <a:pt x="18" y="706"/>
                  </a:lnTo>
                  <a:lnTo>
                    <a:pt x="22" y="703"/>
                  </a:lnTo>
                  <a:lnTo>
                    <a:pt x="20" y="697"/>
                  </a:lnTo>
                  <a:lnTo>
                    <a:pt x="24" y="697"/>
                  </a:lnTo>
                  <a:lnTo>
                    <a:pt x="28" y="697"/>
                  </a:lnTo>
                  <a:lnTo>
                    <a:pt x="32" y="697"/>
                  </a:lnTo>
                  <a:lnTo>
                    <a:pt x="30" y="691"/>
                  </a:lnTo>
                  <a:lnTo>
                    <a:pt x="32" y="691"/>
                  </a:lnTo>
                  <a:lnTo>
                    <a:pt x="35" y="691"/>
                  </a:lnTo>
                  <a:lnTo>
                    <a:pt x="35" y="693"/>
                  </a:lnTo>
                  <a:lnTo>
                    <a:pt x="35" y="697"/>
                  </a:lnTo>
                  <a:lnTo>
                    <a:pt x="39" y="701"/>
                  </a:lnTo>
                  <a:lnTo>
                    <a:pt x="39" y="693"/>
                  </a:lnTo>
                  <a:lnTo>
                    <a:pt x="39" y="691"/>
                  </a:lnTo>
                  <a:lnTo>
                    <a:pt x="41" y="691"/>
                  </a:lnTo>
                  <a:lnTo>
                    <a:pt x="43" y="691"/>
                  </a:lnTo>
                  <a:lnTo>
                    <a:pt x="39" y="687"/>
                  </a:lnTo>
                  <a:lnTo>
                    <a:pt x="39" y="687"/>
                  </a:lnTo>
                  <a:lnTo>
                    <a:pt x="41" y="687"/>
                  </a:lnTo>
                  <a:lnTo>
                    <a:pt x="45" y="687"/>
                  </a:lnTo>
                  <a:lnTo>
                    <a:pt x="45" y="687"/>
                  </a:lnTo>
                  <a:lnTo>
                    <a:pt x="43" y="687"/>
                  </a:lnTo>
                  <a:lnTo>
                    <a:pt x="41" y="684"/>
                  </a:lnTo>
                  <a:lnTo>
                    <a:pt x="43" y="684"/>
                  </a:lnTo>
                  <a:lnTo>
                    <a:pt x="47" y="684"/>
                  </a:lnTo>
                  <a:lnTo>
                    <a:pt x="50" y="686"/>
                  </a:lnTo>
                  <a:lnTo>
                    <a:pt x="52" y="687"/>
                  </a:lnTo>
                  <a:lnTo>
                    <a:pt x="54" y="687"/>
                  </a:lnTo>
                  <a:lnTo>
                    <a:pt x="56" y="687"/>
                  </a:lnTo>
                  <a:lnTo>
                    <a:pt x="58" y="687"/>
                  </a:lnTo>
                  <a:lnTo>
                    <a:pt x="60" y="691"/>
                  </a:lnTo>
                  <a:lnTo>
                    <a:pt x="60" y="691"/>
                  </a:lnTo>
                  <a:lnTo>
                    <a:pt x="60" y="693"/>
                  </a:lnTo>
                  <a:lnTo>
                    <a:pt x="60" y="697"/>
                  </a:lnTo>
                  <a:lnTo>
                    <a:pt x="56" y="697"/>
                  </a:lnTo>
                  <a:lnTo>
                    <a:pt x="52" y="697"/>
                  </a:lnTo>
                  <a:lnTo>
                    <a:pt x="49" y="691"/>
                  </a:lnTo>
                  <a:lnTo>
                    <a:pt x="49" y="691"/>
                  </a:lnTo>
                  <a:lnTo>
                    <a:pt x="47" y="691"/>
                  </a:lnTo>
                  <a:lnTo>
                    <a:pt x="47" y="697"/>
                  </a:lnTo>
                  <a:lnTo>
                    <a:pt x="47" y="701"/>
                  </a:lnTo>
                  <a:lnTo>
                    <a:pt x="50" y="697"/>
                  </a:lnTo>
                  <a:lnTo>
                    <a:pt x="52" y="701"/>
                  </a:lnTo>
                  <a:lnTo>
                    <a:pt x="52" y="703"/>
                  </a:lnTo>
                  <a:lnTo>
                    <a:pt x="56" y="701"/>
                  </a:lnTo>
                  <a:lnTo>
                    <a:pt x="58" y="701"/>
                  </a:lnTo>
                  <a:lnTo>
                    <a:pt x="60" y="703"/>
                  </a:lnTo>
                  <a:lnTo>
                    <a:pt x="60" y="703"/>
                  </a:lnTo>
                  <a:lnTo>
                    <a:pt x="60" y="701"/>
                  </a:lnTo>
                  <a:lnTo>
                    <a:pt x="64" y="703"/>
                  </a:lnTo>
                  <a:lnTo>
                    <a:pt x="60" y="703"/>
                  </a:lnTo>
                  <a:lnTo>
                    <a:pt x="60" y="706"/>
                  </a:lnTo>
                  <a:lnTo>
                    <a:pt x="65" y="701"/>
                  </a:lnTo>
                  <a:lnTo>
                    <a:pt x="65" y="701"/>
                  </a:lnTo>
                  <a:lnTo>
                    <a:pt x="69" y="701"/>
                  </a:lnTo>
                  <a:lnTo>
                    <a:pt x="65" y="703"/>
                  </a:lnTo>
                  <a:lnTo>
                    <a:pt x="65" y="704"/>
                  </a:lnTo>
                  <a:lnTo>
                    <a:pt x="69" y="704"/>
                  </a:lnTo>
                  <a:lnTo>
                    <a:pt x="69" y="706"/>
                  </a:lnTo>
                  <a:lnTo>
                    <a:pt x="69" y="708"/>
                  </a:lnTo>
                  <a:lnTo>
                    <a:pt x="65" y="712"/>
                  </a:lnTo>
                  <a:lnTo>
                    <a:pt x="69" y="710"/>
                  </a:lnTo>
                  <a:lnTo>
                    <a:pt x="71" y="706"/>
                  </a:lnTo>
                  <a:lnTo>
                    <a:pt x="71" y="704"/>
                  </a:lnTo>
                  <a:lnTo>
                    <a:pt x="73" y="703"/>
                  </a:lnTo>
                  <a:lnTo>
                    <a:pt x="77" y="701"/>
                  </a:lnTo>
                  <a:lnTo>
                    <a:pt x="79" y="704"/>
                  </a:lnTo>
                  <a:lnTo>
                    <a:pt x="81" y="703"/>
                  </a:lnTo>
                  <a:lnTo>
                    <a:pt x="79" y="701"/>
                  </a:lnTo>
                  <a:lnTo>
                    <a:pt x="79" y="701"/>
                  </a:lnTo>
                  <a:lnTo>
                    <a:pt x="82" y="701"/>
                  </a:lnTo>
                  <a:lnTo>
                    <a:pt x="84" y="703"/>
                  </a:lnTo>
                  <a:lnTo>
                    <a:pt x="90" y="703"/>
                  </a:lnTo>
                  <a:lnTo>
                    <a:pt x="94" y="704"/>
                  </a:lnTo>
                  <a:lnTo>
                    <a:pt x="96" y="703"/>
                  </a:lnTo>
                  <a:lnTo>
                    <a:pt x="94" y="701"/>
                  </a:lnTo>
                  <a:lnTo>
                    <a:pt x="99" y="703"/>
                  </a:lnTo>
                  <a:lnTo>
                    <a:pt x="103" y="704"/>
                  </a:lnTo>
                  <a:lnTo>
                    <a:pt x="103" y="703"/>
                  </a:lnTo>
                  <a:lnTo>
                    <a:pt x="109" y="704"/>
                  </a:lnTo>
                  <a:lnTo>
                    <a:pt x="128" y="716"/>
                  </a:lnTo>
                  <a:lnTo>
                    <a:pt x="141" y="725"/>
                  </a:lnTo>
                  <a:lnTo>
                    <a:pt x="143" y="727"/>
                  </a:lnTo>
                  <a:lnTo>
                    <a:pt x="145" y="727"/>
                  </a:lnTo>
                  <a:lnTo>
                    <a:pt x="152" y="735"/>
                  </a:lnTo>
                  <a:lnTo>
                    <a:pt x="152" y="735"/>
                  </a:lnTo>
                  <a:lnTo>
                    <a:pt x="152" y="733"/>
                  </a:lnTo>
                  <a:lnTo>
                    <a:pt x="152" y="731"/>
                  </a:lnTo>
                  <a:lnTo>
                    <a:pt x="154" y="731"/>
                  </a:lnTo>
                  <a:lnTo>
                    <a:pt x="160" y="736"/>
                  </a:lnTo>
                  <a:lnTo>
                    <a:pt x="163" y="736"/>
                  </a:lnTo>
                  <a:lnTo>
                    <a:pt x="167" y="740"/>
                  </a:lnTo>
                  <a:lnTo>
                    <a:pt x="169" y="740"/>
                  </a:lnTo>
                  <a:lnTo>
                    <a:pt x="167" y="735"/>
                  </a:lnTo>
                  <a:lnTo>
                    <a:pt x="167" y="733"/>
                  </a:lnTo>
                  <a:lnTo>
                    <a:pt x="169" y="733"/>
                  </a:lnTo>
                  <a:lnTo>
                    <a:pt x="173" y="738"/>
                  </a:lnTo>
                  <a:lnTo>
                    <a:pt x="173" y="740"/>
                  </a:lnTo>
                  <a:lnTo>
                    <a:pt x="178" y="746"/>
                  </a:lnTo>
                  <a:lnTo>
                    <a:pt x="178" y="750"/>
                  </a:lnTo>
                  <a:lnTo>
                    <a:pt x="182" y="752"/>
                  </a:lnTo>
                  <a:lnTo>
                    <a:pt x="184" y="750"/>
                  </a:lnTo>
                  <a:lnTo>
                    <a:pt x="186" y="750"/>
                  </a:lnTo>
                  <a:lnTo>
                    <a:pt x="192" y="755"/>
                  </a:lnTo>
                  <a:lnTo>
                    <a:pt x="192" y="757"/>
                  </a:lnTo>
                  <a:lnTo>
                    <a:pt x="195" y="759"/>
                  </a:lnTo>
                  <a:lnTo>
                    <a:pt x="197" y="765"/>
                  </a:lnTo>
                  <a:lnTo>
                    <a:pt x="199" y="763"/>
                  </a:lnTo>
                  <a:lnTo>
                    <a:pt x="201" y="765"/>
                  </a:lnTo>
                  <a:lnTo>
                    <a:pt x="201" y="770"/>
                  </a:lnTo>
                  <a:lnTo>
                    <a:pt x="201" y="774"/>
                  </a:lnTo>
                  <a:lnTo>
                    <a:pt x="199" y="780"/>
                  </a:lnTo>
                  <a:lnTo>
                    <a:pt x="199" y="782"/>
                  </a:lnTo>
                  <a:lnTo>
                    <a:pt x="199" y="785"/>
                  </a:lnTo>
                  <a:lnTo>
                    <a:pt x="193" y="789"/>
                  </a:lnTo>
                  <a:lnTo>
                    <a:pt x="193" y="793"/>
                  </a:lnTo>
                  <a:lnTo>
                    <a:pt x="186" y="802"/>
                  </a:lnTo>
                  <a:lnTo>
                    <a:pt x="182" y="806"/>
                  </a:lnTo>
                  <a:lnTo>
                    <a:pt x="177" y="806"/>
                  </a:lnTo>
                  <a:lnTo>
                    <a:pt x="173" y="806"/>
                  </a:lnTo>
                  <a:lnTo>
                    <a:pt x="167" y="806"/>
                  </a:lnTo>
                  <a:lnTo>
                    <a:pt x="167" y="810"/>
                  </a:lnTo>
                  <a:lnTo>
                    <a:pt x="158" y="810"/>
                  </a:lnTo>
                  <a:lnTo>
                    <a:pt x="148" y="810"/>
                  </a:lnTo>
                  <a:lnTo>
                    <a:pt x="141" y="810"/>
                  </a:lnTo>
                  <a:lnTo>
                    <a:pt x="137" y="806"/>
                  </a:lnTo>
                  <a:lnTo>
                    <a:pt x="133" y="806"/>
                  </a:lnTo>
                  <a:lnTo>
                    <a:pt x="131" y="806"/>
                  </a:lnTo>
                  <a:lnTo>
                    <a:pt x="128" y="806"/>
                  </a:lnTo>
                  <a:lnTo>
                    <a:pt x="124" y="804"/>
                  </a:lnTo>
                  <a:lnTo>
                    <a:pt x="124" y="804"/>
                  </a:lnTo>
                  <a:lnTo>
                    <a:pt x="118" y="806"/>
                  </a:lnTo>
                  <a:lnTo>
                    <a:pt x="114" y="800"/>
                  </a:lnTo>
                  <a:lnTo>
                    <a:pt x="114" y="799"/>
                  </a:lnTo>
                  <a:lnTo>
                    <a:pt x="111" y="799"/>
                  </a:lnTo>
                  <a:lnTo>
                    <a:pt x="109" y="799"/>
                  </a:lnTo>
                  <a:lnTo>
                    <a:pt x="109" y="799"/>
                  </a:lnTo>
                  <a:lnTo>
                    <a:pt x="103" y="799"/>
                  </a:lnTo>
                  <a:lnTo>
                    <a:pt x="103" y="800"/>
                  </a:lnTo>
                  <a:lnTo>
                    <a:pt x="97" y="800"/>
                  </a:lnTo>
                  <a:lnTo>
                    <a:pt x="97" y="797"/>
                  </a:lnTo>
                  <a:lnTo>
                    <a:pt x="96" y="797"/>
                  </a:lnTo>
                  <a:lnTo>
                    <a:pt x="99" y="795"/>
                  </a:lnTo>
                  <a:lnTo>
                    <a:pt x="96" y="791"/>
                  </a:lnTo>
                  <a:lnTo>
                    <a:pt x="96" y="793"/>
                  </a:lnTo>
                  <a:lnTo>
                    <a:pt x="90" y="793"/>
                  </a:lnTo>
                  <a:lnTo>
                    <a:pt x="86" y="791"/>
                  </a:lnTo>
                  <a:lnTo>
                    <a:pt x="86" y="791"/>
                  </a:lnTo>
                  <a:lnTo>
                    <a:pt x="84" y="791"/>
                  </a:lnTo>
                  <a:lnTo>
                    <a:pt x="75" y="785"/>
                  </a:lnTo>
                  <a:lnTo>
                    <a:pt x="75" y="782"/>
                  </a:lnTo>
                  <a:lnTo>
                    <a:pt x="69" y="782"/>
                  </a:lnTo>
                  <a:lnTo>
                    <a:pt x="69" y="782"/>
                  </a:lnTo>
                  <a:lnTo>
                    <a:pt x="65" y="782"/>
                  </a:lnTo>
                  <a:lnTo>
                    <a:pt x="65" y="782"/>
                  </a:lnTo>
                  <a:lnTo>
                    <a:pt x="69" y="785"/>
                  </a:lnTo>
                  <a:lnTo>
                    <a:pt x="69" y="789"/>
                  </a:lnTo>
                  <a:lnTo>
                    <a:pt x="73" y="791"/>
                  </a:lnTo>
                  <a:lnTo>
                    <a:pt x="75" y="795"/>
                  </a:lnTo>
                  <a:lnTo>
                    <a:pt x="81" y="797"/>
                  </a:lnTo>
                  <a:lnTo>
                    <a:pt x="81" y="797"/>
                  </a:lnTo>
                  <a:lnTo>
                    <a:pt x="77" y="800"/>
                  </a:lnTo>
                  <a:lnTo>
                    <a:pt x="75" y="802"/>
                  </a:lnTo>
                  <a:lnTo>
                    <a:pt x="77" y="802"/>
                  </a:lnTo>
                  <a:lnTo>
                    <a:pt x="82" y="800"/>
                  </a:lnTo>
                  <a:lnTo>
                    <a:pt x="86" y="800"/>
                  </a:lnTo>
                  <a:lnTo>
                    <a:pt x="88" y="802"/>
                  </a:lnTo>
                  <a:lnTo>
                    <a:pt x="86" y="802"/>
                  </a:lnTo>
                  <a:lnTo>
                    <a:pt x="86" y="804"/>
                  </a:lnTo>
                  <a:lnTo>
                    <a:pt x="90" y="804"/>
                  </a:lnTo>
                  <a:lnTo>
                    <a:pt x="88" y="806"/>
                  </a:lnTo>
                  <a:lnTo>
                    <a:pt x="84" y="806"/>
                  </a:lnTo>
                  <a:lnTo>
                    <a:pt x="82" y="810"/>
                  </a:lnTo>
                  <a:lnTo>
                    <a:pt x="88" y="810"/>
                  </a:lnTo>
                  <a:lnTo>
                    <a:pt x="90" y="810"/>
                  </a:lnTo>
                  <a:lnTo>
                    <a:pt x="90" y="810"/>
                  </a:lnTo>
                  <a:lnTo>
                    <a:pt x="94" y="810"/>
                  </a:lnTo>
                  <a:lnTo>
                    <a:pt x="96" y="810"/>
                  </a:lnTo>
                  <a:lnTo>
                    <a:pt x="103" y="812"/>
                  </a:lnTo>
                  <a:lnTo>
                    <a:pt x="109" y="819"/>
                  </a:lnTo>
                  <a:lnTo>
                    <a:pt x="111" y="819"/>
                  </a:lnTo>
                  <a:lnTo>
                    <a:pt x="109" y="821"/>
                  </a:lnTo>
                  <a:lnTo>
                    <a:pt x="109" y="823"/>
                  </a:lnTo>
                  <a:lnTo>
                    <a:pt x="111" y="823"/>
                  </a:lnTo>
                  <a:lnTo>
                    <a:pt x="111" y="827"/>
                  </a:lnTo>
                  <a:lnTo>
                    <a:pt x="111" y="834"/>
                  </a:lnTo>
                  <a:lnTo>
                    <a:pt x="107" y="834"/>
                  </a:lnTo>
                  <a:lnTo>
                    <a:pt x="107" y="838"/>
                  </a:lnTo>
                  <a:lnTo>
                    <a:pt x="109" y="840"/>
                  </a:lnTo>
                  <a:lnTo>
                    <a:pt x="109" y="844"/>
                  </a:lnTo>
                  <a:lnTo>
                    <a:pt x="114" y="849"/>
                  </a:lnTo>
                  <a:lnTo>
                    <a:pt x="114" y="849"/>
                  </a:lnTo>
                  <a:lnTo>
                    <a:pt x="118" y="853"/>
                  </a:lnTo>
                  <a:lnTo>
                    <a:pt x="118" y="857"/>
                  </a:lnTo>
                  <a:lnTo>
                    <a:pt x="118" y="861"/>
                  </a:lnTo>
                  <a:lnTo>
                    <a:pt x="118" y="865"/>
                  </a:lnTo>
                  <a:lnTo>
                    <a:pt x="118" y="866"/>
                  </a:lnTo>
                  <a:lnTo>
                    <a:pt x="120" y="870"/>
                  </a:lnTo>
                  <a:lnTo>
                    <a:pt x="128" y="870"/>
                  </a:lnTo>
                  <a:lnTo>
                    <a:pt x="131" y="870"/>
                  </a:lnTo>
                  <a:lnTo>
                    <a:pt x="133" y="870"/>
                  </a:lnTo>
                  <a:lnTo>
                    <a:pt x="135" y="874"/>
                  </a:lnTo>
                  <a:lnTo>
                    <a:pt x="139" y="874"/>
                  </a:lnTo>
                  <a:lnTo>
                    <a:pt x="139" y="880"/>
                  </a:lnTo>
                  <a:lnTo>
                    <a:pt x="141" y="880"/>
                  </a:lnTo>
                  <a:lnTo>
                    <a:pt x="145" y="880"/>
                  </a:lnTo>
                  <a:lnTo>
                    <a:pt x="148" y="881"/>
                  </a:lnTo>
                  <a:lnTo>
                    <a:pt x="154" y="883"/>
                  </a:lnTo>
                  <a:lnTo>
                    <a:pt x="158" y="885"/>
                  </a:lnTo>
                  <a:lnTo>
                    <a:pt x="160" y="885"/>
                  </a:lnTo>
                  <a:lnTo>
                    <a:pt x="163" y="881"/>
                  </a:lnTo>
                  <a:lnTo>
                    <a:pt x="167" y="881"/>
                  </a:lnTo>
                  <a:lnTo>
                    <a:pt x="169" y="880"/>
                  </a:lnTo>
                  <a:lnTo>
                    <a:pt x="169" y="874"/>
                  </a:lnTo>
                  <a:lnTo>
                    <a:pt x="167" y="874"/>
                  </a:lnTo>
                  <a:lnTo>
                    <a:pt x="167" y="870"/>
                  </a:lnTo>
                  <a:lnTo>
                    <a:pt x="167" y="870"/>
                  </a:lnTo>
                  <a:lnTo>
                    <a:pt x="163" y="868"/>
                  </a:lnTo>
                  <a:lnTo>
                    <a:pt x="163" y="865"/>
                  </a:lnTo>
                  <a:lnTo>
                    <a:pt x="160" y="866"/>
                  </a:lnTo>
                  <a:lnTo>
                    <a:pt x="158" y="866"/>
                  </a:lnTo>
                  <a:lnTo>
                    <a:pt x="154" y="868"/>
                  </a:lnTo>
                  <a:lnTo>
                    <a:pt x="148" y="866"/>
                  </a:lnTo>
                  <a:lnTo>
                    <a:pt x="145" y="861"/>
                  </a:lnTo>
                  <a:lnTo>
                    <a:pt x="143" y="859"/>
                  </a:lnTo>
                  <a:lnTo>
                    <a:pt x="141" y="855"/>
                  </a:lnTo>
                  <a:lnTo>
                    <a:pt x="137" y="849"/>
                  </a:lnTo>
                  <a:lnTo>
                    <a:pt x="143" y="849"/>
                  </a:lnTo>
                  <a:lnTo>
                    <a:pt x="145" y="849"/>
                  </a:lnTo>
                  <a:lnTo>
                    <a:pt x="143" y="846"/>
                  </a:lnTo>
                  <a:lnTo>
                    <a:pt x="145" y="844"/>
                  </a:lnTo>
                  <a:lnTo>
                    <a:pt x="143" y="840"/>
                  </a:lnTo>
                  <a:lnTo>
                    <a:pt x="143" y="840"/>
                  </a:lnTo>
                  <a:lnTo>
                    <a:pt x="148" y="840"/>
                  </a:lnTo>
                  <a:lnTo>
                    <a:pt x="152" y="840"/>
                  </a:lnTo>
                  <a:lnTo>
                    <a:pt x="156" y="844"/>
                  </a:lnTo>
                  <a:lnTo>
                    <a:pt x="160" y="846"/>
                  </a:lnTo>
                  <a:lnTo>
                    <a:pt x="161" y="849"/>
                  </a:lnTo>
                  <a:lnTo>
                    <a:pt x="169" y="849"/>
                  </a:lnTo>
                  <a:lnTo>
                    <a:pt x="169" y="851"/>
                  </a:lnTo>
                  <a:lnTo>
                    <a:pt x="173" y="851"/>
                  </a:lnTo>
                  <a:lnTo>
                    <a:pt x="186" y="859"/>
                  </a:lnTo>
                  <a:lnTo>
                    <a:pt x="192" y="863"/>
                  </a:lnTo>
                  <a:lnTo>
                    <a:pt x="193" y="859"/>
                  </a:lnTo>
                  <a:lnTo>
                    <a:pt x="195" y="857"/>
                  </a:lnTo>
                  <a:lnTo>
                    <a:pt x="195" y="853"/>
                  </a:lnTo>
                  <a:lnTo>
                    <a:pt x="199" y="853"/>
                  </a:lnTo>
                  <a:lnTo>
                    <a:pt x="203" y="849"/>
                  </a:lnTo>
                  <a:lnTo>
                    <a:pt x="197" y="844"/>
                  </a:lnTo>
                  <a:lnTo>
                    <a:pt x="188" y="834"/>
                  </a:lnTo>
                  <a:lnTo>
                    <a:pt x="186" y="829"/>
                  </a:lnTo>
                  <a:lnTo>
                    <a:pt x="186" y="825"/>
                  </a:lnTo>
                  <a:lnTo>
                    <a:pt x="192" y="821"/>
                  </a:lnTo>
                  <a:lnTo>
                    <a:pt x="195" y="816"/>
                  </a:lnTo>
                  <a:lnTo>
                    <a:pt x="197" y="810"/>
                  </a:lnTo>
                  <a:lnTo>
                    <a:pt x="201" y="806"/>
                  </a:lnTo>
                  <a:lnTo>
                    <a:pt x="203" y="806"/>
                  </a:lnTo>
                  <a:lnTo>
                    <a:pt x="210" y="802"/>
                  </a:lnTo>
                  <a:lnTo>
                    <a:pt x="214" y="793"/>
                  </a:lnTo>
                  <a:lnTo>
                    <a:pt x="218" y="791"/>
                  </a:lnTo>
                  <a:lnTo>
                    <a:pt x="222" y="791"/>
                  </a:lnTo>
                  <a:lnTo>
                    <a:pt x="225" y="795"/>
                  </a:lnTo>
                  <a:lnTo>
                    <a:pt x="231" y="795"/>
                  </a:lnTo>
                  <a:lnTo>
                    <a:pt x="237" y="795"/>
                  </a:lnTo>
                  <a:lnTo>
                    <a:pt x="239" y="797"/>
                  </a:lnTo>
                  <a:lnTo>
                    <a:pt x="237" y="802"/>
                  </a:lnTo>
                  <a:lnTo>
                    <a:pt x="242" y="797"/>
                  </a:lnTo>
                  <a:lnTo>
                    <a:pt x="246" y="800"/>
                  </a:lnTo>
                  <a:lnTo>
                    <a:pt x="248" y="806"/>
                  </a:lnTo>
                  <a:lnTo>
                    <a:pt x="252" y="806"/>
                  </a:lnTo>
                  <a:lnTo>
                    <a:pt x="250" y="800"/>
                  </a:lnTo>
                  <a:lnTo>
                    <a:pt x="248" y="795"/>
                  </a:lnTo>
                  <a:lnTo>
                    <a:pt x="250" y="793"/>
                  </a:lnTo>
                  <a:lnTo>
                    <a:pt x="250" y="785"/>
                  </a:lnTo>
                  <a:lnTo>
                    <a:pt x="250" y="782"/>
                  </a:lnTo>
                  <a:lnTo>
                    <a:pt x="248" y="782"/>
                  </a:lnTo>
                  <a:lnTo>
                    <a:pt x="248" y="780"/>
                  </a:lnTo>
                  <a:lnTo>
                    <a:pt x="250" y="776"/>
                  </a:lnTo>
                  <a:lnTo>
                    <a:pt x="248" y="776"/>
                  </a:lnTo>
                  <a:lnTo>
                    <a:pt x="250" y="774"/>
                  </a:lnTo>
                  <a:lnTo>
                    <a:pt x="246" y="770"/>
                  </a:lnTo>
                  <a:lnTo>
                    <a:pt x="242" y="768"/>
                  </a:lnTo>
                  <a:lnTo>
                    <a:pt x="237" y="768"/>
                  </a:lnTo>
                  <a:lnTo>
                    <a:pt x="237" y="763"/>
                  </a:lnTo>
                  <a:lnTo>
                    <a:pt x="237" y="757"/>
                  </a:lnTo>
                  <a:lnTo>
                    <a:pt x="237" y="752"/>
                  </a:lnTo>
                  <a:lnTo>
                    <a:pt x="237" y="750"/>
                  </a:lnTo>
                  <a:lnTo>
                    <a:pt x="237" y="748"/>
                  </a:lnTo>
                  <a:lnTo>
                    <a:pt x="237" y="744"/>
                  </a:lnTo>
                  <a:lnTo>
                    <a:pt x="239" y="742"/>
                  </a:lnTo>
                  <a:lnTo>
                    <a:pt x="237" y="738"/>
                  </a:lnTo>
                  <a:lnTo>
                    <a:pt x="237" y="735"/>
                  </a:lnTo>
                  <a:lnTo>
                    <a:pt x="233" y="727"/>
                  </a:lnTo>
                  <a:lnTo>
                    <a:pt x="227" y="721"/>
                  </a:lnTo>
                  <a:lnTo>
                    <a:pt x="220" y="716"/>
                  </a:lnTo>
                  <a:lnTo>
                    <a:pt x="220" y="714"/>
                  </a:lnTo>
                  <a:lnTo>
                    <a:pt x="224" y="714"/>
                  </a:lnTo>
                  <a:lnTo>
                    <a:pt x="231" y="718"/>
                  </a:lnTo>
                  <a:lnTo>
                    <a:pt x="237" y="718"/>
                  </a:lnTo>
                  <a:lnTo>
                    <a:pt x="239" y="718"/>
                  </a:lnTo>
                  <a:lnTo>
                    <a:pt x="246" y="718"/>
                  </a:lnTo>
                  <a:lnTo>
                    <a:pt x="256" y="718"/>
                  </a:lnTo>
                  <a:lnTo>
                    <a:pt x="261" y="721"/>
                  </a:lnTo>
                  <a:lnTo>
                    <a:pt x="261" y="725"/>
                  </a:lnTo>
                  <a:lnTo>
                    <a:pt x="265" y="727"/>
                  </a:lnTo>
                  <a:lnTo>
                    <a:pt x="267" y="731"/>
                  </a:lnTo>
                  <a:lnTo>
                    <a:pt x="269" y="731"/>
                  </a:lnTo>
                  <a:lnTo>
                    <a:pt x="274" y="738"/>
                  </a:lnTo>
                  <a:lnTo>
                    <a:pt x="273" y="742"/>
                  </a:lnTo>
                  <a:lnTo>
                    <a:pt x="267" y="742"/>
                  </a:lnTo>
                  <a:lnTo>
                    <a:pt x="265" y="744"/>
                  </a:lnTo>
                  <a:lnTo>
                    <a:pt x="257" y="744"/>
                  </a:lnTo>
                  <a:lnTo>
                    <a:pt x="257" y="746"/>
                  </a:lnTo>
                  <a:lnTo>
                    <a:pt x="257" y="748"/>
                  </a:lnTo>
                  <a:lnTo>
                    <a:pt x="257" y="752"/>
                  </a:lnTo>
                  <a:lnTo>
                    <a:pt x="256" y="750"/>
                  </a:lnTo>
                  <a:lnTo>
                    <a:pt x="252" y="752"/>
                  </a:lnTo>
                  <a:lnTo>
                    <a:pt x="252" y="757"/>
                  </a:lnTo>
                  <a:lnTo>
                    <a:pt x="257" y="757"/>
                  </a:lnTo>
                  <a:lnTo>
                    <a:pt x="265" y="765"/>
                  </a:lnTo>
                  <a:lnTo>
                    <a:pt x="271" y="776"/>
                  </a:lnTo>
                  <a:lnTo>
                    <a:pt x="274" y="776"/>
                  </a:lnTo>
                  <a:lnTo>
                    <a:pt x="280" y="772"/>
                  </a:lnTo>
                  <a:lnTo>
                    <a:pt x="282" y="776"/>
                  </a:lnTo>
                  <a:lnTo>
                    <a:pt x="282" y="774"/>
                  </a:lnTo>
                  <a:lnTo>
                    <a:pt x="286" y="774"/>
                  </a:lnTo>
                  <a:lnTo>
                    <a:pt x="289" y="770"/>
                  </a:lnTo>
                  <a:lnTo>
                    <a:pt x="295" y="768"/>
                  </a:lnTo>
                  <a:lnTo>
                    <a:pt x="295" y="765"/>
                  </a:lnTo>
                  <a:lnTo>
                    <a:pt x="295" y="757"/>
                  </a:lnTo>
                  <a:lnTo>
                    <a:pt x="297" y="755"/>
                  </a:lnTo>
                  <a:lnTo>
                    <a:pt x="297" y="752"/>
                  </a:lnTo>
                  <a:lnTo>
                    <a:pt x="295" y="748"/>
                  </a:lnTo>
                  <a:lnTo>
                    <a:pt x="295" y="746"/>
                  </a:lnTo>
                  <a:lnTo>
                    <a:pt x="306" y="746"/>
                  </a:lnTo>
                  <a:lnTo>
                    <a:pt x="306" y="742"/>
                  </a:lnTo>
                  <a:lnTo>
                    <a:pt x="314" y="746"/>
                  </a:lnTo>
                  <a:lnTo>
                    <a:pt x="314" y="742"/>
                  </a:lnTo>
                  <a:lnTo>
                    <a:pt x="306" y="738"/>
                  </a:lnTo>
                  <a:lnTo>
                    <a:pt x="306" y="735"/>
                  </a:lnTo>
                  <a:lnTo>
                    <a:pt x="306" y="735"/>
                  </a:lnTo>
                  <a:lnTo>
                    <a:pt x="310" y="738"/>
                  </a:lnTo>
                  <a:lnTo>
                    <a:pt x="314" y="736"/>
                  </a:lnTo>
                  <a:lnTo>
                    <a:pt x="320" y="727"/>
                  </a:lnTo>
                  <a:lnTo>
                    <a:pt x="321" y="727"/>
                  </a:lnTo>
                  <a:lnTo>
                    <a:pt x="331" y="718"/>
                  </a:lnTo>
                  <a:lnTo>
                    <a:pt x="331" y="716"/>
                  </a:lnTo>
                  <a:lnTo>
                    <a:pt x="333" y="714"/>
                  </a:lnTo>
                  <a:lnTo>
                    <a:pt x="337" y="716"/>
                  </a:lnTo>
                  <a:lnTo>
                    <a:pt x="340" y="714"/>
                  </a:lnTo>
                  <a:lnTo>
                    <a:pt x="340" y="710"/>
                  </a:lnTo>
                  <a:lnTo>
                    <a:pt x="350" y="708"/>
                  </a:lnTo>
                  <a:lnTo>
                    <a:pt x="350" y="712"/>
                  </a:lnTo>
                  <a:lnTo>
                    <a:pt x="352" y="712"/>
                  </a:lnTo>
                  <a:lnTo>
                    <a:pt x="352" y="714"/>
                  </a:lnTo>
                  <a:lnTo>
                    <a:pt x="350" y="716"/>
                  </a:lnTo>
                  <a:lnTo>
                    <a:pt x="352" y="718"/>
                  </a:lnTo>
                  <a:lnTo>
                    <a:pt x="357" y="714"/>
                  </a:lnTo>
                  <a:lnTo>
                    <a:pt x="357" y="710"/>
                  </a:lnTo>
                  <a:lnTo>
                    <a:pt x="355" y="710"/>
                  </a:lnTo>
                  <a:lnTo>
                    <a:pt x="352" y="706"/>
                  </a:lnTo>
                  <a:lnTo>
                    <a:pt x="352" y="704"/>
                  </a:lnTo>
                  <a:lnTo>
                    <a:pt x="359" y="697"/>
                  </a:lnTo>
                  <a:lnTo>
                    <a:pt x="361" y="697"/>
                  </a:lnTo>
                  <a:lnTo>
                    <a:pt x="361" y="701"/>
                  </a:lnTo>
                  <a:lnTo>
                    <a:pt x="359" y="701"/>
                  </a:lnTo>
                  <a:lnTo>
                    <a:pt x="357" y="703"/>
                  </a:lnTo>
                  <a:lnTo>
                    <a:pt x="361" y="706"/>
                  </a:lnTo>
                  <a:lnTo>
                    <a:pt x="365" y="706"/>
                  </a:lnTo>
                  <a:lnTo>
                    <a:pt x="365" y="703"/>
                  </a:lnTo>
                  <a:lnTo>
                    <a:pt x="365" y="701"/>
                  </a:lnTo>
                  <a:lnTo>
                    <a:pt x="363" y="697"/>
                  </a:lnTo>
                  <a:lnTo>
                    <a:pt x="363" y="697"/>
                  </a:lnTo>
                  <a:lnTo>
                    <a:pt x="365" y="693"/>
                  </a:lnTo>
                  <a:lnTo>
                    <a:pt x="374" y="691"/>
                  </a:lnTo>
                  <a:lnTo>
                    <a:pt x="382" y="687"/>
                  </a:lnTo>
                  <a:lnTo>
                    <a:pt x="382" y="691"/>
                  </a:lnTo>
                  <a:lnTo>
                    <a:pt x="378" y="691"/>
                  </a:lnTo>
                  <a:lnTo>
                    <a:pt x="374" y="691"/>
                  </a:lnTo>
                  <a:lnTo>
                    <a:pt x="369" y="697"/>
                  </a:lnTo>
                  <a:lnTo>
                    <a:pt x="370" y="697"/>
                  </a:lnTo>
                  <a:lnTo>
                    <a:pt x="374" y="697"/>
                  </a:lnTo>
                  <a:lnTo>
                    <a:pt x="374" y="697"/>
                  </a:lnTo>
                  <a:lnTo>
                    <a:pt x="378" y="701"/>
                  </a:lnTo>
                  <a:lnTo>
                    <a:pt x="376" y="701"/>
                  </a:lnTo>
                  <a:lnTo>
                    <a:pt x="374" y="703"/>
                  </a:lnTo>
                  <a:lnTo>
                    <a:pt x="378" y="706"/>
                  </a:lnTo>
                  <a:lnTo>
                    <a:pt x="376" y="710"/>
                  </a:lnTo>
                  <a:lnTo>
                    <a:pt x="374" y="710"/>
                  </a:lnTo>
                  <a:lnTo>
                    <a:pt x="370" y="714"/>
                  </a:lnTo>
                  <a:lnTo>
                    <a:pt x="370" y="718"/>
                  </a:lnTo>
                  <a:lnTo>
                    <a:pt x="374" y="718"/>
                  </a:lnTo>
                  <a:lnTo>
                    <a:pt x="374" y="718"/>
                  </a:lnTo>
                  <a:lnTo>
                    <a:pt x="378" y="718"/>
                  </a:lnTo>
                  <a:lnTo>
                    <a:pt x="380" y="716"/>
                  </a:lnTo>
                  <a:lnTo>
                    <a:pt x="384" y="718"/>
                  </a:lnTo>
                  <a:lnTo>
                    <a:pt x="384" y="721"/>
                  </a:lnTo>
                  <a:lnTo>
                    <a:pt x="385" y="718"/>
                  </a:lnTo>
                  <a:lnTo>
                    <a:pt x="389" y="712"/>
                  </a:lnTo>
                  <a:lnTo>
                    <a:pt x="391" y="712"/>
                  </a:lnTo>
                  <a:lnTo>
                    <a:pt x="393" y="714"/>
                  </a:lnTo>
                  <a:lnTo>
                    <a:pt x="395" y="718"/>
                  </a:lnTo>
                  <a:lnTo>
                    <a:pt x="399" y="716"/>
                  </a:lnTo>
                  <a:lnTo>
                    <a:pt x="395" y="714"/>
                  </a:lnTo>
                  <a:lnTo>
                    <a:pt x="399" y="710"/>
                  </a:lnTo>
                  <a:lnTo>
                    <a:pt x="395" y="708"/>
                  </a:lnTo>
                  <a:lnTo>
                    <a:pt x="395" y="706"/>
                  </a:lnTo>
                  <a:lnTo>
                    <a:pt x="399" y="703"/>
                  </a:lnTo>
                  <a:lnTo>
                    <a:pt x="401" y="703"/>
                  </a:lnTo>
                  <a:lnTo>
                    <a:pt x="402" y="701"/>
                  </a:lnTo>
                  <a:lnTo>
                    <a:pt x="408" y="697"/>
                  </a:lnTo>
                  <a:lnTo>
                    <a:pt x="410" y="701"/>
                  </a:lnTo>
                  <a:lnTo>
                    <a:pt x="412" y="701"/>
                  </a:lnTo>
                  <a:lnTo>
                    <a:pt x="414" y="701"/>
                  </a:lnTo>
                  <a:lnTo>
                    <a:pt x="417" y="701"/>
                  </a:lnTo>
                  <a:lnTo>
                    <a:pt x="425" y="701"/>
                  </a:lnTo>
                  <a:lnTo>
                    <a:pt x="429" y="697"/>
                  </a:lnTo>
                  <a:lnTo>
                    <a:pt x="429" y="697"/>
                  </a:lnTo>
                  <a:lnTo>
                    <a:pt x="429" y="691"/>
                  </a:lnTo>
                  <a:lnTo>
                    <a:pt x="433" y="691"/>
                  </a:lnTo>
                  <a:lnTo>
                    <a:pt x="434" y="691"/>
                  </a:lnTo>
                  <a:lnTo>
                    <a:pt x="438" y="687"/>
                  </a:lnTo>
                  <a:lnTo>
                    <a:pt x="440" y="687"/>
                  </a:lnTo>
                  <a:lnTo>
                    <a:pt x="446" y="682"/>
                  </a:lnTo>
                  <a:lnTo>
                    <a:pt x="448" y="682"/>
                  </a:lnTo>
                  <a:lnTo>
                    <a:pt x="451" y="680"/>
                  </a:lnTo>
                  <a:lnTo>
                    <a:pt x="451" y="682"/>
                  </a:lnTo>
                  <a:lnTo>
                    <a:pt x="448" y="686"/>
                  </a:lnTo>
                  <a:lnTo>
                    <a:pt x="451" y="686"/>
                  </a:lnTo>
                  <a:lnTo>
                    <a:pt x="453" y="691"/>
                  </a:lnTo>
                  <a:lnTo>
                    <a:pt x="453" y="691"/>
                  </a:lnTo>
                  <a:lnTo>
                    <a:pt x="453" y="693"/>
                  </a:lnTo>
                  <a:lnTo>
                    <a:pt x="453" y="697"/>
                  </a:lnTo>
                  <a:lnTo>
                    <a:pt x="453" y="701"/>
                  </a:lnTo>
                  <a:lnTo>
                    <a:pt x="453" y="704"/>
                  </a:lnTo>
                  <a:lnTo>
                    <a:pt x="465" y="704"/>
                  </a:lnTo>
                  <a:lnTo>
                    <a:pt x="466" y="703"/>
                  </a:lnTo>
                  <a:lnTo>
                    <a:pt x="466" y="701"/>
                  </a:lnTo>
                  <a:lnTo>
                    <a:pt x="465" y="701"/>
                  </a:lnTo>
                  <a:lnTo>
                    <a:pt x="461" y="693"/>
                  </a:lnTo>
                  <a:lnTo>
                    <a:pt x="461" y="691"/>
                  </a:lnTo>
                  <a:lnTo>
                    <a:pt x="463" y="691"/>
                  </a:lnTo>
                  <a:lnTo>
                    <a:pt x="468" y="691"/>
                  </a:lnTo>
                  <a:lnTo>
                    <a:pt x="472" y="687"/>
                  </a:lnTo>
                  <a:lnTo>
                    <a:pt x="474" y="684"/>
                  </a:lnTo>
                  <a:lnTo>
                    <a:pt x="478" y="684"/>
                  </a:lnTo>
                  <a:lnTo>
                    <a:pt x="478" y="686"/>
                  </a:lnTo>
                  <a:lnTo>
                    <a:pt x="483" y="686"/>
                  </a:lnTo>
                  <a:lnTo>
                    <a:pt x="478" y="680"/>
                  </a:lnTo>
                  <a:lnTo>
                    <a:pt x="474" y="678"/>
                  </a:lnTo>
                  <a:lnTo>
                    <a:pt x="474" y="676"/>
                  </a:lnTo>
                  <a:lnTo>
                    <a:pt x="470" y="669"/>
                  </a:lnTo>
                  <a:lnTo>
                    <a:pt x="468" y="669"/>
                  </a:lnTo>
                  <a:lnTo>
                    <a:pt x="468" y="672"/>
                  </a:lnTo>
                  <a:lnTo>
                    <a:pt x="465" y="669"/>
                  </a:lnTo>
                  <a:lnTo>
                    <a:pt x="463" y="663"/>
                  </a:lnTo>
                  <a:lnTo>
                    <a:pt x="461" y="661"/>
                  </a:lnTo>
                  <a:lnTo>
                    <a:pt x="457" y="657"/>
                  </a:lnTo>
                  <a:lnTo>
                    <a:pt x="457" y="655"/>
                  </a:lnTo>
                  <a:lnTo>
                    <a:pt x="463" y="654"/>
                  </a:lnTo>
                  <a:lnTo>
                    <a:pt x="463" y="652"/>
                  </a:lnTo>
                  <a:lnTo>
                    <a:pt x="461" y="646"/>
                  </a:lnTo>
                  <a:lnTo>
                    <a:pt x="463" y="644"/>
                  </a:lnTo>
                  <a:lnTo>
                    <a:pt x="466" y="646"/>
                  </a:lnTo>
                  <a:lnTo>
                    <a:pt x="468" y="644"/>
                  </a:lnTo>
                  <a:lnTo>
                    <a:pt x="470" y="646"/>
                  </a:lnTo>
                  <a:lnTo>
                    <a:pt x="474" y="646"/>
                  </a:lnTo>
                  <a:lnTo>
                    <a:pt x="478" y="648"/>
                  </a:lnTo>
                  <a:lnTo>
                    <a:pt x="491" y="646"/>
                  </a:lnTo>
                  <a:lnTo>
                    <a:pt x="508" y="646"/>
                  </a:lnTo>
                  <a:lnTo>
                    <a:pt x="513" y="650"/>
                  </a:lnTo>
                  <a:lnTo>
                    <a:pt x="527" y="655"/>
                  </a:lnTo>
                  <a:lnTo>
                    <a:pt x="527" y="657"/>
                  </a:lnTo>
                  <a:lnTo>
                    <a:pt x="527" y="657"/>
                  </a:lnTo>
                  <a:lnTo>
                    <a:pt x="529" y="663"/>
                  </a:lnTo>
                  <a:lnTo>
                    <a:pt x="532" y="661"/>
                  </a:lnTo>
                  <a:lnTo>
                    <a:pt x="536" y="657"/>
                  </a:lnTo>
                  <a:lnTo>
                    <a:pt x="542" y="661"/>
                  </a:lnTo>
                  <a:lnTo>
                    <a:pt x="542" y="661"/>
                  </a:lnTo>
                  <a:lnTo>
                    <a:pt x="545" y="663"/>
                  </a:lnTo>
                  <a:lnTo>
                    <a:pt x="549" y="667"/>
                  </a:lnTo>
                  <a:lnTo>
                    <a:pt x="561" y="671"/>
                  </a:lnTo>
                  <a:lnTo>
                    <a:pt x="570" y="672"/>
                  </a:lnTo>
                  <a:lnTo>
                    <a:pt x="574" y="674"/>
                  </a:lnTo>
                  <a:lnTo>
                    <a:pt x="576" y="680"/>
                  </a:lnTo>
                  <a:lnTo>
                    <a:pt x="581" y="682"/>
                  </a:lnTo>
                  <a:lnTo>
                    <a:pt x="587" y="686"/>
                  </a:lnTo>
                  <a:lnTo>
                    <a:pt x="591" y="693"/>
                  </a:lnTo>
                  <a:lnTo>
                    <a:pt x="596" y="693"/>
                  </a:lnTo>
                  <a:lnTo>
                    <a:pt x="596" y="691"/>
                  </a:lnTo>
                  <a:lnTo>
                    <a:pt x="594" y="687"/>
                  </a:lnTo>
                  <a:lnTo>
                    <a:pt x="596" y="687"/>
                  </a:lnTo>
                  <a:lnTo>
                    <a:pt x="596" y="686"/>
                  </a:lnTo>
                  <a:lnTo>
                    <a:pt x="596" y="682"/>
                  </a:lnTo>
                  <a:lnTo>
                    <a:pt x="596" y="678"/>
                  </a:lnTo>
                  <a:lnTo>
                    <a:pt x="596" y="669"/>
                  </a:lnTo>
                  <a:lnTo>
                    <a:pt x="600" y="667"/>
                  </a:lnTo>
                  <a:lnTo>
                    <a:pt x="596" y="667"/>
                  </a:lnTo>
                  <a:lnTo>
                    <a:pt x="596" y="663"/>
                  </a:lnTo>
                  <a:lnTo>
                    <a:pt x="591" y="663"/>
                  </a:lnTo>
                  <a:lnTo>
                    <a:pt x="587" y="667"/>
                  </a:lnTo>
                  <a:lnTo>
                    <a:pt x="585" y="667"/>
                  </a:lnTo>
                  <a:lnTo>
                    <a:pt x="577" y="657"/>
                  </a:lnTo>
                  <a:lnTo>
                    <a:pt x="576" y="655"/>
                  </a:lnTo>
                  <a:lnTo>
                    <a:pt x="572" y="652"/>
                  </a:lnTo>
                  <a:lnTo>
                    <a:pt x="572" y="646"/>
                  </a:lnTo>
                  <a:lnTo>
                    <a:pt x="570" y="644"/>
                  </a:lnTo>
                  <a:lnTo>
                    <a:pt x="566" y="648"/>
                  </a:lnTo>
                  <a:lnTo>
                    <a:pt x="562" y="646"/>
                  </a:lnTo>
                  <a:lnTo>
                    <a:pt x="559" y="646"/>
                  </a:lnTo>
                  <a:lnTo>
                    <a:pt x="555" y="644"/>
                  </a:lnTo>
                  <a:lnTo>
                    <a:pt x="553" y="646"/>
                  </a:lnTo>
                  <a:lnTo>
                    <a:pt x="553" y="640"/>
                  </a:lnTo>
                  <a:lnTo>
                    <a:pt x="549" y="637"/>
                  </a:lnTo>
                  <a:lnTo>
                    <a:pt x="545" y="631"/>
                  </a:lnTo>
                  <a:lnTo>
                    <a:pt x="545" y="627"/>
                  </a:lnTo>
                  <a:lnTo>
                    <a:pt x="549" y="629"/>
                  </a:lnTo>
                  <a:lnTo>
                    <a:pt x="551" y="627"/>
                  </a:lnTo>
                  <a:lnTo>
                    <a:pt x="551" y="622"/>
                  </a:lnTo>
                  <a:lnTo>
                    <a:pt x="545" y="618"/>
                  </a:lnTo>
                  <a:lnTo>
                    <a:pt x="545" y="614"/>
                  </a:lnTo>
                  <a:lnTo>
                    <a:pt x="549" y="612"/>
                  </a:lnTo>
                  <a:lnTo>
                    <a:pt x="551" y="612"/>
                  </a:lnTo>
                  <a:lnTo>
                    <a:pt x="547" y="606"/>
                  </a:lnTo>
                  <a:lnTo>
                    <a:pt x="545" y="606"/>
                  </a:lnTo>
                  <a:lnTo>
                    <a:pt x="542" y="599"/>
                  </a:lnTo>
                  <a:lnTo>
                    <a:pt x="538" y="599"/>
                  </a:lnTo>
                  <a:lnTo>
                    <a:pt x="536" y="599"/>
                  </a:lnTo>
                  <a:lnTo>
                    <a:pt x="532" y="595"/>
                  </a:lnTo>
                  <a:lnTo>
                    <a:pt x="532" y="590"/>
                  </a:lnTo>
                  <a:lnTo>
                    <a:pt x="532" y="586"/>
                  </a:lnTo>
                  <a:lnTo>
                    <a:pt x="532" y="582"/>
                  </a:lnTo>
                  <a:lnTo>
                    <a:pt x="532" y="578"/>
                  </a:lnTo>
                  <a:lnTo>
                    <a:pt x="532" y="576"/>
                  </a:lnTo>
                  <a:lnTo>
                    <a:pt x="542" y="569"/>
                  </a:lnTo>
                  <a:lnTo>
                    <a:pt x="545" y="565"/>
                  </a:lnTo>
                  <a:lnTo>
                    <a:pt x="545" y="563"/>
                  </a:lnTo>
                  <a:lnTo>
                    <a:pt x="545" y="558"/>
                  </a:lnTo>
                  <a:lnTo>
                    <a:pt x="545" y="554"/>
                  </a:lnTo>
                  <a:lnTo>
                    <a:pt x="545" y="550"/>
                  </a:lnTo>
                  <a:lnTo>
                    <a:pt x="542" y="544"/>
                  </a:lnTo>
                  <a:lnTo>
                    <a:pt x="542" y="539"/>
                  </a:lnTo>
                  <a:lnTo>
                    <a:pt x="545" y="537"/>
                  </a:lnTo>
                  <a:lnTo>
                    <a:pt x="542" y="535"/>
                  </a:lnTo>
                  <a:lnTo>
                    <a:pt x="542" y="529"/>
                  </a:lnTo>
                  <a:lnTo>
                    <a:pt x="542" y="527"/>
                  </a:lnTo>
                  <a:lnTo>
                    <a:pt x="542" y="520"/>
                  </a:lnTo>
                  <a:lnTo>
                    <a:pt x="545" y="518"/>
                  </a:lnTo>
                  <a:lnTo>
                    <a:pt x="542" y="514"/>
                  </a:lnTo>
                  <a:lnTo>
                    <a:pt x="542" y="509"/>
                  </a:lnTo>
                  <a:lnTo>
                    <a:pt x="542" y="501"/>
                  </a:lnTo>
                  <a:lnTo>
                    <a:pt x="545" y="501"/>
                  </a:lnTo>
                  <a:lnTo>
                    <a:pt x="547" y="501"/>
                  </a:lnTo>
                  <a:lnTo>
                    <a:pt x="545" y="503"/>
                  </a:lnTo>
                  <a:lnTo>
                    <a:pt x="547" y="505"/>
                  </a:lnTo>
                  <a:lnTo>
                    <a:pt x="551" y="503"/>
                  </a:lnTo>
                  <a:lnTo>
                    <a:pt x="557" y="503"/>
                  </a:lnTo>
                  <a:lnTo>
                    <a:pt x="562" y="501"/>
                  </a:lnTo>
                  <a:lnTo>
                    <a:pt x="562" y="501"/>
                  </a:lnTo>
                  <a:lnTo>
                    <a:pt x="566" y="503"/>
                  </a:lnTo>
                  <a:lnTo>
                    <a:pt x="570" y="501"/>
                  </a:lnTo>
                  <a:lnTo>
                    <a:pt x="574" y="501"/>
                  </a:lnTo>
                  <a:lnTo>
                    <a:pt x="585" y="505"/>
                  </a:lnTo>
                  <a:lnTo>
                    <a:pt x="591" y="505"/>
                  </a:lnTo>
                  <a:lnTo>
                    <a:pt x="594" y="505"/>
                  </a:lnTo>
                  <a:lnTo>
                    <a:pt x="596" y="509"/>
                  </a:lnTo>
                  <a:lnTo>
                    <a:pt x="591" y="512"/>
                  </a:lnTo>
                  <a:lnTo>
                    <a:pt x="596" y="514"/>
                  </a:lnTo>
                  <a:lnTo>
                    <a:pt x="596" y="518"/>
                  </a:lnTo>
                  <a:lnTo>
                    <a:pt x="596" y="522"/>
                  </a:lnTo>
                  <a:lnTo>
                    <a:pt x="596" y="527"/>
                  </a:lnTo>
                  <a:lnTo>
                    <a:pt x="600" y="535"/>
                  </a:lnTo>
                  <a:lnTo>
                    <a:pt x="596" y="542"/>
                  </a:lnTo>
                  <a:lnTo>
                    <a:pt x="600" y="548"/>
                  </a:lnTo>
                  <a:lnTo>
                    <a:pt x="600" y="548"/>
                  </a:lnTo>
                  <a:lnTo>
                    <a:pt x="600" y="552"/>
                  </a:lnTo>
                  <a:lnTo>
                    <a:pt x="600" y="556"/>
                  </a:lnTo>
                  <a:lnTo>
                    <a:pt x="596" y="558"/>
                  </a:lnTo>
                  <a:lnTo>
                    <a:pt x="600" y="561"/>
                  </a:lnTo>
                  <a:lnTo>
                    <a:pt x="602" y="565"/>
                  </a:lnTo>
                  <a:lnTo>
                    <a:pt x="604" y="569"/>
                  </a:lnTo>
                  <a:lnTo>
                    <a:pt x="609" y="573"/>
                  </a:lnTo>
                  <a:lnTo>
                    <a:pt x="609" y="573"/>
                  </a:lnTo>
                  <a:lnTo>
                    <a:pt x="611" y="573"/>
                  </a:lnTo>
                  <a:lnTo>
                    <a:pt x="615" y="573"/>
                  </a:lnTo>
                  <a:lnTo>
                    <a:pt x="615" y="578"/>
                  </a:lnTo>
                  <a:lnTo>
                    <a:pt x="621" y="582"/>
                  </a:lnTo>
                  <a:lnTo>
                    <a:pt x="621" y="586"/>
                  </a:lnTo>
                  <a:lnTo>
                    <a:pt x="625" y="599"/>
                  </a:lnTo>
                  <a:lnTo>
                    <a:pt x="626" y="603"/>
                  </a:lnTo>
                  <a:lnTo>
                    <a:pt x="626" y="603"/>
                  </a:lnTo>
                  <a:lnTo>
                    <a:pt x="625" y="606"/>
                  </a:lnTo>
                  <a:lnTo>
                    <a:pt x="628" y="612"/>
                  </a:lnTo>
                  <a:lnTo>
                    <a:pt x="628" y="616"/>
                  </a:lnTo>
                  <a:lnTo>
                    <a:pt x="636" y="623"/>
                  </a:lnTo>
                  <a:lnTo>
                    <a:pt x="634" y="631"/>
                  </a:lnTo>
                  <a:lnTo>
                    <a:pt x="636" y="633"/>
                  </a:lnTo>
                  <a:lnTo>
                    <a:pt x="640" y="637"/>
                  </a:lnTo>
                  <a:lnTo>
                    <a:pt x="638" y="639"/>
                  </a:lnTo>
                  <a:lnTo>
                    <a:pt x="640" y="640"/>
                  </a:lnTo>
                  <a:lnTo>
                    <a:pt x="641" y="650"/>
                  </a:lnTo>
                  <a:lnTo>
                    <a:pt x="649" y="657"/>
                  </a:lnTo>
                  <a:lnTo>
                    <a:pt x="655" y="661"/>
                  </a:lnTo>
                  <a:lnTo>
                    <a:pt x="657" y="663"/>
                  </a:lnTo>
                  <a:lnTo>
                    <a:pt x="660" y="663"/>
                  </a:lnTo>
                  <a:lnTo>
                    <a:pt x="666" y="669"/>
                  </a:lnTo>
                  <a:lnTo>
                    <a:pt x="666" y="672"/>
                  </a:lnTo>
                  <a:lnTo>
                    <a:pt x="664" y="672"/>
                  </a:lnTo>
                  <a:lnTo>
                    <a:pt x="664" y="676"/>
                  </a:lnTo>
                  <a:lnTo>
                    <a:pt x="662" y="682"/>
                  </a:lnTo>
                  <a:lnTo>
                    <a:pt x="666" y="687"/>
                  </a:lnTo>
                  <a:lnTo>
                    <a:pt x="670" y="691"/>
                  </a:lnTo>
                  <a:lnTo>
                    <a:pt x="670" y="697"/>
                  </a:lnTo>
                  <a:lnTo>
                    <a:pt x="666" y="701"/>
                  </a:lnTo>
                  <a:lnTo>
                    <a:pt x="666" y="703"/>
                  </a:lnTo>
                  <a:lnTo>
                    <a:pt x="664" y="706"/>
                  </a:lnTo>
                  <a:lnTo>
                    <a:pt x="666" y="708"/>
                  </a:lnTo>
                  <a:lnTo>
                    <a:pt x="666" y="716"/>
                  </a:lnTo>
                  <a:lnTo>
                    <a:pt x="662" y="718"/>
                  </a:lnTo>
                  <a:lnTo>
                    <a:pt x="662" y="718"/>
                  </a:lnTo>
                  <a:lnTo>
                    <a:pt x="666" y="718"/>
                  </a:lnTo>
                  <a:lnTo>
                    <a:pt x="666" y="721"/>
                  </a:lnTo>
                  <a:lnTo>
                    <a:pt x="660" y="725"/>
                  </a:lnTo>
                  <a:lnTo>
                    <a:pt x="660" y="731"/>
                  </a:lnTo>
                  <a:lnTo>
                    <a:pt x="658" y="733"/>
                  </a:lnTo>
                  <a:lnTo>
                    <a:pt x="655" y="731"/>
                  </a:lnTo>
                  <a:lnTo>
                    <a:pt x="655" y="735"/>
                  </a:lnTo>
                  <a:lnTo>
                    <a:pt x="658" y="738"/>
                  </a:lnTo>
                  <a:lnTo>
                    <a:pt x="658" y="740"/>
                  </a:lnTo>
                  <a:lnTo>
                    <a:pt x="655" y="744"/>
                  </a:lnTo>
                  <a:lnTo>
                    <a:pt x="651" y="748"/>
                  </a:lnTo>
                  <a:lnTo>
                    <a:pt x="645" y="748"/>
                  </a:lnTo>
                  <a:lnTo>
                    <a:pt x="641" y="744"/>
                  </a:lnTo>
                  <a:lnTo>
                    <a:pt x="649" y="740"/>
                  </a:lnTo>
                  <a:lnTo>
                    <a:pt x="649" y="738"/>
                  </a:lnTo>
                  <a:lnTo>
                    <a:pt x="645" y="738"/>
                  </a:lnTo>
                  <a:lnTo>
                    <a:pt x="643" y="740"/>
                  </a:lnTo>
                  <a:lnTo>
                    <a:pt x="640" y="740"/>
                  </a:lnTo>
                  <a:lnTo>
                    <a:pt x="632" y="736"/>
                  </a:lnTo>
                  <a:lnTo>
                    <a:pt x="630" y="738"/>
                  </a:lnTo>
                  <a:lnTo>
                    <a:pt x="621" y="740"/>
                  </a:lnTo>
                  <a:lnTo>
                    <a:pt x="615" y="740"/>
                  </a:lnTo>
                  <a:lnTo>
                    <a:pt x="611" y="746"/>
                  </a:lnTo>
                  <a:lnTo>
                    <a:pt x="615" y="746"/>
                  </a:lnTo>
                  <a:lnTo>
                    <a:pt x="615" y="748"/>
                  </a:lnTo>
                  <a:lnTo>
                    <a:pt x="617" y="744"/>
                  </a:lnTo>
                  <a:lnTo>
                    <a:pt x="625" y="742"/>
                  </a:lnTo>
                  <a:lnTo>
                    <a:pt x="625" y="746"/>
                  </a:lnTo>
                  <a:lnTo>
                    <a:pt x="628" y="752"/>
                  </a:lnTo>
                  <a:lnTo>
                    <a:pt x="643" y="752"/>
                  </a:lnTo>
                  <a:lnTo>
                    <a:pt x="649" y="755"/>
                  </a:lnTo>
                  <a:lnTo>
                    <a:pt x="655" y="752"/>
                  </a:lnTo>
                  <a:lnTo>
                    <a:pt x="662" y="752"/>
                  </a:lnTo>
                  <a:lnTo>
                    <a:pt x="664" y="755"/>
                  </a:lnTo>
                  <a:lnTo>
                    <a:pt x="670" y="755"/>
                  </a:lnTo>
                  <a:lnTo>
                    <a:pt x="675" y="755"/>
                  </a:lnTo>
                  <a:lnTo>
                    <a:pt x="675" y="750"/>
                  </a:lnTo>
                  <a:lnTo>
                    <a:pt x="675" y="748"/>
                  </a:lnTo>
                  <a:lnTo>
                    <a:pt x="675" y="742"/>
                  </a:lnTo>
                  <a:lnTo>
                    <a:pt x="675" y="740"/>
                  </a:lnTo>
                  <a:lnTo>
                    <a:pt x="679" y="738"/>
                  </a:lnTo>
                  <a:lnTo>
                    <a:pt x="679" y="735"/>
                  </a:lnTo>
                  <a:lnTo>
                    <a:pt x="685" y="731"/>
                  </a:lnTo>
                  <a:lnTo>
                    <a:pt x="685" y="725"/>
                  </a:lnTo>
                  <a:lnTo>
                    <a:pt x="689" y="718"/>
                  </a:lnTo>
                  <a:lnTo>
                    <a:pt x="685" y="712"/>
                  </a:lnTo>
                  <a:lnTo>
                    <a:pt x="687" y="706"/>
                  </a:lnTo>
                  <a:lnTo>
                    <a:pt x="692" y="697"/>
                  </a:lnTo>
                  <a:lnTo>
                    <a:pt x="692" y="691"/>
                  </a:lnTo>
                  <a:lnTo>
                    <a:pt x="687" y="680"/>
                  </a:lnTo>
                  <a:lnTo>
                    <a:pt x="679" y="674"/>
                  </a:lnTo>
                  <a:lnTo>
                    <a:pt x="679" y="671"/>
                  </a:lnTo>
                  <a:lnTo>
                    <a:pt x="675" y="661"/>
                  </a:lnTo>
                  <a:lnTo>
                    <a:pt x="683" y="657"/>
                  </a:lnTo>
                  <a:lnTo>
                    <a:pt x="685" y="652"/>
                  </a:lnTo>
                  <a:lnTo>
                    <a:pt x="690" y="652"/>
                  </a:lnTo>
                  <a:lnTo>
                    <a:pt x="698" y="644"/>
                  </a:lnTo>
                  <a:lnTo>
                    <a:pt x="704" y="642"/>
                  </a:lnTo>
                  <a:lnTo>
                    <a:pt x="707" y="650"/>
                  </a:lnTo>
                  <a:lnTo>
                    <a:pt x="707" y="655"/>
                  </a:lnTo>
                  <a:lnTo>
                    <a:pt x="715" y="657"/>
                  </a:lnTo>
                  <a:lnTo>
                    <a:pt x="717" y="661"/>
                  </a:lnTo>
                  <a:lnTo>
                    <a:pt x="719" y="661"/>
                  </a:lnTo>
                  <a:lnTo>
                    <a:pt x="722" y="667"/>
                  </a:lnTo>
                  <a:lnTo>
                    <a:pt x="722" y="671"/>
                  </a:lnTo>
                  <a:lnTo>
                    <a:pt x="724" y="672"/>
                  </a:lnTo>
                  <a:lnTo>
                    <a:pt x="724" y="676"/>
                  </a:lnTo>
                  <a:lnTo>
                    <a:pt x="730" y="682"/>
                  </a:lnTo>
                  <a:lnTo>
                    <a:pt x="732" y="686"/>
                  </a:lnTo>
                  <a:lnTo>
                    <a:pt x="730" y="687"/>
                  </a:lnTo>
                  <a:lnTo>
                    <a:pt x="732" y="691"/>
                  </a:lnTo>
                  <a:lnTo>
                    <a:pt x="737" y="691"/>
                  </a:lnTo>
                  <a:lnTo>
                    <a:pt x="739" y="697"/>
                  </a:lnTo>
                  <a:lnTo>
                    <a:pt x="745" y="693"/>
                  </a:lnTo>
                  <a:lnTo>
                    <a:pt x="749" y="693"/>
                  </a:lnTo>
                  <a:lnTo>
                    <a:pt x="754" y="691"/>
                  </a:lnTo>
                  <a:lnTo>
                    <a:pt x="756" y="691"/>
                  </a:lnTo>
                  <a:lnTo>
                    <a:pt x="758" y="687"/>
                  </a:lnTo>
                  <a:lnTo>
                    <a:pt x="756" y="687"/>
                  </a:lnTo>
                  <a:lnTo>
                    <a:pt x="753" y="687"/>
                  </a:lnTo>
                  <a:lnTo>
                    <a:pt x="751" y="687"/>
                  </a:lnTo>
                  <a:lnTo>
                    <a:pt x="747" y="691"/>
                  </a:lnTo>
                  <a:lnTo>
                    <a:pt x="741" y="691"/>
                  </a:lnTo>
                  <a:lnTo>
                    <a:pt x="739" y="687"/>
                  </a:lnTo>
                  <a:lnTo>
                    <a:pt x="737" y="687"/>
                  </a:lnTo>
                  <a:lnTo>
                    <a:pt x="734" y="686"/>
                  </a:lnTo>
                  <a:lnTo>
                    <a:pt x="734" y="682"/>
                  </a:lnTo>
                  <a:lnTo>
                    <a:pt x="734" y="680"/>
                  </a:lnTo>
                  <a:lnTo>
                    <a:pt x="730" y="674"/>
                  </a:lnTo>
                  <a:lnTo>
                    <a:pt x="732" y="669"/>
                  </a:lnTo>
                  <a:lnTo>
                    <a:pt x="734" y="667"/>
                  </a:lnTo>
                  <a:lnTo>
                    <a:pt x="737" y="667"/>
                  </a:lnTo>
                  <a:lnTo>
                    <a:pt x="734" y="663"/>
                  </a:lnTo>
                  <a:lnTo>
                    <a:pt x="734" y="661"/>
                  </a:lnTo>
                  <a:lnTo>
                    <a:pt x="734" y="657"/>
                  </a:lnTo>
                  <a:lnTo>
                    <a:pt x="732" y="657"/>
                  </a:lnTo>
                  <a:lnTo>
                    <a:pt x="724" y="654"/>
                  </a:lnTo>
                  <a:lnTo>
                    <a:pt x="724" y="650"/>
                  </a:lnTo>
                  <a:lnTo>
                    <a:pt x="721" y="644"/>
                  </a:lnTo>
                  <a:lnTo>
                    <a:pt x="715" y="644"/>
                  </a:lnTo>
                  <a:lnTo>
                    <a:pt x="707" y="640"/>
                  </a:lnTo>
                  <a:lnTo>
                    <a:pt x="704" y="637"/>
                  </a:lnTo>
                  <a:lnTo>
                    <a:pt x="700" y="639"/>
                  </a:lnTo>
                  <a:lnTo>
                    <a:pt x="692" y="633"/>
                  </a:lnTo>
                  <a:lnTo>
                    <a:pt x="690" y="637"/>
                  </a:lnTo>
                  <a:lnTo>
                    <a:pt x="685" y="633"/>
                  </a:lnTo>
                  <a:lnTo>
                    <a:pt x="679" y="639"/>
                  </a:lnTo>
                  <a:lnTo>
                    <a:pt x="679" y="644"/>
                  </a:lnTo>
                  <a:lnTo>
                    <a:pt x="675" y="646"/>
                  </a:lnTo>
                  <a:lnTo>
                    <a:pt x="670" y="644"/>
                  </a:lnTo>
                  <a:lnTo>
                    <a:pt x="664" y="648"/>
                  </a:lnTo>
                  <a:lnTo>
                    <a:pt x="660" y="646"/>
                  </a:lnTo>
                  <a:lnTo>
                    <a:pt x="657" y="642"/>
                  </a:lnTo>
                  <a:lnTo>
                    <a:pt x="658" y="639"/>
                  </a:lnTo>
                  <a:lnTo>
                    <a:pt x="657" y="633"/>
                  </a:lnTo>
                  <a:lnTo>
                    <a:pt x="649" y="627"/>
                  </a:lnTo>
                  <a:lnTo>
                    <a:pt x="649" y="623"/>
                  </a:lnTo>
                  <a:lnTo>
                    <a:pt x="649" y="614"/>
                  </a:lnTo>
                  <a:lnTo>
                    <a:pt x="645" y="606"/>
                  </a:lnTo>
                  <a:lnTo>
                    <a:pt x="645" y="603"/>
                  </a:lnTo>
                  <a:lnTo>
                    <a:pt x="645" y="591"/>
                  </a:lnTo>
                  <a:lnTo>
                    <a:pt x="645" y="584"/>
                  </a:lnTo>
                  <a:lnTo>
                    <a:pt x="640" y="578"/>
                  </a:lnTo>
                  <a:lnTo>
                    <a:pt x="636" y="578"/>
                  </a:lnTo>
                  <a:lnTo>
                    <a:pt x="632" y="573"/>
                  </a:lnTo>
                  <a:lnTo>
                    <a:pt x="625" y="567"/>
                  </a:lnTo>
                  <a:lnTo>
                    <a:pt x="619" y="563"/>
                  </a:lnTo>
                  <a:lnTo>
                    <a:pt x="619" y="558"/>
                  </a:lnTo>
                  <a:lnTo>
                    <a:pt x="621" y="550"/>
                  </a:lnTo>
                  <a:lnTo>
                    <a:pt x="619" y="544"/>
                  </a:lnTo>
                  <a:lnTo>
                    <a:pt x="617" y="542"/>
                  </a:lnTo>
                  <a:lnTo>
                    <a:pt x="617" y="539"/>
                  </a:lnTo>
                  <a:lnTo>
                    <a:pt x="621" y="537"/>
                  </a:lnTo>
                  <a:lnTo>
                    <a:pt x="625" y="529"/>
                  </a:lnTo>
                  <a:lnTo>
                    <a:pt x="628" y="522"/>
                  </a:lnTo>
                  <a:lnTo>
                    <a:pt x="625" y="512"/>
                  </a:lnTo>
                  <a:lnTo>
                    <a:pt x="619" y="495"/>
                  </a:lnTo>
                  <a:lnTo>
                    <a:pt x="621" y="495"/>
                  </a:lnTo>
                  <a:lnTo>
                    <a:pt x="625" y="499"/>
                  </a:lnTo>
                  <a:lnTo>
                    <a:pt x="626" y="505"/>
                  </a:lnTo>
                  <a:lnTo>
                    <a:pt x="628" y="505"/>
                  </a:lnTo>
                  <a:lnTo>
                    <a:pt x="630" y="505"/>
                  </a:lnTo>
                  <a:lnTo>
                    <a:pt x="630" y="512"/>
                  </a:lnTo>
                  <a:lnTo>
                    <a:pt x="636" y="518"/>
                  </a:lnTo>
                  <a:lnTo>
                    <a:pt x="634" y="524"/>
                  </a:lnTo>
                  <a:lnTo>
                    <a:pt x="638" y="529"/>
                  </a:lnTo>
                  <a:lnTo>
                    <a:pt x="636" y="535"/>
                  </a:lnTo>
                  <a:lnTo>
                    <a:pt x="638" y="539"/>
                  </a:lnTo>
                  <a:lnTo>
                    <a:pt x="643" y="542"/>
                  </a:lnTo>
                  <a:lnTo>
                    <a:pt x="643" y="544"/>
                  </a:lnTo>
                  <a:lnTo>
                    <a:pt x="645" y="548"/>
                  </a:lnTo>
                  <a:lnTo>
                    <a:pt x="645" y="550"/>
                  </a:lnTo>
                  <a:lnTo>
                    <a:pt x="643" y="554"/>
                  </a:lnTo>
                  <a:lnTo>
                    <a:pt x="645" y="556"/>
                  </a:lnTo>
                  <a:lnTo>
                    <a:pt x="649" y="556"/>
                  </a:lnTo>
                  <a:lnTo>
                    <a:pt x="655" y="559"/>
                  </a:lnTo>
                  <a:lnTo>
                    <a:pt x="662" y="559"/>
                  </a:lnTo>
                  <a:lnTo>
                    <a:pt x="666" y="558"/>
                  </a:lnTo>
                  <a:lnTo>
                    <a:pt x="668" y="559"/>
                  </a:lnTo>
                  <a:lnTo>
                    <a:pt x="670" y="563"/>
                  </a:lnTo>
                  <a:lnTo>
                    <a:pt x="673" y="559"/>
                  </a:lnTo>
                  <a:lnTo>
                    <a:pt x="675" y="558"/>
                  </a:lnTo>
                  <a:lnTo>
                    <a:pt x="679" y="556"/>
                  </a:lnTo>
                  <a:lnTo>
                    <a:pt x="683" y="558"/>
                  </a:lnTo>
                  <a:lnTo>
                    <a:pt x="689" y="563"/>
                  </a:lnTo>
                  <a:lnTo>
                    <a:pt x="692" y="563"/>
                  </a:lnTo>
                  <a:lnTo>
                    <a:pt x="698" y="567"/>
                  </a:lnTo>
                  <a:lnTo>
                    <a:pt x="704" y="565"/>
                  </a:lnTo>
                  <a:lnTo>
                    <a:pt x="707" y="561"/>
                  </a:lnTo>
                  <a:lnTo>
                    <a:pt x="704" y="563"/>
                  </a:lnTo>
                  <a:lnTo>
                    <a:pt x="698" y="563"/>
                  </a:lnTo>
                  <a:lnTo>
                    <a:pt x="696" y="559"/>
                  </a:lnTo>
                  <a:lnTo>
                    <a:pt x="694" y="558"/>
                  </a:lnTo>
                  <a:lnTo>
                    <a:pt x="692" y="552"/>
                  </a:lnTo>
                  <a:lnTo>
                    <a:pt x="685" y="552"/>
                  </a:lnTo>
                  <a:lnTo>
                    <a:pt x="685" y="550"/>
                  </a:lnTo>
                  <a:lnTo>
                    <a:pt x="683" y="550"/>
                  </a:lnTo>
                  <a:lnTo>
                    <a:pt x="679" y="552"/>
                  </a:lnTo>
                  <a:lnTo>
                    <a:pt x="670" y="552"/>
                  </a:lnTo>
                  <a:lnTo>
                    <a:pt x="668" y="548"/>
                  </a:lnTo>
                  <a:lnTo>
                    <a:pt x="662" y="548"/>
                  </a:lnTo>
                  <a:lnTo>
                    <a:pt x="655" y="542"/>
                  </a:lnTo>
                  <a:lnTo>
                    <a:pt x="655" y="539"/>
                  </a:lnTo>
                  <a:lnTo>
                    <a:pt x="651" y="539"/>
                  </a:lnTo>
                  <a:lnTo>
                    <a:pt x="645" y="529"/>
                  </a:lnTo>
                  <a:lnTo>
                    <a:pt x="649" y="527"/>
                  </a:lnTo>
                  <a:lnTo>
                    <a:pt x="649" y="525"/>
                  </a:lnTo>
                  <a:lnTo>
                    <a:pt x="655" y="522"/>
                  </a:lnTo>
                  <a:lnTo>
                    <a:pt x="658" y="522"/>
                  </a:lnTo>
                  <a:lnTo>
                    <a:pt x="664" y="527"/>
                  </a:lnTo>
                  <a:lnTo>
                    <a:pt x="670" y="531"/>
                  </a:lnTo>
                  <a:lnTo>
                    <a:pt x="675" y="531"/>
                  </a:lnTo>
                  <a:lnTo>
                    <a:pt x="681" y="524"/>
                  </a:lnTo>
                  <a:lnTo>
                    <a:pt x="679" y="518"/>
                  </a:lnTo>
                  <a:lnTo>
                    <a:pt x="670" y="514"/>
                  </a:lnTo>
                  <a:lnTo>
                    <a:pt x="664" y="518"/>
                  </a:lnTo>
                  <a:lnTo>
                    <a:pt x="662" y="518"/>
                  </a:lnTo>
                  <a:lnTo>
                    <a:pt x="664" y="514"/>
                  </a:lnTo>
                  <a:lnTo>
                    <a:pt x="666" y="514"/>
                  </a:lnTo>
                  <a:lnTo>
                    <a:pt x="668" y="514"/>
                  </a:lnTo>
                  <a:lnTo>
                    <a:pt x="668" y="509"/>
                  </a:lnTo>
                  <a:lnTo>
                    <a:pt x="673" y="503"/>
                  </a:lnTo>
                  <a:lnTo>
                    <a:pt x="675" y="499"/>
                  </a:lnTo>
                  <a:lnTo>
                    <a:pt x="679" y="501"/>
                  </a:lnTo>
                  <a:lnTo>
                    <a:pt x="692" y="501"/>
                  </a:lnTo>
                  <a:lnTo>
                    <a:pt x="698" y="505"/>
                  </a:lnTo>
                  <a:lnTo>
                    <a:pt x="700" y="509"/>
                  </a:lnTo>
                  <a:lnTo>
                    <a:pt x="713" y="509"/>
                  </a:lnTo>
                  <a:lnTo>
                    <a:pt x="713" y="514"/>
                  </a:lnTo>
                  <a:lnTo>
                    <a:pt x="717" y="518"/>
                  </a:lnTo>
                  <a:lnTo>
                    <a:pt x="724" y="524"/>
                  </a:lnTo>
                  <a:lnTo>
                    <a:pt x="732" y="524"/>
                  </a:lnTo>
                  <a:lnTo>
                    <a:pt x="739" y="524"/>
                  </a:lnTo>
                  <a:lnTo>
                    <a:pt x="749" y="518"/>
                  </a:lnTo>
                  <a:lnTo>
                    <a:pt x="751" y="520"/>
                  </a:lnTo>
                  <a:lnTo>
                    <a:pt x="753" y="520"/>
                  </a:lnTo>
                  <a:lnTo>
                    <a:pt x="758" y="520"/>
                  </a:lnTo>
                  <a:lnTo>
                    <a:pt x="756" y="527"/>
                  </a:lnTo>
                  <a:lnTo>
                    <a:pt x="756" y="531"/>
                  </a:lnTo>
                  <a:lnTo>
                    <a:pt x="756" y="535"/>
                  </a:lnTo>
                  <a:lnTo>
                    <a:pt x="751" y="539"/>
                  </a:lnTo>
                  <a:lnTo>
                    <a:pt x="751" y="542"/>
                  </a:lnTo>
                  <a:lnTo>
                    <a:pt x="754" y="548"/>
                  </a:lnTo>
                  <a:lnTo>
                    <a:pt x="754" y="552"/>
                  </a:lnTo>
                  <a:lnTo>
                    <a:pt x="758" y="558"/>
                  </a:lnTo>
                  <a:lnTo>
                    <a:pt x="758" y="561"/>
                  </a:lnTo>
                  <a:lnTo>
                    <a:pt x="758" y="565"/>
                  </a:lnTo>
                  <a:lnTo>
                    <a:pt x="758" y="576"/>
                  </a:lnTo>
                  <a:lnTo>
                    <a:pt x="762" y="576"/>
                  </a:lnTo>
                  <a:lnTo>
                    <a:pt x="762" y="573"/>
                  </a:lnTo>
                  <a:lnTo>
                    <a:pt x="762" y="569"/>
                  </a:lnTo>
                  <a:lnTo>
                    <a:pt x="762" y="567"/>
                  </a:lnTo>
                  <a:lnTo>
                    <a:pt x="762" y="563"/>
                  </a:lnTo>
                  <a:lnTo>
                    <a:pt x="768" y="561"/>
                  </a:lnTo>
                  <a:lnTo>
                    <a:pt x="768" y="556"/>
                  </a:lnTo>
                  <a:lnTo>
                    <a:pt x="771" y="558"/>
                  </a:lnTo>
                  <a:lnTo>
                    <a:pt x="773" y="565"/>
                  </a:lnTo>
                  <a:lnTo>
                    <a:pt x="773" y="573"/>
                  </a:lnTo>
                  <a:lnTo>
                    <a:pt x="775" y="574"/>
                  </a:lnTo>
                  <a:lnTo>
                    <a:pt x="771" y="576"/>
                  </a:lnTo>
                  <a:lnTo>
                    <a:pt x="771" y="582"/>
                  </a:lnTo>
                  <a:lnTo>
                    <a:pt x="769" y="582"/>
                  </a:lnTo>
                  <a:lnTo>
                    <a:pt x="777" y="588"/>
                  </a:lnTo>
                  <a:lnTo>
                    <a:pt x="783" y="588"/>
                  </a:lnTo>
                  <a:lnTo>
                    <a:pt x="788" y="590"/>
                  </a:lnTo>
                  <a:lnTo>
                    <a:pt x="792" y="593"/>
                  </a:lnTo>
                  <a:lnTo>
                    <a:pt x="792" y="597"/>
                  </a:lnTo>
                  <a:lnTo>
                    <a:pt x="796" y="599"/>
                  </a:lnTo>
                  <a:lnTo>
                    <a:pt x="803" y="599"/>
                  </a:lnTo>
                  <a:lnTo>
                    <a:pt x="811" y="608"/>
                  </a:lnTo>
                  <a:lnTo>
                    <a:pt x="811" y="606"/>
                  </a:lnTo>
                  <a:lnTo>
                    <a:pt x="811" y="599"/>
                  </a:lnTo>
                  <a:lnTo>
                    <a:pt x="817" y="595"/>
                  </a:lnTo>
                  <a:lnTo>
                    <a:pt x="818" y="595"/>
                  </a:lnTo>
                  <a:lnTo>
                    <a:pt x="828" y="599"/>
                  </a:lnTo>
                  <a:lnTo>
                    <a:pt x="833" y="599"/>
                  </a:lnTo>
                  <a:lnTo>
                    <a:pt x="837" y="603"/>
                  </a:lnTo>
                  <a:lnTo>
                    <a:pt x="837" y="612"/>
                  </a:lnTo>
                  <a:lnTo>
                    <a:pt x="837" y="603"/>
                  </a:lnTo>
                  <a:lnTo>
                    <a:pt x="835" y="599"/>
                  </a:lnTo>
                  <a:lnTo>
                    <a:pt x="832" y="599"/>
                  </a:lnTo>
                  <a:lnTo>
                    <a:pt x="826" y="597"/>
                  </a:lnTo>
                  <a:lnTo>
                    <a:pt x="818" y="593"/>
                  </a:lnTo>
                  <a:lnTo>
                    <a:pt x="813" y="593"/>
                  </a:lnTo>
                  <a:lnTo>
                    <a:pt x="809" y="599"/>
                  </a:lnTo>
                  <a:lnTo>
                    <a:pt x="805" y="597"/>
                  </a:lnTo>
                  <a:lnTo>
                    <a:pt x="805" y="599"/>
                  </a:lnTo>
                  <a:lnTo>
                    <a:pt x="798" y="595"/>
                  </a:lnTo>
                  <a:lnTo>
                    <a:pt x="792" y="588"/>
                  </a:lnTo>
                  <a:lnTo>
                    <a:pt x="788" y="586"/>
                  </a:lnTo>
                  <a:lnTo>
                    <a:pt x="781" y="584"/>
                  </a:lnTo>
                  <a:lnTo>
                    <a:pt x="777" y="578"/>
                  </a:lnTo>
                  <a:lnTo>
                    <a:pt x="781" y="582"/>
                  </a:lnTo>
                  <a:lnTo>
                    <a:pt x="783" y="582"/>
                  </a:lnTo>
                  <a:lnTo>
                    <a:pt x="788" y="573"/>
                  </a:lnTo>
                  <a:lnTo>
                    <a:pt x="786" y="569"/>
                  </a:lnTo>
                  <a:lnTo>
                    <a:pt x="781" y="563"/>
                  </a:lnTo>
                  <a:lnTo>
                    <a:pt x="779" y="556"/>
                  </a:lnTo>
                  <a:lnTo>
                    <a:pt x="773" y="548"/>
                  </a:lnTo>
                  <a:lnTo>
                    <a:pt x="768" y="542"/>
                  </a:lnTo>
                  <a:lnTo>
                    <a:pt x="764" y="539"/>
                  </a:lnTo>
                  <a:lnTo>
                    <a:pt x="768" y="535"/>
                  </a:lnTo>
                  <a:lnTo>
                    <a:pt x="764" y="531"/>
                  </a:lnTo>
                  <a:lnTo>
                    <a:pt x="762" y="522"/>
                  </a:lnTo>
                  <a:lnTo>
                    <a:pt x="758" y="518"/>
                  </a:lnTo>
                  <a:lnTo>
                    <a:pt x="758" y="518"/>
                  </a:lnTo>
                  <a:lnTo>
                    <a:pt x="751" y="514"/>
                  </a:lnTo>
                  <a:lnTo>
                    <a:pt x="741" y="512"/>
                  </a:lnTo>
                  <a:lnTo>
                    <a:pt x="737" y="509"/>
                  </a:lnTo>
                  <a:lnTo>
                    <a:pt x="734" y="505"/>
                  </a:lnTo>
                  <a:lnTo>
                    <a:pt x="734" y="499"/>
                  </a:lnTo>
                  <a:lnTo>
                    <a:pt x="732" y="495"/>
                  </a:lnTo>
                  <a:lnTo>
                    <a:pt x="732" y="493"/>
                  </a:lnTo>
                  <a:lnTo>
                    <a:pt x="728" y="495"/>
                  </a:lnTo>
                  <a:lnTo>
                    <a:pt x="713" y="495"/>
                  </a:lnTo>
                  <a:lnTo>
                    <a:pt x="709" y="495"/>
                  </a:lnTo>
                  <a:lnTo>
                    <a:pt x="704" y="492"/>
                  </a:lnTo>
                  <a:lnTo>
                    <a:pt x="704" y="488"/>
                  </a:lnTo>
                  <a:lnTo>
                    <a:pt x="704" y="488"/>
                  </a:lnTo>
                  <a:lnTo>
                    <a:pt x="700" y="484"/>
                  </a:lnTo>
                  <a:lnTo>
                    <a:pt x="700" y="478"/>
                  </a:lnTo>
                  <a:lnTo>
                    <a:pt x="696" y="469"/>
                  </a:lnTo>
                  <a:lnTo>
                    <a:pt x="689" y="465"/>
                  </a:lnTo>
                  <a:lnTo>
                    <a:pt x="690" y="463"/>
                  </a:lnTo>
                  <a:lnTo>
                    <a:pt x="690" y="460"/>
                  </a:lnTo>
                  <a:lnTo>
                    <a:pt x="687" y="460"/>
                  </a:lnTo>
                  <a:lnTo>
                    <a:pt x="685" y="458"/>
                  </a:lnTo>
                  <a:lnTo>
                    <a:pt x="685" y="454"/>
                  </a:lnTo>
                  <a:lnTo>
                    <a:pt x="687" y="450"/>
                  </a:lnTo>
                  <a:lnTo>
                    <a:pt x="681" y="446"/>
                  </a:lnTo>
                  <a:lnTo>
                    <a:pt x="685" y="444"/>
                  </a:lnTo>
                  <a:lnTo>
                    <a:pt x="690" y="444"/>
                  </a:lnTo>
                  <a:lnTo>
                    <a:pt x="694" y="441"/>
                  </a:lnTo>
                  <a:lnTo>
                    <a:pt x="700" y="441"/>
                  </a:lnTo>
                  <a:lnTo>
                    <a:pt x="707" y="437"/>
                  </a:lnTo>
                  <a:lnTo>
                    <a:pt x="722" y="431"/>
                  </a:lnTo>
                  <a:lnTo>
                    <a:pt x="728" y="429"/>
                  </a:lnTo>
                  <a:lnTo>
                    <a:pt x="734" y="426"/>
                  </a:lnTo>
                  <a:lnTo>
                    <a:pt x="737" y="429"/>
                  </a:lnTo>
                  <a:lnTo>
                    <a:pt x="741" y="426"/>
                  </a:lnTo>
                  <a:lnTo>
                    <a:pt x="743" y="420"/>
                  </a:lnTo>
                  <a:lnTo>
                    <a:pt x="751" y="420"/>
                  </a:lnTo>
                  <a:lnTo>
                    <a:pt x="762" y="414"/>
                  </a:lnTo>
                  <a:lnTo>
                    <a:pt x="764" y="416"/>
                  </a:lnTo>
                  <a:lnTo>
                    <a:pt x="762" y="420"/>
                  </a:lnTo>
                  <a:lnTo>
                    <a:pt x="762" y="424"/>
                  </a:lnTo>
                  <a:lnTo>
                    <a:pt x="758" y="424"/>
                  </a:lnTo>
                  <a:lnTo>
                    <a:pt x="756" y="431"/>
                  </a:lnTo>
                  <a:lnTo>
                    <a:pt x="756" y="435"/>
                  </a:lnTo>
                  <a:lnTo>
                    <a:pt x="762" y="443"/>
                  </a:lnTo>
                  <a:lnTo>
                    <a:pt x="769" y="443"/>
                  </a:lnTo>
                  <a:lnTo>
                    <a:pt x="768" y="441"/>
                  </a:lnTo>
                  <a:lnTo>
                    <a:pt x="758" y="433"/>
                  </a:lnTo>
                  <a:lnTo>
                    <a:pt x="758" y="431"/>
                  </a:lnTo>
                  <a:lnTo>
                    <a:pt x="762" y="426"/>
                  </a:lnTo>
                  <a:lnTo>
                    <a:pt x="769" y="424"/>
                  </a:lnTo>
                  <a:lnTo>
                    <a:pt x="773" y="416"/>
                  </a:lnTo>
                  <a:lnTo>
                    <a:pt x="769" y="411"/>
                  </a:lnTo>
                  <a:lnTo>
                    <a:pt x="768" y="411"/>
                  </a:lnTo>
                  <a:lnTo>
                    <a:pt x="762" y="407"/>
                  </a:lnTo>
                  <a:lnTo>
                    <a:pt x="762" y="403"/>
                  </a:lnTo>
                  <a:lnTo>
                    <a:pt x="756" y="403"/>
                  </a:lnTo>
                  <a:lnTo>
                    <a:pt x="754" y="405"/>
                  </a:lnTo>
                  <a:lnTo>
                    <a:pt x="753" y="403"/>
                  </a:lnTo>
                  <a:lnTo>
                    <a:pt x="751" y="399"/>
                  </a:lnTo>
                  <a:lnTo>
                    <a:pt x="743" y="399"/>
                  </a:lnTo>
                  <a:lnTo>
                    <a:pt x="741" y="399"/>
                  </a:lnTo>
                  <a:lnTo>
                    <a:pt x="737" y="396"/>
                  </a:lnTo>
                  <a:lnTo>
                    <a:pt x="737" y="394"/>
                  </a:lnTo>
                  <a:lnTo>
                    <a:pt x="737" y="390"/>
                  </a:lnTo>
                  <a:lnTo>
                    <a:pt x="741" y="390"/>
                  </a:lnTo>
                  <a:lnTo>
                    <a:pt x="745" y="394"/>
                  </a:lnTo>
                  <a:lnTo>
                    <a:pt x="749" y="394"/>
                  </a:lnTo>
                  <a:lnTo>
                    <a:pt x="753" y="390"/>
                  </a:lnTo>
                  <a:lnTo>
                    <a:pt x="751" y="390"/>
                  </a:lnTo>
                  <a:lnTo>
                    <a:pt x="749" y="390"/>
                  </a:lnTo>
                  <a:lnTo>
                    <a:pt x="745" y="390"/>
                  </a:lnTo>
                  <a:lnTo>
                    <a:pt x="741" y="386"/>
                  </a:lnTo>
                  <a:lnTo>
                    <a:pt x="741" y="384"/>
                  </a:lnTo>
                  <a:lnTo>
                    <a:pt x="737" y="384"/>
                  </a:lnTo>
                  <a:lnTo>
                    <a:pt x="732" y="382"/>
                  </a:lnTo>
                  <a:lnTo>
                    <a:pt x="728" y="384"/>
                  </a:lnTo>
                  <a:lnTo>
                    <a:pt x="724" y="380"/>
                  </a:lnTo>
                  <a:lnTo>
                    <a:pt x="728" y="377"/>
                  </a:lnTo>
                  <a:lnTo>
                    <a:pt x="728" y="373"/>
                  </a:lnTo>
                  <a:lnTo>
                    <a:pt x="724" y="371"/>
                  </a:lnTo>
                  <a:lnTo>
                    <a:pt x="724" y="369"/>
                  </a:lnTo>
                  <a:lnTo>
                    <a:pt x="728" y="371"/>
                  </a:lnTo>
                  <a:lnTo>
                    <a:pt x="734" y="377"/>
                  </a:lnTo>
                  <a:lnTo>
                    <a:pt x="737" y="375"/>
                  </a:lnTo>
                  <a:lnTo>
                    <a:pt x="739" y="380"/>
                  </a:lnTo>
                  <a:lnTo>
                    <a:pt x="739" y="377"/>
                  </a:lnTo>
                  <a:lnTo>
                    <a:pt x="739" y="375"/>
                  </a:lnTo>
                  <a:lnTo>
                    <a:pt x="743" y="373"/>
                  </a:lnTo>
                  <a:lnTo>
                    <a:pt x="743" y="365"/>
                  </a:lnTo>
                  <a:lnTo>
                    <a:pt x="741" y="362"/>
                  </a:lnTo>
                  <a:lnTo>
                    <a:pt x="741" y="362"/>
                  </a:lnTo>
                  <a:lnTo>
                    <a:pt x="745" y="362"/>
                  </a:lnTo>
                  <a:lnTo>
                    <a:pt x="747" y="360"/>
                  </a:lnTo>
                  <a:lnTo>
                    <a:pt x="737" y="356"/>
                  </a:lnTo>
                  <a:lnTo>
                    <a:pt x="737" y="360"/>
                  </a:lnTo>
                  <a:lnTo>
                    <a:pt x="734" y="360"/>
                  </a:lnTo>
                  <a:lnTo>
                    <a:pt x="734" y="356"/>
                  </a:lnTo>
                  <a:lnTo>
                    <a:pt x="737" y="354"/>
                  </a:lnTo>
                  <a:lnTo>
                    <a:pt x="743" y="352"/>
                  </a:lnTo>
                  <a:lnTo>
                    <a:pt x="749" y="352"/>
                  </a:lnTo>
                  <a:lnTo>
                    <a:pt x="749" y="348"/>
                  </a:lnTo>
                  <a:lnTo>
                    <a:pt x="753" y="343"/>
                  </a:lnTo>
                  <a:lnTo>
                    <a:pt x="753" y="339"/>
                  </a:lnTo>
                  <a:lnTo>
                    <a:pt x="753" y="339"/>
                  </a:lnTo>
                  <a:lnTo>
                    <a:pt x="753" y="337"/>
                  </a:lnTo>
                  <a:lnTo>
                    <a:pt x="756" y="331"/>
                  </a:lnTo>
                  <a:lnTo>
                    <a:pt x="758" y="331"/>
                  </a:lnTo>
                  <a:lnTo>
                    <a:pt x="758" y="335"/>
                  </a:lnTo>
                  <a:lnTo>
                    <a:pt x="762" y="335"/>
                  </a:lnTo>
                  <a:lnTo>
                    <a:pt x="762" y="331"/>
                  </a:lnTo>
                  <a:lnTo>
                    <a:pt x="762" y="331"/>
                  </a:lnTo>
                  <a:lnTo>
                    <a:pt x="762" y="328"/>
                  </a:lnTo>
                  <a:lnTo>
                    <a:pt x="762" y="326"/>
                  </a:lnTo>
                  <a:lnTo>
                    <a:pt x="768" y="324"/>
                  </a:lnTo>
                  <a:lnTo>
                    <a:pt x="769" y="322"/>
                  </a:lnTo>
                  <a:lnTo>
                    <a:pt x="769" y="318"/>
                  </a:lnTo>
                  <a:lnTo>
                    <a:pt x="773" y="318"/>
                  </a:lnTo>
                  <a:lnTo>
                    <a:pt x="775" y="320"/>
                  </a:lnTo>
                  <a:lnTo>
                    <a:pt x="783" y="318"/>
                  </a:lnTo>
                  <a:lnTo>
                    <a:pt x="781" y="316"/>
                  </a:lnTo>
                  <a:lnTo>
                    <a:pt x="781" y="313"/>
                  </a:lnTo>
                  <a:lnTo>
                    <a:pt x="788" y="311"/>
                  </a:lnTo>
                  <a:lnTo>
                    <a:pt x="794" y="311"/>
                  </a:lnTo>
                  <a:lnTo>
                    <a:pt x="796" y="305"/>
                  </a:lnTo>
                  <a:lnTo>
                    <a:pt x="807" y="301"/>
                  </a:lnTo>
                  <a:lnTo>
                    <a:pt x="807" y="298"/>
                  </a:lnTo>
                  <a:lnTo>
                    <a:pt x="805" y="298"/>
                  </a:lnTo>
                  <a:lnTo>
                    <a:pt x="798" y="301"/>
                  </a:lnTo>
                  <a:lnTo>
                    <a:pt x="796" y="299"/>
                  </a:lnTo>
                  <a:lnTo>
                    <a:pt x="792" y="301"/>
                  </a:lnTo>
                  <a:lnTo>
                    <a:pt x="788" y="301"/>
                  </a:lnTo>
                  <a:lnTo>
                    <a:pt x="788" y="292"/>
                  </a:lnTo>
                  <a:lnTo>
                    <a:pt x="792" y="292"/>
                  </a:lnTo>
                  <a:lnTo>
                    <a:pt x="792" y="288"/>
                  </a:lnTo>
                  <a:lnTo>
                    <a:pt x="794" y="288"/>
                  </a:lnTo>
                  <a:lnTo>
                    <a:pt x="796" y="290"/>
                  </a:lnTo>
                  <a:lnTo>
                    <a:pt x="796" y="290"/>
                  </a:lnTo>
                  <a:lnTo>
                    <a:pt x="800" y="288"/>
                  </a:lnTo>
                  <a:lnTo>
                    <a:pt x="794" y="284"/>
                  </a:lnTo>
                  <a:lnTo>
                    <a:pt x="800" y="282"/>
                  </a:lnTo>
                  <a:lnTo>
                    <a:pt x="803" y="284"/>
                  </a:lnTo>
                  <a:lnTo>
                    <a:pt x="807" y="286"/>
                  </a:lnTo>
                  <a:lnTo>
                    <a:pt x="813" y="282"/>
                  </a:lnTo>
                  <a:lnTo>
                    <a:pt x="817" y="282"/>
                  </a:lnTo>
                  <a:lnTo>
                    <a:pt x="826" y="281"/>
                  </a:lnTo>
                  <a:lnTo>
                    <a:pt x="830" y="281"/>
                  </a:lnTo>
                  <a:lnTo>
                    <a:pt x="832" y="282"/>
                  </a:lnTo>
                  <a:lnTo>
                    <a:pt x="826" y="292"/>
                  </a:lnTo>
                  <a:lnTo>
                    <a:pt x="826" y="296"/>
                  </a:lnTo>
                  <a:lnTo>
                    <a:pt x="832" y="298"/>
                  </a:lnTo>
                  <a:lnTo>
                    <a:pt x="832" y="292"/>
                  </a:lnTo>
                  <a:lnTo>
                    <a:pt x="835" y="286"/>
                  </a:lnTo>
                  <a:lnTo>
                    <a:pt x="835" y="282"/>
                  </a:lnTo>
                  <a:lnTo>
                    <a:pt x="835" y="281"/>
                  </a:lnTo>
                  <a:lnTo>
                    <a:pt x="837" y="284"/>
                  </a:lnTo>
                  <a:lnTo>
                    <a:pt x="837" y="290"/>
                  </a:lnTo>
                  <a:lnTo>
                    <a:pt x="841" y="290"/>
                  </a:lnTo>
                  <a:lnTo>
                    <a:pt x="843" y="286"/>
                  </a:lnTo>
                  <a:lnTo>
                    <a:pt x="841" y="282"/>
                  </a:lnTo>
                  <a:lnTo>
                    <a:pt x="847" y="281"/>
                  </a:lnTo>
                  <a:lnTo>
                    <a:pt x="847" y="281"/>
                  </a:lnTo>
                  <a:lnTo>
                    <a:pt x="847" y="284"/>
                  </a:lnTo>
                  <a:lnTo>
                    <a:pt x="852" y="281"/>
                  </a:lnTo>
                  <a:lnTo>
                    <a:pt x="852" y="277"/>
                  </a:lnTo>
                  <a:lnTo>
                    <a:pt x="850" y="277"/>
                  </a:lnTo>
                  <a:lnTo>
                    <a:pt x="854" y="277"/>
                  </a:lnTo>
                  <a:lnTo>
                    <a:pt x="856" y="273"/>
                  </a:lnTo>
                  <a:lnTo>
                    <a:pt x="852" y="271"/>
                  </a:lnTo>
                  <a:lnTo>
                    <a:pt x="858" y="267"/>
                  </a:lnTo>
                  <a:lnTo>
                    <a:pt x="862" y="267"/>
                  </a:lnTo>
                  <a:lnTo>
                    <a:pt x="865" y="266"/>
                  </a:lnTo>
                  <a:lnTo>
                    <a:pt x="867" y="267"/>
                  </a:lnTo>
                  <a:lnTo>
                    <a:pt x="867" y="267"/>
                  </a:lnTo>
                  <a:lnTo>
                    <a:pt x="867" y="271"/>
                  </a:lnTo>
                  <a:lnTo>
                    <a:pt x="875" y="271"/>
                  </a:lnTo>
                  <a:lnTo>
                    <a:pt x="875" y="277"/>
                  </a:lnTo>
                  <a:lnTo>
                    <a:pt x="877" y="277"/>
                  </a:lnTo>
                  <a:lnTo>
                    <a:pt x="875" y="286"/>
                  </a:lnTo>
                  <a:lnTo>
                    <a:pt x="879" y="282"/>
                  </a:lnTo>
                  <a:lnTo>
                    <a:pt x="882" y="277"/>
                  </a:lnTo>
                  <a:lnTo>
                    <a:pt x="879" y="267"/>
                  </a:lnTo>
                  <a:lnTo>
                    <a:pt x="875" y="266"/>
                  </a:lnTo>
                  <a:lnTo>
                    <a:pt x="871" y="260"/>
                  </a:lnTo>
                  <a:lnTo>
                    <a:pt x="867" y="264"/>
                  </a:lnTo>
                  <a:lnTo>
                    <a:pt x="865" y="262"/>
                  </a:lnTo>
                  <a:lnTo>
                    <a:pt x="860" y="262"/>
                  </a:lnTo>
                  <a:lnTo>
                    <a:pt x="860" y="260"/>
                  </a:lnTo>
                  <a:lnTo>
                    <a:pt x="854" y="258"/>
                  </a:lnTo>
                  <a:lnTo>
                    <a:pt x="854" y="256"/>
                  </a:lnTo>
                  <a:lnTo>
                    <a:pt x="858" y="252"/>
                  </a:lnTo>
                  <a:lnTo>
                    <a:pt x="865" y="252"/>
                  </a:lnTo>
                  <a:lnTo>
                    <a:pt x="867" y="250"/>
                  </a:lnTo>
                  <a:lnTo>
                    <a:pt x="871" y="250"/>
                  </a:lnTo>
                  <a:lnTo>
                    <a:pt x="875" y="250"/>
                  </a:lnTo>
                  <a:lnTo>
                    <a:pt x="877" y="250"/>
                  </a:lnTo>
                  <a:lnTo>
                    <a:pt x="881" y="250"/>
                  </a:lnTo>
                  <a:lnTo>
                    <a:pt x="888" y="247"/>
                  </a:lnTo>
                  <a:lnTo>
                    <a:pt x="894" y="250"/>
                  </a:lnTo>
                  <a:lnTo>
                    <a:pt x="896" y="250"/>
                  </a:lnTo>
                  <a:lnTo>
                    <a:pt x="899" y="250"/>
                  </a:lnTo>
                  <a:lnTo>
                    <a:pt x="901" y="249"/>
                  </a:lnTo>
                  <a:lnTo>
                    <a:pt x="901" y="247"/>
                  </a:lnTo>
                  <a:lnTo>
                    <a:pt x="896" y="247"/>
                  </a:lnTo>
                  <a:lnTo>
                    <a:pt x="890" y="243"/>
                  </a:lnTo>
                  <a:lnTo>
                    <a:pt x="884" y="247"/>
                  </a:lnTo>
                  <a:lnTo>
                    <a:pt x="877" y="243"/>
                  </a:lnTo>
                  <a:lnTo>
                    <a:pt x="877" y="241"/>
                  </a:lnTo>
                  <a:lnTo>
                    <a:pt x="875" y="237"/>
                  </a:lnTo>
                  <a:lnTo>
                    <a:pt x="881" y="234"/>
                  </a:lnTo>
                  <a:lnTo>
                    <a:pt x="877" y="234"/>
                  </a:lnTo>
                  <a:lnTo>
                    <a:pt x="871" y="228"/>
                  </a:lnTo>
                  <a:lnTo>
                    <a:pt x="867" y="228"/>
                  </a:lnTo>
                  <a:lnTo>
                    <a:pt x="865" y="222"/>
                  </a:lnTo>
                  <a:lnTo>
                    <a:pt x="865" y="218"/>
                  </a:lnTo>
                  <a:lnTo>
                    <a:pt x="867" y="218"/>
                  </a:lnTo>
                  <a:lnTo>
                    <a:pt x="867" y="213"/>
                  </a:lnTo>
                  <a:lnTo>
                    <a:pt x="864" y="211"/>
                  </a:lnTo>
                  <a:lnTo>
                    <a:pt x="865" y="192"/>
                  </a:lnTo>
                  <a:lnTo>
                    <a:pt x="867" y="188"/>
                  </a:lnTo>
                  <a:lnTo>
                    <a:pt x="867" y="183"/>
                  </a:lnTo>
                  <a:lnTo>
                    <a:pt x="867" y="179"/>
                  </a:lnTo>
                  <a:lnTo>
                    <a:pt x="871" y="173"/>
                  </a:lnTo>
                  <a:lnTo>
                    <a:pt x="867" y="171"/>
                  </a:lnTo>
                  <a:lnTo>
                    <a:pt x="871" y="169"/>
                  </a:lnTo>
                  <a:lnTo>
                    <a:pt x="871" y="166"/>
                  </a:lnTo>
                  <a:lnTo>
                    <a:pt x="877" y="162"/>
                  </a:lnTo>
                  <a:lnTo>
                    <a:pt x="881" y="162"/>
                  </a:lnTo>
                  <a:lnTo>
                    <a:pt x="884" y="168"/>
                  </a:lnTo>
                  <a:lnTo>
                    <a:pt x="888" y="164"/>
                  </a:lnTo>
                  <a:lnTo>
                    <a:pt x="892" y="164"/>
                  </a:lnTo>
                  <a:lnTo>
                    <a:pt x="894" y="169"/>
                  </a:lnTo>
                  <a:lnTo>
                    <a:pt x="899" y="169"/>
                  </a:lnTo>
                  <a:lnTo>
                    <a:pt x="905" y="166"/>
                  </a:lnTo>
                  <a:lnTo>
                    <a:pt x="905" y="166"/>
                  </a:lnTo>
                  <a:lnTo>
                    <a:pt x="905" y="171"/>
                  </a:lnTo>
                  <a:lnTo>
                    <a:pt x="907" y="173"/>
                  </a:lnTo>
                  <a:lnTo>
                    <a:pt x="913" y="173"/>
                  </a:lnTo>
                  <a:lnTo>
                    <a:pt x="913" y="177"/>
                  </a:lnTo>
                  <a:lnTo>
                    <a:pt x="909" y="179"/>
                  </a:lnTo>
                  <a:lnTo>
                    <a:pt x="909" y="179"/>
                  </a:lnTo>
                  <a:lnTo>
                    <a:pt x="907" y="183"/>
                  </a:lnTo>
                  <a:lnTo>
                    <a:pt x="909" y="186"/>
                  </a:lnTo>
                  <a:lnTo>
                    <a:pt x="905" y="192"/>
                  </a:lnTo>
                  <a:lnTo>
                    <a:pt x="901" y="194"/>
                  </a:lnTo>
                  <a:lnTo>
                    <a:pt x="899" y="200"/>
                  </a:lnTo>
                  <a:lnTo>
                    <a:pt x="901" y="200"/>
                  </a:lnTo>
                  <a:lnTo>
                    <a:pt x="909" y="196"/>
                  </a:lnTo>
                  <a:lnTo>
                    <a:pt x="914" y="186"/>
                  </a:lnTo>
                  <a:lnTo>
                    <a:pt x="918" y="188"/>
                  </a:lnTo>
                  <a:lnTo>
                    <a:pt x="918" y="190"/>
                  </a:lnTo>
                  <a:lnTo>
                    <a:pt x="914" y="194"/>
                  </a:lnTo>
                  <a:lnTo>
                    <a:pt x="916" y="198"/>
                  </a:lnTo>
                  <a:lnTo>
                    <a:pt x="920" y="198"/>
                  </a:lnTo>
                  <a:lnTo>
                    <a:pt x="922" y="192"/>
                  </a:lnTo>
                  <a:lnTo>
                    <a:pt x="926" y="190"/>
                  </a:lnTo>
                  <a:lnTo>
                    <a:pt x="929" y="192"/>
                  </a:lnTo>
                  <a:lnTo>
                    <a:pt x="931" y="190"/>
                  </a:lnTo>
                  <a:lnTo>
                    <a:pt x="933" y="186"/>
                  </a:lnTo>
                  <a:lnTo>
                    <a:pt x="935" y="186"/>
                  </a:lnTo>
                  <a:lnTo>
                    <a:pt x="937" y="188"/>
                  </a:lnTo>
                  <a:lnTo>
                    <a:pt x="941" y="186"/>
                  </a:lnTo>
                  <a:lnTo>
                    <a:pt x="946" y="192"/>
                  </a:lnTo>
                  <a:lnTo>
                    <a:pt x="946" y="196"/>
                  </a:lnTo>
                  <a:lnTo>
                    <a:pt x="948" y="201"/>
                  </a:lnTo>
                  <a:lnTo>
                    <a:pt x="946" y="203"/>
                  </a:lnTo>
                  <a:lnTo>
                    <a:pt x="946" y="207"/>
                  </a:lnTo>
                  <a:lnTo>
                    <a:pt x="945" y="213"/>
                  </a:lnTo>
                  <a:lnTo>
                    <a:pt x="948" y="218"/>
                  </a:lnTo>
                  <a:lnTo>
                    <a:pt x="948" y="224"/>
                  </a:lnTo>
                  <a:lnTo>
                    <a:pt x="945" y="224"/>
                  </a:lnTo>
                  <a:lnTo>
                    <a:pt x="943" y="228"/>
                  </a:lnTo>
                  <a:lnTo>
                    <a:pt x="945" y="228"/>
                  </a:lnTo>
                  <a:lnTo>
                    <a:pt x="950" y="226"/>
                  </a:lnTo>
                  <a:lnTo>
                    <a:pt x="954" y="222"/>
                  </a:lnTo>
                  <a:lnTo>
                    <a:pt x="963" y="222"/>
                  </a:lnTo>
                  <a:lnTo>
                    <a:pt x="963" y="217"/>
                  </a:lnTo>
                  <a:lnTo>
                    <a:pt x="963" y="211"/>
                  </a:lnTo>
                  <a:lnTo>
                    <a:pt x="963" y="205"/>
                  </a:lnTo>
                  <a:lnTo>
                    <a:pt x="960" y="205"/>
                  </a:lnTo>
                  <a:lnTo>
                    <a:pt x="956" y="205"/>
                  </a:lnTo>
                  <a:lnTo>
                    <a:pt x="956" y="201"/>
                  </a:lnTo>
                  <a:lnTo>
                    <a:pt x="960" y="200"/>
                  </a:lnTo>
                  <a:lnTo>
                    <a:pt x="960" y="200"/>
                  </a:lnTo>
                  <a:lnTo>
                    <a:pt x="963" y="201"/>
                  </a:lnTo>
                  <a:lnTo>
                    <a:pt x="965" y="200"/>
                  </a:lnTo>
                  <a:lnTo>
                    <a:pt x="971" y="198"/>
                  </a:lnTo>
                  <a:lnTo>
                    <a:pt x="977" y="192"/>
                  </a:lnTo>
                  <a:lnTo>
                    <a:pt x="978" y="194"/>
                  </a:lnTo>
                  <a:lnTo>
                    <a:pt x="984" y="194"/>
                  </a:lnTo>
                  <a:lnTo>
                    <a:pt x="984" y="190"/>
                  </a:lnTo>
                  <a:lnTo>
                    <a:pt x="988" y="186"/>
                  </a:lnTo>
                  <a:lnTo>
                    <a:pt x="990" y="186"/>
                  </a:lnTo>
                  <a:lnTo>
                    <a:pt x="992" y="186"/>
                  </a:lnTo>
                  <a:lnTo>
                    <a:pt x="995" y="183"/>
                  </a:lnTo>
                  <a:lnTo>
                    <a:pt x="997" y="186"/>
                  </a:lnTo>
                  <a:lnTo>
                    <a:pt x="1001" y="186"/>
                  </a:lnTo>
                  <a:lnTo>
                    <a:pt x="1003" y="186"/>
                  </a:lnTo>
                  <a:lnTo>
                    <a:pt x="1001" y="188"/>
                  </a:lnTo>
                  <a:lnTo>
                    <a:pt x="1001" y="192"/>
                  </a:lnTo>
                  <a:lnTo>
                    <a:pt x="1009" y="190"/>
                  </a:lnTo>
                  <a:lnTo>
                    <a:pt x="1012" y="192"/>
                  </a:lnTo>
                  <a:lnTo>
                    <a:pt x="1014" y="194"/>
                  </a:lnTo>
                  <a:lnTo>
                    <a:pt x="1027" y="201"/>
                  </a:lnTo>
                  <a:lnTo>
                    <a:pt x="1029" y="203"/>
                  </a:lnTo>
                  <a:lnTo>
                    <a:pt x="1033" y="207"/>
                  </a:lnTo>
                  <a:lnTo>
                    <a:pt x="1033" y="207"/>
                  </a:lnTo>
                  <a:lnTo>
                    <a:pt x="1039" y="217"/>
                  </a:lnTo>
                  <a:lnTo>
                    <a:pt x="1042" y="217"/>
                  </a:lnTo>
                  <a:lnTo>
                    <a:pt x="1042" y="213"/>
                  </a:lnTo>
                  <a:lnTo>
                    <a:pt x="1042" y="213"/>
                  </a:lnTo>
                  <a:lnTo>
                    <a:pt x="1042" y="211"/>
                  </a:lnTo>
                  <a:lnTo>
                    <a:pt x="1042" y="207"/>
                  </a:lnTo>
                  <a:lnTo>
                    <a:pt x="1039" y="207"/>
                  </a:lnTo>
                  <a:lnTo>
                    <a:pt x="1039" y="205"/>
                  </a:lnTo>
                  <a:lnTo>
                    <a:pt x="1042" y="203"/>
                  </a:lnTo>
                  <a:lnTo>
                    <a:pt x="1042" y="203"/>
                  </a:lnTo>
                  <a:lnTo>
                    <a:pt x="1044" y="205"/>
                  </a:lnTo>
                  <a:lnTo>
                    <a:pt x="1048" y="207"/>
                  </a:lnTo>
                  <a:lnTo>
                    <a:pt x="1048" y="211"/>
                  </a:lnTo>
                  <a:lnTo>
                    <a:pt x="1054" y="217"/>
                  </a:lnTo>
                  <a:lnTo>
                    <a:pt x="1054" y="218"/>
                  </a:lnTo>
                  <a:lnTo>
                    <a:pt x="1057" y="220"/>
                  </a:lnTo>
                  <a:lnTo>
                    <a:pt x="1059" y="218"/>
                  </a:lnTo>
                  <a:lnTo>
                    <a:pt x="1061" y="218"/>
                  </a:lnTo>
                  <a:lnTo>
                    <a:pt x="1063" y="220"/>
                  </a:lnTo>
                  <a:lnTo>
                    <a:pt x="1063" y="224"/>
                  </a:lnTo>
                  <a:lnTo>
                    <a:pt x="1067" y="228"/>
                  </a:lnTo>
                  <a:lnTo>
                    <a:pt x="1067" y="232"/>
                  </a:lnTo>
                  <a:lnTo>
                    <a:pt x="1067" y="235"/>
                  </a:lnTo>
                  <a:lnTo>
                    <a:pt x="1067" y="235"/>
                  </a:lnTo>
                  <a:lnTo>
                    <a:pt x="1067" y="234"/>
                  </a:lnTo>
                  <a:lnTo>
                    <a:pt x="1063" y="230"/>
                  </a:lnTo>
                  <a:lnTo>
                    <a:pt x="1063" y="230"/>
                  </a:lnTo>
                  <a:lnTo>
                    <a:pt x="1063" y="232"/>
                  </a:lnTo>
                  <a:lnTo>
                    <a:pt x="1059" y="230"/>
                  </a:lnTo>
                  <a:lnTo>
                    <a:pt x="1052" y="226"/>
                  </a:lnTo>
                  <a:lnTo>
                    <a:pt x="1046" y="228"/>
                  </a:lnTo>
                  <a:lnTo>
                    <a:pt x="1046" y="228"/>
                  </a:lnTo>
                  <a:lnTo>
                    <a:pt x="1048" y="232"/>
                  </a:lnTo>
                  <a:lnTo>
                    <a:pt x="1054" y="232"/>
                  </a:lnTo>
                  <a:lnTo>
                    <a:pt x="1056" y="234"/>
                  </a:lnTo>
                  <a:lnTo>
                    <a:pt x="1056" y="235"/>
                  </a:lnTo>
                  <a:lnTo>
                    <a:pt x="1057" y="237"/>
                  </a:lnTo>
                  <a:lnTo>
                    <a:pt x="1059" y="241"/>
                  </a:lnTo>
                  <a:lnTo>
                    <a:pt x="1061" y="237"/>
                  </a:lnTo>
                  <a:lnTo>
                    <a:pt x="1063" y="235"/>
                  </a:lnTo>
                  <a:lnTo>
                    <a:pt x="1063" y="235"/>
                  </a:lnTo>
                  <a:lnTo>
                    <a:pt x="1067" y="237"/>
                  </a:lnTo>
                  <a:lnTo>
                    <a:pt x="1067" y="237"/>
                  </a:lnTo>
                  <a:lnTo>
                    <a:pt x="1069" y="237"/>
                  </a:lnTo>
                  <a:lnTo>
                    <a:pt x="1073" y="237"/>
                  </a:lnTo>
                  <a:lnTo>
                    <a:pt x="1073" y="241"/>
                  </a:lnTo>
                  <a:lnTo>
                    <a:pt x="1073" y="243"/>
                  </a:lnTo>
                  <a:lnTo>
                    <a:pt x="1074" y="249"/>
                  </a:lnTo>
                  <a:lnTo>
                    <a:pt x="1076" y="256"/>
                  </a:lnTo>
                  <a:lnTo>
                    <a:pt x="1076" y="264"/>
                  </a:lnTo>
                  <a:lnTo>
                    <a:pt x="1073" y="267"/>
                  </a:lnTo>
                  <a:lnTo>
                    <a:pt x="1073" y="267"/>
                  </a:lnTo>
                  <a:lnTo>
                    <a:pt x="1073" y="271"/>
                  </a:lnTo>
                  <a:lnTo>
                    <a:pt x="1073" y="277"/>
                  </a:lnTo>
                  <a:lnTo>
                    <a:pt x="1069" y="281"/>
                  </a:lnTo>
                  <a:lnTo>
                    <a:pt x="1069" y="282"/>
                  </a:lnTo>
                  <a:lnTo>
                    <a:pt x="1073" y="284"/>
                  </a:lnTo>
                  <a:lnTo>
                    <a:pt x="1073" y="288"/>
                  </a:lnTo>
                  <a:lnTo>
                    <a:pt x="1067" y="290"/>
                  </a:lnTo>
                  <a:lnTo>
                    <a:pt x="1067" y="294"/>
                  </a:lnTo>
                  <a:lnTo>
                    <a:pt x="1067" y="296"/>
                  </a:lnTo>
                  <a:lnTo>
                    <a:pt x="1063" y="301"/>
                  </a:lnTo>
                  <a:lnTo>
                    <a:pt x="1063" y="305"/>
                  </a:lnTo>
                  <a:lnTo>
                    <a:pt x="1063" y="305"/>
                  </a:lnTo>
                  <a:lnTo>
                    <a:pt x="1061" y="311"/>
                  </a:lnTo>
                  <a:lnTo>
                    <a:pt x="1057" y="311"/>
                  </a:lnTo>
                  <a:lnTo>
                    <a:pt x="1054" y="315"/>
                  </a:lnTo>
                  <a:lnTo>
                    <a:pt x="1048" y="315"/>
                  </a:lnTo>
                  <a:lnTo>
                    <a:pt x="1054" y="316"/>
                  </a:lnTo>
                  <a:lnTo>
                    <a:pt x="1056" y="316"/>
                  </a:lnTo>
                  <a:lnTo>
                    <a:pt x="1059" y="313"/>
                  </a:lnTo>
                  <a:lnTo>
                    <a:pt x="1059" y="313"/>
                  </a:lnTo>
                  <a:lnTo>
                    <a:pt x="1061" y="318"/>
                  </a:lnTo>
                  <a:lnTo>
                    <a:pt x="1059" y="326"/>
                  </a:lnTo>
                  <a:lnTo>
                    <a:pt x="1056" y="330"/>
                  </a:lnTo>
                  <a:lnTo>
                    <a:pt x="1054" y="337"/>
                  </a:lnTo>
                  <a:lnTo>
                    <a:pt x="1056" y="341"/>
                  </a:lnTo>
                  <a:lnTo>
                    <a:pt x="1056" y="345"/>
                  </a:lnTo>
                  <a:lnTo>
                    <a:pt x="1054" y="354"/>
                  </a:lnTo>
                  <a:lnTo>
                    <a:pt x="1048" y="356"/>
                  </a:lnTo>
                  <a:lnTo>
                    <a:pt x="1046" y="354"/>
                  </a:lnTo>
                  <a:lnTo>
                    <a:pt x="1044" y="356"/>
                  </a:lnTo>
                  <a:lnTo>
                    <a:pt x="1042" y="356"/>
                  </a:lnTo>
                  <a:lnTo>
                    <a:pt x="1042" y="360"/>
                  </a:lnTo>
                  <a:lnTo>
                    <a:pt x="1046" y="365"/>
                  </a:lnTo>
                  <a:lnTo>
                    <a:pt x="1044" y="369"/>
                  </a:lnTo>
                  <a:lnTo>
                    <a:pt x="1042" y="371"/>
                  </a:lnTo>
                  <a:lnTo>
                    <a:pt x="1039" y="377"/>
                  </a:lnTo>
                  <a:lnTo>
                    <a:pt x="1042" y="382"/>
                  </a:lnTo>
                  <a:lnTo>
                    <a:pt x="1042" y="386"/>
                  </a:lnTo>
                  <a:lnTo>
                    <a:pt x="1039" y="390"/>
                  </a:lnTo>
                  <a:lnTo>
                    <a:pt x="1039" y="390"/>
                  </a:lnTo>
                  <a:lnTo>
                    <a:pt x="1042" y="394"/>
                  </a:lnTo>
                  <a:lnTo>
                    <a:pt x="1039" y="403"/>
                  </a:lnTo>
                  <a:lnTo>
                    <a:pt x="1039" y="405"/>
                  </a:lnTo>
                  <a:lnTo>
                    <a:pt x="1037" y="409"/>
                  </a:lnTo>
                  <a:lnTo>
                    <a:pt x="1039" y="407"/>
                  </a:lnTo>
                  <a:lnTo>
                    <a:pt x="1042" y="407"/>
                  </a:lnTo>
                  <a:lnTo>
                    <a:pt x="1044" y="403"/>
                  </a:lnTo>
                  <a:lnTo>
                    <a:pt x="1046" y="399"/>
                  </a:lnTo>
                  <a:lnTo>
                    <a:pt x="1044" y="399"/>
                  </a:lnTo>
                  <a:lnTo>
                    <a:pt x="1046" y="396"/>
                  </a:lnTo>
                  <a:lnTo>
                    <a:pt x="1052" y="396"/>
                  </a:lnTo>
                  <a:lnTo>
                    <a:pt x="1054" y="396"/>
                  </a:lnTo>
                  <a:lnTo>
                    <a:pt x="1052" y="396"/>
                  </a:lnTo>
                  <a:lnTo>
                    <a:pt x="1044" y="386"/>
                  </a:lnTo>
                  <a:lnTo>
                    <a:pt x="1042" y="382"/>
                  </a:lnTo>
                  <a:lnTo>
                    <a:pt x="1044" y="379"/>
                  </a:lnTo>
                  <a:lnTo>
                    <a:pt x="1052" y="377"/>
                  </a:lnTo>
                  <a:lnTo>
                    <a:pt x="1059" y="377"/>
                  </a:lnTo>
                  <a:lnTo>
                    <a:pt x="1063" y="371"/>
                  </a:lnTo>
                  <a:lnTo>
                    <a:pt x="1067" y="371"/>
                  </a:lnTo>
                  <a:lnTo>
                    <a:pt x="1067" y="369"/>
                  </a:lnTo>
                  <a:lnTo>
                    <a:pt x="1067" y="365"/>
                  </a:lnTo>
                  <a:lnTo>
                    <a:pt x="1073" y="362"/>
                  </a:lnTo>
                  <a:lnTo>
                    <a:pt x="1074" y="360"/>
                  </a:lnTo>
                  <a:lnTo>
                    <a:pt x="1073" y="354"/>
                  </a:lnTo>
                  <a:lnTo>
                    <a:pt x="1073" y="354"/>
                  </a:lnTo>
                  <a:lnTo>
                    <a:pt x="1076" y="356"/>
                  </a:lnTo>
                  <a:lnTo>
                    <a:pt x="1080" y="354"/>
                  </a:lnTo>
                  <a:lnTo>
                    <a:pt x="1084" y="350"/>
                  </a:lnTo>
                  <a:lnTo>
                    <a:pt x="1082" y="347"/>
                  </a:lnTo>
                  <a:lnTo>
                    <a:pt x="1088" y="341"/>
                  </a:lnTo>
                  <a:lnTo>
                    <a:pt x="1088" y="337"/>
                  </a:lnTo>
                  <a:lnTo>
                    <a:pt x="1088" y="335"/>
                  </a:lnTo>
                  <a:lnTo>
                    <a:pt x="1080" y="339"/>
                  </a:lnTo>
                  <a:lnTo>
                    <a:pt x="1080" y="341"/>
                  </a:lnTo>
                  <a:lnTo>
                    <a:pt x="1074" y="345"/>
                  </a:lnTo>
                  <a:lnTo>
                    <a:pt x="1069" y="343"/>
                  </a:lnTo>
                  <a:lnTo>
                    <a:pt x="1067" y="337"/>
                  </a:lnTo>
                  <a:lnTo>
                    <a:pt x="1073" y="335"/>
                  </a:lnTo>
                  <a:lnTo>
                    <a:pt x="1069" y="330"/>
                  </a:lnTo>
                  <a:lnTo>
                    <a:pt x="1073" y="326"/>
                  </a:lnTo>
                  <a:lnTo>
                    <a:pt x="1078" y="326"/>
                  </a:lnTo>
                  <a:lnTo>
                    <a:pt x="1086" y="330"/>
                  </a:lnTo>
                  <a:lnTo>
                    <a:pt x="1088" y="326"/>
                  </a:lnTo>
                  <a:lnTo>
                    <a:pt x="1088" y="322"/>
                  </a:lnTo>
                  <a:lnTo>
                    <a:pt x="1093" y="320"/>
                  </a:lnTo>
                  <a:lnTo>
                    <a:pt x="1093" y="324"/>
                  </a:lnTo>
                  <a:lnTo>
                    <a:pt x="1091" y="326"/>
                  </a:lnTo>
                  <a:lnTo>
                    <a:pt x="1091" y="330"/>
                  </a:lnTo>
                  <a:lnTo>
                    <a:pt x="1101" y="337"/>
                  </a:lnTo>
                  <a:lnTo>
                    <a:pt x="1106" y="337"/>
                  </a:lnTo>
                  <a:lnTo>
                    <a:pt x="1108" y="335"/>
                  </a:lnTo>
                  <a:lnTo>
                    <a:pt x="1116" y="335"/>
                  </a:lnTo>
                  <a:lnTo>
                    <a:pt x="1118" y="331"/>
                  </a:lnTo>
                  <a:lnTo>
                    <a:pt x="1118" y="328"/>
                  </a:lnTo>
                  <a:lnTo>
                    <a:pt x="1112" y="320"/>
                  </a:lnTo>
                  <a:lnTo>
                    <a:pt x="1112" y="318"/>
                  </a:lnTo>
                  <a:lnTo>
                    <a:pt x="1114" y="318"/>
                  </a:lnTo>
                  <a:lnTo>
                    <a:pt x="1121" y="326"/>
                  </a:lnTo>
                  <a:lnTo>
                    <a:pt x="1123" y="326"/>
                  </a:lnTo>
                  <a:lnTo>
                    <a:pt x="1127" y="330"/>
                  </a:lnTo>
                  <a:lnTo>
                    <a:pt x="1125" y="331"/>
                  </a:lnTo>
                  <a:lnTo>
                    <a:pt x="1127" y="335"/>
                  </a:lnTo>
                  <a:lnTo>
                    <a:pt x="1133" y="339"/>
                  </a:lnTo>
                  <a:lnTo>
                    <a:pt x="1133" y="347"/>
                  </a:lnTo>
                  <a:lnTo>
                    <a:pt x="1135" y="347"/>
                  </a:lnTo>
                  <a:lnTo>
                    <a:pt x="1135" y="345"/>
                  </a:lnTo>
                  <a:lnTo>
                    <a:pt x="1138" y="341"/>
                  </a:lnTo>
                  <a:lnTo>
                    <a:pt x="1140" y="341"/>
                  </a:lnTo>
                  <a:lnTo>
                    <a:pt x="1142" y="337"/>
                  </a:lnTo>
                  <a:lnTo>
                    <a:pt x="1140" y="337"/>
                  </a:lnTo>
                  <a:lnTo>
                    <a:pt x="1137" y="339"/>
                  </a:lnTo>
                  <a:lnTo>
                    <a:pt x="1135" y="337"/>
                  </a:lnTo>
                  <a:lnTo>
                    <a:pt x="1131" y="335"/>
                  </a:lnTo>
                  <a:lnTo>
                    <a:pt x="1137" y="330"/>
                  </a:lnTo>
                  <a:lnTo>
                    <a:pt x="1140" y="328"/>
                  </a:lnTo>
                  <a:lnTo>
                    <a:pt x="1142" y="324"/>
                  </a:lnTo>
                  <a:lnTo>
                    <a:pt x="1146" y="324"/>
                  </a:lnTo>
                  <a:lnTo>
                    <a:pt x="1146" y="322"/>
                  </a:lnTo>
                  <a:lnTo>
                    <a:pt x="1155" y="320"/>
                  </a:lnTo>
                  <a:lnTo>
                    <a:pt x="1167" y="316"/>
                  </a:lnTo>
                  <a:lnTo>
                    <a:pt x="1180" y="316"/>
                  </a:lnTo>
                  <a:lnTo>
                    <a:pt x="1191" y="311"/>
                  </a:lnTo>
                  <a:lnTo>
                    <a:pt x="1199" y="311"/>
                  </a:lnTo>
                  <a:lnTo>
                    <a:pt x="1201" y="313"/>
                  </a:lnTo>
                  <a:lnTo>
                    <a:pt x="1201" y="316"/>
                  </a:lnTo>
                  <a:lnTo>
                    <a:pt x="1201" y="316"/>
                  </a:lnTo>
                  <a:lnTo>
                    <a:pt x="1199" y="322"/>
                  </a:lnTo>
                  <a:lnTo>
                    <a:pt x="1201" y="330"/>
                  </a:lnTo>
                  <a:lnTo>
                    <a:pt x="1206" y="331"/>
                  </a:lnTo>
                  <a:lnTo>
                    <a:pt x="1221" y="331"/>
                  </a:lnTo>
                  <a:lnTo>
                    <a:pt x="1225" y="335"/>
                  </a:lnTo>
                  <a:lnTo>
                    <a:pt x="1227" y="331"/>
                  </a:lnTo>
                  <a:lnTo>
                    <a:pt x="1231" y="331"/>
                  </a:lnTo>
                  <a:lnTo>
                    <a:pt x="1236" y="335"/>
                  </a:lnTo>
                  <a:lnTo>
                    <a:pt x="1248" y="331"/>
                  </a:lnTo>
                  <a:lnTo>
                    <a:pt x="1255" y="330"/>
                  </a:lnTo>
                  <a:lnTo>
                    <a:pt x="1259" y="330"/>
                  </a:lnTo>
                  <a:lnTo>
                    <a:pt x="1265" y="330"/>
                  </a:lnTo>
                  <a:lnTo>
                    <a:pt x="1265" y="326"/>
                  </a:lnTo>
                  <a:lnTo>
                    <a:pt x="1265" y="324"/>
                  </a:lnTo>
                  <a:lnTo>
                    <a:pt x="1268" y="322"/>
                  </a:lnTo>
                  <a:lnTo>
                    <a:pt x="1270" y="324"/>
                  </a:lnTo>
                  <a:lnTo>
                    <a:pt x="1276" y="322"/>
                  </a:lnTo>
                  <a:lnTo>
                    <a:pt x="1276" y="324"/>
                  </a:lnTo>
                  <a:lnTo>
                    <a:pt x="1278" y="326"/>
                  </a:lnTo>
                  <a:lnTo>
                    <a:pt x="1281" y="322"/>
                  </a:lnTo>
                  <a:lnTo>
                    <a:pt x="1280" y="318"/>
                  </a:lnTo>
                  <a:lnTo>
                    <a:pt x="1276" y="315"/>
                  </a:lnTo>
                  <a:lnTo>
                    <a:pt x="1278" y="311"/>
                  </a:lnTo>
                  <a:lnTo>
                    <a:pt x="1276" y="311"/>
                  </a:lnTo>
                  <a:lnTo>
                    <a:pt x="1270" y="307"/>
                  </a:lnTo>
                  <a:lnTo>
                    <a:pt x="1270" y="305"/>
                  </a:lnTo>
                  <a:lnTo>
                    <a:pt x="1268" y="301"/>
                  </a:lnTo>
                  <a:lnTo>
                    <a:pt x="1268" y="299"/>
                  </a:lnTo>
                  <a:lnTo>
                    <a:pt x="1265" y="296"/>
                  </a:lnTo>
                  <a:lnTo>
                    <a:pt x="1265" y="292"/>
                  </a:lnTo>
                  <a:lnTo>
                    <a:pt x="1268" y="288"/>
                  </a:lnTo>
                  <a:lnTo>
                    <a:pt x="1268" y="290"/>
                  </a:lnTo>
                  <a:lnTo>
                    <a:pt x="1268" y="292"/>
                  </a:lnTo>
                  <a:lnTo>
                    <a:pt x="1272" y="288"/>
                  </a:lnTo>
                  <a:lnTo>
                    <a:pt x="1272" y="286"/>
                  </a:lnTo>
                  <a:lnTo>
                    <a:pt x="1270" y="282"/>
                  </a:lnTo>
                  <a:lnTo>
                    <a:pt x="1274" y="282"/>
                  </a:lnTo>
                  <a:lnTo>
                    <a:pt x="1278" y="286"/>
                  </a:lnTo>
                  <a:lnTo>
                    <a:pt x="1281" y="284"/>
                  </a:lnTo>
                  <a:lnTo>
                    <a:pt x="1281" y="281"/>
                  </a:lnTo>
                  <a:lnTo>
                    <a:pt x="1283" y="282"/>
                  </a:lnTo>
                  <a:lnTo>
                    <a:pt x="1289" y="282"/>
                  </a:lnTo>
                  <a:lnTo>
                    <a:pt x="1289" y="282"/>
                  </a:lnTo>
                  <a:lnTo>
                    <a:pt x="1293" y="281"/>
                  </a:lnTo>
                  <a:lnTo>
                    <a:pt x="1295" y="284"/>
                  </a:lnTo>
                  <a:lnTo>
                    <a:pt x="1298" y="284"/>
                  </a:lnTo>
                  <a:lnTo>
                    <a:pt x="1300" y="288"/>
                  </a:lnTo>
                  <a:lnTo>
                    <a:pt x="1302" y="286"/>
                  </a:lnTo>
                  <a:lnTo>
                    <a:pt x="1302" y="282"/>
                  </a:lnTo>
                  <a:lnTo>
                    <a:pt x="1306" y="282"/>
                  </a:lnTo>
                  <a:lnTo>
                    <a:pt x="1308" y="286"/>
                  </a:lnTo>
                  <a:lnTo>
                    <a:pt x="1306" y="290"/>
                  </a:lnTo>
                  <a:lnTo>
                    <a:pt x="1304" y="292"/>
                  </a:lnTo>
                  <a:lnTo>
                    <a:pt x="1306" y="294"/>
                  </a:lnTo>
                  <a:lnTo>
                    <a:pt x="1310" y="292"/>
                  </a:lnTo>
                  <a:lnTo>
                    <a:pt x="1312" y="294"/>
                  </a:lnTo>
                  <a:lnTo>
                    <a:pt x="1312" y="290"/>
                  </a:lnTo>
                  <a:lnTo>
                    <a:pt x="1313" y="290"/>
                  </a:lnTo>
                  <a:lnTo>
                    <a:pt x="1313" y="290"/>
                  </a:lnTo>
                  <a:lnTo>
                    <a:pt x="1313" y="286"/>
                  </a:lnTo>
                  <a:lnTo>
                    <a:pt x="1312" y="284"/>
                  </a:lnTo>
                  <a:lnTo>
                    <a:pt x="1313" y="282"/>
                  </a:lnTo>
                  <a:lnTo>
                    <a:pt x="1313" y="282"/>
                  </a:lnTo>
                  <a:lnTo>
                    <a:pt x="1323" y="281"/>
                  </a:lnTo>
                  <a:lnTo>
                    <a:pt x="1323" y="282"/>
                  </a:lnTo>
                  <a:lnTo>
                    <a:pt x="1325" y="281"/>
                  </a:lnTo>
                  <a:lnTo>
                    <a:pt x="1330" y="281"/>
                  </a:lnTo>
                  <a:lnTo>
                    <a:pt x="1330" y="284"/>
                  </a:lnTo>
                  <a:lnTo>
                    <a:pt x="1330" y="290"/>
                  </a:lnTo>
                  <a:lnTo>
                    <a:pt x="1332" y="286"/>
                  </a:lnTo>
                  <a:lnTo>
                    <a:pt x="1334" y="286"/>
                  </a:lnTo>
                  <a:lnTo>
                    <a:pt x="1338" y="282"/>
                  </a:lnTo>
                  <a:lnTo>
                    <a:pt x="1338" y="288"/>
                  </a:lnTo>
                  <a:lnTo>
                    <a:pt x="1342" y="288"/>
                  </a:lnTo>
                  <a:lnTo>
                    <a:pt x="1344" y="286"/>
                  </a:lnTo>
                  <a:lnTo>
                    <a:pt x="1347" y="290"/>
                  </a:lnTo>
                  <a:lnTo>
                    <a:pt x="1347" y="298"/>
                  </a:lnTo>
                  <a:lnTo>
                    <a:pt x="1351" y="292"/>
                  </a:lnTo>
                  <a:lnTo>
                    <a:pt x="1353" y="290"/>
                  </a:lnTo>
                  <a:lnTo>
                    <a:pt x="1355" y="292"/>
                  </a:lnTo>
                  <a:lnTo>
                    <a:pt x="1353" y="298"/>
                  </a:lnTo>
                  <a:lnTo>
                    <a:pt x="1355" y="299"/>
                  </a:lnTo>
                  <a:lnTo>
                    <a:pt x="1357" y="301"/>
                  </a:lnTo>
                  <a:lnTo>
                    <a:pt x="1361" y="301"/>
                  </a:lnTo>
                  <a:lnTo>
                    <a:pt x="1361" y="305"/>
                  </a:lnTo>
                  <a:lnTo>
                    <a:pt x="1362" y="301"/>
                  </a:lnTo>
                  <a:lnTo>
                    <a:pt x="1364" y="301"/>
                  </a:lnTo>
                  <a:lnTo>
                    <a:pt x="1366" y="305"/>
                  </a:lnTo>
                  <a:lnTo>
                    <a:pt x="1362" y="311"/>
                  </a:lnTo>
                  <a:lnTo>
                    <a:pt x="1362" y="313"/>
                  </a:lnTo>
                  <a:lnTo>
                    <a:pt x="1368" y="311"/>
                  </a:lnTo>
                  <a:lnTo>
                    <a:pt x="1372" y="311"/>
                  </a:lnTo>
                  <a:lnTo>
                    <a:pt x="1372" y="311"/>
                  </a:lnTo>
                  <a:lnTo>
                    <a:pt x="1364" y="318"/>
                  </a:lnTo>
                  <a:lnTo>
                    <a:pt x="1366" y="324"/>
                  </a:lnTo>
                  <a:lnTo>
                    <a:pt x="1372" y="324"/>
                  </a:lnTo>
                  <a:lnTo>
                    <a:pt x="1372" y="322"/>
                  </a:lnTo>
                  <a:lnTo>
                    <a:pt x="1374" y="320"/>
                  </a:lnTo>
                  <a:lnTo>
                    <a:pt x="1377" y="322"/>
                  </a:lnTo>
                  <a:lnTo>
                    <a:pt x="1377" y="324"/>
                  </a:lnTo>
                  <a:lnTo>
                    <a:pt x="1381" y="324"/>
                  </a:lnTo>
                  <a:lnTo>
                    <a:pt x="1385" y="328"/>
                  </a:lnTo>
                  <a:lnTo>
                    <a:pt x="1383" y="331"/>
                  </a:lnTo>
                  <a:lnTo>
                    <a:pt x="1387" y="331"/>
                  </a:lnTo>
                  <a:lnTo>
                    <a:pt x="1389" y="335"/>
                  </a:lnTo>
                  <a:lnTo>
                    <a:pt x="1391" y="335"/>
                  </a:lnTo>
                  <a:lnTo>
                    <a:pt x="1393" y="335"/>
                  </a:lnTo>
                  <a:lnTo>
                    <a:pt x="1389" y="343"/>
                  </a:lnTo>
                  <a:lnTo>
                    <a:pt x="1383" y="345"/>
                  </a:lnTo>
                  <a:lnTo>
                    <a:pt x="1379" y="341"/>
                  </a:lnTo>
                  <a:lnTo>
                    <a:pt x="1372" y="339"/>
                  </a:lnTo>
                  <a:lnTo>
                    <a:pt x="1366" y="339"/>
                  </a:lnTo>
                  <a:lnTo>
                    <a:pt x="1368" y="341"/>
                  </a:lnTo>
                  <a:lnTo>
                    <a:pt x="1368" y="345"/>
                  </a:lnTo>
                  <a:lnTo>
                    <a:pt x="1377" y="347"/>
                  </a:lnTo>
                  <a:lnTo>
                    <a:pt x="1377" y="350"/>
                  </a:lnTo>
                  <a:lnTo>
                    <a:pt x="1385" y="354"/>
                  </a:lnTo>
                  <a:lnTo>
                    <a:pt x="1393" y="356"/>
                  </a:lnTo>
                  <a:lnTo>
                    <a:pt x="1398" y="354"/>
                  </a:lnTo>
                  <a:lnTo>
                    <a:pt x="1398" y="350"/>
                  </a:lnTo>
                  <a:lnTo>
                    <a:pt x="1394" y="347"/>
                  </a:lnTo>
                  <a:lnTo>
                    <a:pt x="1393" y="343"/>
                  </a:lnTo>
                  <a:lnTo>
                    <a:pt x="1394" y="343"/>
                  </a:lnTo>
                  <a:lnTo>
                    <a:pt x="1398" y="348"/>
                  </a:lnTo>
                  <a:lnTo>
                    <a:pt x="1402" y="350"/>
                  </a:lnTo>
                  <a:lnTo>
                    <a:pt x="1406" y="352"/>
                  </a:lnTo>
                  <a:lnTo>
                    <a:pt x="1402" y="352"/>
                  </a:lnTo>
                  <a:lnTo>
                    <a:pt x="1394" y="360"/>
                  </a:lnTo>
                  <a:lnTo>
                    <a:pt x="1396" y="362"/>
                  </a:lnTo>
                  <a:lnTo>
                    <a:pt x="1398" y="362"/>
                  </a:lnTo>
                  <a:lnTo>
                    <a:pt x="1402" y="360"/>
                  </a:lnTo>
                  <a:lnTo>
                    <a:pt x="1402" y="360"/>
                  </a:lnTo>
                  <a:lnTo>
                    <a:pt x="1415" y="369"/>
                  </a:lnTo>
                  <a:lnTo>
                    <a:pt x="1419" y="371"/>
                  </a:lnTo>
                  <a:lnTo>
                    <a:pt x="1423" y="377"/>
                  </a:lnTo>
                  <a:lnTo>
                    <a:pt x="1430" y="377"/>
                  </a:lnTo>
                  <a:lnTo>
                    <a:pt x="1436" y="384"/>
                  </a:lnTo>
                  <a:lnTo>
                    <a:pt x="1441" y="386"/>
                  </a:lnTo>
                  <a:lnTo>
                    <a:pt x="1443" y="382"/>
                  </a:lnTo>
                  <a:lnTo>
                    <a:pt x="1441" y="380"/>
                  </a:lnTo>
                  <a:lnTo>
                    <a:pt x="1443" y="379"/>
                  </a:lnTo>
                  <a:lnTo>
                    <a:pt x="1447" y="382"/>
                  </a:lnTo>
                  <a:lnTo>
                    <a:pt x="1447" y="386"/>
                  </a:lnTo>
                  <a:lnTo>
                    <a:pt x="1451" y="386"/>
                  </a:lnTo>
                  <a:lnTo>
                    <a:pt x="1453" y="386"/>
                  </a:lnTo>
                  <a:lnTo>
                    <a:pt x="1455" y="384"/>
                  </a:lnTo>
                  <a:lnTo>
                    <a:pt x="1451" y="365"/>
                  </a:lnTo>
                  <a:lnTo>
                    <a:pt x="1445" y="356"/>
                  </a:lnTo>
                  <a:lnTo>
                    <a:pt x="1440" y="345"/>
                  </a:lnTo>
                  <a:lnTo>
                    <a:pt x="1440" y="335"/>
                  </a:lnTo>
                  <a:lnTo>
                    <a:pt x="1436" y="330"/>
                  </a:lnTo>
                  <a:lnTo>
                    <a:pt x="1436" y="326"/>
                  </a:lnTo>
                  <a:lnTo>
                    <a:pt x="1440" y="328"/>
                  </a:lnTo>
                  <a:lnTo>
                    <a:pt x="1441" y="331"/>
                  </a:lnTo>
                  <a:lnTo>
                    <a:pt x="1445" y="335"/>
                  </a:lnTo>
                  <a:lnTo>
                    <a:pt x="1451" y="337"/>
                  </a:lnTo>
                  <a:lnTo>
                    <a:pt x="1455" y="341"/>
                  </a:lnTo>
                  <a:lnTo>
                    <a:pt x="1460" y="343"/>
                  </a:lnTo>
                  <a:lnTo>
                    <a:pt x="1475" y="341"/>
                  </a:lnTo>
                  <a:lnTo>
                    <a:pt x="1479" y="341"/>
                  </a:lnTo>
                  <a:lnTo>
                    <a:pt x="1481" y="341"/>
                  </a:lnTo>
                  <a:lnTo>
                    <a:pt x="1485" y="343"/>
                  </a:lnTo>
                  <a:lnTo>
                    <a:pt x="1485" y="343"/>
                  </a:lnTo>
                  <a:lnTo>
                    <a:pt x="1485" y="337"/>
                  </a:lnTo>
                  <a:lnTo>
                    <a:pt x="1485" y="335"/>
                  </a:lnTo>
                  <a:lnTo>
                    <a:pt x="1481" y="335"/>
                  </a:lnTo>
                  <a:lnTo>
                    <a:pt x="1481" y="331"/>
                  </a:lnTo>
                  <a:lnTo>
                    <a:pt x="1485" y="330"/>
                  </a:lnTo>
                  <a:lnTo>
                    <a:pt x="1496" y="324"/>
                  </a:lnTo>
                  <a:lnTo>
                    <a:pt x="1498" y="324"/>
                  </a:lnTo>
                  <a:lnTo>
                    <a:pt x="1500" y="324"/>
                  </a:lnTo>
                  <a:lnTo>
                    <a:pt x="1505" y="326"/>
                  </a:lnTo>
                  <a:lnTo>
                    <a:pt x="1511" y="326"/>
                  </a:lnTo>
                  <a:lnTo>
                    <a:pt x="1515" y="331"/>
                  </a:lnTo>
                  <a:lnTo>
                    <a:pt x="1519" y="331"/>
                  </a:lnTo>
                  <a:lnTo>
                    <a:pt x="1521" y="335"/>
                  </a:lnTo>
                  <a:lnTo>
                    <a:pt x="1528" y="335"/>
                  </a:lnTo>
                  <a:lnTo>
                    <a:pt x="1530" y="339"/>
                  </a:lnTo>
                  <a:lnTo>
                    <a:pt x="1536" y="339"/>
                  </a:lnTo>
                  <a:lnTo>
                    <a:pt x="1534" y="335"/>
                  </a:lnTo>
                  <a:lnTo>
                    <a:pt x="1532" y="335"/>
                  </a:lnTo>
                  <a:lnTo>
                    <a:pt x="1536" y="335"/>
                  </a:lnTo>
                  <a:lnTo>
                    <a:pt x="1539" y="331"/>
                  </a:lnTo>
                  <a:lnTo>
                    <a:pt x="1536" y="331"/>
                  </a:lnTo>
                  <a:lnTo>
                    <a:pt x="1539" y="330"/>
                  </a:lnTo>
                  <a:lnTo>
                    <a:pt x="1536" y="326"/>
                  </a:lnTo>
                  <a:lnTo>
                    <a:pt x="1532" y="328"/>
                  </a:lnTo>
                  <a:lnTo>
                    <a:pt x="1528" y="328"/>
                  </a:lnTo>
                  <a:lnTo>
                    <a:pt x="1526" y="320"/>
                  </a:lnTo>
                  <a:lnTo>
                    <a:pt x="1524" y="316"/>
                  </a:lnTo>
                  <a:lnTo>
                    <a:pt x="1528" y="315"/>
                  </a:lnTo>
                  <a:lnTo>
                    <a:pt x="1530" y="316"/>
                  </a:lnTo>
                  <a:lnTo>
                    <a:pt x="1534" y="315"/>
                  </a:lnTo>
                  <a:lnTo>
                    <a:pt x="1532" y="311"/>
                  </a:lnTo>
                  <a:lnTo>
                    <a:pt x="1534" y="311"/>
                  </a:lnTo>
                  <a:lnTo>
                    <a:pt x="1539" y="315"/>
                  </a:lnTo>
                  <a:lnTo>
                    <a:pt x="1539" y="318"/>
                  </a:lnTo>
                  <a:lnTo>
                    <a:pt x="1543" y="318"/>
                  </a:lnTo>
                  <a:lnTo>
                    <a:pt x="1545" y="320"/>
                  </a:lnTo>
                  <a:lnTo>
                    <a:pt x="1549" y="318"/>
                  </a:lnTo>
                  <a:lnTo>
                    <a:pt x="1545" y="315"/>
                  </a:lnTo>
                  <a:lnTo>
                    <a:pt x="1551" y="313"/>
                  </a:lnTo>
                  <a:lnTo>
                    <a:pt x="1553" y="315"/>
                  </a:lnTo>
                  <a:lnTo>
                    <a:pt x="1554" y="311"/>
                  </a:lnTo>
                  <a:lnTo>
                    <a:pt x="1549" y="305"/>
                  </a:lnTo>
                  <a:lnTo>
                    <a:pt x="1543" y="305"/>
                  </a:lnTo>
                  <a:lnTo>
                    <a:pt x="1539" y="299"/>
                  </a:lnTo>
                  <a:lnTo>
                    <a:pt x="1539" y="296"/>
                  </a:lnTo>
                  <a:lnTo>
                    <a:pt x="1539" y="292"/>
                  </a:lnTo>
                  <a:lnTo>
                    <a:pt x="1536" y="294"/>
                  </a:lnTo>
                  <a:lnTo>
                    <a:pt x="1530" y="294"/>
                  </a:lnTo>
                  <a:lnTo>
                    <a:pt x="1536" y="290"/>
                  </a:lnTo>
                  <a:lnTo>
                    <a:pt x="1534" y="286"/>
                  </a:lnTo>
                  <a:lnTo>
                    <a:pt x="1536" y="286"/>
                  </a:lnTo>
                  <a:lnTo>
                    <a:pt x="1532" y="281"/>
                  </a:lnTo>
                  <a:lnTo>
                    <a:pt x="1536" y="281"/>
                  </a:lnTo>
                  <a:lnTo>
                    <a:pt x="1539" y="273"/>
                  </a:lnTo>
                  <a:lnTo>
                    <a:pt x="1532" y="277"/>
                  </a:lnTo>
                  <a:lnTo>
                    <a:pt x="1528" y="281"/>
                  </a:lnTo>
                  <a:lnTo>
                    <a:pt x="1528" y="284"/>
                  </a:lnTo>
                  <a:lnTo>
                    <a:pt x="1521" y="282"/>
                  </a:lnTo>
                  <a:lnTo>
                    <a:pt x="1517" y="277"/>
                  </a:lnTo>
                  <a:lnTo>
                    <a:pt x="1519" y="271"/>
                  </a:lnTo>
                  <a:lnTo>
                    <a:pt x="1519" y="267"/>
                  </a:lnTo>
                  <a:lnTo>
                    <a:pt x="1526" y="266"/>
                  </a:lnTo>
                  <a:lnTo>
                    <a:pt x="1530" y="266"/>
                  </a:lnTo>
                  <a:lnTo>
                    <a:pt x="1536" y="260"/>
                  </a:lnTo>
                  <a:lnTo>
                    <a:pt x="1536" y="256"/>
                  </a:lnTo>
                  <a:lnTo>
                    <a:pt x="1534" y="252"/>
                  </a:lnTo>
                  <a:lnTo>
                    <a:pt x="1530" y="252"/>
                  </a:lnTo>
                  <a:lnTo>
                    <a:pt x="1526" y="250"/>
                  </a:lnTo>
                  <a:lnTo>
                    <a:pt x="1519" y="250"/>
                  </a:lnTo>
                  <a:lnTo>
                    <a:pt x="1515" y="247"/>
                  </a:lnTo>
                  <a:lnTo>
                    <a:pt x="1521" y="243"/>
                  </a:lnTo>
                  <a:lnTo>
                    <a:pt x="1528" y="243"/>
                  </a:lnTo>
                  <a:lnTo>
                    <a:pt x="1536" y="247"/>
                  </a:lnTo>
                  <a:lnTo>
                    <a:pt x="1543" y="247"/>
                  </a:lnTo>
                  <a:lnTo>
                    <a:pt x="1556" y="247"/>
                  </a:lnTo>
                  <a:lnTo>
                    <a:pt x="1577" y="243"/>
                  </a:lnTo>
                  <a:lnTo>
                    <a:pt x="1581" y="241"/>
                  </a:lnTo>
                  <a:lnTo>
                    <a:pt x="1598" y="241"/>
                  </a:lnTo>
                  <a:lnTo>
                    <a:pt x="1603" y="241"/>
                  </a:lnTo>
                  <a:lnTo>
                    <a:pt x="1609" y="241"/>
                  </a:lnTo>
                  <a:lnTo>
                    <a:pt x="1618" y="241"/>
                  </a:lnTo>
                  <a:lnTo>
                    <a:pt x="1615" y="241"/>
                  </a:lnTo>
                  <a:lnTo>
                    <a:pt x="1601" y="247"/>
                  </a:lnTo>
                  <a:lnTo>
                    <a:pt x="1598" y="247"/>
                  </a:lnTo>
                  <a:lnTo>
                    <a:pt x="1594" y="247"/>
                  </a:lnTo>
                  <a:lnTo>
                    <a:pt x="1592" y="247"/>
                  </a:lnTo>
                  <a:lnTo>
                    <a:pt x="1590" y="252"/>
                  </a:lnTo>
                  <a:lnTo>
                    <a:pt x="1594" y="258"/>
                  </a:lnTo>
                  <a:lnTo>
                    <a:pt x="1590" y="258"/>
                  </a:lnTo>
                  <a:lnTo>
                    <a:pt x="1590" y="262"/>
                  </a:lnTo>
                  <a:lnTo>
                    <a:pt x="1594" y="264"/>
                  </a:lnTo>
                  <a:lnTo>
                    <a:pt x="1598" y="260"/>
                  </a:lnTo>
                  <a:lnTo>
                    <a:pt x="1598" y="256"/>
                  </a:lnTo>
                  <a:lnTo>
                    <a:pt x="1607" y="249"/>
                  </a:lnTo>
                  <a:lnTo>
                    <a:pt x="1622" y="243"/>
                  </a:lnTo>
                  <a:lnTo>
                    <a:pt x="1624" y="250"/>
                  </a:lnTo>
                  <a:lnTo>
                    <a:pt x="1624" y="260"/>
                  </a:lnTo>
                  <a:lnTo>
                    <a:pt x="1622" y="264"/>
                  </a:lnTo>
                  <a:lnTo>
                    <a:pt x="1618" y="256"/>
                  </a:lnTo>
                  <a:lnTo>
                    <a:pt x="1617" y="252"/>
                  </a:lnTo>
                  <a:lnTo>
                    <a:pt x="1617" y="249"/>
                  </a:lnTo>
                  <a:lnTo>
                    <a:pt x="1613" y="252"/>
                  </a:lnTo>
                  <a:lnTo>
                    <a:pt x="1609" y="250"/>
                  </a:lnTo>
                  <a:lnTo>
                    <a:pt x="1613" y="258"/>
                  </a:lnTo>
                  <a:lnTo>
                    <a:pt x="1617" y="260"/>
                  </a:lnTo>
                  <a:lnTo>
                    <a:pt x="1618" y="267"/>
                  </a:lnTo>
                  <a:lnTo>
                    <a:pt x="1615" y="271"/>
                  </a:lnTo>
                  <a:lnTo>
                    <a:pt x="1613" y="271"/>
                  </a:lnTo>
                  <a:lnTo>
                    <a:pt x="1609" y="273"/>
                  </a:lnTo>
                  <a:lnTo>
                    <a:pt x="1615" y="277"/>
                  </a:lnTo>
                  <a:lnTo>
                    <a:pt x="1613" y="281"/>
                  </a:lnTo>
                  <a:lnTo>
                    <a:pt x="1615" y="281"/>
                  </a:lnTo>
                  <a:lnTo>
                    <a:pt x="1618" y="281"/>
                  </a:lnTo>
                  <a:lnTo>
                    <a:pt x="1624" y="277"/>
                  </a:lnTo>
                  <a:lnTo>
                    <a:pt x="1624" y="271"/>
                  </a:lnTo>
                  <a:lnTo>
                    <a:pt x="1628" y="267"/>
                  </a:lnTo>
                  <a:lnTo>
                    <a:pt x="1624" y="264"/>
                  </a:lnTo>
                  <a:lnTo>
                    <a:pt x="1624" y="258"/>
                  </a:lnTo>
                  <a:lnTo>
                    <a:pt x="1624" y="241"/>
                  </a:lnTo>
                  <a:lnTo>
                    <a:pt x="1630" y="235"/>
                  </a:lnTo>
                  <a:lnTo>
                    <a:pt x="1641" y="234"/>
                  </a:lnTo>
                  <a:lnTo>
                    <a:pt x="1652" y="230"/>
                  </a:lnTo>
                  <a:lnTo>
                    <a:pt x="1662" y="232"/>
                  </a:lnTo>
                  <a:lnTo>
                    <a:pt x="1673" y="235"/>
                  </a:lnTo>
                  <a:lnTo>
                    <a:pt x="1679" y="243"/>
                  </a:lnTo>
                  <a:lnTo>
                    <a:pt x="1679" y="247"/>
                  </a:lnTo>
                  <a:lnTo>
                    <a:pt x="1677" y="250"/>
                  </a:lnTo>
                  <a:lnTo>
                    <a:pt x="1669" y="247"/>
                  </a:lnTo>
                  <a:lnTo>
                    <a:pt x="1669" y="247"/>
                  </a:lnTo>
                  <a:lnTo>
                    <a:pt x="1669" y="249"/>
                  </a:lnTo>
                  <a:lnTo>
                    <a:pt x="1669" y="252"/>
                  </a:lnTo>
                  <a:lnTo>
                    <a:pt x="1671" y="256"/>
                  </a:lnTo>
                  <a:lnTo>
                    <a:pt x="1667" y="260"/>
                  </a:lnTo>
                  <a:lnTo>
                    <a:pt x="1669" y="262"/>
                  </a:lnTo>
                  <a:lnTo>
                    <a:pt x="1673" y="258"/>
                  </a:lnTo>
                  <a:lnTo>
                    <a:pt x="1679" y="258"/>
                  </a:lnTo>
                  <a:lnTo>
                    <a:pt x="1682" y="254"/>
                  </a:lnTo>
                  <a:lnTo>
                    <a:pt x="1686" y="260"/>
                  </a:lnTo>
                  <a:lnTo>
                    <a:pt x="1686" y="264"/>
                  </a:lnTo>
                  <a:lnTo>
                    <a:pt x="1688" y="267"/>
                  </a:lnTo>
                  <a:lnTo>
                    <a:pt x="1690" y="271"/>
                  </a:lnTo>
                  <a:lnTo>
                    <a:pt x="1692" y="267"/>
                  </a:lnTo>
                  <a:lnTo>
                    <a:pt x="1692" y="264"/>
                  </a:lnTo>
                  <a:lnTo>
                    <a:pt x="1696" y="260"/>
                  </a:lnTo>
                  <a:lnTo>
                    <a:pt x="1701" y="262"/>
                  </a:lnTo>
                  <a:lnTo>
                    <a:pt x="1703" y="267"/>
                  </a:lnTo>
                  <a:lnTo>
                    <a:pt x="1701" y="267"/>
                  </a:lnTo>
                  <a:lnTo>
                    <a:pt x="1699" y="273"/>
                  </a:lnTo>
                  <a:lnTo>
                    <a:pt x="1701" y="277"/>
                  </a:lnTo>
                  <a:lnTo>
                    <a:pt x="1703" y="273"/>
                  </a:lnTo>
                  <a:lnTo>
                    <a:pt x="1703" y="271"/>
                  </a:lnTo>
                  <a:lnTo>
                    <a:pt x="1707" y="267"/>
                  </a:lnTo>
                  <a:lnTo>
                    <a:pt x="1707" y="271"/>
                  </a:lnTo>
                  <a:lnTo>
                    <a:pt x="1707" y="267"/>
                  </a:lnTo>
                  <a:lnTo>
                    <a:pt x="1711" y="260"/>
                  </a:lnTo>
                  <a:lnTo>
                    <a:pt x="1713" y="258"/>
                  </a:lnTo>
                  <a:lnTo>
                    <a:pt x="1716" y="260"/>
                  </a:lnTo>
                  <a:lnTo>
                    <a:pt x="1726" y="267"/>
                  </a:lnTo>
                  <a:lnTo>
                    <a:pt x="1735" y="267"/>
                  </a:lnTo>
                  <a:lnTo>
                    <a:pt x="1741" y="273"/>
                  </a:lnTo>
                  <a:lnTo>
                    <a:pt x="1741" y="277"/>
                  </a:lnTo>
                  <a:lnTo>
                    <a:pt x="1731" y="281"/>
                  </a:lnTo>
                  <a:lnTo>
                    <a:pt x="1728" y="286"/>
                  </a:lnTo>
                  <a:lnTo>
                    <a:pt x="1735" y="282"/>
                  </a:lnTo>
                  <a:lnTo>
                    <a:pt x="1741" y="281"/>
                  </a:lnTo>
                  <a:lnTo>
                    <a:pt x="1746" y="282"/>
                  </a:lnTo>
                  <a:lnTo>
                    <a:pt x="1754" y="281"/>
                  </a:lnTo>
                  <a:lnTo>
                    <a:pt x="1758" y="277"/>
                  </a:lnTo>
                  <a:lnTo>
                    <a:pt x="1761" y="277"/>
                  </a:lnTo>
                  <a:lnTo>
                    <a:pt x="1769" y="267"/>
                  </a:lnTo>
                  <a:lnTo>
                    <a:pt x="1773" y="267"/>
                  </a:lnTo>
                  <a:lnTo>
                    <a:pt x="1778" y="262"/>
                  </a:lnTo>
                  <a:lnTo>
                    <a:pt x="1784" y="262"/>
                  </a:lnTo>
                  <a:lnTo>
                    <a:pt x="1797" y="254"/>
                  </a:lnTo>
                  <a:lnTo>
                    <a:pt x="1805" y="250"/>
                  </a:lnTo>
                  <a:lnTo>
                    <a:pt x="1809" y="252"/>
                  </a:lnTo>
                  <a:lnTo>
                    <a:pt x="1809" y="250"/>
                  </a:lnTo>
                  <a:lnTo>
                    <a:pt x="1816" y="247"/>
                  </a:lnTo>
                  <a:lnTo>
                    <a:pt x="1820" y="243"/>
                  </a:lnTo>
                  <a:lnTo>
                    <a:pt x="1831" y="247"/>
                  </a:lnTo>
                  <a:lnTo>
                    <a:pt x="1848" y="250"/>
                  </a:lnTo>
                  <a:lnTo>
                    <a:pt x="1856" y="260"/>
                  </a:lnTo>
                  <a:lnTo>
                    <a:pt x="1865" y="264"/>
                  </a:lnTo>
                  <a:lnTo>
                    <a:pt x="1871" y="271"/>
                  </a:lnTo>
                  <a:lnTo>
                    <a:pt x="1874" y="277"/>
                  </a:lnTo>
                  <a:lnTo>
                    <a:pt x="1874" y="281"/>
                  </a:lnTo>
                  <a:lnTo>
                    <a:pt x="1878" y="282"/>
                  </a:lnTo>
                  <a:lnTo>
                    <a:pt x="1874" y="288"/>
                  </a:lnTo>
                  <a:lnTo>
                    <a:pt x="1880" y="296"/>
                  </a:lnTo>
                  <a:lnTo>
                    <a:pt x="1880" y="299"/>
                  </a:lnTo>
                  <a:lnTo>
                    <a:pt x="1878" y="301"/>
                  </a:lnTo>
                  <a:lnTo>
                    <a:pt x="1882" y="301"/>
                  </a:lnTo>
                  <a:lnTo>
                    <a:pt x="1886" y="298"/>
                  </a:lnTo>
                  <a:lnTo>
                    <a:pt x="1891" y="298"/>
                  </a:lnTo>
                  <a:lnTo>
                    <a:pt x="1893" y="299"/>
                  </a:lnTo>
                  <a:lnTo>
                    <a:pt x="1895" y="298"/>
                  </a:lnTo>
                  <a:lnTo>
                    <a:pt x="1899" y="296"/>
                  </a:lnTo>
                  <a:lnTo>
                    <a:pt x="1903" y="299"/>
                  </a:lnTo>
                  <a:lnTo>
                    <a:pt x="1905" y="301"/>
                  </a:lnTo>
                  <a:lnTo>
                    <a:pt x="1905" y="299"/>
                  </a:lnTo>
                  <a:lnTo>
                    <a:pt x="1903" y="294"/>
                  </a:lnTo>
                  <a:lnTo>
                    <a:pt x="1908" y="294"/>
                  </a:lnTo>
                  <a:lnTo>
                    <a:pt x="1910" y="298"/>
                  </a:lnTo>
                  <a:lnTo>
                    <a:pt x="1916" y="305"/>
                  </a:lnTo>
                  <a:lnTo>
                    <a:pt x="1918" y="311"/>
                  </a:lnTo>
                  <a:lnTo>
                    <a:pt x="1921" y="311"/>
                  </a:lnTo>
                  <a:lnTo>
                    <a:pt x="1927" y="316"/>
                  </a:lnTo>
                  <a:lnTo>
                    <a:pt x="1927" y="315"/>
                  </a:lnTo>
                  <a:lnTo>
                    <a:pt x="1923" y="311"/>
                  </a:lnTo>
                  <a:lnTo>
                    <a:pt x="1921" y="307"/>
                  </a:lnTo>
                  <a:lnTo>
                    <a:pt x="1920" y="305"/>
                  </a:lnTo>
                  <a:lnTo>
                    <a:pt x="1923" y="305"/>
                  </a:lnTo>
                  <a:lnTo>
                    <a:pt x="1927" y="305"/>
                  </a:lnTo>
                  <a:lnTo>
                    <a:pt x="1929" y="311"/>
                  </a:lnTo>
                  <a:lnTo>
                    <a:pt x="1935" y="316"/>
                  </a:lnTo>
                  <a:lnTo>
                    <a:pt x="1935" y="311"/>
                  </a:lnTo>
                  <a:lnTo>
                    <a:pt x="1929" y="301"/>
                  </a:lnTo>
                  <a:lnTo>
                    <a:pt x="1929" y="294"/>
                  </a:lnTo>
                  <a:lnTo>
                    <a:pt x="1929" y="286"/>
                  </a:lnTo>
                  <a:lnTo>
                    <a:pt x="1933" y="281"/>
                  </a:lnTo>
                  <a:lnTo>
                    <a:pt x="1938" y="281"/>
                  </a:lnTo>
                  <a:lnTo>
                    <a:pt x="1942" y="277"/>
                  </a:lnTo>
                  <a:lnTo>
                    <a:pt x="1950" y="273"/>
                  </a:lnTo>
                  <a:lnTo>
                    <a:pt x="1950" y="271"/>
                  </a:lnTo>
                  <a:lnTo>
                    <a:pt x="1950" y="271"/>
                  </a:lnTo>
                  <a:lnTo>
                    <a:pt x="1953" y="271"/>
                  </a:lnTo>
                  <a:lnTo>
                    <a:pt x="1957" y="273"/>
                  </a:lnTo>
                  <a:lnTo>
                    <a:pt x="1959" y="277"/>
                  </a:lnTo>
                  <a:lnTo>
                    <a:pt x="1967" y="273"/>
                  </a:lnTo>
                  <a:lnTo>
                    <a:pt x="1970" y="271"/>
                  </a:lnTo>
                  <a:lnTo>
                    <a:pt x="1972" y="271"/>
                  </a:lnTo>
                  <a:lnTo>
                    <a:pt x="1978" y="267"/>
                  </a:lnTo>
                  <a:lnTo>
                    <a:pt x="1987" y="267"/>
                  </a:lnTo>
                  <a:lnTo>
                    <a:pt x="1991" y="267"/>
                  </a:lnTo>
                  <a:lnTo>
                    <a:pt x="1991" y="267"/>
                  </a:lnTo>
                  <a:lnTo>
                    <a:pt x="1991" y="267"/>
                  </a:lnTo>
                  <a:lnTo>
                    <a:pt x="1995" y="271"/>
                  </a:lnTo>
                  <a:lnTo>
                    <a:pt x="1997" y="267"/>
                  </a:lnTo>
                  <a:lnTo>
                    <a:pt x="2001" y="262"/>
                  </a:lnTo>
                  <a:lnTo>
                    <a:pt x="2001" y="258"/>
                  </a:lnTo>
                  <a:lnTo>
                    <a:pt x="2001" y="254"/>
                  </a:lnTo>
                  <a:lnTo>
                    <a:pt x="2001" y="249"/>
                  </a:lnTo>
                  <a:lnTo>
                    <a:pt x="2002" y="247"/>
                  </a:lnTo>
                  <a:lnTo>
                    <a:pt x="2008" y="249"/>
                  </a:lnTo>
                  <a:lnTo>
                    <a:pt x="2012" y="252"/>
                  </a:lnTo>
                  <a:lnTo>
                    <a:pt x="2012" y="256"/>
                  </a:lnTo>
                  <a:lnTo>
                    <a:pt x="2016" y="256"/>
                  </a:lnTo>
                  <a:lnTo>
                    <a:pt x="2019" y="258"/>
                  </a:lnTo>
                  <a:lnTo>
                    <a:pt x="2019" y="264"/>
                  </a:lnTo>
                  <a:lnTo>
                    <a:pt x="2025" y="267"/>
                  </a:lnTo>
                  <a:lnTo>
                    <a:pt x="2027" y="271"/>
                  </a:lnTo>
                  <a:lnTo>
                    <a:pt x="2033" y="271"/>
                  </a:lnTo>
                  <a:lnTo>
                    <a:pt x="2042" y="271"/>
                  </a:lnTo>
                  <a:lnTo>
                    <a:pt x="2042" y="271"/>
                  </a:lnTo>
                  <a:lnTo>
                    <a:pt x="2046" y="271"/>
                  </a:lnTo>
                  <a:lnTo>
                    <a:pt x="2051" y="281"/>
                  </a:lnTo>
                  <a:lnTo>
                    <a:pt x="2051" y="284"/>
                  </a:lnTo>
                  <a:lnTo>
                    <a:pt x="2053" y="286"/>
                  </a:lnTo>
                  <a:lnTo>
                    <a:pt x="2061" y="286"/>
                  </a:lnTo>
                  <a:lnTo>
                    <a:pt x="2063" y="284"/>
                  </a:lnTo>
                  <a:lnTo>
                    <a:pt x="2066" y="284"/>
                  </a:lnTo>
                  <a:lnTo>
                    <a:pt x="2066" y="281"/>
                  </a:lnTo>
                  <a:lnTo>
                    <a:pt x="2070" y="281"/>
                  </a:lnTo>
                  <a:lnTo>
                    <a:pt x="2074" y="281"/>
                  </a:lnTo>
                  <a:lnTo>
                    <a:pt x="2074" y="277"/>
                  </a:lnTo>
                  <a:lnTo>
                    <a:pt x="2072" y="273"/>
                  </a:lnTo>
                  <a:lnTo>
                    <a:pt x="2074" y="271"/>
                  </a:lnTo>
                  <a:lnTo>
                    <a:pt x="2072" y="271"/>
                  </a:lnTo>
                  <a:lnTo>
                    <a:pt x="2074" y="267"/>
                  </a:lnTo>
                  <a:lnTo>
                    <a:pt x="2070" y="264"/>
                  </a:lnTo>
                  <a:lnTo>
                    <a:pt x="2065" y="262"/>
                  </a:lnTo>
                  <a:lnTo>
                    <a:pt x="2065" y="256"/>
                  </a:lnTo>
                  <a:lnTo>
                    <a:pt x="2057" y="249"/>
                  </a:lnTo>
                  <a:lnTo>
                    <a:pt x="2053" y="249"/>
                  </a:lnTo>
                  <a:lnTo>
                    <a:pt x="2053" y="247"/>
                  </a:lnTo>
                  <a:lnTo>
                    <a:pt x="2046" y="241"/>
                  </a:lnTo>
                  <a:lnTo>
                    <a:pt x="2042" y="247"/>
                  </a:lnTo>
                  <a:lnTo>
                    <a:pt x="2042" y="247"/>
                  </a:lnTo>
                  <a:lnTo>
                    <a:pt x="2042" y="241"/>
                  </a:lnTo>
                  <a:lnTo>
                    <a:pt x="2042" y="237"/>
                  </a:lnTo>
                  <a:lnTo>
                    <a:pt x="2040" y="234"/>
                  </a:lnTo>
                  <a:lnTo>
                    <a:pt x="2036" y="230"/>
                  </a:lnTo>
                  <a:lnTo>
                    <a:pt x="2036" y="228"/>
                  </a:lnTo>
                  <a:lnTo>
                    <a:pt x="2034" y="220"/>
                  </a:lnTo>
                  <a:lnTo>
                    <a:pt x="2029" y="217"/>
                  </a:lnTo>
                  <a:lnTo>
                    <a:pt x="2029" y="217"/>
                  </a:lnTo>
                  <a:lnTo>
                    <a:pt x="2036" y="217"/>
                  </a:lnTo>
                  <a:lnTo>
                    <a:pt x="2040" y="217"/>
                  </a:lnTo>
                  <a:lnTo>
                    <a:pt x="2049" y="217"/>
                  </a:lnTo>
                  <a:lnTo>
                    <a:pt x="2059" y="217"/>
                  </a:lnTo>
                  <a:lnTo>
                    <a:pt x="2059" y="213"/>
                  </a:lnTo>
                  <a:lnTo>
                    <a:pt x="2063" y="213"/>
                  </a:lnTo>
                  <a:lnTo>
                    <a:pt x="2066" y="217"/>
                  </a:lnTo>
                  <a:lnTo>
                    <a:pt x="2070" y="213"/>
                  </a:lnTo>
                  <a:lnTo>
                    <a:pt x="2072" y="213"/>
                  </a:lnTo>
                  <a:lnTo>
                    <a:pt x="2072" y="211"/>
                  </a:lnTo>
                  <a:lnTo>
                    <a:pt x="2078" y="211"/>
                  </a:lnTo>
                  <a:lnTo>
                    <a:pt x="2080" y="213"/>
                  </a:lnTo>
                  <a:lnTo>
                    <a:pt x="2081" y="213"/>
                  </a:lnTo>
                  <a:lnTo>
                    <a:pt x="2083" y="207"/>
                  </a:lnTo>
                  <a:lnTo>
                    <a:pt x="2087" y="207"/>
                  </a:lnTo>
                  <a:lnTo>
                    <a:pt x="2087" y="205"/>
                  </a:lnTo>
                  <a:lnTo>
                    <a:pt x="2100" y="201"/>
                  </a:lnTo>
                  <a:lnTo>
                    <a:pt x="2104" y="205"/>
                  </a:lnTo>
                  <a:lnTo>
                    <a:pt x="2104" y="201"/>
                  </a:lnTo>
                  <a:lnTo>
                    <a:pt x="2106" y="200"/>
                  </a:lnTo>
                  <a:lnTo>
                    <a:pt x="2108" y="200"/>
                  </a:lnTo>
                  <a:lnTo>
                    <a:pt x="2113" y="200"/>
                  </a:lnTo>
                  <a:lnTo>
                    <a:pt x="2115" y="200"/>
                  </a:lnTo>
                  <a:lnTo>
                    <a:pt x="2119" y="201"/>
                  </a:lnTo>
                  <a:lnTo>
                    <a:pt x="2125" y="201"/>
                  </a:lnTo>
                  <a:lnTo>
                    <a:pt x="2129" y="200"/>
                  </a:lnTo>
                  <a:lnTo>
                    <a:pt x="2130" y="203"/>
                  </a:lnTo>
                  <a:lnTo>
                    <a:pt x="2134" y="203"/>
                  </a:lnTo>
                  <a:lnTo>
                    <a:pt x="2136" y="201"/>
                  </a:lnTo>
                  <a:lnTo>
                    <a:pt x="2142" y="200"/>
                  </a:lnTo>
                  <a:lnTo>
                    <a:pt x="2155" y="205"/>
                  </a:lnTo>
                  <a:lnTo>
                    <a:pt x="2159" y="207"/>
                  </a:lnTo>
                  <a:lnTo>
                    <a:pt x="2161" y="205"/>
                  </a:lnTo>
                  <a:lnTo>
                    <a:pt x="2159" y="205"/>
                  </a:lnTo>
                  <a:lnTo>
                    <a:pt x="2162" y="203"/>
                  </a:lnTo>
                  <a:lnTo>
                    <a:pt x="2166" y="205"/>
                  </a:lnTo>
                  <a:lnTo>
                    <a:pt x="2164" y="207"/>
                  </a:lnTo>
                  <a:lnTo>
                    <a:pt x="2166" y="207"/>
                  </a:lnTo>
                  <a:lnTo>
                    <a:pt x="2170" y="207"/>
                  </a:lnTo>
                  <a:lnTo>
                    <a:pt x="2183" y="207"/>
                  </a:lnTo>
                  <a:lnTo>
                    <a:pt x="2194" y="217"/>
                  </a:lnTo>
                  <a:lnTo>
                    <a:pt x="2194" y="217"/>
                  </a:lnTo>
                  <a:lnTo>
                    <a:pt x="2191" y="217"/>
                  </a:lnTo>
                  <a:lnTo>
                    <a:pt x="2183" y="213"/>
                  </a:lnTo>
                  <a:lnTo>
                    <a:pt x="2183" y="217"/>
                  </a:lnTo>
                  <a:lnTo>
                    <a:pt x="2194" y="218"/>
                  </a:lnTo>
                  <a:lnTo>
                    <a:pt x="2200" y="218"/>
                  </a:lnTo>
                  <a:lnTo>
                    <a:pt x="2202" y="217"/>
                  </a:lnTo>
                  <a:lnTo>
                    <a:pt x="2208" y="217"/>
                  </a:lnTo>
                  <a:lnTo>
                    <a:pt x="2213" y="217"/>
                  </a:lnTo>
                  <a:lnTo>
                    <a:pt x="2209" y="213"/>
                  </a:lnTo>
                  <a:lnTo>
                    <a:pt x="2213" y="213"/>
                  </a:lnTo>
                  <a:lnTo>
                    <a:pt x="2215" y="213"/>
                  </a:lnTo>
                  <a:lnTo>
                    <a:pt x="2219" y="217"/>
                  </a:lnTo>
                  <a:lnTo>
                    <a:pt x="2221" y="217"/>
                  </a:lnTo>
                  <a:lnTo>
                    <a:pt x="2223" y="217"/>
                  </a:lnTo>
                  <a:lnTo>
                    <a:pt x="2223" y="213"/>
                  </a:lnTo>
                  <a:lnTo>
                    <a:pt x="2228" y="217"/>
                  </a:lnTo>
                  <a:lnTo>
                    <a:pt x="2228" y="217"/>
                  </a:lnTo>
                  <a:lnTo>
                    <a:pt x="2234" y="218"/>
                  </a:lnTo>
                  <a:lnTo>
                    <a:pt x="2238" y="217"/>
                  </a:lnTo>
                  <a:lnTo>
                    <a:pt x="2255" y="220"/>
                  </a:lnTo>
                  <a:lnTo>
                    <a:pt x="2253" y="217"/>
                  </a:lnTo>
                  <a:lnTo>
                    <a:pt x="2258" y="217"/>
                  </a:lnTo>
                  <a:lnTo>
                    <a:pt x="2258" y="220"/>
                  </a:lnTo>
                  <a:lnTo>
                    <a:pt x="2262" y="222"/>
                  </a:lnTo>
                  <a:lnTo>
                    <a:pt x="2262" y="218"/>
                  </a:lnTo>
                  <a:lnTo>
                    <a:pt x="2262" y="217"/>
                  </a:lnTo>
                  <a:lnTo>
                    <a:pt x="2268" y="218"/>
                  </a:lnTo>
                  <a:lnTo>
                    <a:pt x="2268" y="220"/>
                  </a:lnTo>
                  <a:lnTo>
                    <a:pt x="2272" y="224"/>
                  </a:lnTo>
                  <a:lnTo>
                    <a:pt x="2275" y="222"/>
                  </a:lnTo>
                  <a:lnTo>
                    <a:pt x="2275" y="220"/>
                  </a:lnTo>
                  <a:lnTo>
                    <a:pt x="2273" y="220"/>
                  </a:lnTo>
                  <a:lnTo>
                    <a:pt x="2279" y="220"/>
                  </a:lnTo>
                  <a:lnTo>
                    <a:pt x="2283" y="220"/>
                  </a:lnTo>
                  <a:lnTo>
                    <a:pt x="2281" y="224"/>
                  </a:lnTo>
                  <a:lnTo>
                    <a:pt x="2283" y="228"/>
                  </a:lnTo>
                  <a:lnTo>
                    <a:pt x="2292" y="230"/>
                  </a:lnTo>
                  <a:lnTo>
                    <a:pt x="2296" y="228"/>
                  </a:lnTo>
                  <a:lnTo>
                    <a:pt x="2289" y="226"/>
                  </a:lnTo>
                  <a:lnTo>
                    <a:pt x="2287" y="224"/>
                  </a:lnTo>
                  <a:lnTo>
                    <a:pt x="2283" y="220"/>
                  </a:lnTo>
                  <a:lnTo>
                    <a:pt x="2289" y="220"/>
                  </a:lnTo>
                  <a:lnTo>
                    <a:pt x="2292" y="220"/>
                  </a:lnTo>
                  <a:lnTo>
                    <a:pt x="2300" y="224"/>
                  </a:lnTo>
                  <a:lnTo>
                    <a:pt x="2302" y="230"/>
                  </a:lnTo>
                  <a:lnTo>
                    <a:pt x="2304" y="230"/>
                  </a:lnTo>
                  <a:lnTo>
                    <a:pt x="2304" y="228"/>
                  </a:lnTo>
                  <a:lnTo>
                    <a:pt x="2304" y="226"/>
                  </a:lnTo>
                  <a:lnTo>
                    <a:pt x="2307" y="226"/>
                  </a:lnTo>
                  <a:lnTo>
                    <a:pt x="2309" y="228"/>
                  </a:lnTo>
                  <a:lnTo>
                    <a:pt x="2309" y="230"/>
                  </a:lnTo>
                  <a:lnTo>
                    <a:pt x="2313" y="235"/>
                  </a:lnTo>
                  <a:lnTo>
                    <a:pt x="2317" y="247"/>
                  </a:lnTo>
                  <a:lnTo>
                    <a:pt x="2326" y="247"/>
                  </a:lnTo>
                  <a:lnTo>
                    <a:pt x="2326" y="250"/>
                  </a:lnTo>
                  <a:lnTo>
                    <a:pt x="2328" y="254"/>
                  </a:lnTo>
                  <a:lnTo>
                    <a:pt x="2330" y="258"/>
                  </a:lnTo>
                  <a:lnTo>
                    <a:pt x="2328" y="260"/>
                  </a:lnTo>
                  <a:lnTo>
                    <a:pt x="2330" y="264"/>
                  </a:lnTo>
                  <a:lnTo>
                    <a:pt x="2334" y="266"/>
                  </a:lnTo>
                  <a:lnTo>
                    <a:pt x="2337" y="262"/>
                  </a:lnTo>
                  <a:lnTo>
                    <a:pt x="2341" y="264"/>
                  </a:lnTo>
                  <a:lnTo>
                    <a:pt x="2345" y="267"/>
                  </a:lnTo>
                  <a:lnTo>
                    <a:pt x="2347" y="267"/>
                  </a:lnTo>
                  <a:lnTo>
                    <a:pt x="2347" y="267"/>
                  </a:lnTo>
                  <a:lnTo>
                    <a:pt x="2347" y="267"/>
                  </a:lnTo>
                  <a:lnTo>
                    <a:pt x="2347" y="264"/>
                  </a:lnTo>
                  <a:lnTo>
                    <a:pt x="2347" y="260"/>
                  </a:lnTo>
                  <a:lnTo>
                    <a:pt x="2351" y="262"/>
                  </a:lnTo>
                  <a:lnTo>
                    <a:pt x="2353" y="266"/>
                  </a:lnTo>
                  <a:lnTo>
                    <a:pt x="2354" y="267"/>
                  </a:lnTo>
                  <a:lnTo>
                    <a:pt x="2354" y="267"/>
                  </a:lnTo>
                  <a:lnTo>
                    <a:pt x="2353" y="262"/>
                  </a:lnTo>
                  <a:lnTo>
                    <a:pt x="2353" y="258"/>
                  </a:lnTo>
                  <a:lnTo>
                    <a:pt x="2351" y="254"/>
                  </a:lnTo>
                  <a:lnTo>
                    <a:pt x="2347" y="258"/>
                  </a:lnTo>
                  <a:lnTo>
                    <a:pt x="2341" y="258"/>
                  </a:lnTo>
                  <a:lnTo>
                    <a:pt x="2339" y="254"/>
                  </a:lnTo>
                  <a:lnTo>
                    <a:pt x="2341" y="252"/>
                  </a:lnTo>
                  <a:lnTo>
                    <a:pt x="2341" y="247"/>
                  </a:lnTo>
                  <a:lnTo>
                    <a:pt x="2334" y="243"/>
                  </a:lnTo>
                  <a:lnTo>
                    <a:pt x="2332" y="241"/>
                  </a:lnTo>
                  <a:lnTo>
                    <a:pt x="2330" y="237"/>
                  </a:lnTo>
                  <a:lnTo>
                    <a:pt x="2326" y="237"/>
                  </a:lnTo>
                  <a:lnTo>
                    <a:pt x="2321" y="241"/>
                  </a:lnTo>
                  <a:lnTo>
                    <a:pt x="2321" y="237"/>
                  </a:lnTo>
                  <a:lnTo>
                    <a:pt x="2326" y="235"/>
                  </a:lnTo>
                  <a:lnTo>
                    <a:pt x="2328" y="230"/>
                  </a:lnTo>
                  <a:lnTo>
                    <a:pt x="2334" y="222"/>
                  </a:lnTo>
                  <a:lnTo>
                    <a:pt x="2336" y="222"/>
                  </a:lnTo>
                  <a:lnTo>
                    <a:pt x="2336" y="224"/>
                  </a:lnTo>
                  <a:lnTo>
                    <a:pt x="2337" y="232"/>
                  </a:lnTo>
                  <a:lnTo>
                    <a:pt x="2341" y="234"/>
                  </a:lnTo>
                  <a:lnTo>
                    <a:pt x="2341" y="232"/>
                  </a:lnTo>
                  <a:lnTo>
                    <a:pt x="2339" y="228"/>
                  </a:lnTo>
                  <a:lnTo>
                    <a:pt x="2337" y="224"/>
                  </a:lnTo>
                  <a:lnTo>
                    <a:pt x="2339" y="224"/>
                  </a:lnTo>
                  <a:lnTo>
                    <a:pt x="2345" y="222"/>
                  </a:lnTo>
                  <a:lnTo>
                    <a:pt x="2347" y="218"/>
                  </a:lnTo>
                  <a:lnTo>
                    <a:pt x="2341" y="218"/>
                  </a:lnTo>
                  <a:lnTo>
                    <a:pt x="2341" y="217"/>
                  </a:lnTo>
                  <a:lnTo>
                    <a:pt x="2345" y="217"/>
                  </a:lnTo>
                  <a:lnTo>
                    <a:pt x="2347" y="217"/>
                  </a:lnTo>
                  <a:lnTo>
                    <a:pt x="2351" y="211"/>
                  </a:lnTo>
                  <a:lnTo>
                    <a:pt x="2354" y="211"/>
                  </a:lnTo>
                  <a:lnTo>
                    <a:pt x="2356" y="213"/>
                  </a:lnTo>
                  <a:lnTo>
                    <a:pt x="2358" y="213"/>
                  </a:lnTo>
                  <a:lnTo>
                    <a:pt x="2360" y="213"/>
                  </a:lnTo>
                  <a:lnTo>
                    <a:pt x="2362" y="217"/>
                  </a:lnTo>
                  <a:lnTo>
                    <a:pt x="2366" y="217"/>
                  </a:lnTo>
                  <a:lnTo>
                    <a:pt x="2371" y="218"/>
                  </a:lnTo>
                  <a:lnTo>
                    <a:pt x="2371" y="217"/>
                  </a:lnTo>
                  <a:lnTo>
                    <a:pt x="2385" y="218"/>
                  </a:lnTo>
                  <a:lnTo>
                    <a:pt x="2385" y="224"/>
                  </a:lnTo>
                  <a:lnTo>
                    <a:pt x="2385" y="226"/>
                  </a:lnTo>
                  <a:lnTo>
                    <a:pt x="2386" y="224"/>
                  </a:lnTo>
                  <a:lnTo>
                    <a:pt x="2386" y="222"/>
                  </a:lnTo>
                  <a:lnTo>
                    <a:pt x="2390" y="222"/>
                  </a:lnTo>
                  <a:lnTo>
                    <a:pt x="2390" y="226"/>
                  </a:lnTo>
                  <a:lnTo>
                    <a:pt x="2394" y="224"/>
                  </a:lnTo>
                  <a:lnTo>
                    <a:pt x="2396" y="220"/>
                  </a:lnTo>
                  <a:lnTo>
                    <a:pt x="2400" y="220"/>
                  </a:lnTo>
                  <a:lnTo>
                    <a:pt x="2400" y="224"/>
                  </a:lnTo>
                  <a:lnTo>
                    <a:pt x="2396" y="228"/>
                  </a:lnTo>
                  <a:lnTo>
                    <a:pt x="2396" y="230"/>
                  </a:lnTo>
                  <a:lnTo>
                    <a:pt x="2400" y="237"/>
                  </a:lnTo>
                  <a:lnTo>
                    <a:pt x="2400" y="243"/>
                  </a:lnTo>
                  <a:lnTo>
                    <a:pt x="2400" y="247"/>
                  </a:lnTo>
                  <a:lnTo>
                    <a:pt x="2401" y="247"/>
                  </a:lnTo>
                  <a:lnTo>
                    <a:pt x="2405" y="249"/>
                  </a:lnTo>
                  <a:lnTo>
                    <a:pt x="2409" y="250"/>
                  </a:lnTo>
                  <a:lnTo>
                    <a:pt x="2411" y="254"/>
                  </a:lnTo>
                  <a:lnTo>
                    <a:pt x="2409" y="258"/>
                  </a:lnTo>
                  <a:lnTo>
                    <a:pt x="2401" y="258"/>
                  </a:lnTo>
                  <a:lnTo>
                    <a:pt x="2396" y="258"/>
                  </a:lnTo>
                  <a:lnTo>
                    <a:pt x="2405" y="260"/>
                  </a:lnTo>
                  <a:lnTo>
                    <a:pt x="2409" y="264"/>
                  </a:lnTo>
                  <a:lnTo>
                    <a:pt x="2405" y="267"/>
                  </a:lnTo>
                  <a:lnTo>
                    <a:pt x="2401" y="267"/>
                  </a:lnTo>
                  <a:lnTo>
                    <a:pt x="2400" y="273"/>
                  </a:lnTo>
                  <a:lnTo>
                    <a:pt x="2396" y="271"/>
                  </a:lnTo>
                  <a:lnTo>
                    <a:pt x="2392" y="277"/>
                  </a:lnTo>
                  <a:lnTo>
                    <a:pt x="2388" y="277"/>
                  </a:lnTo>
                  <a:lnTo>
                    <a:pt x="2385" y="281"/>
                  </a:lnTo>
                  <a:lnTo>
                    <a:pt x="2388" y="277"/>
                  </a:lnTo>
                  <a:lnTo>
                    <a:pt x="2392" y="281"/>
                  </a:lnTo>
                  <a:lnTo>
                    <a:pt x="2394" y="282"/>
                  </a:lnTo>
                  <a:lnTo>
                    <a:pt x="2396" y="281"/>
                  </a:lnTo>
                  <a:lnTo>
                    <a:pt x="2400" y="281"/>
                  </a:lnTo>
                  <a:lnTo>
                    <a:pt x="2400" y="282"/>
                  </a:lnTo>
                  <a:lnTo>
                    <a:pt x="2401" y="288"/>
                  </a:lnTo>
                  <a:lnTo>
                    <a:pt x="2400" y="290"/>
                  </a:lnTo>
                  <a:lnTo>
                    <a:pt x="2400" y="296"/>
                  </a:lnTo>
                  <a:lnTo>
                    <a:pt x="2401" y="290"/>
                  </a:lnTo>
                  <a:lnTo>
                    <a:pt x="2409" y="290"/>
                  </a:lnTo>
                  <a:lnTo>
                    <a:pt x="2413" y="294"/>
                  </a:lnTo>
                  <a:lnTo>
                    <a:pt x="2411" y="298"/>
                  </a:lnTo>
                  <a:lnTo>
                    <a:pt x="2415" y="301"/>
                  </a:lnTo>
                  <a:lnTo>
                    <a:pt x="2409" y="305"/>
                  </a:lnTo>
                  <a:lnTo>
                    <a:pt x="2413" y="305"/>
                  </a:lnTo>
                  <a:lnTo>
                    <a:pt x="2413" y="311"/>
                  </a:lnTo>
                  <a:lnTo>
                    <a:pt x="2409" y="313"/>
                  </a:lnTo>
                  <a:lnTo>
                    <a:pt x="2409" y="316"/>
                  </a:lnTo>
                  <a:lnTo>
                    <a:pt x="2411" y="318"/>
                  </a:lnTo>
                  <a:lnTo>
                    <a:pt x="2411" y="315"/>
                  </a:lnTo>
                  <a:lnTo>
                    <a:pt x="2415" y="315"/>
                  </a:lnTo>
                  <a:lnTo>
                    <a:pt x="2417" y="316"/>
                  </a:lnTo>
                  <a:lnTo>
                    <a:pt x="2415" y="322"/>
                  </a:lnTo>
                  <a:lnTo>
                    <a:pt x="2420" y="320"/>
                  </a:lnTo>
                  <a:lnTo>
                    <a:pt x="2422" y="324"/>
                  </a:lnTo>
                  <a:lnTo>
                    <a:pt x="2422" y="320"/>
                  </a:lnTo>
                  <a:lnTo>
                    <a:pt x="2424" y="318"/>
                  </a:lnTo>
                  <a:lnTo>
                    <a:pt x="2426" y="320"/>
                  </a:lnTo>
                  <a:lnTo>
                    <a:pt x="2430" y="320"/>
                  </a:lnTo>
                  <a:lnTo>
                    <a:pt x="2430" y="326"/>
                  </a:lnTo>
                  <a:lnTo>
                    <a:pt x="2426" y="328"/>
                  </a:lnTo>
                  <a:lnTo>
                    <a:pt x="2424" y="324"/>
                  </a:lnTo>
                  <a:lnTo>
                    <a:pt x="2422" y="328"/>
                  </a:lnTo>
                  <a:lnTo>
                    <a:pt x="2426" y="331"/>
                  </a:lnTo>
                  <a:lnTo>
                    <a:pt x="2430" y="330"/>
                  </a:lnTo>
                  <a:lnTo>
                    <a:pt x="2430" y="335"/>
                  </a:lnTo>
                  <a:lnTo>
                    <a:pt x="2430" y="337"/>
                  </a:lnTo>
                  <a:lnTo>
                    <a:pt x="2426" y="339"/>
                  </a:lnTo>
                  <a:lnTo>
                    <a:pt x="2422" y="335"/>
                  </a:lnTo>
                  <a:lnTo>
                    <a:pt x="2420" y="331"/>
                  </a:lnTo>
                  <a:lnTo>
                    <a:pt x="2422" y="339"/>
                  </a:lnTo>
                  <a:lnTo>
                    <a:pt x="2420" y="341"/>
                  </a:lnTo>
                  <a:lnTo>
                    <a:pt x="2418" y="341"/>
                  </a:lnTo>
                  <a:lnTo>
                    <a:pt x="2417" y="339"/>
                  </a:lnTo>
                  <a:lnTo>
                    <a:pt x="2415" y="341"/>
                  </a:lnTo>
                  <a:lnTo>
                    <a:pt x="2411" y="339"/>
                  </a:lnTo>
                  <a:lnTo>
                    <a:pt x="2401" y="337"/>
                  </a:lnTo>
                  <a:lnTo>
                    <a:pt x="2400" y="339"/>
                  </a:lnTo>
                  <a:lnTo>
                    <a:pt x="2396" y="339"/>
                  </a:lnTo>
                  <a:lnTo>
                    <a:pt x="2396" y="337"/>
                  </a:lnTo>
                  <a:lnTo>
                    <a:pt x="2396" y="335"/>
                  </a:lnTo>
                  <a:lnTo>
                    <a:pt x="2394" y="335"/>
                  </a:lnTo>
                  <a:lnTo>
                    <a:pt x="2394" y="339"/>
                  </a:lnTo>
                  <a:lnTo>
                    <a:pt x="2392" y="339"/>
                  </a:lnTo>
                  <a:lnTo>
                    <a:pt x="2392" y="339"/>
                  </a:lnTo>
                  <a:lnTo>
                    <a:pt x="2394" y="343"/>
                  </a:lnTo>
                  <a:lnTo>
                    <a:pt x="2390" y="347"/>
                  </a:lnTo>
                  <a:lnTo>
                    <a:pt x="2388" y="347"/>
                  </a:lnTo>
                  <a:lnTo>
                    <a:pt x="2388" y="345"/>
                  </a:lnTo>
                  <a:lnTo>
                    <a:pt x="2386" y="345"/>
                  </a:lnTo>
                  <a:lnTo>
                    <a:pt x="2379" y="347"/>
                  </a:lnTo>
                  <a:lnTo>
                    <a:pt x="2377" y="345"/>
                  </a:lnTo>
                  <a:lnTo>
                    <a:pt x="2377" y="343"/>
                  </a:lnTo>
                  <a:lnTo>
                    <a:pt x="2375" y="337"/>
                  </a:lnTo>
                  <a:lnTo>
                    <a:pt x="2375" y="337"/>
                  </a:lnTo>
                  <a:lnTo>
                    <a:pt x="2366" y="331"/>
                  </a:lnTo>
                  <a:lnTo>
                    <a:pt x="2366" y="330"/>
                  </a:lnTo>
                  <a:lnTo>
                    <a:pt x="2366" y="328"/>
                  </a:lnTo>
                  <a:lnTo>
                    <a:pt x="2360" y="326"/>
                  </a:lnTo>
                  <a:lnTo>
                    <a:pt x="2358" y="330"/>
                  </a:lnTo>
                  <a:lnTo>
                    <a:pt x="2353" y="331"/>
                  </a:lnTo>
                  <a:lnTo>
                    <a:pt x="2351" y="335"/>
                  </a:lnTo>
                  <a:lnTo>
                    <a:pt x="2347" y="335"/>
                  </a:lnTo>
                  <a:lnTo>
                    <a:pt x="2347" y="331"/>
                  </a:lnTo>
                  <a:lnTo>
                    <a:pt x="2345" y="328"/>
                  </a:lnTo>
                  <a:lnTo>
                    <a:pt x="2347" y="331"/>
                  </a:lnTo>
                  <a:lnTo>
                    <a:pt x="2347" y="337"/>
                  </a:lnTo>
                  <a:lnTo>
                    <a:pt x="2347" y="341"/>
                  </a:lnTo>
                  <a:lnTo>
                    <a:pt x="2347" y="347"/>
                  </a:lnTo>
                  <a:lnTo>
                    <a:pt x="2339" y="356"/>
                  </a:lnTo>
                  <a:lnTo>
                    <a:pt x="2336" y="356"/>
                  </a:lnTo>
                  <a:lnTo>
                    <a:pt x="2336" y="348"/>
                  </a:lnTo>
                  <a:lnTo>
                    <a:pt x="2332" y="347"/>
                  </a:lnTo>
                  <a:lnTo>
                    <a:pt x="2328" y="350"/>
                  </a:lnTo>
                  <a:lnTo>
                    <a:pt x="2321" y="343"/>
                  </a:lnTo>
                  <a:lnTo>
                    <a:pt x="2321" y="339"/>
                  </a:lnTo>
                  <a:lnTo>
                    <a:pt x="2317" y="331"/>
                  </a:lnTo>
                  <a:lnTo>
                    <a:pt x="2315" y="330"/>
                  </a:lnTo>
                  <a:lnTo>
                    <a:pt x="2313" y="328"/>
                  </a:lnTo>
                  <a:lnTo>
                    <a:pt x="2311" y="326"/>
                  </a:lnTo>
                  <a:lnTo>
                    <a:pt x="2309" y="328"/>
                  </a:lnTo>
                  <a:lnTo>
                    <a:pt x="2311" y="330"/>
                  </a:lnTo>
                  <a:lnTo>
                    <a:pt x="2311" y="331"/>
                  </a:lnTo>
                  <a:lnTo>
                    <a:pt x="2313" y="335"/>
                  </a:lnTo>
                  <a:lnTo>
                    <a:pt x="2313" y="337"/>
                  </a:lnTo>
                  <a:lnTo>
                    <a:pt x="2305" y="335"/>
                  </a:lnTo>
                  <a:lnTo>
                    <a:pt x="2302" y="330"/>
                  </a:lnTo>
                  <a:lnTo>
                    <a:pt x="2300" y="330"/>
                  </a:lnTo>
                  <a:lnTo>
                    <a:pt x="2304" y="335"/>
                  </a:lnTo>
                  <a:lnTo>
                    <a:pt x="2300" y="335"/>
                  </a:lnTo>
                  <a:lnTo>
                    <a:pt x="2302" y="337"/>
                  </a:lnTo>
                  <a:lnTo>
                    <a:pt x="2307" y="337"/>
                  </a:lnTo>
                  <a:lnTo>
                    <a:pt x="2309" y="341"/>
                  </a:lnTo>
                  <a:lnTo>
                    <a:pt x="2307" y="345"/>
                  </a:lnTo>
                  <a:lnTo>
                    <a:pt x="2302" y="345"/>
                  </a:lnTo>
                  <a:lnTo>
                    <a:pt x="2302" y="347"/>
                  </a:lnTo>
                  <a:lnTo>
                    <a:pt x="2304" y="348"/>
                  </a:lnTo>
                  <a:lnTo>
                    <a:pt x="2315" y="362"/>
                  </a:lnTo>
                  <a:lnTo>
                    <a:pt x="2321" y="362"/>
                  </a:lnTo>
                  <a:lnTo>
                    <a:pt x="2326" y="362"/>
                  </a:lnTo>
                  <a:lnTo>
                    <a:pt x="2330" y="365"/>
                  </a:lnTo>
                  <a:lnTo>
                    <a:pt x="2332" y="367"/>
                  </a:lnTo>
                  <a:lnTo>
                    <a:pt x="2332" y="367"/>
                  </a:lnTo>
                  <a:lnTo>
                    <a:pt x="2328" y="365"/>
                  </a:lnTo>
                  <a:lnTo>
                    <a:pt x="2326" y="365"/>
                  </a:lnTo>
                  <a:lnTo>
                    <a:pt x="2328" y="369"/>
                  </a:lnTo>
                  <a:lnTo>
                    <a:pt x="2334" y="373"/>
                  </a:lnTo>
                  <a:lnTo>
                    <a:pt x="2336" y="379"/>
                  </a:lnTo>
                  <a:lnTo>
                    <a:pt x="2339" y="382"/>
                  </a:lnTo>
                  <a:lnTo>
                    <a:pt x="2339" y="390"/>
                  </a:lnTo>
                  <a:lnTo>
                    <a:pt x="2336" y="403"/>
                  </a:lnTo>
                  <a:lnTo>
                    <a:pt x="2337" y="411"/>
                  </a:lnTo>
                  <a:lnTo>
                    <a:pt x="2337" y="414"/>
                  </a:lnTo>
                  <a:lnTo>
                    <a:pt x="2339" y="418"/>
                  </a:lnTo>
                  <a:lnTo>
                    <a:pt x="2334" y="424"/>
                  </a:lnTo>
                  <a:lnTo>
                    <a:pt x="2334" y="429"/>
                  </a:lnTo>
                  <a:lnTo>
                    <a:pt x="2330" y="431"/>
                  </a:lnTo>
                  <a:lnTo>
                    <a:pt x="2332" y="429"/>
                  </a:lnTo>
                  <a:lnTo>
                    <a:pt x="2330" y="426"/>
                  </a:lnTo>
                  <a:lnTo>
                    <a:pt x="2322" y="433"/>
                  </a:lnTo>
                  <a:lnTo>
                    <a:pt x="2321" y="429"/>
                  </a:lnTo>
                  <a:lnTo>
                    <a:pt x="2317" y="433"/>
                  </a:lnTo>
                  <a:lnTo>
                    <a:pt x="2315" y="431"/>
                  </a:lnTo>
                  <a:lnTo>
                    <a:pt x="2313" y="429"/>
                  </a:lnTo>
                  <a:lnTo>
                    <a:pt x="2307" y="429"/>
                  </a:lnTo>
                  <a:lnTo>
                    <a:pt x="2302" y="424"/>
                  </a:lnTo>
                  <a:lnTo>
                    <a:pt x="2298" y="420"/>
                  </a:lnTo>
                  <a:lnTo>
                    <a:pt x="2292" y="420"/>
                  </a:lnTo>
                  <a:lnTo>
                    <a:pt x="2290" y="418"/>
                  </a:lnTo>
                  <a:lnTo>
                    <a:pt x="2289" y="418"/>
                  </a:lnTo>
                  <a:lnTo>
                    <a:pt x="2283" y="424"/>
                  </a:lnTo>
                  <a:lnTo>
                    <a:pt x="2279" y="424"/>
                  </a:lnTo>
                  <a:lnTo>
                    <a:pt x="2283" y="424"/>
                  </a:lnTo>
                  <a:lnTo>
                    <a:pt x="2290" y="424"/>
                  </a:lnTo>
                  <a:lnTo>
                    <a:pt x="2292" y="420"/>
                  </a:lnTo>
                  <a:lnTo>
                    <a:pt x="2302" y="424"/>
                  </a:lnTo>
                  <a:lnTo>
                    <a:pt x="2304" y="429"/>
                  </a:lnTo>
                  <a:lnTo>
                    <a:pt x="2298" y="431"/>
                  </a:lnTo>
                  <a:lnTo>
                    <a:pt x="2296" y="429"/>
                  </a:lnTo>
                  <a:lnTo>
                    <a:pt x="2292" y="429"/>
                  </a:lnTo>
                  <a:lnTo>
                    <a:pt x="2292" y="433"/>
                  </a:lnTo>
                  <a:lnTo>
                    <a:pt x="2289" y="429"/>
                  </a:lnTo>
                  <a:lnTo>
                    <a:pt x="2283" y="429"/>
                  </a:lnTo>
                  <a:lnTo>
                    <a:pt x="2287" y="429"/>
                  </a:lnTo>
                  <a:lnTo>
                    <a:pt x="2289" y="435"/>
                  </a:lnTo>
                  <a:lnTo>
                    <a:pt x="2292" y="437"/>
                  </a:lnTo>
                  <a:lnTo>
                    <a:pt x="2292" y="443"/>
                  </a:lnTo>
                  <a:lnTo>
                    <a:pt x="2292" y="450"/>
                  </a:lnTo>
                  <a:lnTo>
                    <a:pt x="2296" y="450"/>
                  </a:lnTo>
                  <a:lnTo>
                    <a:pt x="2296" y="450"/>
                  </a:lnTo>
                  <a:lnTo>
                    <a:pt x="2296" y="443"/>
                  </a:lnTo>
                  <a:lnTo>
                    <a:pt x="2298" y="441"/>
                  </a:lnTo>
                  <a:lnTo>
                    <a:pt x="2302" y="441"/>
                  </a:lnTo>
                  <a:lnTo>
                    <a:pt x="2302" y="439"/>
                  </a:lnTo>
                  <a:lnTo>
                    <a:pt x="2307" y="433"/>
                  </a:lnTo>
                  <a:lnTo>
                    <a:pt x="2311" y="433"/>
                  </a:lnTo>
                  <a:lnTo>
                    <a:pt x="2313" y="435"/>
                  </a:lnTo>
                  <a:lnTo>
                    <a:pt x="2313" y="437"/>
                  </a:lnTo>
                  <a:lnTo>
                    <a:pt x="2317" y="444"/>
                  </a:lnTo>
                  <a:lnTo>
                    <a:pt x="2321" y="446"/>
                  </a:lnTo>
                  <a:lnTo>
                    <a:pt x="2326" y="450"/>
                  </a:lnTo>
                  <a:lnTo>
                    <a:pt x="2332" y="450"/>
                  </a:lnTo>
                  <a:lnTo>
                    <a:pt x="2332" y="446"/>
                  </a:lnTo>
                  <a:lnTo>
                    <a:pt x="2332" y="444"/>
                  </a:lnTo>
                  <a:lnTo>
                    <a:pt x="2334" y="444"/>
                  </a:lnTo>
                  <a:lnTo>
                    <a:pt x="2341" y="450"/>
                  </a:lnTo>
                  <a:lnTo>
                    <a:pt x="2345" y="454"/>
                  </a:lnTo>
                  <a:lnTo>
                    <a:pt x="2341" y="454"/>
                  </a:lnTo>
                  <a:lnTo>
                    <a:pt x="2341" y="458"/>
                  </a:lnTo>
                  <a:lnTo>
                    <a:pt x="2347" y="463"/>
                  </a:lnTo>
                  <a:lnTo>
                    <a:pt x="2351" y="463"/>
                  </a:lnTo>
                  <a:lnTo>
                    <a:pt x="2351" y="461"/>
                  </a:lnTo>
                  <a:lnTo>
                    <a:pt x="2351" y="456"/>
                  </a:lnTo>
                  <a:lnTo>
                    <a:pt x="2354" y="461"/>
                  </a:lnTo>
                  <a:lnTo>
                    <a:pt x="2362" y="473"/>
                  </a:lnTo>
                  <a:lnTo>
                    <a:pt x="2360" y="471"/>
                  </a:lnTo>
                  <a:lnTo>
                    <a:pt x="2358" y="471"/>
                  </a:lnTo>
                  <a:lnTo>
                    <a:pt x="2356" y="471"/>
                  </a:lnTo>
                  <a:lnTo>
                    <a:pt x="2360" y="475"/>
                  </a:lnTo>
                  <a:lnTo>
                    <a:pt x="2356" y="478"/>
                  </a:lnTo>
                  <a:lnTo>
                    <a:pt x="2354" y="480"/>
                  </a:lnTo>
                  <a:lnTo>
                    <a:pt x="2356" y="484"/>
                  </a:lnTo>
                  <a:lnTo>
                    <a:pt x="2360" y="484"/>
                  </a:lnTo>
                  <a:lnTo>
                    <a:pt x="2362" y="480"/>
                  </a:lnTo>
                  <a:lnTo>
                    <a:pt x="2362" y="478"/>
                  </a:lnTo>
                  <a:lnTo>
                    <a:pt x="2366" y="480"/>
                  </a:lnTo>
                  <a:lnTo>
                    <a:pt x="2366" y="475"/>
                  </a:lnTo>
                  <a:lnTo>
                    <a:pt x="2369" y="480"/>
                  </a:lnTo>
                  <a:lnTo>
                    <a:pt x="2377" y="488"/>
                  </a:lnTo>
                  <a:lnTo>
                    <a:pt x="2386" y="488"/>
                  </a:lnTo>
                  <a:lnTo>
                    <a:pt x="2390" y="492"/>
                  </a:lnTo>
                  <a:lnTo>
                    <a:pt x="2388" y="495"/>
                  </a:lnTo>
                  <a:lnTo>
                    <a:pt x="2394" y="503"/>
                  </a:lnTo>
                  <a:lnTo>
                    <a:pt x="2396" y="503"/>
                  </a:lnTo>
                  <a:lnTo>
                    <a:pt x="2401" y="512"/>
                  </a:lnTo>
                  <a:lnTo>
                    <a:pt x="2401" y="522"/>
                  </a:lnTo>
                  <a:lnTo>
                    <a:pt x="2400" y="522"/>
                  </a:lnTo>
                  <a:lnTo>
                    <a:pt x="2400" y="524"/>
                  </a:lnTo>
                  <a:lnTo>
                    <a:pt x="2405" y="527"/>
                  </a:lnTo>
                  <a:lnTo>
                    <a:pt x="2405" y="531"/>
                  </a:lnTo>
                  <a:lnTo>
                    <a:pt x="2405" y="533"/>
                  </a:lnTo>
                  <a:lnTo>
                    <a:pt x="2400" y="529"/>
                  </a:lnTo>
                  <a:lnTo>
                    <a:pt x="2388" y="529"/>
                  </a:lnTo>
                  <a:lnTo>
                    <a:pt x="2385" y="527"/>
                  </a:lnTo>
                  <a:lnTo>
                    <a:pt x="2381" y="529"/>
                  </a:lnTo>
                  <a:lnTo>
                    <a:pt x="2377" y="527"/>
                  </a:lnTo>
                  <a:lnTo>
                    <a:pt x="2375" y="525"/>
                  </a:lnTo>
                  <a:lnTo>
                    <a:pt x="2375" y="524"/>
                  </a:lnTo>
                  <a:lnTo>
                    <a:pt x="2375" y="525"/>
                  </a:lnTo>
                  <a:lnTo>
                    <a:pt x="2375" y="527"/>
                  </a:lnTo>
                  <a:lnTo>
                    <a:pt x="2369" y="531"/>
                  </a:lnTo>
                  <a:lnTo>
                    <a:pt x="2366" y="531"/>
                  </a:lnTo>
                  <a:lnTo>
                    <a:pt x="2364" y="533"/>
                  </a:lnTo>
                  <a:lnTo>
                    <a:pt x="2366" y="535"/>
                  </a:lnTo>
                  <a:lnTo>
                    <a:pt x="2360" y="539"/>
                  </a:lnTo>
                  <a:lnTo>
                    <a:pt x="2356" y="539"/>
                  </a:lnTo>
                  <a:lnTo>
                    <a:pt x="2356" y="542"/>
                  </a:lnTo>
                  <a:lnTo>
                    <a:pt x="2358" y="544"/>
                  </a:lnTo>
                  <a:lnTo>
                    <a:pt x="2353" y="552"/>
                  </a:lnTo>
                  <a:lnTo>
                    <a:pt x="2351" y="554"/>
                  </a:lnTo>
                  <a:lnTo>
                    <a:pt x="2351" y="552"/>
                  </a:lnTo>
                  <a:lnTo>
                    <a:pt x="2347" y="552"/>
                  </a:lnTo>
                  <a:lnTo>
                    <a:pt x="2347" y="558"/>
                  </a:lnTo>
                  <a:lnTo>
                    <a:pt x="2351" y="563"/>
                  </a:lnTo>
                  <a:lnTo>
                    <a:pt x="2347" y="567"/>
                  </a:lnTo>
                  <a:lnTo>
                    <a:pt x="2345" y="565"/>
                  </a:lnTo>
                  <a:lnTo>
                    <a:pt x="2341" y="569"/>
                  </a:lnTo>
                  <a:lnTo>
                    <a:pt x="2345" y="573"/>
                  </a:lnTo>
                  <a:lnTo>
                    <a:pt x="2341" y="574"/>
                  </a:lnTo>
                  <a:lnTo>
                    <a:pt x="2337" y="576"/>
                  </a:lnTo>
                  <a:lnTo>
                    <a:pt x="2339" y="578"/>
                  </a:lnTo>
                  <a:lnTo>
                    <a:pt x="2339" y="582"/>
                  </a:lnTo>
                  <a:lnTo>
                    <a:pt x="2337" y="584"/>
                  </a:lnTo>
                  <a:lnTo>
                    <a:pt x="2336" y="582"/>
                  </a:lnTo>
                  <a:lnTo>
                    <a:pt x="2332" y="584"/>
                  </a:lnTo>
                  <a:lnTo>
                    <a:pt x="2334" y="586"/>
                  </a:lnTo>
                  <a:lnTo>
                    <a:pt x="2336" y="590"/>
                  </a:lnTo>
                  <a:lnTo>
                    <a:pt x="2332" y="593"/>
                  </a:lnTo>
                  <a:lnTo>
                    <a:pt x="2334" y="595"/>
                  </a:lnTo>
                  <a:lnTo>
                    <a:pt x="2332" y="599"/>
                  </a:lnTo>
                  <a:lnTo>
                    <a:pt x="2330" y="599"/>
                  </a:lnTo>
                  <a:lnTo>
                    <a:pt x="2328" y="597"/>
                  </a:lnTo>
                  <a:lnTo>
                    <a:pt x="2326" y="599"/>
                  </a:lnTo>
                  <a:lnTo>
                    <a:pt x="2326" y="599"/>
                  </a:lnTo>
                  <a:lnTo>
                    <a:pt x="2332" y="603"/>
                  </a:lnTo>
                  <a:lnTo>
                    <a:pt x="2330" y="606"/>
                  </a:lnTo>
                  <a:lnTo>
                    <a:pt x="2326" y="606"/>
                  </a:lnTo>
                  <a:lnTo>
                    <a:pt x="2326" y="608"/>
                  </a:lnTo>
                  <a:lnTo>
                    <a:pt x="2328" y="612"/>
                  </a:lnTo>
                  <a:lnTo>
                    <a:pt x="2330" y="616"/>
                  </a:lnTo>
                  <a:lnTo>
                    <a:pt x="2328" y="620"/>
                  </a:lnTo>
                  <a:lnTo>
                    <a:pt x="2330" y="622"/>
                  </a:lnTo>
                  <a:lnTo>
                    <a:pt x="2326" y="627"/>
                  </a:lnTo>
                  <a:lnTo>
                    <a:pt x="2326" y="631"/>
                  </a:lnTo>
                  <a:lnTo>
                    <a:pt x="2326" y="637"/>
                  </a:lnTo>
                  <a:lnTo>
                    <a:pt x="2322" y="644"/>
                  </a:lnTo>
                  <a:lnTo>
                    <a:pt x="2321" y="648"/>
                  </a:lnTo>
                  <a:lnTo>
                    <a:pt x="2321" y="652"/>
                  </a:lnTo>
                  <a:lnTo>
                    <a:pt x="2322" y="654"/>
                  </a:lnTo>
                  <a:lnTo>
                    <a:pt x="2326" y="655"/>
                  </a:lnTo>
                  <a:lnTo>
                    <a:pt x="2322" y="657"/>
                  </a:lnTo>
                  <a:lnTo>
                    <a:pt x="2328" y="663"/>
                  </a:lnTo>
                  <a:lnTo>
                    <a:pt x="2328" y="667"/>
                  </a:lnTo>
                  <a:lnTo>
                    <a:pt x="2326" y="667"/>
                  </a:lnTo>
                  <a:lnTo>
                    <a:pt x="2321" y="667"/>
                  </a:lnTo>
                  <a:lnTo>
                    <a:pt x="2317" y="663"/>
                  </a:lnTo>
                  <a:lnTo>
                    <a:pt x="2317" y="667"/>
                  </a:lnTo>
                  <a:lnTo>
                    <a:pt x="2311" y="657"/>
                  </a:lnTo>
                  <a:lnTo>
                    <a:pt x="2313" y="657"/>
                  </a:lnTo>
                  <a:lnTo>
                    <a:pt x="2311" y="657"/>
                  </a:lnTo>
                  <a:lnTo>
                    <a:pt x="2307" y="657"/>
                  </a:lnTo>
                  <a:lnTo>
                    <a:pt x="2304" y="657"/>
                  </a:lnTo>
                  <a:lnTo>
                    <a:pt x="2304" y="655"/>
                  </a:lnTo>
                  <a:lnTo>
                    <a:pt x="2292" y="648"/>
                  </a:lnTo>
                  <a:lnTo>
                    <a:pt x="2290" y="648"/>
                  </a:lnTo>
                  <a:lnTo>
                    <a:pt x="2283" y="652"/>
                  </a:lnTo>
                  <a:lnTo>
                    <a:pt x="2281" y="650"/>
                  </a:lnTo>
                  <a:lnTo>
                    <a:pt x="2277" y="652"/>
                  </a:lnTo>
                  <a:lnTo>
                    <a:pt x="2273" y="657"/>
                  </a:lnTo>
                  <a:lnTo>
                    <a:pt x="2268" y="657"/>
                  </a:lnTo>
                  <a:lnTo>
                    <a:pt x="2266" y="663"/>
                  </a:lnTo>
                  <a:lnTo>
                    <a:pt x="2264" y="667"/>
                  </a:lnTo>
                  <a:lnTo>
                    <a:pt x="2262" y="663"/>
                  </a:lnTo>
                  <a:lnTo>
                    <a:pt x="2264" y="669"/>
                  </a:lnTo>
                  <a:lnTo>
                    <a:pt x="2262" y="671"/>
                  </a:lnTo>
                  <a:lnTo>
                    <a:pt x="2262" y="676"/>
                  </a:lnTo>
                  <a:lnTo>
                    <a:pt x="2262" y="680"/>
                  </a:lnTo>
                  <a:lnTo>
                    <a:pt x="2258" y="687"/>
                  </a:lnTo>
                  <a:lnTo>
                    <a:pt x="2258" y="691"/>
                  </a:lnTo>
                  <a:lnTo>
                    <a:pt x="2257" y="687"/>
                  </a:lnTo>
                  <a:lnTo>
                    <a:pt x="2251" y="676"/>
                  </a:lnTo>
                  <a:lnTo>
                    <a:pt x="2251" y="671"/>
                  </a:lnTo>
                  <a:lnTo>
                    <a:pt x="2247" y="669"/>
                  </a:lnTo>
                  <a:lnTo>
                    <a:pt x="2245" y="667"/>
                  </a:lnTo>
                  <a:lnTo>
                    <a:pt x="2245" y="671"/>
                  </a:lnTo>
                  <a:lnTo>
                    <a:pt x="2240" y="678"/>
                  </a:lnTo>
                  <a:lnTo>
                    <a:pt x="2238" y="680"/>
                  </a:lnTo>
                  <a:lnTo>
                    <a:pt x="2238" y="684"/>
                  </a:lnTo>
                  <a:lnTo>
                    <a:pt x="2240" y="686"/>
                  </a:lnTo>
                  <a:lnTo>
                    <a:pt x="2238" y="693"/>
                  </a:lnTo>
                  <a:lnTo>
                    <a:pt x="2234" y="687"/>
                  </a:lnTo>
                  <a:lnTo>
                    <a:pt x="2232" y="687"/>
                  </a:lnTo>
                  <a:lnTo>
                    <a:pt x="2228" y="687"/>
                  </a:lnTo>
                  <a:lnTo>
                    <a:pt x="2228" y="687"/>
                  </a:lnTo>
                  <a:lnTo>
                    <a:pt x="2226" y="691"/>
                  </a:lnTo>
                  <a:lnTo>
                    <a:pt x="2225" y="691"/>
                  </a:lnTo>
                  <a:lnTo>
                    <a:pt x="2221" y="691"/>
                  </a:lnTo>
                  <a:lnTo>
                    <a:pt x="2217" y="691"/>
                  </a:lnTo>
                  <a:lnTo>
                    <a:pt x="2217" y="693"/>
                  </a:lnTo>
                  <a:lnTo>
                    <a:pt x="2219" y="697"/>
                  </a:lnTo>
                  <a:lnTo>
                    <a:pt x="2217" y="697"/>
                  </a:lnTo>
                  <a:lnTo>
                    <a:pt x="2215" y="701"/>
                  </a:lnTo>
                  <a:lnTo>
                    <a:pt x="2215" y="704"/>
                  </a:lnTo>
                  <a:lnTo>
                    <a:pt x="2219" y="708"/>
                  </a:lnTo>
                  <a:lnTo>
                    <a:pt x="2221" y="714"/>
                  </a:lnTo>
                  <a:lnTo>
                    <a:pt x="2219" y="714"/>
                  </a:lnTo>
                  <a:lnTo>
                    <a:pt x="2219" y="716"/>
                  </a:lnTo>
                  <a:lnTo>
                    <a:pt x="2223" y="718"/>
                  </a:lnTo>
                  <a:lnTo>
                    <a:pt x="2226" y="721"/>
                  </a:lnTo>
                  <a:lnTo>
                    <a:pt x="2226" y="721"/>
                  </a:lnTo>
                  <a:lnTo>
                    <a:pt x="2225" y="721"/>
                  </a:lnTo>
                  <a:lnTo>
                    <a:pt x="2225" y="725"/>
                  </a:lnTo>
                  <a:lnTo>
                    <a:pt x="2226" y="727"/>
                  </a:lnTo>
                  <a:lnTo>
                    <a:pt x="2228" y="731"/>
                  </a:lnTo>
                  <a:lnTo>
                    <a:pt x="2228" y="731"/>
                  </a:lnTo>
                  <a:lnTo>
                    <a:pt x="2226" y="731"/>
                  </a:lnTo>
                  <a:lnTo>
                    <a:pt x="2223" y="731"/>
                  </a:lnTo>
                  <a:lnTo>
                    <a:pt x="2223" y="731"/>
                  </a:lnTo>
                  <a:lnTo>
                    <a:pt x="2226" y="736"/>
                  </a:lnTo>
                  <a:lnTo>
                    <a:pt x="2228" y="735"/>
                  </a:lnTo>
                  <a:lnTo>
                    <a:pt x="2228" y="738"/>
                  </a:lnTo>
                  <a:lnTo>
                    <a:pt x="2228" y="742"/>
                  </a:lnTo>
                  <a:lnTo>
                    <a:pt x="2228" y="746"/>
                  </a:lnTo>
                  <a:lnTo>
                    <a:pt x="2226" y="750"/>
                  </a:lnTo>
                  <a:lnTo>
                    <a:pt x="2228" y="755"/>
                  </a:lnTo>
                  <a:lnTo>
                    <a:pt x="2226" y="757"/>
                  </a:lnTo>
                  <a:lnTo>
                    <a:pt x="2228" y="761"/>
                  </a:lnTo>
                  <a:lnTo>
                    <a:pt x="2228" y="763"/>
                  </a:lnTo>
                  <a:lnTo>
                    <a:pt x="2228" y="767"/>
                  </a:lnTo>
                  <a:lnTo>
                    <a:pt x="2232" y="774"/>
                  </a:lnTo>
                  <a:lnTo>
                    <a:pt x="2228" y="776"/>
                  </a:lnTo>
                  <a:lnTo>
                    <a:pt x="2234" y="776"/>
                  </a:lnTo>
                  <a:lnTo>
                    <a:pt x="2234" y="782"/>
                  </a:lnTo>
                  <a:lnTo>
                    <a:pt x="2240" y="787"/>
                  </a:lnTo>
                  <a:lnTo>
                    <a:pt x="2245" y="789"/>
                  </a:lnTo>
                  <a:lnTo>
                    <a:pt x="2247" y="787"/>
                  </a:lnTo>
                  <a:lnTo>
                    <a:pt x="2247" y="785"/>
                  </a:lnTo>
                  <a:lnTo>
                    <a:pt x="2241" y="780"/>
                  </a:lnTo>
                  <a:lnTo>
                    <a:pt x="2241" y="776"/>
                  </a:lnTo>
                  <a:lnTo>
                    <a:pt x="2245" y="776"/>
                  </a:lnTo>
                  <a:lnTo>
                    <a:pt x="2249" y="776"/>
                  </a:lnTo>
                  <a:lnTo>
                    <a:pt x="2255" y="780"/>
                  </a:lnTo>
                  <a:lnTo>
                    <a:pt x="2258" y="780"/>
                  </a:lnTo>
                  <a:lnTo>
                    <a:pt x="2262" y="782"/>
                  </a:lnTo>
                  <a:lnTo>
                    <a:pt x="2262" y="785"/>
                  </a:lnTo>
                  <a:lnTo>
                    <a:pt x="2258" y="785"/>
                  </a:lnTo>
                  <a:lnTo>
                    <a:pt x="2262" y="789"/>
                  </a:lnTo>
                  <a:lnTo>
                    <a:pt x="2258" y="791"/>
                  </a:lnTo>
                  <a:lnTo>
                    <a:pt x="2262" y="795"/>
                  </a:lnTo>
                  <a:lnTo>
                    <a:pt x="2258" y="797"/>
                  </a:lnTo>
                  <a:lnTo>
                    <a:pt x="2258" y="800"/>
                  </a:lnTo>
                  <a:lnTo>
                    <a:pt x="2262" y="806"/>
                  </a:lnTo>
                  <a:lnTo>
                    <a:pt x="2262" y="810"/>
                  </a:lnTo>
                  <a:lnTo>
                    <a:pt x="2262" y="819"/>
                  </a:lnTo>
                  <a:lnTo>
                    <a:pt x="2266" y="819"/>
                  </a:lnTo>
                  <a:lnTo>
                    <a:pt x="2268" y="819"/>
                  </a:lnTo>
                  <a:lnTo>
                    <a:pt x="2268" y="816"/>
                  </a:lnTo>
                  <a:lnTo>
                    <a:pt x="2272" y="816"/>
                  </a:lnTo>
                  <a:lnTo>
                    <a:pt x="2272" y="812"/>
                  </a:lnTo>
                  <a:lnTo>
                    <a:pt x="2273" y="816"/>
                  </a:lnTo>
                  <a:lnTo>
                    <a:pt x="2277" y="816"/>
                  </a:lnTo>
                  <a:lnTo>
                    <a:pt x="2277" y="825"/>
                  </a:lnTo>
                  <a:lnTo>
                    <a:pt x="2287" y="833"/>
                  </a:lnTo>
                  <a:lnTo>
                    <a:pt x="2289" y="838"/>
                  </a:lnTo>
                  <a:lnTo>
                    <a:pt x="2287" y="840"/>
                  </a:lnTo>
                  <a:lnTo>
                    <a:pt x="2287" y="844"/>
                  </a:lnTo>
                  <a:lnTo>
                    <a:pt x="2283" y="846"/>
                  </a:lnTo>
                  <a:lnTo>
                    <a:pt x="2279" y="844"/>
                  </a:lnTo>
                  <a:lnTo>
                    <a:pt x="2273" y="840"/>
                  </a:lnTo>
                  <a:lnTo>
                    <a:pt x="2273" y="836"/>
                  </a:lnTo>
                  <a:lnTo>
                    <a:pt x="2275" y="831"/>
                  </a:lnTo>
                  <a:lnTo>
                    <a:pt x="2275" y="827"/>
                  </a:lnTo>
                  <a:lnTo>
                    <a:pt x="2273" y="823"/>
                  </a:lnTo>
                  <a:lnTo>
                    <a:pt x="2272" y="825"/>
                  </a:lnTo>
                  <a:lnTo>
                    <a:pt x="2273" y="827"/>
                  </a:lnTo>
                  <a:lnTo>
                    <a:pt x="2273" y="831"/>
                  </a:lnTo>
                  <a:lnTo>
                    <a:pt x="2272" y="831"/>
                  </a:lnTo>
                  <a:lnTo>
                    <a:pt x="2266" y="836"/>
                  </a:lnTo>
                  <a:lnTo>
                    <a:pt x="2266" y="838"/>
                  </a:lnTo>
                  <a:lnTo>
                    <a:pt x="2272" y="838"/>
                  </a:lnTo>
                  <a:lnTo>
                    <a:pt x="2272" y="840"/>
                  </a:lnTo>
                  <a:lnTo>
                    <a:pt x="2268" y="844"/>
                  </a:lnTo>
                  <a:lnTo>
                    <a:pt x="2272" y="849"/>
                  </a:lnTo>
                  <a:lnTo>
                    <a:pt x="2272" y="851"/>
                  </a:lnTo>
                  <a:lnTo>
                    <a:pt x="2272" y="866"/>
                  </a:lnTo>
                  <a:lnTo>
                    <a:pt x="2272" y="868"/>
                  </a:lnTo>
                  <a:lnTo>
                    <a:pt x="2272" y="870"/>
                  </a:lnTo>
                  <a:lnTo>
                    <a:pt x="2283" y="885"/>
                  </a:lnTo>
                  <a:lnTo>
                    <a:pt x="2283" y="885"/>
                  </a:lnTo>
                  <a:lnTo>
                    <a:pt x="2292" y="895"/>
                  </a:lnTo>
                  <a:lnTo>
                    <a:pt x="2296" y="895"/>
                  </a:lnTo>
                  <a:lnTo>
                    <a:pt x="2292" y="900"/>
                  </a:lnTo>
                  <a:lnTo>
                    <a:pt x="2292" y="904"/>
                  </a:lnTo>
                  <a:lnTo>
                    <a:pt x="2283" y="908"/>
                  </a:lnTo>
                  <a:lnTo>
                    <a:pt x="2281" y="908"/>
                  </a:lnTo>
                  <a:lnTo>
                    <a:pt x="2275" y="910"/>
                  </a:lnTo>
                  <a:lnTo>
                    <a:pt x="2272" y="910"/>
                  </a:lnTo>
                  <a:lnTo>
                    <a:pt x="2273" y="912"/>
                  </a:lnTo>
                  <a:lnTo>
                    <a:pt x="2272" y="919"/>
                  </a:lnTo>
                  <a:lnTo>
                    <a:pt x="2272" y="923"/>
                  </a:lnTo>
                  <a:lnTo>
                    <a:pt x="2268" y="925"/>
                  </a:lnTo>
                  <a:lnTo>
                    <a:pt x="2272" y="930"/>
                  </a:lnTo>
                  <a:lnTo>
                    <a:pt x="2268" y="938"/>
                  </a:lnTo>
                  <a:lnTo>
                    <a:pt x="2272" y="949"/>
                  </a:lnTo>
                  <a:lnTo>
                    <a:pt x="2277" y="951"/>
                  </a:lnTo>
                  <a:lnTo>
                    <a:pt x="2277" y="957"/>
                  </a:lnTo>
                  <a:lnTo>
                    <a:pt x="2283" y="959"/>
                  </a:lnTo>
                  <a:lnTo>
                    <a:pt x="2283" y="964"/>
                  </a:lnTo>
                  <a:lnTo>
                    <a:pt x="2281" y="962"/>
                  </a:lnTo>
                  <a:lnTo>
                    <a:pt x="2279" y="962"/>
                  </a:lnTo>
                  <a:lnTo>
                    <a:pt x="2275" y="964"/>
                  </a:lnTo>
                  <a:lnTo>
                    <a:pt x="2272" y="968"/>
                  </a:lnTo>
                  <a:lnTo>
                    <a:pt x="2272" y="964"/>
                  </a:lnTo>
                  <a:lnTo>
                    <a:pt x="2264" y="970"/>
                  </a:lnTo>
                  <a:lnTo>
                    <a:pt x="2262" y="968"/>
                  </a:lnTo>
                  <a:lnTo>
                    <a:pt x="2258" y="972"/>
                  </a:lnTo>
                  <a:lnTo>
                    <a:pt x="2262" y="974"/>
                  </a:lnTo>
                  <a:lnTo>
                    <a:pt x="2264" y="972"/>
                  </a:lnTo>
                  <a:lnTo>
                    <a:pt x="2264" y="978"/>
                  </a:lnTo>
                  <a:lnTo>
                    <a:pt x="2262" y="979"/>
                  </a:lnTo>
                  <a:lnTo>
                    <a:pt x="2266" y="983"/>
                  </a:lnTo>
                  <a:lnTo>
                    <a:pt x="2264" y="985"/>
                  </a:lnTo>
                  <a:lnTo>
                    <a:pt x="2262" y="985"/>
                  </a:lnTo>
                  <a:lnTo>
                    <a:pt x="2266" y="989"/>
                  </a:lnTo>
                  <a:lnTo>
                    <a:pt x="2264" y="993"/>
                  </a:lnTo>
                  <a:lnTo>
                    <a:pt x="2266" y="993"/>
                  </a:lnTo>
                  <a:lnTo>
                    <a:pt x="2268" y="993"/>
                  </a:lnTo>
                  <a:lnTo>
                    <a:pt x="2272" y="995"/>
                  </a:lnTo>
                  <a:lnTo>
                    <a:pt x="2272" y="998"/>
                  </a:lnTo>
                  <a:lnTo>
                    <a:pt x="2268" y="1004"/>
                  </a:lnTo>
                  <a:lnTo>
                    <a:pt x="2272" y="1008"/>
                  </a:lnTo>
                  <a:lnTo>
                    <a:pt x="2272" y="1015"/>
                  </a:lnTo>
                  <a:lnTo>
                    <a:pt x="2268" y="1019"/>
                  </a:lnTo>
                  <a:lnTo>
                    <a:pt x="2268" y="1019"/>
                  </a:lnTo>
                  <a:lnTo>
                    <a:pt x="2268" y="1023"/>
                  </a:lnTo>
                  <a:lnTo>
                    <a:pt x="2262" y="1027"/>
                  </a:lnTo>
                  <a:lnTo>
                    <a:pt x="2262" y="1032"/>
                  </a:lnTo>
                  <a:lnTo>
                    <a:pt x="2262" y="1032"/>
                  </a:lnTo>
                  <a:lnTo>
                    <a:pt x="2258" y="1040"/>
                  </a:lnTo>
                  <a:lnTo>
                    <a:pt x="2257" y="1049"/>
                  </a:lnTo>
                  <a:lnTo>
                    <a:pt x="2258" y="1043"/>
                  </a:lnTo>
                  <a:lnTo>
                    <a:pt x="2257" y="1042"/>
                  </a:lnTo>
                  <a:lnTo>
                    <a:pt x="2257" y="1038"/>
                  </a:lnTo>
                  <a:lnTo>
                    <a:pt x="2255" y="1036"/>
                  </a:lnTo>
                  <a:lnTo>
                    <a:pt x="2247" y="1034"/>
                  </a:lnTo>
                  <a:lnTo>
                    <a:pt x="2243" y="1028"/>
                  </a:lnTo>
                  <a:lnTo>
                    <a:pt x="2243" y="1023"/>
                  </a:lnTo>
                  <a:lnTo>
                    <a:pt x="2238" y="1006"/>
                  </a:lnTo>
                  <a:lnTo>
                    <a:pt x="2232" y="998"/>
                  </a:lnTo>
                  <a:lnTo>
                    <a:pt x="2234" y="998"/>
                  </a:lnTo>
                  <a:lnTo>
                    <a:pt x="2238" y="998"/>
                  </a:lnTo>
                  <a:lnTo>
                    <a:pt x="2238" y="993"/>
                  </a:lnTo>
                  <a:lnTo>
                    <a:pt x="2234" y="995"/>
                  </a:lnTo>
                  <a:lnTo>
                    <a:pt x="2232" y="995"/>
                  </a:lnTo>
                  <a:lnTo>
                    <a:pt x="2225" y="993"/>
                  </a:lnTo>
                  <a:lnTo>
                    <a:pt x="2209" y="968"/>
                  </a:lnTo>
                  <a:lnTo>
                    <a:pt x="2196" y="951"/>
                  </a:lnTo>
                  <a:lnTo>
                    <a:pt x="2196" y="946"/>
                  </a:lnTo>
                  <a:lnTo>
                    <a:pt x="2193" y="940"/>
                  </a:lnTo>
                  <a:lnTo>
                    <a:pt x="2183" y="925"/>
                  </a:lnTo>
                  <a:lnTo>
                    <a:pt x="2170" y="904"/>
                  </a:lnTo>
                  <a:lnTo>
                    <a:pt x="2164" y="885"/>
                  </a:lnTo>
                  <a:lnTo>
                    <a:pt x="2164" y="878"/>
                  </a:lnTo>
                  <a:lnTo>
                    <a:pt x="2159" y="870"/>
                  </a:lnTo>
                  <a:lnTo>
                    <a:pt x="2159" y="859"/>
                  </a:lnTo>
                  <a:lnTo>
                    <a:pt x="2155" y="851"/>
                  </a:lnTo>
                  <a:lnTo>
                    <a:pt x="2155" y="844"/>
                  </a:lnTo>
                  <a:lnTo>
                    <a:pt x="2159" y="840"/>
                  </a:lnTo>
                  <a:lnTo>
                    <a:pt x="2159" y="833"/>
                  </a:lnTo>
                  <a:lnTo>
                    <a:pt x="2162" y="833"/>
                  </a:lnTo>
                  <a:lnTo>
                    <a:pt x="2161" y="829"/>
                  </a:lnTo>
                  <a:lnTo>
                    <a:pt x="2162" y="827"/>
                  </a:lnTo>
                  <a:lnTo>
                    <a:pt x="2162" y="819"/>
                  </a:lnTo>
                  <a:lnTo>
                    <a:pt x="2155" y="806"/>
                  </a:lnTo>
                  <a:lnTo>
                    <a:pt x="2149" y="806"/>
                  </a:lnTo>
                  <a:lnTo>
                    <a:pt x="2149" y="806"/>
                  </a:lnTo>
                  <a:lnTo>
                    <a:pt x="2155" y="802"/>
                  </a:lnTo>
                  <a:lnTo>
                    <a:pt x="2161" y="806"/>
                  </a:lnTo>
                  <a:lnTo>
                    <a:pt x="2166" y="800"/>
                  </a:lnTo>
                  <a:lnTo>
                    <a:pt x="2164" y="799"/>
                  </a:lnTo>
                  <a:lnTo>
                    <a:pt x="2164" y="791"/>
                  </a:lnTo>
                  <a:lnTo>
                    <a:pt x="2170" y="789"/>
                  </a:lnTo>
                  <a:lnTo>
                    <a:pt x="2176" y="791"/>
                  </a:lnTo>
                  <a:lnTo>
                    <a:pt x="2170" y="785"/>
                  </a:lnTo>
                  <a:lnTo>
                    <a:pt x="2177" y="776"/>
                  </a:lnTo>
                  <a:lnTo>
                    <a:pt x="2176" y="768"/>
                  </a:lnTo>
                  <a:lnTo>
                    <a:pt x="2176" y="761"/>
                  </a:lnTo>
                  <a:lnTo>
                    <a:pt x="2174" y="757"/>
                  </a:lnTo>
                  <a:lnTo>
                    <a:pt x="2176" y="755"/>
                  </a:lnTo>
                  <a:lnTo>
                    <a:pt x="2176" y="750"/>
                  </a:lnTo>
                  <a:lnTo>
                    <a:pt x="2176" y="748"/>
                  </a:lnTo>
                  <a:lnTo>
                    <a:pt x="2176" y="742"/>
                  </a:lnTo>
                  <a:lnTo>
                    <a:pt x="2179" y="742"/>
                  </a:lnTo>
                  <a:lnTo>
                    <a:pt x="2176" y="738"/>
                  </a:lnTo>
                  <a:lnTo>
                    <a:pt x="2176" y="735"/>
                  </a:lnTo>
                  <a:lnTo>
                    <a:pt x="2176" y="733"/>
                  </a:lnTo>
                  <a:lnTo>
                    <a:pt x="2177" y="725"/>
                  </a:lnTo>
                  <a:lnTo>
                    <a:pt x="2176" y="725"/>
                  </a:lnTo>
                  <a:lnTo>
                    <a:pt x="2176" y="721"/>
                  </a:lnTo>
                  <a:lnTo>
                    <a:pt x="2179" y="718"/>
                  </a:lnTo>
                  <a:lnTo>
                    <a:pt x="2183" y="718"/>
                  </a:lnTo>
                  <a:lnTo>
                    <a:pt x="2179" y="710"/>
                  </a:lnTo>
                  <a:lnTo>
                    <a:pt x="2183" y="703"/>
                  </a:lnTo>
                  <a:lnTo>
                    <a:pt x="2179" y="701"/>
                  </a:lnTo>
                  <a:lnTo>
                    <a:pt x="2179" y="701"/>
                  </a:lnTo>
                  <a:lnTo>
                    <a:pt x="2183" y="693"/>
                  </a:lnTo>
                  <a:lnTo>
                    <a:pt x="2183" y="687"/>
                  </a:lnTo>
                  <a:lnTo>
                    <a:pt x="2179" y="687"/>
                  </a:lnTo>
                  <a:lnTo>
                    <a:pt x="2179" y="686"/>
                  </a:lnTo>
                  <a:lnTo>
                    <a:pt x="2179" y="682"/>
                  </a:lnTo>
                  <a:lnTo>
                    <a:pt x="2179" y="678"/>
                  </a:lnTo>
                  <a:lnTo>
                    <a:pt x="2183" y="676"/>
                  </a:lnTo>
                  <a:lnTo>
                    <a:pt x="2183" y="674"/>
                  </a:lnTo>
                  <a:lnTo>
                    <a:pt x="2187" y="672"/>
                  </a:lnTo>
                  <a:lnTo>
                    <a:pt x="2189" y="669"/>
                  </a:lnTo>
                  <a:lnTo>
                    <a:pt x="2193" y="663"/>
                  </a:lnTo>
                  <a:lnTo>
                    <a:pt x="2194" y="663"/>
                  </a:lnTo>
                  <a:lnTo>
                    <a:pt x="2198" y="663"/>
                  </a:lnTo>
                  <a:lnTo>
                    <a:pt x="2200" y="663"/>
                  </a:lnTo>
                  <a:lnTo>
                    <a:pt x="2202" y="661"/>
                  </a:lnTo>
                  <a:lnTo>
                    <a:pt x="2200" y="657"/>
                  </a:lnTo>
                  <a:lnTo>
                    <a:pt x="2196" y="657"/>
                  </a:lnTo>
                  <a:lnTo>
                    <a:pt x="2194" y="657"/>
                  </a:lnTo>
                  <a:lnTo>
                    <a:pt x="2191" y="657"/>
                  </a:lnTo>
                  <a:lnTo>
                    <a:pt x="2191" y="650"/>
                  </a:lnTo>
                  <a:lnTo>
                    <a:pt x="2193" y="644"/>
                  </a:lnTo>
                  <a:lnTo>
                    <a:pt x="2193" y="642"/>
                  </a:lnTo>
                  <a:lnTo>
                    <a:pt x="2191" y="639"/>
                  </a:lnTo>
                  <a:lnTo>
                    <a:pt x="2189" y="637"/>
                  </a:lnTo>
                  <a:lnTo>
                    <a:pt x="2187" y="640"/>
                  </a:lnTo>
                  <a:lnTo>
                    <a:pt x="2185" y="640"/>
                  </a:lnTo>
                  <a:lnTo>
                    <a:pt x="2185" y="633"/>
                  </a:lnTo>
                  <a:lnTo>
                    <a:pt x="2187" y="631"/>
                  </a:lnTo>
                  <a:lnTo>
                    <a:pt x="2187" y="627"/>
                  </a:lnTo>
                  <a:lnTo>
                    <a:pt x="2185" y="623"/>
                  </a:lnTo>
                  <a:lnTo>
                    <a:pt x="2183" y="622"/>
                  </a:lnTo>
                  <a:lnTo>
                    <a:pt x="2183" y="620"/>
                  </a:lnTo>
                  <a:lnTo>
                    <a:pt x="2183" y="620"/>
                  </a:lnTo>
                  <a:lnTo>
                    <a:pt x="2183" y="618"/>
                  </a:lnTo>
                  <a:lnTo>
                    <a:pt x="2179" y="612"/>
                  </a:lnTo>
                  <a:lnTo>
                    <a:pt x="2177" y="608"/>
                  </a:lnTo>
                  <a:lnTo>
                    <a:pt x="2176" y="606"/>
                  </a:lnTo>
                  <a:lnTo>
                    <a:pt x="2176" y="603"/>
                  </a:lnTo>
                  <a:lnTo>
                    <a:pt x="2174" y="599"/>
                  </a:lnTo>
                  <a:lnTo>
                    <a:pt x="2174" y="597"/>
                  </a:lnTo>
                  <a:lnTo>
                    <a:pt x="2179" y="591"/>
                  </a:lnTo>
                  <a:lnTo>
                    <a:pt x="2183" y="593"/>
                  </a:lnTo>
                  <a:lnTo>
                    <a:pt x="2185" y="591"/>
                  </a:lnTo>
                  <a:lnTo>
                    <a:pt x="2183" y="590"/>
                  </a:lnTo>
                  <a:lnTo>
                    <a:pt x="2189" y="586"/>
                  </a:lnTo>
                  <a:lnTo>
                    <a:pt x="2187" y="588"/>
                  </a:lnTo>
                  <a:lnTo>
                    <a:pt x="2183" y="586"/>
                  </a:lnTo>
                  <a:lnTo>
                    <a:pt x="2179" y="586"/>
                  </a:lnTo>
                  <a:lnTo>
                    <a:pt x="2176" y="586"/>
                  </a:lnTo>
                  <a:lnTo>
                    <a:pt x="2170" y="582"/>
                  </a:lnTo>
                  <a:lnTo>
                    <a:pt x="2168" y="582"/>
                  </a:lnTo>
                  <a:lnTo>
                    <a:pt x="2164" y="582"/>
                  </a:lnTo>
                  <a:lnTo>
                    <a:pt x="2161" y="586"/>
                  </a:lnTo>
                  <a:lnTo>
                    <a:pt x="2159" y="586"/>
                  </a:lnTo>
                  <a:lnTo>
                    <a:pt x="2153" y="591"/>
                  </a:lnTo>
                  <a:lnTo>
                    <a:pt x="2155" y="593"/>
                  </a:lnTo>
                  <a:lnTo>
                    <a:pt x="2155" y="597"/>
                  </a:lnTo>
                  <a:lnTo>
                    <a:pt x="2159" y="599"/>
                  </a:lnTo>
                  <a:lnTo>
                    <a:pt x="2159" y="603"/>
                  </a:lnTo>
                  <a:lnTo>
                    <a:pt x="2159" y="606"/>
                  </a:lnTo>
                  <a:lnTo>
                    <a:pt x="2159" y="612"/>
                  </a:lnTo>
                  <a:lnTo>
                    <a:pt x="2161" y="612"/>
                  </a:lnTo>
                  <a:lnTo>
                    <a:pt x="2161" y="614"/>
                  </a:lnTo>
                  <a:lnTo>
                    <a:pt x="2164" y="616"/>
                  </a:lnTo>
                  <a:lnTo>
                    <a:pt x="2166" y="623"/>
                  </a:lnTo>
                  <a:lnTo>
                    <a:pt x="2170" y="627"/>
                  </a:lnTo>
                  <a:lnTo>
                    <a:pt x="2170" y="631"/>
                  </a:lnTo>
                  <a:lnTo>
                    <a:pt x="2174" y="633"/>
                  </a:lnTo>
                  <a:lnTo>
                    <a:pt x="2170" y="637"/>
                  </a:lnTo>
                  <a:lnTo>
                    <a:pt x="2170" y="633"/>
                  </a:lnTo>
                  <a:lnTo>
                    <a:pt x="2168" y="631"/>
                  </a:lnTo>
                  <a:lnTo>
                    <a:pt x="2162" y="633"/>
                  </a:lnTo>
                  <a:lnTo>
                    <a:pt x="2159" y="633"/>
                  </a:lnTo>
                  <a:lnTo>
                    <a:pt x="2159" y="639"/>
                  </a:lnTo>
                  <a:lnTo>
                    <a:pt x="2159" y="640"/>
                  </a:lnTo>
                  <a:lnTo>
                    <a:pt x="2159" y="646"/>
                  </a:lnTo>
                  <a:lnTo>
                    <a:pt x="2159" y="648"/>
                  </a:lnTo>
                  <a:lnTo>
                    <a:pt x="2159" y="650"/>
                  </a:lnTo>
                  <a:lnTo>
                    <a:pt x="2159" y="650"/>
                  </a:lnTo>
                  <a:lnTo>
                    <a:pt x="2159" y="654"/>
                  </a:lnTo>
                  <a:lnTo>
                    <a:pt x="2155" y="657"/>
                  </a:lnTo>
                  <a:lnTo>
                    <a:pt x="2159" y="657"/>
                  </a:lnTo>
                  <a:lnTo>
                    <a:pt x="2155" y="661"/>
                  </a:lnTo>
                  <a:lnTo>
                    <a:pt x="2155" y="671"/>
                  </a:lnTo>
                  <a:lnTo>
                    <a:pt x="2155" y="672"/>
                  </a:lnTo>
                  <a:lnTo>
                    <a:pt x="2155" y="674"/>
                  </a:lnTo>
                  <a:lnTo>
                    <a:pt x="2153" y="676"/>
                  </a:lnTo>
                  <a:lnTo>
                    <a:pt x="2149" y="682"/>
                  </a:lnTo>
                  <a:lnTo>
                    <a:pt x="2149" y="678"/>
                  </a:lnTo>
                  <a:lnTo>
                    <a:pt x="2145" y="674"/>
                  </a:lnTo>
                  <a:lnTo>
                    <a:pt x="2149" y="669"/>
                  </a:lnTo>
                  <a:lnTo>
                    <a:pt x="2145" y="667"/>
                  </a:lnTo>
                  <a:lnTo>
                    <a:pt x="2144" y="667"/>
                  </a:lnTo>
                  <a:lnTo>
                    <a:pt x="2140" y="671"/>
                  </a:lnTo>
                  <a:lnTo>
                    <a:pt x="2140" y="672"/>
                  </a:lnTo>
                  <a:lnTo>
                    <a:pt x="2138" y="674"/>
                  </a:lnTo>
                  <a:lnTo>
                    <a:pt x="2138" y="667"/>
                  </a:lnTo>
                  <a:lnTo>
                    <a:pt x="2134" y="667"/>
                  </a:lnTo>
                  <a:lnTo>
                    <a:pt x="2132" y="663"/>
                  </a:lnTo>
                  <a:lnTo>
                    <a:pt x="2129" y="667"/>
                  </a:lnTo>
                  <a:lnTo>
                    <a:pt x="2129" y="667"/>
                  </a:lnTo>
                  <a:lnTo>
                    <a:pt x="2129" y="663"/>
                  </a:lnTo>
                  <a:lnTo>
                    <a:pt x="2130" y="663"/>
                  </a:lnTo>
                  <a:lnTo>
                    <a:pt x="2129" y="661"/>
                  </a:lnTo>
                  <a:lnTo>
                    <a:pt x="2129" y="657"/>
                  </a:lnTo>
                  <a:lnTo>
                    <a:pt x="2130" y="657"/>
                  </a:lnTo>
                  <a:lnTo>
                    <a:pt x="2129" y="654"/>
                  </a:lnTo>
                  <a:lnTo>
                    <a:pt x="2129" y="652"/>
                  </a:lnTo>
                  <a:lnTo>
                    <a:pt x="2130" y="650"/>
                  </a:lnTo>
                  <a:lnTo>
                    <a:pt x="2129" y="646"/>
                  </a:lnTo>
                  <a:lnTo>
                    <a:pt x="2129" y="644"/>
                  </a:lnTo>
                  <a:lnTo>
                    <a:pt x="2129" y="642"/>
                  </a:lnTo>
                  <a:lnTo>
                    <a:pt x="2129" y="637"/>
                  </a:lnTo>
                  <a:lnTo>
                    <a:pt x="2125" y="637"/>
                  </a:lnTo>
                  <a:lnTo>
                    <a:pt x="2125" y="633"/>
                  </a:lnTo>
                  <a:lnTo>
                    <a:pt x="2121" y="633"/>
                  </a:lnTo>
                  <a:lnTo>
                    <a:pt x="2121" y="637"/>
                  </a:lnTo>
                  <a:lnTo>
                    <a:pt x="2119" y="637"/>
                  </a:lnTo>
                  <a:lnTo>
                    <a:pt x="2119" y="642"/>
                  </a:lnTo>
                  <a:lnTo>
                    <a:pt x="2117" y="646"/>
                  </a:lnTo>
                  <a:lnTo>
                    <a:pt x="2115" y="646"/>
                  </a:lnTo>
                  <a:lnTo>
                    <a:pt x="2113" y="640"/>
                  </a:lnTo>
                  <a:lnTo>
                    <a:pt x="2112" y="640"/>
                  </a:lnTo>
                  <a:lnTo>
                    <a:pt x="2110" y="642"/>
                  </a:lnTo>
                  <a:lnTo>
                    <a:pt x="2110" y="639"/>
                  </a:lnTo>
                  <a:lnTo>
                    <a:pt x="2104" y="639"/>
                  </a:lnTo>
                  <a:lnTo>
                    <a:pt x="2104" y="640"/>
                  </a:lnTo>
                  <a:lnTo>
                    <a:pt x="2100" y="640"/>
                  </a:lnTo>
                  <a:lnTo>
                    <a:pt x="2100" y="644"/>
                  </a:lnTo>
                  <a:lnTo>
                    <a:pt x="2097" y="644"/>
                  </a:lnTo>
                  <a:lnTo>
                    <a:pt x="2097" y="646"/>
                  </a:lnTo>
                  <a:lnTo>
                    <a:pt x="2091" y="646"/>
                  </a:lnTo>
                  <a:lnTo>
                    <a:pt x="2089" y="650"/>
                  </a:lnTo>
                  <a:lnTo>
                    <a:pt x="2087" y="648"/>
                  </a:lnTo>
                  <a:lnTo>
                    <a:pt x="2085" y="650"/>
                  </a:lnTo>
                  <a:lnTo>
                    <a:pt x="2080" y="650"/>
                  </a:lnTo>
                  <a:lnTo>
                    <a:pt x="2076" y="657"/>
                  </a:lnTo>
                  <a:lnTo>
                    <a:pt x="2072" y="657"/>
                  </a:lnTo>
                  <a:lnTo>
                    <a:pt x="2074" y="663"/>
                  </a:lnTo>
                  <a:lnTo>
                    <a:pt x="2070" y="667"/>
                  </a:lnTo>
                  <a:lnTo>
                    <a:pt x="2070" y="667"/>
                  </a:lnTo>
                  <a:lnTo>
                    <a:pt x="2072" y="669"/>
                  </a:lnTo>
                  <a:lnTo>
                    <a:pt x="2074" y="672"/>
                  </a:lnTo>
                  <a:lnTo>
                    <a:pt x="2078" y="678"/>
                  </a:lnTo>
                  <a:lnTo>
                    <a:pt x="2074" y="682"/>
                  </a:lnTo>
                  <a:lnTo>
                    <a:pt x="2072" y="693"/>
                  </a:lnTo>
                  <a:lnTo>
                    <a:pt x="2078" y="701"/>
                  </a:lnTo>
                  <a:lnTo>
                    <a:pt x="2072" y="701"/>
                  </a:lnTo>
                  <a:lnTo>
                    <a:pt x="2074" y="701"/>
                  </a:lnTo>
                  <a:lnTo>
                    <a:pt x="2074" y="706"/>
                  </a:lnTo>
                  <a:lnTo>
                    <a:pt x="2070" y="710"/>
                  </a:lnTo>
                  <a:lnTo>
                    <a:pt x="2070" y="716"/>
                  </a:lnTo>
                  <a:lnTo>
                    <a:pt x="2066" y="718"/>
                  </a:lnTo>
                  <a:lnTo>
                    <a:pt x="2066" y="721"/>
                  </a:lnTo>
                  <a:lnTo>
                    <a:pt x="2066" y="731"/>
                  </a:lnTo>
                  <a:lnTo>
                    <a:pt x="2070" y="735"/>
                  </a:lnTo>
                  <a:lnTo>
                    <a:pt x="2066" y="736"/>
                  </a:lnTo>
                  <a:lnTo>
                    <a:pt x="2070" y="744"/>
                  </a:lnTo>
                  <a:lnTo>
                    <a:pt x="2070" y="744"/>
                  </a:lnTo>
                  <a:lnTo>
                    <a:pt x="2070" y="748"/>
                  </a:lnTo>
                  <a:lnTo>
                    <a:pt x="2070" y="750"/>
                  </a:lnTo>
                  <a:lnTo>
                    <a:pt x="2072" y="748"/>
                  </a:lnTo>
                  <a:lnTo>
                    <a:pt x="2076" y="748"/>
                  </a:lnTo>
                  <a:lnTo>
                    <a:pt x="2076" y="746"/>
                  </a:lnTo>
                  <a:lnTo>
                    <a:pt x="2078" y="746"/>
                  </a:lnTo>
                  <a:lnTo>
                    <a:pt x="2080" y="748"/>
                  </a:lnTo>
                  <a:lnTo>
                    <a:pt x="2083" y="748"/>
                  </a:lnTo>
                  <a:lnTo>
                    <a:pt x="2081" y="746"/>
                  </a:lnTo>
                  <a:lnTo>
                    <a:pt x="2083" y="744"/>
                  </a:lnTo>
                  <a:lnTo>
                    <a:pt x="2085" y="746"/>
                  </a:lnTo>
                  <a:lnTo>
                    <a:pt x="2089" y="748"/>
                  </a:lnTo>
                  <a:lnTo>
                    <a:pt x="2089" y="750"/>
                  </a:lnTo>
                  <a:lnTo>
                    <a:pt x="2089" y="752"/>
                  </a:lnTo>
                  <a:lnTo>
                    <a:pt x="2091" y="755"/>
                  </a:lnTo>
                  <a:lnTo>
                    <a:pt x="2091" y="755"/>
                  </a:lnTo>
                  <a:lnTo>
                    <a:pt x="2089" y="755"/>
                  </a:lnTo>
                  <a:lnTo>
                    <a:pt x="2087" y="757"/>
                  </a:lnTo>
                  <a:lnTo>
                    <a:pt x="2083" y="755"/>
                  </a:lnTo>
                  <a:lnTo>
                    <a:pt x="2080" y="757"/>
                  </a:lnTo>
                  <a:lnTo>
                    <a:pt x="2080" y="759"/>
                  </a:lnTo>
                  <a:lnTo>
                    <a:pt x="2081" y="761"/>
                  </a:lnTo>
                  <a:lnTo>
                    <a:pt x="2078" y="767"/>
                  </a:lnTo>
                  <a:lnTo>
                    <a:pt x="2074" y="765"/>
                  </a:lnTo>
                  <a:lnTo>
                    <a:pt x="2074" y="761"/>
                  </a:lnTo>
                  <a:lnTo>
                    <a:pt x="2072" y="759"/>
                  </a:lnTo>
                  <a:lnTo>
                    <a:pt x="2070" y="761"/>
                  </a:lnTo>
                  <a:lnTo>
                    <a:pt x="2066" y="759"/>
                  </a:lnTo>
                  <a:lnTo>
                    <a:pt x="2066" y="761"/>
                  </a:lnTo>
                  <a:lnTo>
                    <a:pt x="2066" y="763"/>
                  </a:lnTo>
                  <a:lnTo>
                    <a:pt x="2066" y="767"/>
                  </a:lnTo>
                  <a:lnTo>
                    <a:pt x="2065" y="767"/>
                  </a:lnTo>
                  <a:lnTo>
                    <a:pt x="2063" y="768"/>
                  </a:lnTo>
                  <a:lnTo>
                    <a:pt x="2061" y="770"/>
                  </a:lnTo>
                  <a:lnTo>
                    <a:pt x="2063" y="772"/>
                  </a:lnTo>
                  <a:lnTo>
                    <a:pt x="2061" y="776"/>
                  </a:lnTo>
                  <a:lnTo>
                    <a:pt x="2059" y="774"/>
                  </a:lnTo>
                  <a:lnTo>
                    <a:pt x="2053" y="770"/>
                  </a:lnTo>
                  <a:lnTo>
                    <a:pt x="2051" y="770"/>
                  </a:lnTo>
                  <a:lnTo>
                    <a:pt x="2053" y="774"/>
                  </a:lnTo>
                  <a:lnTo>
                    <a:pt x="2049" y="776"/>
                  </a:lnTo>
                  <a:lnTo>
                    <a:pt x="2051" y="776"/>
                  </a:lnTo>
                  <a:lnTo>
                    <a:pt x="2048" y="780"/>
                  </a:lnTo>
                  <a:lnTo>
                    <a:pt x="2042" y="782"/>
                  </a:lnTo>
                  <a:lnTo>
                    <a:pt x="2042" y="782"/>
                  </a:lnTo>
                  <a:lnTo>
                    <a:pt x="2036" y="776"/>
                  </a:lnTo>
                  <a:lnTo>
                    <a:pt x="2034" y="776"/>
                  </a:lnTo>
                  <a:lnTo>
                    <a:pt x="2033" y="776"/>
                  </a:lnTo>
                  <a:lnTo>
                    <a:pt x="2033" y="774"/>
                  </a:lnTo>
                  <a:lnTo>
                    <a:pt x="2036" y="774"/>
                  </a:lnTo>
                  <a:lnTo>
                    <a:pt x="2036" y="770"/>
                  </a:lnTo>
                  <a:lnTo>
                    <a:pt x="2036" y="768"/>
                  </a:lnTo>
                  <a:lnTo>
                    <a:pt x="2042" y="768"/>
                  </a:lnTo>
                  <a:lnTo>
                    <a:pt x="2049" y="763"/>
                  </a:lnTo>
                  <a:lnTo>
                    <a:pt x="2048" y="761"/>
                  </a:lnTo>
                  <a:lnTo>
                    <a:pt x="2046" y="761"/>
                  </a:lnTo>
                  <a:lnTo>
                    <a:pt x="2042" y="763"/>
                  </a:lnTo>
                  <a:lnTo>
                    <a:pt x="2036" y="763"/>
                  </a:lnTo>
                  <a:lnTo>
                    <a:pt x="2036" y="761"/>
                  </a:lnTo>
                  <a:lnTo>
                    <a:pt x="2034" y="757"/>
                  </a:lnTo>
                  <a:lnTo>
                    <a:pt x="2031" y="757"/>
                  </a:lnTo>
                  <a:lnTo>
                    <a:pt x="2025" y="757"/>
                  </a:lnTo>
                  <a:lnTo>
                    <a:pt x="2019" y="757"/>
                  </a:lnTo>
                  <a:lnTo>
                    <a:pt x="2021" y="759"/>
                  </a:lnTo>
                  <a:lnTo>
                    <a:pt x="2017" y="761"/>
                  </a:lnTo>
                  <a:lnTo>
                    <a:pt x="2016" y="759"/>
                  </a:lnTo>
                  <a:lnTo>
                    <a:pt x="2016" y="757"/>
                  </a:lnTo>
                  <a:lnTo>
                    <a:pt x="2012" y="757"/>
                  </a:lnTo>
                  <a:lnTo>
                    <a:pt x="2006" y="755"/>
                  </a:lnTo>
                  <a:lnTo>
                    <a:pt x="2002" y="757"/>
                  </a:lnTo>
                  <a:lnTo>
                    <a:pt x="1999" y="755"/>
                  </a:lnTo>
                  <a:lnTo>
                    <a:pt x="1993" y="755"/>
                  </a:lnTo>
                  <a:lnTo>
                    <a:pt x="1991" y="761"/>
                  </a:lnTo>
                  <a:lnTo>
                    <a:pt x="1987" y="761"/>
                  </a:lnTo>
                  <a:lnTo>
                    <a:pt x="1987" y="763"/>
                  </a:lnTo>
                  <a:lnTo>
                    <a:pt x="1991" y="767"/>
                  </a:lnTo>
                  <a:lnTo>
                    <a:pt x="1987" y="768"/>
                  </a:lnTo>
                  <a:lnTo>
                    <a:pt x="1987" y="767"/>
                  </a:lnTo>
                  <a:lnTo>
                    <a:pt x="1984" y="770"/>
                  </a:lnTo>
                  <a:lnTo>
                    <a:pt x="1987" y="772"/>
                  </a:lnTo>
                  <a:lnTo>
                    <a:pt x="1987" y="772"/>
                  </a:lnTo>
                  <a:lnTo>
                    <a:pt x="1991" y="772"/>
                  </a:lnTo>
                  <a:lnTo>
                    <a:pt x="1991" y="776"/>
                  </a:lnTo>
                  <a:lnTo>
                    <a:pt x="1984" y="780"/>
                  </a:lnTo>
                  <a:lnTo>
                    <a:pt x="1982" y="776"/>
                  </a:lnTo>
                  <a:lnTo>
                    <a:pt x="1976" y="776"/>
                  </a:lnTo>
                  <a:lnTo>
                    <a:pt x="1974" y="776"/>
                  </a:lnTo>
                  <a:lnTo>
                    <a:pt x="1974" y="780"/>
                  </a:lnTo>
                  <a:lnTo>
                    <a:pt x="1972" y="780"/>
                  </a:lnTo>
                  <a:lnTo>
                    <a:pt x="1969" y="782"/>
                  </a:lnTo>
                  <a:lnTo>
                    <a:pt x="1967" y="782"/>
                  </a:lnTo>
                  <a:lnTo>
                    <a:pt x="1967" y="780"/>
                  </a:lnTo>
                  <a:lnTo>
                    <a:pt x="1957" y="780"/>
                  </a:lnTo>
                  <a:lnTo>
                    <a:pt x="1957" y="782"/>
                  </a:lnTo>
                  <a:lnTo>
                    <a:pt x="1950" y="780"/>
                  </a:lnTo>
                  <a:lnTo>
                    <a:pt x="1944" y="782"/>
                  </a:lnTo>
                  <a:lnTo>
                    <a:pt x="1944" y="782"/>
                  </a:lnTo>
                  <a:lnTo>
                    <a:pt x="1950" y="787"/>
                  </a:lnTo>
                  <a:lnTo>
                    <a:pt x="1948" y="789"/>
                  </a:lnTo>
                  <a:lnTo>
                    <a:pt x="1944" y="793"/>
                  </a:lnTo>
                  <a:lnTo>
                    <a:pt x="1942" y="789"/>
                  </a:lnTo>
                  <a:lnTo>
                    <a:pt x="1938" y="789"/>
                  </a:lnTo>
                  <a:lnTo>
                    <a:pt x="1940" y="785"/>
                  </a:lnTo>
                  <a:lnTo>
                    <a:pt x="1937" y="782"/>
                  </a:lnTo>
                  <a:lnTo>
                    <a:pt x="1935" y="785"/>
                  </a:lnTo>
                  <a:lnTo>
                    <a:pt x="1933" y="785"/>
                  </a:lnTo>
                  <a:lnTo>
                    <a:pt x="1929" y="785"/>
                  </a:lnTo>
                  <a:lnTo>
                    <a:pt x="1923" y="789"/>
                  </a:lnTo>
                  <a:lnTo>
                    <a:pt x="1921" y="787"/>
                  </a:lnTo>
                  <a:lnTo>
                    <a:pt x="1916" y="791"/>
                  </a:lnTo>
                  <a:lnTo>
                    <a:pt x="1910" y="793"/>
                  </a:lnTo>
                  <a:lnTo>
                    <a:pt x="1903" y="797"/>
                  </a:lnTo>
                  <a:lnTo>
                    <a:pt x="1899" y="799"/>
                  </a:lnTo>
                  <a:lnTo>
                    <a:pt x="1899" y="795"/>
                  </a:lnTo>
                  <a:lnTo>
                    <a:pt x="1895" y="797"/>
                  </a:lnTo>
                  <a:lnTo>
                    <a:pt x="1895" y="800"/>
                  </a:lnTo>
                  <a:lnTo>
                    <a:pt x="1888" y="804"/>
                  </a:lnTo>
                  <a:lnTo>
                    <a:pt x="1888" y="810"/>
                  </a:lnTo>
                  <a:lnTo>
                    <a:pt x="1884" y="810"/>
                  </a:lnTo>
                  <a:lnTo>
                    <a:pt x="1882" y="816"/>
                  </a:lnTo>
                  <a:lnTo>
                    <a:pt x="1888" y="823"/>
                  </a:lnTo>
                  <a:lnTo>
                    <a:pt x="1886" y="831"/>
                  </a:lnTo>
                  <a:lnTo>
                    <a:pt x="1880" y="838"/>
                  </a:lnTo>
                  <a:lnTo>
                    <a:pt x="1878" y="844"/>
                  </a:lnTo>
                  <a:lnTo>
                    <a:pt x="1878" y="846"/>
                  </a:lnTo>
                  <a:lnTo>
                    <a:pt x="1878" y="855"/>
                  </a:lnTo>
                  <a:lnTo>
                    <a:pt x="1880" y="857"/>
                  </a:lnTo>
                  <a:lnTo>
                    <a:pt x="1880" y="861"/>
                  </a:lnTo>
                  <a:lnTo>
                    <a:pt x="1878" y="861"/>
                  </a:lnTo>
                  <a:lnTo>
                    <a:pt x="1878" y="863"/>
                  </a:lnTo>
                  <a:lnTo>
                    <a:pt x="1878" y="868"/>
                  </a:lnTo>
                  <a:lnTo>
                    <a:pt x="1874" y="868"/>
                  </a:lnTo>
                  <a:lnTo>
                    <a:pt x="1878" y="874"/>
                  </a:lnTo>
                  <a:lnTo>
                    <a:pt x="1874" y="878"/>
                  </a:lnTo>
                  <a:lnTo>
                    <a:pt x="1873" y="881"/>
                  </a:lnTo>
                  <a:lnTo>
                    <a:pt x="1869" y="889"/>
                  </a:lnTo>
                  <a:lnTo>
                    <a:pt x="1869" y="893"/>
                  </a:lnTo>
                  <a:lnTo>
                    <a:pt x="1865" y="895"/>
                  </a:lnTo>
                  <a:lnTo>
                    <a:pt x="1865" y="900"/>
                  </a:lnTo>
                  <a:lnTo>
                    <a:pt x="1863" y="900"/>
                  </a:lnTo>
                  <a:lnTo>
                    <a:pt x="1861" y="910"/>
                  </a:lnTo>
                  <a:lnTo>
                    <a:pt x="1861" y="917"/>
                  </a:lnTo>
                  <a:lnTo>
                    <a:pt x="1859" y="919"/>
                  </a:lnTo>
                  <a:lnTo>
                    <a:pt x="1861" y="923"/>
                  </a:lnTo>
                  <a:lnTo>
                    <a:pt x="1859" y="929"/>
                  </a:lnTo>
                  <a:lnTo>
                    <a:pt x="1857" y="932"/>
                  </a:lnTo>
                  <a:lnTo>
                    <a:pt x="1854" y="938"/>
                  </a:lnTo>
                  <a:lnTo>
                    <a:pt x="1854" y="938"/>
                  </a:lnTo>
                  <a:lnTo>
                    <a:pt x="1854" y="938"/>
                  </a:lnTo>
                  <a:lnTo>
                    <a:pt x="1854" y="944"/>
                  </a:lnTo>
                  <a:lnTo>
                    <a:pt x="1848" y="949"/>
                  </a:lnTo>
                  <a:lnTo>
                    <a:pt x="1848" y="955"/>
                  </a:lnTo>
                  <a:lnTo>
                    <a:pt x="1841" y="959"/>
                  </a:lnTo>
                  <a:lnTo>
                    <a:pt x="1841" y="964"/>
                  </a:lnTo>
                  <a:lnTo>
                    <a:pt x="1839" y="968"/>
                  </a:lnTo>
                  <a:lnTo>
                    <a:pt x="1839" y="972"/>
                  </a:lnTo>
                  <a:lnTo>
                    <a:pt x="1835" y="976"/>
                  </a:lnTo>
                  <a:lnTo>
                    <a:pt x="1839" y="979"/>
                  </a:lnTo>
                  <a:lnTo>
                    <a:pt x="1841" y="981"/>
                  </a:lnTo>
                  <a:lnTo>
                    <a:pt x="1844" y="979"/>
                  </a:lnTo>
                  <a:lnTo>
                    <a:pt x="1848" y="983"/>
                  </a:lnTo>
                  <a:lnTo>
                    <a:pt x="1850" y="983"/>
                  </a:lnTo>
                  <a:lnTo>
                    <a:pt x="1856" y="979"/>
                  </a:lnTo>
                  <a:lnTo>
                    <a:pt x="1859" y="979"/>
                  </a:lnTo>
                  <a:lnTo>
                    <a:pt x="1861" y="976"/>
                  </a:lnTo>
                  <a:lnTo>
                    <a:pt x="1863" y="978"/>
                  </a:lnTo>
                  <a:lnTo>
                    <a:pt x="1869" y="976"/>
                  </a:lnTo>
                  <a:lnTo>
                    <a:pt x="1869" y="985"/>
                  </a:lnTo>
                  <a:lnTo>
                    <a:pt x="1873" y="993"/>
                  </a:lnTo>
                  <a:lnTo>
                    <a:pt x="1874" y="998"/>
                  </a:lnTo>
                  <a:lnTo>
                    <a:pt x="1873" y="1002"/>
                  </a:lnTo>
                  <a:lnTo>
                    <a:pt x="1878" y="1006"/>
                  </a:lnTo>
                  <a:lnTo>
                    <a:pt x="1880" y="1002"/>
                  </a:lnTo>
                  <a:lnTo>
                    <a:pt x="1880" y="1002"/>
                  </a:lnTo>
                  <a:lnTo>
                    <a:pt x="1882" y="1002"/>
                  </a:lnTo>
                  <a:lnTo>
                    <a:pt x="1884" y="998"/>
                  </a:lnTo>
                  <a:lnTo>
                    <a:pt x="1888" y="998"/>
                  </a:lnTo>
                  <a:lnTo>
                    <a:pt x="1888" y="998"/>
                  </a:lnTo>
                  <a:lnTo>
                    <a:pt x="1891" y="998"/>
                  </a:lnTo>
                  <a:lnTo>
                    <a:pt x="1895" y="998"/>
                  </a:lnTo>
                  <a:lnTo>
                    <a:pt x="1893" y="998"/>
                  </a:lnTo>
                  <a:lnTo>
                    <a:pt x="1891" y="1002"/>
                  </a:lnTo>
                  <a:lnTo>
                    <a:pt x="1891" y="1006"/>
                  </a:lnTo>
                  <a:lnTo>
                    <a:pt x="1889" y="1006"/>
                  </a:lnTo>
                  <a:lnTo>
                    <a:pt x="1888" y="1010"/>
                  </a:lnTo>
                  <a:lnTo>
                    <a:pt x="1888" y="1011"/>
                  </a:lnTo>
                  <a:lnTo>
                    <a:pt x="1897" y="1010"/>
                  </a:lnTo>
                  <a:lnTo>
                    <a:pt x="1899" y="1008"/>
                  </a:lnTo>
                  <a:lnTo>
                    <a:pt x="1903" y="1002"/>
                  </a:lnTo>
                  <a:lnTo>
                    <a:pt x="1903" y="998"/>
                  </a:lnTo>
                  <a:lnTo>
                    <a:pt x="1903" y="995"/>
                  </a:lnTo>
                  <a:lnTo>
                    <a:pt x="1905" y="1002"/>
                  </a:lnTo>
                  <a:lnTo>
                    <a:pt x="1903" y="1006"/>
                  </a:lnTo>
                  <a:lnTo>
                    <a:pt x="1905" y="1010"/>
                  </a:lnTo>
                  <a:lnTo>
                    <a:pt x="1908" y="1008"/>
                  </a:lnTo>
                  <a:lnTo>
                    <a:pt x="1908" y="1002"/>
                  </a:lnTo>
                  <a:lnTo>
                    <a:pt x="1908" y="998"/>
                  </a:lnTo>
                  <a:lnTo>
                    <a:pt x="1908" y="993"/>
                  </a:lnTo>
                  <a:lnTo>
                    <a:pt x="1905" y="989"/>
                  </a:lnTo>
                  <a:lnTo>
                    <a:pt x="1903" y="985"/>
                  </a:lnTo>
                  <a:lnTo>
                    <a:pt x="1908" y="985"/>
                  </a:lnTo>
                  <a:lnTo>
                    <a:pt x="1910" y="987"/>
                  </a:lnTo>
                  <a:lnTo>
                    <a:pt x="1910" y="989"/>
                  </a:lnTo>
                  <a:lnTo>
                    <a:pt x="1910" y="989"/>
                  </a:lnTo>
                  <a:lnTo>
                    <a:pt x="1912" y="989"/>
                  </a:lnTo>
                  <a:lnTo>
                    <a:pt x="1914" y="987"/>
                  </a:lnTo>
                  <a:lnTo>
                    <a:pt x="1918" y="987"/>
                  </a:lnTo>
                  <a:lnTo>
                    <a:pt x="1923" y="983"/>
                  </a:lnTo>
                  <a:lnTo>
                    <a:pt x="1927" y="987"/>
                  </a:lnTo>
                  <a:lnTo>
                    <a:pt x="1933" y="987"/>
                  </a:lnTo>
                  <a:lnTo>
                    <a:pt x="1933" y="989"/>
                  </a:lnTo>
                  <a:lnTo>
                    <a:pt x="1935" y="993"/>
                  </a:lnTo>
                  <a:lnTo>
                    <a:pt x="1938" y="995"/>
                  </a:lnTo>
                  <a:lnTo>
                    <a:pt x="1942" y="995"/>
                  </a:lnTo>
                  <a:lnTo>
                    <a:pt x="1944" y="998"/>
                  </a:lnTo>
                  <a:lnTo>
                    <a:pt x="1953" y="1002"/>
                  </a:lnTo>
                  <a:lnTo>
                    <a:pt x="1953" y="1004"/>
                  </a:lnTo>
                  <a:lnTo>
                    <a:pt x="1957" y="1004"/>
                  </a:lnTo>
                  <a:lnTo>
                    <a:pt x="1959" y="1008"/>
                  </a:lnTo>
                  <a:lnTo>
                    <a:pt x="1961" y="1008"/>
                  </a:lnTo>
                  <a:lnTo>
                    <a:pt x="1967" y="1013"/>
                  </a:lnTo>
                  <a:lnTo>
                    <a:pt x="1963" y="1017"/>
                  </a:lnTo>
                  <a:lnTo>
                    <a:pt x="1961" y="1019"/>
                  </a:lnTo>
                  <a:lnTo>
                    <a:pt x="1959" y="1019"/>
                  </a:lnTo>
                  <a:lnTo>
                    <a:pt x="1963" y="1027"/>
                  </a:lnTo>
                  <a:lnTo>
                    <a:pt x="1967" y="1027"/>
                  </a:lnTo>
                  <a:lnTo>
                    <a:pt x="1970" y="1032"/>
                  </a:lnTo>
                  <a:lnTo>
                    <a:pt x="1970" y="1034"/>
                  </a:lnTo>
                  <a:lnTo>
                    <a:pt x="1969" y="1038"/>
                  </a:lnTo>
                  <a:lnTo>
                    <a:pt x="1969" y="1042"/>
                  </a:lnTo>
                  <a:lnTo>
                    <a:pt x="1972" y="1043"/>
                  </a:lnTo>
                  <a:lnTo>
                    <a:pt x="1976" y="1043"/>
                  </a:lnTo>
                  <a:lnTo>
                    <a:pt x="1978" y="1043"/>
                  </a:lnTo>
                  <a:lnTo>
                    <a:pt x="1978" y="1047"/>
                  </a:lnTo>
                  <a:lnTo>
                    <a:pt x="1978" y="1049"/>
                  </a:lnTo>
                  <a:lnTo>
                    <a:pt x="1978" y="1053"/>
                  </a:lnTo>
                  <a:lnTo>
                    <a:pt x="1982" y="1057"/>
                  </a:lnTo>
                  <a:lnTo>
                    <a:pt x="1978" y="1057"/>
                  </a:lnTo>
                  <a:lnTo>
                    <a:pt x="1978" y="1060"/>
                  </a:lnTo>
                  <a:lnTo>
                    <a:pt x="1978" y="1062"/>
                  </a:lnTo>
                  <a:lnTo>
                    <a:pt x="1978" y="1068"/>
                  </a:lnTo>
                  <a:lnTo>
                    <a:pt x="1978" y="1068"/>
                  </a:lnTo>
                  <a:lnTo>
                    <a:pt x="1978" y="1072"/>
                  </a:lnTo>
                  <a:lnTo>
                    <a:pt x="1978" y="1074"/>
                  </a:lnTo>
                  <a:lnTo>
                    <a:pt x="1982" y="1074"/>
                  </a:lnTo>
                  <a:lnTo>
                    <a:pt x="1978" y="1077"/>
                  </a:lnTo>
                  <a:lnTo>
                    <a:pt x="1982" y="1087"/>
                  </a:lnTo>
                  <a:lnTo>
                    <a:pt x="1978" y="1087"/>
                  </a:lnTo>
                  <a:lnTo>
                    <a:pt x="1982" y="1094"/>
                  </a:lnTo>
                  <a:lnTo>
                    <a:pt x="1982" y="1098"/>
                  </a:lnTo>
                  <a:lnTo>
                    <a:pt x="1982" y="1102"/>
                  </a:lnTo>
                  <a:lnTo>
                    <a:pt x="1984" y="1111"/>
                  </a:lnTo>
                  <a:lnTo>
                    <a:pt x="1987" y="1113"/>
                  </a:lnTo>
                  <a:lnTo>
                    <a:pt x="1991" y="1111"/>
                  </a:lnTo>
                  <a:lnTo>
                    <a:pt x="1991" y="1111"/>
                  </a:lnTo>
                  <a:lnTo>
                    <a:pt x="1987" y="1117"/>
                  </a:lnTo>
                  <a:lnTo>
                    <a:pt x="1987" y="1121"/>
                  </a:lnTo>
                  <a:lnTo>
                    <a:pt x="1987" y="1123"/>
                  </a:lnTo>
                  <a:lnTo>
                    <a:pt x="1991" y="1123"/>
                  </a:lnTo>
                  <a:lnTo>
                    <a:pt x="1995" y="1128"/>
                  </a:lnTo>
                  <a:lnTo>
                    <a:pt x="1995" y="1136"/>
                  </a:lnTo>
                  <a:lnTo>
                    <a:pt x="1997" y="1138"/>
                  </a:lnTo>
                  <a:lnTo>
                    <a:pt x="1995" y="1141"/>
                  </a:lnTo>
                  <a:lnTo>
                    <a:pt x="1997" y="1151"/>
                  </a:lnTo>
                  <a:lnTo>
                    <a:pt x="2001" y="1151"/>
                  </a:lnTo>
                  <a:lnTo>
                    <a:pt x="2001" y="1153"/>
                  </a:lnTo>
                  <a:lnTo>
                    <a:pt x="1999" y="1155"/>
                  </a:lnTo>
                  <a:lnTo>
                    <a:pt x="1999" y="1160"/>
                  </a:lnTo>
                  <a:lnTo>
                    <a:pt x="2001" y="1162"/>
                  </a:lnTo>
                  <a:lnTo>
                    <a:pt x="2001" y="1170"/>
                  </a:lnTo>
                  <a:lnTo>
                    <a:pt x="1995" y="1175"/>
                  </a:lnTo>
                  <a:lnTo>
                    <a:pt x="1995" y="1179"/>
                  </a:lnTo>
                  <a:lnTo>
                    <a:pt x="1993" y="1185"/>
                  </a:lnTo>
                  <a:lnTo>
                    <a:pt x="1993" y="1192"/>
                  </a:lnTo>
                  <a:lnTo>
                    <a:pt x="1995" y="1192"/>
                  </a:lnTo>
                  <a:lnTo>
                    <a:pt x="1993" y="1196"/>
                  </a:lnTo>
                  <a:lnTo>
                    <a:pt x="1991" y="1202"/>
                  </a:lnTo>
                  <a:lnTo>
                    <a:pt x="1991" y="1205"/>
                  </a:lnTo>
                  <a:lnTo>
                    <a:pt x="1987" y="1211"/>
                  </a:lnTo>
                  <a:lnTo>
                    <a:pt x="1991" y="1211"/>
                  </a:lnTo>
                  <a:lnTo>
                    <a:pt x="1991" y="1215"/>
                  </a:lnTo>
                  <a:lnTo>
                    <a:pt x="1987" y="1219"/>
                  </a:lnTo>
                  <a:lnTo>
                    <a:pt x="1987" y="1226"/>
                  </a:lnTo>
                  <a:lnTo>
                    <a:pt x="1984" y="1230"/>
                  </a:lnTo>
                  <a:lnTo>
                    <a:pt x="1987" y="1236"/>
                  </a:lnTo>
                  <a:lnTo>
                    <a:pt x="1987" y="1236"/>
                  </a:lnTo>
                  <a:lnTo>
                    <a:pt x="1987" y="1239"/>
                  </a:lnTo>
                  <a:lnTo>
                    <a:pt x="1984" y="1245"/>
                  </a:lnTo>
                  <a:lnTo>
                    <a:pt x="1984" y="1251"/>
                  </a:lnTo>
                  <a:lnTo>
                    <a:pt x="1978" y="1254"/>
                  </a:lnTo>
                  <a:lnTo>
                    <a:pt x="1978" y="1258"/>
                  </a:lnTo>
                  <a:lnTo>
                    <a:pt x="1974" y="1260"/>
                  </a:lnTo>
                  <a:lnTo>
                    <a:pt x="1970" y="1277"/>
                  </a:lnTo>
                  <a:lnTo>
                    <a:pt x="1969" y="1279"/>
                  </a:lnTo>
                  <a:lnTo>
                    <a:pt x="1969" y="1285"/>
                  </a:lnTo>
                  <a:lnTo>
                    <a:pt x="1970" y="1285"/>
                  </a:lnTo>
                  <a:lnTo>
                    <a:pt x="1969" y="1286"/>
                  </a:lnTo>
                  <a:lnTo>
                    <a:pt x="1963" y="1290"/>
                  </a:lnTo>
                  <a:lnTo>
                    <a:pt x="1963" y="1294"/>
                  </a:lnTo>
                  <a:lnTo>
                    <a:pt x="1959" y="1294"/>
                  </a:lnTo>
                  <a:lnTo>
                    <a:pt x="1961" y="1302"/>
                  </a:lnTo>
                  <a:lnTo>
                    <a:pt x="1957" y="1302"/>
                  </a:lnTo>
                  <a:lnTo>
                    <a:pt x="1959" y="1305"/>
                  </a:lnTo>
                  <a:lnTo>
                    <a:pt x="1957" y="1311"/>
                  </a:lnTo>
                  <a:lnTo>
                    <a:pt x="1957" y="1311"/>
                  </a:lnTo>
                  <a:lnTo>
                    <a:pt x="1953" y="1309"/>
                  </a:lnTo>
                  <a:lnTo>
                    <a:pt x="1953" y="1315"/>
                  </a:lnTo>
                  <a:lnTo>
                    <a:pt x="1953" y="1318"/>
                  </a:lnTo>
                  <a:lnTo>
                    <a:pt x="1952" y="1320"/>
                  </a:lnTo>
                  <a:lnTo>
                    <a:pt x="1952" y="1320"/>
                  </a:lnTo>
                  <a:lnTo>
                    <a:pt x="1946" y="1330"/>
                  </a:lnTo>
                  <a:lnTo>
                    <a:pt x="1942" y="1334"/>
                  </a:lnTo>
                  <a:lnTo>
                    <a:pt x="1940" y="1334"/>
                  </a:lnTo>
                  <a:lnTo>
                    <a:pt x="1938" y="1337"/>
                  </a:lnTo>
                  <a:lnTo>
                    <a:pt x="1933" y="1337"/>
                  </a:lnTo>
                  <a:lnTo>
                    <a:pt x="1929" y="1343"/>
                  </a:lnTo>
                  <a:lnTo>
                    <a:pt x="1929" y="1339"/>
                  </a:lnTo>
                  <a:lnTo>
                    <a:pt x="1927" y="1343"/>
                  </a:lnTo>
                  <a:lnTo>
                    <a:pt x="1920" y="1337"/>
                  </a:lnTo>
                  <a:lnTo>
                    <a:pt x="1914" y="1337"/>
                  </a:lnTo>
                  <a:lnTo>
                    <a:pt x="1914" y="1330"/>
                  </a:lnTo>
                  <a:lnTo>
                    <a:pt x="1912" y="1328"/>
                  </a:lnTo>
                  <a:lnTo>
                    <a:pt x="1908" y="1330"/>
                  </a:lnTo>
                  <a:lnTo>
                    <a:pt x="1903" y="1328"/>
                  </a:lnTo>
                  <a:lnTo>
                    <a:pt x="1903" y="1330"/>
                  </a:lnTo>
                  <a:lnTo>
                    <a:pt x="1903" y="1334"/>
                  </a:lnTo>
                  <a:lnTo>
                    <a:pt x="1899" y="1335"/>
                  </a:lnTo>
                  <a:lnTo>
                    <a:pt x="1899" y="1343"/>
                  </a:lnTo>
                  <a:lnTo>
                    <a:pt x="1897" y="1345"/>
                  </a:lnTo>
                  <a:lnTo>
                    <a:pt x="1895" y="1351"/>
                  </a:lnTo>
                  <a:lnTo>
                    <a:pt x="1893" y="1349"/>
                  </a:lnTo>
                  <a:lnTo>
                    <a:pt x="1888" y="1351"/>
                  </a:lnTo>
                  <a:lnTo>
                    <a:pt x="1888" y="1354"/>
                  </a:lnTo>
                  <a:lnTo>
                    <a:pt x="1886" y="1354"/>
                  </a:lnTo>
                  <a:lnTo>
                    <a:pt x="1886" y="1354"/>
                  </a:lnTo>
                  <a:lnTo>
                    <a:pt x="1886" y="1354"/>
                  </a:lnTo>
                  <a:lnTo>
                    <a:pt x="1886" y="1354"/>
                  </a:lnTo>
                  <a:close/>
                  <a:moveTo>
                    <a:pt x="2159" y="1290"/>
                  </a:moveTo>
                  <a:lnTo>
                    <a:pt x="2159" y="1290"/>
                  </a:lnTo>
                  <a:lnTo>
                    <a:pt x="2162" y="1288"/>
                  </a:lnTo>
                  <a:lnTo>
                    <a:pt x="2162" y="1285"/>
                  </a:lnTo>
                  <a:lnTo>
                    <a:pt x="2161" y="1286"/>
                  </a:lnTo>
                  <a:lnTo>
                    <a:pt x="2159" y="1290"/>
                  </a:lnTo>
                  <a:lnTo>
                    <a:pt x="2159" y="1290"/>
                  </a:lnTo>
                  <a:lnTo>
                    <a:pt x="2159" y="1290"/>
                  </a:lnTo>
                  <a:lnTo>
                    <a:pt x="2159" y="1290"/>
                  </a:lnTo>
                  <a:close/>
                  <a:moveTo>
                    <a:pt x="120" y="190"/>
                  </a:moveTo>
                  <a:lnTo>
                    <a:pt x="118" y="186"/>
                  </a:lnTo>
                  <a:lnTo>
                    <a:pt x="118" y="183"/>
                  </a:lnTo>
                  <a:lnTo>
                    <a:pt x="114" y="179"/>
                  </a:lnTo>
                  <a:lnTo>
                    <a:pt x="114" y="179"/>
                  </a:lnTo>
                  <a:lnTo>
                    <a:pt x="113" y="173"/>
                  </a:lnTo>
                  <a:lnTo>
                    <a:pt x="114" y="171"/>
                  </a:lnTo>
                  <a:lnTo>
                    <a:pt x="118" y="168"/>
                  </a:lnTo>
                  <a:lnTo>
                    <a:pt x="124" y="166"/>
                  </a:lnTo>
                  <a:lnTo>
                    <a:pt x="128" y="164"/>
                  </a:lnTo>
                  <a:lnTo>
                    <a:pt x="128" y="166"/>
                  </a:lnTo>
                  <a:lnTo>
                    <a:pt x="131" y="169"/>
                  </a:lnTo>
                  <a:lnTo>
                    <a:pt x="135" y="171"/>
                  </a:lnTo>
                  <a:lnTo>
                    <a:pt x="139" y="171"/>
                  </a:lnTo>
                  <a:lnTo>
                    <a:pt x="141" y="169"/>
                  </a:lnTo>
                  <a:lnTo>
                    <a:pt x="143" y="168"/>
                  </a:lnTo>
                  <a:lnTo>
                    <a:pt x="139" y="166"/>
                  </a:lnTo>
                  <a:lnTo>
                    <a:pt x="135" y="164"/>
                  </a:lnTo>
                  <a:lnTo>
                    <a:pt x="128" y="158"/>
                  </a:lnTo>
                  <a:lnTo>
                    <a:pt x="118" y="156"/>
                  </a:lnTo>
                  <a:lnTo>
                    <a:pt x="113" y="158"/>
                  </a:lnTo>
                  <a:lnTo>
                    <a:pt x="105" y="164"/>
                  </a:lnTo>
                  <a:lnTo>
                    <a:pt x="103" y="169"/>
                  </a:lnTo>
                  <a:lnTo>
                    <a:pt x="97" y="171"/>
                  </a:lnTo>
                  <a:lnTo>
                    <a:pt x="94" y="173"/>
                  </a:lnTo>
                  <a:lnTo>
                    <a:pt x="94" y="183"/>
                  </a:lnTo>
                  <a:lnTo>
                    <a:pt x="97" y="186"/>
                  </a:lnTo>
                  <a:lnTo>
                    <a:pt x="103" y="183"/>
                  </a:lnTo>
                  <a:lnTo>
                    <a:pt x="105" y="186"/>
                  </a:lnTo>
                  <a:lnTo>
                    <a:pt x="107" y="188"/>
                  </a:lnTo>
                  <a:lnTo>
                    <a:pt x="109" y="188"/>
                  </a:lnTo>
                  <a:lnTo>
                    <a:pt x="111" y="186"/>
                  </a:lnTo>
                  <a:lnTo>
                    <a:pt x="111" y="186"/>
                  </a:lnTo>
                  <a:lnTo>
                    <a:pt x="113" y="183"/>
                  </a:lnTo>
                  <a:lnTo>
                    <a:pt x="114" y="186"/>
                  </a:lnTo>
                  <a:lnTo>
                    <a:pt x="118" y="190"/>
                  </a:lnTo>
                  <a:lnTo>
                    <a:pt x="118" y="192"/>
                  </a:lnTo>
                  <a:lnTo>
                    <a:pt x="120" y="190"/>
                  </a:lnTo>
                  <a:lnTo>
                    <a:pt x="120" y="190"/>
                  </a:lnTo>
                  <a:lnTo>
                    <a:pt x="120" y="190"/>
                  </a:lnTo>
                  <a:lnTo>
                    <a:pt x="120" y="190"/>
                  </a:lnTo>
                  <a:close/>
                  <a:moveTo>
                    <a:pt x="148" y="136"/>
                  </a:moveTo>
                  <a:lnTo>
                    <a:pt x="152" y="132"/>
                  </a:lnTo>
                  <a:lnTo>
                    <a:pt x="152" y="128"/>
                  </a:lnTo>
                  <a:lnTo>
                    <a:pt x="154" y="128"/>
                  </a:lnTo>
                  <a:lnTo>
                    <a:pt x="154" y="132"/>
                  </a:lnTo>
                  <a:lnTo>
                    <a:pt x="156" y="134"/>
                  </a:lnTo>
                  <a:lnTo>
                    <a:pt x="156" y="137"/>
                  </a:lnTo>
                  <a:lnTo>
                    <a:pt x="152" y="137"/>
                  </a:lnTo>
                  <a:lnTo>
                    <a:pt x="152" y="137"/>
                  </a:lnTo>
                  <a:lnTo>
                    <a:pt x="148" y="136"/>
                  </a:lnTo>
                  <a:lnTo>
                    <a:pt x="148" y="136"/>
                  </a:lnTo>
                  <a:lnTo>
                    <a:pt x="148" y="136"/>
                  </a:lnTo>
                  <a:lnTo>
                    <a:pt x="148" y="136"/>
                  </a:lnTo>
                  <a:close/>
                  <a:moveTo>
                    <a:pt x="143" y="211"/>
                  </a:moveTo>
                  <a:lnTo>
                    <a:pt x="145" y="211"/>
                  </a:lnTo>
                  <a:lnTo>
                    <a:pt x="145" y="207"/>
                  </a:lnTo>
                  <a:lnTo>
                    <a:pt x="148" y="205"/>
                  </a:lnTo>
                  <a:lnTo>
                    <a:pt x="148" y="203"/>
                  </a:lnTo>
                  <a:lnTo>
                    <a:pt x="148" y="201"/>
                  </a:lnTo>
                  <a:lnTo>
                    <a:pt x="148" y="203"/>
                  </a:lnTo>
                  <a:lnTo>
                    <a:pt x="152" y="201"/>
                  </a:lnTo>
                  <a:lnTo>
                    <a:pt x="152" y="196"/>
                  </a:lnTo>
                  <a:lnTo>
                    <a:pt x="152" y="190"/>
                  </a:lnTo>
                  <a:lnTo>
                    <a:pt x="148" y="188"/>
                  </a:lnTo>
                  <a:lnTo>
                    <a:pt x="148" y="186"/>
                  </a:lnTo>
                  <a:lnTo>
                    <a:pt x="152" y="186"/>
                  </a:lnTo>
                  <a:lnTo>
                    <a:pt x="156" y="186"/>
                  </a:lnTo>
                  <a:lnTo>
                    <a:pt x="161" y="183"/>
                  </a:lnTo>
                  <a:lnTo>
                    <a:pt x="163" y="183"/>
                  </a:lnTo>
                  <a:lnTo>
                    <a:pt x="163" y="183"/>
                  </a:lnTo>
                  <a:lnTo>
                    <a:pt x="161" y="179"/>
                  </a:lnTo>
                  <a:lnTo>
                    <a:pt x="160" y="179"/>
                  </a:lnTo>
                  <a:lnTo>
                    <a:pt x="158" y="179"/>
                  </a:lnTo>
                  <a:lnTo>
                    <a:pt x="158" y="177"/>
                  </a:lnTo>
                  <a:lnTo>
                    <a:pt x="158" y="173"/>
                  </a:lnTo>
                  <a:lnTo>
                    <a:pt x="160" y="171"/>
                  </a:lnTo>
                  <a:lnTo>
                    <a:pt x="161" y="171"/>
                  </a:lnTo>
                  <a:lnTo>
                    <a:pt x="161" y="173"/>
                  </a:lnTo>
                  <a:lnTo>
                    <a:pt x="163" y="173"/>
                  </a:lnTo>
                  <a:lnTo>
                    <a:pt x="165" y="173"/>
                  </a:lnTo>
                  <a:lnTo>
                    <a:pt x="169" y="169"/>
                  </a:lnTo>
                  <a:lnTo>
                    <a:pt x="173" y="168"/>
                  </a:lnTo>
                  <a:lnTo>
                    <a:pt x="173" y="166"/>
                  </a:lnTo>
                  <a:lnTo>
                    <a:pt x="169" y="162"/>
                  </a:lnTo>
                  <a:lnTo>
                    <a:pt x="169" y="162"/>
                  </a:lnTo>
                  <a:lnTo>
                    <a:pt x="167" y="158"/>
                  </a:lnTo>
                  <a:lnTo>
                    <a:pt x="165" y="154"/>
                  </a:lnTo>
                  <a:lnTo>
                    <a:pt x="163" y="154"/>
                  </a:lnTo>
                  <a:lnTo>
                    <a:pt x="160" y="156"/>
                  </a:lnTo>
                  <a:lnTo>
                    <a:pt x="158" y="162"/>
                  </a:lnTo>
                  <a:lnTo>
                    <a:pt x="156" y="162"/>
                  </a:lnTo>
                  <a:lnTo>
                    <a:pt x="154" y="162"/>
                  </a:lnTo>
                  <a:lnTo>
                    <a:pt x="156" y="156"/>
                  </a:lnTo>
                  <a:lnTo>
                    <a:pt x="158" y="153"/>
                  </a:lnTo>
                  <a:lnTo>
                    <a:pt x="160" y="149"/>
                  </a:lnTo>
                  <a:lnTo>
                    <a:pt x="161" y="145"/>
                  </a:lnTo>
                  <a:lnTo>
                    <a:pt x="160" y="143"/>
                  </a:lnTo>
                  <a:lnTo>
                    <a:pt x="156" y="149"/>
                  </a:lnTo>
                  <a:lnTo>
                    <a:pt x="154" y="153"/>
                  </a:lnTo>
                  <a:lnTo>
                    <a:pt x="152" y="153"/>
                  </a:lnTo>
                  <a:lnTo>
                    <a:pt x="152" y="153"/>
                  </a:lnTo>
                  <a:lnTo>
                    <a:pt x="152" y="149"/>
                  </a:lnTo>
                  <a:lnTo>
                    <a:pt x="152" y="147"/>
                  </a:lnTo>
                  <a:lnTo>
                    <a:pt x="152" y="149"/>
                  </a:lnTo>
                  <a:lnTo>
                    <a:pt x="148" y="153"/>
                  </a:lnTo>
                  <a:lnTo>
                    <a:pt x="145" y="153"/>
                  </a:lnTo>
                  <a:lnTo>
                    <a:pt x="145" y="156"/>
                  </a:lnTo>
                  <a:lnTo>
                    <a:pt x="148" y="158"/>
                  </a:lnTo>
                  <a:lnTo>
                    <a:pt x="152" y="156"/>
                  </a:lnTo>
                  <a:lnTo>
                    <a:pt x="152" y="158"/>
                  </a:lnTo>
                  <a:lnTo>
                    <a:pt x="152" y="162"/>
                  </a:lnTo>
                  <a:lnTo>
                    <a:pt x="148" y="162"/>
                  </a:lnTo>
                  <a:lnTo>
                    <a:pt x="145" y="164"/>
                  </a:lnTo>
                  <a:lnTo>
                    <a:pt x="148" y="168"/>
                  </a:lnTo>
                  <a:lnTo>
                    <a:pt x="145" y="171"/>
                  </a:lnTo>
                  <a:lnTo>
                    <a:pt x="145" y="171"/>
                  </a:lnTo>
                  <a:lnTo>
                    <a:pt x="141" y="173"/>
                  </a:lnTo>
                  <a:lnTo>
                    <a:pt x="137" y="177"/>
                  </a:lnTo>
                  <a:lnTo>
                    <a:pt x="133" y="173"/>
                  </a:lnTo>
                  <a:lnTo>
                    <a:pt x="131" y="177"/>
                  </a:lnTo>
                  <a:lnTo>
                    <a:pt x="128" y="173"/>
                  </a:lnTo>
                  <a:lnTo>
                    <a:pt x="124" y="171"/>
                  </a:lnTo>
                  <a:lnTo>
                    <a:pt x="124" y="173"/>
                  </a:lnTo>
                  <a:lnTo>
                    <a:pt x="124" y="177"/>
                  </a:lnTo>
                  <a:lnTo>
                    <a:pt x="124" y="179"/>
                  </a:lnTo>
                  <a:lnTo>
                    <a:pt x="124" y="183"/>
                  </a:lnTo>
                  <a:lnTo>
                    <a:pt x="128" y="183"/>
                  </a:lnTo>
                  <a:lnTo>
                    <a:pt x="128" y="179"/>
                  </a:lnTo>
                  <a:lnTo>
                    <a:pt x="131" y="183"/>
                  </a:lnTo>
                  <a:lnTo>
                    <a:pt x="131" y="186"/>
                  </a:lnTo>
                  <a:lnTo>
                    <a:pt x="135" y="186"/>
                  </a:lnTo>
                  <a:lnTo>
                    <a:pt x="137" y="186"/>
                  </a:lnTo>
                  <a:lnTo>
                    <a:pt x="133" y="188"/>
                  </a:lnTo>
                  <a:lnTo>
                    <a:pt x="129" y="188"/>
                  </a:lnTo>
                  <a:lnTo>
                    <a:pt x="128" y="190"/>
                  </a:lnTo>
                  <a:lnTo>
                    <a:pt x="128" y="200"/>
                  </a:lnTo>
                  <a:lnTo>
                    <a:pt x="129" y="203"/>
                  </a:lnTo>
                  <a:lnTo>
                    <a:pt x="128" y="205"/>
                  </a:lnTo>
                  <a:lnTo>
                    <a:pt x="129" y="207"/>
                  </a:lnTo>
                  <a:lnTo>
                    <a:pt x="131" y="207"/>
                  </a:lnTo>
                  <a:lnTo>
                    <a:pt x="135" y="207"/>
                  </a:lnTo>
                  <a:lnTo>
                    <a:pt x="137" y="203"/>
                  </a:lnTo>
                  <a:lnTo>
                    <a:pt x="137" y="200"/>
                  </a:lnTo>
                  <a:lnTo>
                    <a:pt x="139" y="200"/>
                  </a:lnTo>
                  <a:lnTo>
                    <a:pt x="143" y="203"/>
                  </a:lnTo>
                  <a:lnTo>
                    <a:pt x="143" y="211"/>
                  </a:lnTo>
                  <a:lnTo>
                    <a:pt x="143" y="211"/>
                  </a:lnTo>
                  <a:lnTo>
                    <a:pt x="143" y="211"/>
                  </a:lnTo>
                  <a:lnTo>
                    <a:pt x="143" y="211"/>
                  </a:lnTo>
                  <a:close/>
                  <a:moveTo>
                    <a:pt x="167" y="203"/>
                  </a:moveTo>
                  <a:lnTo>
                    <a:pt x="167" y="200"/>
                  </a:lnTo>
                  <a:lnTo>
                    <a:pt x="169" y="198"/>
                  </a:lnTo>
                  <a:lnTo>
                    <a:pt x="169" y="194"/>
                  </a:lnTo>
                  <a:lnTo>
                    <a:pt x="165" y="192"/>
                  </a:lnTo>
                  <a:lnTo>
                    <a:pt x="161" y="190"/>
                  </a:lnTo>
                  <a:lnTo>
                    <a:pt x="160" y="194"/>
                  </a:lnTo>
                  <a:lnTo>
                    <a:pt x="160" y="198"/>
                  </a:lnTo>
                  <a:lnTo>
                    <a:pt x="161" y="200"/>
                  </a:lnTo>
                  <a:lnTo>
                    <a:pt x="167" y="203"/>
                  </a:lnTo>
                  <a:lnTo>
                    <a:pt x="167" y="203"/>
                  </a:lnTo>
                  <a:lnTo>
                    <a:pt x="167" y="203"/>
                  </a:lnTo>
                  <a:lnTo>
                    <a:pt x="167" y="203"/>
                  </a:lnTo>
                  <a:close/>
                  <a:moveTo>
                    <a:pt x="173" y="213"/>
                  </a:moveTo>
                  <a:lnTo>
                    <a:pt x="173" y="213"/>
                  </a:lnTo>
                  <a:lnTo>
                    <a:pt x="173" y="213"/>
                  </a:lnTo>
                  <a:lnTo>
                    <a:pt x="178" y="211"/>
                  </a:lnTo>
                  <a:lnTo>
                    <a:pt x="182" y="211"/>
                  </a:lnTo>
                  <a:lnTo>
                    <a:pt x="184" y="207"/>
                  </a:lnTo>
                  <a:lnTo>
                    <a:pt x="182" y="207"/>
                  </a:lnTo>
                  <a:lnTo>
                    <a:pt x="178" y="205"/>
                  </a:lnTo>
                  <a:lnTo>
                    <a:pt x="178" y="201"/>
                  </a:lnTo>
                  <a:lnTo>
                    <a:pt x="177" y="196"/>
                  </a:lnTo>
                  <a:lnTo>
                    <a:pt x="173" y="198"/>
                  </a:lnTo>
                  <a:lnTo>
                    <a:pt x="173" y="203"/>
                  </a:lnTo>
                  <a:lnTo>
                    <a:pt x="173" y="207"/>
                  </a:lnTo>
                  <a:lnTo>
                    <a:pt x="169" y="207"/>
                  </a:lnTo>
                  <a:lnTo>
                    <a:pt x="167" y="207"/>
                  </a:lnTo>
                  <a:lnTo>
                    <a:pt x="169" y="211"/>
                  </a:lnTo>
                  <a:lnTo>
                    <a:pt x="173" y="213"/>
                  </a:lnTo>
                  <a:lnTo>
                    <a:pt x="173" y="213"/>
                  </a:lnTo>
                  <a:lnTo>
                    <a:pt x="173" y="213"/>
                  </a:lnTo>
                  <a:lnTo>
                    <a:pt x="173" y="213"/>
                  </a:lnTo>
                  <a:close/>
                  <a:moveTo>
                    <a:pt x="220" y="81"/>
                  </a:moveTo>
                  <a:lnTo>
                    <a:pt x="224" y="79"/>
                  </a:lnTo>
                  <a:lnTo>
                    <a:pt x="227" y="79"/>
                  </a:lnTo>
                  <a:lnTo>
                    <a:pt x="227" y="77"/>
                  </a:lnTo>
                  <a:lnTo>
                    <a:pt x="227" y="75"/>
                  </a:lnTo>
                  <a:lnTo>
                    <a:pt x="227" y="73"/>
                  </a:lnTo>
                  <a:lnTo>
                    <a:pt x="227" y="70"/>
                  </a:lnTo>
                  <a:lnTo>
                    <a:pt x="225" y="68"/>
                  </a:lnTo>
                  <a:lnTo>
                    <a:pt x="222" y="70"/>
                  </a:lnTo>
                  <a:lnTo>
                    <a:pt x="218" y="72"/>
                  </a:lnTo>
                  <a:lnTo>
                    <a:pt x="214" y="73"/>
                  </a:lnTo>
                  <a:lnTo>
                    <a:pt x="214" y="73"/>
                  </a:lnTo>
                  <a:lnTo>
                    <a:pt x="216" y="75"/>
                  </a:lnTo>
                  <a:lnTo>
                    <a:pt x="218" y="79"/>
                  </a:lnTo>
                  <a:lnTo>
                    <a:pt x="218" y="79"/>
                  </a:lnTo>
                  <a:lnTo>
                    <a:pt x="220" y="81"/>
                  </a:lnTo>
                  <a:lnTo>
                    <a:pt x="220" y="81"/>
                  </a:lnTo>
                  <a:lnTo>
                    <a:pt x="220" y="81"/>
                  </a:lnTo>
                  <a:lnTo>
                    <a:pt x="220" y="81"/>
                  </a:lnTo>
                  <a:close/>
                  <a:moveTo>
                    <a:pt x="224" y="88"/>
                  </a:moveTo>
                  <a:lnTo>
                    <a:pt x="224" y="85"/>
                  </a:lnTo>
                  <a:lnTo>
                    <a:pt x="224" y="85"/>
                  </a:lnTo>
                  <a:lnTo>
                    <a:pt x="225" y="85"/>
                  </a:lnTo>
                  <a:lnTo>
                    <a:pt x="224" y="88"/>
                  </a:lnTo>
                  <a:lnTo>
                    <a:pt x="224" y="88"/>
                  </a:lnTo>
                  <a:lnTo>
                    <a:pt x="224" y="88"/>
                  </a:lnTo>
                  <a:lnTo>
                    <a:pt x="224" y="88"/>
                  </a:lnTo>
                  <a:close/>
                  <a:moveTo>
                    <a:pt x="224" y="100"/>
                  </a:moveTo>
                  <a:lnTo>
                    <a:pt x="225" y="98"/>
                  </a:lnTo>
                  <a:lnTo>
                    <a:pt x="227" y="94"/>
                  </a:lnTo>
                  <a:lnTo>
                    <a:pt x="227" y="94"/>
                  </a:lnTo>
                  <a:lnTo>
                    <a:pt x="227" y="92"/>
                  </a:lnTo>
                  <a:lnTo>
                    <a:pt x="225" y="94"/>
                  </a:lnTo>
                  <a:lnTo>
                    <a:pt x="222" y="94"/>
                  </a:lnTo>
                  <a:lnTo>
                    <a:pt x="220" y="92"/>
                  </a:lnTo>
                  <a:lnTo>
                    <a:pt x="216" y="92"/>
                  </a:lnTo>
                  <a:lnTo>
                    <a:pt x="214" y="94"/>
                  </a:lnTo>
                  <a:lnTo>
                    <a:pt x="210" y="94"/>
                  </a:lnTo>
                  <a:lnTo>
                    <a:pt x="209" y="98"/>
                  </a:lnTo>
                  <a:lnTo>
                    <a:pt x="210" y="100"/>
                  </a:lnTo>
                  <a:lnTo>
                    <a:pt x="214" y="102"/>
                  </a:lnTo>
                  <a:lnTo>
                    <a:pt x="218" y="98"/>
                  </a:lnTo>
                  <a:lnTo>
                    <a:pt x="220" y="102"/>
                  </a:lnTo>
                  <a:lnTo>
                    <a:pt x="222" y="102"/>
                  </a:lnTo>
                  <a:lnTo>
                    <a:pt x="224" y="100"/>
                  </a:lnTo>
                  <a:lnTo>
                    <a:pt x="224" y="100"/>
                  </a:lnTo>
                  <a:lnTo>
                    <a:pt x="224" y="100"/>
                  </a:lnTo>
                  <a:lnTo>
                    <a:pt x="224" y="100"/>
                  </a:lnTo>
                  <a:close/>
                  <a:moveTo>
                    <a:pt x="231" y="100"/>
                  </a:moveTo>
                  <a:lnTo>
                    <a:pt x="231" y="98"/>
                  </a:lnTo>
                  <a:lnTo>
                    <a:pt x="233" y="94"/>
                  </a:lnTo>
                  <a:lnTo>
                    <a:pt x="237" y="94"/>
                  </a:lnTo>
                  <a:lnTo>
                    <a:pt x="237" y="94"/>
                  </a:lnTo>
                  <a:lnTo>
                    <a:pt x="239" y="98"/>
                  </a:lnTo>
                  <a:lnTo>
                    <a:pt x="237" y="100"/>
                  </a:lnTo>
                  <a:lnTo>
                    <a:pt x="237" y="102"/>
                  </a:lnTo>
                  <a:lnTo>
                    <a:pt x="231" y="100"/>
                  </a:lnTo>
                  <a:lnTo>
                    <a:pt x="231" y="100"/>
                  </a:lnTo>
                  <a:lnTo>
                    <a:pt x="231" y="100"/>
                  </a:lnTo>
                  <a:lnTo>
                    <a:pt x="231" y="100"/>
                  </a:lnTo>
                  <a:close/>
                  <a:moveTo>
                    <a:pt x="218" y="119"/>
                  </a:moveTo>
                  <a:lnTo>
                    <a:pt x="222" y="115"/>
                  </a:lnTo>
                  <a:lnTo>
                    <a:pt x="224" y="109"/>
                  </a:lnTo>
                  <a:lnTo>
                    <a:pt x="227" y="107"/>
                  </a:lnTo>
                  <a:lnTo>
                    <a:pt x="227" y="105"/>
                  </a:lnTo>
                  <a:lnTo>
                    <a:pt x="224" y="104"/>
                  </a:lnTo>
                  <a:lnTo>
                    <a:pt x="220" y="105"/>
                  </a:lnTo>
                  <a:lnTo>
                    <a:pt x="216" y="104"/>
                  </a:lnTo>
                  <a:lnTo>
                    <a:pt x="210" y="104"/>
                  </a:lnTo>
                  <a:lnTo>
                    <a:pt x="210" y="107"/>
                  </a:lnTo>
                  <a:lnTo>
                    <a:pt x="209" y="111"/>
                  </a:lnTo>
                  <a:lnTo>
                    <a:pt x="210" y="111"/>
                  </a:lnTo>
                  <a:lnTo>
                    <a:pt x="212" y="111"/>
                  </a:lnTo>
                  <a:lnTo>
                    <a:pt x="214" y="115"/>
                  </a:lnTo>
                  <a:lnTo>
                    <a:pt x="214" y="117"/>
                  </a:lnTo>
                  <a:lnTo>
                    <a:pt x="210" y="117"/>
                  </a:lnTo>
                  <a:lnTo>
                    <a:pt x="203" y="119"/>
                  </a:lnTo>
                  <a:lnTo>
                    <a:pt x="203" y="122"/>
                  </a:lnTo>
                  <a:lnTo>
                    <a:pt x="207" y="122"/>
                  </a:lnTo>
                  <a:lnTo>
                    <a:pt x="209" y="124"/>
                  </a:lnTo>
                  <a:lnTo>
                    <a:pt x="212" y="122"/>
                  </a:lnTo>
                  <a:lnTo>
                    <a:pt x="212" y="122"/>
                  </a:lnTo>
                  <a:lnTo>
                    <a:pt x="218" y="119"/>
                  </a:lnTo>
                  <a:lnTo>
                    <a:pt x="218" y="119"/>
                  </a:lnTo>
                  <a:lnTo>
                    <a:pt x="218" y="119"/>
                  </a:lnTo>
                  <a:lnTo>
                    <a:pt x="218" y="119"/>
                  </a:lnTo>
                  <a:close/>
                  <a:moveTo>
                    <a:pt x="227" y="119"/>
                  </a:moveTo>
                  <a:lnTo>
                    <a:pt x="225" y="119"/>
                  </a:lnTo>
                  <a:lnTo>
                    <a:pt x="224" y="122"/>
                  </a:lnTo>
                  <a:lnTo>
                    <a:pt x="220" y="119"/>
                  </a:lnTo>
                  <a:lnTo>
                    <a:pt x="222" y="117"/>
                  </a:lnTo>
                  <a:lnTo>
                    <a:pt x="225" y="115"/>
                  </a:lnTo>
                  <a:lnTo>
                    <a:pt x="227" y="113"/>
                  </a:lnTo>
                  <a:lnTo>
                    <a:pt x="231" y="115"/>
                  </a:lnTo>
                  <a:lnTo>
                    <a:pt x="227" y="117"/>
                  </a:lnTo>
                  <a:lnTo>
                    <a:pt x="227" y="119"/>
                  </a:lnTo>
                  <a:lnTo>
                    <a:pt x="227" y="119"/>
                  </a:lnTo>
                  <a:lnTo>
                    <a:pt x="227" y="119"/>
                  </a:lnTo>
                  <a:lnTo>
                    <a:pt x="227" y="119"/>
                  </a:lnTo>
                  <a:close/>
                  <a:moveTo>
                    <a:pt x="239" y="128"/>
                  </a:moveTo>
                  <a:lnTo>
                    <a:pt x="233" y="122"/>
                  </a:lnTo>
                  <a:lnTo>
                    <a:pt x="231" y="119"/>
                  </a:lnTo>
                  <a:lnTo>
                    <a:pt x="233" y="119"/>
                  </a:lnTo>
                  <a:lnTo>
                    <a:pt x="237" y="119"/>
                  </a:lnTo>
                  <a:lnTo>
                    <a:pt x="237" y="122"/>
                  </a:lnTo>
                  <a:lnTo>
                    <a:pt x="241" y="119"/>
                  </a:lnTo>
                  <a:lnTo>
                    <a:pt x="242" y="122"/>
                  </a:lnTo>
                  <a:lnTo>
                    <a:pt x="242" y="128"/>
                  </a:lnTo>
                  <a:lnTo>
                    <a:pt x="239" y="128"/>
                  </a:lnTo>
                  <a:lnTo>
                    <a:pt x="239" y="128"/>
                  </a:lnTo>
                  <a:lnTo>
                    <a:pt x="239" y="128"/>
                  </a:lnTo>
                  <a:lnTo>
                    <a:pt x="239" y="128"/>
                  </a:lnTo>
                  <a:close/>
                  <a:moveTo>
                    <a:pt x="233" y="137"/>
                  </a:moveTo>
                  <a:lnTo>
                    <a:pt x="231" y="134"/>
                  </a:lnTo>
                  <a:lnTo>
                    <a:pt x="224" y="128"/>
                  </a:lnTo>
                  <a:lnTo>
                    <a:pt x="218" y="128"/>
                  </a:lnTo>
                  <a:lnTo>
                    <a:pt x="214" y="128"/>
                  </a:lnTo>
                  <a:lnTo>
                    <a:pt x="212" y="124"/>
                  </a:lnTo>
                  <a:lnTo>
                    <a:pt x="212" y="122"/>
                  </a:lnTo>
                  <a:lnTo>
                    <a:pt x="216" y="122"/>
                  </a:lnTo>
                  <a:lnTo>
                    <a:pt x="222" y="122"/>
                  </a:lnTo>
                  <a:lnTo>
                    <a:pt x="227" y="124"/>
                  </a:lnTo>
                  <a:lnTo>
                    <a:pt x="233" y="130"/>
                  </a:lnTo>
                  <a:lnTo>
                    <a:pt x="237" y="130"/>
                  </a:lnTo>
                  <a:lnTo>
                    <a:pt x="237" y="128"/>
                  </a:lnTo>
                  <a:lnTo>
                    <a:pt x="239" y="130"/>
                  </a:lnTo>
                  <a:lnTo>
                    <a:pt x="237" y="132"/>
                  </a:lnTo>
                  <a:lnTo>
                    <a:pt x="237" y="137"/>
                  </a:lnTo>
                  <a:lnTo>
                    <a:pt x="233" y="137"/>
                  </a:lnTo>
                  <a:lnTo>
                    <a:pt x="233" y="137"/>
                  </a:lnTo>
                  <a:lnTo>
                    <a:pt x="233" y="137"/>
                  </a:lnTo>
                  <a:lnTo>
                    <a:pt x="233" y="137"/>
                  </a:lnTo>
                  <a:close/>
                  <a:moveTo>
                    <a:pt x="237" y="149"/>
                  </a:moveTo>
                  <a:lnTo>
                    <a:pt x="237" y="143"/>
                  </a:lnTo>
                  <a:lnTo>
                    <a:pt x="233" y="139"/>
                  </a:lnTo>
                  <a:lnTo>
                    <a:pt x="231" y="139"/>
                  </a:lnTo>
                  <a:lnTo>
                    <a:pt x="225" y="137"/>
                  </a:lnTo>
                  <a:lnTo>
                    <a:pt x="220" y="134"/>
                  </a:lnTo>
                  <a:lnTo>
                    <a:pt x="218" y="132"/>
                  </a:lnTo>
                  <a:lnTo>
                    <a:pt x="216" y="130"/>
                  </a:lnTo>
                  <a:lnTo>
                    <a:pt x="210" y="132"/>
                  </a:lnTo>
                  <a:lnTo>
                    <a:pt x="207" y="130"/>
                  </a:lnTo>
                  <a:lnTo>
                    <a:pt x="201" y="130"/>
                  </a:lnTo>
                  <a:lnTo>
                    <a:pt x="195" y="130"/>
                  </a:lnTo>
                  <a:lnTo>
                    <a:pt x="197" y="134"/>
                  </a:lnTo>
                  <a:lnTo>
                    <a:pt x="197" y="136"/>
                  </a:lnTo>
                  <a:lnTo>
                    <a:pt x="199" y="137"/>
                  </a:lnTo>
                  <a:lnTo>
                    <a:pt x="203" y="139"/>
                  </a:lnTo>
                  <a:lnTo>
                    <a:pt x="207" y="136"/>
                  </a:lnTo>
                  <a:lnTo>
                    <a:pt x="207" y="136"/>
                  </a:lnTo>
                  <a:lnTo>
                    <a:pt x="210" y="139"/>
                  </a:lnTo>
                  <a:lnTo>
                    <a:pt x="210" y="143"/>
                  </a:lnTo>
                  <a:lnTo>
                    <a:pt x="214" y="143"/>
                  </a:lnTo>
                  <a:lnTo>
                    <a:pt x="216" y="141"/>
                  </a:lnTo>
                  <a:lnTo>
                    <a:pt x="218" y="145"/>
                  </a:lnTo>
                  <a:lnTo>
                    <a:pt x="222" y="147"/>
                  </a:lnTo>
                  <a:lnTo>
                    <a:pt x="227" y="147"/>
                  </a:lnTo>
                  <a:lnTo>
                    <a:pt x="231" y="149"/>
                  </a:lnTo>
                  <a:lnTo>
                    <a:pt x="233" y="149"/>
                  </a:lnTo>
                  <a:lnTo>
                    <a:pt x="237" y="149"/>
                  </a:lnTo>
                  <a:lnTo>
                    <a:pt x="237" y="149"/>
                  </a:lnTo>
                  <a:lnTo>
                    <a:pt x="237" y="149"/>
                  </a:lnTo>
                  <a:lnTo>
                    <a:pt x="237" y="149"/>
                  </a:lnTo>
                  <a:close/>
                  <a:moveTo>
                    <a:pt x="209" y="154"/>
                  </a:moveTo>
                  <a:lnTo>
                    <a:pt x="209" y="154"/>
                  </a:lnTo>
                  <a:lnTo>
                    <a:pt x="207" y="153"/>
                  </a:lnTo>
                  <a:lnTo>
                    <a:pt x="207" y="153"/>
                  </a:lnTo>
                  <a:lnTo>
                    <a:pt x="201" y="153"/>
                  </a:lnTo>
                  <a:lnTo>
                    <a:pt x="199" y="149"/>
                  </a:lnTo>
                  <a:lnTo>
                    <a:pt x="199" y="149"/>
                  </a:lnTo>
                  <a:lnTo>
                    <a:pt x="201" y="147"/>
                  </a:lnTo>
                  <a:lnTo>
                    <a:pt x="203" y="145"/>
                  </a:lnTo>
                  <a:lnTo>
                    <a:pt x="209" y="147"/>
                  </a:lnTo>
                  <a:lnTo>
                    <a:pt x="210" y="145"/>
                  </a:lnTo>
                  <a:lnTo>
                    <a:pt x="212" y="149"/>
                  </a:lnTo>
                  <a:lnTo>
                    <a:pt x="214" y="149"/>
                  </a:lnTo>
                  <a:lnTo>
                    <a:pt x="214" y="147"/>
                  </a:lnTo>
                  <a:lnTo>
                    <a:pt x="216" y="149"/>
                  </a:lnTo>
                  <a:lnTo>
                    <a:pt x="218" y="149"/>
                  </a:lnTo>
                  <a:lnTo>
                    <a:pt x="216" y="153"/>
                  </a:lnTo>
                  <a:lnTo>
                    <a:pt x="209" y="154"/>
                  </a:lnTo>
                  <a:lnTo>
                    <a:pt x="209" y="154"/>
                  </a:lnTo>
                  <a:lnTo>
                    <a:pt x="209" y="154"/>
                  </a:lnTo>
                  <a:lnTo>
                    <a:pt x="209" y="154"/>
                  </a:lnTo>
                  <a:close/>
                  <a:moveTo>
                    <a:pt x="203" y="173"/>
                  </a:moveTo>
                  <a:lnTo>
                    <a:pt x="199" y="171"/>
                  </a:lnTo>
                  <a:lnTo>
                    <a:pt x="199" y="166"/>
                  </a:lnTo>
                  <a:lnTo>
                    <a:pt x="197" y="166"/>
                  </a:lnTo>
                  <a:lnTo>
                    <a:pt x="197" y="171"/>
                  </a:lnTo>
                  <a:lnTo>
                    <a:pt x="195" y="171"/>
                  </a:lnTo>
                  <a:lnTo>
                    <a:pt x="197" y="173"/>
                  </a:lnTo>
                  <a:lnTo>
                    <a:pt x="201" y="173"/>
                  </a:lnTo>
                  <a:lnTo>
                    <a:pt x="203" y="173"/>
                  </a:lnTo>
                  <a:lnTo>
                    <a:pt x="203" y="173"/>
                  </a:lnTo>
                  <a:lnTo>
                    <a:pt x="203" y="173"/>
                  </a:lnTo>
                  <a:lnTo>
                    <a:pt x="203" y="173"/>
                  </a:lnTo>
                  <a:close/>
                  <a:moveTo>
                    <a:pt x="207" y="173"/>
                  </a:moveTo>
                  <a:lnTo>
                    <a:pt x="207" y="173"/>
                  </a:lnTo>
                  <a:lnTo>
                    <a:pt x="207" y="171"/>
                  </a:lnTo>
                  <a:lnTo>
                    <a:pt x="207" y="168"/>
                  </a:lnTo>
                  <a:lnTo>
                    <a:pt x="203" y="164"/>
                  </a:lnTo>
                  <a:lnTo>
                    <a:pt x="203" y="164"/>
                  </a:lnTo>
                  <a:lnTo>
                    <a:pt x="203" y="168"/>
                  </a:lnTo>
                  <a:lnTo>
                    <a:pt x="207" y="173"/>
                  </a:lnTo>
                  <a:lnTo>
                    <a:pt x="207" y="173"/>
                  </a:lnTo>
                  <a:lnTo>
                    <a:pt x="207" y="173"/>
                  </a:lnTo>
                  <a:lnTo>
                    <a:pt x="207" y="173"/>
                  </a:lnTo>
                  <a:close/>
                  <a:moveTo>
                    <a:pt x="212" y="169"/>
                  </a:moveTo>
                  <a:lnTo>
                    <a:pt x="212" y="169"/>
                  </a:lnTo>
                  <a:lnTo>
                    <a:pt x="216" y="171"/>
                  </a:lnTo>
                  <a:lnTo>
                    <a:pt x="216" y="169"/>
                  </a:lnTo>
                  <a:lnTo>
                    <a:pt x="214" y="166"/>
                  </a:lnTo>
                  <a:lnTo>
                    <a:pt x="210" y="164"/>
                  </a:lnTo>
                  <a:lnTo>
                    <a:pt x="209" y="166"/>
                  </a:lnTo>
                  <a:lnTo>
                    <a:pt x="212" y="169"/>
                  </a:lnTo>
                  <a:lnTo>
                    <a:pt x="212" y="169"/>
                  </a:lnTo>
                  <a:lnTo>
                    <a:pt x="212" y="169"/>
                  </a:lnTo>
                  <a:lnTo>
                    <a:pt x="212" y="169"/>
                  </a:lnTo>
                  <a:close/>
                  <a:moveTo>
                    <a:pt x="210" y="179"/>
                  </a:moveTo>
                  <a:lnTo>
                    <a:pt x="212" y="179"/>
                  </a:lnTo>
                  <a:lnTo>
                    <a:pt x="214" y="173"/>
                  </a:lnTo>
                  <a:lnTo>
                    <a:pt x="212" y="171"/>
                  </a:lnTo>
                  <a:lnTo>
                    <a:pt x="210" y="169"/>
                  </a:lnTo>
                  <a:lnTo>
                    <a:pt x="209" y="171"/>
                  </a:lnTo>
                  <a:lnTo>
                    <a:pt x="210" y="173"/>
                  </a:lnTo>
                  <a:lnTo>
                    <a:pt x="209" y="177"/>
                  </a:lnTo>
                  <a:lnTo>
                    <a:pt x="210" y="179"/>
                  </a:lnTo>
                  <a:lnTo>
                    <a:pt x="210" y="179"/>
                  </a:lnTo>
                  <a:lnTo>
                    <a:pt x="210" y="179"/>
                  </a:lnTo>
                  <a:lnTo>
                    <a:pt x="210" y="179"/>
                  </a:lnTo>
                  <a:close/>
                  <a:moveTo>
                    <a:pt x="207" y="186"/>
                  </a:moveTo>
                  <a:lnTo>
                    <a:pt x="207" y="186"/>
                  </a:lnTo>
                  <a:lnTo>
                    <a:pt x="203" y="186"/>
                  </a:lnTo>
                  <a:lnTo>
                    <a:pt x="201" y="183"/>
                  </a:lnTo>
                  <a:lnTo>
                    <a:pt x="199" y="183"/>
                  </a:lnTo>
                  <a:lnTo>
                    <a:pt x="195" y="183"/>
                  </a:lnTo>
                  <a:lnTo>
                    <a:pt x="197" y="186"/>
                  </a:lnTo>
                  <a:lnTo>
                    <a:pt x="197" y="188"/>
                  </a:lnTo>
                  <a:lnTo>
                    <a:pt x="193" y="190"/>
                  </a:lnTo>
                  <a:lnTo>
                    <a:pt x="195" y="194"/>
                  </a:lnTo>
                  <a:lnTo>
                    <a:pt x="201" y="194"/>
                  </a:lnTo>
                  <a:lnTo>
                    <a:pt x="207" y="192"/>
                  </a:lnTo>
                  <a:lnTo>
                    <a:pt x="207" y="186"/>
                  </a:lnTo>
                  <a:lnTo>
                    <a:pt x="207" y="186"/>
                  </a:lnTo>
                  <a:lnTo>
                    <a:pt x="207" y="186"/>
                  </a:lnTo>
                  <a:lnTo>
                    <a:pt x="207" y="186"/>
                  </a:lnTo>
                  <a:close/>
                  <a:moveTo>
                    <a:pt x="209" y="183"/>
                  </a:moveTo>
                  <a:lnTo>
                    <a:pt x="209" y="186"/>
                  </a:lnTo>
                  <a:lnTo>
                    <a:pt x="210" y="188"/>
                  </a:lnTo>
                  <a:lnTo>
                    <a:pt x="212" y="188"/>
                  </a:lnTo>
                  <a:lnTo>
                    <a:pt x="212" y="186"/>
                  </a:lnTo>
                  <a:lnTo>
                    <a:pt x="210" y="183"/>
                  </a:lnTo>
                  <a:lnTo>
                    <a:pt x="209" y="183"/>
                  </a:lnTo>
                  <a:lnTo>
                    <a:pt x="209" y="183"/>
                  </a:lnTo>
                  <a:lnTo>
                    <a:pt x="209" y="183"/>
                  </a:lnTo>
                  <a:lnTo>
                    <a:pt x="209" y="183"/>
                  </a:lnTo>
                  <a:close/>
                  <a:moveTo>
                    <a:pt x="239" y="141"/>
                  </a:moveTo>
                  <a:lnTo>
                    <a:pt x="239" y="137"/>
                  </a:lnTo>
                  <a:lnTo>
                    <a:pt x="241" y="136"/>
                  </a:lnTo>
                  <a:lnTo>
                    <a:pt x="241" y="132"/>
                  </a:lnTo>
                  <a:lnTo>
                    <a:pt x="242" y="130"/>
                  </a:lnTo>
                  <a:lnTo>
                    <a:pt x="244" y="130"/>
                  </a:lnTo>
                  <a:lnTo>
                    <a:pt x="246" y="134"/>
                  </a:lnTo>
                  <a:lnTo>
                    <a:pt x="248" y="137"/>
                  </a:lnTo>
                  <a:lnTo>
                    <a:pt x="246" y="137"/>
                  </a:lnTo>
                  <a:lnTo>
                    <a:pt x="246" y="139"/>
                  </a:lnTo>
                  <a:lnTo>
                    <a:pt x="244" y="141"/>
                  </a:lnTo>
                  <a:lnTo>
                    <a:pt x="241" y="141"/>
                  </a:lnTo>
                  <a:lnTo>
                    <a:pt x="239" y="141"/>
                  </a:lnTo>
                  <a:lnTo>
                    <a:pt x="239" y="141"/>
                  </a:lnTo>
                  <a:lnTo>
                    <a:pt x="239" y="141"/>
                  </a:lnTo>
                  <a:lnTo>
                    <a:pt x="239" y="141"/>
                  </a:lnTo>
                  <a:close/>
                  <a:moveTo>
                    <a:pt x="216" y="179"/>
                  </a:moveTo>
                  <a:lnTo>
                    <a:pt x="218" y="183"/>
                  </a:lnTo>
                  <a:lnTo>
                    <a:pt x="222" y="183"/>
                  </a:lnTo>
                  <a:lnTo>
                    <a:pt x="225" y="183"/>
                  </a:lnTo>
                  <a:lnTo>
                    <a:pt x="225" y="183"/>
                  </a:lnTo>
                  <a:lnTo>
                    <a:pt x="225" y="179"/>
                  </a:lnTo>
                  <a:lnTo>
                    <a:pt x="224" y="177"/>
                  </a:lnTo>
                  <a:lnTo>
                    <a:pt x="222" y="177"/>
                  </a:lnTo>
                  <a:lnTo>
                    <a:pt x="220" y="179"/>
                  </a:lnTo>
                  <a:lnTo>
                    <a:pt x="216" y="179"/>
                  </a:lnTo>
                  <a:lnTo>
                    <a:pt x="216" y="179"/>
                  </a:lnTo>
                  <a:lnTo>
                    <a:pt x="216" y="179"/>
                  </a:lnTo>
                  <a:lnTo>
                    <a:pt x="216" y="179"/>
                  </a:lnTo>
                  <a:close/>
                  <a:moveTo>
                    <a:pt x="218" y="173"/>
                  </a:moveTo>
                  <a:lnTo>
                    <a:pt x="220" y="173"/>
                  </a:lnTo>
                  <a:lnTo>
                    <a:pt x="222" y="171"/>
                  </a:lnTo>
                  <a:lnTo>
                    <a:pt x="222" y="169"/>
                  </a:lnTo>
                  <a:lnTo>
                    <a:pt x="220" y="169"/>
                  </a:lnTo>
                  <a:lnTo>
                    <a:pt x="218" y="173"/>
                  </a:lnTo>
                  <a:lnTo>
                    <a:pt x="218" y="173"/>
                  </a:lnTo>
                  <a:lnTo>
                    <a:pt x="218" y="173"/>
                  </a:lnTo>
                  <a:lnTo>
                    <a:pt x="218" y="173"/>
                  </a:lnTo>
                  <a:close/>
                  <a:moveTo>
                    <a:pt x="224" y="171"/>
                  </a:moveTo>
                  <a:lnTo>
                    <a:pt x="225" y="173"/>
                  </a:lnTo>
                  <a:lnTo>
                    <a:pt x="227" y="173"/>
                  </a:lnTo>
                  <a:lnTo>
                    <a:pt x="227" y="171"/>
                  </a:lnTo>
                  <a:lnTo>
                    <a:pt x="231" y="169"/>
                  </a:lnTo>
                  <a:lnTo>
                    <a:pt x="227" y="169"/>
                  </a:lnTo>
                  <a:lnTo>
                    <a:pt x="227" y="169"/>
                  </a:lnTo>
                  <a:lnTo>
                    <a:pt x="227" y="169"/>
                  </a:lnTo>
                  <a:lnTo>
                    <a:pt x="224" y="171"/>
                  </a:lnTo>
                  <a:lnTo>
                    <a:pt x="224" y="171"/>
                  </a:lnTo>
                  <a:lnTo>
                    <a:pt x="224" y="171"/>
                  </a:lnTo>
                  <a:lnTo>
                    <a:pt x="224" y="171"/>
                  </a:lnTo>
                  <a:close/>
                  <a:moveTo>
                    <a:pt x="225" y="154"/>
                  </a:moveTo>
                  <a:lnTo>
                    <a:pt x="224" y="158"/>
                  </a:lnTo>
                  <a:lnTo>
                    <a:pt x="220" y="158"/>
                  </a:lnTo>
                  <a:lnTo>
                    <a:pt x="218" y="156"/>
                  </a:lnTo>
                  <a:lnTo>
                    <a:pt x="218" y="153"/>
                  </a:lnTo>
                  <a:lnTo>
                    <a:pt x="222" y="149"/>
                  </a:lnTo>
                  <a:lnTo>
                    <a:pt x="225" y="149"/>
                  </a:lnTo>
                  <a:lnTo>
                    <a:pt x="227" y="149"/>
                  </a:lnTo>
                  <a:lnTo>
                    <a:pt x="231" y="153"/>
                  </a:lnTo>
                  <a:lnTo>
                    <a:pt x="231" y="153"/>
                  </a:lnTo>
                  <a:lnTo>
                    <a:pt x="231" y="154"/>
                  </a:lnTo>
                  <a:lnTo>
                    <a:pt x="231" y="156"/>
                  </a:lnTo>
                  <a:lnTo>
                    <a:pt x="227" y="156"/>
                  </a:lnTo>
                  <a:lnTo>
                    <a:pt x="225" y="154"/>
                  </a:lnTo>
                  <a:lnTo>
                    <a:pt x="225" y="154"/>
                  </a:lnTo>
                  <a:lnTo>
                    <a:pt x="225" y="154"/>
                  </a:lnTo>
                  <a:lnTo>
                    <a:pt x="225" y="154"/>
                  </a:lnTo>
                  <a:close/>
                  <a:moveTo>
                    <a:pt x="239" y="154"/>
                  </a:moveTo>
                  <a:lnTo>
                    <a:pt x="241" y="156"/>
                  </a:lnTo>
                  <a:lnTo>
                    <a:pt x="244" y="156"/>
                  </a:lnTo>
                  <a:lnTo>
                    <a:pt x="246" y="154"/>
                  </a:lnTo>
                  <a:lnTo>
                    <a:pt x="248" y="153"/>
                  </a:lnTo>
                  <a:lnTo>
                    <a:pt x="246" y="153"/>
                  </a:lnTo>
                  <a:lnTo>
                    <a:pt x="242" y="153"/>
                  </a:lnTo>
                  <a:lnTo>
                    <a:pt x="241" y="154"/>
                  </a:lnTo>
                  <a:lnTo>
                    <a:pt x="239" y="154"/>
                  </a:lnTo>
                  <a:lnTo>
                    <a:pt x="239" y="154"/>
                  </a:lnTo>
                  <a:lnTo>
                    <a:pt x="239" y="154"/>
                  </a:lnTo>
                  <a:lnTo>
                    <a:pt x="239" y="154"/>
                  </a:lnTo>
                  <a:close/>
                  <a:moveTo>
                    <a:pt x="248" y="188"/>
                  </a:moveTo>
                  <a:lnTo>
                    <a:pt x="248" y="186"/>
                  </a:lnTo>
                  <a:lnTo>
                    <a:pt x="244" y="183"/>
                  </a:lnTo>
                  <a:lnTo>
                    <a:pt x="244" y="179"/>
                  </a:lnTo>
                  <a:lnTo>
                    <a:pt x="244" y="177"/>
                  </a:lnTo>
                  <a:lnTo>
                    <a:pt x="242" y="171"/>
                  </a:lnTo>
                  <a:lnTo>
                    <a:pt x="239" y="169"/>
                  </a:lnTo>
                  <a:lnTo>
                    <a:pt x="237" y="171"/>
                  </a:lnTo>
                  <a:lnTo>
                    <a:pt x="233" y="171"/>
                  </a:lnTo>
                  <a:lnTo>
                    <a:pt x="227" y="173"/>
                  </a:lnTo>
                  <a:lnTo>
                    <a:pt x="227" y="179"/>
                  </a:lnTo>
                  <a:lnTo>
                    <a:pt x="231" y="183"/>
                  </a:lnTo>
                  <a:lnTo>
                    <a:pt x="231" y="188"/>
                  </a:lnTo>
                  <a:lnTo>
                    <a:pt x="237" y="190"/>
                  </a:lnTo>
                  <a:lnTo>
                    <a:pt x="237" y="190"/>
                  </a:lnTo>
                  <a:lnTo>
                    <a:pt x="242" y="188"/>
                  </a:lnTo>
                  <a:lnTo>
                    <a:pt x="248" y="188"/>
                  </a:lnTo>
                  <a:lnTo>
                    <a:pt x="248" y="188"/>
                  </a:lnTo>
                  <a:lnTo>
                    <a:pt x="248" y="188"/>
                  </a:lnTo>
                  <a:lnTo>
                    <a:pt x="248" y="188"/>
                  </a:lnTo>
                  <a:close/>
                  <a:moveTo>
                    <a:pt x="257" y="186"/>
                  </a:moveTo>
                  <a:lnTo>
                    <a:pt x="257" y="183"/>
                  </a:lnTo>
                  <a:lnTo>
                    <a:pt x="256" y="183"/>
                  </a:lnTo>
                  <a:lnTo>
                    <a:pt x="256" y="179"/>
                  </a:lnTo>
                  <a:lnTo>
                    <a:pt x="257" y="179"/>
                  </a:lnTo>
                  <a:lnTo>
                    <a:pt x="257" y="173"/>
                  </a:lnTo>
                  <a:lnTo>
                    <a:pt x="257" y="173"/>
                  </a:lnTo>
                  <a:lnTo>
                    <a:pt x="265" y="169"/>
                  </a:lnTo>
                  <a:lnTo>
                    <a:pt x="265" y="169"/>
                  </a:lnTo>
                  <a:lnTo>
                    <a:pt x="267" y="168"/>
                  </a:lnTo>
                  <a:lnTo>
                    <a:pt x="265" y="168"/>
                  </a:lnTo>
                  <a:lnTo>
                    <a:pt x="261" y="168"/>
                  </a:lnTo>
                  <a:lnTo>
                    <a:pt x="256" y="164"/>
                  </a:lnTo>
                  <a:lnTo>
                    <a:pt x="250" y="162"/>
                  </a:lnTo>
                  <a:lnTo>
                    <a:pt x="248" y="162"/>
                  </a:lnTo>
                  <a:lnTo>
                    <a:pt x="244" y="162"/>
                  </a:lnTo>
                  <a:lnTo>
                    <a:pt x="242" y="162"/>
                  </a:lnTo>
                  <a:lnTo>
                    <a:pt x="242" y="166"/>
                  </a:lnTo>
                  <a:lnTo>
                    <a:pt x="248" y="173"/>
                  </a:lnTo>
                  <a:lnTo>
                    <a:pt x="246" y="179"/>
                  </a:lnTo>
                  <a:lnTo>
                    <a:pt x="250" y="183"/>
                  </a:lnTo>
                  <a:lnTo>
                    <a:pt x="252" y="186"/>
                  </a:lnTo>
                  <a:lnTo>
                    <a:pt x="257" y="186"/>
                  </a:lnTo>
                  <a:lnTo>
                    <a:pt x="257" y="186"/>
                  </a:lnTo>
                  <a:lnTo>
                    <a:pt x="257" y="186"/>
                  </a:lnTo>
                  <a:lnTo>
                    <a:pt x="257" y="186"/>
                  </a:lnTo>
                  <a:close/>
                  <a:moveTo>
                    <a:pt x="267" y="186"/>
                  </a:moveTo>
                  <a:lnTo>
                    <a:pt x="267" y="188"/>
                  </a:lnTo>
                  <a:lnTo>
                    <a:pt x="273" y="190"/>
                  </a:lnTo>
                  <a:lnTo>
                    <a:pt x="274" y="194"/>
                  </a:lnTo>
                  <a:lnTo>
                    <a:pt x="280" y="194"/>
                  </a:lnTo>
                  <a:lnTo>
                    <a:pt x="282" y="188"/>
                  </a:lnTo>
                  <a:lnTo>
                    <a:pt x="282" y="183"/>
                  </a:lnTo>
                  <a:lnTo>
                    <a:pt x="278" y="183"/>
                  </a:lnTo>
                  <a:lnTo>
                    <a:pt x="273" y="183"/>
                  </a:lnTo>
                  <a:lnTo>
                    <a:pt x="267" y="186"/>
                  </a:lnTo>
                  <a:lnTo>
                    <a:pt x="267" y="186"/>
                  </a:lnTo>
                  <a:lnTo>
                    <a:pt x="267" y="186"/>
                  </a:lnTo>
                  <a:lnTo>
                    <a:pt x="267" y="186"/>
                  </a:lnTo>
                  <a:close/>
                  <a:moveTo>
                    <a:pt x="267" y="194"/>
                  </a:moveTo>
                  <a:lnTo>
                    <a:pt x="267" y="198"/>
                  </a:lnTo>
                  <a:lnTo>
                    <a:pt x="271" y="198"/>
                  </a:lnTo>
                  <a:lnTo>
                    <a:pt x="273" y="200"/>
                  </a:lnTo>
                  <a:lnTo>
                    <a:pt x="274" y="198"/>
                  </a:lnTo>
                  <a:lnTo>
                    <a:pt x="271" y="194"/>
                  </a:lnTo>
                  <a:lnTo>
                    <a:pt x="267" y="194"/>
                  </a:lnTo>
                  <a:lnTo>
                    <a:pt x="267" y="194"/>
                  </a:lnTo>
                  <a:lnTo>
                    <a:pt x="267" y="194"/>
                  </a:lnTo>
                  <a:lnTo>
                    <a:pt x="267" y="194"/>
                  </a:lnTo>
                  <a:close/>
                  <a:moveTo>
                    <a:pt x="267" y="75"/>
                  </a:moveTo>
                  <a:lnTo>
                    <a:pt x="269" y="73"/>
                  </a:lnTo>
                  <a:lnTo>
                    <a:pt x="273" y="73"/>
                  </a:lnTo>
                  <a:lnTo>
                    <a:pt x="274" y="72"/>
                  </a:lnTo>
                  <a:lnTo>
                    <a:pt x="278" y="72"/>
                  </a:lnTo>
                  <a:lnTo>
                    <a:pt x="278" y="73"/>
                  </a:lnTo>
                  <a:lnTo>
                    <a:pt x="282" y="73"/>
                  </a:lnTo>
                  <a:lnTo>
                    <a:pt x="282" y="75"/>
                  </a:lnTo>
                  <a:lnTo>
                    <a:pt x="280" y="79"/>
                  </a:lnTo>
                  <a:lnTo>
                    <a:pt x="276" y="79"/>
                  </a:lnTo>
                  <a:lnTo>
                    <a:pt x="274" y="77"/>
                  </a:lnTo>
                  <a:lnTo>
                    <a:pt x="269" y="77"/>
                  </a:lnTo>
                  <a:lnTo>
                    <a:pt x="267" y="75"/>
                  </a:lnTo>
                  <a:lnTo>
                    <a:pt x="267" y="75"/>
                  </a:lnTo>
                  <a:lnTo>
                    <a:pt x="267" y="75"/>
                  </a:lnTo>
                  <a:lnTo>
                    <a:pt x="267" y="75"/>
                  </a:lnTo>
                  <a:close/>
                  <a:moveTo>
                    <a:pt x="274" y="128"/>
                  </a:moveTo>
                  <a:lnTo>
                    <a:pt x="276" y="122"/>
                  </a:lnTo>
                  <a:lnTo>
                    <a:pt x="278" y="122"/>
                  </a:lnTo>
                  <a:lnTo>
                    <a:pt x="278" y="119"/>
                  </a:lnTo>
                  <a:lnTo>
                    <a:pt x="276" y="119"/>
                  </a:lnTo>
                  <a:lnTo>
                    <a:pt x="274" y="115"/>
                  </a:lnTo>
                  <a:lnTo>
                    <a:pt x="271" y="115"/>
                  </a:lnTo>
                  <a:lnTo>
                    <a:pt x="265" y="117"/>
                  </a:lnTo>
                  <a:lnTo>
                    <a:pt x="261" y="119"/>
                  </a:lnTo>
                  <a:lnTo>
                    <a:pt x="261" y="122"/>
                  </a:lnTo>
                  <a:lnTo>
                    <a:pt x="261" y="122"/>
                  </a:lnTo>
                  <a:lnTo>
                    <a:pt x="267" y="128"/>
                  </a:lnTo>
                  <a:lnTo>
                    <a:pt x="271" y="128"/>
                  </a:lnTo>
                  <a:lnTo>
                    <a:pt x="274" y="128"/>
                  </a:lnTo>
                  <a:lnTo>
                    <a:pt x="274" y="128"/>
                  </a:lnTo>
                  <a:lnTo>
                    <a:pt x="274" y="128"/>
                  </a:lnTo>
                  <a:lnTo>
                    <a:pt x="274" y="128"/>
                  </a:lnTo>
                  <a:close/>
                  <a:moveTo>
                    <a:pt x="282" y="122"/>
                  </a:moveTo>
                  <a:lnTo>
                    <a:pt x="282" y="122"/>
                  </a:lnTo>
                  <a:lnTo>
                    <a:pt x="282" y="128"/>
                  </a:lnTo>
                  <a:lnTo>
                    <a:pt x="280" y="130"/>
                  </a:lnTo>
                  <a:lnTo>
                    <a:pt x="278" y="128"/>
                  </a:lnTo>
                  <a:lnTo>
                    <a:pt x="276" y="130"/>
                  </a:lnTo>
                  <a:lnTo>
                    <a:pt x="271" y="134"/>
                  </a:lnTo>
                  <a:lnTo>
                    <a:pt x="267" y="134"/>
                  </a:lnTo>
                  <a:lnTo>
                    <a:pt x="265" y="132"/>
                  </a:lnTo>
                  <a:lnTo>
                    <a:pt x="261" y="134"/>
                  </a:lnTo>
                  <a:lnTo>
                    <a:pt x="261" y="136"/>
                  </a:lnTo>
                  <a:lnTo>
                    <a:pt x="265" y="141"/>
                  </a:lnTo>
                  <a:lnTo>
                    <a:pt x="265" y="149"/>
                  </a:lnTo>
                  <a:lnTo>
                    <a:pt x="265" y="156"/>
                  </a:lnTo>
                  <a:lnTo>
                    <a:pt x="271" y="162"/>
                  </a:lnTo>
                  <a:lnTo>
                    <a:pt x="274" y="162"/>
                  </a:lnTo>
                  <a:lnTo>
                    <a:pt x="280" y="162"/>
                  </a:lnTo>
                  <a:lnTo>
                    <a:pt x="286" y="162"/>
                  </a:lnTo>
                  <a:lnTo>
                    <a:pt x="289" y="156"/>
                  </a:lnTo>
                  <a:lnTo>
                    <a:pt x="295" y="156"/>
                  </a:lnTo>
                  <a:lnTo>
                    <a:pt x="295" y="153"/>
                  </a:lnTo>
                  <a:lnTo>
                    <a:pt x="289" y="153"/>
                  </a:lnTo>
                  <a:lnTo>
                    <a:pt x="289" y="149"/>
                  </a:lnTo>
                  <a:lnTo>
                    <a:pt x="282" y="147"/>
                  </a:lnTo>
                  <a:lnTo>
                    <a:pt x="282" y="141"/>
                  </a:lnTo>
                  <a:lnTo>
                    <a:pt x="282" y="139"/>
                  </a:lnTo>
                  <a:lnTo>
                    <a:pt x="286" y="136"/>
                  </a:lnTo>
                  <a:lnTo>
                    <a:pt x="289" y="136"/>
                  </a:lnTo>
                  <a:lnTo>
                    <a:pt x="291" y="134"/>
                  </a:lnTo>
                  <a:lnTo>
                    <a:pt x="291" y="132"/>
                  </a:lnTo>
                  <a:lnTo>
                    <a:pt x="289" y="128"/>
                  </a:lnTo>
                  <a:lnTo>
                    <a:pt x="286" y="124"/>
                  </a:lnTo>
                  <a:lnTo>
                    <a:pt x="282" y="122"/>
                  </a:lnTo>
                  <a:lnTo>
                    <a:pt x="282" y="122"/>
                  </a:lnTo>
                  <a:lnTo>
                    <a:pt x="282" y="122"/>
                  </a:lnTo>
                  <a:lnTo>
                    <a:pt x="282" y="122"/>
                  </a:lnTo>
                  <a:close/>
                  <a:moveTo>
                    <a:pt x="301" y="128"/>
                  </a:moveTo>
                  <a:lnTo>
                    <a:pt x="297" y="128"/>
                  </a:lnTo>
                  <a:lnTo>
                    <a:pt x="297" y="122"/>
                  </a:lnTo>
                  <a:lnTo>
                    <a:pt x="295" y="122"/>
                  </a:lnTo>
                  <a:lnTo>
                    <a:pt x="291" y="122"/>
                  </a:lnTo>
                  <a:lnTo>
                    <a:pt x="289" y="119"/>
                  </a:lnTo>
                  <a:lnTo>
                    <a:pt x="289" y="117"/>
                  </a:lnTo>
                  <a:lnTo>
                    <a:pt x="289" y="113"/>
                  </a:lnTo>
                  <a:lnTo>
                    <a:pt x="289" y="109"/>
                  </a:lnTo>
                  <a:lnTo>
                    <a:pt x="286" y="104"/>
                  </a:lnTo>
                  <a:lnTo>
                    <a:pt x="289" y="98"/>
                  </a:lnTo>
                  <a:lnTo>
                    <a:pt x="291" y="98"/>
                  </a:lnTo>
                  <a:lnTo>
                    <a:pt x="295" y="94"/>
                  </a:lnTo>
                  <a:lnTo>
                    <a:pt x="295" y="88"/>
                  </a:lnTo>
                  <a:lnTo>
                    <a:pt x="295" y="88"/>
                  </a:lnTo>
                  <a:lnTo>
                    <a:pt x="299" y="88"/>
                  </a:lnTo>
                  <a:lnTo>
                    <a:pt x="301" y="88"/>
                  </a:lnTo>
                  <a:lnTo>
                    <a:pt x="305" y="88"/>
                  </a:lnTo>
                  <a:lnTo>
                    <a:pt x="306" y="94"/>
                  </a:lnTo>
                  <a:lnTo>
                    <a:pt x="305" y="98"/>
                  </a:lnTo>
                  <a:lnTo>
                    <a:pt x="306" y="100"/>
                  </a:lnTo>
                  <a:lnTo>
                    <a:pt x="310" y="102"/>
                  </a:lnTo>
                  <a:lnTo>
                    <a:pt x="314" y="107"/>
                  </a:lnTo>
                  <a:lnTo>
                    <a:pt x="316" y="107"/>
                  </a:lnTo>
                  <a:lnTo>
                    <a:pt x="316" y="109"/>
                  </a:lnTo>
                  <a:lnTo>
                    <a:pt x="310" y="113"/>
                  </a:lnTo>
                  <a:lnTo>
                    <a:pt x="305" y="115"/>
                  </a:lnTo>
                  <a:lnTo>
                    <a:pt x="303" y="117"/>
                  </a:lnTo>
                  <a:lnTo>
                    <a:pt x="305" y="119"/>
                  </a:lnTo>
                  <a:lnTo>
                    <a:pt x="305" y="124"/>
                  </a:lnTo>
                  <a:lnTo>
                    <a:pt x="301" y="128"/>
                  </a:lnTo>
                  <a:lnTo>
                    <a:pt x="301" y="128"/>
                  </a:lnTo>
                  <a:lnTo>
                    <a:pt x="301" y="128"/>
                  </a:lnTo>
                  <a:lnTo>
                    <a:pt x="301" y="128"/>
                  </a:lnTo>
                  <a:close/>
                  <a:moveTo>
                    <a:pt x="2177" y="629"/>
                  </a:moveTo>
                  <a:lnTo>
                    <a:pt x="2176" y="631"/>
                  </a:lnTo>
                  <a:lnTo>
                    <a:pt x="2177" y="633"/>
                  </a:lnTo>
                  <a:lnTo>
                    <a:pt x="2179" y="633"/>
                  </a:lnTo>
                  <a:lnTo>
                    <a:pt x="2179" y="629"/>
                  </a:lnTo>
                  <a:lnTo>
                    <a:pt x="2177" y="629"/>
                  </a:lnTo>
                  <a:lnTo>
                    <a:pt x="2177" y="629"/>
                  </a:lnTo>
                  <a:lnTo>
                    <a:pt x="2177" y="629"/>
                  </a:lnTo>
                  <a:lnTo>
                    <a:pt x="2177" y="629"/>
                  </a:lnTo>
                  <a:lnTo>
                    <a:pt x="2177" y="629"/>
                  </a:lnTo>
                  <a:close/>
                  <a:moveTo>
                    <a:pt x="2170" y="622"/>
                  </a:moveTo>
                  <a:lnTo>
                    <a:pt x="2176" y="623"/>
                  </a:lnTo>
                  <a:lnTo>
                    <a:pt x="2177" y="623"/>
                  </a:lnTo>
                  <a:lnTo>
                    <a:pt x="2177" y="623"/>
                  </a:lnTo>
                  <a:lnTo>
                    <a:pt x="2176" y="620"/>
                  </a:lnTo>
                  <a:lnTo>
                    <a:pt x="2174" y="620"/>
                  </a:lnTo>
                  <a:lnTo>
                    <a:pt x="2170" y="622"/>
                  </a:lnTo>
                  <a:lnTo>
                    <a:pt x="2170" y="622"/>
                  </a:lnTo>
                  <a:lnTo>
                    <a:pt x="2170" y="622"/>
                  </a:lnTo>
                  <a:lnTo>
                    <a:pt x="2170" y="622"/>
                  </a:lnTo>
                  <a:close/>
                  <a:moveTo>
                    <a:pt x="344" y="396"/>
                  </a:moveTo>
                  <a:lnTo>
                    <a:pt x="346" y="396"/>
                  </a:lnTo>
                  <a:lnTo>
                    <a:pt x="350" y="396"/>
                  </a:lnTo>
                  <a:lnTo>
                    <a:pt x="353" y="390"/>
                  </a:lnTo>
                  <a:lnTo>
                    <a:pt x="353" y="390"/>
                  </a:lnTo>
                  <a:lnTo>
                    <a:pt x="352" y="386"/>
                  </a:lnTo>
                  <a:lnTo>
                    <a:pt x="350" y="390"/>
                  </a:lnTo>
                  <a:lnTo>
                    <a:pt x="346" y="390"/>
                  </a:lnTo>
                  <a:lnTo>
                    <a:pt x="344" y="396"/>
                  </a:lnTo>
                  <a:lnTo>
                    <a:pt x="344" y="396"/>
                  </a:lnTo>
                  <a:lnTo>
                    <a:pt x="344" y="396"/>
                  </a:lnTo>
                  <a:lnTo>
                    <a:pt x="344" y="396"/>
                  </a:lnTo>
                  <a:lnTo>
                    <a:pt x="344" y="396"/>
                  </a:lnTo>
                  <a:close/>
                  <a:moveTo>
                    <a:pt x="323" y="514"/>
                  </a:moveTo>
                  <a:lnTo>
                    <a:pt x="329" y="514"/>
                  </a:lnTo>
                  <a:lnTo>
                    <a:pt x="335" y="514"/>
                  </a:lnTo>
                  <a:lnTo>
                    <a:pt x="338" y="512"/>
                  </a:lnTo>
                  <a:lnTo>
                    <a:pt x="340" y="512"/>
                  </a:lnTo>
                  <a:lnTo>
                    <a:pt x="344" y="514"/>
                  </a:lnTo>
                  <a:lnTo>
                    <a:pt x="346" y="514"/>
                  </a:lnTo>
                  <a:lnTo>
                    <a:pt x="350" y="514"/>
                  </a:lnTo>
                  <a:lnTo>
                    <a:pt x="350" y="512"/>
                  </a:lnTo>
                  <a:lnTo>
                    <a:pt x="350" y="509"/>
                  </a:lnTo>
                  <a:lnTo>
                    <a:pt x="350" y="509"/>
                  </a:lnTo>
                  <a:lnTo>
                    <a:pt x="352" y="514"/>
                  </a:lnTo>
                  <a:lnTo>
                    <a:pt x="355" y="514"/>
                  </a:lnTo>
                  <a:lnTo>
                    <a:pt x="361" y="514"/>
                  </a:lnTo>
                  <a:lnTo>
                    <a:pt x="361" y="514"/>
                  </a:lnTo>
                  <a:lnTo>
                    <a:pt x="365" y="512"/>
                  </a:lnTo>
                  <a:lnTo>
                    <a:pt x="365" y="509"/>
                  </a:lnTo>
                  <a:lnTo>
                    <a:pt x="365" y="503"/>
                  </a:lnTo>
                  <a:lnTo>
                    <a:pt x="369" y="499"/>
                  </a:lnTo>
                  <a:lnTo>
                    <a:pt x="370" y="495"/>
                  </a:lnTo>
                  <a:lnTo>
                    <a:pt x="365" y="493"/>
                  </a:lnTo>
                  <a:lnTo>
                    <a:pt x="365" y="488"/>
                  </a:lnTo>
                  <a:lnTo>
                    <a:pt x="361" y="488"/>
                  </a:lnTo>
                  <a:lnTo>
                    <a:pt x="359" y="488"/>
                  </a:lnTo>
                  <a:lnTo>
                    <a:pt x="357" y="488"/>
                  </a:lnTo>
                  <a:lnTo>
                    <a:pt x="359" y="484"/>
                  </a:lnTo>
                  <a:lnTo>
                    <a:pt x="363" y="488"/>
                  </a:lnTo>
                  <a:lnTo>
                    <a:pt x="365" y="484"/>
                  </a:lnTo>
                  <a:lnTo>
                    <a:pt x="365" y="488"/>
                  </a:lnTo>
                  <a:lnTo>
                    <a:pt x="365" y="490"/>
                  </a:lnTo>
                  <a:lnTo>
                    <a:pt x="369" y="492"/>
                  </a:lnTo>
                  <a:lnTo>
                    <a:pt x="370" y="490"/>
                  </a:lnTo>
                  <a:lnTo>
                    <a:pt x="369" y="484"/>
                  </a:lnTo>
                  <a:lnTo>
                    <a:pt x="365" y="478"/>
                  </a:lnTo>
                  <a:lnTo>
                    <a:pt x="361" y="475"/>
                  </a:lnTo>
                  <a:lnTo>
                    <a:pt x="363" y="471"/>
                  </a:lnTo>
                  <a:lnTo>
                    <a:pt x="365" y="475"/>
                  </a:lnTo>
                  <a:lnTo>
                    <a:pt x="365" y="478"/>
                  </a:lnTo>
                  <a:lnTo>
                    <a:pt x="370" y="480"/>
                  </a:lnTo>
                  <a:lnTo>
                    <a:pt x="370" y="480"/>
                  </a:lnTo>
                  <a:lnTo>
                    <a:pt x="374" y="478"/>
                  </a:lnTo>
                  <a:lnTo>
                    <a:pt x="374" y="475"/>
                  </a:lnTo>
                  <a:lnTo>
                    <a:pt x="370" y="475"/>
                  </a:lnTo>
                  <a:lnTo>
                    <a:pt x="370" y="471"/>
                  </a:lnTo>
                  <a:lnTo>
                    <a:pt x="374" y="467"/>
                  </a:lnTo>
                  <a:lnTo>
                    <a:pt x="374" y="463"/>
                  </a:lnTo>
                  <a:lnTo>
                    <a:pt x="370" y="460"/>
                  </a:lnTo>
                  <a:lnTo>
                    <a:pt x="365" y="456"/>
                  </a:lnTo>
                  <a:lnTo>
                    <a:pt x="370" y="454"/>
                  </a:lnTo>
                  <a:lnTo>
                    <a:pt x="370" y="458"/>
                  </a:lnTo>
                  <a:lnTo>
                    <a:pt x="374" y="458"/>
                  </a:lnTo>
                  <a:lnTo>
                    <a:pt x="376" y="454"/>
                  </a:lnTo>
                  <a:lnTo>
                    <a:pt x="374" y="454"/>
                  </a:lnTo>
                  <a:lnTo>
                    <a:pt x="374" y="454"/>
                  </a:lnTo>
                  <a:lnTo>
                    <a:pt x="374" y="448"/>
                  </a:lnTo>
                  <a:lnTo>
                    <a:pt x="374" y="448"/>
                  </a:lnTo>
                  <a:lnTo>
                    <a:pt x="378" y="450"/>
                  </a:lnTo>
                  <a:lnTo>
                    <a:pt x="384" y="450"/>
                  </a:lnTo>
                  <a:lnTo>
                    <a:pt x="384" y="450"/>
                  </a:lnTo>
                  <a:lnTo>
                    <a:pt x="382" y="448"/>
                  </a:lnTo>
                  <a:lnTo>
                    <a:pt x="382" y="446"/>
                  </a:lnTo>
                  <a:lnTo>
                    <a:pt x="384" y="446"/>
                  </a:lnTo>
                  <a:lnTo>
                    <a:pt x="387" y="446"/>
                  </a:lnTo>
                  <a:lnTo>
                    <a:pt x="389" y="444"/>
                  </a:lnTo>
                  <a:lnTo>
                    <a:pt x="389" y="441"/>
                  </a:lnTo>
                  <a:lnTo>
                    <a:pt x="389" y="439"/>
                  </a:lnTo>
                  <a:lnTo>
                    <a:pt x="389" y="437"/>
                  </a:lnTo>
                  <a:lnTo>
                    <a:pt x="395" y="435"/>
                  </a:lnTo>
                  <a:lnTo>
                    <a:pt x="395" y="431"/>
                  </a:lnTo>
                  <a:lnTo>
                    <a:pt x="391" y="429"/>
                  </a:lnTo>
                  <a:lnTo>
                    <a:pt x="391" y="429"/>
                  </a:lnTo>
                  <a:lnTo>
                    <a:pt x="393" y="424"/>
                  </a:lnTo>
                  <a:lnTo>
                    <a:pt x="395" y="429"/>
                  </a:lnTo>
                  <a:lnTo>
                    <a:pt x="395" y="426"/>
                  </a:lnTo>
                  <a:lnTo>
                    <a:pt x="401" y="420"/>
                  </a:lnTo>
                  <a:lnTo>
                    <a:pt x="402" y="416"/>
                  </a:lnTo>
                  <a:lnTo>
                    <a:pt x="404" y="414"/>
                  </a:lnTo>
                  <a:lnTo>
                    <a:pt x="404" y="409"/>
                  </a:lnTo>
                  <a:lnTo>
                    <a:pt x="410" y="405"/>
                  </a:lnTo>
                  <a:lnTo>
                    <a:pt x="414" y="399"/>
                  </a:lnTo>
                  <a:lnTo>
                    <a:pt x="416" y="394"/>
                  </a:lnTo>
                  <a:lnTo>
                    <a:pt x="419" y="394"/>
                  </a:lnTo>
                  <a:lnTo>
                    <a:pt x="425" y="386"/>
                  </a:lnTo>
                  <a:lnTo>
                    <a:pt x="433" y="380"/>
                  </a:lnTo>
                  <a:lnTo>
                    <a:pt x="438" y="375"/>
                  </a:lnTo>
                  <a:lnTo>
                    <a:pt x="440" y="375"/>
                  </a:lnTo>
                  <a:lnTo>
                    <a:pt x="446" y="369"/>
                  </a:lnTo>
                  <a:lnTo>
                    <a:pt x="451" y="367"/>
                  </a:lnTo>
                  <a:lnTo>
                    <a:pt x="453" y="365"/>
                  </a:lnTo>
                  <a:lnTo>
                    <a:pt x="459" y="360"/>
                  </a:lnTo>
                  <a:lnTo>
                    <a:pt x="463" y="356"/>
                  </a:lnTo>
                  <a:lnTo>
                    <a:pt x="465" y="356"/>
                  </a:lnTo>
                  <a:lnTo>
                    <a:pt x="468" y="356"/>
                  </a:lnTo>
                  <a:lnTo>
                    <a:pt x="468" y="354"/>
                  </a:lnTo>
                  <a:lnTo>
                    <a:pt x="466" y="352"/>
                  </a:lnTo>
                  <a:lnTo>
                    <a:pt x="468" y="348"/>
                  </a:lnTo>
                  <a:lnTo>
                    <a:pt x="468" y="345"/>
                  </a:lnTo>
                  <a:lnTo>
                    <a:pt x="468" y="341"/>
                  </a:lnTo>
                  <a:lnTo>
                    <a:pt x="466" y="339"/>
                  </a:lnTo>
                  <a:lnTo>
                    <a:pt x="465" y="339"/>
                  </a:lnTo>
                  <a:lnTo>
                    <a:pt x="465" y="335"/>
                  </a:lnTo>
                  <a:lnTo>
                    <a:pt x="466" y="331"/>
                  </a:lnTo>
                  <a:lnTo>
                    <a:pt x="465" y="330"/>
                  </a:lnTo>
                  <a:lnTo>
                    <a:pt x="461" y="328"/>
                  </a:lnTo>
                  <a:lnTo>
                    <a:pt x="459" y="326"/>
                  </a:lnTo>
                  <a:lnTo>
                    <a:pt x="457" y="326"/>
                  </a:lnTo>
                  <a:lnTo>
                    <a:pt x="453" y="322"/>
                  </a:lnTo>
                  <a:lnTo>
                    <a:pt x="453" y="320"/>
                  </a:lnTo>
                  <a:lnTo>
                    <a:pt x="453" y="318"/>
                  </a:lnTo>
                  <a:lnTo>
                    <a:pt x="449" y="320"/>
                  </a:lnTo>
                  <a:lnTo>
                    <a:pt x="448" y="322"/>
                  </a:lnTo>
                  <a:lnTo>
                    <a:pt x="446" y="322"/>
                  </a:lnTo>
                  <a:lnTo>
                    <a:pt x="442" y="320"/>
                  </a:lnTo>
                  <a:lnTo>
                    <a:pt x="440" y="322"/>
                  </a:lnTo>
                  <a:lnTo>
                    <a:pt x="434" y="324"/>
                  </a:lnTo>
                  <a:lnTo>
                    <a:pt x="433" y="328"/>
                  </a:lnTo>
                  <a:lnTo>
                    <a:pt x="433" y="330"/>
                  </a:lnTo>
                  <a:lnTo>
                    <a:pt x="429" y="330"/>
                  </a:lnTo>
                  <a:lnTo>
                    <a:pt x="425" y="331"/>
                  </a:lnTo>
                  <a:lnTo>
                    <a:pt x="425" y="335"/>
                  </a:lnTo>
                  <a:lnTo>
                    <a:pt x="425" y="337"/>
                  </a:lnTo>
                  <a:lnTo>
                    <a:pt x="425" y="339"/>
                  </a:lnTo>
                  <a:lnTo>
                    <a:pt x="425" y="343"/>
                  </a:lnTo>
                  <a:lnTo>
                    <a:pt x="425" y="345"/>
                  </a:lnTo>
                  <a:lnTo>
                    <a:pt x="423" y="345"/>
                  </a:lnTo>
                  <a:lnTo>
                    <a:pt x="419" y="347"/>
                  </a:lnTo>
                  <a:lnTo>
                    <a:pt x="419" y="350"/>
                  </a:lnTo>
                  <a:lnTo>
                    <a:pt x="419" y="352"/>
                  </a:lnTo>
                  <a:lnTo>
                    <a:pt x="417" y="354"/>
                  </a:lnTo>
                  <a:lnTo>
                    <a:pt x="410" y="360"/>
                  </a:lnTo>
                  <a:lnTo>
                    <a:pt x="408" y="362"/>
                  </a:lnTo>
                  <a:lnTo>
                    <a:pt x="408" y="360"/>
                  </a:lnTo>
                  <a:lnTo>
                    <a:pt x="402" y="360"/>
                  </a:lnTo>
                  <a:lnTo>
                    <a:pt x="401" y="362"/>
                  </a:lnTo>
                  <a:lnTo>
                    <a:pt x="399" y="365"/>
                  </a:lnTo>
                  <a:lnTo>
                    <a:pt x="395" y="367"/>
                  </a:lnTo>
                  <a:lnTo>
                    <a:pt x="395" y="365"/>
                  </a:lnTo>
                  <a:lnTo>
                    <a:pt x="393" y="365"/>
                  </a:lnTo>
                  <a:lnTo>
                    <a:pt x="391" y="365"/>
                  </a:lnTo>
                  <a:lnTo>
                    <a:pt x="391" y="365"/>
                  </a:lnTo>
                  <a:lnTo>
                    <a:pt x="391" y="371"/>
                  </a:lnTo>
                  <a:lnTo>
                    <a:pt x="391" y="371"/>
                  </a:lnTo>
                  <a:lnTo>
                    <a:pt x="389" y="367"/>
                  </a:lnTo>
                  <a:lnTo>
                    <a:pt x="387" y="365"/>
                  </a:lnTo>
                  <a:lnTo>
                    <a:pt x="382" y="365"/>
                  </a:lnTo>
                  <a:lnTo>
                    <a:pt x="374" y="367"/>
                  </a:lnTo>
                  <a:lnTo>
                    <a:pt x="374" y="369"/>
                  </a:lnTo>
                  <a:lnTo>
                    <a:pt x="370" y="369"/>
                  </a:lnTo>
                  <a:lnTo>
                    <a:pt x="370" y="371"/>
                  </a:lnTo>
                  <a:lnTo>
                    <a:pt x="370" y="377"/>
                  </a:lnTo>
                  <a:lnTo>
                    <a:pt x="374" y="379"/>
                  </a:lnTo>
                  <a:lnTo>
                    <a:pt x="374" y="380"/>
                  </a:lnTo>
                  <a:lnTo>
                    <a:pt x="370" y="380"/>
                  </a:lnTo>
                  <a:lnTo>
                    <a:pt x="370" y="384"/>
                  </a:lnTo>
                  <a:lnTo>
                    <a:pt x="369" y="384"/>
                  </a:lnTo>
                  <a:lnTo>
                    <a:pt x="369" y="380"/>
                  </a:lnTo>
                  <a:lnTo>
                    <a:pt x="370" y="380"/>
                  </a:lnTo>
                  <a:lnTo>
                    <a:pt x="370" y="377"/>
                  </a:lnTo>
                  <a:lnTo>
                    <a:pt x="365" y="377"/>
                  </a:lnTo>
                  <a:lnTo>
                    <a:pt x="365" y="380"/>
                  </a:lnTo>
                  <a:lnTo>
                    <a:pt x="361" y="384"/>
                  </a:lnTo>
                  <a:lnTo>
                    <a:pt x="361" y="386"/>
                  </a:lnTo>
                  <a:lnTo>
                    <a:pt x="363" y="386"/>
                  </a:lnTo>
                  <a:lnTo>
                    <a:pt x="361" y="390"/>
                  </a:lnTo>
                  <a:lnTo>
                    <a:pt x="361" y="390"/>
                  </a:lnTo>
                  <a:lnTo>
                    <a:pt x="355" y="390"/>
                  </a:lnTo>
                  <a:lnTo>
                    <a:pt x="353" y="394"/>
                  </a:lnTo>
                  <a:lnTo>
                    <a:pt x="353" y="396"/>
                  </a:lnTo>
                  <a:lnTo>
                    <a:pt x="350" y="396"/>
                  </a:lnTo>
                  <a:lnTo>
                    <a:pt x="350" y="399"/>
                  </a:lnTo>
                  <a:lnTo>
                    <a:pt x="346" y="403"/>
                  </a:lnTo>
                  <a:lnTo>
                    <a:pt x="350" y="405"/>
                  </a:lnTo>
                  <a:lnTo>
                    <a:pt x="350" y="405"/>
                  </a:lnTo>
                  <a:lnTo>
                    <a:pt x="346" y="409"/>
                  </a:lnTo>
                  <a:lnTo>
                    <a:pt x="340" y="409"/>
                  </a:lnTo>
                  <a:lnTo>
                    <a:pt x="340" y="411"/>
                  </a:lnTo>
                  <a:lnTo>
                    <a:pt x="340" y="414"/>
                  </a:lnTo>
                  <a:lnTo>
                    <a:pt x="340" y="418"/>
                  </a:lnTo>
                  <a:lnTo>
                    <a:pt x="340" y="418"/>
                  </a:lnTo>
                  <a:lnTo>
                    <a:pt x="344" y="418"/>
                  </a:lnTo>
                  <a:lnTo>
                    <a:pt x="344" y="420"/>
                  </a:lnTo>
                  <a:lnTo>
                    <a:pt x="344" y="420"/>
                  </a:lnTo>
                  <a:lnTo>
                    <a:pt x="344" y="424"/>
                  </a:lnTo>
                  <a:lnTo>
                    <a:pt x="344" y="426"/>
                  </a:lnTo>
                  <a:lnTo>
                    <a:pt x="340" y="424"/>
                  </a:lnTo>
                  <a:lnTo>
                    <a:pt x="337" y="424"/>
                  </a:lnTo>
                  <a:lnTo>
                    <a:pt x="333" y="426"/>
                  </a:lnTo>
                  <a:lnTo>
                    <a:pt x="331" y="429"/>
                  </a:lnTo>
                  <a:lnTo>
                    <a:pt x="331" y="431"/>
                  </a:lnTo>
                  <a:lnTo>
                    <a:pt x="329" y="433"/>
                  </a:lnTo>
                  <a:lnTo>
                    <a:pt x="325" y="437"/>
                  </a:lnTo>
                  <a:lnTo>
                    <a:pt x="323" y="435"/>
                  </a:lnTo>
                  <a:lnTo>
                    <a:pt x="321" y="433"/>
                  </a:lnTo>
                  <a:lnTo>
                    <a:pt x="320" y="429"/>
                  </a:lnTo>
                  <a:lnTo>
                    <a:pt x="320" y="431"/>
                  </a:lnTo>
                  <a:lnTo>
                    <a:pt x="320" y="435"/>
                  </a:lnTo>
                  <a:lnTo>
                    <a:pt x="320" y="441"/>
                  </a:lnTo>
                  <a:lnTo>
                    <a:pt x="321" y="443"/>
                  </a:lnTo>
                  <a:lnTo>
                    <a:pt x="325" y="443"/>
                  </a:lnTo>
                  <a:lnTo>
                    <a:pt x="325" y="443"/>
                  </a:lnTo>
                  <a:lnTo>
                    <a:pt x="325" y="444"/>
                  </a:lnTo>
                  <a:lnTo>
                    <a:pt x="323" y="450"/>
                  </a:lnTo>
                  <a:lnTo>
                    <a:pt x="325" y="450"/>
                  </a:lnTo>
                  <a:lnTo>
                    <a:pt x="327" y="450"/>
                  </a:lnTo>
                  <a:lnTo>
                    <a:pt x="329" y="450"/>
                  </a:lnTo>
                  <a:lnTo>
                    <a:pt x="331" y="450"/>
                  </a:lnTo>
                  <a:lnTo>
                    <a:pt x="333" y="450"/>
                  </a:lnTo>
                  <a:lnTo>
                    <a:pt x="337" y="450"/>
                  </a:lnTo>
                  <a:lnTo>
                    <a:pt x="338" y="450"/>
                  </a:lnTo>
                  <a:lnTo>
                    <a:pt x="340" y="450"/>
                  </a:lnTo>
                  <a:lnTo>
                    <a:pt x="338" y="454"/>
                  </a:lnTo>
                  <a:lnTo>
                    <a:pt x="335" y="454"/>
                  </a:lnTo>
                  <a:lnTo>
                    <a:pt x="331" y="454"/>
                  </a:lnTo>
                  <a:lnTo>
                    <a:pt x="329" y="454"/>
                  </a:lnTo>
                  <a:lnTo>
                    <a:pt x="327" y="454"/>
                  </a:lnTo>
                  <a:lnTo>
                    <a:pt x="325" y="456"/>
                  </a:lnTo>
                  <a:lnTo>
                    <a:pt x="327" y="460"/>
                  </a:lnTo>
                  <a:lnTo>
                    <a:pt x="329" y="461"/>
                  </a:lnTo>
                  <a:lnTo>
                    <a:pt x="333" y="461"/>
                  </a:lnTo>
                  <a:lnTo>
                    <a:pt x="335" y="461"/>
                  </a:lnTo>
                  <a:lnTo>
                    <a:pt x="337" y="463"/>
                  </a:lnTo>
                  <a:lnTo>
                    <a:pt x="335" y="463"/>
                  </a:lnTo>
                  <a:lnTo>
                    <a:pt x="331" y="465"/>
                  </a:lnTo>
                  <a:lnTo>
                    <a:pt x="325" y="465"/>
                  </a:lnTo>
                  <a:lnTo>
                    <a:pt x="323" y="467"/>
                  </a:lnTo>
                  <a:lnTo>
                    <a:pt x="323" y="469"/>
                  </a:lnTo>
                  <a:lnTo>
                    <a:pt x="325" y="471"/>
                  </a:lnTo>
                  <a:lnTo>
                    <a:pt x="329" y="471"/>
                  </a:lnTo>
                  <a:lnTo>
                    <a:pt x="333" y="471"/>
                  </a:lnTo>
                  <a:lnTo>
                    <a:pt x="333" y="473"/>
                  </a:lnTo>
                  <a:lnTo>
                    <a:pt x="331" y="473"/>
                  </a:lnTo>
                  <a:lnTo>
                    <a:pt x="327" y="473"/>
                  </a:lnTo>
                  <a:lnTo>
                    <a:pt x="327" y="475"/>
                  </a:lnTo>
                  <a:lnTo>
                    <a:pt x="327" y="475"/>
                  </a:lnTo>
                  <a:lnTo>
                    <a:pt x="333" y="475"/>
                  </a:lnTo>
                  <a:lnTo>
                    <a:pt x="338" y="480"/>
                  </a:lnTo>
                  <a:lnTo>
                    <a:pt x="340" y="480"/>
                  </a:lnTo>
                  <a:lnTo>
                    <a:pt x="340" y="480"/>
                  </a:lnTo>
                  <a:lnTo>
                    <a:pt x="340" y="484"/>
                  </a:lnTo>
                  <a:lnTo>
                    <a:pt x="338" y="480"/>
                  </a:lnTo>
                  <a:lnTo>
                    <a:pt x="335" y="480"/>
                  </a:lnTo>
                  <a:lnTo>
                    <a:pt x="331" y="480"/>
                  </a:lnTo>
                  <a:lnTo>
                    <a:pt x="329" y="478"/>
                  </a:lnTo>
                  <a:lnTo>
                    <a:pt x="325" y="478"/>
                  </a:lnTo>
                  <a:lnTo>
                    <a:pt x="323" y="480"/>
                  </a:lnTo>
                  <a:lnTo>
                    <a:pt x="321" y="484"/>
                  </a:lnTo>
                  <a:lnTo>
                    <a:pt x="320" y="484"/>
                  </a:lnTo>
                  <a:lnTo>
                    <a:pt x="321" y="484"/>
                  </a:lnTo>
                  <a:lnTo>
                    <a:pt x="321" y="488"/>
                  </a:lnTo>
                  <a:lnTo>
                    <a:pt x="321" y="488"/>
                  </a:lnTo>
                  <a:lnTo>
                    <a:pt x="320" y="490"/>
                  </a:lnTo>
                  <a:lnTo>
                    <a:pt x="320" y="490"/>
                  </a:lnTo>
                  <a:lnTo>
                    <a:pt x="316" y="492"/>
                  </a:lnTo>
                  <a:lnTo>
                    <a:pt x="316" y="495"/>
                  </a:lnTo>
                  <a:lnTo>
                    <a:pt x="316" y="495"/>
                  </a:lnTo>
                  <a:lnTo>
                    <a:pt x="316" y="497"/>
                  </a:lnTo>
                  <a:lnTo>
                    <a:pt x="312" y="499"/>
                  </a:lnTo>
                  <a:lnTo>
                    <a:pt x="312" y="499"/>
                  </a:lnTo>
                  <a:lnTo>
                    <a:pt x="316" y="505"/>
                  </a:lnTo>
                  <a:lnTo>
                    <a:pt x="320" y="505"/>
                  </a:lnTo>
                  <a:lnTo>
                    <a:pt x="320" y="505"/>
                  </a:lnTo>
                  <a:lnTo>
                    <a:pt x="321" y="503"/>
                  </a:lnTo>
                  <a:lnTo>
                    <a:pt x="323" y="501"/>
                  </a:lnTo>
                  <a:lnTo>
                    <a:pt x="329" y="497"/>
                  </a:lnTo>
                  <a:lnTo>
                    <a:pt x="333" y="495"/>
                  </a:lnTo>
                  <a:lnTo>
                    <a:pt x="337" y="495"/>
                  </a:lnTo>
                  <a:lnTo>
                    <a:pt x="338" y="497"/>
                  </a:lnTo>
                  <a:lnTo>
                    <a:pt x="338" y="499"/>
                  </a:lnTo>
                  <a:lnTo>
                    <a:pt x="337" y="499"/>
                  </a:lnTo>
                  <a:lnTo>
                    <a:pt x="335" y="497"/>
                  </a:lnTo>
                  <a:lnTo>
                    <a:pt x="333" y="497"/>
                  </a:lnTo>
                  <a:lnTo>
                    <a:pt x="331" y="501"/>
                  </a:lnTo>
                  <a:lnTo>
                    <a:pt x="325" y="503"/>
                  </a:lnTo>
                  <a:lnTo>
                    <a:pt x="323" y="505"/>
                  </a:lnTo>
                  <a:lnTo>
                    <a:pt x="323" y="509"/>
                  </a:lnTo>
                  <a:lnTo>
                    <a:pt x="323" y="514"/>
                  </a:lnTo>
                  <a:lnTo>
                    <a:pt x="323" y="514"/>
                  </a:lnTo>
                  <a:lnTo>
                    <a:pt x="323" y="514"/>
                  </a:lnTo>
                  <a:lnTo>
                    <a:pt x="323" y="514"/>
                  </a:lnTo>
                  <a:lnTo>
                    <a:pt x="323" y="514"/>
                  </a:lnTo>
                  <a:lnTo>
                    <a:pt x="323" y="514"/>
                  </a:lnTo>
                  <a:lnTo>
                    <a:pt x="323" y="514"/>
                  </a:lnTo>
                  <a:close/>
                  <a:moveTo>
                    <a:pt x="340" y="616"/>
                  </a:moveTo>
                  <a:lnTo>
                    <a:pt x="340" y="616"/>
                  </a:lnTo>
                  <a:lnTo>
                    <a:pt x="340" y="614"/>
                  </a:lnTo>
                  <a:lnTo>
                    <a:pt x="340" y="612"/>
                  </a:lnTo>
                  <a:lnTo>
                    <a:pt x="340" y="608"/>
                  </a:lnTo>
                  <a:lnTo>
                    <a:pt x="340" y="606"/>
                  </a:lnTo>
                  <a:lnTo>
                    <a:pt x="337" y="606"/>
                  </a:lnTo>
                  <a:lnTo>
                    <a:pt x="337" y="603"/>
                  </a:lnTo>
                  <a:lnTo>
                    <a:pt x="333" y="603"/>
                  </a:lnTo>
                  <a:lnTo>
                    <a:pt x="329" y="603"/>
                  </a:lnTo>
                  <a:lnTo>
                    <a:pt x="325" y="603"/>
                  </a:lnTo>
                  <a:lnTo>
                    <a:pt x="327" y="606"/>
                  </a:lnTo>
                  <a:lnTo>
                    <a:pt x="329" y="606"/>
                  </a:lnTo>
                  <a:lnTo>
                    <a:pt x="331" y="606"/>
                  </a:lnTo>
                  <a:lnTo>
                    <a:pt x="335" y="608"/>
                  </a:lnTo>
                  <a:lnTo>
                    <a:pt x="335" y="612"/>
                  </a:lnTo>
                  <a:lnTo>
                    <a:pt x="337" y="612"/>
                  </a:lnTo>
                  <a:lnTo>
                    <a:pt x="340" y="616"/>
                  </a:lnTo>
                  <a:lnTo>
                    <a:pt x="340" y="616"/>
                  </a:lnTo>
                  <a:lnTo>
                    <a:pt x="340" y="616"/>
                  </a:lnTo>
                  <a:lnTo>
                    <a:pt x="340" y="616"/>
                  </a:lnTo>
                  <a:close/>
                  <a:moveTo>
                    <a:pt x="408" y="616"/>
                  </a:moveTo>
                  <a:lnTo>
                    <a:pt x="401" y="612"/>
                  </a:lnTo>
                  <a:lnTo>
                    <a:pt x="399" y="614"/>
                  </a:lnTo>
                  <a:lnTo>
                    <a:pt x="395" y="612"/>
                  </a:lnTo>
                  <a:lnTo>
                    <a:pt x="395" y="608"/>
                  </a:lnTo>
                  <a:lnTo>
                    <a:pt x="391" y="608"/>
                  </a:lnTo>
                  <a:lnTo>
                    <a:pt x="384" y="603"/>
                  </a:lnTo>
                  <a:lnTo>
                    <a:pt x="382" y="599"/>
                  </a:lnTo>
                  <a:lnTo>
                    <a:pt x="378" y="599"/>
                  </a:lnTo>
                  <a:lnTo>
                    <a:pt x="374" y="591"/>
                  </a:lnTo>
                  <a:lnTo>
                    <a:pt x="369" y="584"/>
                  </a:lnTo>
                  <a:lnTo>
                    <a:pt x="365" y="574"/>
                  </a:lnTo>
                  <a:lnTo>
                    <a:pt x="361" y="569"/>
                  </a:lnTo>
                  <a:lnTo>
                    <a:pt x="361" y="561"/>
                  </a:lnTo>
                  <a:lnTo>
                    <a:pt x="359" y="556"/>
                  </a:lnTo>
                  <a:lnTo>
                    <a:pt x="357" y="544"/>
                  </a:lnTo>
                  <a:lnTo>
                    <a:pt x="355" y="542"/>
                  </a:lnTo>
                  <a:lnTo>
                    <a:pt x="357" y="539"/>
                  </a:lnTo>
                  <a:lnTo>
                    <a:pt x="357" y="539"/>
                  </a:lnTo>
                  <a:lnTo>
                    <a:pt x="353" y="537"/>
                  </a:lnTo>
                  <a:lnTo>
                    <a:pt x="352" y="539"/>
                  </a:lnTo>
                  <a:lnTo>
                    <a:pt x="350" y="537"/>
                  </a:lnTo>
                  <a:lnTo>
                    <a:pt x="350" y="535"/>
                  </a:lnTo>
                  <a:lnTo>
                    <a:pt x="355" y="537"/>
                  </a:lnTo>
                  <a:lnTo>
                    <a:pt x="359" y="533"/>
                  </a:lnTo>
                  <a:lnTo>
                    <a:pt x="359" y="525"/>
                  </a:lnTo>
                  <a:lnTo>
                    <a:pt x="359" y="522"/>
                  </a:lnTo>
                  <a:lnTo>
                    <a:pt x="355" y="524"/>
                  </a:lnTo>
                  <a:lnTo>
                    <a:pt x="352" y="524"/>
                  </a:lnTo>
                  <a:lnTo>
                    <a:pt x="353" y="522"/>
                  </a:lnTo>
                  <a:lnTo>
                    <a:pt x="359" y="520"/>
                  </a:lnTo>
                  <a:lnTo>
                    <a:pt x="359" y="518"/>
                  </a:lnTo>
                  <a:lnTo>
                    <a:pt x="357" y="518"/>
                  </a:lnTo>
                  <a:lnTo>
                    <a:pt x="352" y="518"/>
                  </a:lnTo>
                  <a:lnTo>
                    <a:pt x="344" y="514"/>
                  </a:lnTo>
                  <a:lnTo>
                    <a:pt x="340" y="514"/>
                  </a:lnTo>
                  <a:lnTo>
                    <a:pt x="337" y="514"/>
                  </a:lnTo>
                  <a:lnTo>
                    <a:pt x="329" y="518"/>
                  </a:lnTo>
                  <a:lnTo>
                    <a:pt x="323" y="518"/>
                  </a:lnTo>
                  <a:lnTo>
                    <a:pt x="320" y="520"/>
                  </a:lnTo>
                  <a:lnTo>
                    <a:pt x="316" y="524"/>
                  </a:lnTo>
                  <a:lnTo>
                    <a:pt x="316" y="527"/>
                  </a:lnTo>
                  <a:lnTo>
                    <a:pt x="316" y="529"/>
                  </a:lnTo>
                  <a:lnTo>
                    <a:pt x="316" y="533"/>
                  </a:lnTo>
                  <a:lnTo>
                    <a:pt x="320" y="533"/>
                  </a:lnTo>
                  <a:lnTo>
                    <a:pt x="320" y="535"/>
                  </a:lnTo>
                  <a:lnTo>
                    <a:pt x="320" y="537"/>
                  </a:lnTo>
                  <a:lnTo>
                    <a:pt x="316" y="537"/>
                  </a:lnTo>
                  <a:lnTo>
                    <a:pt x="312" y="539"/>
                  </a:lnTo>
                  <a:lnTo>
                    <a:pt x="310" y="542"/>
                  </a:lnTo>
                  <a:lnTo>
                    <a:pt x="306" y="548"/>
                  </a:lnTo>
                  <a:lnTo>
                    <a:pt x="310" y="548"/>
                  </a:lnTo>
                  <a:lnTo>
                    <a:pt x="314" y="548"/>
                  </a:lnTo>
                  <a:lnTo>
                    <a:pt x="320" y="544"/>
                  </a:lnTo>
                  <a:lnTo>
                    <a:pt x="320" y="548"/>
                  </a:lnTo>
                  <a:lnTo>
                    <a:pt x="316" y="550"/>
                  </a:lnTo>
                  <a:lnTo>
                    <a:pt x="316" y="554"/>
                  </a:lnTo>
                  <a:lnTo>
                    <a:pt x="316" y="554"/>
                  </a:lnTo>
                  <a:lnTo>
                    <a:pt x="320" y="550"/>
                  </a:lnTo>
                  <a:lnTo>
                    <a:pt x="321" y="550"/>
                  </a:lnTo>
                  <a:lnTo>
                    <a:pt x="321" y="552"/>
                  </a:lnTo>
                  <a:lnTo>
                    <a:pt x="320" y="554"/>
                  </a:lnTo>
                  <a:lnTo>
                    <a:pt x="320" y="558"/>
                  </a:lnTo>
                  <a:lnTo>
                    <a:pt x="321" y="559"/>
                  </a:lnTo>
                  <a:lnTo>
                    <a:pt x="325" y="559"/>
                  </a:lnTo>
                  <a:lnTo>
                    <a:pt x="323" y="561"/>
                  </a:lnTo>
                  <a:lnTo>
                    <a:pt x="320" y="561"/>
                  </a:lnTo>
                  <a:lnTo>
                    <a:pt x="320" y="563"/>
                  </a:lnTo>
                  <a:lnTo>
                    <a:pt x="320" y="567"/>
                  </a:lnTo>
                  <a:lnTo>
                    <a:pt x="320" y="569"/>
                  </a:lnTo>
                  <a:lnTo>
                    <a:pt x="320" y="573"/>
                  </a:lnTo>
                  <a:lnTo>
                    <a:pt x="316" y="569"/>
                  </a:lnTo>
                  <a:lnTo>
                    <a:pt x="314" y="573"/>
                  </a:lnTo>
                  <a:lnTo>
                    <a:pt x="312" y="569"/>
                  </a:lnTo>
                  <a:lnTo>
                    <a:pt x="306" y="569"/>
                  </a:lnTo>
                  <a:lnTo>
                    <a:pt x="306" y="573"/>
                  </a:lnTo>
                  <a:lnTo>
                    <a:pt x="306" y="576"/>
                  </a:lnTo>
                  <a:lnTo>
                    <a:pt x="306" y="582"/>
                  </a:lnTo>
                  <a:lnTo>
                    <a:pt x="306" y="586"/>
                  </a:lnTo>
                  <a:lnTo>
                    <a:pt x="306" y="590"/>
                  </a:lnTo>
                  <a:lnTo>
                    <a:pt x="312" y="595"/>
                  </a:lnTo>
                  <a:lnTo>
                    <a:pt x="312" y="597"/>
                  </a:lnTo>
                  <a:lnTo>
                    <a:pt x="316" y="599"/>
                  </a:lnTo>
                  <a:lnTo>
                    <a:pt x="320" y="603"/>
                  </a:lnTo>
                  <a:lnTo>
                    <a:pt x="321" y="599"/>
                  </a:lnTo>
                  <a:lnTo>
                    <a:pt x="325" y="599"/>
                  </a:lnTo>
                  <a:lnTo>
                    <a:pt x="327" y="595"/>
                  </a:lnTo>
                  <a:lnTo>
                    <a:pt x="327" y="590"/>
                  </a:lnTo>
                  <a:lnTo>
                    <a:pt x="327" y="586"/>
                  </a:lnTo>
                  <a:lnTo>
                    <a:pt x="329" y="582"/>
                  </a:lnTo>
                  <a:lnTo>
                    <a:pt x="327" y="588"/>
                  </a:lnTo>
                  <a:lnTo>
                    <a:pt x="327" y="590"/>
                  </a:lnTo>
                  <a:lnTo>
                    <a:pt x="329" y="593"/>
                  </a:lnTo>
                  <a:lnTo>
                    <a:pt x="331" y="597"/>
                  </a:lnTo>
                  <a:lnTo>
                    <a:pt x="333" y="599"/>
                  </a:lnTo>
                  <a:lnTo>
                    <a:pt x="337" y="597"/>
                  </a:lnTo>
                  <a:lnTo>
                    <a:pt x="337" y="593"/>
                  </a:lnTo>
                  <a:lnTo>
                    <a:pt x="338" y="590"/>
                  </a:lnTo>
                  <a:lnTo>
                    <a:pt x="338" y="591"/>
                  </a:lnTo>
                  <a:lnTo>
                    <a:pt x="338" y="593"/>
                  </a:lnTo>
                  <a:lnTo>
                    <a:pt x="338" y="597"/>
                  </a:lnTo>
                  <a:lnTo>
                    <a:pt x="340" y="603"/>
                  </a:lnTo>
                  <a:lnTo>
                    <a:pt x="344" y="606"/>
                  </a:lnTo>
                  <a:lnTo>
                    <a:pt x="350" y="606"/>
                  </a:lnTo>
                  <a:lnTo>
                    <a:pt x="352" y="603"/>
                  </a:lnTo>
                  <a:lnTo>
                    <a:pt x="353" y="603"/>
                  </a:lnTo>
                  <a:lnTo>
                    <a:pt x="352" y="606"/>
                  </a:lnTo>
                  <a:lnTo>
                    <a:pt x="350" y="606"/>
                  </a:lnTo>
                  <a:lnTo>
                    <a:pt x="350" y="606"/>
                  </a:lnTo>
                  <a:lnTo>
                    <a:pt x="346" y="608"/>
                  </a:lnTo>
                  <a:lnTo>
                    <a:pt x="344" y="612"/>
                  </a:lnTo>
                  <a:lnTo>
                    <a:pt x="350" y="614"/>
                  </a:lnTo>
                  <a:lnTo>
                    <a:pt x="350" y="618"/>
                  </a:lnTo>
                  <a:lnTo>
                    <a:pt x="346" y="618"/>
                  </a:lnTo>
                  <a:lnTo>
                    <a:pt x="344" y="616"/>
                  </a:lnTo>
                  <a:lnTo>
                    <a:pt x="344" y="620"/>
                  </a:lnTo>
                  <a:lnTo>
                    <a:pt x="346" y="622"/>
                  </a:lnTo>
                  <a:lnTo>
                    <a:pt x="352" y="622"/>
                  </a:lnTo>
                  <a:lnTo>
                    <a:pt x="355" y="623"/>
                  </a:lnTo>
                  <a:lnTo>
                    <a:pt x="361" y="622"/>
                  </a:lnTo>
                  <a:lnTo>
                    <a:pt x="365" y="623"/>
                  </a:lnTo>
                  <a:lnTo>
                    <a:pt x="365" y="622"/>
                  </a:lnTo>
                  <a:lnTo>
                    <a:pt x="365" y="622"/>
                  </a:lnTo>
                  <a:lnTo>
                    <a:pt x="369" y="623"/>
                  </a:lnTo>
                  <a:lnTo>
                    <a:pt x="370" y="629"/>
                  </a:lnTo>
                  <a:lnTo>
                    <a:pt x="370" y="633"/>
                  </a:lnTo>
                  <a:lnTo>
                    <a:pt x="374" y="631"/>
                  </a:lnTo>
                  <a:lnTo>
                    <a:pt x="376" y="629"/>
                  </a:lnTo>
                  <a:lnTo>
                    <a:pt x="376" y="623"/>
                  </a:lnTo>
                  <a:lnTo>
                    <a:pt x="370" y="622"/>
                  </a:lnTo>
                  <a:lnTo>
                    <a:pt x="370" y="622"/>
                  </a:lnTo>
                  <a:lnTo>
                    <a:pt x="370" y="620"/>
                  </a:lnTo>
                  <a:lnTo>
                    <a:pt x="374" y="622"/>
                  </a:lnTo>
                  <a:lnTo>
                    <a:pt x="378" y="623"/>
                  </a:lnTo>
                  <a:lnTo>
                    <a:pt x="378" y="623"/>
                  </a:lnTo>
                  <a:lnTo>
                    <a:pt x="380" y="629"/>
                  </a:lnTo>
                  <a:lnTo>
                    <a:pt x="382" y="629"/>
                  </a:lnTo>
                  <a:lnTo>
                    <a:pt x="384" y="627"/>
                  </a:lnTo>
                  <a:lnTo>
                    <a:pt x="384" y="623"/>
                  </a:lnTo>
                  <a:lnTo>
                    <a:pt x="387" y="629"/>
                  </a:lnTo>
                  <a:lnTo>
                    <a:pt x="391" y="631"/>
                  </a:lnTo>
                  <a:lnTo>
                    <a:pt x="393" y="631"/>
                  </a:lnTo>
                  <a:lnTo>
                    <a:pt x="393" y="629"/>
                  </a:lnTo>
                  <a:lnTo>
                    <a:pt x="391" y="623"/>
                  </a:lnTo>
                  <a:lnTo>
                    <a:pt x="391" y="623"/>
                  </a:lnTo>
                  <a:lnTo>
                    <a:pt x="393" y="623"/>
                  </a:lnTo>
                  <a:lnTo>
                    <a:pt x="395" y="623"/>
                  </a:lnTo>
                  <a:lnTo>
                    <a:pt x="395" y="627"/>
                  </a:lnTo>
                  <a:lnTo>
                    <a:pt x="399" y="627"/>
                  </a:lnTo>
                  <a:lnTo>
                    <a:pt x="399" y="631"/>
                  </a:lnTo>
                  <a:lnTo>
                    <a:pt x="401" y="633"/>
                  </a:lnTo>
                  <a:lnTo>
                    <a:pt x="402" y="631"/>
                  </a:lnTo>
                  <a:lnTo>
                    <a:pt x="402" y="629"/>
                  </a:lnTo>
                  <a:lnTo>
                    <a:pt x="402" y="623"/>
                  </a:lnTo>
                  <a:lnTo>
                    <a:pt x="399" y="623"/>
                  </a:lnTo>
                  <a:lnTo>
                    <a:pt x="399" y="623"/>
                  </a:lnTo>
                  <a:lnTo>
                    <a:pt x="399" y="622"/>
                  </a:lnTo>
                  <a:lnTo>
                    <a:pt x="401" y="623"/>
                  </a:lnTo>
                  <a:lnTo>
                    <a:pt x="402" y="623"/>
                  </a:lnTo>
                  <a:lnTo>
                    <a:pt x="404" y="620"/>
                  </a:lnTo>
                  <a:lnTo>
                    <a:pt x="408" y="618"/>
                  </a:lnTo>
                  <a:lnTo>
                    <a:pt x="408" y="616"/>
                  </a:lnTo>
                  <a:lnTo>
                    <a:pt x="408" y="616"/>
                  </a:lnTo>
                  <a:lnTo>
                    <a:pt x="408" y="616"/>
                  </a:lnTo>
                  <a:lnTo>
                    <a:pt x="408" y="616"/>
                  </a:lnTo>
                  <a:close/>
                  <a:moveTo>
                    <a:pt x="128" y="849"/>
                  </a:moveTo>
                  <a:lnTo>
                    <a:pt x="128" y="844"/>
                  </a:lnTo>
                  <a:lnTo>
                    <a:pt x="128" y="844"/>
                  </a:lnTo>
                  <a:lnTo>
                    <a:pt x="128" y="840"/>
                  </a:lnTo>
                  <a:lnTo>
                    <a:pt x="124" y="840"/>
                  </a:lnTo>
                  <a:lnTo>
                    <a:pt x="124" y="844"/>
                  </a:lnTo>
                  <a:lnTo>
                    <a:pt x="124" y="844"/>
                  </a:lnTo>
                  <a:lnTo>
                    <a:pt x="128" y="849"/>
                  </a:lnTo>
                  <a:lnTo>
                    <a:pt x="128" y="849"/>
                  </a:lnTo>
                  <a:lnTo>
                    <a:pt x="128" y="849"/>
                  </a:lnTo>
                  <a:lnTo>
                    <a:pt x="128" y="849"/>
                  </a:lnTo>
                  <a:lnTo>
                    <a:pt x="128" y="849"/>
                  </a:lnTo>
                  <a:lnTo>
                    <a:pt x="128" y="849"/>
                  </a:lnTo>
                  <a:lnTo>
                    <a:pt x="128" y="849"/>
                  </a:lnTo>
                  <a:close/>
                  <a:moveTo>
                    <a:pt x="224" y="785"/>
                  </a:moveTo>
                  <a:lnTo>
                    <a:pt x="225" y="785"/>
                  </a:lnTo>
                  <a:lnTo>
                    <a:pt x="225" y="785"/>
                  </a:lnTo>
                  <a:lnTo>
                    <a:pt x="224" y="782"/>
                  </a:lnTo>
                  <a:lnTo>
                    <a:pt x="222" y="782"/>
                  </a:lnTo>
                  <a:lnTo>
                    <a:pt x="222" y="785"/>
                  </a:lnTo>
                  <a:lnTo>
                    <a:pt x="224" y="785"/>
                  </a:lnTo>
                  <a:lnTo>
                    <a:pt x="224" y="785"/>
                  </a:lnTo>
                  <a:lnTo>
                    <a:pt x="224" y="785"/>
                  </a:lnTo>
                  <a:lnTo>
                    <a:pt x="224" y="785"/>
                  </a:lnTo>
                  <a:close/>
                  <a:moveTo>
                    <a:pt x="299" y="706"/>
                  </a:moveTo>
                  <a:lnTo>
                    <a:pt x="303" y="706"/>
                  </a:lnTo>
                  <a:lnTo>
                    <a:pt x="306" y="701"/>
                  </a:lnTo>
                  <a:lnTo>
                    <a:pt x="310" y="697"/>
                  </a:lnTo>
                  <a:lnTo>
                    <a:pt x="310" y="691"/>
                  </a:lnTo>
                  <a:lnTo>
                    <a:pt x="314" y="687"/>
                  </a:lnTo>
                  <a:lnTo>
                    <a:pt x="314" y="691"/>
                  </a:lnTo>
                  <a:lnTo>
                    <a:pt x="314" y="697"/>
                  </a:lnTo>
                  <a:lnTo>
                    <a:pt x="316" y="691"/>
                  </a:lnTo>
                  <a:lnTo>
                    <a:pt x="316" y="687"/>
                  </a:lnTo>
                  <a:lnTo>
                    <a:pt x="312" y="684"/>
                  </a:lnTo>
                  <a:lnTo>
                    <a:pt x="299" y="678"/>
                  </a:lnTo>
                  <a:lnTo>
                    <a:pt x="291" y="678"/>
                  </a:lnTo>
                  <a:lnTo>
                    <a:pt x="289" y="680"/>
                  </a:lnTo>
                  <a:lnTo>
                    <a:pt x="286" y="687"/>
                  </a:lnTo>
                  <a:lnTo>
                    <a:pt x="286" y="697"/>
                  </a:lnTo>
                  <a:lnTo>
                    <a:pt x="289" y="701"/>
                  </a:lnTo>
                  <a:lnTo>
                    <a:pt x="289" y="704"/>
                  </a:lnTo>
                  <a:lnTo>
                    <a:pt x="289" y="704"/>
                  </a:lnTo>
                  <a:lnTo>
                    <a:pt x="295" y="706"/>
                  </a:lnTo>
                  <a:lnTo>
                    <a:pt x="291" y="708"/>
                  </a:lnTo>
                  <a:lnTo>
                    <a:pt x="295" y="708"/>
                  </a:lnTo>
                  <a:lnTo>
                    <a:pt x="299" y="706"/>
                  </a:lnTo>
                  <a:lnTo>
                    <a:pt x="299" y="706"/>
                  </a:lnTo>
                  <a:lnTo>
                    <a:pt x="299" y="706"/>
                  </a:lnTo>
                  <a:lnTo>
                    <a:pt x="299" y="706"/>
                  </a:lnTo>
                  <a:close/>
                  <a:moveTo>
                    <a:pt x="331" y="714"/>
                  </a:moveTo>
                  <a:lnTo>
                    <a:pt x="333" y="714"/>
                  </a:lnTo>
                  <a:lnTo>
                    <a:pt x="335" y="712"/>
                  </a:lnTo>
                  <a:lnTo>
                    <a:pt x="338" y="712"/>
                  </a:lnTo>
                  <a:lnTo>
                    <a:pt x="340" y="710"/>
                  </a:lnTo>
                  <a:lnTo>
                    <a:pt x="335" y="710"/>
                  </a:lnTo>
                  <a:lnTo>
                    <a:pt x="331" y="712"/>
                  </a:lnTo>
                  <a:lnTo>
                    <a:pt x="331" y="714"/>
                  </a:lnTo>
                  <a:lnTo>
                    <a:pt x="331" y="714"/>
                  </a:lnTo>
                  <a:lnTo>
                    <a:pt x="331" y="714"/>
                  </a:lnTo>
                  <a:lnTo>
                    <a:pt x="331" y="714"/>
                  </a:lnTo>
                  <a:close/>
                  <a:moveTo>
                    <a:pt x="385" y="712"/>
                  </a:moveTo>
                  <a:lnTo>
                    <a:pt x="385" y="714"/>
                  </a:lnTo>
                  <a:lnTo>
                    <a:pt x="389" y="710"/>
                  </a:lnTo>
                  <a:lnTo>
                    <a:pt x="389" y="706"/>
                  </a:lnTo>
                  <a:lnTo>
                    <a:pt x="385" y="708"/>
                  </a:lnTo>
                  <a:lnTo>
                    <a:pt x="384" y="710"/>
                  </a:lnTo>
                  <a:lnTo>
                    <a:pt x="385" y="712"/>
                  </a:lnTo>
                  <a:lnTo>
                    <a:pt x="385" y="712"/>
                  </a:lnTo>
                  <a:lnTo>
                    <a:pt x="385" y="712"/>
                  </a:lnTo>
                  <a:lnTo>
                    <a:pt x="385" y="712"/>
                  </a:lnTo>
                  <a:close/>
                  <a:moveTo>
                    <a:pt x="376" y="714"/>
                  </a:moveTo>
                  <a:lnTo>
                    <a:pt x="380" y="714"/>
                  </a:lnTo>
                  <a:lnTo>
                    <a:pt x="382" y="712"/>
                  </a:lnTo>
                  <a:lnTo>
                    <a:pt x="380" y="708"/>
                  </a:lnTo>
                  <a:lnTo>
                    <a:pt x="378" y="710"/>
                  </a:lnTo>
                  <a:lnTo>
                    <a:pt x="376" y="714"/>
                  </a:lnTo>
                  <a:lnTo>
                    <a:pt x="376" y="714"/>
                  </a:lnTo>
                  <a:lnTo>
                    <a:pt x="376" y="714"/>
                  </a:lnTo>
                  <a:lnTo>
                    <a:pt x="376" y="714"/>
                  </a:lnTo>
                  <a:close/>
                  <a:moveTo>
                    <a:pt x="419" y="693"/>
                  </a:moveTo>
                  <a:lnTo>
                    <a:pt x="423" y="693"/>
                  </a:lnTo>
                  <a:lnTo>
                    <a:pt x="425" y="691"/>
                  </a:lnTo>
                  <a:lnTo>
                    <a:pt x="429" y="691"/>
                  </a:lnTo>
                  <a:lnTo>
                    <a:pt x="433" y="687"/>
                  </a:lnTo>
                  <a:lnTo>
                    <a:pt x="429" y="687"/>
                  </a:lnTo>
                  <a:lnTo>
                    <a:pt x="423" y="691"/>
                  </a:lnTo>
                  <a:lnTo>
                    <a:pt x="419" y="693"/>
                  </a:lnTo>
                  <a:lnTo>
                    <a:pt x="419" y="693"/>
                  </a:lnTo>
                  <a:lnTo>
                    <a:pt x="419" y="693"/>
                  </a:lnTo>
                  <a:lnTo>
                    <a:pt x="419" y="693"/>
                  </a:lnTo>
                  <a:close/>
                  <a:moveTo>
                    <a:pt x="402" y="691"/>
                  </a:moveTo>
                  <a:lnTo>
                    <a:pt x="404" y="691"/>
                  </a:lnTo>
                  <a:lnTo>
                    <a:pt x="408" y="691"/>
                  </a:lnTo>
                  <a:lnTo>
                    <a:pt x="408" y="691"/>
                  </a:lnTo>
                  <a:lnTo>
                    <a:pt x="404" y="687"/>
                  </a:lnTo>
                  <a:lnTo>
                    <a:pt x="402" y="691"/>
                  </a:lnTo>
                  <a:lnTo>
                    <a:pt x="402" y="691"/>
                  </a:lnTo>
                  <a:lnTo>
                    <a:pt x="402" y="691"/>
                  </a:lnTo>
                  <a:lnTo>
                    <a:pt x="402" y="691"/>
                  </a:lnTo>
                  <a:close/>
                  <a:moveTo>
                    <a:pt x="393" y="687"/>
                  </a:moveTo>
                  <a:lnTo>
                    <a:pt x="395" y="691"/>
                  </a:lnTo>
                  <a:lnTo>
                    <a:pt x="395" y="691"/>
                  </a:lnTo>
                  <a:lnTo>
                    <a:pt x="399" y="691"/>
                  </a:lnTo>
                  <a:lnTo>
                    <a:pt x="399" y="687"/>
                  </a:lnTo>
                  <a:lnTo>
                    <a:pt x="395" y="687"/>
                  </a:lnTo>
                  <a:lnTo>
                    <a:pt x="393" y="687"/>
                  </a:lnTo>
                  <a:lnTo>
                    <a:pt x="393" y="687"/>
                  </a:lnTo>
                  <a:lnTo>
                    <a:pt x="393" y="687"/>
                  </a:lnTo>
                  <a:lnTo>
                    <a:pt x="393" y="687"/>
                  </a:lnTo>
                  <a:close/>
                  <a:moveTo>
                    <a:pt x="387" y="691"/>
                  </a:moveTo>
                  <a:lnTo>
                    <a:pt x="387" y="691"/>
                  </a:lnTo>
                  <a:lnTo>
                    <a:pt x="389" y="691"/>
                  </a:lnTo>
                  <a:lnTo>
                    <a:pt x="391" y="687"/>
                  </a:lnTo>
                  <a:lnTo>
                    <a:pt x="389" y="687"/>
                  </a:lnTo>
                  <a:lnTo>
                    <a:pt x="387" y="691"/>
                  </a:lnTo>
                  <a:lnTo>
                    <a:pt x="387" y="691"/>
                  </a:lnTo>
                  <a:lnTo>
                    <a:pt x="387" y="691"/>
                  </a:lnTo>
                  <a:lnTo>
                    <a:pt x="387" y="691"/>
                  </a:lnTo>
                  <a:close/>
                  <a:moveTo>
                    <a:pt x="783" y="569"/>
                  </a:moveTo>
                  <a:lnTo>
                    <a:pt x="783" y="573"/>
                  </a:lnTo>
                  <a:lnTo>
                    <a:pt x="783" y="574"/>
                  </a:lnTo>
                  <a:lnTo>
                    <a:pt x="783" y="573"/>
                  </a:lnTo>
                  <a:lnTo>
                    <a:pt x="783" y="569"/>
                  </a:lnTo>
                  <a:lnTo>
                    <a:pt x="783" y="569"/>
                  </a:lnTo>
                  <a:lnTo>
                    <a:pt x="783" y="569"/>
                  </a:lnTo>
                  <a:lnTo>
                    <a:pt x="783" y="569"/>
                  </a:lnTo>
                  <a:lnTo>
                    <a:pt x="783" y="569"/>
                  </a:lnTo>
                  <a:close/>
                  <a:moveTo>
                    <a:pt x="775" y="558"/>
                  </a:moveTo>
                  <a:lnTo>
                    <a:pt x="775" y="565"/>
                  </a:lnTo>
                  <a:lnTo>
                    <a:pt x="777" y="569"/>
                  </a:lnTo>
                  <a:lnTo>
                    <a:pt x="775" y="574"/>
                  </a:lnTo>
                  <a:lnTo>
                    <a:pt x="777" y="574"/>
                  </a:lnTo>
                  <a:lnTo>
                    <a:pt x="779" y="573"/>
                  </a:lnTo>
                  <a:lnTo>
                    <a:pt x="779" y="563"/>
                  </a:lnTo>
                  <a:lnTo>
                    <a:pt x="775" y="558"/>
                  </a:lnTo>
                  <a:lnTo>
                    <a:pt x="775" y="558"/>
                  </a:lnTo>
                  <a:lnTo>
                    <a:pt x="775" y="558"/>
                  </a:lnTo>
                  <a:lnTo>
                    <a:pt x="775" y="558"/>
                  </a:lnTo>
                  <a:lnTo>
                    <a:pt x="775" y="558"/>
                  </a:lnTo>
                  <a:close/>
                  <a:moveTo>
                    <a:pt x="769" y="550"/>
                  </a:moveTo>
                  <a:lnTo>
                    <a:pt x="771" y="554"/>
                  </a:lnTo>
                  <a:lnTo>
                    <a:pt x="773" y="556"/>
                  </a:lnTo>
                  <a:lnTo>
                    <a:pt x="773" y="552"/>
                  </a:lnTo>
                  <a:lnTo>
                    <a:pt x="771" y="550"/>
                  </a:lnTo>
                  <a:lnTo>
                    <a:pt x="769" y="550"/>
                  </a:lnTo>
                  <a:lnTo>
                    <a:pt x="769" y="550"/>
                  </a:lnTo>
                  <a:lnTo>
                    <a:pt x="769" y="550"/>
                  </a:lnTo>
                  <a:lnTo>
                    <a:pt x="769" y="550"/>
                  </a:lnTo>
                  <a:close/>
                  <a:moveTo>
                    <a:pt x="433" y="663"/>
                  </a:moveTo>
                  <a:lnTo>
                    <a:pt x="434" y="663"/>
                  </a:lnTo>
                  <a:lnTo>
                    <a:pt x="434" y="657"/>
                  </a:lnTo>
                  <a:lnTo>
                    <a:pt x="433" y="657"/>
                  </a:lnTo>
                  <a:lnTo>
                    <a:pt x="433" y="663"/>
                  </a:lnTo>
                  <a:lnTo>
                    <a:pt x="433" y="663"/>
                  </a:lnTo>
                  <a:lnTo>
                    <a:pt x="433" y="663"/>
                  </a:lnTo>
                  <a:lnTo>
                    <a:pt x="433" y="663"/>
                  </a:lnTo>
                  <a:close/>
                  <a:moveTo>
                    <a:pt x="451" y="678"/>
                  </a:moveTo>
                  <a:lnTo>
                    <a:pt x="451" y="678"/>
                  </a:lnTo>
                  <a:lnTo>
                    <a:pt x="453" y="674"/>
                  </a:lnTo>
                  <a:lnTo>
                    <a:pt x="451" y="674"/>
                  </a:lnTo>
                  <a:lnTo>
                    <a:pt x="451" y="678"/>
                  </a:lnTo>
                  <a:lnTo>
                    <a:pt x="451" y="678"/>
                  </a:lnTo>
                  <a:lnTo>
                    <a:pt x="451" y="678"/>
                  </a:lnTo>
                  <a:lnTo>
                    <a:pt x="451" y="678"/>
                  </a:lnTo>
                  <a:close/>
                  <a:moveTo>
                    <a:pt x="449" y="672"/>
                  </a:moveTo>
                  <a:lnTo>
                    <a:pt x="448" y="667"/>
                  </a:lnTo>
                  <a:lnTo>
                    <a:pt x="442" y="667"/>
                  </a:lnTo>
                  <a:lnTo>
                    <a:pt x="438" y="663"/>
                  </a:lnTo>
                  <a:lnTo>
                    <a:pt x="438" y="663"/>
                  </a:lnTo>
                  <a:lnTo>
                    <a:pt x="442" y="667"/>
                  </a:lnTo>
                  <a:lnTo>
                    <a:pt x="449" y="672"/>
                  </a:lnTo>
                  <a:lnTo>
                    <a:pt x="449" y="672"/>
                  </a:lnTo>
                  <a:lnTo>
                    <a:pt x="449" y="672"/>
                  </a:lnTo>
                  <a:lnTo>
                    <a:pt x="449" y="672"/>
                  </a:lnTo>
                  <a:close/>
                  <a:moveTo>
                    <a:pt x="457" y="655"/>
                  </a:moveTo>
                  <a:lnTo>
                    <a:pt x="459" y="650"/>
                  </a:lnTo>
                  <a:lnTo>
                    <a:pt x="457" y="644"/>
                  </a:lnTo>
                  <a:lnTo>
                    <a:pt x="453" y="640"/>
                  </a:lnTo>
                  <a:lnTo>
                    <a:pt x="448" y="637"/>
                  </a:lnTo>
                  <a:lnTo>
                    <a:pt x="444" y="637"/>
                  </a:lnTo>
                  <a:lnTo>
                    <a:pt x="440" y="631"/>
                  </a:lnTo>
                  <a:lnTo>
                    <a:pt x="436" y="629"/>
                  </a:lnTo>
                  <a:lnTo>
                    <a:pt x="434" y="627"/>
                  </a:lnTo>
                  <a:lnTo>
                    <a:pt x="429" y="623"/>
                  </a:lnTo>
                  <a:lnTo>
                    <a:pt x="429" y="623"/>
                  </a:lnTo>
                  <a:lnTo>
                    <a:pt x="425" y="623"/>
                  </a:lnTo>
                  <a:lnTo>
                    <a:pt x="425" y="627"/>
                  </a:lnTo>
                  <a:lnTo>
                    <a:pt x="423" y="629"/>
                  </a:lnTo>
                  <a:lnTo>
                    <a:pt x="425" y="633"/>
                  </a:lnTo>
                  <a:lnTo>
                    <a:pt x="429" y="633"/>
                  </a:lnTo>
                  <a:lnTo>
                    <a:pt x="429" y="633"/>
                  </a:lnTo>
                  <a:lnTo>
                    <a:pt x="425" y="633"/>
                  </a:lnTo>
                  <a:lnTo>
                    <a:pt x="423" y="633"/>
                  </a:lnTo>
                  <a:lnTo>
                    <a:pt x="423" y="633"/>
                  </a:lnTo>
                  <a:lnTo>
                    <a:pt x="423" y="637"/>
                  </a:lnTo>
                  <a:lnTo>
                    <a:pt x="429" y="642"/>
                  </a:lnTo>
                  <a:lnTo>
                    <a:pt x="433" y="644"/>
                  </a:lnTo>
                  <a:lnTo>
                    <a:pt x="434" y="648"/>
                  </a:lnTo>
                  <a:lnTo>
                    <a:pt x="436" y="648"/>
                  </a:lnTo>
                  <a:lnTo>
                    <a:pt x="438" y="644"/>
                  </a:lnTo>
                  <a:lnTo>
                    <a:pt x="440" y="646"/>
                  </a:lnTo>
                  <a:lnTo>
                    <a:pt x="444" y="644"/>
                  </a:lnTo>
                  <a:lnTo>
                    <a:pt x="444" y="646"/>
                  </a:lnTo>
                  <a:lnTo>
                    <a:pt x="446" y="652"/>
                  </a:lnTo>
                  <a:lnTo>
                    <a:pt x="446" y="654"/>
                  </a:lnTo>
                  <a:lnTo>
                    <a:pt x="448" y="655"/>
                  </a:lnTo>
                  <a:lnTo>
                    <a:pt x="453" y="655"/>
                  </a:lnTo>
                  <a:lnTo>
                    <a:pt x="453" y="654"/>
                  </a:lnTo>
                  <a:lnTo>
                    <a:pt x="457" y="655"/>
                  </a:lnTo>
                  <a:lnTo>
                    <a:pt x="457" y="655"/>
                  </a:lnTo>
                  <a:lnTo>
                    <a:pt x="457" y="655"/>
                  </a:lnTo>
                  <a:lnTo>
                    <a:pt x="457" y="655"/>
                  </a:lnTo>
                  <a:close/>
                  <a:moveTo>
                    <a:pt x="545" y="497"/>
                  </a:moveTo>
                  <a:lnTo>
                    <a:pt x="545" y="497"/>
                  </a:lnTo>
                  <a:lnTo>
                    <a:pt x="545" y="495"/>
                  </a:lnTo>
                  <a:lnTo>
                    <a:pt x="545" y="492"/>
                  </a:lnTo>
                  <a:lnTo>
                    <a:pt x="547" y="492"/>
                  </a:lnTo>
                  <a:lnTo>
                    <a:pt x="549" y="495"/>
                  </a:lnTo>
                  <a:lnTo>
                    <a:pt x="551" y="495"/>
                  </a:lnTo>
                  <a:lnTo>
                    <a:pt x="553" y="495"/>
                  </a:lnTo>
                  <a:lnTo>
                    <a:pt x="557" y="495"/>
                  </a:lnTo>
                  <a:lnTo>
                    <a:pt x="557" y="492"/>
                  </a:lnTo>
                  <a:lnTo>
                    <a:pt x="561" y="488"/>
                  </a:lnTo>
                  <a:lnTo>
                    <a:pt x="566" y="488"/>
                  </a:lnTo>
                  <a:lnTo>
                    <a:pt x="566" y="484"/>
                  </a:lnTo>
                  <a:lnTo>
                    <a:pt x="562" y="480"/>
                  </a:lnTo>
                  <a:lnTo>
                    <a:pt x="559" y="480"/>
                  </a:lnTo>
                  <a:lnTo>
                    <a:pt x="559" y="475"/>
                  </a:lnTo>
                  <a:lnTo>
                    <a:pt x="555" y="473"/>
                  </a:lnTo>
                  <a:lnTo>
                    <a:pt x="553" y="471"/>
                  </a:lnTo>
                  <a:lnTo>
                    <a:pt x="549" y="473"/>
                  </a:lnTo>
                  <a:lnTo>
                    <a:pt x="545" y="475"/>
                  </a:lnTo>
                  <a:lnTo>
                    <a:pt x="542" y="475"/>
                  </a:lnTo>
                  <a:lnTo>
                    <a:pt x="538" y="480"/>
                  </a:lnTo>
                  <a:lnTo>
                    <a:pt x="538" y="480"/>
                  </a:lnTo>
                  <a:lnTo>
                    <a:pt x="542" y="484"/>
                  </a:lnTo>
                  <a:lnTo>
                    <a:pt x="542" y="488"/>
                  </a:lnTo>
                  <a:lnTo>
                    <a:pt x="542" y="493"/>
                  </a:lnTo>
                  <a:lnTo>
                    <a:pt x="545" y="497"/>
                  </a:lnTo>
                  <a:lnTo>
                    <a:pt x="545" y="497"/>
                  </a:lnTo>
                  <a:lnTo>
                    <a:pt x="545" y="497"/>
                  </a:lnTo>
                  <a:lnTo>
                    <a:pt x="545" y="497"/>
                  </a:lnTo>
                  <a:close/>
                  <a:moveTo>
                    <a:pt x="557" y="654"/>
                  </a:moveTo>
                  <a:lnTo>
                    <a:pt x="557" y="654"/>
                  </a:lnTo>
                  <a:lnTo>
                    <a:pt x="557" y="655"/>
                  </a:lnTo>
                  <a:lnTo>
                    <a:pt x="561" y="655"/>
                  </a:lnTo>
                  <a:lnTo>
                    <a:pt x="562" y="654"/>
                  </a:lnTo>
                  <a:lnTo>
                    <a:pt x="562" y="650"/>
                  </a:lnTo>
                  <a:lnTo>
                    <a:pt x="561" y="648"/>
                  </a:lnTo>
                  <a:lnTo>
                    <a:pt x="559" y="650"/>
                  </a:lnTo>
                  <a:lnTo>
                    <a:pt x="559" y="652"/>
                  </a:lnTo>
                  <a:lnTo>
                    <a:pt x="557" y="654"/>
                  </a:lnTo>
                  <a:lnTo>
                    <a:pt x="557" y="654"/>
                  </a:lnTo>
                  <a:lnTo>
                    <a:pt x="557" y="654"/>
                  </a:lnTo>
                  <a:lnTo>
                    <a:pt x="557" y="654"/>
                  </a:lnTo>
                  <a:close/>
                  <a:moveTo>
                    <a:pt x="625" y="740"/>
                  </a:moveTo>
                  <a:lnTo>
                    <a:pt x="625" y="742"/>
                  </a:lnTo>
                  <a:lnTo>
                    <a:pt x="628" y="744"/>
                  </a:lnTo>
                  <a:lnTo>
                    <a:pt x="628" y="746"/>
                  </a:lnTo>
                  <a:lnTo>
                    <a:pt x="632" y="750"/>
                  </a:lnTo>
                  <a:lnTo>
                    <a:pt x="636" y="748"/>
                  </a:lnTo>
                  <a:lnTo>
                    <a:pt x="638" y="746"/>
                  </a:lnTo>
                  <a:lnTo>
                    <a:pt x="636" y="742"/>
                  </a:lnTo>
                  <a:lnTo>
                    <a:pt x="634" y="740"/>
                  </a:lnTo>
                  <a:lnTo>
                    <a:pt x="630" y="742"/>
                  </a:lnTo>
                  <a:lnTo>
                    <a:pt x="628" y="740"/>
                  </a:lnTo>
                  <a:lnTo>
                    <a:pt x="625" y="740"/>
                  </a:lnTo>
                  <a:lnTo>
                    <a:pt x="625" y="740"/>
                  </a:lnTo>
                  <a:lnTo>
                    <a:pt x="625" y="740"/>
                  </a:lnTo>
                  <a:lnTo>
                    <a:pt x="625" y="740"/>
                  </a:lnTo>
                  <a:close/>
                  <a:moveTo>
                    <a:pt x="613" y="493"/>
                  </a:moveTo>
                  <a:lnTo>
                    <a:pt x="613" y="490"/>
                  </a:lnTo>
                  <a:lnTo>
                    <a:pt x="611" y="488"/>
                  </a:lnTo>
                  <a:lnTo>
                    <a:pt x="611" y="488"/>
                  </a:lnTo>
                  <a:lnTo>
                    <a:pt x="613" y="484"/>
                  </a:lnTo>
                  <a:lnTo>
                    <a:pt x="611" y="480"/>
                  </a:lnTo>
                  <a:lnTo>
                    <a:pt x="608" y="480"/>
                  </a:lnTo>
                  <a:lnTo>
                    <a:pt x="606" y="484"/>
                  </a:lnTo>
                  <a:lnTo>
                    <a:pt x="604" y="488"/>
                  </a:lnTo>
                  <a:lnTo>
                    <a:pt x="606" y="492"/>
                  </a:lnTo>
                  <a:lnTo>
                    <a:pt x="608" y="492"/>
                  </a:lnTo>
                  <a:lnTo>
                    <a:pt x="611" y="493"/>
                  </a:lnTo>
                  <a:lnTo>
                    <a:pt x="613" y="493"/>
                  </a:lnTo>
                  <a:lnTo>
                    <a:pt x="613" y="493"/>
                  </a:lnTo>
                  <a:lnTo>
                    <a:pt x="613" y="493"/>
                  </a:lnTo>
                  <a:lnTo>
                    <a:pt x="613" y="493"/>
                  </a:lnTo>
                  <a:close/>
                  <a:moveTo>
                    <a:pt x="608" y="467"/>
                  </a:moveTo>
                  <a:lnTo>
                    <a:pt x="609" y="463"/>
                  </a:lnTo>
                  <a:lnTo>
                    <a:pt x="613" y="465"/>
                  </a:lnTo>
                  <a:lnTo>
                    <a:pt x="617" y="461"/>
                  </a:lnTo>
                  <a:lnTo>
                    <a:pt x="615" y="460"/>
                  </a:lnTo>
                  <a:lnTo>
                    <a:pt x="615" y="458"/>
                  </a:lnTo>
                  <a:lnTo>
                    <a:pt x="619" y="458"/>
                  </a:lnTo>
                  <a:lnTo>
                    <a:pt x="617" y="456"/>
                  </a:lnTo>
                  <a:lnTo>
                    <a:pt x="613" y="456"/>
                  </a:lnTo>
                  <a:lnTo>
                    <a:pt x="609" y="460"/>
                  </a:lnTo>
                  <a:lnTo>
                    <a:pt x="606" y="465"/>
                  </a:lnTo>
                  <a:lnTo>
                    <a:pt x="608" y="467"/>
                  </a:lnTo>
                  <a:lnTo>
                    <a:pt x="608" y="467"/>
                  </a:lnTo>
                  <a:lnTo>
                    <a:pt x="608" y="467"/>
                  </a:lnTo>
                  <a:lnTo>
                    <a:pt x="608" y="467"/>
                  </a:lnTo>
                  <a:close/>
                  <a:moveTo>
                    <a:pt x="625" y="473"/>
                  </a:moveTo>
                  <a:lnTo>
                    <a:pt x="626" y="475"/>
                  </a:lnTo>
                  <a:lnTo>
                    <a:pt x="632" y="475"/>
                  </a:lnTo>
                  <a:lnTo>
                    <a:pt x="634" y="475"/>
                  </a:lnTo>
                  <a:lnTo>
                    <a:pt x="634" y="473"/>
                  </a:lnTo>
                  <a:lnTo>
                    <a:pt x="628" y="473"/>
                  </a:lnTo>
                  <a:lnTo>
                    <a:pt x="625" y="471"/>
                  </a:lnTo>
                  <a:lnTo>
                    <a:pt x="625" y="473"/>
                  </a:lnTo>
                  <a:lnTo>
                    <a:pt x="625" y="473"/>
                  </a:lnTo>
                  <a:lnTo>
                    <a:pt x="625" y="473"/>
                  </a:lnTo>
                  <a:lnTo>
                    <a:pt x="625" y="473"/>
                  </a:lnTo>
                  <a:close/>
                  <a:moveTo>
                    <a:pt x="658" y="499"/>
                  </a:moveTo>
                  <a:lnTo>
                    <a:pt x="658" y="503"/>
                  </a:lnTo>
                  <a:lnTo>
                    <a:pt x="657" y="505"/>
                  </a:lnTo>
                  <a:lnTo>
                    <a:pt x="655" y="505"/>
                  </a:lnTo>
                  <a:lnTo>
                    <a:pt x="655" y="509"/>
                  </a:lnTo>
                  <a:lnTo>
                    <a:pt x="655" y="514"/>
                  </a:lnTo>
                  <a:lnTo>
                    <a:pt x="657" y="512"/>
                  </a:lnTo>
                  <a:lnTo>
                    <a:pt x="660" y="509"/>
                  </a:lnTo>
                  <a:lnTo>
                    <a:pt x="664" y="509"/>
                  </a:lnTo>
                  <a:lnTo>
                    <a:pt x="666" y="505"/>
                  </a:lnTo>
                  <a:lnTo>
                    <a:pt x="670" y="503"/>
                  </a:lnTo>
                  <a:lnTo>
                    <a:pt x="673" y="499"/>
                  </a:lnTo>
                  <a:lnTo>
                    <a:pt x="670" y="495"/>
                  </a:lnTo>
                  <a:lnTo>
                    <a:pt x="670" y="493"/>
                  </a:lnTo>
                  <a:lnTo>
                    <a:pt x="666" y="493"/>
                  </a:lnTo>
                  <a:lnTo>
                    <a:pt x="660" y="495"/>
                  </a:lnTo>
                  <a:lnTo>
                    <a:pt x="658" y="499"/>
                  </a:lnTo>
                  <a:lnTo>
                    <a:pt x="658" y="499"/>
                  </a:lnTo>
                  <a:lnTo>
                    <a:pt x="658" y="499"/>
                  </a:lnTo>
                  <a:lnTo>
                    <a:pt x="658" y="499"/>
                  </a:lnTo>
                  <a:close/>
                  <a:moveTo>
                    <a:pt x="670" y="463"/>
                  </a:moveTo>
                  <a:lnTo>
                    <a:pt x="670" y="469"/>
                  </a:lnTo>
                  <a:lnTo>
                    <a:pt x="668" y="475"/>
                  </a:lnTo>
                  <a:lnTo>
                    <a:pt x="666" y="480"/>
                  </a:lnTo>
                  <a:lnTo>
                    <a:pt x="666" y="480"/>
                  </a:lnTo>
                  <a:lnTo>
                    <a:pt x="670" y="484"/>
                  </a:lnTo>
                  <a:lnTo>
                    <a:pt x="670" y="484"/>
                  </a:lnTo>
                  <a:lnTo>
                    <a:pt x="675" y="484"/>
                  </a:lnTo>
                  <a:lnTo>
                    <a:pt x="679" y="488"/>
                  </a:lnTo>
                  <a:lnTo>
                    <a:pt x="681" y="484"/>
                  </a:lnTo>
                  <a:lnTo>
                    <a:pt x="681" y="484"/>
                  </a:lnTo>
                  <a:lnTo>
                    <a:pt x="679" y="478"/>
                  </a:lnTo>
                  <a:lnTo>
                    <a:pt x="679" y="473"/>
                  </a:lnTo>
                  <a:lnTo>
                    <a:pt x="673" y="469"/>
                  </a:lnTo>
                  <a:lnTo>
                    <a:pt x="670" y="463"/>
                  </a:lnTo>
                  <a:lnTo>
                    <a:pt x="670" y="463"/>
                  </a:lnTo>
                  <a:lnTo>
                    <a:pt x="670" y="463"/>
                  </a:lnTo>
                  <a:lnTo>
                    <a:pt x="670" y="463"/>
                  </a:lnTo>
                  <a:close/>
                  <a:moveTo>
                    <a:pt x="694" y="420"/>
                  </a:moveTo>
                  <a:lnTo>
                    <a:pt x="698" y="416"/>
                  </a:lnTo>
                  <a:lnTo>
                    <a:pt x="696" y="414"/>
                  </a:lnTo>
                  <a:lnTo>
                    <a:pt x="692" y="414"/>
                  </a:lnTo>
                  <a:lnTo>
                    <a:pt x="690" y="416"/>
                  </a:lnTo>
                  <a:lnTo>
                    <a:pt x="692" y="420"/>
                  </a:lnTo>
                  <a:lnTo>
                    <a:pt x="694" y="420"/>
                  </a:lnTo>
                  <a:lnTo>
                    <a:pt x="694" y="420"/>
                  </a:lnTo>
                  <a:lnTo>
                    <a:pt x="694" y="420"/>
                  </a:lnTo>
                  <a:lnTo>
                    <a:pt x="694" y="420"/>
                  </a:lnTo>
                  <a:close/>
                  <a:moveTo>
                    <a:pt x="704" y="418"/>
                  </a:moveTo>
                  <a:lnTo>
                    <a:pt x="707" y="414"/>
                  </a:lnTo>
                  <a:lnTo>
                    <a:pt x="707" y="412"/>
                  </a:lnTo>
                  <a:lnTo>
                    <a:pt x="704" y="412"/>
                  </a:lnTo>
                  <a:lnTo>
                    <a:pt x="704" y="412"/>
                  </a:lnTo>
                  <a:lnTo>
                    <a:pt x="700" y="414"/>
                  </a:lnTo>
                  <a:lnTo>
                    <a:pt x="700" y="416"/>
                  </a:lnTo>
                  <a:lnTo>
                    <a:pt x="704" y="418"/>
                  </a:lnTo>
                  <a:lnTo>
                    <a:pt x="704" y="418"/>
                  </a:lnTo>
                  <a:lnTo>
                    <a:pt x="704" y="418"/>
                  </a:lnTo>
                  <a:lnTo>
                    <a:pt x="704" y="418"/>
                  </a:lnTo>
                  <a:close/>
                  <a:moveTo>
                    <a:pt x="722" y="420"/>
                  </a:moveTo>
                  <a:lnTo>
                    <a:pt x="724" y="418"/>
                  </a:lnTo>
                  <a:lnTo>
                    <a:pt x="719" y="416"/>
                  </a:lnTo>
                  <a:lnTo>
                    <a:pt x="715" y="418"/>
                  </a:lnTo>
                  <a:lnTo>
                    <a:pt x="717" y="420"/>
                  </a:lnTo>
                  <a:lnTo>
                    <a:pt x="722" y="420"/>
                  </a:lnTo>
                  <a:lnTo>
                    <a:pt x="722" y="420"/>
                  </a:lnTo>
                  <a:lnTo>
                    <a:pt x="722" y="420"/>
                  </a:lnTo>
                  <a:lnTo>
                    <a:pt x="722" y="420"/>
                  </a:lnTo>
                  <a:close/>
                  <a:moveTo>
                    <a:pt x="749" y="411"/>
                  </a:moveTo>
                  <a:lnTo>
                    <a:pt x="749" y="416"/>
                  </a:lnTo>
                  <a:lnTo>
                    <a:pt x="753" y="416"/>
                  </a:lnTo>
                  <a:lnTo>
                    <a:pt x="753" y="414"/>
                  </a:lnTo>
                  <a:lnTo>
                    <a:pt x="751" y="412"/>
                  </a:lnTo>
                  <a:lnTo>
                    <a:pt x="749" y="411"/>
                  </a:lnTo>
                  <a:lnTo>
                    <a:pt x="749" y="411"/>
                  </a:lnTo>
                  <a:lnTo>
                    <a:pt x="749" y="411"/>
                  </a:lnTo>
                  <a:lnTo>
                    <a:pt x="749" y="411"/>
                  </a:lnTo>
                  <a:close/>
                  <a:moveTo>
                    <a:pt x="734" y="409"/>
                  </a:moveTo>
                  <a:lnTo>
                    <a:pt x="737" y="409"/>
                  </a:lnTo>
                  <a:lnTo>
                    <a:pt x="737" y="405"/>
                  </a:lnTo>
                  <a:lnTo>
                    <a:pt x="737" y="403"/>
                  </a:lnTo>
                  <a:lnTo>
                    <a:pt x="734" y="405"/>
                  </a:lnTo>
                  <a:lnTo>
                    <a:pt x="734" y="407"/>
                  </a:lnTo>
                  <a:lnTo>
                    <a:pt x="734" y="409"/>
                  </a:lnTo>
                  <a:lnTo>
                    <a:pt x="734" y="409"/>
                  </a:lnTo>
                  <a:lnTo>
                    <a:pt x="734" y="409"/>
                  </a:lnTo>
                  <a:lnTo>
                    <a:pt x="734" y="409"/>
                  </a:lnTo>
                  <a:close/>
                  <a:moveTo>
                    <a:pt x="721" y="394"/>
                  </a:moveTo>
                  <a:lnTo>
                    <a:pt x="721" y="390"/>
                  </a:lnTo>
                  <a:lnTo>
                    <a:pt x="719" y="390"/>
                  </a:lnTo>
                  <a:lnTo>
                    <a:pt x="713" y="396"/>
                  </a:lnTo>
                  <a:lnTo>
                    <a:pt x="713" y="396"/>
                  </a:lnTo>
                  <a:lnTo>
                    <a:pt x="717" y="399"/>
                  </a:lnTo>
                  <a:lnTo>
                    <a:pt x="719" y="396"/>
                  </a:lnTo>
                  <a:lnTo>
                    <a:pt x="717" y="396"/>
                  </a:lnTo>
                  <a:lnTo>
                    <a:pt x="719" y="394"/>
                  </a:lnTo>
                  <a:lnTo>
                    <a:pt x="721" y="394"/>
                  </a:lnTo>
                  <a:lnTo>
                    <a:pt x="721" y="394"/>
                  </a:lnTo>
                  <a:lnTo>
                    <a:pt x="721" y="394"/>
                  </a:lnTo>
                  <a:lnTo>
                    <a:pt x="721" y="394"/>
                  </a:lnTo>
                  <a:close/>
                  <a:moveTo>
                    <a:pt x="732" y="390"/>
                  </a:moveTo>
                  <a:lnTo>
                    <a:pt x="730" y="386"/>
                  </a:lnTo>
                  <a:lnTo>
                    <a:pt x="724" y="386"/>
                  </a:lnTo>
                  <a:lnTo>
                    <a:pt x="724" y="390"/>
                  </a:lnTo>
                  <a:lnTo>
                    <a:pt x="724" y="394"/>
                  </a:lnTo>
                  <a:lnTo>
                    <a:pt x="728" y="394"/>
                  </a:lnTo>
                  <a:lnTo>
                    <a:pt x="730" y="390"/>
                  </a:lnTo>
                  <a:lnTo>
                    <a:pt x="732" y="390"/>
                  </a:lnTo>
                  <a:lnTo>
                    <a:pt x="732" y="390"/>
                  </a:lnTo>
                  <a:lnTo>
                    <a:pt x="732" y="390"/>
                  </a:lnTo>
                  <a:lnTo>
                    <a:pt x="732" y="390"/>
                  </a:lnTo>
                  <a:close/>
                  <a:moveTo>
                    <a:pt x="732" y="390"/>
                  </a:moveTo>
                  <a:lnTo>
                    <a:pt x="734" y="394"/>
                  </a:lnTo>
                  <a:lnTo>
                    <a:pt x="734" y="390"/>
                  </a:lnTo>
                  <a:lnTo>
                    <a:pt x="737" y="390"/>
                  </a:lnTo>
                  <a:lnTo>
                    <a:pt x="737" y="386"/>
                  </a:lnTo>
                  <a:lnTo>
                    <a:pt x="737" y="384"/>
                  </a:lnTo>
                  <a:lnTo>
                    <a:pt x="734" y="384"/>
                  </a:lnTo>
                  <a:lnTo>
                    <a:pt x="734" y="386"/>
                  </a:lnTo>
                  <a:lnTo>
                    <a:pt x="734" y="390"/>
                  </a:lnTo>
                  <a:lnTo>
                    <a:pt x="732" y="390"/>
                  </a:lnTo>
                  <a:lnTo>
                    <a:pt x="732" y="390"/>
                  </a:lnTo>
                  <a:lnTo>
                    <a:pt x="732" y="390"/>
                  </a:lnTo>
                  <a:lnTo>
                    <a:pt x="732" y="390"/>
                  </a:lnTo>
                  <a:close/>
                  <a:moveTo>
                    <a:pt x="721" y="380"/>
                  </a:moveTo>
                  <a:lnTo>
                    <a:pt x="724" y="377"/>
                  </a:lnTo>
                  <a:lnTo>
                    <a:pt x="722" y="375"/>
                  </a:lnTo>
                  <a:lnTo>
                    <a:pt x="721" y="375"/>
                  </a:lnTo>
                  <a:lnTo>
                    <a:pt x="717" y="375"/>
                  </a:lnTo>
                  <a:lnTo>
                    <a:pt x="715" y="377"/>
                  </a:lnTo>
                  <a:lnTo>
                    <a:pt x="715" y="377"/>
                  </a:lnTo>
                  <a:lnTo>
                    <a:pt x="719" y="379"/>
                  </a:lnTo>
                  <a:lnTo>
                    <a:pt x="721" y="380"/>
                  </a:lnTo>
                  <a:lnTo>
                    <a:pt x="721" y="380"/>
                  </a:lnTo>
                  <a:lnTo>
                    <a:pt x="721" y="380"/>
                  </a:lnTo>
                  <a:lnTo>
                    <a:pt x="721" y="380"/>
                  </a:lnTo>
                  <a:close/>
                  <a:moveTo>
                    <a:pt x="737" y="371"/>
                  </a:moveTo>
                  <a:lnTo>
                    <a:pt x="739" y="371"/>
                  </a:lnTo>
                  <a:lnTo>
                    <a:pt x="739" y="369"/>
                  </a:lnTo>
                  <a:lnTo>
                    <a:pt x="737" y="367"/>
                  </a:lnTo>
                  <a:lnTo>
                    <a:pt x="741" y="365"/>
                  </a:lnTo>
                  <a:lnTo>
                    <a:pt x="741" y="365"/>
                  </a:lnTo>
                  <a:lnTo>
                    <a:pt x="737" y="362"/>
                  </a:lnTo>
                  <a:lnTo>
                    <a:pt x="734" y="362"/>
                  </a:lnTo>
                  <a:lnTo>
                    <a:pt x="734" y="362"/>
                  </a:lnTo>
                  <a:lnTo>
                    <a:pt x="734" y="365"/>
                  </a:lnTo>
                  <a:lnTo>
                    <a:pt x="732" y="365"/>
                  </a:lnTo>
                  <a:lnTo>
                    <a:pt x="730" y="365"/>
                  </a:lnTo>
                  <a:lnTo>
                    <a:pt x="728" y="365"/>
                  </a:lnTo>
                  <a:lnTo>
                    <a:pt x="730" y="367"/>
                  </a:lnTo>
                  <a:lnTo>
                    <a:pt x="732" y="369"/>
                  </a:lnTo>
                  <a:lnTo>
                    <a:pt x="734" y="369"/>
                  </a:lnTo>
                  <a:lnTo>
                    <a:pt x="737" y="371"/>
                  </a:lnTo>
                  <a:lnTo>
                    <a:pt x="737" y="371"/>
                  </a:lnTo>
                  <a:lnTo>
                    <a:pt x="737" y="371"/>
                  </a:lnTo>
                  <a:lnTo>
                    <a:pt x="737" y="371"/>
                  </a:lnTo>
                  <a:close/>
                  <a:moveTo>
                    <a:pt x="786" y="237"/>
                  </a:moveTo>
                  <a:lnTo>
                    <a:pt x="788" y="237"/>
                  </a:lnTo>
                  <a:lnTo>
                    <a:pt x="792" y="237"/>
                  </a:lnTo>
                  <a:lnTo>
                    <a:pt x="794" y="234"/>
                  </a:lnTo>
                  <a:lnTo>
                    <a:pt x="794" y="234"/>
                  </a:lnTo>
                  <a:lnTo>
                    <a:pt x="796" y="235"/>
                  </a:lnTo>
                  <a:lnTo>
                    <a:pt x="794" y="237"/>
                  </a:lnTo>
                  <a:lnTo>
                    <a:pt x="798" y="235"/>
                  </a:lnTo>
                  <a:lnTo>
                    <a:pt x="801" y="232"/>
                  </a:lnTo>
                  <a:lnTo>
                    <a:pt x="801" y="228"/>
                  </a:lnTo>
                  <a:lnTo>
                    <a:pt x="803" y="226"/>
                  </a:lnTo>
                  <a:lnTo>
                    <a:pt x="803" y="222"/>
                  </a:lnTo>
                  <a:lnTo>
                    <a:pt x="801" y="220"/>
                  </a:lnTo>
                  <a:lnTo>
                    <a:pt x="800" y="220"/>
                  </a:lnTo>
                  <a:lnTo>
                    <a:pt x="800" y="222"/>
                  </a:lnTo>
                  <a:lnTo>
                    <a:pt x="796" y="226"/>
                  </a:lnTo>
                  <a:lnTo>
                    <a:pt x="792" y="228"/>
                  </a:lnTo>
                  <a:lnTo>
                    <a:pt x="788" y="234"/>
                  </a:lnTo>
                  <a:lnTo>
                    <a:pt x="786" y="237"/>
                  </a:lnTo>
                  <a:lnTo>
                    <a:pt x="786" y="237"/>
                  </a:lnTo>
                  <a:lnTo>
                    <a:pt x="786" y="237"/>
                  </a:lnTo>
                  <a:lnTo>
                    <a:pt x="786" y="237"/>
                  </a:lnTo>
                  <a:close/>
                  <a:moveTo>
                    <a:pt x="822" y="241"/>
                  </a:moveTo>
                  <a:lnTo>
                    <a:pt x="826" y="241"/>
                  </a:lnTo>
                  <a:lnTo>
                    <a:pt x="828" y="237"/>
                  </a:lnTo>
                  <a:lnTo>
                    <a:pt x="826" y="237"/>
                  </a:lnTo>
                  <a:lnTo>
                    <a:pt x="822" y="237"/>
                  </a:lnTo>
                  <a:lnTo>
                    <a:pt x="820" y="241"/>
                  </a:lnTo>
                  <a:lnTo>
                    <a:pt x="822" y="241"/>
                  </a:lnTo>
                  <a:lnTo>
                    <a:pt x="822" y="241"/>
                  </a:lnTo>
                  <a:lnTo>
                    <a:pt x="822" y="241"/>
                  </a:lnTo>
                  <a:lnTo>
                    <a:pt x="822" y="241"/>
                  </a:lnTo>
                  <a:close/>
                  <a:moveTo>
                    <a:pt x="828" y="249"/>
                  </a:moveTo>
                  <a:lnTo>
                    <a:pt x="830" y="249"/>
                  </a:lnTo>
                  <a:lnTo>
                    <a:pt x="832" y="247"/>
                  </a:lnTo>
                  <a:lnTo>
                    <a:pt x="832" y="247"/>
                  </a:lnTo>
                  <a:lnTo>
                    <a:pt x="828" y="243"/>
                  </a:lnTo>
                  <a:lnTo>
                    <a:pt x="828" y="241"/>
                  </a:lnTo>
                  <a:lnTo>
                    <a:pt x="826" y="241"/>
                  </a:lnTo>
                  <a:lnTo>
                    <a:pt x="826" y="243"/>
                  </a:lnTo>
                  <a:lnTo>
                    <a:pt x="828" y="247"/>
                  </a:lnTo>
                  <a:lnTo>
                    <a:pt x="828" y="249"/>
                  </a:lnTo>
                  <a:lnTo>
                    <a:pt x="828" y="249"/>
                  </a:lnTo>
                  <a:lnTo>
                    <a:pt x="828" y="249"/>
                  </a:lnTo>
                  <a:lnTo>
                    <a:pt x="828" y="249"/>
                  </a:lnTo>
                  <a:close/>
                  <a:moveTo>
                    <a:pt x="796" y="258"/>
                  </a:moveTo>
                  <a:lnTo>
                    <a:pt x="800" y="256"/>
                  </a:lnTo>
                  <a:lnTo>
                    <a:pt x="800" y="254"/>
                  </a:lnTo>
                  <a:lnTo>
                    <a:pt x="798" y="252"/>
                  </a:lnTo>
                  <a:lnTo>
                    <a:pt x="796" y="254"/>
                  </a:lnTo>
                  <a:lnTo>
                    <a:pt x="792" y="256"/>
                  </a:lnTo>
                  <a:lnTo>
                    <a:pt x="792" y="258"/>
                  </a:lnTo>
                  <a:lnTo>
                    <a:pt x="796" y="258"/>
                  </a:lnTo>
                  <a:lnTo>
                    <a:pt x="796" y="258"/>
                  </a:lnTo>
                  <a:lnTo>
                    <a:pt x="796" y="258"/>
                  </a:lnTo>
                  <a:lnTo>
                    <a:pt x="796" y="258"/>
                  </a:lnTo>
                  <a:close/>
                  <a:moveTo>
                    <a:pt x="813" y="258"/>
                  </a:moveTo>
                  <a:lnTo>
                    <a:pt x="817" y="256"/>
                  </a:lnTo>
                  <a:lnTo>
                    <a:pt x="817" y="252"/>
                  </a:lnTo>
                  <a:lnTo>
                    <a:pt x="817" y="252"/>
                  </a:lnTo>
                  <a:lnTo>
                    <a:pt x="817" y="247"/>
                  </a:lnTo>
                  <a:lnTo>
                    <a:pt x="813" y="247"/>
                  </a:lnTo>
                  <a:lnTo>
                    <a:pt x="813" y="249"/>
                  </a:lnTo>
                  <a:lnTo>
                    <a:pt x="811" y="252"/>
                  </a:lnTo>
                  <a:lnTo>
                    <a:pt x="807" y="254"/>
                  </a:lnTo>
                  <a:lnTo>
                    <a:pt x="809" y="256"/>
                  </a:lnTo>
                  <a:lnTo>
                    <a:pt x="811" y="256"/>
                  </a:lnTo>
                  <a:lnTo>
                    <a:pt x="813" y="254"/>
                  </a:lnTo>
                  <a:lnTo>
                    <a:pt x="813" y="254"/>
                  </a:lnTo>
                  <a:lnTo>
                    <a:pt x="813" y="258"/>
                  </a:lnTo>
                  <a:lnTo>
                    <a:pt x="813" y="258"/>
                  </a:lnTo>
                  <a:lnTo>
                    <a:pt x="813" y="258"/>
                  </a:lnTo>
                  <a:lnTo>
                    <a:pt x="813" y="258"/>
                  </a:lnTo>
                  <a:close/>
                  <a:moveTo>
                    <a:pt x="817" y="277"/>
                  </a:moveTo>
                  <a:lnTo>
                    <a:pt x="818" y="277"/>
                  </a:lnTo>
                  <a:lnTo>
                    <a:pt x="820" y="277"/>
                  </a:lnTo>
                  <a:lnTo>
                    <a:pt x="826" y="277"/>
                  </a:lnTo>
                  <a:lnTo>
                    <a:pt x="826" y="277"/>
                  </a:lnTo>
                  <a:lnTo>
                    <a:pt x="830" y="277"/>
                  </a:lnTo>
                  <a:lnTo>
                    <a:pt x="833" y="277"/>
                  </a:lnTo>
                  <a:lnTo>
                    <a:pt x="835" y="273"/>
                  </a:lnTo>
                  <a:lnTo>
                    <a:pt x="835" y="271"/>
                  </a:lnTo>
                  <a:lnTo>
                    <a:pt x="833" y="271"/>
                  </a:lnTo>
                  <a:lnTo>
                    <a:pt x="833" y="271"/>
                  </a:lnTo>
                  <a:lnTo>
                    <a:pt x="833" y="267"/>
                  </a:lnTo>
                  <a:lnTo>
                    <a:pt x="830" y="267"/>
                  </a:lnTo>
                  <a:lnTo>
                    <a:pt x="828" y="271"/>
                  </a:lnTo>
                  <a:lnTo>
                    <a:pt x="828" y="271"/>
                  </a:lnTo>
                  <a:lnTo>
                    <a:pt x="828" y="271"/>
                  </a:lnTo>
                  <a:lnTo>
                    <a:pt x="826" y="271"/>
                  </a:lnTo>
                  <a:lnTo>
                    <a:pt x="826" y="271"/>
                  </a:lnTo>
                  <a:lnTo>
                    <a:pt x="822" y="271"/>
                  </a:lnTo>
                  <a:lnTo>
                    <a:pt x="820" y="271"/>
                  </a:lnTo>
                  <a:lnTo>
                    <a:pt x="818" y="273"/>
                  </a:lnTo>
                  <a:lnTo>
                    <a:pt x="817" y="271"/>
                  </a:lnTo>
                  <a:lnTo>
                    <a:pt x="817" y="277"/>
                  </a:lnTo>
                  <a:lnTo>
                    <a:pt x="817" y="277"/>
                  </a:lnTo>
                  <a:lnTo>
                    <a:pt x="817" y="277"/>
                  </a:lnTo>
                  <a:lnTo>
                    <a:pt x="817" y="277"/>
                  </a:lnTo>
                  <a:lnTo>
                    <a:pt x="817" y="277"/>
                  </a:lnTo>
                  <a:close/>
                  <a:moveTo>
                    <a:pt x="673" y="81"/>
                  </a:moveTo>
                  <a:lnTo>
                    <a:pt x="679" y="77"/>
                  </a:lnTo>
                  <a:lnTo>
                    <a:pt x="681" y="73"/>
                  </a:lnTo>
                  <a:lnTo>
                    <a:pt x="681" y="70"/>
                  </a:lnTo>
                  <a:lnTo>
                    <a:pt x="687" y="64"/>
                  </a:lnTo>
                  <a:lnTo>
                    <a:pt x="694" y="60"/>
                  </a:lnTo>
                  <a:lnTo>
                    <a:pt x="700" y="58"/>
                  </a:lnTo>
                  <a:lnTo>
                    <a:pt x="700" y="55"/>
                  </a:lnTo>
                  <a:lnTo>
                    <a:pt x="700" y="51"/>
                  </a:lnTo>
                  <a:lnTo>
                    <a:pt x="694" y="47"/>
                  </a:lnTo>
                  <a:lnTo>
                    <a:pt x="689" y="43"/>
                  </a:lnTo>
                  <a:lnTo>
                    <a:pt x="685" y="34"/>
                  </a:lnTo>
                  <a:lnTo>
                    <a:pt x="685" y="30"/>
                  </a:lnTo>
                  <a:lnTo>
                    <a:pt x="687" y="28"/>
                  </a:lnTo>
                  <a:lnTo>
                    <a:pt x="687" y="24"/>
                  </a:lnTo>
                  <a:lnTo>
                    <a:pt x="685" y="24"/>
                  </a:lnTo>
                  <a:lnTo>
                    <a:pt x="675" y="24"/>
                  </a:lnTo>
                  <a:lnTo>
                    <a:pt x="670" y="23"/>
                  </a:lnTo>
                  <a:lnTo>
                    <a:pt x="664" y="19"/>
                  </a:lnTo>
                  <a:lnTo>
                    <a:pt x="657" y="9"/>
                  </a:lnTo>
                  <a:lnTo>
                    <a:pt x="651" y="4"/>
                  </a:lnTo>
                  <a:lnTo>
                    <a:pt x="645" y="0"/>
                  </a:lnTo>
                  <a:lnTo>
                    <a:pt x="643" y="0"/>
                  </a:lnTo>
                  <a:lnTo>
                    <a:pt x="643" y="4"/>
                  </a:lnTo>
                  <a:lnTo>
                    <a:pt x="641" y="6"/>
                  </a:lnTo>
                  <a:lnTo>
                    <a:pt x="643" y="9"/>
                  </a:lnTo>
                  <a:lnTo>
                    <a:pt x="641" y="13"/>
                  </a:lnTo>
                  <a:lnTo>
                    <a:pt x="640" y="19"/>
                  </a:lnTo>
                  <a:lnTo>
                    <a:pt x="636" y="24"/>
                  </a:lnTo>
                  <a:lnTo>
                    <a:pt x="632" y="30"/>
                  </a:lnTo>
                  <a:lnTo>
                    <a:pt x="630" y="34"/>
                  </a:lnTo>
                  <a:lnTo>
                    <a:pt x="632" y="47"/>
                  </a:lnTo>
                  <a:lnTo>
                    <a:pt x="634" y="51"/>
                  </a:lnTo>
                  <a:lnTo>
                    <a:pt x="638" y="53"/>
                  </a:lnTo>
                  <a:lnTo>
                    <a:pt x="638" y="55"/>
                  </a:lnTo>
                  <a:lnTo>
                    <a:pt x="638" y="68"/>
                  </a:lnTo>
                  <a:lnTo>
                    <a:pt x="634" y="70"/>
                  </a:lnTo>
                  <a:lnTo>
                    <a:pt x="634" y="73"/>
                  </a:lnTo>
                  <a:lnTo>
                    <a:pt x="634" y="77"/>
                  </a:lnTo>
                  <a:lnTo>
                    <a:pt x="636" y="75"/>
                  </a:lnTo>
                  <a:lnTo>
                    <a:pt x="640" y="72"/>
                  </a:lnTo>
                  <a:lnTo>
                    <a:pt x="643" y="70"/>
                  </a:lnTo>
                  <a:lnTo>
                    <a:pt x="645" y="72"/>
                  </a:lnTo>
                  <a:lnTo>
                    <a:pt x="645" y="75"/>
                  </a:lnTo>
                  <a:lnTo>
                    <a:pt x="651" y="79"/>
                  </a:lnTo>
                  <a:lnTo>
                    <a:pt x="655" y="79"/>
                  </a:lnTo>
                  <a:lnTo>
                    <a:pt x="657" y="77"/>
                  </a:lnTo>
                  <a:lnTo>
                    <a:pt x="658" y="77"/>
                  </a:lnTo>
                  <a:lnTo>
                    <a:pt x="664" y="81"/>
                  </a:lnTo>
                  <a:lnTo>
                    <a:pt x="670" y="81"/>
                  </a:lnTo>
                  <a:lnTo>
                    <a:pt x="673" y="81"/>
                  </a:lnTo>
                  <a:lnTo>
                    <a:pt x="673" y="81"/>
                  </a:lnTo>
                  <a:lnTo>
                    <a:pt x="673" y="81"/>
                  </a:lnTo>
                  <a:lnTo>
                    <a:pt x="673" y="81"/>
                  </a:lnTo>
                  <a:close/>
                  <a:moveTo>
                    <a:pt x="655" y="107"/>
                  </a:moveTo>
                  <a:lnTo>
                    <a:pt x="657" y="109"/>
                  </a:lnTo>
                  <a:lnTo>
                    <a:pt x="660" y="111"/>
                  </a:lnTo>
                  <a:lnTo>
                    <a:pt x="664" y="111"/>
                  </a:lnTo>
                  <a:lnTo>
                    <a:pt x="668" y="107"/>
                  </a:lnTo>
                  <a:lnTo>
                    <a:pt x="670" y="104"/>
                  </a:lnTo>
                  <a:lnTo>
                    <a:pt x="675" y="102"/>
                  </a:lnTo>
                  <a:lnTo>
                    <a:pt x="675" y="98"/>
                  </a:lnTo>
                  <a:lnTo>
                    <a:pt x="679" y="92"/>
                  </a:lnTo>
                  <a:lnTo>
                    <a:pt x="675" y="88"/>
                  </a:lnTo>
                  <a:lnTo>
                    <a:pt x="670" y="85"/>
                  </a:lnTo>
                  <a:lnTo>
                    <a:pt x="662" y="85"/>
                  </a:lnTo>
                  <a:lnTo>
                    <a:pt x="657" y="85"/>
                  </a:lnTo>
                  <a:lnTo>
                    <a:pt x="655" y="88"/>
                  </a:lnTo>
                  <a:lnTo>
                    <a:pt x="649" y="85"/>
                  </a:lnTo>
                  <a:lnTo>
                    <a:pt x="649" y="85"/>
                  </a:lnTo>
                  <a:lnTo>
                    <a:pt x="645" y="88"/>
                  </a:lnTo>
                  <a:lnTo>
                    <a:pt x="640" y="88"/>
                  </a:lnTo>
                  <a:lnTo>
                    <a:pt x="640" y="88"/>
                  </a:lnTo>
                  <a:lnTo>
                    <a:pt x="641" y="92"/>
                  </a:lnTo>
                  <a:lnTo>
                    <a:pt x="645" y="94"/>
                  </a:lnTo>
                  <a:lnTo>
                    <a:pt x="645" y="98"/>
                  </a:lnTo>
                  <a:lnTo>
                    <a:pt x="651" y="98"/>
                  </a:lnTo>
                  <a:lnTo>
                    <a:pt x="655" y="102"/>
                  </a:lnTo>
                  <a:lnTo>
                    <a:pt x="658" y="104"/>
                  </a:lnTo>
                  <a:lnTo>
                    <a:pt x="664" y="104"/>
                  </a:lnTo>
                  <a:lnTo>
                    <a:pt x="668" y="104"/>
                  </a:lnTo>
                  <a:lnTo>
                    <a:pt x="666" y="105"/>
                  </a:lnTo>
                  <a:lnTo>
                    <a:pt x="660" y="107"/>
                  </a:lnTo>
                  <a:lnTo>
                    <a:pt x="655" y="107"/>
                  </a:lnTo>
                  <a:lnTo>
                    <a:pt x="655" y="107"/>
                  </a:lnTo>
                  <a:lnTo>
                    <a:pt x="655" y="107"/>
                  </a:lnTo>
                  <a:lnTo>
                    <a:pt x="655" y="107"/>
                  </a:lnTo>
                  <a:close/>
                  <a:moveTo>
                    <a:pt x="781" y="119"/>
                  </a:moveTo>
                  <a:lnTo>
                    <a:pt x="781" y="122"/>
                  </a:lnTo>
                  <a:lnTo>
                    <a:pt x="777" y="128"/>
                  </a:lnTo>
                  <a:lnTo>
                    <a:pt x="771" y="128"/>
                  </a:lnTo>
                  <a:lnTo>
                    <a:pt x="768" y="132"/>
                  </a:lnTo>
                  <a:lnTo>
                    <a:pt x="762" y="136"/>
                  </a:lnTo>
                  <a:lnTo>
                    <a:pt x="762" y="136"/>
                  </a:lnTo>
                  <a:lnTo>
                    <a:pt x="756" y="132"/>
                  </a:lnTo>
                  <a:lnTo>
                    <a:pt x="754" y="130"/>
                  </a:lnTo>
                  <a:lnTo>
                    <a:pt x="751" y="130"/>
                  </a:lnTo>
                  <a:lnTo>
                    <a:pt x="749" y="130"/>
                  </a:lnTo>
                  <a:lnTo>
                    <a:pt x="743" y="130"/>
                  </a:lnTo>
                  <a:lnTo>
                    <a:pt x="734" y="130"/>
                  </a:lnTo>
                  <a:lnTo>
                    <a:pt x="732" y="128"/>
                  </a:lnTo>
                  <a:lnTo>
                    <a:pt x="728" y="124"/>
                  </a:lnTo>
                  <a:lnTo>
                    <a:pt x="724" y="128"/>
                  </a:lnTo>
                  <a:lnTo>
                    <a:pt x="719" y="130"/>
                  </a:lnTo>
                  <a:lnTo>
                    <a:pt x="715" y="128"/>
                  </a:lnTo>
                  <a:lnTo>
                    <a:pt x="713" y="128"/>
                  </a:lnTo>
                  <a:lnTo>
                    <a:pt x="707" y="124"/>
                  </a:lnTo>
                  <a:lnTo>
                    <a:pt x="704" y="122"/>
                  </a:lnTo>
                  <a:lnTo>
                    <a:pt x="704" y="117"/>
                  </a:lnTo>
                  <a:lnTo>
                    <a:pt x="700" y="113"/>
                  </a:lnTo>
                  <a:lnTo>
                    <a:pt x="698" y="113"/>
                  </a:lnTo>
                  <a:lnTo>
                    <a:pt x="694" y="115"/>
                  </a:lnTo>
                  <a:lnTo>
                    <a:pt x="690" y="111"/>
                  </a:lnTo>
                  <a:lnTo>
                    <a:pt x="687" y="109"/>
                  </a:lnTo>
                  <a:lnTo>
                    <a:pt x="687" y="111"/>
                  </a:lnTo>
                  <a:lnTo>
                    <a:pt x="687" y="115"/>
                  </a:lnTo>
                  <a:lnTo>
                    <a:pt x="685" y="115"/>
                  </a:lnTo>
                  <a:lnTo>
                    <a:pt x="683" y="115"/>
                  </a:lnTo>
                  <a:lnTo>
                    <a:pt x="679" y="111"/>
                  </a:lnTo>
                  <a:lnTo>
                    <a:pt x="681" y="109"/>
                  </a:lnTo>
                  <a:lnTo>
                    <a:pt x="685" y="107"/>
                  </a:lnTo>
                  <a:lnTo>
                    <a:pt x="685" y="104"/>
                  </a:lnTo>
                  <a:lnTo>
                    <a:pt x="685" y="98"/>
                  </a:lnTo>
                  <a:lnTo>
                    <a:pt x="685" y="94"/>
                  </a:lnTo>
                  <a:lnTo>
                    <a:pt x="690" y="92"/>
                  </a:lnTo>
                  <a:lnTo>
                    <a:pt x="689" y="88"/>
                  </a:lnTo>
                  <a:lnTo>
                    <a:pt x="685" y="88"/>
                  </a:lnTo>
                  <a:lnTo>
                    <a:pt x="681" y="85"/>
                  </a:lnTo>
                  <a:lnTo>
                    <a:pt x="681" y="85"/>
                  </a:lnTo>
                  <a:lnTo>
                    <a:pt x="683" y="77"/>
                  </a:lnTo>
                  <a:lnTo>
                    <a:pt x="687" y="75"/>
                  </a:lnTo>
                  <a:lnTo>
                    <a:pt x="692" y="73"/>
                  </a:lnTo>
                  <a:lnTo>
                    <a:pt x="692" y="70"/>
                  </a:lnTo>
                  <a:lnTo>
                    <a:pt x="694" y="68"/>
                  </a:lnTo>
                  <a:lnTo>
                    <a:pt x="700" y="68"/>
                  </a:lnTo>
                  <a:lnTo>
                    <a:pt x="704" y="60"/>
                  </a:lnTo>
                  <a:lnTo>
                    <a:pt x="707" y="58"/>
                  </a:lnTo>
                  <a:lnTo>
                    <a:pt x="707" y="55"/>
                  </a:lnTo>
                  <a:lnTo>
                    <a:pt x="715" y="58"/>
                  </a:lnTo>
                  <a:lnTo>
                    <a:pt x="719" y="60"/>
                  </a:lnTo>
                  <a:lnTo>
                    <a:pt x="724" y="70"/>
                  </a:lnTo>
                  <a:lnTo>
                    <a:pt x="728" y="73"/>
                  </a:lnTo>
                  <a:lnTo>
                    <a:pt x="724" y="79"/>
                  </a:lnTo>
                  <a:lnTo>
                    <a:pt x="728" y="81"/>
                  </a:lnTo>
                  <a:lnTo>
                    <a:pt x="724" y="85"/>
                  </a:lnTo>
                  <a:lnTo>
                    <a:pt x="724" y="85"/>
                  </a:lnTo>
                  <a:lnTo>
                    <a:pt x="724" y="88"/>
                  </a:lnTo>
                  <a:lnTo>
                    <a:pt x="724" y="88"/>
                  </a:lnTo>
                  <a:lnTo>
                    <a:pt x="730" y="83"/>
                  </a:lnTo>
                  <a:lnTo>
                    <a:pt x="730" y="79"/>
                  </a:lnTo>
                  <a:lnTo>
                    <a:pt x="730" y="75"/>
                  </a:lnTo>
                  <a:lnTo>
                    <a:pt x="732" y="72"/>
                  </a:lnTo>
                  <a:lnTo>
                    <a:pt x="732" y="70"/>
                  </a:lnTo>
                  <a:lnTo>
                    <a:pt x="724" y="64"/>
                  </a:lnTo>
                  <a:lnTo>
                    <a:pt x="724" y="60"/>
                  </a:lnTo>
                  <a:lnTo>
                    <a:pt x="724" y="60"/>
                  </a:lnTo>
                  <a:lnTo>
                    <a:pt x="734" y="60"/>
                  </a:lnTo>
                  <a:lnTo>
                    <a:pt x="739" y="60"/>
                  </a:lnTo>
                  <a:lnTo>
                    <a:pt x="751" y="68"/>
                  </a:lnTo>
                  <a:lnTo>
                    <a:pt x="753" y="70"/>
                  </a:lnTo>
                  <a:lnTo>
                    <a:pt x="754" y="70"/>
                  </a:lnTo>
                  <a:lnTo>
                    <a:pt x="754" y="75"/>
                  </a:lnTo>
                  <a:lnTo>
                    <a:pt x="758" y="77"/>
                  </a:lnTo>
                  <a:lnTo>
                    <a:pt x="758" y="83"/>
                  </a:lnTo>
                  <a:lnTo>
                    <a:pt x="758" y="88"/>
                  </a:lnTo>
                  <a:lnTo>
                    <a:pt x="764" y="94"/>
                  </a:lnTo>
                  <a:lnTo>
                    <a:pt x="768" y="98"/>
                  </a:lnTo>
                  <a:lnTo>
                    <a:pt x="768" y="100"/>
                  </a:lnTo>
                  <a:lnTo>
                    <a:pt x="764" y="100"/>
                  </a:lnTo>
                  <a:lnTo>
                    <a:pt x="762" y="98"/>
                  </a:lnTo>
                  <a:lnTo>
                    <a:pt x="758" y="98"/>
                  </a:lnTo>
                  <a:lnTo>
                    <a:pt x="762" y="104"/>
                  </a:lnTo>
                  <a:lnTo>
                    <a:pt x="764" y="105"/>
                  </a:lnTo>
                  <a:lnTo>
                    <a:pt x="769" y="107"/>
                  </a:lnTo>
                  <a:lnTo>
                    <a:pt x="773" y="113"/>
                  </a:lnTo>
                  <a:lnTo>
                    <a:pt x="777" y="113"/>
                  </a:lnTo>
                  <a:lnTo>
                    <a:pt x="781" y="119"/>
                  </a:lnTo>
                  <a:lnTo>
                    <a:pt x="781" y="119"/>
                  </a:lnTo>
                  <a:lnTo>
                    <a:pt x="781" y="119"/>
                  </a:lnTo>
                  <a:lnTo>
                    <a:pt x="781" y="119"/>
                  </a:lnTo>
                  <a:close/>
                  <a:moveTo>
                    <a:pt x="1496" y="77"/>
                  </a:moveTo>
                  <a:lnTo>
                    <a:pt x="1498" y="85"/>
                  </a:lnTo>
                  <a:lnTo>
                    <a:pt x="1504" y="94"/>
                  </a:lnTo>
                  <a:lnTo>
                    <a:pt x="1505" y="98"/>
                  </a:lnTo>
                  <a:lnTo>
                    <a:pt x="1517" y="100"/>
                  </a:lnTo>
                  <a:lnTo>
                    <a:pt x="1528" y="102"/>
                  </a:lnTo>
                  <a:lnTo>
                    <a:pt x="1536" y="105"/>
                  </a:lnTo>
                  <a:lnTo>
                    <a:pt x="1539" y="105"/>
                  </a:lnTo>
                  <a:lnTo>
                    <a:pt x="1545" y="104"/>
                  </a:lnTo>
                  <a:lnTo>
                    <a:pt x="1551" y="105"/>
                  </a:lnTo>
                  <a:lnTo>
                    <a:pt x="1554" y="104"/>
                  </a:lnTo>
                  <a:lnTo>
                    <a:pt x="1560" y="100"/>
                  </a:lnTo>
                  <a:lnTo>
                    <a:pt x="1564" y="94"/>
                  </a:lnTo>
                  <a:lnTo>
                    <a:pt x="1566" y="92"/>
                  </a:lnTo>
                  <a:lnTo>
                    <a:pt x="1564" y="85"/>
                  </a:lnTo>
                  <a:lnTo>
                    <a:pt x="1560" y="85"/>
                  </a:lnTo>
                  <a:lnTo>
                    <a:pt x="1558" y="85"/>
                  </a:lnTo>
                  <a:lnTo>
                    <a:pt x="1558" y="83"/>
                  </a:lnTo>
                  <a:lnTo>
                    <a:pt x="1558" y="79"/>
                  </a:lnTo>
                  <a:lnTo>
                    <a:pt x="1556" y="77"/>
                  </a:lnTo>
                  <a:lnTo>
                    <a:pt x="1553" y="79"/>
                  </a:lnTo>
                  <a:lnTo>
                    <a:pt x="1549" y="77"/>
                  </a:lnTo>
                  <a:lnTo>
                    <a:pt x="1539" y="79"/>
                  </a:lnTo>
                  <a:lnTo>
                    <a:pt x="1534" y="85"/>
                  </a:lnTo>
                  <a:lnTo>
                    <a:pt x="1528" y="85"/>
                  </a:lnTo>
                  <a:lnTo>
                    <a:pt x="1528" y="83"/>
                  </a:lnTo>
                  <a:lnTo>
                    <a:pt x="1526" y="79"/>
                  </a:lnTo>
                  <a:lnTo>
                    <a:pt x="1524" y="79"/>
                  </a:lnTo>
                  <a:lnTo>
                    <a:pt x="1519" y="81"/>
                  </a:lnTo>
                  <a:lnTo>
                    <a:pt x="1515" y="81"/>
                  </a:lnTo>
                  <a:lnTo>
                    <a:pt x="1511" y="79"/>
                  </a:lnTo>
                  <a:lnTo>
                    <a:pt x="1511" y="83"/>
                  </a:lnTo>
                  <a:lnTo>
                    <a:pt x="1509" y="85"/>
                  </a:lnTo>
                  <a:lnTo>
                    <a:pt x="1502" y="83"/>
                  </a:lnTo>
                  <a:lnTo>
                    <a:pt x="1500" y="81"/>
                  </a:lnTo>
                  <a:lnTo>
                    <a:pt x="1498" y="79"/>
                  </a:lnTo>
                  <a:lnTo>
                    <a:pt x="1496" y="77"/>
                  </a:lnTo>
                  <a:lnTo>
                    <a:pt x="1496" y="77"/>
                  </a:lnTo>
                  <a:lnTo>
                    <a:pt x="1496" y="77"/>
                  </a:lnTo>
                  <a:lnTo>
                    <a:pt x="1496" y="77"/>
                  </a:lnTo>
                  <a:close/>
                  <a:moveTo>
                    <a:pt x="1353" y="141"/>
                  </a:moveTo>
                  <a:lnTo>
                    <a:pt x="1349" y="132"/>
                  </a:lnTo>
                  <a:lnTo>
                    <a:pt x="1347" y="128"/>
                  </a:lnTo>
                  <a:lnTo>
                    <a:pt x="1344" y="124"/>
                  </a:lnTo>
                  <a:lnTo>
                    <a:pt x="1340" y="124"/>
                  </a:lnTo>
                  <a:lnTo>
                    <a:pt x="1336" y="119"/>
                  </a:lnTo>
                  <a:lnTo>
                    <a:pt x="1332" y="119"/>
                  </a:lnTo>
                  <a:lnTo>
                    <a:pt x="1330" y="117"/>
                  </a:lnTo>
                  <a:lnTo>
                    <a:pt x="1330" y="119"/>
                  </a:lnTo>
                  <a:lnTo>
                    <a:pt x="1334" y="124"/>
                  </a:lnTo>
                  <a:lnTo>
                    <a:pt x="1340" y="130"/>
                  </a:lnTo>
                  <a:lnTo>
                    <a:pt x="1344" y="137"/>
                  </a:lnTo>
                  <a:lnTo>
                    <a:pt x="1347" y="147"/>
                  </a:lnTo>
                  <a:lnTo>
                    <a:pt x="1351" y="149"/>
                  </a:lnTo>
                  <a:lnTo>
                    <a:pt x="1353" y="147"/>
                  </a:lnTo>
                  <a:lnTo>
                    <a:pt x="1353" y="141"/>
                  </a:lnTo>
                  <a:lnTo>
                    <a:pt x="1353" y="141"/>
                  </a:lnTo>
                  <a:lnTo>
                    <a:pt x="1353" y="141"/>
                  </a:lnTo>
                  <a:lnTo>
                    <a:pt x="1353" y="141"/>
                  </a:lnTo>
                  <a:close/>
                  <a:moveTo>
                    <a:pt x="1426" y="149"/>
                  </a:moveTo>
                  <a:lnTo>
                    <a:pt x="1423" y="149"/>
                  </a:lnTo>
                  <a:lnTo>
                    <a:pt x="1421" y="149"/>
                  </a:lnTo>
                  <a:lnTo>
                    <a:pt x="1421" y="147"/>
                  </a:lnTo>
                  <a:lnTo>
                    <a:pt x="1423" y="143"/>
                  </a:lnTo>
                  <a:lnTo>
                    <a:pt x="1423" y="145"/>
                  </a:lnTo>
                  <a:lnTo>
                    <a:pt x="1426" y="149"/>
                  </a:lnTo>
                  <a:lnTo>
                    <a:pt x="1430" y="149"/>
                  </a:lnTo>
                  <a:lnTo>
                    <a:pt x="1430" y="153"/>
                  </a:lnTo>
                  <a:lnTo>
                    <a:pt x="1430" y="153"/>
                  </a:lnTo>
                  <a:lnTo>
                    <a:pt x="1432" y="153"/>
                  </a:lnTo>
                  <a:lnTo>
                    <a:pt x="1436" y="149"/>
                  </a:lnTo>
                  <a:lnTo>
                    <a:pt x="1440" y="141"/>
                  </a:lnTo>
                  <a:lnTo>
                    <a:pt x="1445" y="134"/>
                  </a:lnTo>
                  <a:lnTo>
                    <a:pt x="1451" y="134"/>
                  </a:lnTo>
                  <a:lnTo>
                    <a:pt x="1455" y="130"/>
                  </a:lnTo>
                  <a:lnTo>
                    <a:pt x="1457" y="132"/>
                  </a:lnTo>
                  <a:lnTo>
                    <a:pt x="1455" y="134"/>
                  </a:lnTo>
                  <a:lnTo>
                    <a:pt x="1457" y="136"/>
                  </a:lnTo>
                  <a:lnTo>
                    <a:pt x="1460" y="136"/>
                  </a:lnTo>
                  <a:lnTo>
                    <a:pt x="1462" y="136"/>
                  </a:lnTo>
                  <a:lnTo>
                    <a:pt x="1462" y="132"/>
                  </a:lnTo>
                  <a:lnTo>
                    <a:pt x="1468" y="128"/>
                  </a:lnTo>
                  <a:lnTo>
                    <a:pt x="1472" y="124"/>
                  </a:lnTo>
                  <a:lnTo>
                    <a:pt x="1470" y="122"/>
                  </a:lnTo>
                  <a:lnTo>
                    <a:pt x="1464" y="124"/>
                  </a:lnTo>
                  <a:lnTo>
                    <a:pt x="1460" y="128"/>
                  </a:lnTo>
                  <a:lnTo>
                    <a:pt x="1455" y="122"/>
                  </a:lnTo>
                  <a:lnTo>
                    <a:pt x="1447" y="122"/>
                  </a:lnTo>
                  <a:lnTo>
                    <a:pt x="1447" y="119"/>
                  </a:lnTo>
                  <a:lnTo>
                    <a:pt x="1441" y="119"/>
                  </a:lnTo>
                  <a:lnTo>
                    <a:pt x="1441" y="119"/>
                  </a:lnTo>
                  <a:lnTo>
                    <a:pt x="1436" y="113"/>
                  </a:lnTo>
                  <a:lnTo>
                    <a:pt x="1432" y="111"/>
                  </a:lnTo>
                  <a:lnTo>
                    <a:pt x="1430" y="104"/>
                  </a:lnTo>
                  <a:lnTo>
                    <a:pt x="1430" y="100"/>
                  </a:lnTo>
                  <a:lnTo>
                    <a:pt x="1426" y="98"/>
                  </a:lnTo>
                  <a:lnTo>
                    <a:pt x="1426" y="94"/>
                  </a:lnTo>
                  <a:lnTo>
                    <a:pt x="1423" y="92"/>
                  </a:lnTo>
                  <a:lnTo>
                    <a:pt x="1423" y="88"/>
                  </a:lnTo>
                  <a:lnTo>
                    <a:pt x="1423" y="88"/>
                  </a:lnTo>
                  <a:lnTo>
                    <a:pt x="1423" y="85"/>
                  </a:lnTo>
                  <a:lnTo>
                    <a:pt x="1423" y="85"/>
                  </a:lnTo>
                  <a:lnTo>
                    <a:pt x="1426" y="85"/>
                  </a:lnTo>
                  <a:lnTo>
                    <a:pt x="1426" y="81"/>
                  </a:lnTo>
                  <a:lnTo>
                    <a:pt x="1423" y="81"/>
                  </a:lnTo>
                  <a:lnTo>
                    <a:pt x="1421" y="79"/>
                  </a:lnTo>
                  <a:lnTo>
                    <a:pt x="1413" y="79"/>
                  </a:lnTo>
                  <a:lnTo>
                    <a:pt x="1409" y="77"/>
                  </a:lnTo>
                  <a:lnTo>
                    <a:pt x="1406" y="73"/>
                  </a:lnTo>
                  <a:lnTo>
                    <a:pt x="1402" y="73"/>
                  </a:lnTo>
                  <a:lnTo>
                    <a:pt x="1398" y="73"/>
                  </a:lnTo>
                  <a:lnTo>
                    <a:pt x="1398" y="73"/>
                  </a:lnTo>
                  <a:lnTo>
                    <a:pt x="1402" y="79"/>
                  </a:lnTo>
                  <a:lnTo>
                    <a:pt x="1406" y="79"/>
                  </a:lnTo>
                  <a:lnTo>
                    <a:pt x="1408" y="83"/>
                  </a:lnTo>
                  <a:lnTo>
                    <a:pt x="1402" y="83"/>
                  </a:lnTo>
                  <a:lnTo>
                    <a:pt x="1402" y="81"/>
                  </a:lnTo>
                  <a:lnTo>
                    <a:pt x="1398" y="81"/>
                  </a:lnTo>
                  <a:lnTo>
                    <a:pt x="1398" y="85"/>
                  </a:lnTo>
                  <a:lnTo>
                    <a:pt x="1398" y="88"/>
                  </a:lnTo>
                  <a:lnTo>
                    <a:pt x="1398" y="92"/>
                  </a:lnTo>
                  <a:lnTo>
                    <a:pt x="1402" y="98"/>
                  </a:lnTo>
                  <a:lnTo>
                    <a:pt x="1406" y="102"/>
                  </a:lnTo>
                  <a:lnTo>
                    <a:pt x="1408" y="105"/>
                  </a:lnTo>
                  <a:lnTo>
                    <a:pt x="1406" y="107"/>
                  </a:lnTo>
                  <a:lnTo>
                    <a:pt x="1402" y="107"/>
                  </a:lnTo>
                  <a:lnTo>
                    <a:pt x="1398" y="102"/>
                  </a:lnTo>
                  <a:lnTo>
                    <a:pt x="1396" y="98"/>
                  </a:lnTo>
                  <a:lnTo>
                    <a:pt x="1394" y="94"/>
                  </a:lnTo>
                  <a:lnTo>
                    <a:pt x="1389" y="98"/>
                  </a:lnTo>
                  <a:lnTo>
                    <a:pt x="1387" y="98"/>
                  </a:lnTo>
                  <a:lnTo>
                    <a:pt x="1387" y="98"/>
                  </a:lnTo>
                  <a:lnTo>
                    <a:pt x="1383" y="98"/>
                  </a:lnTo>
                  <a:lnTo>
                    <a:pt x="1381" y="92"/>
                  </a:lnTo>
                  <a:lnTo>
                    <a:pt x="1381" y="88"/>
                  </a:lnTo>
                  <a:lnTo>
                    <a:pt x="1377" y="88"/>
                  </a:lnTo>
                  <a:lnTo>
                    <a:pt x="1374" y="85"/>
                  </a:lnTo>
                  <a:lnTo>
                    <a:pt x="1368" y="85"/>
                  </a:lnTo>
                  <a:lnTo>
                    <a:pt x="1366" y="83"/>
                  </a:lnTo>
                  <a:lnTo>
                    <a:pt x="1364" y="81"/>
                  </a:lnTo>
                  <a:lnTo>
                    <a:pt x="1361" y="81"/>
                  </a:lnTo>
                  <a:lnTo>
                    <a:pt x="1357" y="85"/>
                  </a:lnTo>
                  <a:lnTo>
                    <a:pt x="1359" y="88"/>
                  </a:lnTo>
                  <a:lnTo>
                    <a:pt x="1357" y="88"/>
                  </a:lnTo>
                  <a:lnTo>
                    <a:pt x="1357" y="94"/>
                  </a:lnTo>
                  <a:lnTo>
                    <a:pt x="1355" y="100"/>
                  </a:lnTo>
                  <a:lnTo>
                    <a:pt x="1351" y="104"/>
                  </a:lnTo>
                  <a:lnTo>
                    <a:pt x="1351" y="105"/>
                  </a:lnTo>
                  <a:lnTo>
                    <a:pt x="1355" y="113"/>
                  </a:lnTo>
                  <a:lnTo>
                    <a:pt x="1359" y="113"/>
                  </a:lnTo>
                  <a:lnTo>
                    <a:pt x="1361" y="115"/>
                  </a:lnTo>
                  <a:lnTo>
                    <a:pt x="1359" y="117"/>
                  </a:lnTo>
                  <a:lnTo>
                    <a:pt x="1357" y="117"/>
                  </a:lnTo>
                  <a:lnTo>
                    <a:pt x="1357" y="119"/>
                  </a:lnTo>
                  <a:lnTo>
                    <a:pt x="1361" y="119"/>
                  </a:lnTo>
                  <a:lnTo>
                    <a:pt x="1362" y="122"/>
                  </a:lnTo>
                  <a:lnTo>
                    <a:pt x="1362" y="128"/>
                  </a:lnTo>
                  <a:lnTo>
                    <a:pt x="1364" y="128"/>
                  </a:lnTo>
                  <a:lnTo>
                    <a:pt x="1368" y="130"/>
                  </a:lnTo>
                  <a:lnTo>
                    <a:pt x="1368" y="132"/>
                  </a:lnTo>
                  <a:lnTo>
                    <a:pt x="1368" y="134"/>
                  </a:lnTo>
                  <a:lnTo>
                    <a:pt x="1372" y="136"/>
                  </a:lnTo>
                  <a:lnTo>
                    <a:pt x="1372" y="134"/>
                  </a:lnTo>
                  <a:lnTo>
                    <a:pt x="1374" y="134"/>
                  </a:lnTo>
                  <a:lnTo>
                    <a:pt x="1377" y="136"/>
                  </a:lnTo>
                  <a:lnTo>
                    <a:pt x="1372" y="137"/>
                  </a:lnTo>
                  <a:lnTo>
                    <a:pt x="1372" y="137"/>
                  </a:lnTo>
                  <a:lnTo>
                    <a:pt x="1368" y="137"/>
                  </a:lnTo>
                  <a:lnTo>
                    <a:pt x="1368" y="139"/>
                  </a:lnTo>
                  <a:lnTo>
                    <a:pt x="1368" y="143"/>
                  </a:lnTo>
                  <a:lnTo>
                    <a:pt x="1381" y="149"/>
                  </a:lnTo>
                  <a:lnTo>
                    <a:pt x="1387" y="153"/>
                  </a:lnTo>
                  <a:lnTo>
                    <a:pt x="1393" y="153"/>
                  </a:lnTo>
                  <a:lnTo>
                    <a:pt x="1396" y="154"/>
                  </a:lnTo>
                  <a:lnTo>
                    <a:pt x="1398" y="156"/>
                  </a:lnTo>
                  <a:lnTo>
                    <a:pt x="1398" y="162"/>
                  </a:lnTo>
                  <a:lnTo>
                    <a:pt x="1402" y="164"/>
                  </a:lnTo>
                  <a:lnTo>
                    <a:pt x="1408" y="164"/>
                  </a:lnTo>
                  <a:lnTo>
                    <a:pt x="1413" y="162"/>
                  </a:lnTo>
                  <a:lnTo>
                    <a:pt x="1419" y="162"/>
                  </a:lnTo>
                  <a:lnTo>
                    <a:pt x="1423" y="164"/>
                  </a:lnTo>
                  <a:lnTo>
                    <a:pt x="1426" y="164"/>
                  </a:lnTo>
                  <a:lnTo>
                    <a:pt x="1426" y="162"/>
                  </a:lnTo>
                  <a:lnTo>
                    <a:pt x="1426" y="156"/>
                  </a:lnTo>
                  <a:lnTo>
                    <a:pt x="1426" y="153"/>
                  </a:lnTo>
                  <a:lnTo>
                    <a:pt x="1426" y="149"/>
                  </a:lnTo>
                  <a:lnTo>
                    <a:pt x="1426" y="149"/>
                  </a:lnTo>
                  <a:lnTo>
                    <a:pt x="1426" y="149"/>
                  </a:lnTo>
                  <a:lnTo>
                    <a:pt x="1426" y="149"/>
                  </a:lnTo>
                  <a:close/>
                  <a:moveTo>
                    <a:pt x="1426" y="77"/>
                  </a:moveTo>
                  <a:lnTo>
                    <a:pt x="1432" y="77"/>
                  </a:lnTo>
                  <a:lnTo>
                    <a:pt x="1438" y="77"/>
                  </a:lnTo>
                  <a:lnTo>
                    <a:pt x="1441" y="77"/>
                  </a:lnTo>
                  <a:lnTo>
                    <a:pt x="1453" y="83"/>
                  </a:lnTo>
                  <a:lnTo>
                    <a:pt x="1457" y="83"/>
                  </a:lnTo>
                  <a:lnTo>
                    <a:pt x="1460" y="83"/>
                  </a:lnTo>
                  <a:lnTo>
                    <a:pt x="1468" y="83"/>
                  </a:lnTo>
                  <a:lnTo>
                    <a:pt x="1477" y="85"/>
                  </a:lnTo>
                  <a:lnTo>
                    <a:pt x="1477" y="88"/>
                  </a:lnTo>
                  <a:lnTo>
                    <a:pt x="1473" y="88"/>
                  </a:lnTo>
                  <a:lnTo>
                    <a:pt x="1470" y="92"/>
                  </a:lnTo>
                  <a:lnTo>
                    <a:pt x="1470" y="94"/>
                  </a:lnTo>
                  <a:lnTo>
                    <a:pt x="1475" y="100"/>
                  </a:lnTo>
                  <a:lnTo>
                    <a:pt x="1479" y="100"/>
                  </a:lnTo>
                  <a:lnTo>
                    <a:pt x="1479" y="105"/>
                  </a:lnTo>
                  <a:lnTo>
                    <a:pt x="1481" y="107"/>
                  </a:lnTo>
                  <a:lnTo>
                    <a:pt x="1477" y="111"/>
                  </a:lnTo>
                  <a:lnTo>
                    <a:pt x="1477" y="117"/>
                  </a:lnTo>
                  <a:lnTo>
                    <a:pt x="1473" y="119"/>
                  </a:lnTo>
                  <a:lnTo>
                    <a:pt x="1472" y="122"/>
                  </a:lnTo>
                  <a:lnTo>
                    <a:pt x="1468" y="119"/>
                  </a:lnTo>
                  <a:lnTo>
                    <a:pt x="1466" y="119"/>
                  </a:lnTo>
                  <a:lnTo>
                    <a:pt x="1462" y="122"/>
                  </a:lnTo>
                  <a:lnTo>
                    <a:pt x="1460" y="122"/>
                  </a:lnTo>
                  <a:lnTo>
                    <a:pt x="1451" y="119"/>
                  </a:lnTo>
                  <a:lnTo>
                    <a:pt x="1447" y="115"/>
                  </a:lnTo>
                  <a:lnTo>
                    <a:pt x="1438" y="107"/>
                  </a:lnTo>
                  <a:lnTo>
                    <a:pt x="1436" y="102"/>
                  </a:lnTo>
                  <a:lnTo>
                    <a:pt x="1438" y="98"/>
                  </a:lnTo>
                  <a:lnTo>
                    <a:pt x="1438" y="94"/>
                  </a:lnTo>
                  <a:lnTo>
                    <a:pt x="1440" y="94"/>
                  </a:lnTo>
                  <a:lnTo>
                    <a:pt x="1438" y="88"/>
                  </a:lnTo>
                  <a:lnTo>
                    <a:pt x="1436" y="88"/>
                  </a:lnTo>
                  <a:lnTo>
                    <a:pt x="1436" y="85"/>
                  </a:lnTo>
                  <a:lnTo>
                    <a:pt x="1432" y="85"/>
                  </a:lnTo>
                  <a:lnTo>
                    <a:pt x="1430" y="81"/>
                  </a:lnTo>
                  <a:lnTo>
                    <a:pt x="1426" y="77"/>
                  </a:lnTo>
                  <a:lnTo>
                    <a:pt x="1426" y="77"/>
                  </a:lnTo>
                  <a:lnTo>
                    <a:pt x="1426" y="77"/>
                  </a:lnTo>
                  <a:lnTo>
                    <a:pt x="1426" y="77"/>
                  </a:lnTo>
                  <a:close/>
                  <a:moveTo>
                    <a:pt x="813" y="173"/>
                  </a:moveTo>
                  <a:lnTo>
                    <a:pt x="813" y="173"/>
                  </a:lnTo>
                  <a:lnTo>
                    <a:pt x="817" y="171"/>
                  </a:lnTo>
                  <a:lnTo>
                    <a:pt x="820" y="168"/>
                  </a:lnTo>
                  <a:lnTo>
                    <a:pt x="826" y="162"/>
                  </a:lnTo>
                  <a:lnTo>
                    <a:pt x="828" y="162"/>
                  </a:lnTo>
                  <a:lnTo>
                    <a:pt x="826" y="156"/>
                  </a:lnTo>
                  <a:lnTo>
                    <a:pt x="828" y="154"/>
                  </a:lnTo>
                  <a:lnTo>
                    <a:pt x="835" y="149"/>
                  </a:lnTo>
                  <a:lnTo>
                    <a:pt x="837" y="149"/>
                  </a:lnTo>
                  <a:lnTo>
                    <a:pt x="841" y="149"/>
                  </a:lnTo>
                  <a:lnTo>
                    <a:pt x="843" y="149"/>
                  </a:lnTo>
                  <a:lnTo>
                    <a:pt x="847" y="147"/>
                  </a:lnTo>
                  <a:lnTo>
                    <a:pt x="847" y="143"/>
                  </a:lnTo>
                  <a:lnTo>
                    <a:pt x="850" y="143"/>
                  </a:lnTo>
                  <a:lnTo>
                    <a:pt x="856" y="137"/>
                  </a:lnTo>
                  <a:lnTo>
                    <a:pt x="858" y="134"/>
                  </a:lnTo>
                  <a:lnTo>
                    <a:pt x="860" y="132"/>
                  </a:lnTo>
                  <a:lnTo>
                    <a:pt x="864" y="124"/>
                  </a:lnTo>
                  <a:lnTo>
                    <a:pt x="862" y="122"/>
                  </a:lnTo>
                  <a:lnTo>
                    <a:pt x="858" y="117"/>
                  </a:lnTo>
                  <a:lnTo>
                    <a:pt x="856" y="111"/>
                  </a:lnTo>
                  <a:lnTo>
                    <a:pt x="854" y="107"/>
                  </a:lnTo>
                  <a:lnTo>
                    <a:pt x="850" y="104"/>
                  </a:lnTo>
                  <a:lnTo>
                    <a:pt x="847" y="104"/>
                  </a:lnTo>
                  <a:lnTo>
                    <a:pt x="843" y="104"/>
                  </a:lnTo>
                  <a:lnTo>
                    <a:pt x="841" y="102"/>
                  </a:lnTo>
                  <a:lnTo>
                    <a:pt x="837" y="102"/>
                  </a:lnTo>
                  <a:lnTo>
                    <a:pt x="832" y="98"/>
                  </a:lnTo>
                  <a:lnTo>
                    <a:pt x="830" y="98"/>
                  </a:lnTo>
                  <a:lnTo>
                    <a:pt x="830" y="98"/>
                  </a:lnTo>
                  <a:lnTo>
                    <a:pt x="826" y="98"/>
                  </a:lnTo>
                  <a:lnTo>
                    <a:pt x="826" y="94"/>
                  </a:lnTo>
                  <a:lnTo>
                    <a:pt x="822" y="92"/>
                  </a:lnTo>
                  <a:lnTo>
                    <a:pt x="820" y="92"/>
                  </a:lnTo>
                  <a:lnTo>
                    <a:pt x="818" y="94"/>
                  </a:lnTo>
                  <a:lnTo>
                    <a:pt x="817" y="94"/>
                  </a:lnTo>
                  <a:lnTo>
                    <a:pt x="813" y="88"/>
                  </a:lnTo>
                  <a:lnTo>
                    <a:pt x="813" y="88"/>
                  </a:lnTo>
                  <a:lnTo>
                    <a:pt x="813" y="88"/>
                  </a:lnTo>
                  <a:lnTo>
                    <a:pt x="817" y="94"/>
                  </a:lnTo>
                  <a:lnTo>
                    <a:pt x="817" y="94"/>
                  </a:lnTo>
                  <a:lnTo>
                    <a:pt x="813" y="98"/>
                  </a:lnTo>
                  <a:lnTo>
                    <a:pt x="813" y="100"/>
                  </a:lnTo>
                  <a:lnTo>
                    <a:pt x="811" y="100"/>
                  </a:lnTo>
                  <a:lnTo>
                    <a:pt x="811" y="98"/>
                  </a:lnTo>
                  <a:lnTo>
                    <a:pt x="809" y="85"/>
                  </a:lnTo>
                  <a:lnTo>
                    <a:pt x="805" y="85"/>
                  </a:lnTo>
                  <a:lnTo>
                    <a:pt x="801" y="85"/>
                  </a:lnTo>
                  <a:lnTo>
                    <a:pt x="796" y="81"/>
                  </a:lnTo>
                  <a:lnTo>
                    <a:pt x="794" y="81"/>
                  </a:lnTo>
                  <a:lnTo>
                    <a:pt x="792" y="85"/>
                  </a:lnTo>
                  <a:lnTo>
                    <a:pt x="792" y="88"/>
                  </a:lnTo>
                  <a:lnTo>
                    <a:pt x="796" y="88"/>
                  </a:lnTo>
                  <a:lnTo>
                    <a:pt x="800" y="94"/>
                  </a:lnTo>
                  <a:lnTo>
                    <a:pt x="798" y="94"/>
                  </a:lnTo>
                  <a:lnTo>
                    <a:pt x="794" y="94"/>
                  </a:lnTo>
                  <a:lnTo>
                    <a:pt x="792" y="94"/>
                  </a:lnTo>
                  <a:lnTo>
                    <a:pt x="792" y="92"/>
                  </a:lnTo>
                  <a:lnTo>
                    <a:pt x="788" y="92"/>
                  </a:lnTo>
                  <a:lnTo>
                    <a:pt x="792" y="94"/>
                  </a:lnTo>
                  <a:lnTo>
                    <a:pt x="792" y="98"/>
                  </a:lnTo>
                  <a:lnTo>
                    <a:pt x="792" y="98"/>
                  </a:lnTo>
                  <a:lnTo>
                    <a:pt x="792" y="102"/>
                  </a:lnTo>
                  <a:lnTo>
                    <a:pt x="792" y="104"/>
                  </a:lnTo>
                  <a:lnTo>
                    <a:pt x="794" y="104"/>
                  </a:lnTo>
                  <a:lnTo>
                    <a:pt x="796" y="105"/>
                  </a:lnTo>
                  <a:lnTo>
                    <a:pt x="796" y="109"/>
                  </a:lnTo>
                  <a:lnTo>
                    <a:pt x="800" y="119"/>
                  </a:lnTo>
                  <a:lnTo>
                    <a:pt x="803" y="122"/>
                  </a:lnTo>
                  <a:lnTo>
                    <a:pt x="805" y="122"/>
                  </a:lnTo>
                  <a:lnTo>
                    <a:pt x="803" y="122"/>
                  </a:lnTo>
                  <a:lnTo>
                    <a:pt x="800" y="124"/>
                  </a:lnTo>
                  <a:lnTo>
                    <a:pt x="798" y="130"/>
                  </a:lnTo>
                  <a:lnTo>
                    <a:pt x="801" y="137"/>
                  </a:lnTo>
                  <a:lnTo>
                    <a:pt x="803" y="143"/>
                  </a:lnTo>
                  <a:lnTo>
                    <a:pt x="803" y="147"/>
                  </a:lnTo>
                  <a:lnTo>
                    <a:pt x="805" y="149"/>
                  </a:lnTo>
                  <a:lnTo>
                    <a:pt x="805" y="153"/>
                  </a:lnTo>
                  <a:lnTo>
                    <a:pt x="803" y="153"/>
                  </a:lnTo>
                  <a:lnTo>
                    <a:pt x="807" y="158"/>
                  </a:lnTo>
                  <a:lnTo>
                    <a:pt x="809" y="164"/>
                  </a:lnTo>
                  <a:lnTo>
                    <a:pt x="813" y="168"/>
                  </a:lnTo>
                  <a:lnTo>
                    <a:pt x="811" y="171"/>
                  </a:lnTo>
                  <a:lnTo>
                    <a:pt x="813" y="173"/>
                  </a:lnTo>
                  <a:lnTo>
                    <a:pt x="813" y="173"/>
                  </a:lnTo>
                  <a:lnTo>
                    <a:pt x="813" y="173"/>
                  </a:lnTo>
                  <a:lnTo>
                    <a:pt x="813" y="173"/>
                  </a:lnTo>
                  <a:close/>
                  <a:moveTo>
                    <a:pt x="884" y="132"/>
                  </a:moveTo>
                  <a:lnTo>
                    <a:pt x="888" y="130"/>
                  </a:lnTo>
                  <a:lnTo>
                    <a:pt x="888" y="128"/>
                  </a:lnTo>
                  <a:lnTo>
                    <a:pt x="886" y="128"/>
                  </a:lnTo>
                  <a:lnTo>
                    <a:pt x="888" y="124"/>
                  </a:lnTo>
                  <a:lnTo>
                    <a:pt x="890" y="124"/>
                  </a:lnTo>
                  <a:lnTo>
                    <a:pt x="888" y="122"/>
                  </a:lnTo>
                  <a:lnTo>
                    <a:pt x="886" y="122"/>
                  </a:lnTo>
                  <a:lnTo>
                    <a:pt x="882" y="128"/>
                  </a:lnTo>
                  <a:lnTo>
                    <a:pt x="884" y="128"/>
                  </a:lnTo>
                  <a:lnTo>
                    <a:pt x="881" y="128"/>
                  </a:lnTo>
                  <a:lnTo>
                    <a:pt x="881" y="132"/>
                  </a:lnTo>
                  <a:lnTo>
                    <a:pt x="882" y="134"/>
                  </a:lnTo>
                  <a:lnTo>
                    <a:pt x="884" y="132"/>
                  </a:lnTo>
                  <a:lnTo>
                    <a:pt x="884" y="132"/>
                  </a:lnTo>
                  <a:lnTo>
                    <a:pt x="884" y="132"/>
                  </a:lnTo>
                  <a:lnTo>
                    <a:pt x="884" y="132"/>
                  </a:lnTo>
                  <a:close/>
                  <a:moveTo>
                    <a:pt x="890" y="132"/>
                  </a:moveTo>
                  <a:lnTo>
                    <a:pt x="892" y="130"/>
                  </a:lnTo>
                  <a:lnTo>
                    <a:pt x="896" y="130"/>
                  </a:lnTo>
                  <a:lnTo>
                    <a:pt x="899" y="128"/>
                  </a:lnTo>
                  <a:lnTo>
                    <a:pt x="901" y="128"/>
                  </a:lnTo>
                  <a:lnTo>
                    <a:pt x="901" y="128"/>
                  </a:lnTo>
                  <a:lnTo>
                    <a:pt x="905" y="128"/>
                  </a:lnTo>
                  <a:lnTo>
                    <a:pt x="905" y="130"/>
                  </a:lnTo>
                  <a:lnTo>
                    <a:pt x="905" y="134"/>
                  </a:lnTo>
                  <a:lnTo>
                    <a:pt x="901" y="132"/>
                  </a:lnTo>
                  <a:lnTo>
                    <a:pt x="901" y="134"/>
                  </a:lnTo>
                  <a:lnTo>
                    <a:pt x="896" y="136"/>
                  </a:lnTo>
                  <a:lnTo>
                    <a:pt x="890" y="136"/>
                  </a:lnTo>
                  <a:lnTo>
                    <a:pt x="890" y="132"/>
                  </a:lnTo>
                  <a:lnTo>
                    <a:pt x="890" y="132"/>
                  </a:lnTo>
                  <a:lnTo>
                    <a:pt x="890" y="132"/>
                  </a:lnTo>
                  <a:lnTo>
                    <a:pt x="890" y="132"/>
                  </a:lnTo>
                  <a:close/>
                  <a:moveTo>
                    <a:pt x="926" y="168"/>
                  </a:moveTo>
                  <a:lnTo>
                    <a:pt x="926" y="171"/>
                  </a:lnTo>
                  <a:lnTo>
                    <a:pt x="929" y="173"/>
                  </a:lnTo>
                  <a:lnTo>
                    <a:pt x="929" y="177"/>
                  </a:lnTo>
                  <a:lnTo>
                    <a:pt x="929" y="179"/>
                  </a:lnTo>
                  <a:lnTo>
                    <a:pt x="933" y="177"/>
                  </a:lnTo>
                  <a:lnTo>
                    <a:pt x="933" y="173"/>
                  </a:lnTo>
                  <a:lnTo>
                    <a:pt x="931" y="168"/>
                  </a:lnTo>
                  <a:lnTo>
                    <a:pt x="929" y="168"/>
                  </a:lnTo>
                  <a:lnTo>
                    <a:pt x="926" y="168"/>
                  </a:lnTo>
                  <a:lnTo>
                    <a:pt x="926" y="168"/>
                  </a:lnTo>
                  <a:lnTo>
                    <a:pt x="926" y="168"/>
                  </a:lnTo>
                  <a:lnTo>
                    <a:pt x="926" y="168"/>
                  </a:lnTo>
                  <a:close/>
                  <a:moveTo>
                    <a:pt x="1270" y="281"/>
                  </a:moveTo>
                  <a:lnTo>
                    <a:pt x="1272" y="281"/>
                  </a:lnTo>
                  <a:lnTo>
                    <a:pt x="1272" y="277"/>
                  </a:lnTo>
                  <a:lnTo>
                    <a:pt x="1272" y="271"/>
                  </a:lnTo>
                  <a:lnTo>
                    <a:pt x="1268" y="273"/>
                  </a:lnTo>
                  <a:lnTo>
                    <a:pt x="1268" y="277"/>
                  </a:lnTo>
                  <a:lnTo>
                    <a:pt x="1268" y="281"/>
                  </a:lnTo>
                  <a:lnTo>
                    <a:pt x="1268" y="281"/>
                  </a:lnTo>
                  <a:lnTo>
                    <a:pt x="1270" y="281"/>
                  </a:lnTo>
                  <a:lnTo>
                    <a:pt x="1270" y="281"/>
                  </a:lnTo>
                  <a:lnTo>
                    <a:pt x="1270" y="281"/>
                  </a:lnTo>
                  <a:lnTo>
                    <a:pt x="1270" y="281"/>
                  </a:lnTo>
                  <a:close/>
                  <a:moveTo>
                    <a:pt x="1225" y="331"/>
                  </a:moveTo>
                  <a:lnTo>
                    <a:pt x="1231" y="331"/>
                  </a:lnTo>
                  <a:lnTo>
                    <a:pt x="1231" y="331"/>
                  </a:lnTo>
                  <a:lnTo>
                    <a:pt x="1231" y="331"/>
                  </a:lnTo>
                  <a:lnTo>
                    <a:pt x="1231" y="330"/>
                  </a:lnTo>
                  <a:lnTo>
                    <a:pt x="1231" y="328"/>
                  </a:lnTo>
                  <a:lnTo>
                    <a:pt x="1227" y="324"/>
                  </a:lnTo>
                  <a:lnTo>
                    <a:pt x="1223" y="324"/>
                  </a:lnTo>
                  <a:lnTo>
                    <a:pt x="1221" y="326"/>
                  </a:lnTo>
                  <a:lnTo>
                    <a:pt x="1223" y="328"/>
                  </a:lnTo>
                  <a:lnTo>
                    <a:pt x="1225" y="330"/>
                  </a:lnTo>
                  <a:lnTo>
                    <a:pt x="1225" y="330"/>
                  </a:lnTo>
                  <a:lnTo>
                    <a:pt x="1225" y="331"/>
                  </a:lnTo>
                  <a:lnTo>
                    <a:pt x="1225" y="331"/>
                  </a:lnTo>
                  <a:lnTo>
                    <a:pt x="1225" y="331"/>
                  </a:lnTo>
                  <a:lnTo>
                    <a:pt x="1225" y="331"/>
                  </a:lnTo>
                  <a:close/>
                  <a:moveTo>
                    <a:pt x="1097" y="311"/>
                  </a:moveTo>
                  <a:lnTo>
                    <a:pt x="1101" y="311"/>
                  </a:lnTo>
                  <a:lnTo>
                    <a:pt x="1103" y="311"/>
                  </a:lnTo>
                  <a:lnTo>
                    <a:pt x="1105" y="311"/>
                  </a:lnTo>
                  <a:lnTo>
                    <a:pt x="1106" y="305"/>
                  </a:lnTo>
                  <a:lnTo>
                    <a:pt x="1108" y="305"/>
                  </a:lnTo>
                  <a:lnTo>
                    <a:pt x="1108" y="301"/>
                  </a:lnTo>
                  <a:lnTo>
                    <a:pt x="1106" y="301"/>
                  </a:lnTo>
                  <a:lnTo>
                    <a:pt x="1105" y="294"/>
                  </a:lnTo>
                  <a:lnTo>
                    <a:pt x="1103" y="292"/>
                  </a:lnTo>
                  <a:lnTo>
                    <a:pt x="1101" y="288"/>
                  </a:lnTo>
                  <a:lnTo>
                    <a:pt x="1101" y="286"/>
                  </a:lnTo>
                  <a:lnTo>
                    <a:pt x="1099" y="284"/>
                  </a:lnTo>
                  <a:lnTo>
                    <a:pt x="1093" y="286"/>
                  </a:lnTo>
                  <a:lnTo>
                    <a:pt x="1086" y="292"/>
                  </a:lnTo>
                  <a:lnTo>
                    <a:pt x="1082" y="292"/>
                  </a:lnTo>
                  <a:lnTo>
                    <a:pt x="1082" y="294"/>
                  </a:lnTo>
                  <a:lnTo>
                    <a:pt x="1082" y="298"/>
                  </a:lnTo>
                  <a:lnTo>
                    <a:pt x="1086" y="299"/>
                  </a:lnTo>
                  <a:lnTo>
                    <a:pt x="1086" y="301"/>
                  </a:lnTo>
                  <a:lnTo>
                    <a:pt x="1084" y="305"/>
                  </a:lnTo>
                  <a:lnTo>
                    <a:pt x="1080" y="301"/>
                  </a:lnTo>
                  <a:lnTo>
                    <a:pt x="1080" y="305"/>
                  </a:lnTo>
                  <a:lnTo>
                    <a:pt x="1082" y="305"/>
                  </a:lnTo>
                  <a:lnTo>
                    <a:pt x="1088" y="305"/>
                  </a:lnTo>
                  <a:lnTo>
                    <a:pt x="1097" y="311"/>
                  </a:lnTo>
                  <a:lnTo>
                    <a:pt x="1097" y="311"/>
                  </a:lnTo>
                  <a:lnTo>
                    <a:pt x="1097" y="311"/>
                  </a:lnTo>
                  <a:lnTo>
                    <a:pt x="1097" y="311"/>
                  </a:lnTo>
                  <a:close/>
                  <a:moveTo>
                    <a:pt x="1472" y="196"/>
                  </a:moveTo>
                  <a:lnTo>
                    <a:pt x="1473" y="194"/>
                  </a:lnTo>
                  <a:lnTo>
                    <a:pt x="1473" y="194"/>
                  </a:lnTo>
                  <a:lnTo>
                    <a:pt x="1475" y="190"/>
                  </a:lnTo>
                  <a:lnTo>
                    <a:pt x="1477" y="186"/>
                  </a:lnTo>
                  <a:lnTo>
                    <a:pt x="1475" y="183"/>
                  </a:lnTo>
                  <a:lnTo>
                    <a:pt x="1472" y="179"/>
                  </a:lnTo>
                  <a:lnTo>
                    <a:pt x="1470" y="173"/>
                  </a:lnTo>
                  <a:lnTo>
                    <a:pt x="1466" y="173"/>
                  </a:lnTo>
                  <a:lnTo>
                    <a:pt x="1462" y="173"/>
                  </a:lnTo>
                  <a:lnTo>
                    <a:pt x="1460" y="179"/>
                  </a:lnTo>
                  <a:lnTo>
                    <a:pt x="1460" y="179"/>
                  </a:lnTo>
                  <a:lnTo>
                    <a:pt x="1460" y="186"/>
                  </a:lnTo>
                  <a:lnTo>
                    <a:pt x="1460" y="186"/>
                  </a:lnTo>
                  <a:lnTo>
                    <a:pt x="1462" y="188"/>
                  </a:lnTo>
                  <a:lnTo>
                    <a:pt x="1466" y="190"/>
                  </a:lnTo>
                  <a:lnTo>
                    <a:pt x="1468" y="194"/>
                  </a:lnTo>
                  <a:lnTo>
                    <a:pt x="1472" y="196"/>
                  </a:lnTo>
                  <a:lnTo>
                    <a:pt x="1472" y="196"/>
                  </a:lnTo>
                  <a:lnTo>
                    <a:pt x="1472" y="196"/>
                  </a:lnTo>
                  <a:lnTo>
                    <a:pt x="1472" y="196"/>
                  </a:lnTo>
                  <a:close/>
                  <a:moveTo>
                    <a:pt x="1481" y="224"/>
                  </a:moveTo>
                  <a:lnTo>
                    <a:pt x="1485" y="222"/>
                  </a:lnTo>
                  <a:lnTo>
                    <a:pt x="1487" y="218"/>
                  </a:lnTo>
                  <a:lnTo>
                    <a:pt x="1494" y="217"/>
                  </a:lnTo>
                  <a:lnTo>
                    <a:pt x="1500" y="217"/>
                  </a:lnTo>
                  <a:lnTo>
                    <a:pt x="1505" y="217"/>
                  </a:lnTo>
                  <a:lnTo>
                    <a:pt x="1511" y="217"/>
                  </a:lnTo>
                  <a:lnTo>
                    <a:pt x="1521" y="217"/>
                  </a:lnTo>
                  <a:lnTo>
                    <a:pt x="1524" y="213"/>
                  </a:lnTo>
                  <a:lnTo>
                    <a:pt x="1530" y="213"/>
                  </a:lnTo>
                  <a:lnTo>
                    <a:pt x="1534" y="213"/>
                  </a:lnTo>
                  <a:lnTo>
                    <a:pt x="1536" y="211"/>
                  </a:lnTo>
                  <a:lnTo>
                    <a:pt x="1534" y="207"/>
                  </a:lnTo>
                  <a:lnTo>
                    <a:pt x="1532" y="205"/>
                  </a:lnTo>
                  <a:lnTo>
                    <a:pt x="1528" y="198"/>
                  </a:lnTo>
                  <a:lnTo>
                    <a:pt x="1519" y="192"/>
                  </a:lnTo>
                  <a:lnTo>
                    <a:pt x="1515" y="192"/>
                  </a:lnTo>
                  <a:lnTo>
                    <a:pt x="1511" y="190"/>
                  </a:lnTo>
                  <a:lnTo>
                    <a:pt x="1505" y="186"/>
                  </a:lnTo>
                  <a:lnTo>
                    <a:pt x="1504" y="186"/>
                  </a:lnTo>
                  <a:lnTo>
                    <a:pt x="1502" y="188"/>
                  </a:lnTo>
                  <a:lnTo>
                    <a:pt x="1496" y="186"/>
                  </a:lnTo>
                  <a:lnTo>
                    <a:pt x="1492" y="186"/>
                  </a:lnTo>
                  <a:lnTo>
                    <a:pt x="1490" y="190"/>
                  </a:lnTo>
                  <a:lnTo>
                    <a:pt x="1485" y="196"/>
                  </a:lnTo>
                  <a:lnTo>
                    <a:pt x="1487" y="201"/>
                  </a:lnTo>
                  <a:lnTo>
                    <a:pt x="1487" y="207"/>
                  </a:lnTo>
                  <a:lnTo>
                    <a:pt x="1485" y="217"/>
                  </a:lnTo>
                  <a:lnTo>
                    <a:pt x="1481" y="220"/>
                  </a:lnTo>
                  <a:lnTo>
                    <a:pt x="1481" y="224"/>
                  </a:lnTo>
                  <a:lnTo>
                    <a:pt x="1481" y="224"/>
                  </a:lnTo>
                  <a:lnTo>
                    <a:pt x="1481" y="224"/>
                  </a:lnTo>
                  <a:lnTo>
                    <a:pt x="1481" y="224"/>
                  </a:lnTo>
                  <a:lnTo>
                    <a:pt x="1481" y="224"/>
                  </a:lnTo>
                  <a:close/>
                  <a:moveTo>
                    <a:pt x="1396" y="205"/>
                  </a:moveTo>
                  <a:lnTo>
                    <a:pt x="1396" y="207"/>
                  </a:lnTo>
                  <a:lnTo>
                    <a:pt x="1398" y="213"/>
                  </a:lnTo>
                  <a:lnTo>
                    <a:pt x="1402" y="213"/>
                  </a:lnTo>
                  <a:lnTo>
                    <a:pt x="1406" y="213"/>
                  </a:lnTo>
                  <a:lnTo>
                    <a:pt x="1409" y="217"/>
                  </a:lnTo>
                  <a:lnTo>
                    <a:pt x="1413" y="218"/>
                  </a:lnTo>
                  <a:lnTo>
                    <a:pt x="1415" y="218"/>
                  </a:lnTo>
                  <a:lnTo>
                    <a:pt x="1417" y="217"/>
                  </a:lnTo>
                  <a:lnTo>
                    <a:pt x="1411" y="211"/>
                  </a:lnTo>
                  <a:lnTo>
                    <a:pt x="1408" y="211"/>
                  </a:lnTo>
                  <a:lnTo>
                    <a:pt x="1402" y="207"/>
                  </a:lnTo>
                  <a:lnTo>
                    <a:pt x="1398" y="205"/>
                  </a:lnTo>
                  <a:lnTo>
                    <a:pt x="1396" y="205"/>
                  </a:lnTo>
                  <a:lnTo>
                    <a:pt x="1396" y="205"/>
                  </a:lnTo>
                  <a:lnTo>
                    <a:pt x="1396" y="205"/>
                  </a:lnTo>
                  <a:lnTo>
                    <a:pt x="1396" y="205"/>
                  </a:lnTo>
                  <a:lnTo>
                    <a:pt x="1396" y="205"/>
                  </a:lnTo>
                  <a:close/>
                  <a:moveTo>
                    <a:pt x="1511" y="324"/>
                  </a:moveTo>
                  <a:lnTo>
                    <a:pt x="1515" y="328"/>
                  </a:lnTo>
                  <a:lnTo>
                    <a:pt x="1519" y="330"/>
                  </a:lnTo>
                  <a:lnTo>
                    <a:pt x="1519" y="328"/>
                  </a:lnTo>
                  <a:lnTo>
                    <a:pt x="1524" y="326"/>
                  </a:lnTo>
                  <a:lnTo>
                    <a:pt x="1524" y="324"/>
                  </a:lnTo>
                  <a:lnTo>
                    <a:pt x="1524" y="320"/>
                  </a:lnTo>
                  <a:lnTo>
                    <a:pt x="1522" y="316"/>
                  </a:lnTo>
                  <a:lnTo>
                    <a:pt x="1521" y="316"/>
                  </a:lnTo>
                  <a:lnTo>
                    <a:pt x="1521" y="320"/>
                  </a:lnTo>
                  <a:lnTo>
                    <a:pt x="1517" y="324"/>
                  </a:lnTo>
                  <a:lnTo>
                    <a:pt x="1517" y="324"/>
                  </a:lnTo>
                  <a:lnTo>
                    <a:pt x="1511" y="324"/>
                  </a:lnTo>
                  <a:lnTo>
                    <a:pt x="1511" y="324"/>
                  </a:lnTo>
                  <a:lnTo>
                    <a:pt x="1511" y="324"/>
                  </a:lnTo>
                  <a:lnTo>
                    <a:pt x="1511" y="324"/>
                  </a:lnTo>
                  <a:close/>
                  <a:moveTo>
                    <a:pt x="1923" y="292"/>
                  </a:moveTo>
                  <a:lnTo>
                    <a:pt x="1927" y="290"/>
                  </a:lnTo>
                  <a:lnTo>
                    <a:pt x="1927" y="288"/>
                  </a:lnTo>
                  <a:lnTo>
                    <a:pt x="1923" y="284"/>
                  </a:lnTo>
                  <a:lnTo>
                    <a:pt x="1923" y="284"/>
                  </a:lnTo>
                  <a:lnTo>
                    <a:pt x="1923" y="286"/>
                  </a:lnTo>
                  <a:lnTo>
                    <a:pt x="1923" y="292"/>
                  </a:lnTo>
                  <a:lnTo>
                    <a:pt x="1923" y="292"/>
                  </a:lnTo>
                  <a:lnTo>
                    <a:pt x="1923" y="292"/>
                  </a:lnTo>
                  <a:lnTo>
                    <a:pt x="1923" y="292"/>
                  </a:lnTo>
                  <a:close/>
                  <a:moveTo>
                    <a:pt x="1921" y="294"/>
                  </a:moveTo>
                  <a:lnTo>
                    <a:pt x="1923" y="296"/>
                  </a:lnTo>
                  <a:lnTo>
                    <a:pt x="1923" y="292"/>
                  </a:lnTo>
                  <a:lnTo>
                    <a:pt x="1921" y="288"/>
                  </a:lnTo>
                  <a:lnTo>
                    <a:pt x="1920" y="288"/>
                  </a:lnTo>
                  <a:lnTo>
                    <a:pt x="1920" y="290"/>
                  </a:lnTo>
                  <a:lnTo>
                    <a:pt x="1921" y="294"/>
                  </a:lnTo>
                  <a:lnTo>
                    <a:pt x="1921" y="294"/>
                  </a:lnTo>
                  <a:lnTo>
                    <a:pt x="1921" y="294"/>
                  </a:lnTo>
                  <a:lnTo>
                    <a:pt x="1921" y="294"/>
                  </a:lnTo>
                  <a:close/>
                  <a:moveTo>
                    <a:pt x="1920" y="296"/>
                  </a:moveTo>
                  <a:lnTo>
                    <a:pt x="1921" y="301"/>
                  </a:lnTo>
                  <a:lnTo>
                    <a:pt x="1923" y="305"/>
                  </a:lnTo>
                  <a:lnTo>
                    <a:pt x="1923" y="301"/>
                  </a:lnTo>
                  <a:lnTo>
                    <a:pt x="1923" y="298"/>
                  </a:lnTo>
                  <a:lnTo>
                    <a:pt x="1920" y="294"/>
                  </a:lnTo>
                  <a:lnTo>
                    <a:pt x="1918" y="294"/>
                  </a:lnTo>
                  <a:lnTo>
                    <a:pt x="1920" y="296"/>
                  </a:lnTo>
                  <a:lnTo>
                    <a:pt x="1920" y="296"/>
                  </a:lnTo>
                  <a:lnTo>
                    <a:pt x="1920" y="296"/>
                  </a:lnTo>
                  <a:lnTo>
                    <a:pt x="1920" y="296"/>
                  </a:lnTo>
                  <a:close/>
                  <a:moveTo>
                    <a:pt x="1908" y="294"/>
                  </a:moveTo>
                  <a:lnTo>
                    <a:pt x="1910" y="298"/>
                  </a:lnTo>
                  <a:lnTo>
                    <a:pt x="1914" y="299"/>
                  </a:lnTo>
                  <a:lnTo>
                    <a:pt x="1914" y="298"/>
                  </a:lnTo>
                  <a:lnTo>
                    <a:pt x="1916" y="298"/>
                  </a:lnTo>
                  <a:lnTo>
                    <a:pt x="1914" y="292"/>
                  </a:lnTo>
                  <a:lnTo>
                    <a:pt x="1912" y="292"/>
                  </a:lnTo>
                  <a:lnTo>
                    <a:pt x="1912" y="292"/>
                  </a:lnTo>
                  <a:lnTo>
                    <a:pt x="1908" y="294"/>
                  </a:lnTo>
                  <a:lnTo>
                    <a:pt x="1908" y="294"/>
                  </a:lnTo>
                  <a:lnTo>
                    <a:pt x="1908" y="294"/>
                  </a:lnTo>
                  <a:lnTo>
                    <a:pt x="1908" y="294"/>
                  </a:lnTo>
                  <a:close/>
                  <a:moveTo>
                    <a:pt x="2012" y="250"/>
                  </a:moveTo>
                  <a:lnTo>
                    <a:pt x="2016" y="252"/>
                  </a:lnTo>
                  <a:lnTo>
                    <a:pt x="2019" y="252"/>
                  </a:lnTo>
                  <a:lnTo>
                    <a:pt x="2021" y="247"/>
                  </a:lnTo>
                  <a:lnTo>
                    <a:pt x="2021" y="243"/>
                  </a:lnTo>
                  <a:lnTo>
                    <a:pt x="2017" y="241"/>
                  </a:lnTo>
                  <a:lnTo>
                    <a:pt x="2019" y="241"/>
                  </a:lnTo>
                  <a:lnTo>
                    <a:pt x="2017" y="237"/>
                  </a:lnTo>
                  <a:lnTo>
                    <a:pt x="2016" y="234"/>
                  </a:lnTo>
                  <a:lnTo>
                    <a:pt x="2016" y="235"/>
                  </a:lnTo>
                  <a:lnTo>
                    <a:pt x="2012" y="235"/>
                  </a:lnTo>
                  <a:lnTo>
                    <a:pt x="2008" y="234"/>
                  </a:lnTo>
                  <a:lnTo>
                    <a:pt x="2004" y="234"/>
                  </a:lnTo>
                  <a:lnTo>
                    <a:pt x="2004" y="235"/>
                  </a:lnTo>
                  <a:lnTo>
                    <a:pt x="2001" y="235"/>
                  </a:lnTo>
                  <a:lnTo>
                    <a:pt x="2002" y="237"/>
                  </a:lnTo>
                  <a:lnTo>
                    <a:pt x="1999" y="237"/>
                  </a:lnTo>
                  <a:lnTo>
                    <a:pt x="1997" y="241"/>
                  </a:lnTo>
                  <a:lnTo>
                    <a:pt x="1999" y="247"/>
                  </a:lnTo>
                  <a:lnTo>
                    <a:pt x="1999" y="247"/>
                  </a:lnTo>
                  <a:lnTo>
                    <a:pt x="2002" y="247"/>
                  </a:lnTo>
                  <a:lnTo>
                    <a:pt x="2008" y="247"/>
                  </a:lnTo>
                  <a:lnTo>
                    <a:pt x="2012" y="250"/>
                  </a:lnTo>
                  <a:lnTo>
                    <a:pt x="2012" y="250"/>
                  </a:lnTo>
                  <a:lnTo>
                    <a:pt x="2012" y="250"/>
                  </a:lnTo>
                  <a:lnTo>
                    <a:pt x="2012" y="250"/>
                  </a:lnTo>
                  <a:close/>
                  <a:moveTo>
                    <a:pt x="2036" y="241"/>
                  </a:moveTo>
                  <a:lnTo>
                    <a:pt x="2036" y="241"/>
                  </a:lnTo>
                  <a:lnTo>
                    <a:pt x="2036" y="237"/>
                  </a:lnTo>
                  <a:lnTo>
                    <a:pt x="2034" y="237"/>
                  </a:lnTo>
                  <a:lnTo>
                    <a:pt x="2034" y="241"/>
                  </a:lnTo>
                  <a:lnTo>
                    <a:pt x="2036" y="241"/>
                  </a:lnTo>
                  <a:lnTo>
                    <a:pt x="2036" y="241"/>
                  </a:lnTo>
                  <a:lnTo>
                    <a:pt x="2036" y="241"/>
                  </a:lnTo>
                  <a:lnTo>
                    <a:pt x="2036" y="241"/>
                  </a:lnTo>
                  <a:close/>
                  <a:moveTo>
                    <a:pt x="2061" y="1239"/>
                  </a:moveTo>
                  <a:lnTo>
                    <a:pt x="2061" y="1232"/>
                  </a:lnTo>
                  <a:lnTo>
                    <a:pt x="2061" y="1230"/>
                  </a:lnTo>
                  <a:lnTo>
                    <a:pt x="2059" y="1226"/>
                  </a:lnTo>
                  <a:lnTo>
                    <a:pt x="2057" y="1222"/>
                  </a:lnTo>
                  <a:lnTo>
                    <a:pt x="2059" y="1215"/>
                  </a:lnTo>
                  <a:lnTo>
                    <a:pt x="2063" y="1213"/>
                  </a:lnTo>
                  <a:lnTo>
                    <a:pt x="2065" y="1213"/>
                  </a:lnTo>
                  <a:lnTo>
                    <a:pt x="2065" y="1215"/>
                  </a:lnTo>
                  <a:lnTo>
                    <a:pt x="2066" y="1217"/>
                  </a:lnTo>
                  <a:lnTo>
                    <a:pt x="2072" y="1217"/>
                  </a:lnTo>
                  <a:lnTo>
                    <a:pt x="2072" y="1215"/>
                  </a:lnTo>
                  <a:lnTo>
                    <a:pt x="2074" y="1215"/>
                  </a:lnTo>
                  <a:lnTo>
                    <a:pt x="2076" y="1217"/>
                  </a:lnTo>
                  <a:lnTo>
                    <a:pt x="2076" y="1219"/>
                  </a:lnTo>
                  <a:lnTo>
                    <a:pt x="2076" y="1221"/>
                  </a:lnTo>
                  <a:lnTo>
                    <a:pt x="2080" y="1224"/>
                  </a:lnTo>
                  <a:lnTo>
                    <a:pt x="2080" y="1226"/>
                  </a:lnTo>
                  <a:lnTo>
                    <a:pt x="2081" y="1230"/>
                  </a:lnTo>
                  <a:lnTo>
                    <a:pt x="2083" y="1226"/>
                  </a:lnTo>
                  <a:lnTo>
                    <a:pt x="2081" y="1226"/>
                  </a:lnTo>
                  <a:lnTo>
                    <a:pt x="2081" y="1222"/>
                  </a:lnTo>
                  <a:lnTo>
                    <a:pt x="2081" y="1217"/>
                  </a:lnTo>
                  <a:lnTo>
                    <a:pt x="2078" y="1215"/>
                  </a:lnTo>
                  <a:lnTo>
                    <a:pt x="2078" y="1209"/>
                  </a:lnTo>
                  <a:lnTo>
                    <a:pt x="2076" y="1205"/>
                  </a:lnTo>
                  <a:lnTo>
                    <a:pt x="2072" y="1207"/>
                  </a:lnTo>
                  <a:lnTo>
                    <a:pt x="2070" y="1207"/>
                  </a:lnTo>
                  <a:lnTo>
                    <a:pt x="2066" y="1205"/>
                  </a:lnTo>
                  <a:lnTo>
                    <a:pt x="2066" y="1200"/>
                  </a:lnTo>
                  <a:lnTo>
                    <a:pt x="2063" y="1196"/>
                  </a:lnTo>
                  <a:lnTo>
                    <a:pt x="2059" y="1190"/>
                  </a:lnTo>
                  <a:lnTo>
                    <a:pt x="2055" y="1190"/>
                  </a:lnTo>
                  <a:lnTo>
                    <a:pt x="2053" y="1187"/>
                  </a:lnTo>
                  <a:lnTo>
                    <a:pt x="2051" y="1179"/>
                  </a:lnTo>
                  <a:lnTo>
                    <a:pt x="2048" y="1175"/>
                  </a:lnTo>
                  <a:lnTo>
                    <a:pt x="2046" y="1172"/>
                  </a:lnTo>
                  <a:lnTo>
                    <a:pt x="2046" y="1166"/>
                  </a:lnTo>
                  <a:lnTo>
                    <a:pt x="2046" y="1158"/>
                  </a:lnTo>
                  <a:lnTo>
                    <a:pt x="2046" y="1155"/>
                  </a:lnTo>
                  <a:lnTo>
                    <a:pt x="2046" y="1147"/>
                  </a:lnTo>
                  <a:lnTo>
                    <a:pt x="2046" y="1145"/>
                  </a:lnTo>
                  <a:lnTo>
                    <a:pt x="2042" y="1138"/>
                  </a:lnTo>
                  <a:lnTo>
                    <a:pt x="2046" y="1138"/>
                  </a:lnTo>
                  <a:lnTo>
                    <a:pt x="2046" y="1134"/>
                  </a:lnTo>
                  <a:lnTo>
                    <a:pt x="2046" y="1132"/>
                  </a:lnTo>
                  <a:lnTo>
                    <a:pt x="2046" y="1132"/>
                  </a:lnTo>
                  <a:lnTo>
                    <a:pt x="2048" y="1132"/>
                  </a:lnTo>
                  <a:lnTo>
                    <a:pt x="2053" y="1132"/>
                  </a:lnTo>
                  <a:lnTo>
                    <a:pt x="2057" y="1132"/>
                  </a:lnTo>
                  <a:lnTo>
                    <a:pt x="2061" y="1136"/>
                  </a:lnTo>
                  <a:lnTo>
                    <a:pt x="2065" y="1141"/>
                  </a:lnTo>
                  <a:lnTo>
                    <a:pt x="2066" y="1141"/>
                  </a:lnTo>
                  <a:lnTo>
                    <a:pt x="2070" y="1145"/>
                  </a:lnTo>
                  <a:lnTo>
                    <a:pt x="2074" y="1151"/>
                  </a:lnTo>
                  <a:lnTo>
                    <a:pt x="2076" y="1151"/>
                  </a:lnTo>
                  <a:lnTo>
                    <a:pt x="2074" y="1145"/>
                  </a:lnTo>
                  <a:lnTo>
                    <a:pt x="2070" y="1141"/>
                  </a:lnTo>
                  <a:lnTo>
                    <a:pt x="2066" y="1138"/>
                  </a:lnTo>
                  <a:lnTo>
                    <a:pt x="2063" y="1132"/>
                  </a:lnTo>
                  <a:lnTo>
                    <a:pt x="2059" y="1126"/>
                  </a:lnTo>
                  <a:lnTo>
                    <a:pt x="2059" y="1124"/>
                  </a:lnTo>
                  <a:lnTo>
                    <a:pt x="2057" y="1123"/>
                  </a:lnTo>
                  <a:lnTo>
                    <a:pt x="2053" y="1117"/>
                  </a:lnTo>
                  <a:lnTo>
                    <a:pt x="2051" y="1111"/>
                  </a:lnTo>
                  <a:lnTo>
                    <a:pt x="2049" y="1111"/>
                  </a:lnTo>
                  <a:lnTo>
                    <a:pt x="2048" y="1108"/>
                  </a:lnTo>
                  <a:lnTo>
                    <a:pt x="2042" y="1100"/>
                  </a:lnTo>
                  <a:lnTo>
                    <a:pt x="2040" y="1091"/>
                  </a:lnTo>
                  <a:lnTo>
                    <a:pt x="2036" y="1087"/>
                  </a:lnTo>
                  <a:lnTo>
                    <a:pt x="2031" y="1077"/>
                  </a:lnTo>
                  <a:lnTo>
                    <a:pt x="2027" y="1072"/>
                  </a:lnTo>
                  <a:lnTo>
                    <a:pt x="2025" y="1070"/>
                  </a:lnTo>
                  <a:lnTo>
                    <a:pt x="2025" y="1066"/>
                  </a:lnTo>
                  <a:lnTo>
                    <a:pt x="2023" y="1062"/>
                  </a:lnTo>
                  <a:lnTo>
                    <a:pt x="2019" y="1060"/>
                  </a:lnTo>
                  <a:lnTo>
                    <a:pt x="2019" y="1062"/>
                  </a:lnTo>
                  <a:lnTo>
                    <a:pt x="2017" y="1062"/>
                  </a:lnTo>
                  <a:lnTo>
                    <a:pt x="2016" y="1060"/>
                  </a:lnTo>
                  <a:lnTo>
                    <a:pt x="2017" y="1057"/>
                  </a:lnTo>
                  <a:lnTo>
                    <a:pt x="2016" y="1057"/>
                  </a:lnTo>
                  <a:lnTo>
                    <a:pt x="2012" y="1053"/>
                  </a:lnTo>
                  <a:lnTo>
                    <a:pt x="2010" y="1049"/>
                  </a:lnTo>
                  <a:lnTo>
                    <a:pt x="2008" y="1043"/>
                  </a:lnTo>
                  <a:lnTo>
                    <a:pt x="2006" y="1042"/>
                  </a:lnTo>
                  <a:lnTo>
                    <a:pt x="2006" y="1038"/>
                  </a:lnTo>
                  <a:lnTo>
                    <a:pt x="2006" y="1034"/>
                  </a:lnTo>
                  <a:lnTo>
                    <a:pt x="2008" y="1034"/>
                  </a:lnTo>
                  <a:lnTo>
                    <a:pt x="2006" y="1028"/>
                  </a:lnTo>
                  <a:lnTo>
                    <a:pt x="2006" y="1023"/>
                  </a:lnTo>
                  <a:lnTo>
                    <a:pt x="2004" y="1019"/>
                  </a:lnTo>
                  <a:lnTo>
                    <a:pt x="2001" y="1019"/>
                  </a:lnTo>
                  <a:lnTo>
                    <a:pt x="1997" y="1013"/>
                  </a:lnTo>
                  <a:lnTo>
                    <a:pt x="1997" y="1011"/>
                  </a:lnTo>
                  <a:lnTo>
                    <a:pt x="1995" y="1010"/>
                  </a:lnTo>
                  <a:lnTo>
                    <a:pt x="1995" y="1008"/>
                  </a:lnTo>
                  <a:lnTo>
                    <a:pt x="1997" y="1008"/>
                  </a:lnTo>
                  <a:lnTo>
                    <a:pt x="2001" y="1010"/>
                  </a:lnTo>
                  <a:lnTo>
                    <a:pt x="2004" y="1015"/>
                  </a:lnTo>
                  <a:lnTo>
                    <a:pt x="2002" y="1011"/>
                  </a:lnTo>
                  <a:lnTo>
                    <a:pt x="1997" y="1004"/>
                  </a:lnTo>
                  <a:lnTo>
                    <a:pt x="1993" y="1002"/>
                  </a:lnTo>
                  <a:lnTo>
                    <a:pt x="1991" y="1002"/>
                  </a:lnTo>
                  <a:lnTo>
                    <a:pt x="1991" y="998"/>
                  </a:lnTo>
                  <a:lnTo>
                    <a:pt x="1984" y="989"/>
                  </a:lnTo>
                  <a:lnTo>
                    <a:pt x="1982" y="987"/>
                  </a:lnTo>
                  <a:lnTo>
                    <a:pt x="1982" y="981"/>
                  </a:lnTo>
                  <a:lnTo>
                    <a:pt x="1978" y="978"/>
                  </a:lnTo>
                  <a:lnTo>
                    <a:pt x="1972" y="976"/>
                  </a:lnTo>
                  <a:lnTo>
                    <a:pt x="1970" y="970"/>
                  </a:lnTo>
                  <a:lnTo>
                    <a:pt x="1969" y="968"/>
                  </a:lnTo>
                  <a:lnTo>
                    <a:pt x="1969" y="970"/>
                  </a:lnTo>
                  <a:lnTo>
                    <a:pt x="1969" y="972"/>
                  </a:lnTo>
                  <a:lnTo>
                    <a:pt x="1969" y="976"/>
                  </a:lnTo>
                  <a:lnTo>
                    <a:pt x="1967" y="976"/>
                  </a:lnTo>
                  <a:lnTo>
                    <a:pt x="1967" y="974"/>
                  </a:lnTo>
                  <a:lnTo>
                    <a:pt x="1961" y="974"/>
                  </a:lnTo>
                  <a:lnTo>
                    <a:pt x="1967" y="979"/>
                  </a:lnTo>
                  <a:lnTo>
                    <a:pt x="1972" y="983"/>
                  </a:lnTo>
                  <a:lnTo>
                    <a:pt x="1974" y="987"/>
                  </a:lnTo>
                  <a:lnTo>
                    <a:pt x="1974" y="989"/>
                  </a:lnTo>
                  <a:lnTo>
                    <a:pt x="1976" y="989"/>
                  </a:lnTo>
                  <a:lnTo>
                    <a:pt x="1978" y="989"/>
                  </a:lnTo>
                  <a:lnTo>
                    <a:pt x="1978" y="989"/>
                  </a:lnTo>
                  <a:lnTo>
                    <a:pt x="1978" y="993"/>
                  </a:lnTo>
                  <a:lnTo>
                    <a:pt x="1974" y="993"/>
                  </a:lnTo>
                  <a:lnTo>
                    <a:pt x="1976" y="995"/>
                  </a:lnTo>
                  <a:lnTo>
                    <a:pt x="1978" y="995"/>
                  </a:lnTo>
                  <a:lnTo>
                    <a:pt x="1978" y="1002"/>
                  </a:lnTo>
                  <a:lnTo>
                    <a:pt x="1976" y="1002"/>
                  </a:lnTo>
                  <a:lnTo>
                    <a:pt x="1974" y="1002"/>
                  </a:lnTo>
                  <a:lnTo>
                    <a:pt x="1970" y="998"/>
                  </a:lnTo>
                  <a:lnTo>
                    <a:pt x="1969" y="1002"/>
                  </a:lnTo>
                  <a:lnTo>
                    <a:pt x="1967" y="1006"/>
                  </a:lnTo>
                  <a:lnTo>
                    <a:pt x="1970" y="1010"/>
                  </a:lnTo>
                  <a:lnTo>
                    <a:pt x="1970" y="1013"/>
                  </a:lnTo>
                  <a:lnTo>
                    <a:pt x="1976" y="1019"/>
                  </a:lnTo>
                  <a:lnTo>
                    <a:pt x="1978" y="1023"/>
                  </a:lnTo>
                  <a:lnTo>
                    <a:pt x="1978" y="1032"/>
                  </a:lnTo>
                  <a:lnTo>
                    <a:pt x="1978" y="1034"/>
                  </a:lnTo>
                  <a:lnTo>
                    <a:pt x="1982" y="1040"/>
                  </a:lnTo>
                  <a:lnTo>
                    <a:pt x="1984" y="1049"/>
                  </a:lnTo>
                  <a:lnTo>
                    <a:pt x="1987" y="1053"/>
                  </a:lnTo>
                  <a:lnTo>
                    <a:pt x="1991" y="1057"/>
                  </a:lnTo>
                  <a:lnTo>
                    <a:pt x="1991" y="1057"/>
                  </a:lnTo>
                  <a:lnTo>
                    <a:pt x="1987" y="1059"/>
                  </a:lnTo>
                  <a:lnTo>
                    <a:pt x="1997" y="1068"/>
                  </a:lnTo>
                  <a:lnTo>
                    <a:pt x="2001" y="1070"/>
                  </a:lnTo>
                  <a:lnTo>
                    <a:pt x="2006" y="1076"/>
                  </a:lnTo>
                  <a:lnTo>
                    <a:pt x="2006" y="1083"/>
                  </a:lnTo>
                  <a:lnTo>
                    <a:pt x="2006" y="1087"/>
                  </a:lnTo>
                  <a:lnTo>
                    <a:pt x="2010" y="1091"/>
                  </a:lnTo>
                  <a:lnTo>
                    <a:pt x="2010" y="1094"/>
                  </a:lnTo>
                  <a:lnTo>
                    <a:pt x="2012" y="1098"/>
                  </a:lnTo>
                  <a:lnTo>
                    <a:pt x="2016" y="1102"/>
                  </a:lnTo>
                  <a:lnTo>
                    <a:pt x="2016" y="1102"/>
                  </a:lnTo>
                  <a:lnTo>
                    <a:pt x="2016" y="1106"/>
                  </a:lnTo>
                  <a:lnTo>
                    <a:pt x="2017" y="1111"/>
                  </a:lnTo>
                  <a:lnTo>
                    <a:pt x="2019" y="1117"/>
                  </a:lnTo>
                  <a:lnTo>
                    <a:pt x="2021" y="1121"/>
                  </a:lnTo>
                  <a:lnTo>
                    <a:pt x="2021" y="1128"/>
                  </a:lnTo>
                  <a:lnTo>
                    <a:pt x="2023" y="1130"/>
                  </a:lnTo>
                  <a:lnTo>
                    <a:pt x="2023" y="1134"/>
                  </a:lnTo>
                  <a:lnTo>
                    <a:pt x="2023" y="1138"/>
                  </a:lnTo>
                  <a:lnTo>
                    <a:pt x="2027" y="1147"/>
                  </a:lnTo>
                  <a:lnTo>
                    <a:pt x="2025" y="1151"/>
                  </a:lnTo>
                  <a:lnTo>
                    <a:pt x="2027" y="1155"/>
                  </a:lnTo>
                  <a:lnTo>
                    <a:pt x="2031" y="1158"/>
                  </a:lnTo>
                  <a:lnTo>
                    <a:pt x="2036" y="1166"/>
                  </a:lnTo>
                  <a:lnTo>
                    <a:pt x="2036" y="1172"/>
                  </a:lnTo>
                  <a:lnTo>
                    <a:pt x="2040" y="1175"/>
                  </a:lnTo>
                  <a:lnTo>
                    <a:pt x="2040" y="1183"/>
                  </a:lnTo>
                  <a:lnTo>
                    <a:pt x="2040" y="1189"/>
                  </a:lnTo>
                  <a:lnTo>
                    <a:pt x="2042" y="1194"/>
                  </a:lnTo>
                  <a:lnTo>
                    <a:pt x="2046" y="1200"/>
                  </a:lnTo>
                  <a:lnTo>
                    <a:pt x="2048" y="1205"/>
                  </a:lnTo>
                  <a:lnTo>
                    <a:pt x="2049" y="1207"/>
                  </a:lnTo>
                  <a:lnTo>
                    <a:pt x="2048" y="1213"/>
                  </a:lnTo>
                  <a:lnTo>
                    <a:pt x="2048" y="1222"/>
                  </a:lnTo>
                  <a:lnTo>
                    <a:pt x="2049" y="1226"/>
                  </a:lnTo>
                  <a:lnTo>
                    <a:pt x="2053" y="1230"/>
                  </a:lnTo>
                  <a:lnTo>
                    <a:pt x="2055" y="1236"/>
                  </a:lnTo>
                  <a:lnTo>
                    <a:pt x="2061" y="1239"/>
                  </a:lnTo>
                  <a:lnTo>
                    <a:pt x="2061" y="1239"/>
                  </a:lnTo>
                  <a:lnTo>
                    <a:pt x="2061" y="1239"/>
                  </a:lnTo>
                  <a:lnTo>
                    <a:pt x="2061" y="1239"/>
                  </a:lnTo>
                  <a:close/>
                  <a:moveTo>
                    <a:pt x="1873" y="974"/>
                  </a:moveTo>
                  <a:lnTo>
                    <a:pt x="1874" y="974"/>
                  </a:lnTo>
                  <a:lnTo>
                    <a:pt x="1874" y="972"/>
                  </a:lnTo>
                  <a:lnTo>
                    <a:pt x="1874" y="970"/>
                  </a:lnTo>
                  <a:lnTo>
                    <a:pt x="1878" y="972"/>
                  </a:lnTo>
                  <a:lnTo>
                    <a:pt x="1878" y="974"/>
                  </a:lnTo>
                  <a:lnTo>
                    <a:pt x="1882" y="976"/>
                  </a:lnTo>
                  <a:lnTo>
                    <a:pt x="1884" y="972"/>
                  </a:lnTo>
                  <a:lnTo>
                    <a:pt x="1884" y="970"/>
                  </a:lnTo>
                  <a:lnTo>
                    <a:pt x="1884" y="968"/>
                  </a:lnTo>
                  <a:lnTo>
                    <a:pt x="1884" y="968"/>
                  </a:lnTo>
                  <a:lnTo>
                    <a:pt x="1886" y="964"/>
                  </a:lnTo>
                  <a:lnTo>
                    <a:pt x="1886" y="964"/>
                  </a:lnTo>
                  <a:lnTo>
                    <a:pt x="1884" y="964"/>
                  </a:lnTo>
                  <a:lnTo>
                    <a:pt x="1882" y="964"/>
                  </a:lnTo>
                  <a:lnTo>
                    <a:pt x="1880" y="964"/>
                  </a:lnTo>
                  <a:lnTo>
                    <a:pt x="1880" y="964"/>
                  </a:lnTo>
                  <a:lnTo>
                    <a:pt x="1882" y="962"/>
                  </a:lnTo>
                  <a:lnTo>
                    <a:pt x="1882" y="962"/>
                  </a:lnTo>
                  <a:lnTo>
                    <a:pt x="1880" y="959"/>
                  </a:lnTo>
                  <a:lnTo>
                    <a:pt x="1878" y="962"/>
                  </a:lnTo>
                  <a:lnTo>
                    <a:pt x="1874" y="959"/>
                  </a:lnTo>
                  <a:lnTo>
                    <a:pt x="1873" y="962"/>
                  </a:lnTo>
                  <a:lnTo>
                    <a:pt x="1873" y="964"/>
                  </a:lnTo>
                  <a:lnTo>
                    <a:pt x="1869" y="968"/>
                  </a:lnTo>
                  <a:lnTo>
                    <a:pt x="1869" y="970"/>
                  </a:lnTo>
                  <a:lnTo>
                    <a:pt x="1873" y="974"/>
                  </a:lnTo>
                  <a:lnTo>
                    <a:pt x="1873" y="974"/>
                  </a:lnTo>
                  <a:lnTo>
                    <a:pt x="1873" y="974"/>
                  </a:lnTo>
                  <a:lnTo>
                    <a:pt x="1873" y="974"/>
                  </a:lnTo>
                  <a:close/>
                  <a:moveTo>
                    <a:pt x="1859" y="972"/>
                  </a:moveTo>
                  <a:lnTo>
                    <a:pt x="1861" y="970"/>
                  </a:lnTo>
                  <a:lnTo>
                    <a:pt x="1861" y="970"/>
                  </a:lnTo>
                  <a:lnTo>
                    <a:pt x="1863" y="968"/>
                  </a:lnTo>
                  <a:lnTo>
                    <a:pt x="1865" y="970"/>
                  </a:lnTo>
                  <a:lnTo>
                    <a:pt x="1865" y="968"/>
                  </a:lnTo>
                  <a:lnTo>
                    <a:pt x="1865" y="968"/>
                  </a:lnTo>
                  <a:lnTo>
                    <a:pt x="1865" y="964"/>
                  </a:lnTo>
                  <a:lnTo>
                    <a:pt x="1865" y="962"/>
                  </a:lnTo>
                  <a:lnTo>
                    <a:pt x="1865" y="964"/>
                  </a:lnTo>
                  <a:lnTo>
                    <a:pt x="1863" y="964"/>
                  </a:lnTo>
                  <a:lnTo>
                    <a:pt x="1857" y="968"/>
                  </a:lnTo>
                  <a:lnTo>
                    <a:pt x="1857" y="968"/>
                  </a:lnTo>
                  <a:lnTo>
                    <a:pt x="1859" y="972"/>
                  </a:lnTo>
                  <a:lnTo>
                    <a:pt x="1859" y="972"/>
                  </a:lnTo>
                  <a:lnTo>
                    <a:pt x="1859" y="972"/>
                  </a:lnTo>
                  <a:lnTo>
                    <a:pt x="1859" y="972"/>
                  </a:lnTo>
                  <a:close/>
                  <a:moveTo>
                    <a:pt x="1886" y="985"/>
                  </a:moveTo>
                  <a:lnTo>
                    <a:pt x="1886" y="985"/>
                  </a:lnTo>
                  <a:lnTo>
                    <a:pt x="1888" y="983"/>
                  </a:lnTo>
                  <a:lnTo>
                    <a:pt x="1889" y="981"/>
                  </a:lnTo>
                  <a:lnTo>
                    <a:pt x="1888" y="979"/>
                  </a:lnTo>
                  <a:lnTo>
                    <a:pt x="1886" y="981"/>
                  </a:lnTo>
                  <a:lnTo>
                    <a:pt x="1886" y="981"/>
                  </a:lnTo>
                  <a:lnTo>
                    <a:pt x="1886" y="985"/>
                  </a:lnTo>
                  <a:lnTo>
                    <a:pt x="1886" y="985"/>
                  </a:lnTo>
                  <a:lnTo>
                    <a:pt x="1886" y="985"/>
                  </a:lnTo>
                  <a:lnTo>
                    <a:pt x="1886" y="985"/>
                  </a:lnTo>
                  <a:close/>
                  <a:moveTo>
                    <a:pt x="1880" y="979"/>
                  </a:moveTo>
                  <a:lnTo>
                    <a:pt x="1880" y="981"/>
                  </a:lnTo>
                  <a:lnTo>
                    <a:pt x="1882" y="985"/>
                  </a:lnTo>
                  <a:lnTo>
                    <a:pt x="1884" y="983"/>
                  </a:lnTo>
                  <a:lnTo>
                    <a:pt x="1884" y="979"/>
                  </a:lnTo>
                  <a:lnTo>
                    <a:pt x="1882" y="979"/>
                  </a:lnTo>
                  <a:lnTo>
                    <a:pt x="1880" y="979"/>
                  </a:lnTo>
                  <a:lnTo>
                    <a:pt x="1880" y="979"/>
                  </a:lnTo>
                  <a:lnTo>
                    <a:pt x="1880" y="979"/>
                  </a:lnTo>
                  <a:lnTo>
                    <a:pt x="1880" y="979"/>
                  </a:lnTo>
                  <a:close/>
                  <a:moveTo>
                    <a:pt x="1882" y="998"/>
                  </a:moveTo>
                  <a:lnTo>
                    <a:pt x="1884" y="993"/>
                  </a:lnTo>
                  <a:lnTo>
                    <a:pt x="1886" y="993"/>
                  </a:lnTo>
                  <a:lnTo>
                    <a:pt x="1888" y="989"/>
                  </a:lnTo>
                  <a:lnTo>
                    <a:pt x="1886" y="989"/>
                  </a:lnTo>
                  <a:lnTo>
                    <a:pt x="1888" y="987"/>
                  </a:lnTo>
                  <a:lnTo>
                    <a:pt x="1882" y="989"/>
                  </a:lnTo>
                  <a:lnTo>
                    <a:pt x="1878" y="993"/>
                  </a:lnTo>
                  <a:lnTo>
                    <a:pt x="1878" y="995"/>
                  </a:lnTo>
                  <a:lnTo>
                    <a:pt x="1882" y="998"/>
                  </a:lnTo>
                  <a:lnTo>
                    <a:pt x="1882" y="998"/>
                  </a:lnTo>
                  <a:lnTo>
                    <a:pt x="1882" y="998"/>
                  </a:lnTo>
                  <a:lnTo>
                    <a:pt x="1882" y="998"/>
                  </a:lnTo>
                  <a:close/>
                  <a:moveTo>
                    <a:pt x="2023" y="780"/>
                  </a:moveTo>
                  <a:lnTo>
                    <a:pt x="2025" y="782"/>
                  </a:lnTo>
                  <a:lnTo>
                    <a:pt x="2027" y="776"/>
                  </a:lnTo>
                  <a:lnTo>
                    <a:pt x="2029" y="774"/>
                  </a:lnTo>
                  <a:lnTo>
                    <a:pt x="2025" y="774"/>
                  </a:lnTo>
                  <a:lnTo>
                    <a:pt x="2023" y="776"/>
                  </a:lnTo>
                  <a:lnTo>
                    <a:pt x="2023" y="780"/>
                  </a:lnTo>
                  <a:lnTo>
                    <a:pt x="2023" y="780"/>
                  </a:lnTo>
                  <a:lnTo>
                    <a:pt x="2023" y="780"/>
                  </a:lnTo>
                  <a:lnTo>
                    <a:pt x="2023" y="780"/>
                  </a:lnTo>
                  <a:close/>
                  <a:moveTo>
                    <a:pt x="2249" y="755"/>
                  </a:moveTo>
                  <a:lnTo>
                    <a:pt x="2251" y="755"/>
                  </a:lnTo>
                  <a:lnTo>
                    <a:pt x="2249" y="752"/>
                  </a:lnTo>
                  <a:lnTo>
                    <a:pt x="2249" y="750"/>
                  </a:lnTo>
                  <a:lnTo>
                    <a:pt x="2249" y="748"/>
                  </a:lnTo>
                  <a:lnTo>
                    <a:pt x="2249" y="746"/>
                  </a:lnTo>
                  <a:lnTo>
                    <a:pt x="2251" y="740"/>
                  </a:lnTo>
                  <a:lnTo>
                    <a:pt x="2255" y="736"/>
                  </a:lnTo>
                  <a:lnTo>
                    <a:pt x="2258" y="733"/>
                  </a:lnTo>
                  <a:lnTo>
                    <a:pt x="2258" y="733"/>
                  </a:lnTo>
                  <a:lnTo>
                    <a:pt x="2258" y="731"/>
                  </a:lnTo>
                  <a:lnTo>
                    <a:pt x="2258" y="725"/>
                  </a:lnTo>
                  <a:lnTo>
                    <a:pt x="2253" y="718"/>
                  </a:lnTo>
                  <a:lnTo>
                    <a:pt x="2251" y="718"/>
                  </a:lnTo>
                  <a:lnTo>
                    <a:pt x="2249" y="721"/>
                  </a:lnTo>
                  <a:lnTo>
                    <a:pt x="2249" y="721"/>
                  </a:lnTo>
                  <a:lnTo>
                    <a:pt x="2247" y="725"/>
                  </a:lnTo>
                  <a:lnTo>
                    <a:pt x="2241" y="731"/>
                  </a:lnTo>
                  <a:lnTo>
                    <a:pt x="2240" y="731"/>
                  </a:lnTo>
                  <a:lnTo>
                    <a:pt x="2238" y="733"/>
                  </a:lnTo>
                  <a:lnTo>
                    <a:pt x="2240" y="733"/>
                  </a:lnTo>
                  <a:lnTo>
                    <a:pt x="2243" y="731"/>
                  </a:lnTo>
                  <a:lnTo>
                    <a:pt x="2243" y="733"/>
                  </a:lnTo>
                  <a:lnTo>
                    <a:pt x="2243" y="735"/>
                  </a:lnTo>
                  <a:lnTo>
                    <a:pt x="2245" y="742"/>
                  </a:lnTo>
                  <a:lnTo>
                    <a:pt x="2247" y="744"/>
                  </a:lnTo>
                  <a:lnTo>
                    <a:pt x="2247" y="750"/>
                  </a:lnTo>
                  <a:lnTo>
                    <a:pt x="2245" y="752"/>
                  </a:lnTo>
                  <a:lnTo>
                    <a:pt x="2245" y="752"/>
                  </a:lnTo>
                  <a:lnTo>
                    <a:pt x="2249" y="755"/>
                  </a:lnTo>
                  <a:lnTo>
                    <a:pt x="2249" y="755"/>
                  </a:lnTo>
                  <a:lnTo>
                    <a:pt x="2249" y="755"/>
                  </a:lnTo>
                  <a:lnTo>
                    <a:pt x="2249" y="755"/>
                  </a:lnTo>
                  <a:close/>
                  <a:moveTo>
                    <a:pt x="2253" y="1057"/>
                  </a:moveTo>
                  <a:lnTo>
                    <a:pt x="2255" y="1057"/>
                  </a:lnTo>
                  <a:lnTo>
                    <a:pt x="2257" y="1053"/>
                  </a:lnTo>
                  <a:lnTo>
                    <a:pt x="2255" y="1051"/>
                  </a:lnTo>
                  <a:lnTo>
                    <a:pt x="2253" y="1049"/>
                  </a:lnTo>
                  <a:lnTo>
                    <a:pt x="2251" y="1051"/>
                  </a:lnTo>
                  <a:lnTo>
                    <a:pt x="2251" y="1053"/>
                  </a:lnTo>
                  <a:lnTo>
                    <a:pt x="2253" y="1057"/>
                  </a:lnTo>
                  <a:lnTo>
                    <a:pt x="2253" y="1057"/>
                  </a:lnTo>
                  <a:lnTo>
                    <a:pt x="2253" y="1057"/>
                  </a:lnTo>
                  <a:lnTo>
                    <a:pt x="2253" y="1057"/>
                  </a:lnTo>
                  <a:close/>
                  <a:moveTo>
                    <a:pt x="2234" y="1051"/>
                  </a:moveTo>
                  <a:lnTo>
                    <a:pt x="2234" y="1053"/>
                  </a:lnTo>
                  <a:lnTo>
                    <a:pt x="2234" y="1057"/>
                  </a:lnTo>
                  <a:lnTo>
                    <a:pt x="2238" y="1057"/>
                  </a:lnTo>
                  <a:lnTo>
                    <a:pt x="2238" y="1053"/>
                  </a:lnTo>
                  <a:lnTo>
                    <a:pt x="2234" y="1051"/>
                  </a:lnTo>
                  <a:lnTo>
                    <a:pt x="2234" y="1051"/>
                  </a:lnTo>
                  <a:lnTo>
                    <a:pt x="2234" y="1051"/>
                  </a:lnTo>
                  <a:lnTo>
                    <a:pt x="2234" y="1051"/>
                  </a:lnTo>
                  <a:lnTo>
                    <a:pt x="2234" y="1051"/>
                  </a:lnTo>
                  <a:close/>
                  <a:moveTo>
                    <a:pt x="2243" y="1083"/>
                  </a:moveTo>
                  <a:lnTo>
                    <a:pt x="2245" y="1083"/>
                  </a:lnTo>
                  <a:lnTo>
                    <a:pt x="2245" y="1077"/>
                  </a:lnTo>
                  <a:lnTo>
                    <a:pt x="2245" y="1076"/>
                  </a:lnTo>
                  <a:lnTo>
                    <a:pt x="2249" y="1074"/>
                  </a:lnTo>
                  <a:lnTo>
                    <a:pt x="2251" y="1070"/>
                  </a:lnTo>
                  <a:lnTo>
                    <a:pt x="2251" y="1066"/>
                  </a:lnTo>
                  <a:lnTo>
                    <a:pt x="2251" y="1062"/>
                  </a:lnTo>
                  <a:lnTo>
                    <a:pt x="2253" y="1060"/>
                  </a:lnTo>
                  <a:lnTo>
                    <a:pt x="2253" y="1057"/>
                  </a:lnTo>
                  <a:lnTo>
                    <a:pt x="2245" y="1053"/>
                  </a:lnTo>
                  <a:lnTo>
                    <a:pt x="2245" y="1057"/>
                  </a:lnTo>
                  <a:lnTo>
                    <a:pt x="2245" y="1062"/>
                  </a:lnTo>
                  <a:lnTo>
                    <a:pt x="2245" y="1066"/>
                  </a:lnTo>
                  <a:lnTo>
                    <a:pt x="2241" y="1068"/>
                  </a:lnTo>
                  <a:lnTo>
                    <a:pt x="2240" y="1070"/>
                  </a:lnTo>
                  <a:lnTo>
                    <a:pt x="2238" y="1072"/>
                  </a:lnTo>
                  <a:lnTo>
                    <a:pt x="2238" y="1072"/>
                  </a:lnTo>
                  <a:lnTo>
                    <a:pt x="2240" y="1076"/>
                  </a:lnTo>
                  <a:lnTo>
                    <a:pt x="2240" y="1077"/>
                  </a:lnTo>
                  <a:lnTo>
                    <a:pt x="2238" y="1077"/>
                  </a:lnTo>
                  <a:lnTo>
                    <a:pt x="2238" y="1081"/>
                  </a:lnTo>
                  <a:lnTo>
                    <a:pt x="2241" y="1081"/>
                  </a:lnTo>
                  <a:lnTo>
                    <a:pt x="2243" y="1083"/>
                  </a:lnTo>
                  <a:lnTo>
                    <a:pt x="2243" y="1083"/>
                  </a:lnTo>
                  <a:lnTo>
                    <a:pt x="2243" y="1083"/>
                  </a:lnTo>
                  <a:lnTo>
                    <a:pt x="2243" y="1083"/>
                  </a:lnTo>
                  <a:close/>
                  <a:moveTo>
                    <a:pt x="2240" y="1106"/>
                  </a:moveTo>
                  <a:lnTo>
                    <a:pt x="2240" y="1106"/>
                  </a:lnTo>
                  <a:lnTo>
                    <a:pt x="2241" y="1104"/>
                  </a:lnTo>
                  <a:lnTo>
                    <a:pt x="2240" y="1098"/>
                  </a:lnTo>
                  <a:lnTo>
                    <a:pt x="2240" y="1096"/>
                  </a:lnTo>
                  <a:lnTo>
                    <a:pt x="2238" y="1094"/>
                  </a:lnTo>
                  <a:lnTo>
                    <a:pt x="2238" y="1098"/>
                  </a:lnTo>
                  <a:lnTo>
                    <a:pt x="2238" y="1102"/>
                  </a:lnTo>
                  <a:lnTo>
                    <a:pt x="2240" y="1106"/>
                  </a:lnTo>
                  <a:lnTo>
                    <a:pt x="2240" y="1106"/>
                  </a:lnTo>
                  <a:lnTo>
                    <a:pt x="2240" y="1106"/>
                  </a:lnTo>
                  <a:lnTo>
                    <a:pt x="2240" y="1106"/>
                  </a:lnTo>
                  <a:close/>
                  <a:moveTo>
                    <a:pt x="2241" y="1111"/>
                  </a:moveTo>
                  <a:lnTo>
                    <a:pt x="2243" y="1111"/>
                  </a:lnTo>
                  <a:lnTo>
                    <a:pt x="2241" y="1108"/>
                  </a:lnTo>
                  <a:lnTo>
                    <a:pt x="2240" y="1108"/>
                  </a:lnTo>
                  <a:lnTo>
                    <a:pt x="2238" y="1108"/>
                  </a:lnTo>
                  <a:lnTo>
                    <a:pt x="2238" y="1111"/>
                  </a:lnTo>
                  <a:lnTo>
                    <a:pt x="2241" y="1111"/>
                  </a:lnTo>
                  <a:lnTo>
                    <a:pt x="2241" y="1111"/>
                  </a:lnTo>
                  <a:lnTo>
                    <a:pt x="2241" y="1111"/>
                  </a:lnTo>
                  <a:lnTo>
                    <a:pt x="2241" y="1111"/>
                  </a:lnTo>
                  <a:close/>
                  <a:moveTo>
                    <a:pt x="2234" y="1117"/>
                  </a:moveTo>
                  <a:lnTo>
                    <a:pt x="2234" y="1117"/>
                  </a:lnTo>
                  <a:lnTo>
                    <a:pt x="2234" y="1117"/>
                  </a:lnTo>
                  <a:lnTo>
                    <a:pt x="2234" y="1117"/>
                  </a:lnTo>
                  <a:lnTo>
                    <a:pt x="2234" y="1117"/>
                  </a:lnTo>
                  <a:lnTo>
                    <a:pt x="2234" y="1117"/>
                  </a:lnTo>
                  <a:lnTo>
                    <a:pt x="2234" y="1117"/>
                  </a:lnTo>
                  <a:lnTo>
                    <a:pt x="2234" y="1117"/>
                  </a:lnTo>
                  <a:lnTo>
                    <a:pt x="2234" y="1117"/>
                  </a:lnTo>
                  <a:close/>
                  <a:moveTo>
                    <a:pt x="2238" y="1126"/>
                  </a:moveTo>
                  <a:lnTo>
                    <a:pt x="2238" y="1124"/>
                  </a:lnTo>
                  <a:lnTo>
                    <a:pt x="2240" y="1123"/>
                  </a:lnTo>
                  <a:lnTo>
                    <a:pt x="2240" y="1121"/>
                  </a:lnTo>
                  <a:lnTo>
                    <a:pt x="2238" y="1121"/>
                  </a:lnTo>
                  <a:lnTo>
                    <a:pt x="2238" y="1121"/>
                  </a:lnTo>
                  <a:lnTo>
                    <a:pt x="2238" y="1126"/>
                  </a:lnTo>
                  <a:lnTo>
                    <a:pt x="2238" y="1126"/>
                  </a:lnTo>
                  <a:lnTo>
                    <a:pt x="2238" y="1126"/>
                  </a:lnTo>
                  <a:lnTo>
                    <a:pt x="2238" y="1126"/>
                  </a:lnTo>
                  <a:close/>
                  <a:moveTo>
                    <a:pt x="2232" y="1151"/>
                  </a:moveTo>
                  <a:lnTo>
                    <a:pt x="2234" y="1147"/>
                  </a:lnTo>
                  <a:lnTo>
                    <a:pt x="2232" y="1145"/>
                  </a:lnTo>
                  <a:lnTo>
                    <a:pt x="2232" y="1147"/>
                  </a:lnTo>
                  <a:lnTo>
                    <a:pt x="2232" y="1151"/>
                  </a:lnTo>
                  <a:lnTo>
                    <a:pt x="2232" y="1151"/>
                  </a:lnTo>
                  <a:lnTo>
                    <a:pt x="2232" y="1151"/>
                  </a:lnTo>
                  <a:lnTo>
                    <a:pt x="2232" y="1151"/>
                  </a:lnTo>
                  <a:close/>
                  <a:moveTo>
                    <a:pt x="2232" y="1162"/>
                  </a:moveTo>
                  <a:lnTo>
                    <a:pt x="2232" y="1158"/>
                  </a:lnTo>
                  <a:lnTo>
                    <a:pt x="2232" y="1157"/>
                  </a:lnTo>
                  <a:lnTo>
                    <a:pt x="2228" y="1158"/>
                  </a:lnTo>
                  <a:lnTo>
                    <a:pt x="2232" y="1162"/>
                  </a:lnTo>
                  <a:lnTo>
                    <a:pt x="2232" y="1162"/>
                  </a:lnTo>
                  <a:lnTo>
                    <a:pt x="2232" y="1162"/>
                  </a:lnTo>
                  <a:lnTo>
                    <a:pt x="2232" y="1162"/>
                  </a:lnTo>
                  <a:close/>
                  <a:moveTo>
                    <a:pt x="2228" y="1166"/>
                  </a:moveTo>
                  <a:lnTo>
                    <a:pt x="2232" y="1168"/>
                  </a:lnTo>
                  <a:lnTo>
                    <a:pt x="2232" y="1166"/>
                  </a:lnTo>
                  <a:lnTo>
                    <a:pt x="2228" y="1166"/>
                  </a:lnTo>
                  <a:lnTo>
                    <a:pt x="2228" y="1166"/>
                  </a:lnTo>
                  <a:lnTo>
                    <a:pt x="2228" y="1166"/>
                  </a:lnTo>
                  <a:lnTo>
                    <a:pt x="2228" y="1166"/>
                  </a:lnTo>
                  <a:close/>
                  <a:moveTo>
                    <a:pt x="2226" y="1172"/>
                  </a:moveTo>
                  <a:lnTo>
                    <a:pt x="2228" y="1172"/>
                  </a:lnTo>
                  <a:lnTo>
                    <a:pt x="2228" y="1172"/>
                  </a:lnTo>
                  <a:lnTo>
                    <a:pt x="2228" y="1172"/>
                  </a:lnTo>
                  <a:lnTo>
                    <a:pt x="2228" y="1172"/>
                  </a:lnTo>
                  <a:lnTo>
                    <a:pt x="2226" y="1172"/>
                  </a:lnTo>
                  <a:lnTo>
                    <a:pt x="2226" y="1172"/>
                  </a:lnTo>
                  <a:lnTo>
                    <a:pt x="2226" y="1172"/>
                  </a:lnTo>
                  <a:lnTo>
                    <a:pt x="2226" y="1172"/>
                  </a:lnTo>
                  <a:close/>
                  <a:moveTo>
                    <a:pt x="2225" y="1187"/>
                  </a:moveTo>
                  <a:lnTo>
                    <a:pt x="2226" y="1185"/>
                  </a:lnTo>
                  <a:lnTo>
                    <a:pt x="2226" y="1177"/>
                  </a:lnTo>
                  <a:lnTo>
                    <a:pt x="2225" y="1177"/>
                  </a:lnTo>
                  <a:lnTo>
                    <a:pt x="2225" y="1181"/>
                  </a:lnTo>
                  <a:lnTo>
                    <a:pt x="2223" y="1187"/>
                  </a:lnTo>
                  <a:lnTo>
                    <a:pt x="2225" y="1187"/>
                  </a:lnTo>
                  <a:lnTo>
                    <a:pt x="2225" y="1187"/>
                  </a:lnTo>
                  <a:lnTo>
                    <a:pt x="2225" y="1187"/>
                  </a:lnTo>
                  <a:lnTo>
                    <a:pt x="2225" y="1187"/>
                  </a:lnTo>
                  <a:close/>
                  <a:moveTo>
                    <a:pt x="2193" y="1230"/>
                  </a:moveTo>
                  <a:lnTo>
                    <a:pt x="2194" y="1230"/>
                  </a:lnTo>
                  <a:lnTo>
                    <a:pt x="2198" y="1226"/>
                  </a:lnTo>
                  <a:lnTo>
                    <a:pt x="2200" y="1221"/>
                  </a:lnTo>
                  <a:lnTo>
                    <a:pt x="2204" y="1219"/>
                  </a:lnTo>
                  <a:lnTo>
                    <a:pt x="2204" y="1215"/>
                  </a:lnTo>
                  <a:lnTo>
                    <a:pt x="2204" y="1211"/>
                  </a:lnTo>
                  <a:lnTo>
                    <a:pt x="2208" y="1205"/>
                  </a:lnTo>
                  <a:lnTo>
                    <a:pt x="2208" y="1207"/>
                  </a:lnTo>
                  <a:lnTo>
                    <a:pt x="2202" y="1207"/>
                  </a:lnTo>
                  <a:lnTo>
                    <a:pt x="2200" y="1211"/>
                  </a:lnTo>
                  <a:lnTo>
                    <a:pt x="2200" y="1213"/>
                  </a:lnTo>
                  <a:lnTo>
                    <a:pt x="2198" y="1217"/>
                  </a:lnTo>
                  <a:lnTo>
                    <a:pt x="2196" y="1219"/>
                  </a:lnTo>
                  <a:lnTo>
                    <a:pt x="2196" y="1221"/>
                  </a:lnTo>
                  <a:lnTo>
                    <a:pt x="2193" y="1224"/>
                  </a:lnTo>
                  <a:lnTo>
                    <a:pt x="2193" y="1230"/>
                  </a:lnTo>
                  <a:lnTo>
                    <a:pt x="2193" y="1230"/>
                  </a:lnTo>
                  <a:lnTo>
                    <a:pt x="2193" y="1230"/>
                  </a:lnTo>
                  <a:lnTo>
                    <a:pt x="2193" y="1230"/>
                  </a:lnTo>
                  <a:close/>
                  <a:moveTo>
                    <a:pt x="2159" y="1270"/>
                  </a:moveTo>
                  <a:lnTo>
                    <a:pt x="2159" y="1270"/>
                  </a:lnTo>
                  <a:lnTo>
                    <a:pt x="2161" y="1266"/>
                  </a:lnTo>
                  <a:lnTo>
                    <a:pt x="2162" y="1264"/>
                  </a:lnTo>
                  <a:lnTo>
                    <a:pt x="2162" y="1258"/>
                  </a:lnTo>
                  <a:lnTo>
                    <a:pt x="2164" y="1256"/>
                  </a:lnTo>
                  <a:lnTo>
                    <a:pt x="2164" y="1254"/>
                  </a:lnTo>
                  <a:lnTo>
                    <a:pt x="2166" y="1253"/>
                  </a:lnTo>
                  <a:lnTo>
                    <a:pt x="2168" y="1254"/>
                  </a:lnTo>
                  <a:lnTo>
                    <a:pt x="2170" y="1251"/>
                  </a:lnTo>
                  <a:lnTo>
                    <a:pt x="2174" y="1245"/>
                  </a:lnTo>
                  <a:lnTo>
                    <a:pt x="2177" y="1241"/>
                  </a:lnTo>
                  <a:lnTo>
                    <a:pt x="2179" y="1241"/>
                  </a:lnTo>
                  <a:lnTo>
                    <a:pt x="2183" y="1239"/>
                  </a:lnTo>
                  <a:lnTo>
                    <a:pt x="2183" y="1236"/>
                  </a:lnTo>
                  <a:lnTo>
                    <a:pt x="2183" y="1230"/>
                  </a:lnTo>
                  <a:lnTo>
                    <a:pt x="2179" y="1232"/>
                  </a:lnTo>
                  <a:lnTo>
                    <a:pt x="2177" y="1236"/>
                  </a:lnTo>
                  <a:lnTo>
                    <a:pt x="2176" y="1239"/>
                  </a:lnTo>
                  <a:lnTo>
                    <a:pt x="2174" y="1239"/>
                  </a:lnTo>
                  <a:lnTo>
                    <a:pt x="2170" y="1241"/>
                  </a:lnTo>
                  <a:lnTo>
                    <a:pt x="2168" y="1241"/>
                  </a:lnTo>
                  <a:lnTo>
                    <a:pt x="2168" y="1239"/>
                  </a:lnTo>
                  <a:lnTo>
                    <a:pt x="2166" y="1239"/>
                  </a:lnTo>
                  <a:lnTo>
                    <a:pt x="2164" y="1241"/>
                  </a:lnTo>
                  <a:lnTo>
                    <a:pt x="2166" y="1243"/>
                  </a:lnTo>
                  <a:lnTo>
                    <a:pt x="2164" y="1247"/>
                  </a:lnTo>
                  <a:lnTo>
                    <a:pt x="2162" y="1251"/>
                  </a:lnTo>
                  <a:lnTo>
                    <a:pt x="2161" y="1251"/>
                  </a:lnTo>
                  <a:lnTo>
                    <a:pt x="2161" y="1253"/>
                  </a:lnTo>
                  <a:lnTo>
                    <a:pt x="2161" y="1256"/>
                  </a:lnTo>
                  <a:lnTo>
                    <a:pt x="2159" y="1258"/>
                  </a:lnTo>
                  <a:lnTo>
                    <a:pt x="2159" y="1260"/>
                  </a:lnTo>
                  <a:lnTo>
                    <a:pt x="2159" y="1260"/>
                  </a:lnTo>
                  <a:lnTo>
                    <a:pt x="2159" y="1264"/>
                  </a:lnTo>
                  <a:lnTo>
                    <a:pt x="2159" y="1266"/>
                  </a:lnTo>
                  <a:lnTo>
                    <a:pt x="2159" y="1270"/>
                  </a:lnTo>
                  <a:lnTo>
                    <a:pt x="2159" y="1270"/>
                  </a:lnTo>
                  <a:lnTo>
                    <a:pt x="2159" y="1270"/>
                  </a:lnTo>
                  <a:lnTo>
                    <a:pt x="2159" y="1270"/>
                  </a:lnTo>
                  <a:close/>
                  <a:moveTo>
                    <a:pt x="2142" y="1294"/>
                  </a:moveTo>
                  <a:lnTo>
                    <a:pt x="2142" y="1294"/>
                  </a:lnTo>
                  <a:lnTo>
                    <a:pt x="2142" y="1290"/>
                  </a:lnTo>
                  <a:lnTo>
                    <a:pt x="2144" y="1281"/>
                  </a:lnTo>
                  <a:lnTo>
                    <a:pt x="2145" y="1279"/>
                  </a:lnTo>
                  <a:lnTo>
                    <a:pt x="2149" y="1275"/>
                  </a:lnTo>
                  <a:lnTo>
                    <a:pt x="2149" y="1271"/>
                  </a:lnTo>
                  <a:lnTo>
                    <a:pt x="2149" y="1271"/>
                  </a:lnTo>
                  <a:lnTo>
                    <a:pt x="2145" y="1271"/>
                  </a:lnTo>
                  <a:lnTo>
                    <a:pt x="2145" y="1271"/>
                  </a:lnTo>
                  <a:lnTo>
                    <a:pt x="2144" y="1270"/>
                  </a:lnTo>
                  <a:lnTo>
                    <a:pt x="2142" y="1270"/>
                  </a:lnTo>
                  <a:lnTo>
                    <a:pt x="2142" y="1275"/>
                  </a:lnTo>
                  <a:lnTo>
                    <a:pt x="2140" y="1279"/>
                  </a:lnTo>
                  <a:lnTo>
                    <a:pt x="2140" y="1285"/>
                  </a:lnTo>
                  <a:lnTo>
                    <a:pt x="2138" y="1288"/>
                  </a:lnTo>
                  <a:lnTo>
                    <a:pt x="2140" y="1290"/>
                  </a:lnTo>
                  <a:lnTo>
                    <a:pt x="2142" y="1294"/>
                  </a:lnTo>
                  <a:lnTo>
                    <a:pt x="2142" y="1294"/>
                  </a:lnTo>
                  <a:lnTo>
                    <a:pt x="2142" y="1294"/>
                  </a:lnTo>
                  <a:lnTo>
                    <a:pt x="2142" y="1294"/>
                  </a:lnTo>
                  <a:close/>
                  <a:moveTo>
                    <a:pt x="35" y="998"/>
                  </a:moveTo>
                  <a:lnTo>
                    <a:pt x="35" y="998"/>
                  </a:lnTo>
                  <a:lnTo>
                    <a:pt x="35" y="1002"/>
                  </a:lnTo>
                  <a:lnTo>
                    <a:pt x="39" y="1002"/>
                  </a:lnTo>
                  <a:lnTo>
                    <a:pt x="39" y="1002"/>
                  </a:lnTo>
                  <a:lnTo>
                    <a:pt x="35" y="998"/>
                  </a:lnTo>
                  <a:lnTo>
                    <a:pt x="35" y="998"/>
                  </a:lnTo>
                  <a:lnTo>
                    <a:pt x="35" y="99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4" name="Freeform 6">
              <a:extLst>
                <a:ext uri="{FF2B5EF4-FFF2-40B4-BE49-F238E27FC236}">
                  <a16:creationId xmlns:a16="http://schemas.microsoft.com/office/drawing/2014/main" id="{DAAFA82C-FB8B-4E6E-B0BC-40CED51BFB5C}"/>
                </a:ext>
              </a:extLst>
            </p:cNvPr>
            <p:cNvSpPr>
              <a:spLocks noEditPoints="1"/>
            </p:cNvSpPr>
            <p:nvPr/>
          </p:nvSpPr>
          <p:spPr bwMode="auto">
            <a:xfrm>
              <a:off x="2901" y="1886"/>
              <a:ext cx="121" cy="91"/>
            </a:xfrm>
            <a:custGeom>
              <a:avLst/>
              <a:gdLst/>
              <a:ahLst/>
              <a:cxnLst>
                <a:cxn ang="0">
                  <a:pos x="96" y="87"/>
                </a:cxn>
                <a:cxn ang="0">
                  <a:pos x="91" y="79"/>
                </a:cxn>
                <a:cxn ang="0">
                  <a:pos x="91" y="83"/>
                </a:cxn>
                <a:cxn ang="0">
                  <a:pos x="87" y="87"/>
                </a:cxn>
                <a:cxn ang="0">
                  <a:pos x="121" y="70"/>
                </a:cxn>
                <a:cxn ang="0">
                  <a:pos x="115" y="62"/>
                </a:cxn>
                <a:cxn ang="0">
                  <a:pos x="78" y="53"/>
                </a:cxn>
                <a:cxn ang="0">
                  <a:pos x="62" y="70"/>
                </a:cxn>
                <a:cxn ang="0">
                  <a:pos x="55" y="62"/>
                </a:cxn>
                <a:cxn ang="0">
                  <a:pos x="57" y="51"/>
                </a:cxn>
                <a:cxn ang="0">
                  <a:pos x="64" y="53"/>
                </a:cxn>
                <a:cxn ang="0">
                  <a:pos x="64" y="47"/>
                </a:cxn>
                <a:cxn ang="0">
                  <a:pos x="76" y="57"/>
                </a:cxn>
                <a:cxn ang="0">
                  <a:pos x="74" y="66"/>
                </a:cxn>
                <a:cxn ang="0">
                  <a:pos x="68" y="72"/>
                </a:cxn>
                <a:cxn ang="0">
                  <a:pos x="76" y="72"/>
                </a:cxn>
                <a:cxn ang="0">
                  <a:pos x="70" y="72"/>
                </a:cxn>
                <a:cxn ang="0">
                  <a:pos x="62" y="76"/>
                </a:cxn>
                <a:cxn ang="0">
                  <a:pos x="68" y="78"/>
                </a:cxn>
                <a:cxn ang="0">
                  <a:pos x="59" y="81"/>
                </a:cxn>
                <a:cxn ang="0">
                  <a:pos x="53" y="72"/>
                </a:cxn>
                <a:cxn ang="0">
                  <a:pos x="44" y="53"/>
                </a:cxn>
                <a:cxn ang="0">
                  <a:pos x="44" y="53"/>
                </a:cxn>
                <a:cxn ang="0">
                  <a:pos x="44" y="76"/>
                </a:cxn>
                <a:cxn ang="0">
                  <a:pos x="40" y="72"/>
                </a:cxn>
                <a:cxn ang="0">
                  <a:pos x="49" y="76"/>
                </a:cxn>
                <a:cxn ang="0">
                  <a:pos x="49" y="68"/>
                </a:cxn>
                <a:cxn ang="0">
                  <a:pos x="44" y="59"/>
                </a:cxn>
                <a:cxn ang="0">
                  <a:pos x="40" y="72"/>
                </a:cxn>
                <a:cxn ang="0">
                  <a:pos x="30" y="59"/>
                </a:cxn>
                <a:cxn ang="0">
                  <a:pos x="51" y="12"/>
                </a:cxn>
                <a:cxn ang="0">
                  <a:pos x="46" y="13"/>
                </a:cxn>
                <a:cxn ang="0">
                  <a:pos x="17" y="27"/>
                </a:cxn>
                <a:cxn ang="0">
                  <a:pos x="14" y="30"/>
                </a:cxn>
                <a:cxn ang="0">
                  <a:pos x="19" y="23"/>
                </a:cxn>
                <a:cxn ang="0">
                  <a:pos x="34" y="23"/>
                </a:cxn>
                <a:cxn ang="0">
                  <a:pos x="40" y="6"/>
                </a:cxn>
                <a:cxn ang="0">
                  <a:pos x="30" y="8"/>
                </a:cxn>
                <a:cxn ang="0">
                  <a:pos x="12" y="23"/>
                </a:cxn>
                <a:cxn ang="0">
                  <a:pos x="6" y="29"/>
                </a:cxn>
                <a:cxn ang="0">
                  <a:pos x="12" y="32"/>
                </a:cxn>
                <a:cxn ang="0">
                  <a:pos x="25" y="70"/>
                </a:cxn>
                <a:cxn ang="0">
                  <a:pos x="25" y="59"/>
                </a:cxn>
                <a:cxn ang="0">
                  <a:pos x="40" y="53"/>
                </a:cxn>
                <a:cxn ang="0">
                  <a:pos x="46" y="44"/>
                </a:cxn>
                <a:cxn ang="0">
                  <a:pos x="49" y="34"/>
                </a:cxn>
                <a:cxn ang="0">
                  <a:pos x="34" y="30"/>
                </a:cxn>
                <a:cxn ang="0">
                  <a:pos x="25" y="25"/>
                </a:cxn>
                <a:cxn ang="0">
                  <a:pos x="25" y="34"/>
                </a:cxn>
                <a:cxn ang="0">
                  <a:pos x="21" y="32"/>
                </a:cxn>
                <a:cxn ang="0">
                  <a:pos x="14" y="38"/>
                </a:cxn>
                <a:cxn ang="0">
                  <a:pos x="6" y="38"/>
                </a:cxn>
                <a:cxn ang="0">
                  <a:pos x="6" y="47"/>
                </a:cxn>
                <a:cxn ang="0">
                  <a:pos x="2" y="61"/>
                </a:cxn>
                <a:cxn ang="0">
                  <a:pos x="10" y="72"/>
                </a:cxn>
                <a:cxn ang="0">
                  <a:pos x="29" y="76"/>
                </a:cxn>
              </a:cxnLst>
              <a:rect l="0" t="0" r="r" b="b"/>
              <a:pathLst>
                <a:path w="121" h="91">
                  <a:moveTo>
                    <a:pt x="87" y="87"/>
                  </a:moveTo>
                  <a:lnTo>
                    <a:pt x="89" y="89"/>
                  </a:lnTo>
                  <a:lnTo>
                    <a:pt x="91" y="91"/>
                  </a:lnTo>
                  <a:lnTo>
                    <a:pt x="94" y="87"/>
                  </a:lnTo>
                  <a:lnTo>
                    <a:pt x="96" y="87"/>
                  </a:lnTo>
                  <a:lnTo>
                    <a:pt x="96" y="85"/>
                  </a:lnTo>
                  <a:lnTo>
                    <a:pt x="96" y="83"/>
                  </a:lnTo>
                  <a:lnTo>
                    <a:pt x="96" y="79"/>
                  </a:lnTo>
                  <a:lnTo>
                    <a:pt x="94" y="79"/>
                  </a:lnTo>
                  <a:lnTo>
                    <a:pt x="91" y="79"/>
                  </a:lnTo>
                  <a:lnTo>
                    <a:pt x="91" y="79"/>
                  </a:lnTo>
                  <a:lnTo>
                    <a:pt x="89" y="79"/>
                  </a:lnTo>
                  <a:lnTo>
                    <a:pt x="89" y="81"/>
                  </a:lnTo>
                  <a:lnTo>
                    <a:pt x="91" y="81"/>
                  </a:lnTo>
                  <a:lnTo>
                    <a:pt x="91" y="83"/>
                  </a:lnTo>
                  <a:lnTo>
                    <a:pt x="89" y="85"/>
                  </a:lnTo>
                  <a:lnTo>
                    <a:pt x="87" y="87"/>
                  </a:lnTo>
                  <a:lnTo>
                    <a:pt x="87" y="87"/>
                  </a:lnTo>
                  <a:lnTo>
                    <a:pt x="87" y="87"/>
                  </a:lnTo>
                  <a:lnTo>
                    <a:pt x="87" y="87"/>
                  </a:lnTo>
                  <a:close/>
                  <a:moveTo>
                    <a:pt x="115" y="62"/>
                  </a:moveTo>
                  <a:lnTo>
                    <a:pt x="115" y="66"/>
                  </a:lnTo>
                  <a:lnTo>
                    <a:pt x="115" y="70"/>
                  </a:lnTo>
                  <a:lnTo>
                    <a:pt x="121" y="72"/>
                  </a:lnTo>
                  <a:lnTo>
                    <a:pt x="121" y="70"/>
                  </a:lnTo>
                  <a:lnTo>
                    <a:pt x="117" y="64"/>
                  </a:lnTo>
                  <a:lnTo>
                    <a:pt x="115" y="62"/>
                  </a:lnTo>
                  <a:lnTo>
                    <a:pt x="115" y="62"/>
                  </a:lnTo>
                  <a:lnTo>
                    <a:pt x="115" y="62"/>
                  </a:lnTo>
                  <a:lnTo>
                    <a:pt x="115" y="62"/>
                  </a:lnTo>
                  <a:close/>
                  <a:moveTo>
                    <a:pt x="78" y="53"/>
                  </a:moveTo>
                  <a:lnTo>
                    <a:pt x="76" y="57"/>
                  </a:lnTo>
                  <a:lnTo>
                    <a:pt x="79" y="59"/>
                  </a:lnTo>
                  <a:lnTo>
                    <a:pt x="78" y="53"/>
                  </a:lnTo>
                  <a:lnTo>
                    <a:pt x="78" y="53"/>
                  </a:lnTo>
                  <a:lnTo>
                    <a:pt x="78" y="53"/>
                  </a:lnTo>
                  <a:lnTo>
                    <a:pt x="78" y="53"/>
                  </a:lnTo>
                  <a:close/>
                  <a:moveTo>
                    <a:pt x="68" y="72"/>
                  </a:moveTo>
                  <a:lnTo>
                    <a:pt x="64" y="72"/>
                  </a:lnTo>
                  <a:lnTo>
                    <a:pt x="62" y="70"/>
                  </a:lnTo>
                  <a:lnTo>
                    <a:pt x="64" y="68"/>
                  </a:lnTo>
                  <a:lnTo>
                    <a:pt x="64" y="66"/>
                  </a:lnTo>
                  <a:lnTo>
                    <a:pt x="59" y="66"/>
                  </a:lnTo>
                  <a:lnTo>
                    <a:pt x="57" y="66"/>
                  </a:lnTo>
                  <a:lnTo>
                    <a:pt x="55" y="62"/>
                  </a:lnTo>
                  <a:lnTo>
                    <a:pt x="55" y="59"/>
                  </a:lnTo>
                  <a:lnTo>
                    <a:pt x="53" y="57"/>
                  </a:lnTo>
                  <a:lnTo>
                    <a:pt x="53" y="53"/>
                  </a:lnTo>
                  <a:lnTo>
                    <a:pt x="55" y="53"/>
                  </a:lnTo>
                  <a:lnTo>
                    <a:pt x="57" y="51"/>
                  </a:lnTo>
                  <a:lnTo>
                    <a:pt x="59" y="49"/>
                  </a:lnTo>
                  <a:lnTo>
                    <a:pt x="61" y="53"/>
                  </a:lnTo>
                  <a:lnTo>
                    <a:pt x="61" y="53"/>
                  </a:lnTo>
                  <a:lnTo>
                    <a:pt x="64" y="57"/>
                  </a:lnTo>
                  <a:lnTo>
                    <a:pt x="64" y="53"/>
                  </a:lnTo>
                  <a:lnTo>
                    <a:pt x="68" y="57"/>
                  </a:lnTo>
                  <a:lnTo>
                    <a:pt x="68" y="53"/>
                  </a:lnTo>
                  <a:lnTo>
                    <a:pt x="64" y="53"/>
                  </a:lnTo>
                  <a:lnTo>
                    <a:pt x="62" y="51"/>
                  </a:lnTo>
                  <a:lnTo>
                    <a:pt x="64" y="47"/>
                  </a:lnTo>
                  <a:lnTo>
                    <a:pt x="70" y="45"/>
                  </a:lnTo>
                  <a:lnTo>
                    <a:pt x="74" y="45"/>
                  </a:lnTo>
                  <a:lnTo>
                    <a:pt x="76" y="49"/>
                  </a:lnTo>
                  <a:lnTo>
                    <a:pt x="76" y="53"/>
                  </a:lnTo>
                  <a:lnTo>
                    <a:pt x="76" y="57"/>
                  </a:lnTo>
                  <a:lnTo>
                    <a:pt x="70" y="59"/>
                  </a:lnTo>
                  <a:lnTo>
                    <a:pt x="70" y="59"/>
                  </a:lnTo>
                  <a:lnTo>
                    <a:pt x="74" y="62"/>
                  </a:lnTo>
                  <a:lnTo>
                    <a:pt x="76" y="64"/>
                  </a:lnTo>
                  <a:lnTo>
                    <a:pt x="74" y="66"/>
                  </a:lnTo>
                  <a:lnTo>
                    <a:pt x="68" y="68"/>
                  </a:lnTo>
                  <a:lnTo>
                    <a:pt x="70" y="70"/>
                  </a:lnTo>
                  <a:lnTo>
                    <a:pt x="68" y="72"/>
                  </a:lnTo>
                  <a:lnTo>
                    <a:pt x="68" y="72"/>
                  </a:lnTo>
                  <a:lnTo>
                    <a:pt x="68" y="72"/>
                  </a:lnTo>
                  <a:lnTo>
                    <a:pt x="68" y="72"/>
                  </a:lnTo>
                  <a:close/>
                  <a:moveTo>
                    <a:pt x="70" y="72"/>
                  </a:moveTo>
                  <a:lnTo>
                    <a:pt x="70" y="76"/>
                  </a:lnTo>
                  <a:lnTo>
                    <a:pt x="72" y="72"/>
                  </a:lnTo>
                  <a:lnTo>
                    <a:pt x="76" y="72"/>
                  </a:lnTo>
                  <a:lnTo>
                    <a:pt x="74" y="70"/>
                  </a:lnTo>
                  <a:lnTo>
                    <a:pt x="72" y="72"/>
                  </a:lnTo>
                  <a:lnTo>
                    <a:pt x="70" y="72"/>
                  </a:lnTo>
                  <a:lnTo>
                    <a:pt x="70" y="72"/>
                  </a:lnTo>
                  <a:lnTo>
                    <a:pt x="70" y="72"/>
                  </a:lnTo>
                  <a:lnTo>
                    <a:pt x="70" y="72"/>
                  </a:lnTo>
                  <a:close/>
                  <a:moveTo>
                    <a:pt x="55" y="72"/>
                  </a:moveTo>
                  <a:lnTo>
                    <a:pt x="59" y="76"/>
                  </a:lnTo>
                  <a:lnTo>
                    <a:pt x="61" y="76"/>
                  </a:lnTo>
                  <a:lnTo>
                    <a:pt x="62" y="76"/>
                  </a:lnTo>
                  <a:lnTo>
                    <a:pt x="64" y="72"/>
                  </a:lnTo>
                  <a:lnTo>
                    <a:pt x="68" y="72"/>
                  </a:lnTo>
                  <a:lnTo>
                    <a:pt x="68" y="72"/>
                  </a:lnTo>
                  <a:lnTo>
                    <a:pt x="70" y="76"/>
                  </a:lnTo>
                  <a:lnTo>
                    <a:pt x="68" y="78"/>
                  </a:lnTo>
                  <a:lnTo>
                    <a:pt x="68" y="81"/>
                  </a:lnTo>
                  <a:lnTo>
                    <a:pt x="66" y="81"/>
                  </a:lnTo>
                  <a:lnTo>
                    <a:pt x="66" y="78"/>
                  </a:lnTo>
                  <a:lnTo>
                    <a:pt x="64" y="79"/>
                  </a:lnTo>
                  <a:lnTo>
                    <a:pt x="59" y="81"/>
                  </a:lnTo>
                  <a:lnTo>
                    <a:pt x="53" y="79"/>
                  </a:lnTo>
                  <a:lnTo>
                    <a:pt x="51" y="78"/>
                  </a:lnTo>
                  <a:lnTo>
                    <a:pt x="53" y="76"/>
                  </a:lnTo>
                  <a:lnTo>
                    <a:pt x="51" y="76"/>
                  </a:lnTo>
                  <a:lnTo>
                    <a:pt x="53" y="72"/>
                  </a:lnTo>
                  <a:lnTo>
                    <a:pt x="55" y="72"/>
                  </a:lnTo>
                  <a:lnTo>
                    <a:pt x="55" y="72"/>
                  </a:lnTo>
                  <a:lnTo>
                    <a:pt x="55" y="72"/>
                  </a:lnTo>
                  <a:lnTo>
                    <a:pt x="55" y="72"/>
                  </a:lnTo>
                  <a:close/>
                  <a:moveTo>
                    <a:pt x="44" y="53"/>
                  </a:moveTo>
                  <a:lnTo>
                    <a:pt x="44" y="53"/>
                  </a:lnTo>
                  <a:lnTo>
                    <a:pt x="44" y="47"/>
                  </a:lnTo>
                  <a:lnTo>
                    <a:pt x="44" y="51"/>
                  </a:lnTo>
                  <a:lnTo>
                    <a:pt x="44" y="53"/>
                  </a:lnTo>
                  <a:lnTo>
                    <a:pt x="44" y="53"/>
                  </a:lnTo>
                  <a:lnTo>
                    <a:pt x="44" y="53"/>
                  </a:lnTo>
                  <a:lnTo>
                    <a:pt x="44" y="53"/>
                  </a:lnTo>
                  <a:lnTo>
                    <a:pt x="44" y="53"/>
                  </a:lnTo>
                  <a:close/>
                  <a:moveTo>
                    <a:pt x="40" y="72"/>
                  </a:moveTo>
                  <a:lnTo>
                    <a:pt x="44" y="76"/>
                  </a:lnTo>
                  <a:lnTo>
                    <a:pt x="44" y="76"/>
                  </a:lnTo>
                  <a:lnTo>
                    <a:pt x="40" y="72"/>
                  </a:lnTo>
                  <a:lnTo>
                    <a:pt x="40" y="72"/>
                  </a:lnTo>
                  <a:lnTo>
                    <a:pt x="40" y="72"/>
                  </a:lnTo>
                  <a:lnTo>
                    <a:pt x="40" y="72"/>
                  </a:lnTo>
                  <a:close/>
                  <a:moveTo>
                    <a:pt x="49" y="68"/>
                  </a:moveTo>
                  <a:lnTo>
                    <a:pt x="49" y="72"/>
                  </a:lnTo>
                  <a:lnTo>
                    <a:pt x="46" y="76"/>
                  </a:lnTo>
                  <a:lnTo>
                    <a:pt x="46" y="76"/>
                  </a:lnTo>
                  <a:lnTo>
                    <a:pt x="49" y="76"/>
                  </a:lnTo>
                  <a:lnTo>
                    <a:pt x="51" y="70"/>
                  </a:lnTo>
                  <a:lnTo>
                    <a:pt x="51" y="70"/>
                  </a:lnTo>
                  <a:lnTo>
                    <a:pt x="49" y="68"/>
                  </a:lnTo>
                  <a:lnTo>
                    <a:pt x="49" y="68"/>
                  </a:lnTo>
                  <a:lnTo>
                    <a:pt x="49" y="68"/>
                  </a:lnTo>
                  <a:lnTo>
                    <a:pt x="49" y="68"/>
                  </a:lnTo>
                  <a:close/>
                  <a:moveTo>
                    <a:pt x="30" y="59"/>
                  </a:moveTo>
                  <a:lnTo>
                    <a:pt x="38" y="57"/>
                  </a:lnTo>
                  <a:lnTo>
                    <a:pt x="40" y="59"/>
                  </a:lnTo>
                  <a:lnTo>
                    <a:pt x="44" y="59"/>
                  </a:lnTo>
                  <a:lnTo>
                    <a:pt x="46" y="64"/>
                  </a:lnTo>
                  <a:lnTo>
                    <a:pt x="49" y="68"/>
                  </a:lnTo>
                  <a:lnTo>
                    <a:pt x="44" y="72"/>
                  </a:lnTo>
                  <a:lnTo>
                    <a:pt x="40" y="72"/>
                  </a:lnTo>
                  <a:lnTo>
                    <a:pt x="40" y="72"/>
                  </a:lnTo>
                  <a:lnTo>
                    <a:pt x="34" y="70"/>
                  </a:lnTo>
                  <a:lnTo>
                    <a:pt x="30" y="66"/>
                  </a:lnTo>
                  <a:lnTo>
                    <a:pt x="30" y="62"/>
                  </a:lnTo>
                  <a:lnTo>
                    <a:pt x="30" y="59"/>
                  </a:lnTo>
                  <a:lnTo>
                    <a:pt x="30" y="59"/>
                  </a:lnTo>
                  <a:lnTo>
                    <a:pt x="30" y="59"/>
                  </a:lnTo>
                  <a:lnTo>
                    <a:pt x="30" y="59"/>
                  </a:lnTo>
                  <a:close/>
                  <a:moveTo>
                    <a:pt x="46" y="13"/>
                  </a:moveTo>
                  <a:lnTo>
                    <a:pt x="49" y="12"/>
                  </a:lnTo>
                  <a:lnTo>
                    <a:pt x="51" y="12"/>
                  </a:lnTo>
                  <a:lnTo>
                    <a:pt x="49" y="13"/>
                  </a:lnTo>
                  <a:lnTo>
                    <a:pt x="46" y="13"/>
                  </a:lnTo>
                  <a:lnTo>
                    <a:pt x="46" y="13"/>
                  </a:lnTo>
                  <a:lnTo>
                    <a:pt x="46" y="13"/>
                  </a:lnTo>
                  <a:lnTo>
                    <a:pt x="46" y="13"/>
                  </a:lnTo>
                  <a:close/>
                  <a:moveTo>
                    <a:pt x="14" y="30"/>
                  </a:moveTo>
                  <a:lnTo>
                    <a:pt x="12" y="27"/>
                  </a:lnTo>
                  <a:lnTo>
                    <a:pt x="15" y="25"/>
                  </a:lnTo>
                  <a:lnTo>
                    <a:pt x="19" y="25"/>
                  </a:lnTo>
                  <a:lnTo>
                    <a:pt x="17" y="27"/>
                  </a:lnTo>
                  <a:lnTo>
                    <a:pt x="15" y="30"/>
                  </a:lnTo>
                  <a:lnTo>
                    <a:pt x="14" y="30"/>
                  </a:lnTo>
                  <a:lnTo>
                    <a:pt x="14" y="30"/>
                  </a:lnTo>
                  <a:lnTo>
                    <a:pt x="14" y="30"/>
                  </a:lnTo>
                  <a:lnTo>
                    <a:pt x="14" y="30"/>
                  </a:lnTo>
                  <a:close/>
                  <a:moveTo>
                    <a:pt x="12" y="32"/>
                  </a:moveTo>
                  <a:lnTo>
                    <a:pt x="10" y="29"/>
                  </a:lnTo>
                  <a:lnTo>
                    <a:pt x="12" y="25"/>
                  </a:lnTo>
                  <a:lnTo>
                    <a:pt x="17" y="23"/>
                  </a:lnTo>
                  <a:lnTo>
                    <a:pt x="19" y="23"/>
                  </a:lnTo>
                  <a:lnTo>
                    <a:pt x="23" y="23"/>
                  </a:lnTo>
                  <a:lnTo>
                    <a:pt x="25" y="23"/>
                  </a:lnTo>
                  <a:lnTo>
                    <a:pt x="29" y="23"/>
                  </a:lnTo>
                  <a:lnTo>
                    <a:pt x="30" y="23"/>
                  </a:lnTo>
                  <a:lnTo>
                    <a:pt x="34" y="23"/>
                  </a:lnTo>
                  <a:lnTo>
                    <a:pt x="38" y="23"/>
                  </a:lnTo>
                  <a:lnTo>
                    <a:pt x="40" y="17"/>
                  </a:lnTo>
                  <a:lnTo>
                    <a:pt x="40" y="12"/>
                  </a:lnTo>
                  <a:lnTo>
                    <a:pt x="40" y="12"/>
                  </a:lnTo>
                  <a:lnTo>
                    <a:pt x="40" y="6"/>
                  </a:lnTo>
                  <a:lnTo>
                    <a:pt x="44" y="2"/>
                  </a:lnTo>
                  <a:lnTo>
                    <a:pt x="44" y="0"/>
                  </a:lnTo>
                  <a:lnTo>
                    <a:pt x="38" y="6"/>
                  </a:lnTo>
                  <a:lnTo>
                    <a:pt x="30" y="8"/>
                  </a:lnTo>
                  <a:lnTo>
                    <a:pt x="30" y="8"/>
                  </a:lnTo>
                  <a:lnTo>
                    <a:pt x="25" y="12"/>
                  </a:lnTo>
                  <a:lnTo>
                    <a:pt x="25" y="17"/>
                  </a:lnTo>
                  <a:lnTo>
                    <a:pt x="21" y="19"/>
                  </a:lnTo>
                  <a:lnTo>
                    <a:pt x="17" y="19"/>
                  </a:lnTo>
                  <a:lnTo>
                    <a:pt x="12" y="23"/>
                  </a:lnTo>
                  <a:lnTo>
                    <a:pt x="12" y="23"/>
                  </a:lnTo>
                  <a:lnTo>
                    <a:pt x="8" y="23"/>
                  </a:lnTo>
                  <a:lnTo>
                    <a:pt x="6" y="25"/>
                  </a:lnTo>
                  <a:lnTo>
                    <a:pt x="4" y="29"/>
                  </a:lnTo>
                  <a:lnTo>
                    <a:pt x="6" y="29"/>
                  </a:lnTo>
                  <a:lnTo>
                    <a:pt x="8" y="29"/>
                  </a:lnTo>
                  <a:lnTo>
                    <a:pt x="12" y="32"/>
                  </a:lnTo>
                  <a:lnTo>
                    <a:pt x="12" y="32"/>
                  </a:lnTo>
                  <a:lnTo>
                    <a:pt x="12" y="32"/>
                  </a:lnTo>
                  <a:lnTo>
                    <a:pt x="12" y="32"/>
                  </a:lnTo>
                  <a:close/>
                  <a:moveTo>
                    <a:pt x="29" y="76"/>
                  </a:moveTo>
                  <a:lnTo>
                    <a:pt x="29" y="76"/>
                  </a:lnTo>
                  <a:lnTo>
                    <a:pt x="29" y="72"/>
                  </a:lnTo>
                  <a:lnTo>
                    <a:pt x="25" y="70"/>
                  </a:lnTo>
                  <a:lnTo>
                    <a:pt x="25" y="70"/>
                  </a:lnTo>
                  <a:lnTo>
                    <a:pt x="25" y="68"/>
                  </a:lnTo>
                  <a:lnTo>
                    <a:pt x="25" y="66"/>
                  </a:lnTo>
                  <a:lnTo>
                    <a:pt x="29" y="62"/>
                  </a:lnTo>
                  <a:lnTo>
                    <a:pt x="25" y="62"/>
                  </a:lnTo>
                  <a:lnTo>
                    <a:pt x="25" y="59"/>
                  </a:lnTo>
                  <a:lnTo>
                    <a:pt x="34" y="57"/>
                  </a:lnTo>
                  <a:lnTo>
                    <a:pt x="30" y="57"/>
                  </a:lnTo>
                  <a:lnTo>
                    <a:pt x="34" y="53"/>
                  </a:lnTo>
                  <a:lnTo>
                    <a:pt x="34" y="53"/>
                  </a:lnTo>
                  <a:lnTo>
                    <a:pt x="40" y="53"/>
                  </a:lnTo>
                  <a:lnTo>
                    <a:pt x="40" y="47"/>
                  </a:lnTo>
                  <a:lnTo>
                    <a:pt x="38" y="44"/>
                  </a:lnTo>
                  <a:lnTo>
                    <a:pt x="40" y="42"/>
                  </a:lnTo>
                  <a:lnTo>
                    <a:pt x="44" y="42"/>
                  </a:lnTo>
                  <a:lnTo>
                    <a:pt x="46" y="44"/>
                  </a:lnTo>
                  <a:lnTo>
                    <a:pt x="46" y="42"/>
                  </a:lnTo>
                  <a:lnTo>
                    <a:pt x="49" y="44"/>
                  </a:lnTo>
                  <a:lnTo>
                    <a:pt x="49" y="42"/>
                  </a:lnTo>
                  <a:lnTo>
                    <a:pt x="49" y="38"/>
                  </a:lnTo>
                  <a:lnTo>
                    <a:pt x="49" y="34"/>
                  </a:lnTo>
                  <a:lnTo>
                    <a:pt x="46" y="38"/>
                  </a:lnTo>
                  <a:lnTo>
                    <a:pt x="40" y="38"/>
                  </a:lnTo>
                  <a:lnTo>
                    <a:pt x="40" y="34"/>
                  </a:lnTo>
                  <a:lnTo>
                    <a:pt x="38" y="32"/>
                  </a:lnTo>
                  <a:lnTo>
                    <a:pt x="34" y="30"/>
                  </a:lnTo>
                  <a:lnTo>
                    <a:pt x="38" y="29"/>
                  </a:lnTo>
                  <a:lnTo>
                    <a:pt x="38" y="25"/>
                  </a:lnTo>
                  <a:lnTo>
                    <a:pt x="34" y="23"/>
                  </a:lnTo>
                  <a:lnTo>
                    <a:pt x="29" y="23"/>
                  </a:lnTo>
                  <a:lnTo>
                    <a:pt x="25" y="25"/>
                  </a:lnTo>
                  <a:lnTo>
                    <a:pt x="21" y="23"/>
                  </a:lnTo>
                  <a:lnTo>
                    <a:pt x="21" y="25"/>
                  </a:lnTo>
                  <a:lnTo>
                    <a:pt x="23" y="30"/>
                  </a:lnTo>
                  <a:lnTo>
                    <a:pt x="23" y="30"/>
                  </a:lnTo>
                  <a:lnTo>
                    <a:pt x="25" y="34"/>
                  </a:lnTo>
                  <a:lnTo>
                    <a:pt x="25" y="34"/>
                  </a:lnTo>
                  <a:lnTo>
                    <a:pt x="23" y="34"/>
                  </a:lnTo>
                  <a:lnTo>
                    <a:pt x="19" y="34"/>
                  </a:lnTo>
                  <a:lnTo>
                    <a:pt x="19" y="34"/>
                  </a:lnTo>
                  <a:lnTo>
                    <a:pt x="21" y="32"/>
                  </a:lnTo>
                  <a:lnTo>
                    <a:pt x="19" y="29"/>
                  </a:lnTo>
                  <a:lnTo>
                    <a:pt x="17" y="29"/>
                  </a:lnTo>
                  <a:lnTo>
                    <a:pt x="15" y="32"/>
                  </a:lnTo>
                  <a:lnTo>
                    <a:pt x="17" y="34"/>
                  </a:lnTo>
                  <a:lnTo>
                    <a:pt x="14" y="38"/>
                  </a:lnTo>
                  <a:lnTo>
                    <a:pt x="10" y="34"/>
                  </a:lnTo>
                  <a:lnTo>
                    <a:pt x="8" y="34"/>
                  </a:lnTo>
                  <a:lnTo>
                    <a:pt x="4" y="34"/>
                  </a:lnTo>
                  <a:lnTo>
                    <a:pt x="2" y="34"/>
                  </a:lnTo>
                  <a:lnTo>
                    <a:pt x="6" y="38"/>
                  </a:lnTo>
                  <a:lnTo>
                    <a:pt x="6" y="42"/>
                  </a:lnTo>
                  <a:lnTo>
                    <a:pt x="4" y="42"/>
                  </a:lnTo>
                  <a:lnTo>
                    <a:pt x="2" y="42"/>
                  </a:lnTo>
                  <a:lnTo>
                    <a:pt x="2" y="45"/>
                  </a:lnTo>
                  <a:lnTo>
                    <a:pt x="6" y="47"/>
                  </a:lnTo>
                  <a:lnTo>
                    <a:pt x="6" y="51"/>
                  </a:lnTo>
                  <a:lnTo>
                    <a:pt x="8" y="53"/>
                  </a:lnTo>
                  <a:lnTo>
                    <a:pt x="2" y="53"/>
                  </a:lnTo>
                  <a:lnTo>
                    <a:pt x="0" y="59"/>
                  </a:lnTo>
                  <a:lnTo>
                    <a:pt x="2" y="61"/>
                  </a:lnTo>
                  <a:lnTo>
                    <a:pt x="6" y="59"/>
                  </a:lnTo>
                  <a:lnTo>
                    <a:pt x="10" y="64"/>
                  </a:lnTo>
                  <a:lnTo>
                    <a:pt x="12" y="70"/>
                  </a:lnTo>
                  <a:lnTo>
                    <a:pt x="10" y="70"/>
                  </a:lnTo>
                  <a:lnTo>
                    <a:pt x="10" y="72"/>
                  </a:lnTo>
                  <a:lnTo>
                    <a:pt x="15" y="72"/>
                  </a:lnTo>
                  <a:lnTo>
                    <a:pt x="23" y="76"/>
                  </a:lnTo>
                  <a:lnTo>
                    <a:pt x="25" y="76"/>
                  </a:lnTo>
                  <a:lnTo>
                    <a:pt x="29" y="76"/>
                  </a:lnTo>
                  <a:lnTo>
                    <a:pt x="29" y="76"/>
                  </a:lnTo>
                  <a:lnTo>
                    <a:pt x="29" y="76"/>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5" name="Freeform 7">
              <a:extLst>
                <a:ext uri="{FF2B5EF4-FFF2-40B4-BE49-F238E27FC236}">
                  <a16:creationId xmlns:a16="http://schemas.microsoft.com/office/drawing/2014/main" id="{1746BC7E-B545-43AE-99B9-D9CB56D9D4C1}"/>
                </a:ext>
              </a:extLst>
            </p:cNvPr>
            <p:cNvSpPr>
              <a:spLocks noEditPoints="1"/>
            </p:cNvSpPr>
            <p:nvPr/>
          </p:nvSpPr>
          <p:spPr bwMode="auto">
            <a:xfrm>
              <a:off x="2849" y="1447"/>
              <a:ext cx="374" cy="434"/>
            </a:xfrm>
            <a:custGeom>
              <a:avLst/>
              <a:gdLst/>
              <a:ahLst/>
              <a:cxnLst>
                <a:cxn ang="0">
                  <a:pos x="355" y="49"/>
                </a:cxn>
                <a:cxn ang="0">
                  <a:pos x="370" y="23"/>
                </a:cxn>
                <a:cxn ang="0">
                  <a:pos x="335" y="12"/>
                </a:cxn>
                <a:cxn ang="0">
                  <a:pos x="320" y="15"/>
                </a:cxn>
                <a:cxn ang="0">
                  <a:pos x="310" y="12"/>
                </a:cxn>
                <a:cxn ang="0">
                  <a:pos x="291" y="15"/>
                </a:cxn>
                <a:cxn ang="0">
                  <a:pos x="278" y="12"/>
                </a:cxn>
                <a:cxn ang="0">
                  <a:pos x="259" y="34"/>
                </a:cxn>
                <a:cxn ang="0">
                  <a:pos x="231" y="46"/>
                </a:cxn>
                <a:cxn ang="0">
                  <a:pos x="216" y="70"/>
                </a:cxn>
                <a:cxn ang="0">
                  <a:pos x="201" y="76"/>
                </a:cxn>
                <a:cxn ang="0">
                  <a:pos x="177" y="85"/>
                </a:cxn>
                <a:cxn ang="0">
                  <a:pos x="178" y="104"/>
                </a:cxn>
                <a:cxn ang="0">
                  <a:pos x="152" y="117"/>
                </a:cxn>
                <a:cxn ang="0">
                  <a:pos x="154" y="142"/>
                </a:cxn>
                <a:cxn ang="0">
                  <a:pos x="133" y="155"/>
                </a:cxn>
                <a:cxn ang="0">
                  <a:pos x="120" y="177"/>
                </a:cxn>
                <a:cxn ang="0">
                  <a:pos x="116" y="202"/>
                </a:cxn>
                <a:cxn ang="0">
                  <a:pos x="103" y="226"/>
                </a:cxn>
                <a:cxn ang="0">
                  <a:pos x="79" y="258"/>
                </a:cxn>
                <a:cxn ang="0">
                  <a:pos x="99" y="260"/>
                </a:cxn>
                <a:cxn ang="0">
                  <a:pos x="71" y="274"/>
                </a:cxn>
                <a:cxn ang="0">
                  <a:pos x="49" y="283"/>
                </a:cxn>
                <a:cxn ang="0">
                  <a:pos x="47" y="296"/>
                </a:cxn>
                <a:cxn ang="0">
                  <a:pos x="26" y="307"/>
                </a:cxn>
                <a:cxn ang="0">
                  <a:pos x="26" y="322"/>
                </a:cxn>
                <a:cxn ang="0">
                  <a:pos x="5" y="338"/>
                </a:cxn>
                <a:cxn ang="0">
                  <a:pos x="41" y="341"/>
                </a:cxn>
                <a:cxn ang="0">
                  <a:pos x="7" y="349"/>
                </a:cxn>
                <a:cxn ang="0">
                  <a:pos x="30" y="360"/>
                </a:cxn>
                <a:cxn ang="0">
                  <a:pos x="15" y="383"/>
                </a:cxn>
                <a:cxn ang="0">
                  <a:pos x="26" y="409"/>
                </a:cxn>
                <a:cxn ang="0">
                  <a:pos x="49" y="430"/>
                </a:cxn>
                <a:cxn ang="0">
                  <a:pos x="73" y="392"/>
                </a:cxn>
                <a:cxn ang="0">
                  <a:pos x="92" y="377"/>
                </a:cxn>
                <a:cxn ang="0">
                  <a:pos x="120" y="368"/>
                </a:cxn>
                <a:cxn ang="0">
                  <a:pos x="133" y="247"/>
                </a:cxn>
                <a:cxn ang="0">
                  <a:pos x="169" y="125"/>
                </a:cxn>
                <a:cxn ang="0">
                  <a:pos x="216" y="96"/>
                </a:cxn>
                <a:cxn ang="0">
                  <a:pos x="267" y="89"/>
                </a:cxn>
                <a:cxn ang="0">
                  <a:pos x="316" y="42"/>
                </a:cxn>
                <a:cxn ang="0">
                  <a:pos x="5" y="379"/>
                </a:cxn>
                <a:cxn ang="0">
                  <a:pos x="0" y="353"/>
                </a:cxn>
                <a:cxn ang="0">
                  <a:pos x="0" y="362"/>
                </a:cxn>
                <a:cxn ang="0">
                  <a:pos x="2" y="317"/>
                </a:cxn>
                <a:cxn ang="0">
                  <a:pos x="50" y="279"/>
                </a:cxn>
                <a:cxn ang="0">
                  <a:pos x="54" y="274"/>
                </a:cxn>
                <a:cxn ang="0">
                  <a:pos x="92" y="226"/>
                </a:cxn>
                <a:cxn ang="0">
                  <a:pos x="113" y="191"/>
                </a:cxn>
                <a:cxn ang="0">
                  <a:pos x="111" y="130"/>
                </a:cxn>
                <a:cxn ang="0">
                  <a:pos x="126" y="113"/>
                </a:cxn>
                <a:cxn ang="0">
                  <a:pos x="145" y="96"/>
                </a:cxn>
                <a:cxn ang="0">
                  <a:pos x="154" y="83"/>
                </a:cxn>
                <a:cxn ang="0">
                  <a:pos x="160" y="96"/>
                </a:cxn>
                <a:cxn ang="0">
                  <a:pos x="182" y="72"/>
                </a:cxn>
                <a:cxn ang="0">
                  <a:pos x="182" y="72"/>
                </a:cxn>
                <a:cxn ang="0">
                  <a:pos x="192" y="47"/>
                </a:cxn>
                <a:cxn ang="0">
                  <a:pos x="203" y="47"/>
                </a:cxn>
                <a:cxn ang="0">
                  <a:pos x="222" y="42"/>
                </a:cxn>
                <a:cxn ang="0">
                  <a:pos x="252" y="34"/>
                </a:cxn>
                <a:cxn ang="0">
                  <a:pos x="259" y="25"/>
                </a:cxn>
                <a:cxn ang="0">
                  <a:pos x="280" y="8"/>
                </a:cxn>
              </a:cxnLst>
              <a:rect l="0" t="0" r="r" b="b"/>
              <a:pathLst>
                <a:path w="374" h="434">
                  <a:moveTo>
                    <a:pt x="346" y="78"/>
                  </a:moveTo>
                  <a:lnTo>
                    <a:pt x="350" y="76"/>
                  </a:lnTo>
                  <a:lnTo>
                    <a:pt x="350" y="70"/>
                  </a:lnTo>
                  <a:lnTo>
                    <a:pt x="354" y="66"/>
                  </a:lnTo>
                  <a:lnTo>
                    <a:pt x="357" y="66"/>
                  </a:lnTo>
                  <a:lnTo>
                    <a:pt x="361" y="63"/>
                  </a:lnTo>
                  <a:lnTo>
                    <a:pt x="359" y="57"/>
                  </a:lnTo>
                  <a:lnTo>
                    <a:pt x="363" y="55"/>
                  </a:lnTo>
                  <a:lnTo>
                    <a:pt x="367" y="57"/>
                  </a:lnTo>
                  <a:lnTo>
                    <a:pt x="370" y="55"/>
                  </a:lnTo>
                  <a:lnTo>
                    <a:pt x="369" y="51"/>
                  </a:lnTo>
                  <a:lnTo>
                    <a:pt x="369" y="49"/>
                  </a:lnTo>
                  <a:lnTo>
                    <a:pt x="365" y="47"/>
                  </a:lnTo>
                  <a:lnTo>
                    <a:pt x="365" y="47"/>
                  </a:lnTo>
                  <a:lnTo>
                    <a:pt x="363" y="49"/>
                  </a:lnTo>
                  <a:lnTo>
                    <a:pt x="363" y="51"/>
                  </a:lnTo>
                  <a:lnTo>
                    <a:pt x="361" y="49"/>
                  </a:lnTo>
                  <a:lnTo>
                    <a:pt x="359" y="47"/>
                  </a:lnTo>
                  <a:lnTo>
                    <a:pt x="357" y="47"/>
                  </a:lnTo>
                  <a:lnTo>
                    <a:pt x="359" y="49"/>
                  </a:lnTo>
                  <a:lnTo>
                    <a:pt x="357" y="53"/>
                  </a:lnTo>
                  <a:lnTo>
                    <a:pt x="355" y="53"/>
                  </a:lnTo>
                  <a:lnTo>
                    <a:pt x="355" y="49"/>
                  </a:lnTo>
                  <a:lnTo>
                    <a:pt x="354" y="51"/>
                  </a:lnTo>
                  <a:lnTo>
                    <a:pt x="354" y="53"/>
                  </a:lnTo>
                  <a:lnTo>
                    <a:pt x="350" y="51"/>
                  </a:lnTo>
                  <a:lnTo>
                    <a:pt x="350" y="47"/>
                  </a:lnTo>
                  <a:lnTo>
                    <a:pt x="350" y="46"/>
                  </a:lnTo>
                  <a:lnTo>
                    <a:pt x="348" y="42"/>
                  </a:lnTo>
                  <a:lnTo>
                    <a:pt x="346" y="42"/>
                  </a:lnTo>
                  <a:lnTo>
                    <a:pt x="340" y="42"/>
                  </a:lnTo>
                  <a:lnTo>
                    <a:pt x="340" y="42"/>
                  </a:lnTo>
                  <a:lnTo>
                    <a:pt x="335" y="42"/>
                  </a:lnTo>
                  <a:lnTo>
                    <a:pt x="333" y="36"/>
                  </a:lnTo>
                  <a:lnTo>
                    <a:pt x="335" y="36"/>
                  </a:lnTo>
                  <a:lnTo>
                    <a:pt x="340" y="40"/>
                  </a:lnTo>
                  <a:lnTo>
                    <a:pt x="344" y="36"/>
                  </a:lnTo>
                  <a:lnTo>
                    <a:pt x="348" y="40"/>
                  </a:lnTo>
                  <a:lnTo>
                    <a:pt x="354" y="40"/>
                  </a:lnTo>
                  <a:lnTo>
                    <a:pt x="359" y="36"/>
                  </a:lnTo>
                  <a:lnTo>
                    <a:pt x="363" y="32"/>
                  </a:lnTo>
                  <a:lnTo>
                    <a:pt x="370" y="31"/>
                  </a:lnTo>
                  <a:lnTo>
                    <a:pt x="374" y="27"/>
                  </a:lnTo>
                  <a:lnTo>
                    <a:pt x="374" y="27"/>
                  </a:lnTo>
                  <a:lnTo>
                    <a:pt x="372" y="25"/>
                  </a:lnTo>
                  <a:lnTo>
                    <a:pt x="370" y="23"/>
                  </a:lnTo>
                  <a:lnTo>
                    <a:pt x="369" y="23"/>
                  </a:lnTo>
                  <a:lnTo>
                    <a:pt x="365" y="23"/>
                  </a:lnTo>
                  <a:lnTo>
                    <a:pt x="359" y="19"/>
                  </a:lnTo>
                  <a:lnTo>
                    <a:pt x="357" y="19"/>
                  </a:lnTo>
                  <a:lnTo>
                    <a:pt x="354" y="23"/>
                  </a:lnTo>
                  <a:lnTo>
                    <a:pt x="354" y="23"/>
                  </a:lnTo>
                  <a:lnTo>
                    <a:pt x="354" y="21"/>
                  </a:lnTo>
                  <a:lnTo>
                    <a:pt x="355" y="19"/>
                  </a:lnTo>
                  <a:lnTo>
                    <a:pt x="355" y="17"/>
                  </a:lnTo>
                  <a:lnTo>
                    <a:pt x="354" y="15"/>
                  </a:lnTo>
                  <a:lnTo>
                    <a:pt x="350" y="15"/>
                  </a:lnTo>
                  <a:lnTo>
                    <a:pt x="350" y="15"/>
                  </a:lnTo>
                  <a:lnTo>
                    <a:pt x="348" y="19"/>
                  </a:lnTo>
                  <a:lnTo>
                    <a:pt x="346" y="19"/>
                  </a:lnTo>
                  <a:lnTo>
                    <a:pt x="346" y="15"/>
                  </a:lnTo>
                  <a:lnTo>
                    <a:pt x="344" y="15"/>
                  </a:lnTo>
                  <a:lnTo>
                    <a:pt x="340" y="19"/>
                  </a:lnTo>
                  <a:lnTo>
                    <a:pt x="340" y="19"/>
                  </a:lnTo>
                  <a:lnTo>
                    <a:pt x="340" y="15"/>
                  </a:lnTo>
                  <a:lnTo>
                    <a:pt x="340" y="15"/>
                  </a:lnTo>
                  <a:lnTo>
                    <a:pt x="340" y="12"/>
                  </a:lnTo>
                  <a:lnTo>
                    <a:pt x="338" y="12"/>
                  </a:lnTo>
                  <a:lnTo>
                    <a:pt x="335" y="12"/>
                  </a:lnTo>
                  <a:lnTo>
                    <a:pt x="333" y="12"/>
                  </a:lnTo>
                  <a:lnTo>
                    <a:pt x="333" y="17"/>
                  </a:lnTo>
                  <a:lnTo>
                    <a:pt x="329" y="17"/>
                  </a:lnTo>
                  <a:lnTo>
                    <a:pt x="329" y="19"/>
                  </a:lnTo>
                  <a:lnTo>
                    <a:pt x="333" y="25"/>
                  </a:lnTo>
                  <a:lnTo>
                    <a:pt x="331" y="27"/>
                  </a:lnTo>
                  <a:lnTo>
                    <a:pt x="329" y="29"/>
                  </a:lnTo>
                  <a:lnTo>
                    <a:pt x="329" y="27"/>
                  </a:lnTo>
                  <a:lnTo>
                    <a:pt x="325" y="27"/>
                  </a:lnTo>
                  <a:lnTo>
                    <a:pt x="325" y="27"/>
                  </a:lnTo>
                  <a:lnTo>
                    <a:pt x="322" y="27"/>
                  </a:lnTo>
                  <a:lnTo>
                    <a:pt x="320" y="29"/>
                  </a:lnTo>
                  <a:lnTo>
                    <a:pt x="322" y="23"/>
                  </a:lnTo>
                  <a:lnTo>
                    <a:pt x="325" y="23"/>
                  </a:lnTo>
                  <a:lnTo>
                    <a:pt x="325" y="19"/>
                  </a:lnTo>
                  <a:lnTo>
                    <a:pt x="325" y="17"/>
                  </a:lnTo>
                  <a:lnTo>
                    <a:pt x="325" y="17"/>
                  </a:lnTo>
                  <a:lnTo>
                    <a:pt x="320" y="21"/>
                  </a:lnTo>
                  <a:lnTo>
                    <a:pt x="320" y="19"/>
                  </a:lnTo>
                  <a:lnTo>
                    <a:pt x="320" y="17"/>
                  </a:lnTo>
                  <a:lnTo>
                    <a:pt x="320" y="15"/>
                  </a:lnTo>
                  <a:lnTo>
                    <a:pt x="322" y="15"/>
                  </a:lnTo>
                  <a:lnTo>
                    <a:pt x="320" y="15"/>
                  </a:lnTo>
                  <a:lnTo>
                    <a:pt x="316" y="12"/>
                  </a:lnTo>
                  <a:lnTo>
                    <a:pt x="320" y="12"/>
                  </a:lnTo>
                  <a:lnTo>
                    <a:pt x="322" y="12"/>
                  </a:lnTo>
                  <a:lnTo>
                    <a:pt x="325" y="12"/>
                  </a:lnTo>
                  <a:lnTo>
                    <a:pt x="329" y="8"/>
                  </a:lnTo>
                  <a:lnTo>
                    <a:pt x="329" y="6"/>
                  </a:lnTo>
                  <a:lnTo>
                    <a:pt x="325" y="6"/>
                  </a:lnTo>
                  <a:lnTo>
                    <a:pt x="322" y="6"/>
                  </a:lnTo>
                  <a:lnTo>
                    <a:pt x="322" y="2"/>
                  </a:lnTo>
                  <a:lnTo>
                    <a:pt x="322" y="0"/>
                  </a:lnTo>
                  <a:lnTo>
                    <a:pt x="320" y="2"/>
                  </a:lnTo>
                  <a:lnTo>
                    <a:pt x="316" y="2"/>
                  </a:lnTo>
                  <a:lnTo>
                    <a:pt x="316" y="0"/>
                  </a:lnTo>
                  <a:lnTo>
                    <a:pt x="312" y="2"/>
                  </a:lnTo>
                  <a:lnTo>
                    <a:pt x="312" y="2"/>
                  </a:lnTo>
                  <a:lnTo>
                    <a:pt x="316" y="8"/>
                  </a:lnTo>
                  <a:lnTo>
                    <a:pt x="314" y="10"/>
                  </a:lnTo>
                  <a:lnTo>
                    <a:pt x="312" y="10"/>
                  </a:lnTo>
                  <a:lnTo>
                    <a:pt x="308" y="6"/>
                  </a:lnTo>
                  <a:lnTo>
                    <a:pt x="306" y="8"/>
                  </a:lnTo>
                  <a:lnTo>
                    <a:pt x="306" y="10"/>
                  </a:lnTo>
                  <a:lnTo>
                    <a:pt x="306" y="12"/>
                  </a:lnTo>
                  <a:lnTo>
                    <a:pt x="310" y="12"/>
                  </a:lnTo>
                  <a:lnTo>
                    <a:pt x="312" y="12"/>
                  </a:lnTo>
                  <a:lnTo>
                    <a:pt x="312" y="15"/>
                  </a:lnTo>
                  <a:lnTo>
                    <a:pt x="308" y="15"/>
                  </a:lnTo>
                  <a:lnTo>
                    <a:pt x="308" y="17"/>
                  </a:lnTo>
                  <a:lnTo>
                    <a:pt x="306" y="17"/>
                  </a:lnTo>
                  <a:lnTo>
                    <a:pt x="306" y="21"/>
                  </a:lnTo>
                  <a:lnTo>
                    <a:pt x="306" y="21"/>
                  </a:lnTo>
                  <a:lnTo>
                    <a:pt x="305" y="23"/>
                  </a:lnTo>
                  <a:lnTo>
                    <a:pt x="306" y="27"/>
                  </a:lnTo>
                  <a:lnTo>
                    <a:pt x="305" y="29"/>
                  </a:lnTo>
                  <a:lnTo>
                    <a:pt x="305" y="27"/>
                  </a:lnTo>
                  <a:lnTo>
                    <a:pt x="301" y="29"/>
                  </a:lnTo>
                  <a:lnTo>
                    <a:pt x="299" y="31"/>
                  </a:lnTo>
                  <a:lnTo>
                    <a:pt x="297" y="32"/>
                  </a:lnTo>
                  <a:lnTo>
                    <a:pt x="297" y="29"/>
                  </a:lnTo>
                  <a:lnTo>
                    <a:pt x="301" y="21"/>
                  </a:lnTo>
                  <a:lnTo>
                    <a:pt x="297" y="19"/>
                  </a:lnTo>
                  <a:lnTo>
                    <a:pt x="297" y="19"/>
                  </a:lnTo>
                  <a:lnTo>
                    <a:pt x="299" y="15"/>
                  </a:lnTo>
                  <a:lnTo>
                    <a:pt x="299" y="12"/>
                  </a:lnTo>
                  <a:lnTo>
                    <a:pt x="299" y="10"/>
                  </a:lnTo>
                  <a:lnTo>
                    <a:pt x="297" y="10"/>
                  </a:lnTo>
                  <a:lnTo>
                    <a:pt x="291" y="15"/>
                  </a:lnTo>
                  <a:lnTo>
                    <a:pt x="291" y="21"/>
                  </a:lnTo>
                  <a:lnTo>
                    <a:pt x="288" y="29"/>
                  </a:lnTo>
                  <a:lnTo>
                    <a:pt x="288" y="32"/>
                  </a:lnTo>
                  <a:lnTo>
                    <a:pt x="288" y="34"/>
                  </a:lnTo>
                  <a:lnTo>
                    <a:pt x="288" y="36"/>
                  </a:lnTo>
                  <a:lnTo>
                    <a:pt x="282" y="42"/>
                  </a:lnTo>
                  <a:lnTo>
                    <a:pt x="280" y="46"/>
                  </a:lnTo>
                  <a:lnTo>
                    <a:pt x="280" y="42"/>
                  </a:lnTo>
                  <a:lnTo>
                    <a:pt x="278" y="40"/>
                  </a:lnTo>
                  <a:lnTo>
                    <a:pt x="282" y="34"/>
                  </a:lnTo>
                  <a:lnTo>
                    <a:pt x="282" y="31"/>
                  </a:lnTo>
                  <a:lnTo>
                    <a:pt x="284" y="29"/>
                  </a:lnTo>
                  <a:lnTo>
                    <a:pt x="282" y="25"/>
                  </a:lnTo>
                  <a:lnTo>
                    <a:pt x="288" y="19"/>
                  </a:lnTo>
                  <a:lnTo>
                    <a:pt x="288" y="15"/>
                  </a:lnTo>
                  <a:lnTo>
                    <a:pt x="290" y="15"/>
                  </a:lnTo>
                  <a:lnTo>
                    <a:pt x="290" y="12"/>
                  </a:lnTo>
                  <a:lnTo>
                    <a:pt x="286" y="12"/>
                  </a:lnTo>
                  <a:lnTo>
                    <a:pt x="282" y="10"/>
                  </a:lnTo>
                  <a:lnTo>
                    <a:pt x="280" y="12"/>
                  </a:lnTo>
                  <a:lnTo>
                    <a:pt x="282" y="12"/>
                  </a:lnTo>
                  <a:lnTo>
                    <a:pt x="280" y="15"/>
                  </a:lnTo>
                  <a:lnTo>
                    <a:pt x="278" y="12"/>
                  </a:lnTo>
                  <a:lnTo>
                    <a:pt x="276" y="12"/>
                  </a:lnTo>
                  <a:lnTo>
                    <a:pt x="273" y="10"/>
                  </a:lnTo>
                  <a:lnTo>
                    <a:pt x="271" y="12"/>
                  </a:lnTo>
                  <a:lnTo>
                    <a:pt x="271" y="15"/>
                  </a:lnTo>
                  <a:lnTo>
                    <a:pt x="271" y="17"/>
                  </a:lnTo>
                  <a:lnTo>
                    <a:pt x="271" y="15"/>
                  </a:lnTo>
                  <a:lnTo>
                    <a:pt x="267" y="15"/>
                  </a:lnTo>
                  <a:lnTo>
                    <a:pt x="267" y="15"/>
                  </a:lnTo>
                  <a:lnTo>
                    <a:pt x="267" y="17"/>
                  </a:lnTo>
                  <a:lnTo>
                    <a:pt x="271" y="19"/>
                  </a:lnTo>
                  <a:lnTo>
                    <a:pt x="271" y="23"/>
                  </a:lnTo>
                  <a:lnTo>
                    <a:pt x="271" y="25"/>
                  </a:lnTo>
                  <a:lnTo>
                    <a:pt x="267" y="21"/>
                  </a:lnTo>
                  <a:lnTo>
                    <a:pt x="267" y="25"/>
                  </a:lnTo>
                  <a:lnTo>
                    <a:pt x="267" y="27"/>
                  </a:lnTo>
                  <a:lnTo>
                    <a:pt x="267" y="29"/>
                  </a:lnTo>
                  <a:lnTo>
                    <a:pt x="267" y="29"/>
                  </a:lnTo>
                  <a:lnTo>
                    <a:pt x="261" y="27"/>
                  </a:lnTo>
                  <a:lnTo>
                    <a:pt x="261" y="27"/>
                  </a:lnTo>
                  <a:lnTo>
                    <a:pt x="259" y="31"/>
                  </a:lnTo>
                  <a:lnTo>
                    <a:pt x="258" y="32"/>
                  </a:lnTo>
                  <a:lnTo>
                    <a:pt x="258" y="34"/>
                  </a:lnTo>
                  <a:lnTo>
                    <a:pt x="259" y="34"/>
                  </a:lnTo>
                  <a:lnTo>
                    <a:pt x="256" y="36"/>
                  </a:lnTo>
                  <a:lnTo>
                    <a:pt x="254" y="40"/>
                  </a:lnTo>
                  <a:lnTo>
                    <a:pt x="258" y="42"/>
                  </a:lnTo>
                  <a:lnTo>
                    <a:pt x="256" y="46"/>
                  </a:lnTo>
                  <a:lnTo>
                    <a:pt x="258" y="46"/>
                  </a:lnTo>
                  <a:lnTo>
                    <a:pt x="259" y="46"/>
                  </a:lnTo>
                  <a:lnTo>
                    <a:pt x="258" y="47"/>
                  </a:lnTo>
                  <a:lnTo>
                    <a:pt x="252" y="47"/>
                  </a:lnTo>
                  <a:lnTo>
                    <a:pt x="252" y="42"/>
                  </a:lnTo>
                  <a:lnTo>
                    <a:pt x="250" y="42"/>
                  </a:lnTo>
                  <a:lnTo>
                    <a:pt x="252" y="42"/>
                  </a:lnTo>
                  <a:lnTo>
                    <a:pt x="248" y="40"/>
                  </a:lnTo>
                  <a:lnTo>
                    <a:pt x="246" y="40"/>
                  </a:lnTo>
                  <a:lnTo>
                    <a:pt x="241" y="40"/>
                  </a:lnTo>
                  <a:lnTo>
                    <a:pt x="237" y="34"/>
                  </a:lnTo>
                  <a:lnTo>
                    <a:pt x="235" y="34"/>
                  </a:lnTo>
                  <a:lnTo>
                    <a:pt x="233" y="36"/>
                  </a:lnTo>
                  <a:lnTo>
                    <a:pt x="231" y="34"/>
                  </a:lnTo>
                  <a:lnTo>
                    <a:pt x="229" y="36"/>
                  </a:lnTo>
                  <a:lnTo>
                    <a:pt x="226" y="36"/>
                  </a:lnTo>
                  <a:lnTo>
                    <a:pt x="226" y="40"/>
                  </a:lnTo>
                  <a:lnTo>
                    <a:pt x="229" y="46"/>
                  </a:lnTo>
                  <a:lnTo>
                    <a:pt x="231" y="46"/>
                  </a:lnTo>
                  <a:lnTo>
                    <a:pt x="233" y="46"/>
                  </a:lnTo>
                  <a:lnTo>
                    <a:pt x="237" y="46"/>
                  </a:lnTo>
                  <a:lnTo>
                    <a:pt x="237" y="49"/>
                  </a:lnTo>
                  <a:lnTo>
                    <a:pt x="237" y="53"/>
                  </a:lnTo>
                  <a:lnTo>
                    <a:pt x="237" y="57"/>
                  </a:lnTo>
                  <a:lnTo>
                    <a:pt x="237" y="59"/>
                  </a:lnTo>
                  <a:lnTo>
                    <a:pt x="237" y="57"/>
                  </a:lnTo>
                  <a:lnTo>
                    <a:pt x="233" y="53"/>
                  </a:lnTo>
                  <a:lnTo>
                    <a:pt x="231" y="51"/>
                  </a:lnTo>
                  <a:lnTo>
                    <a:pt x="227" y="49"/>
                  </a:lnTo>
                  <a:lnTo>
                    <a:pt x="227" y="53"/>
                  </a:lnTo>
                  <a:lnTo>
                    <a:pt x="224" y="55"/>
                  </a:lnTo>
                  <a:lnTo>
                    <a:pt x="224" y="49"/>
                  </a:lnTo>
                  <a:lnTo>
                    <a:pt x="220" y="53"/>
                  </a:lnTo>
                  <a:lnTo>
                    <a:pt x="220" y="55"/>
                  </a:lnTo>
                  <a:lnTo>
                    <a:pt x="218" y="57"/>
                  </a:lnTo>
                  <a:lnTo>
                    <a:pt x="218" y="61"/>
                  </a:lnTo>
                  <a:lnTo>
                    <a:pt x="222" y="63"/>
                  </a:lnTo>
                  <a:lnTo>
                    <a:pt x="224" y="66"/>
                  </a:lnTo>
                  <a:lnTo>
                    <a:pt x="220" y="66"/>
                  </a:lnTo>
                  <a:lnTo>
                    <a:pt x="218" y="64"/>
                  </a:lnTo>
                  <a:lnTo>
                    <a:pt x="216" y="66"/>
                  </a:lnTo>
                  <a:lnTo>
                    <a:pt x="216" y="70"/>
                  </a:lnTo>
                  <a:lnTo>
                    <a:pt x="212" y="72"/>
                  </a:lnTo>
                  <a:lnTo>
                    <a:pt x="212" y="70"/>
                  </a:lnTo>
                  <a:lnTo>
                    <a:pt x="216" y="70"/>
                  </a:lnTo>
                  <a:lnTo>
                    <a:pt x="212" y="66"/>
                  </a:lnTo>
                  <a:lnTo>
                    <a:pt x="216" y="63"/>
                  </a:lnTo>
                  <a:lnTo>
                    <a:pt x="212" y="51"/>
                  </a:lnTo>
                  <a:lnTo>
                    <a:pt x="212" y="53"/>
                  </a:lnTo>
                  <a:lnTo>
                    <a:pt x="209" y="59"/>
                  </a:lnTo>
                  <a:lnTo>
                    <a:pt x="207" y="64"/>
                  </a:lnTo>
                  <a:lnTo>
                    <a:pt x="209" y="66"/>
                  </a:lnTo>
                  <a:lnTo>
                    <a:pt x="205" y="70"/>
                  </a:lnTo>
                  <a:lnTo>
                    <a:pt x="205" y="66"/>
                  </a:lnTo>
                  <a:lnTo>
                    <a:pt x="207" y="63"/>
                  </a:lnTo>
                  <a:lnTo>
                    <a:pt x="205" y="57"/>
                  </a:lnTo>
                  <a:lnTo>
                    <a:pt x="203" y="57"/>
                  </a:lnTo>
                  <a:lnTo>
                    <a:pt x="199" y="59"/>
                  </a:lnTo>
                  <a:lnTo>
                    <a:pt x="197" y="64"/>
                  </a:lnTo>
                  <a:lnTo>
                    <a:pt x="199" y="66"/>
                  </a:lnTo>
                  <a:lnTo>
                    <a:pt x="199" y="70"/>
                  </a:lnTo>
                  <a:lnTo>
                    <a:pt x="203" y="76"/>
                  </a:lnTo>
                  <a:lnTo>
                    <a:pt x="205" y="76"/>
                  </a:lnTo>
                  <a:lnTo>
                    <a:pt x="203" y="79"/>
                  </a:lnTo>
                  <a:lnTo>
                    <a:pt x="201" y="76"/>
                  </a:lnTo>
                  <a:lnTo>
                    <a:pt x="197" y="76"/>
                  </a:lnTo>
                  <a:lnTo>
                    <a:pt x="195" y="66"/>
                  </a:lnTo>
                  <a:lnTo>
                    <a:pt x="194" y="66"/>
                  </a:lnTo>
                  <a:lnTo>
                    <a:pt x="188" y="66"/>
                  </a:lnTo>
                  <a:lnTo>
                    <a:pt x="188" y="70"/>
                  </a:lnTo>
                  <a:lnTo>
                    <a:pt x="194" y="76"/>
                  </a:lnTo>
                  <a:lnTo>
                    <a:pt x="195" y="76"/>
                  </a:lnTo>
                  <a:lnTo>
                    <a:pt x="197" y="76"/>
                  </a:lnTo>
                  <a:lnTo>
                    <a:pt x="194" y="76"/>
                  </a:lnTo>
                  <a:lnTo>
                    <a:pt x="192" y="76"/>
                  </a:lnTo>
                  <a:lnTo>
                    <a:pt x="192" y="79"/>
                  </a:lnTo>
                  <a:lnTo>
                    <a:pt x="188" y="78"/>
                  </a:lnTo>
                  <a:lnTo>
                    <a:pt x="188" y="72"/>
                  </a:lnTo>
                  <a:lnTo>
                    <a:pt x="188" y="72"/>
                  </a:lnTo>
                  <a:lnTo>
                    <a:pt x="188" y="70"/>
                  </a:lnTo>
                  <a:lnTo>
                    <a:pt x="186" y="70"/>
                  </a:lnTo>
                  <a:lnTo>
                    <a:pt x="184" y="76"/>
                  </a:lnTo>
                  <a:lnTo>
                    <a:pt x="186" y="78"/>
                  </a:lnTo>
                  <a:lnTo>
                    <a:pt x="186" y="81"/>
                  </a:lnTo>
                  <a:lnTo>
                    <a:pt x="182" y="79"/>
                  </a:lnTo>
                  <a:lnTo>
                    <a:pt x="178" y="81"/>
                  </a:lnTo>
                  <a:lnTo>
                    <a:pt x="177" y="85"/>
                  </a:lnTo>
                  <a:lnTo>
                    <a:pt x="177" y="85"/>
                  </a:lnTo>
                  <a:lnTo>
                    <a:pt x="178" y="85"/>
                  </a:lnTo>
                  <a:lnTo>
                    <a:pt x="182" y="89"/>
                  </a:lnTo>
                  <a:lnTo>
                    <a:pt x="178" y="89"/>
                  </a:lnTo>
                  <a:lnTo>
                    <a:pt x="177" y="91"/>
                  </a:lnTo>
                  <a:lnTo>
                    <a:pt x="178" y="91"/>
                  </a:lnTo>
                  <a:lnTo>
                    <a:pt x="177" y="91"/>
                  </a:lnTo>
                  <a:lnTo>
                    <a:pt x="175" y="95"/>
                  </a:lnTo>
                  <a:lnTo>
                    <a:pt x="175" y="96"/>
                  </a:lnTo>
                  <a:lnTo>
                    <a:pt x="175" y="96"/>
                  </a:lnTo>
                  <a:lnTo>
                    <a:pt x="173" y="96"/>
                  </a:lnTo>
                  <a:lnTo>
                    <a:pt x="171" y="95"/>
                  </a:lnTo>
                  <a:lnTo>
                    <a:pt x="169" y="96"/>
                  </a:lnTo>
                  <a:lnTo>
                    <a:pt x="167" y="96"/>
                  </a:lnTo>
                  <a:lnTo>
                    <a:pt x="167" y="100"/>
                  </a:lnTo>
                  <a:lnTo>
                    <a:pt x="167" y="100"/>
                  </a:lnTo>
                  <a:lnTo>
                    <a:pt x="162" y="100"/>
                  </a:lnTo>
                  <a:lnTo>
                    <a:pt x="160" y="104"/>
                  </a:lnTo>
                  <a:lnTo>
                    <a:pt x="163" y="106"/>
                  </a:lnTo>
                  <a:lnTo>
                    <a:pt x="171" y="104"/>
                  </a:lnTo>
                  <a:lnTo>
                    <a:pt x="173" y="104"/>
                  </a:lnTo>
                  <a:lnTo>
                    <a:pt x="177" y="104"/>
                  </a:lnTo>
                  <a:lnTo>
                    <a:pt x="178" y="104"/>
                  </a:lnTo>
                  <a:lnTo>
                    <a:pt x="178" y="104"/>
                  </a:lnTo>
                  <a:lnTo>
                    <a:pt x="177" y="108"/>
                  </a:lnTo>
                  <a:lnTo>
                    <a:pt x="177" y="113"/>
                  </a:lnTo>
                  <a:lnTo>
                    <a:pt x="175" y="113"/>
                  </a:lnTo>
                  <a:lnTo>
                    <a:pt x="173" y="112"/>
                  </a:lnTo>
                  <a:lnTo>
                    <a:pt x="173" y="110"/>
                  </a:lnTo>
                  <a:lnTo>
                    <a:pt x="171" y="110"/>
                  </a:lnTo>
                  <a:lnTo>
                    <a:pt x="169" y="108"/>
                  </a:lnTo>
                  <a:lnTo>
                    <a:pt x="167" y="108"/>
                  </a:lnTo>
                  <a:lnTo>
                    <a:pt x="167" y="110"/>
                  </a:lnTo>
                  <a:lnTo>
                    <a:pt x="167" y="112"/>
                  </a:lnTo>
                  <a:lnTo>
                    <a:pt x="162" y="110"/>
                  </a:lnTo>
                  <a:lnTo>
                    <a:pt x="160" y="112"/>
                  </a:lnTo>
                  <a:lnTo>
                    <a:pt x="163" y="113"/>
                  </a:lnTo>
                  <a:lnTo>
                    <a:pt x="163" y="115"/>
                  </a:lnTo>
                  <a:lnTo>
                    <a:pt x="162" y="115"/>
                  </a:lnTo>
                  <a:lnTo>
                    <a:pt x="162" y="119"/>
                  </a:lnTo>
                  <a:lnTo>
                    <a:pt x="162" y="121"/>
                  </a:lnTo>
                  <a:lnTo>
                    <a:pt x="162" y="121"/>
                  </a:lnTo>
                  <a:lnTo>
                    <a:pt x="160" y="121"/>
                  </a:lnTo>
                  <a:lnTo>
                    <a:pt x="160" y="117"/>
                  </a:lnTo>
                  <a:lnTo>
                    <a:pt x="158" y="113"/>
                  </a:lnTo>
                  <a:lnTo>
                    <a:pt x="154" y="115"/>
                  </a:lnTo>
                  <a:lnTo>
                    <a:pt x="152" y="117"/>
                  </a:lnTo>
                  <a:lnTo>
                    <a:pt x="152" y="115"/>
                  </a:lnTo>
                  <a:lnTo>
                    <a:pt x="152" y="113"/>
                  </a:lnTo>
                  <a:lnTo>
                    <a:pt x="150" y="113"/>
                  </a:lnTo>
                  <a:lnTo>
                    <a:pt x="146" y="115"/>
                  </a:lnTo>
                  <a:lnTo>
                    <a:pt x="150" y="119"/>
                  </a:lnTo>
                  <a:lnTo>
                    <a:pt x="154" y="119"/>
                  </a:lnTo>
                  <a:lnTo>
                    <a:pt x="158" y="121"/>
                  </a:lnTo>
                  <a:lnTo>
                    <a:pt x="154" y="125"/>
                  </a:lnTo>
                  <a:lnTo>
                    <a:pt x="148" y="125"/>
                  </a:lnTo>
                  <a:lnTo>
                    <a:pt x="146" y="121"/>
                  </a:lnTo>
                  <a:lnTo>
                    <a:pt x="145" y="121"/>
                  </a:lnTo>
                  <a:lnTo>
                    <a:pt x="143" y="125"/>
                  </a:lnTo>
                  <a:lnTo>
                    <a:pt x="145" y="130"/>
                  </a:lnTo>
                  <a:lnTo>
                    <a:pt x="143" y="130"/>
                  </a:lnTo>
                  <a:lnTo>
                    <a:pt x="145" y="130"/>
                  </a:lnTo>
                  <a:lnTo>
                    <a:pt x="148" y="128"/>
                  </a:lnTo>
                  <a:lnTo>
                    <a:pt x="152" y="128"/>
                  </a:lnTo>
                  <a:lnTo>
                    <a:pt x="154" y="130"/>
                  </a:lnTo>
                  <a:lnTo>
                    <a:pt x="148" y="130"/>
                  </a:lnTo>
                  <a:lnTo>
                    <a:pt x="148" y="134"/>
                  </a:lnTo>
                  <a:lnTo>
                    <a:pt x="150" y="136"/>
                  </a:lnTo>
                  <a:lnTo>
                    <a:pt x="154" y="138"/>
                  </a:lnTo>
                  <a:lnTo>
                    <a:pt x="154" y="142"/>
                  </a:lnTo>
                  <a:lnTo>
                    <a:pt x="150" y="140"/>
                  </a:lnTo>
                  <a:lnTo>
                    <a:pt x="148" y="140"/>
                  </a:lnTo>
                  <a:lnTo>
                    <a:pt x="146" y="136"/>
                  </a:lnTo>
                  <a:lnTo>
                    <a:pt x="145" y="136"/>
                  </a:lnTo>
                  <a:lnTo>
                    <a:pt x="141" y="138"/>
                  </a:lnTo>
                  <a:lnTo>
                    <a:pt x="145" y="142"/>
                  </a:lnTo>
                  <a:lnTo>
                    <a:pt x="141" y="142"/>
                  </a:lnTo>
                  <a:lnTo>
                    <a:pt x="137" y="144"/>
                  </a:lnTo>
                  <a:lnTo>
                    <a:pt x="137" y="145"/>
                  </a:lnTo>
                  <a:lnTo>
                    <a:pt x="141" y="147"/>
                  </a:lnTo>
                  <a:lnTo>
                    <a:pt x="145" y="145"/>
                  </a:lnTo>
                  <a:lnTo>
                    <a:pt x="146" y="147"/>
                  </a:lnTo>
                  <a:lnTo>
                    <a:pt x="150" y="147"/>
                  </a:lnTo>
                  <a:lnTo>
                    <a:pt x="150" y="149"/>
                  </a:lnTo>
                  <a:lnTo>
                    <a:pt x="152" y="151"/>
                  </a:lnTo>
                  <a:lnTo>
                    <a:pt x="152" y="153"/>
                  </a:lnTo>
                  <a:lnTo>
                    <a:pt x="148" y="149"/>
                  </a:lnTo>
                  <a:lnTo>
                    <a:pt x="145" y="149"/>
                  </a:lnTo>
                  <a:lnTo>
                    <a:pt x="143" y="151"/>
                  </a:lnTo>
                  <a:lnTo>
                    <a:pt x="137" y="153"/>
                  </a:lnTo>
                  <a:lnTo>
                    <a:pt x="137" y="155"/>
                  </a:lnTo>
                  <a:lnTo>
                    <a:pt x="133" y="155"/>
                  </a:lnTo>
                  <a:lnTo>
                    <a:pt x="133" y="155"/>
                  </a:lnTo>
                  <a:lnTo>
                    <a:pt x="130" y="159"/>
                  </a:lnTo>
                  <a:lnTo>
                    <a:pt x="126" y="159"/>
                  </a:lnTo>
                  <a:lnTo>
                    <a:pt x="126" y="159"/>
                  </a:lnTo>
                  <a:lnTo>
                    <a:pt x="130" y="159"/>
                  </a:lnTo>
                  <a:lnTo>
                    <a:pt x="130" y="164"/>
                  </a:lnTo>
                  <a:lnTo>
                    <a:pt x="128" y="164"/>
                  </a:lnTo>
                  <a:lnTo>
                    <a:pt x="128" y="164"/>
                  </a:lnTo>
                  <a:lnTo>
                    <a:pt x="126" y="164"/>
                  </a:lnTo>
                  <a:lnTo>
                    <a:pt x="128" y="166"/>
                  </a:lnTo>
                  <a:lnTo>
                    <a:pt x="128" y="166"/>
                  </a:lnTo>
                  <a:lnTo>
                    <a:pt x="124" y="166"/>
                  </a:lnTo>
                  <a:lnTo>
                    <a:pt x="124" y="166"/>
                  </a:lnTo>
                  <a:lnTo>
                    <a:pt x="122" y="166"/>
                  </a:lnTo>
                  <a:lnTo>
                    <a:pt x="124" y="168"/>
                  </a:lnTo>
                  <a:lnTo>
                    <a:pt x="124" y="170"/>
                  </a:lnTo>
                  <a:lnTo>
                    <a:pt x="124" y="172"/>
                  </a:lnTo>
                  <a:lnTo>
                    <a:pt x="126" y="172"/>
                  </a:lnTo>
                  <a:lnTo>
                    <a:pt x="124" y="174"/>
                  </a:lnTo>
                  <a:lnTo>
                    <a:pt x="122" y="174"/>
                  </a:lnTo>
                  <a:lnTo>
                    <a:pt x="120" y="172"/>
                  </a:lnTo>
                  <a:lnTo>
                    <a:pt x="120" y="176"/>
                  </a:lnTo>
                  <a:lnTo>
                    <a:pt x="118" y="177"/>
                  </a:lnTo>
                  <a:lnTo>
                    <a:pt x="120" y="177"/>
                  </a:lnTo>
                  <a:lnTo>
                    <a:pt x="126" y="179"/>
                  </a:lnTo>
                  <a:lnTo>
                    <a:pt x="126" y="181"/>
                  </a:lnTo>
                  <a:lnTo>
                    <a:pt x="130" y="183"/>
                  </a:lnTo>
                  <a:lnTo>
                    <a:pt x="130" y="181"/>
                  </a:lnTo>
                  <a:lnTo>
                    <a:pt x="130" y="183"/>
                  </a:lnTo>
                  <a:lnTo>
                    <a:pt x="130" y="185"/>
                  </a:lnTo>
                  <a:lnTo>
                    <a:pt x="126" y="185"/>
                  </a:lnTo>
                  <a:lnTo>
                    <a:pt x="124" y="183"/>
                  </a:lnTo>
                  <a:lnTo>
                    <a:pt x="120" y="185"/>
                  </a:lnTo>
                  <a:lnTo>
                    <a:pt x="116" y="185"/>
                  </a:lnTo>
                  <a:lnTo>
                    <a:pt x="116" y="189"/>
                  </a:lnTo>
                  <a:lnTo>
                    <a:pt x="120" y="189"/>
                  </a:lnTo>
                  <a:lnTo>
                    <a:pt x="120" y="189"/>
                  </a:lnTo>
                  <a:lnTo>
                    <a:pt x="122" y="191"/>
                  </a:lnTo>
                  <a:lnTo>
                    <a:pt x="122" y="194"/>
                  </a:lnTo>
                  <a:lnTo>
                    <a:pt x="120" y="193"/>
                  </a:lnTo>
                  <a:lnTo>
                    <a:pt x="118" y="193"/>
                  </a:lnTo>
                  <a:lnTo>
                    <a:pt x="116" y="194"/>
                  </a:lnTo>
                  <a:lnTo>
                    <a:pt x="116" y="196"/>
                  </a:lnTo>
                  <a:lnTo>
                    <a:pt x="116" y="198"/>
                  </a:lnTo>
                  <a:lnTo>
                    <a:pt x="118" y="200"/>
                  </a:lnTo>
                  <a:lnTo>
                    <a:pt x="118" y="202"/>
                  </a:lnTo>
                  <a:lnTo>
                    <a:pt x="116" y="202"/>
                  </a:lnTo>
                  <a:lnTo>
                    <a:pt x="114" y="200"/>
                  </a:lnTo>
                  <a:lnTo>
                    <a:pt x="113" y="200"/>
                  </a:lnTo>
                  <a:lnTo>
                    <a:pt x="113" y="204"/>
                  </a:lnTo>
                  <a:lnTo>
                    <a:pt x="116" y="206"/>
                  </a:lnTo>
                  <a:lnTo>
                    <a:pt x="116" y="206"/>
                  </a:lnTo>
                  <a:lnTo>
                    <a:pt x="116" y="209"/>
                  </a:lnTo>
                  <a:lnTo>
                    <a:pt x="113" y="206"/>
                  </a:lnTo>
                  <a:lnTo>
                    <a:pt x="111" y="208"/>
                  </a:lnTo>
                  <a:lnTo>
                    <a:pt x="111" y="209"/>
                  </a:lnTo>
                  <a:lnTo>
                    <a:pt x="113" y="209"/>
                  </a:lnTo>
                  <a:lnTo>
                    <a:pt x="111" y="213"/>
                  </a:lnTo>
                  <a:lnTo>
                    <a:pt x="113" y="215"/>
                  </a:lnTo>
                  <a:lnTo>
                    <a:pt x="114" y="215"/>
                  </a:lnTo>
                  <a:lnTo>
                    <a:pt x="116" y="213"/>
                  </a:lnTo>
                  <a:lnTo>
                    <a:pt x="118" y="213"/>
                  </a:lnTo>
                  <a:lnTo>
                    <a:pt x="116" y="219"/>
                  </a:lnTo>
                  <a:lnTo>
                    <a:pt x="114" y="219"/>
                  </a:lnTo>
                  <a:lnTo>
                    <a:pt x="111" y="223"/>
                  </a:lnTo>
                  <a:lnTo>
                    <a:pt x="109" y="223"/>
                  </a:lnTo>
                  <a:lnTo>
                    <a:pt x="109" y="223"/>
                  </a:lnTo>
                  <a:lnTo>
                    <a:pt x="109" y="223"/>
                  </a:lnTo>
                  <a:lnTo>
                    <a:pt x="105" y="225"/>
                  </a:lnTo>
                  <a:lnTo>
                    <a:pt x="103" y="226"/>
                  </a:lnTo>
                  <a:lnTo>
                    <a:pt x="105" y="228"/>
                  </a:lnTo>
                  <a:lnTo>
                    <a:pt x="103" y="230"/>
                  </a:lnTo>
                  <a:lnTo>
                    <a:pt x="99" y="230"/>
                  </a:lnTo>
                  <a:lnTo>
                    <a:pt x="98" y="234"/>
                  </a:lnTo>
                  <a:lnTo>
                    <a:pt x="98" y="236"/>
                  </a:lnTo>
                  <a:lnTo>
                    <a:pt x="99" y="236"/>
                  </a:lnTo>
                  <a:lnTo>
                    <a:pt x="98" y="238"/>
                  </a:lnTo>
                  <a:lnTo>
                    <a:pt x="98" y="240"/>
                  </a:lnTo>
                  <a:lnTo>
                    <a:pt x="94" y="240"/>
                  </a:lnTo>
                  <a:lnTo>
                    <a:pt x="94" y="238"/>
                  </a:lnTo>
                  <a:lnTo>
                    <a:pt x="92" y="238"/>
                  </a:lnTo>
                  <a:lnTo>
                    <a:pt x="90" y="240"/>
                  </a:lnTo>
                  <a:lnTo>
                    <a:pt x="88" y="240"/>
                  </a:lnTo>
                  <a:lnTo>
                    <a:pt x="88" y="240"/>
                  </a:lnTo>
                  <a:lnTo>
                    <a:pt x="86" y="243"/>
                  </a:lnTo>
                  <a:lnTo>
                    <a:pt x="86" y="243"/>
                  </a:lnTo>
                  <a:lnTo>
                    <a:pt x="86" y="247"/>
                  </a:lnTo>
                  <a:lnTo>
                    <a:pt x="84" y="247"/>
                  </a:lnTo>
                  <a:lnTo>
                    <a:pt x="81" y="247"/>
                  </a:lnTo>
                  <a:lnTo>
                    <a:pt x="81" y="253"/>
                  </a:lnTo>
                  <a:lnTo>
                    <a:pt x="79" y="253"/>
                  </a:lnTo>
                  <a:lnTo>
                    <a:pt x="79" y="253"/>
                  </a:lnTo>
                  <a:lnTo>
                    <a:pt x="79" y="258"/>
                  </a:lnTo>
                  <a:lnTo>
                    <a:pt x="75" y="260"/>
                  </a:lnTo>
                  <a:lnTo>
                    <a:pt x="73" y="262"/>
                  </a:lnTo>
                  <a:lnTo>
                    <a:pt x="75" y="264"/>
                  </a:lnTo>
                  <a:lnTo>
                    <a:pt x="79" y="262"/>
                  </a:lnTo>
                  <a:lnTo>
                    <a:pt x="79" y="262"/>
                  </a:lnTo>
                  <a:lnTo>
                    <a:pt x="79" y="264"/>
                  </a:lnTo>
                  <a:lnTo>
                    <a:pt x="75" y="266"/>
                  </a:lnTo>
                  <a:lnTo>
                    <a:pt x="75" y="270"/>
                  </a:lnTo>
                  <a:lnTo>
                    <a:pt x="79" y="272"/>
                  </a:lnTo>
                  <a:lnTo>
                    <a:pt x="84" y="270"/>
                  </a:lnTo>
                  <a:lnTo>
                    <a:pt x="86" y="270"/>
                  </a:lnTo>
                  <a:lnTo>
                    <a:pt x="92" y="264"/>
                  </a:lnTo>
                  <a:lnTo>
                    <a:pt x="92" y="260"/>
                  </a:lnTo>
                  <a:lnTo>
                    <a:pt x="90" y="262"/>
                  </a:lnTo>
                  <a:lnTo>
                    <a:pt x="92" y="258"/>
                  </a:lnTo>
                  <a:lnTo>
                    <a:pt x="92" y="255"/>
                  </a:lnTo>
                  <a:lnTo>
                    <a:pt x="94" y="253"/>
                  </a:lnTo>
                  <a:lnTo>
                    <a:pt x="96" y="253"/>
                  </a:lnTo>
                  <a:lnTo>
                    <a:pt x="99" y="253"/>
                  </a:lnTo>
                  <a:lnTo>
                    <a:pt x="99" y="253"/>
                  </a:lnTo>
                  <a:lnTo>
                    <a:pt x="96" y="257"/>
                  </a:lnTo>
                  <a:lnTo>
                    <a:pt x="96" y="258"/>
                  </a:lnTo>
                  <a:lnTo>
                    <a:pt x="99" y="260"/>
                  </a:lnTo>
                  <a:lnTo>
                    <a:pt x="99" y="262"/>
                  </a:lnTo>
                  <a:lnTo>
                    <a:pt x="96" y="262"/>
                  </a:lnTo>
                  <a:lnTo>
                    <a:pt x="90" y="268"/>
                  </a:lnTo>
                  <a:lnTo>
                    <a:pt x="94" y="270"/>
                  </a:lnTo>
                  <a:lnTo>
                    <a:pt x="92" y="274"/>
                  </a:lnTo>
                  <a:lnTo>
                    <a:pt x="92" y="277"/>
                  </a:lnTo>
                  <a:lnTo>
                    <a:pt x="88" y="274"/>
                  </a:lnTo>
                  <a:lnTo>
                    <a:pt x="86" y="274"/>
                  </a:lnTo>
                  <a:lnTo>
                    <a:pt x="84" y="274"/>
                  </a:lnTo>
                  <a:lnTo>
                    <a:pt x="81" y="274"/>
                  </a:lnTo>
                  <a:lnTo>
                    <a:pt x="79" y="277"/>
                  </a:lnTo>
                  <a:lnTo>
                    <a:pt x="79" y="279"/>
                  </a:lnTo>
                  <a:lnTo>
                    <a:pt x="75" y="281"/>
                  </a:lnTo>
                  <a:lnTo>
                    <a:pt x="75" y="277"/>
                  </a:lnTo>
                  <a:lnTo>
                    <a:pt x="79" y="277"/>
                  </a:lnTo>
                  <a:lnTo>
                    <a:pt x="75" y="274"/>
                  </a:lnTo>
                  <a:lnTo>
                    <a:pt x="75" y="272"/>
                  </a:lnTo>
                  <a:lnTo>
                    <a:pt x="75" y="268"/>
                  </a:lnTo>
                  <a:lnTo>
                    <a:pt x="71" y="268"/>
                  </a:lnTo>
                  <a:lnTo>
                    <a:pt x="69" y="270"/>
                  </a:lnTo>
                  <a:lnTo>
                    <a:pt x="66" y="272"/>
                  </a:lnTo>
                  <a:lnTo>
                    <a:pt x="66" y="274"/>
                  </a:lnTo>
                  <a:lnTo>
                    <a:pt x="71" y="274"/>
                  </a:lnTo>
                  <a:lnTo>
                    <a:pt x="66" y="277"/>
                  </a:lnTo>
                  <a:lnTo>
                    <a:pt x="64" y="274"/>
                  </a:lnTo>
                  <a:lnTo>
                    <a:pt x="60" y="274"/>
                  </a:lnTo>
                  <a:lnTo>
                    <a:pt x="56" y="277"/>
                  </a:lnTo>
                  <a:lnTo>
                    <a:pt x="58" y="277"/>
                  </a:lnTo>
                  <a:lnTo>
                    <a:pt x="60" y="277"/>
                  </a:lnTo>
                  <a:lnTo>
                    <a:pt x="62" y="279"/>
                  </a:lnTo>
                  <a:lnTo>
                    <a:pt x="58" y="281"/>
                  </a:lnTo>
                  <a:lnTo>
                    <a:pt x="56" y="283"/>
                  </a:lnTo>
                  <a:lnTo>
                    <a:pt x="54" y="281"/>
                  </a:lnTo>
                  <a:lnTo>
                    <a:pt x="50" y="281"/>
                  </a:lnTo>
                  <a:lnTo>
                    <a:pt x="50" y="283"/>
                  </a:lnTo>
                  <a:lnTo>
                    <a:pt x="54" y="285"/>
                  </a:lnTo>
                  <a:lnTo>
                    <a:pt x="60" y="285"/>
                  </a:lnTo>
                  <a:lnTo>
                    <a:pt x="58" y="289"/>
                  </a:lnTo>
                  <a:lnTo>
                    <a:pt x="62" y="289"/>
                  </a:lnTo>
                  <a:lnTo>
                    <a:pt x="62" y="292"/>
                  </a:lnTo>
                  <a:lnTo>
                    <a:pt x="56" y="290"/>
                  </a:lnTo>
                  <a:lnTo>
                    <a:pt x="56" y="287"/>
                  </a:lnTo>
                  <a:lnTo>
                    <a:pt x="54" y="287"/>
                  </a:lnTo>
                  <a:lnTo>
                    <a:pt x="50" y="285"/>
                  </a:lnTo>
                  <a:lnTo>
                    <a:pt x="50" y="283"/>
                  </a:lnTo>
                  <a:lnTo>
                    <a:pt x="49" y="283"/>
                  </a:lnTo>
                  <a:lnTo>
                    <a:pt x="49" y="285"/>
                  </a:lnTo>
                  <a:lnTo>
                    <a:pt x="50" y="290"/>
                  </a:lnTo>
                  <a:lnTo>
                    <a:pt x="54" y="292"/>
                  </a:lnTo>
                  <a:lnTo>
                    <a:pt x="56" y="292"/>
                  </a:lnTo>
                  <a:lnTo>
                    <a:pt x="58" y="294"/>
                  </a:lnTo>
                  <a:lnTo>
                    <a:pt x="54" y="294"/>
                  </a:lnTo>
                  <a:lnTo>
                    <a:pt x="50" y="292"/>
                  </a:lnTo>
                  <a:lnTo>
                    <a:pt x="47" y="287"/>
                  </a:lnTo>
                  <a:lnTo>
                    <a:pt x="41" y="289"/>
                  </a:lnTo>
                  <a:lnTo>
                    <a:pt x="41" y="287"/>
                  </a:lnTo>
                  <a:lnTo>
                    <a:pt x="37" y="287"/>
                  </a:lnTo>
                  <a:lnTo>
                    <a:pt x="35" y="285"/>
                  </a:lnTo>
                  <a:lnTo>
                    <a:pt x="34" y="287"/>
                  </a:lnTo>
                  <a:lnTo>
                    <a:pt x="34" y="290"/>
                  </a:lnTo>
                  <a:lnTo>
                    <a:pt x="32" y="292"/>
                  </a:lnTo>
                  <a:lnTo>
                    <a:pt x="35" y="294"/>
                  </a:lnTo>
                  <a:lnTo>
                    <a:pt x="41" y="292"/>
                  </a:lnTo>
                  <a:lnTo>
                    <a:pt x="41" y="294"/>
                  </a:lnTo>
                  <a:lnTo>
                    <a:pt x="39" y="296"/>
                  </a:lnTo>
                  <a:lnTo>
                    <a:pt x="41" y="296"/>
                  </a:lnTo>
                  <a:lnTo>
                    <a:pt x="47" y="294"/>
                  </a:lnTo>
                  <a:lnTo>
                    <a:pt x="49" y="294"/>
                  </a:lnTo>
                  <a:lnTo>
                    <a:pt x="47" y="296"/>
                  </a:lnTo>
                  <a:lnTo>
                    <a:pt x="41" y="298"/>
                  </a:lnTo>
                  <a:lnTo>
                    <a:pt x="39" y="302"/>
                  </a:lnTo>
                  <a:lnTo>
                    <a:pt x="35" y="302"/>
                  </a:lnTo>
                  <a:lnTo>
                    <a:pt x="32" y="296"/>
                  </a:lnTo>
                  <a:lnTo>
                    <a:pt x="30" y="296"/>
                  </a:lnTo>
                  <a:lnTo>
                    <a:pt x="30" y="298"/>
                  </a:lnTo>
                  <a:lnTo>
                    <a:pt x="26" y="296"/>
                  </a:lnTo>
                  <a:lnTo>
                    <a:pt x="24" y="298"/>
                  </a:lnTo>
                  <a:lnTo>
                    <a:pt x="24" y="296"/>
                  </a:lnTo>
                  <a:lnTo>
                    <a:pt x="20" y="298"/>
                  </a:lnTo>
                  <a:lnTo>
                    <a:pt x="20" y="298"/>
                  </a:lnTo>
                  <a:lnTo>
                    <a:pt x="26" y="298"/>
                  </a:lnTo>
                  <a:lnTo>
                    <a:pt x="30" y="302"/>
                  </a:lnTo>
                  <a:lnTo>
                    <a:pt x="34" y="304"/>
                  </a:lnTo>
                  <a:lnTo>
                    <a:pt x="34" y="307"/>
                  </a:lnTo>
                  <a:lnTo>
                    <a:pt x="34" y="309"/>
                  </a:lnTo>
                  <a:lnTo>
                    <a:pt x="32" y="311"/>
                  </a:lnTo>
                  <a:lnTo>
                    <a:pt x="30" y="309"/>
                  </a:lnTo>
                  <a:lnTo>
                    <a:pt x="30" y="304"/>
                  </a:lnTo>
                  <a:lnTo>
                    <a:pt x="30" y="304"/>
                  </a:lnTo>
                  <a:lnTo>
                    <a:pt x="26" y="304"/>
                  </a:lnTo>
                  <a:lnTo>
                    <a:pt x="26" y="307"/>
                  </a:lnTo>
                  <a:lnTo>
                    <a:pt x="26" y="307"/>
                  </a:lnTo>
                  <a:lnTo>
                    <a:pt x="20" y="307"/>
                  </a:lnTo>
                  <a:lnTo>
                    <a:pt x="17" y="309"/>
                  </a:lnTo>
                  <a:lnTo>
                    <a:pt x="20" y="311"/>
                  </a:lnTo>
                  <a:lnTo>
                    <a:pt x="17" y="313"/>
                  </a:lnTo>
                  <a:lnTo>
                    <a:pt x="17" y="313"/>
                  </a:lnTo>
                  <a:lnTo>
                    <a:pt x="15" y="309"/>
                  </a:lnTo>
                  <a:lnTo>
                    <a:pt x="9" y="309"/>
                  </a:lnTo>
                  <a:lnTo>
                    <a:pt x="11" y="313"/>
                  </a:lnTo>
                  <a:lnTo>
                    <a:pt x="9" y="315"/>
                  </a:lnTo>
                  <a:lnTo>
                    <a:pt x="9" y="311"/>
                  </a:lnTo>
                  <a:lnTo>
                    <a:pt x="5" y="307"/>
                  </a:lnTo>
                  <a:lnTo>
                    <a:pt x="5" y="309"/>
                  </a:lnTo>
                  <a:lnTo>
                    <a:pt x="5" y="311"/>
                  </a:lnTo>
                  <a:lnTo>
                    <a:pt x="7" y="315"/>
                  </a:lnTo>
                  <a:lnTo>
                    <a:pt x="5" y="317"/>
                  </a:lnTo>
                  <a:lnTo>
                    <a:pt x="7" y="319"/>
                  </a:lnTo>
                  <a:lnTo>
                    <a:pt x="11" y="317"/>
                  </a:lnTo>
                  <a:lnTo>
                    <a:pt x="17" y="319"/>
                  </a:lnTo>
                  <a:lnTo>
                    <a:pt x="20" y="321"/>
                  </a:lnTo>
                  <a:lnTo>
                    <a:pt x="26" y="321"/>
                  </a:lnTo>
                  <a:lnTo>
                    <a:pt x="26" y="319"/>
                  </a:lnTo>
                  <a:lnTo>
                    <a:pt x="30" y="319"/>
                  </a:lnTo>
                  <a:lnTo>
                    <a:pt x="26" y="322"/>
                  </a:lnTo>
                  <a:lnTo>
                    <a:pt x="20" y="322"/>
                  </a:lnTo>
                  <a:lnTo>
                    <a:pt x="20" y="322"/>
                  </a:lnTo>
                  <a:lnTo>
                    <a:pt x="15" y="321"/>
                  </a:lnTo>
                  <a:lnTo>
                    <a:pt x="11" y="321"/>
                  </a:lnTo>
                  <a:lnTo>
                    <a:pt x="9" y="321"/>
                  </a:lnTo>
                  <a:lnTo>
                    <a:pt x="5" y="322"/>
                  </a:lnTo>
                  <a:lnTo>
                    <a:pt x="2" y="322"/>
                  </a:lnTo>
                  <a:lnTo>
                    <a:pt x="2" y="324"/>
                  </a:lnTo>
                  <a:lnTo>
                    <a:pt x="7" y="328"/>
                  </a:lnTo>
                  <a:lnTo>
                    <a:pt x="5" y="328"/>
                  </a:lnTo>
                  <a:lnTo>
                    <a:pt x="9" y="332"/>
                  </a:lnTo>
                  <a:lnTo>
                    <a:pt x="11" y="328"/>
                  </a:lnTo>
                  <a:lnTo>
                    <a:pt x="17" y="328"/>
                  </a:lnTo>
                  <a:lnTo>
                    <a:pt x="13" y="332"/>
                  </a:lnTo>
                  <a:lnTo>
                    <a:pt x="7" y="332"/>
                  </a:lnTo>
                  <a:lnTo>
                    <a:pt x="5" y="332"/>
                  </a:lnTo>
                  <a:lnTo>
                    <a:pt x="5" y="332"/>
                  </a:lnTo>
                  <a:lnTo>
                    <a:pt x="5" y="332"/>
                  </a:lnTo>
                  <a:lnTo>
                    <a:pt x="5" y="334"/>
                  </a:lnTo>
                  <a:lnTo>
                    <a:pt x="9" y="334"/>
                  </a:lnTo>
                  <a:lnTo>
                    <a:pt x="5" y="336"/>
                  </a:lnTo>
                  <a:lnTo>
                    <a:pt x="5" y="336"/>
                  </a:lnTo>
                  <a:lnTo>
                    <a:pt x="5" y="338"/>
                  </a:lnTo>
                  <a:lnTo>
                    <a:pt x="5" y="341"/>
                  </a:lnTo>
                  <a:lnTo>
                    <a:pt x="7" y="341"/>
                  </a:lnTo>
                  <a:lnTo>
                    <a:pt x="11" y="341"/>
                  </a:lnTo>
                  <a:lnTo>
                    <a:pt x="15" y="341"/>
                  </a:lnTo>
                  <a:lnTo>
                    <a:pt x="20" y="338"/>
                  </a:lnTo>
                  <a:lnTo>
                    <a:pt x="24" y="341"/>
                  </a:lnTo>
                  <a:lnTo>
                    <a:pt x="26" y="341"/>
                  </a:lnTo>
                  <a:lnTo>
                    <a:pt x="26" y="338"/>
                  </a:lnTo>
                  <a:lnTo>
                    <a:pt x="26" y="336"/>
                  </a:lnTo>
                  <a:lnTo>
                    <a:pt x="30" y="336"/>
                  </a:lnTo>
                  <a:lnTo>
                    <a:pt x="30" y="338"/>
                  </a:lnTo>
                  <a:lnTo>
                    <a:pt x="34" y="338"/>
                  </a:lnTo>
                  <a:lnTo>
                    <a:pt x="37" y="334"/>
                  </a:lnTo>
                  <a:lnTo>
                    <a:pt x="39" y="334"/>
                  </a:lnTo>
                  <a:lnTo>
                    <a:pt x="37" y="336"/>
                  </a:lnTo>
                  <a:lnTo>
                    <a:pt x="35" y="338"/>
                  </a:lnTo>
                  <a:lnTo>
                    <a:pt x="39" y="341"/>
                  </a:lnTo>
                  <a:lnTo>
                    <a:pt x="41" y="338"/>
                  </a:lnTo>
                  <a:lnTo>
                    <a:pt x="41" y="336"/>
                  </a:lnTo>
                  <a:lnTo>
                    <a:pt x="41" y="332"/>
                  </a:lnTo>
                  <a:lnTo>
                    <a:pt x="41" y="334"/>
                  </a:lnTo>
                  <a:lnTo>
                    <a:pt x="47" y="338"/>
                  </a:lnTo>
                  <a:lnTo>
                    <a:pt x="41" y="341"/>
                  </a:lnTo>
                  <a:lnTo>
                    <a:pt x="39" y="341"/>
                  </a:lnTo>
                  <a:lnTo>
                    <a:pt x="35" y="343"/>
                  </a:lnTo>
                  <a:lnTo>
                    <a:pt x="37" y="345"/>
                  </a:lnTo>
                  <a:lnTo>
                    <a:pt x="35" y="347"/>
                  </a:lnTo>
                  <a:lnTo>
                    <a:pt x="32" y="349"/>
                  </a:lnTo>
                  <a:lnTo>
                    <a:pt x="32" y="347"/>
                  </a:lnTo>
                  <a:lnTo>
                    <a:pt x="34" y="345"/>
                  </a:lnTo>
                  <a:lnTo>
                    <a:pt x="32" y="341"/>
                  </a:lnTo>
                  <a:lnTo>
                    <a:pt x="30" y="341"/>
                  </a:lnTo>
                  <a:lnTo>
                    <a:pt x="26" y="345"/>
                  </a:lnTo>
                  <a:lnTo>
                    <a:pt x="26" y="347"/>
                  </a:lnTo>
                  <a:lnTo>
                    <a:pt x="24" y="343"/>
                  </a:lnTo>
                  <a:lnTo>
                    <a:pt x="20" y="341"/>
                  </a:lnTo>
                  <a:lnTo>
                    <a:pt x="17" y="343"/>
                  </a:lnTo>
                  <a:lnTo>
                    <a:pt x="13" y="341"/>
                  </a:lnTo>
                  <a:lnTo>
                    <a:pt x="9" y="345"/>
                  </a:lnTo>
                  <a:lnTo>
                    <a:pt x="5" y="345"/>
                  </a:lnTo>
                  <a:lnTo>
                    <a:pt x="5" y="343"/>
                  </a:lnTo>
                  <a:lnTo>
                    <a:pt x="2" y="343"/>
                  </a:lnTo>
                  <a:lnTo>
                    <a:pt x="5" y="347"/>
                  </a:lnTo>
                  <a:lnTo>
                    <a:pt x="5" y="349"/>
                  </a:lnTo>
                  <a:lnTo>
                    <a:pt x="5" y="351"/>
                  </a:lnTo>
                  <a:lnTo>
                    <a:pt x="7" y="349"/>
                  </a:lnTo>
                  <a:lnTo>
                    <a:pt x="9" y="347"/>
                  </a:lnTo>
                  <a:lnTo>
                    <a:pt x="11" y="347"/>
                  </a:lnTo>
                  <a:lnTo>
                    <a:pt x="9" y="351"/>
                  </a:lnTo>
                  <a:lnTo>
                    <a:pt x="9" y="353"/>
                  </a:lnTo>
                  <a:lnTo>
                    <a:pt x="7" y="353"/>
                  </a:lnTo>
                  <a:lnTo>
                    <a:pt x="5" y="353"/>
                  </a:lnTo>
                  <a:lnTo>
                    <a:pt x="5" y="358"/>
                  </a:lnTo>
                  <a:lnTo>
                    <a:pt x="9" y="360"/>
                  </a:lnTo>
                  <a:lnTo>
                    <a:pt x="15" y="353"/>
                  </a:lnTo>
                  <a:lnTo>
                    <a:pt x="17" y="353"/>
                  </a:lnTo>
                  <a:lnTo>
                    <a:pt x="17" y="356"/>
                  </a:lnTo>
                  <a:lnTo>
                    <a:pt x="17" y="360"/>
                  </a:lnTo>
                  <a:lnTo>
                    <a:pt x="11" y="362"/>
                  </a:lnTo>
                  <a:lnTo>
                    <a:pt x="13" y="362"/>
                  </a:lnTo>
                  <a:lnTo>
                    <a:pt x="15" y="362"/>
                  </a:lnTo>
                  <a:lnTo>
                    <a:pt x="15" y="366"/>
                  </a:lnTo>
                  <a:lnTo>
                    <a:pt x="17" y="368"/>
                  </a:lnTo>
                  <a:lnTo>
                    <a:pt x="15" y="371"/>
                  </a:lnTo>
                  <a:lnTo>
                    <a:pt x="17" y="371"/>
                  </a:lnTo>
                  <a:lnTo>
                    <a:pt x="17" y="368"/>
                  </a:lnTo>
                  <a:lnTo>
                    <a:pt x="20" y="366"/>
                  </a:lnTo>
                  <a:lnTo>
                    <a:pt x="20" y="362"/>
                  </a:lnTo>
                  <a:lnTo>
                    <a:pt x="30" y="360"/>
                  </a:lnTo>
                  <a:lnTo>
                    <a:pt x="32" y="360"/>
                  </a:lnTo>
                  <a:lnTo>
                    <a:pt x="34" y="360"/>
                  </a:lnTo>
                  <a:lnTo>
                    <a:pt x="32" y="362"/>
                  </a:lnTo>
                  <a:lnTo>
                    <a:pt x="30" y="362"/>
                  </a:lnTo>
                  <a:lnTo>
                    <a:pt x="30" y="368"/>
                  </a:lnTo>
                  <a:lnTo>
                    <a:pt x="30" y="370"/>
                  </a:lnTo>
                  <a:lnTo>
                    <a:pt x="26" y="368"/>
                  </a:lnTo>
                  <a:lnTo>
                    <a:pt x="26" y="366"/>
                  </a:lnTo>
                  <a:lnTo>
                    <a:pt x="26" y="366"/>
                  </a:lnTo>
                  <a:lnTo>
                    <a:pt x="24" y="368"/>
                  </a:lnTo>
                  <a:lnTo>
                    <a:pt x="20" y="368"/>
                  </a:lnTo>
                  <a:lnTo>
                    <a:pt x="24" y="370"/>
                  </a:lnTo>
                  <a:lnTo>
                    <a:pt x="20" y="373"/>
                  </a:lnTo>
                  <a:lnTo>
                    <a:pt x="17" y="373"/>
                  </a:lnTo>
                  <a:lnTo>
                    <a:pt x="17" y="377"/>
                  </a:lnTo>
                  <a:lnTo>
                    <a:pt x="20" y="377"/>
                  </a:lnTo>
                  <a:lnTo>
                    <a:pt x="26" y="377"/>
                  </a:lnTo>
                  <a:lnTo>
                    <a:pt x="26" y="379"/>
                  </a:lnTo>
                  <a:lnTo>
                    <a:pt x="20" y="381"/>
                  </a:lnTo>
                  <a:lnTo>
                    <a:pt x="20" y="383"/>
                  </a:lnTo>
                  <a:lnTo>
                    <a:pt x="20" y="385"/>
                  </a:lnTo>
                  <a:lnTo>
                    <a:pt x="17" y="383"/>
                  </a:lnTo>
                  <a:lnTo>
                    <a:pt x="15" y="383"/>
                  </a:lnTo>
                  <a:lnTo>
                    <a:pt x="15" y="387"/>
                  </a:lnTo>
                  <a:lnTo>
                    <a:pt x="13" y="383"/>
                  </a:lnTo>
                  <a:lnTo>
                    <a:pt x="11" y="385"/>
                  </a:lnTo>
                  <a:lnTo>
                    <a:pt x="7" y="387"/>
                  </a:lnTo>
                  <a:lnTo>
                    <a:pt x="9" y="392"/>
                  </a:lnTo>
                  <a:lnTo>
                    <a:pt x="15" y="396"/>
                  </a:lnTo>
                  <a:lnTo>
                    <a:pt x="15" y="392"/>
                  </a:lnTo>
                  <a:lnTo>
                    <a:pt x="17" y="396"/>
                  </a:lnTo>
                  <a:lnTo>
                    <a:pt x="17" y="392"/>
                  </a:lnTo>
                  <a:lnTo>
                    <a:pt x="17" y="392"/>
                  </a:lnTo>
                  <a:lnTo>
                    <a:pt x="20" y="387"/>
                  </a:lnTo>
                  <a:lnTo>
                    <a:pt x="24" y="392"/>
                  </a:lnTo>
                  <a:lnTo>
                    <a:pt x="20" y="392"/>
                  </a:lnTo>
                  <a:lnTo>
                    <a:pt x="24" y="396"/>
                  </a:lnTo>
                  <a:lnTo>
                    <a:pt x="24" y="398"/>
                  </a:lnTo>
                  <a:lnTo>
                    <a:pt x="20" y="400"/>
                  </a:lnTo>
                  <a:lnTo>
                    <a:pt x="24" y="405"/>
                  </a:lnTo>
                  <a:lnTo>
                    <a:pt x="26" y="403"/>
                  </a:lnTo>
                  <a:lnTo>
                    <a:pt x="30" y="402"/>
                  </a:lnTo>
                  <a:lnTo>
                    <a:pt x="30" y="403"/>
                  </a:lnTo>
                  <a:lnTo>
                    <a:pt x="26" y="403"/>
                  </a:lnTo>
                  <a:lnTo>
                    <a:pt x="26" y="405"/>
                  </a:lnTo>
                  <a:lnTo>
                    <a:pt x="26" y="409"/>
                  </a:lnTo>
                  <a:lnTo>
                    <a:pt x="26" y="411"/>
                  </a:lnTo>
                  <a:lnTo>
                    <a:pt x="20" y="405"/>
                  </a:lnTo>
                  <a:lnTo>
                    <a:pt x="17" y="405"/>
                  </a:lnTo>
                  <a:lnTo>
                    <a:pt x="17" y="405"/>
                  </a:lnTo>
                  <a:lnTo>
                    <a:pt x="13" y="405"/>
                  </a:lnTo>
                  <a:lnTo>
                    <a:pt x="13" y="407"/>
                  </a:lnTo>
                  <a:lnTo>
                    <a:pt x="11" y="409"/>
                  </a:lnTo>
                  <a:lnTo>
                    <a:pt x="17" y="417"/>
                  </a:lnTo>
                  <a:lnTo>
                    <a:pt x="20" y="417"/>
                  </a:lnTo>
                  <a:lnTo>
                    <a:pt x="26" y="422"/>
                  </a:lnTo>
                  <a:lnTo>
                    <a:pt x="30" y="424"/>
                  </a:lnTo>
                  <a:lnTo>
                    <a:pt x="32" y="426"/>
                  </a:lnTo>
                  <a:lnTo>
                    <a:pt x="30" y="428"/>
                  </a:lnTo>
                  <a:lnTo>
                    <a:pt x="34" y="430"/>
                  </a:lnTo>
                  <a:lnTo>
                    <a:pt x="35" y="430"/>
                  </a:lnTo>
                  <a:lnTo>
                    <a:pt x="34" y="426"/>
                  </a:lnTo>
                  <a:lnTo>
                    <a:pt x="37" y="426"/>
                  </a:lnTo>
                  <a:lnTo>
                    <a:pt x="39" y="428"/>
                  </a:lnTo>
                  <a:lnTo>
                    <a:pt x="39" y="428"/>
                  </a:lnTo>
                  <a:lnTo>
                    <a:pt x="41" y="434"/>
                  </a:lnTo>
                  <a:lnTo>
                    <a:pt x="45" y="432"/>
                  </a:lnTo>
                  <a:lnTo>
                    <a:pt x="45" y="432"/>
                  </a:lnTo>
                  <a:lnTo>
                    <a:pt x="49" y="430"/>
                  </a:lnTo>
                  <a:lnTo>
                    <a:pt x="50" y="426"/>
                  </a:lnTo>
                  <a:lnTo>
                    <a:pt x="54" y="426"/>
                  </a:lnTo>
                  <a:lnTo>
                    <a:pt x="54" y="424"/>
                  </a:lnTo>
                  <a:lnTo>
                    <a:pt x="56" y="424"/>
                  </a:lnTo>
                  <a:lnTo>
                    <a:pt x="56" y="428"/>
                  </a:lnTo>
                  <a:lnTo>
                    <a:pt x="58" y="428"/>
                  </a:lnTo>
                  <a:lnTo>
                    <a:pt x="66" y="420"/>
                  </a:lnTo>
                  <a:lnTo>
                    <a:pt x="66" y="420"/>
                  </a:lnTo>
                  <a:lnTo>
                    <a:pt x="62" y="417"/>
                  </a:lnTo>
                  <a:lnTo>
                    <a:pt x="67" y="420"/>
                  </a:lnTo>
                  <a:lnTo>
                    <a:pt x="71" y="415"/>
                  </a:lnTo>
                  <a:lnTo>
                    <a:pt x="71" y="415"/>
                  </a:lnTo>
                  <a:lnTo>
                    <a:pt x="73" y="413"/>
                  </a:lnTo>
                  <a:lnTo>
                    <a:pt x="73" y="409"/>
                  </a:lnTo>
                  <a:lnTo>
                    <a:pt x="75" y="407"/>
                  </a:lnTo>
                  <a:lnTo>
                    <a:pt x="79" y="407"/>
                  </a:lnTo>
                  <a:lnTo>
                    <a:pt x="79" y="405"/>
                  </a:lnTo>
                  <a:lnTo>
                    <a:pt x="75" y="402"/>
                  </a:lnTo>
                  <a:lnTo>
                    <a:pt x="79" y="398"/>
                  </a:lnTo>
                  <a:lnTo>
                    <a:pt x="75" y="396"/>
                  </a:lnTo>
                  <a:lnTo>
                    <a:pt x="71" y="392"/>
                  </a:lnTo>
                  <a:lnTo>
                    <a:pt x="71" y="390"/>
                  </a:lnTo>
                  <a:lnTo>
                    <a:pt x="73" y="392"/>
                  </a:lnTo>
                  <a:lnTo>
                    <a:pt x="75" y="396"/>
                  </a:lnTo>
                  <a:lnTo>
                    <a:pt x="79" y="400"/>
                  </a:lnTo>
                  <a:lnTo>
                    <a:pt x="79" y="402"/>
                  </a:lnTo>
                  <a:lnTo>
                    <a:pt x="81" y="402"/>
                  </a:lnTo>
                  <a:lnTo>
                    <a:pt x="81" y="403"/>
                  </a:lnTo>
                  <a:lnTo>
                    <a:pt x="84" y="405"/>
                  </a:lnTo>
                  <a:lnTo>
                    <a:pt x="86" y="403"/>
                  </a:lnTo>
                  <a:lnTo>
                    <a:pt x="84" y="402"/>
                  </a:lnTo>
                  <a:lnTo>
                    <a:pt x="84" y="402"/>
                  </a:lnTo>
                  <a:lnTo>
                    <a:pt x="84" y="398"/>
                  </a:lnTo>
                  <a:lnTo>
                    <a:pt x="88" y="402"/>
                  </a:lnTo>
                  <a:lnTo>
                    <a:pt x="88" y="402"/>
                  </a:lnTo>
                  <a:lnTo>
                    <a:pt x="92" y="398"/>
                  </a:lnTo>
                  <a:lnTo>
                    <a:pt x="94" y="396"/>
                  </a:lnTo>
                  <a:lnTo>
                    <a:pt x="94" y="392"/>
                  </a:lnTo>
                  <a:lnTo>
                    <a:pt x="90" y="390"/>
                  </a:lnTo>
                  <a:lnTo>
                    <a:pt x="88" y="387"/>
                  </a:lnTo>
                  <a:lnTo>
                    <a:pt x="90" y="387"/>
                  </a:lnTo>
                  <a:lnTo>
                    <a:pt x="92" y="385"/>
                  </a:lnTo>
                  <a:lnTo>
                    <a:pt x="94" y="385"/>
                  </a:lnTo>
                  <a:lnTo>
                    <a:pt x="94" y="383"/>
                  </a:lnTo>
                  <a:lnTo>
                    <a:pt x="92" y="381"/>
                  </a:lnTo>
                  <a:lnTo>
                    <a:pt x="92" y="377"/>
                  </a:lnTo>
                  <a:lnTo>
                    <a:pt x="96" y="375"/>
                  </a:lnTo>
                  <a:lnTo>
                    <a:pt x="98" y="379"/>
                  </a:lnTo>
                  <a:lnTo>
                    <a:pt x="96" y="381"/>
                  </a:lnTo>
                  <a:lnTo>
                    <a:pt x="98" y="387"/>
                  </a:lnTo>
                  <a:lnTo>
                    <a:pt x="96" y="390"/>
                  </a:lnTo>
                  <a:lnTo>
                    <a:pt x="98" y="392"/>
                  </a:lnTo>
                  <a:lnTo>
                    <a:pt x="99" y="396"/>
                  </a:lnTo>
                  <a:lnTo>
                    <a:pt x="103" y="398"/>
                  </a:lnTo>
                  <a:lnTo>
                    <a:pt x="105" y="398"/>
                  </a:lnTo>
                  <a:lnTo>
                    <a:pt x="109" y="400"/>
                  </a:lnTo>
                  <a:lnTo>
                    <a:pt x="109" y="402"/>
                  </a:lnTo>
                  <a:lnTo>
                    <a:pt x="109" y="402"/>
                  </a:lnTo>
                  <a:lnTo>
                    <a:pt x="111" y="407"/>
                  </a:lnTo>
                  <a:lnTo>
                    <a:pt x="113" y="402"/>
                  </a:lnTo>
                  <a:lnTo>
                    <a:pt x="113" y="392"/>
                  </a:lnTo>
                  <a:lnTo>
                    <a:pt x="109" y="387"/>
                  </a:lnTo>
                  <a:lnTo>
                    <a:pt x="111" y="383"/>
                  </a:lnTo>
                  <a:lnTo>
                    <a:pt x="114" y="383"/>
                  </a:lnTo>
                  <a:lnTo>
                    <a:pt x="113" y="379"/>
                  </a:lnTo>
                  <a:lnTo>
                    <a:pt x="113" y="375"/>
                  </a:lnTo>
                  <a:lnTo>
                    <a:pt x="118" y="375"/>
                  </a:lnTo>
                  <a:lnTo>
                    <a:pt x="120" y="371"/>
                  </a:lnTo>
                  <a:lnTo>
                    <a:pt x="120" y="368"/>
                  </a:lnTo>
                  <a:lnTo>
                    <a:pt x="124" y="362"/>
                  </a:lnTo>
                  <a:lnTo>
                    <a:pt x="120" y="360"/>
                  </a:lnTo>
                  <a:lnTo>
                    <a:pt x="118" y="351"/>
                  </a:lnTo>
                  <a:lnTo>
                    <a:pt x="114" y="343"/>
                  </a:lnTo>
                  <a:lnTo>
                    <a:pt x="116" y="341"/>
                  </a:lnTo>
                  <a:lnTo>
                    <a:pt x="124" y="338"/>
                  </a:lnTo>
                  <a:lnTo>
                    <a:pt x="124" y="332"/>
                  </a:lnTo>
                  <a:lnTo>
                    <a:pt x="126" y="328"/>
                  </a:lnTo>
                  <a:lnTo>
                    <a:pt x="120" y="321"/>
                  </a:lnTo>
                  <a:lnTo>
                    <a:pt x="114" y="319"/>
                  </a:lnTo>
                  <a:lnTo>
                    <a:pt x="114" y="311"/>
                  </a:lnTo>
                  <a:lnTo>
                    <a:pt x="114" y="304"/>
                  </a:lnTo>
                  <a:lnTo>
                    <a:pt x="114" y="298"/>
                  </a:lnTo>
                  <a:lnTo>
                    <a:pt x="113" y="292"/>
                  </a:lnTo>
                  <a:lnTo>
                    <a:pt x="114" y="287"/>
                  </a:lnTo>
                  <a:lnTo>
                    <a:pt x="113" y="277"/>
                  </a:lnTo>
                  <a:lnTo>
                    <a:pt x="111" y="268"/>
                  </a:lnTo>
                  <a:lnTo>
                    <a:pt x="113" y="258"/>
                  </a:lnTo>
                  <a:lnTo>
                    <a:pt x="116" y="253"/>
                  </a:lnTo>
                  <a:lnTo>
                    <a:pt x="120" y="249"/>
                  </a:lnTo>
                  <a:lnTo>
                    <a:pt x="126" y="249"/>
                  </a:lnTo>
                  <a:lnTo>
                    <a:pt x="133" y="249"/>
                  </a:lnTo>
                  <a:lnTo>
                    <a:pt x="133" y="247"/>
                  </a:lnTo>
                  <a:lnTo>
                    <a:pt x="133" y="240"/>
                  </a:lnTo>
                  <a:lnTo>
                    <a:pt x="133" y="236"/>
                  </a:lnTo>
                  <a:lnTo>
                    <a:pt x="133" y="232"/>
                  </a:lnTo>
                  <a:lnTo>
                    <a:pt x="139" y="215"/>
                  </a:lnTo>
                  <a:lnTo>
                    <a:pt x="139" y="208"/>
                  </a:lnTo>
                  <a:lnTo>
                    <a:pt x="141" y="198"/>
                  </a:lnTo>
                  <a:lnTo>
                    <a:pt x="143" y="194"/>
                  </a:lnTo>
                  <a:lnTo>
                    <a:pt x="143" y="189"/>
                  </a:lnTo>
                  <a:lnTo>
                    <a:pt x="141" y="185"/>
                  </a:lnTo>
                  <a:lnTo>
                    <a:pt x="141" y="183"/>
                  </a:lnTo>
                  <a:lnTo>
                    <a:pt x="146" y="179"/>
                  </a:lnTo>
                  <a:lnTo>
                    <a:pt x="154" y="177"/>
                  </a:lnTo>
                  <a:lnTo>
                    <a:pt x="154" y="176"/>
                  </a:lnTo>
                  <a:lnTo>
                    <a:pt x="154" y="172"/>
                  </a:lnTo>
                  <a:lnTo>
                    <a:pt x="160" y="164"/>
                  </a:lnTo>
                  <a:lnTo>
                    <a:pt x="167" y="155"/>
                  </a:lnTo>
                  <a:lnTo>
                    <a:pt x="167" y="151"/>
                  </a:lnTo>
                  <a:lnTo>
                    <a:pt x="167" y="145"/>
                  </a:lnTo>
                  <a:lnTo>
                    <a:pt x="163" y="144"/>
                  </a:lnTo>
                  <a:lnTo>
                    <a:pt x="163" y="134"/>
                  </a:lnTo>
                  <a:lnTo>
                    <a:pt x="167" y="134"/>
                  </a:lnTo>
                  <a:lnTo>
                    <a:pt x="167" y="130"/>
                  </a:lnTo>
                  <a:lnTo>
                    <a:pt x="169" y="125"/>
                  </a:lnTo>
                  <a:lnTo>
                    <a:pt x="171" y="125"/>
                  </a:lnTo>
                  <a:lnTo>
                    <a:pt x="175" y="119"/>
                  </a:lnTo>
                  <a:lnTo>
                    <a:pt x="178" y="115"/>
                  </a:lnTo>
                  <a:lnTo>
                    <a:pt x="182" y="117"/>
                  </a:lnTo>
                  <a:lnTo>
                    <a:pt x="184" y="119"/>
                  </a:lnTo>
                  <a:lnTo>
                    <a:pt x="188" y="119"/>
                  </a:lnTo>
                  <a:lnTo>
                    <a:pt x="188" y="117"/>
                  </a:lnTo>
                  <a:lnTo>
                    <a:pt x="188" y="113"/>
                  </a:lnTo>
                  <a:lnTo>
                    <a:pt x="188" y="110"/>
                  </a:lnTo>
                  <a:lnTo>
                    <a:pt x="188" y="108"/>
                  </a:lnTo>
                  <a:lnTo>
                    <a:pt x="192" y="106"/>
                  </a:lnTo>
                  <a:lnTo>
                    <a:pt x="188" y="104"/>
                  </a:lnTo>
                  <a:lnTo>
                    <a:pt x="188" y="100"/>
                  </a:lnTo>
                  <a:lnTo>
                    <a:pt x="194" y="100"/>
                  </a:lnTo>
                  <a:lnTo>
                    <a:pt x="199" y="100"/>
                  </a:lnTo>
                  <a:lnTo>
                    <a:pt x="205" y="100"/>
                  </a:lnTo>
                  <a:lnTo>
                    <a:pt x="209" y="104"/>
                  </a:lnTo>
                  <a:lnTo>
                    <a:pt x="212" y="104"/>
                  </a:lnTo>
                  <a:lnTo>
                    <a:pt x="216" y="104"/>
                  </a:lnTo>
                  <a:lnTo>
                    <a:pt x="216" y="104"/>
                  </a:lnTo>
                  <a:lnTo>
                    <a:pt x="218" y="106"/>
                  </a:lnTo>
                  <a:lnTo>
                    <a:pt x="218" y="100"/>
                  </a:lnTo>
                  <a:lnTo>
                    <a:pt x="216" y="96"/>
                  </a:lnTo>
                  <a:lnTo>
                    <a:pt x="216" y="91"/>
                  </a:lnTo>
                  <a:lnTo>
                    <a:pt x="220" y="91"/>
                  </a:lnTo>
                  <a:lnTo>
                    <a:pt x="218" y="87"/>
                  </a:lnTo>
                  <a:lnTo>
                    <a:pt x="216" y="85"/>
                  </a:lnTo>
                  <a:lnTo>
                    <a:pt x="216" y="81"/>
                  </a:lnTo>
                  <a:lnTo>
                    <a:pt x="220" y="83"/>
                  </a:lnTo>
                  <a:lnTo>
                    <a:pt x="224" y="81"/>
                  </a:lnTo>
                  <a:lnTo>
                    <a:pt x="226" y="81"/>
                  </a:lnTo>
                  <a:lnTo>
                    <a:pt x="226" y="81"/>
                  </a:lnTo>
                  <a:lnTo>
                    <a:pt x="226" y="79"/>
                  </a:lnTo>
                  <a:lnTo>
                    <a:pt x="227" y="81"/>
                  </a:lnTo>
                  <a:lnTo>
                    <a:pt x="229" y="79"/>
                  </a:lnTo>
                  <a:lnTo>
                    <a:pt x="227" y="78"/>
                  </a:lnTo>
                  <a:lnTo>
                    <a:pt x="229" y="76"/>
                  </a:lnTo>
                  <a:lnTo>
                    <a:pt x="231" y="72"/>
                  </a:lnTo>
                  <a:lnTo>
                    <a:pt x="235" y="72"/>
                  </a:lnTo>
                  <a:lnTo>
                    <a:pt x="237" y="76"/>
                  </a:lnTo>
                  <a:lnTo>
                    <a:pt x="246" y="83"/>
                  </a:lnTo>
                  <a:lnTo>
                    <a:pt x="246" y="87"/>
                  </a:lnTo>
                  <a:lnTo>
                    <a:pt x="250" y="91"/>
                  </a:lnTo>
                  <a:lnTo>
                    <a:pt x="256" y="95"/>
                  </a:lnTo>
                  <a:lnTo>
                    <a:pt x="261" y="95"/>
                  </a:lnTo>
                  <a:lnTo>
                    <a:pt x="267" y="89"/>
                  </a:lnTo>
                  <a:lnTo>
                    <a:pt x="271" y="87"/>
                  </a:lnTo>
                  <a:lnTo>
                    <a:pt x="274" y="87"/>
                  </a:lnTo>
                  <a:lnTo>
                    <a:pt x="280" y="91"/>
                  </a:lnTo>
                  <a:lnTo>
                    <a:pt x="284" y="91"/>
                  </a:lnTo>
                  <a:lnTo>
                    <a:pt x="288" y="87"/>
                  </a:lnTo>
                  <a:lnTo>
                    <a:pt x="290" y="87"/>
                  </a:lnTo>
                  <a:lnTo>
                    <a:pt x="291" y="83"/>
                  </a:lnTo>
                  <a:lnTo>
                    <a:pt x="295" y="83"/>
                  </a:lnTo>
                  <a:lnTo>
                    <a:pt x="297" y="81"/>
                  </a:lnTo>
                  <a:lnTo>
                    <a:pt x="299" y="79"/>
                  </a:lnTo>
                  <a:lnTo>
                    <a:pt x="297" y="76"/>
                  </a:lnTo>
                  <a:lnTo>
                    <a:pt x="295" y="70"/>
                  </a:lnTo>
                  <a:lnTo>
                    <a:pt x="297" y="61"/>
                  </a:lnTo>
                  <a:lnTo>
                    <a:pt x="299" y="59"/>
                  </a:lnTo>
                  <a:lnTo>
                    <a:pt x="297" y="55"/>
                  </a:lnTo>
                  <a:lnTo>
                    <a:pt x="299" y="53"/>
                  </a:lnTo>
                  <a:lnTo>
                    <a:pt x="301" y="49"/>
                  </a:lnTo>
                  <a:lnTo>
                    <a:pt x="301" y="47"/>
                  </a:lnTo>
                  <a:lnTo>
                    <a:pt x="305" y="46"/>
                  </a:lnTo>
                  <a:lnTo>
                    <a:pt x="310" y="46"/>
                  </a:lnTo>
                  <a:lnTo>
                    <a:pt x="314" y="46"/>
                  </a:lnTo>
                  <a:lnTo>
                    <a:pt x="314" y="46"/>
                  </a:lnTo>
                  <a:lnTo>
                    <a:pt x="316" y="42"/>
                  </a:lnTo>
                  <a:lnTo>
                    <a:pt x="325" y="42"/>
                  </a:lnTo>
                  <a:lnTo>
                    <a:pt x="329" y="46"/>
                  </a:lnTo>
                  <a:lnTo>
                    <a:pt x="331" y="49"/>
                  </a:lnTo>
                  <a:lnTo>
                    <a:pt x="335" y="51"/>
                  </a:lnTo>
                  <a:lnTo>
                    <a:pt x="338" y="53"/>
                  </a:lnTo>
                  <a:lnTo>
                    <a:pt x="346" y="53"/>
                  </a:lnTo>
                  <a:lnTo>
                    <a:pt x="346" y="57"/>
                  </a:lnTo>
                  <a:lnTo>
                    <a:pt x="350" y="61"/>
                  </a:lnTo>
                  <a:lnTo>
                    <a:pt x="350" y="66"/>
                  </a:lnTo>
                  <a:lnTo>
                    <a:pt x="346" y="70"/>
                  </a:lnTo>
                  <a:lnTo>
                    <a:pt x="346" y="78"/>
                  </a:lnTo>
                  <a:lnTo>
                    <a:pt x="346" y="78"/>
                  </a:lnTo>
                  <a:lnTo>
                    <a:pt x="346" y="78"/>
                  </a:lnTo>
                  <a:lnTo>
                    <a:pt x="346" y="78"/>
                  </a:lnTo>
                  <a:close/>
                  <a:moveTo>
                    <a:pt x="15" y="398"/>
                  </a:moveTo>
                  <a:lnTo>
                    <a:pt x="17" y="402"/>
                  </a:lnTo>
                  <a:lnTo>
                    <a:pt x="15" y="402"/>
                  </a:lnTo>
                  <a:lnTo>
                    <a:pt x="15" y="398"/>
                  </a:lnTo>
                  <a:lnTo>
                    <a:pt x="15" y="398"/>
                  </a:lnTo>
                  <a:lnTo>
                    <a:pt x="15" y="398"/>
                  </a:lnTo>
                  <a:lnTo>
                    <a:pt x="15" y="398"/>
                  </a:lnTo>
                  <a:close/>
                  <a:moveTo>
                    <a:pt x="5" y="379"/>
                  </a:moveTo>
                  <a:lnTo>
                    <a:pt x="5" y="379"/>
                  </a:lnTo>
                  <a:lnTo>
                    <a:pt x="9" y="377"/>
                  </a:lnTo>
                  <a:lnTo>
                    <a:pt x="11" y="379"/>
                  </a:lnTo>
                  <a:lnTo>
                    <a:pt x="9" y="383"/>
                  </a:lnTo>
                  <a:lnTo>
                    <a:pt x="5" y="379"/>
                  </a:lnTo>
                  <a:lnTo>
                    <a:pt x="5" y="379"/>
                  </a:lnTo>
                  <a:lnTo>
                    <a:pt x="5" y="379"/>
                  </a:lnTo>
                  <a:lnTo>
                    <a:pt x="5" y="379"/>
                  </a:lnTo>
                  <a:close/>
                  <a:moveTo>
                    <a:pt x="13" y="371"/>
                  </a:moveTo>
                  <a:lnTo>
                    <a:pt x="13" y="373"/>
                  </a:lnTo>
                  <a:lnTo>
                    <a:pt x="11" y="373"/>
                  </a:lnTo>
                  <a:lnTo>
                    <a:pt x="13" y="371"/>
                  </a:lnTo>
                  <a:lnTo>
                    <a:pt x="13" y="371"/>
                  </a:lnTo>
                  <a:lnTo>
                    <a:pt x="13" y="371"/>
                  </a:lnTo>
                  <a:lnTo>
                    <a:pt x="13" y="371"/>
                  </a:lnTo>
                  <a:close/>
                  <a:moveTo>
                    <a:pt x="9" y="370"/>
                  </a:moveTo>
                  <a:lnTo>
                    <a:pt x="9" y="371"/>
                  </a:lnTo>
                  <a:lnTo>
                    <a:pt x="5" y="371"/>
                  </a:lnTo>
                  <a:lnTo>
                    <a:pt x="9" y="370"/>
                  </a:lnTo>
                  <a:lnTo>
                    <a:pt x="9" y="370"/>
                  </a:lnTo>
                  <a:lnTo>
                    <a:pt x="9" y="370"/>
                  </a:lnTo>
                  <a:lnTo>
                    <a:pt x="9" y="370"/>
                  </a:lnTo>
                  <a:close/>
                  <a:moveTo>
                    <a:pt x="5" y="356"/>
                  </a:moveTo>
                  <a:lnTo>
                    <a:pt x="0" y="353"/>
                  </a:lnTo>
                  <a:lnTo>
                    <a:pt x="5" y="351"/>
                  </a:lnTo>
                  <a:lnTo>
                    <a:pt x="5" y="351"/>
                  </a:lnTo>
                  <a:lnTo>
                    <a:pt x="5" y="356"/>
                  </a:lnTo>
                  <a:lnTo>
                    <a:pt x="5" y="356"/>
                  </a:lnTo>
                  <a:lnTo>
                    <a:pt x="5" y="356"/>
                  </a:lnTo>
                  <a:lnTo>
                    <a:pt x="5" y="356"/>
                  </a:lnTo>
                  <a:close/>
                  <a:moveTo>
                    <a:pt x="2" y="358"/>
                  </a:moveTo>
                  <a:lnTo>
                    <a:pt x="5" y="358"/>
                  </a:lnTo>
                  <a:lnTo>
                    <a:pt x="5" y="360"/>
                  </a:lnTo>
                  <a:lnTo>
                    <a:pt x="2" y="358"/>
                  </a:lnTo>
                  <a:lnTo>
                    <a:pt x="2" y="358"/>
                  </a:lnTo>
                  <a:lnTo>
                    <a:pt x="2" y="358"/>
                  </a:lnTo>
                  <a:lnTo>
                    <a:pt x="2" y="358"/>
                  </a:lnTo>
                  <a:close/>
                  <a:moveTo>
                    <a:pt x="9" y="362"/>
                  </a:moveTo>
                  <a:lnTo>
                    <a:pt x="9" y="362"/>
                  </a:lnTo>
                  <a:lnTo>
                    <a:pt x="11" y="366"/>
                  </a:lnTo>
                  <a:lnTo>
                    <a:pt x="11" y="368"/>
                  </a:lnTo>
                  <a:lnTo>
                    <a:pt x="9" y="362"/>
                  </a:lnTo>
                  <a:lnTo>
                    <a:pt x="9" y="362"/>
                  </a:lnTo>
                  <a:lnTo>
                    <a:pt x="9" y="362"/>
                  </a:lnTo>
                  <a:lnTo>
                    <a:pt x="9" y="362"/>
                  </a:lnTo>
                  <a:close/>
                  <a:moveTo>
                    <a:pt x="5" y="366"/>
                  </a:moveTo>
                  <a:lnTo>
                    <a:pt x="0" y="362"/>
                  </a:lnTo>
                  <a:lnTo>
                    <a:pt x="5" y="362"/>
                  </a:lnTo>
                  <a:lnTo>
                    <a:pt x="5" y="366"/>
                  </a:lnTo>
                  <a:lnTo>
                    <a:pt x="5" y="366"/>
                  </a:lnTo>
                  <a:lnTo>
                    <a:pt x="5" y="366"/>
                  </a:lnTo>
                  <a:lnTo>
                    <a:pt x="5" y="366"/>
                  </a:lnTo>
                  <a:close/>
                  <a:moveTo>
                    <a:pt x="0" y="345"/>
                  </a:moveTo>
                  <a:lnTo>
                    <a:pt x="0" y="347"/>
                  </a:lnTo>
                  <a:lnTo>
                    <a:pt x="0" y="349"/>
                  </a:lnTo>
                  <a:lnTo>
                    <a:pt x="2" y="347"/>
                  </a:lnTo>
                  <a:lnTo>
                    <a:pt x="0" y="345"/>
                  </a:lnTo>
                  <a:lnTo>
                    <a:pt x="0" y="345"/>
                  </a:lnTo>
                  <a:lnTo>
                    <a:pt x="0" y="345"/>
                  </a:lnTo>
                  <a:lnTo>
                    <a:pt x="0" y="345"/>
                  </a:lnTo>
                  <a:close/>
                  <a:moveTo>
                    <a:pt x="0" y="319"/>
                  </a:moveTo>
                  <a:lnTo>
                    <a:pt x="5" y="321"/>
                  </a:lnTo>
                  <a:lnTo>
                    <a:pt x="0" y="322"/>
                  </a:lnTo>
                  <a:lnTo>
                    <a:pt x="0" y="319"/>
                  </a:lnTo>
                  <a:lnTo>
                    <a:pt x="0" y="319"/>
                  </a:lnTo>
                  <a:lnTo>
                    <a:pt x="0" y="319"/>
                  </a:lnTo>
                  <a:lnTo>
                    <a:pt x="0" y="319"/>
                  </a:lnTo>
                  <a:close/>
                  <a:moveTo>
                    <a:pt x="0" y="311"/>
                  </a:moveTo>
                  <a:lnTo>
                    <a:pt x="5" y="315"/>
                  </a:lnTo>
                  <a:lnTo>
                    <a:pt x="2" y="317"/>
                  </a:lnTo>
                  <a:lnTo>
                    <a:pt x="0" y="311"/>
                  </a:lnTo>
                  <a:lnTo>
                    <a:pt x="0" y="311"/>
                  </a:lnTo>
                  <a:lnTo>
                    <a:pt x="0" y="311"/>
                  </a:lnTo>
                  <a:lnTo>
                    <a:pt x="0" y="311"/>
                  </a:lnTo>
                  <a:close/>
                  <a:moveTo>
                    <a:pt x="11" y="304"/>
                  </a:moveTo>
                  <a:lnTo>
                    <a:pt x="13" y="307"/>
                  </a:lnTo>
                  <a:lnTo>
                    <a:pt x="9" y="307"/>
                  </a:lnTo>
                  <a:lnTo>
                    <a:pt x="11" y="304"/>
                  </a:lnTo>
                  <a:lnTo>
                    <a:pt x="11" y="304"/>
                  </a:lnTo>
                  <a:lnTo>
                    <a:pt x="11" y="304"/>
                  </a:lnTo>
                  <a:lnTo>
                    <a:pt x="11" y="304"/>
                  </a:lnTo>
                  <a:close/>
                  <a:moveTo>
                    <a:pt x="15" y="302"/>
                  </a:moveTo>
                  <a:lnTo>
                    <a:pt x="17" y="302"/>
                  </a:lnTo>
                  <a:lnTo>
                    <a:pt x="17" y="307"/>
                  </a:lnTo>
                  <a:lnTo>
                    <a:pt x="15" y="307"/>
                  </a:lnTo>
                  <a:lnTo>
                    <a:pt x="15" y="302"/>
                  </a:lnTo>
                  <a:lnTo>
                    <a:pt x="15" y="302"/>
                  </a:lnTo>
                  <a:lnTo>
                    <a:pt x="15" y="302"/>
                  </a:lnTo>
                  <a:lnTo>
                    <a:pt x="15" y="302"/>
                  </a:lnTo>
                  <a:close/>
                  <a:moveTo>
                    <a:pt x="49" y="279"/>
                  </a:moveTo>
                  <a:lnTo>
                    <a:pt x="49" y="279"/>
                  </a:lnTo>
                  <a:lnTo>
                    <a:pt x="50" y="277"/>
                  </a:lnTo>
                  <a:lnTo>
                    <a:pt x="50" y="279"/>
                  </a:lnTo>
                  <a:lnTo>
                    <a:pt x="50" y="281"/>
                  </a:lnTo>
                  <a:lnTo>
                    <a:pt x="49" y="279"/>
                  </a:lnTo>
                  <a:lnTo>
                    <a:pt x="49" y="279"/>
                  </a:lnTo>
                  <a:lnTo>
                    <a:pt x="49" y="279"/>
                  </a:lnTo>
                  <a:lnTo>
                    <a:pt x="49" y="279"/>
                  </a:lnTo>
                  <a:close/>
                  <a:moveTo>
                    <a:pt x="49" y="274"/>
                  </a:moveTo>
                  <a:lnTo>
                    <a:pt x="49" y="274"/>
                  </a:lnTo>
                  <a:lnTo>
                    <a:pt x="49" y="274"/>
                  </a:lnTo>
                  <a:lnTo>
                    <a:pt x="45" y="272"/>
                  </a:lnTo>
                  <a:lnTo>
                    <a:pt x="49" y="272"/>
                  </a:lnTo>
                  <a:lnTo>
                    <a:pt x="49" y="274"/>
                  </a:lnTo>
                  <a:lnTo>
                    <a:pt x="49" y="274"/>
                  </a:lnTo>
                  <a:lnTo>
                    <a:pt x="49" y="274"/>
                  </a:lnTo>
                  <a:lnTo>
                    <a:pt x="49" y="274"/>
                  </a:lnTo>
                  <a:close/>
                  <a:moveTo>
                    <a:pt x="50" y="266"/>
                  </a:moveTo>
                  <a:lnTo>
                    <a:pt x="58" y="260"/>
                  </a:lnTo>
                  <a:lnTo>
                    <a:pt x="60" y="262"/>
                  </a:lnTo>
                  <a:lnTo>
                    <a:pt x="56" y="266"/>
                  </a:lnTo>
                  <a:lnTo>
                    <a:pt x="50" y="266"/>
                  </a:lnTo>
                  <a:lnTo>
                    <a:pt x="50" y="266"/>
                  </a:lnTo>
                  <a:lnTo>
                    <a:pt x="50" y="266"/>
                  </a:lnTo>
                  <a:lnTo>
                    <a:pt x="50" y="266"/>
                  </a:lnTo>
                  <a:close/>
                  <a:moveTo>
                    <a:pt x="54" y="274"/>
                  </a:moveTo>
                  <a:lnTo>
                    <a:pt x="54" y="270"/>
                  </a:lnTo>
                  <a:lnTo>
                    <a:pt x="58" y="270"/>
                  </a:lnTo>
                  <a:lnTo>
                    <a:pt x="60" y="268"/>
                  </a:lnTo>
                  <a:lnTo>
                    <a:pt x="62" y="266"/>
                  </a:lnTo>
                  <a:lnTo>
                    <a:pt x="66" y="270"/>
                  </a:lnTo>
                  <a:lnTo>
                    <a:pt x="62" y="272"/>
                  </a:lnTo>
                  <a:lnTo>
                    <a:pt x="58" y="272"/>
                  </a:lnTo>
                  <a:lnTo>
                    <a:pt x="54" y="274"/>
                  </a:lnTo>
                  <a:lnTo>
                    <a:pt x="54" y="274"/>
                  </a:lnTo>
                  <a:lnTo>
                    <a:pt x="54" y="274"/>
                  </a:lnTo>
                  <a:lnTo>
                    <a:pt x="54" y="274"/>
                  </a:lnTo>
                  <a:lnTo>
                    <a:pt x="54" y="274"/>
                  </a:lnTo>
                  <a:close/>
                  <a:moveTo>
                    <a:pt x="99" y="219"/>
                  </a:moveTo>
                  <a:lnTo>
                    <a:pt x="103" y="219"/>
                  </a:lnTo>
                  <a:lnTo>
                    <a:pt x="105" y="215"/>
                  </a:lnTo>
                  <a:lnTo>
                    <a:pt x="103" y="223"/>
                  </a:lnTo>
                  <a:lnTo>
                    <a:pt x="99" y="219"/>
                  </a:lnTo>
                  <a:lnTo>
                    <a:pt x="99" y="219"/>
                  </a:lnTo>
                  <a:lnTo>
                    <a:pt x="99" y="219"/>
                  </a:lnTo>
                  <a:lnTo>
                    <a:pt x="99" y="219"/>
                  </a:lnTo>
                  <a:close/>
                  <a:moveTo>
                    <a:pt x="98" y="228"/>
                  </a:moveTo>
                  <a:lnTo>
                    <a:pt x="96" y="226"/>
                  </a:lnTo>
                  <a:lnTo>
                    <a:pt x="92" y="226"/>
                  </a:lnTo>
                  <a:lnTo>
                    <a:pt x="96" y="223"/>
                  </a:lnTo>
                  <a:lnTo>
                    <a:pt x="99" y="223"/>
                  </a:lnTo>
                  <a:lnTo>
                    <a:pt x="103" y="223"/>
                  </a:lnTo>
                  <a:lnTo>
                    <a:pt x="99" y="226"/>
                  </a:lnTo>
                  <a:lnTo>
                    <a:pt x="98" y="228"/>
                  </a:lnTo>
                  <a:lnTo>
                    <a:pt x="98" y="228"/>
                  </a:lnTo>
                  <a:lnTo>
                    <a:pt x="98" y="228"/>
                  </a:lnTo>
                  <a:lnTo>
                    <a:pt x="98" y="228"/>
                  </a:lnTo>
                  <a:close/>
                  <a:moveTo>
                    <a:pt x="105" y="198"/>
                  </a:moveTo>
                  <a:lnTo>
                    <a:pt x="109" y="198"/>
                  </a:lnTo>
                  <a:lnTo>
                    <a:pt x="109" y="202"/>
                  </a:lnTo>
                  <a:lnTo>
                    <a:pt x="105" y="204"/>
                  </a:lnTo>
                  <a:lnTo>
                    <a:pt x="105" y="200"/>
                  </a:lnTo>
                  <a:lnTo>
                    <a:pt x="105" y="198"/>
                  </a:lnTo>
                  <a:lnTo>
                    <a:pt x="105" y="198"/>
                  </a:lnTo>
                  <a:lnTo>
                    <a:pt x="105" y="198"/>
                  </a:lnTo>
                  <a:lnTo>
                    <a:pt x="105" y="198"/>
                  </a:lnTo>
                  <a:close/>
                  <a:moveTo>
                    <a:pt x="113" y="191"/>
                  </a:moveTo>
                  <a:lnTo>
                    <a:pt x="114" y="189"/>
                  </a:lnTo>
                  <a:lnTo>
                    <a:pt x="118" y="189"/>
                  </a:lnTo>
                  <a:lnTo>
                    <a:pt x="113" y="193"/>
                  </a:lnTo>
                  <a:lnTo>
                    <a:pt x="113" y="191"/>
                  </a:lnTo>
                  <a:lnTo>
                    <a:pt x="113" y="191"/>
                  </a:lnTo>
                  <a:lnTo>
                    <a:pt x="113" y="191"/>
                  </a:lnTo>
                  <a:lnTo>
                    <a:pt x="113" y="191"/>
                  </a:lnTo>
                  <a:close/>
                  <a:moveTo>
                    <a:pt x="111" y="185"/>
                  </a:moveTo>
                  <a:lnTo>
                    <a:pt x="113" y="181"/>
                  </a:lnTo>
                  <a:lnTo>
                    <a:pt x="114" y="185"/>
                  </a:lnTo>
                  <a:lnTo>
                    <a:pt x="111" y="189"/>
                  </a:lnTo>
                  <a:lnTo>
                    <a:pt x="111" y="185"/>
                  </a:lnTo>
                  <a:lnTo>
                    <a:pt x="111" y="185"/>
                  </a:lnTo>
                  <a:lnTo>
                    <a:pt x="111" y="185"/>
                  </a:lnTo>
                  <a:lnTo>
                    <a:pt x="111" y="185"/>
                  </a:lnTo>
                  <a:close/>
                  <a:moveTo>
                    <a:pt x="133" y="151"/>
                  </a:moveTo>
                  <a:lnTo>
                    <a:pt x="133" y="149"/>
                  </a:lnTo>
                  <a:lnTo>
                    <a:pt x="135" y="149"/>
                  </a:lnTo>
                  <a:lnTo>
                    <a:pt x="133" y="153"/>
                  </a:lnTo>
                  <a:lnTo>
                    <a:pt x="133" y="151"/>
                  </a:lnTo>
                  <a:lnTo>
                    <a:pt x="133" y="151"/>
                  </a:lnTo>
                  <a:lnTo>
                    <a:pt x="133" y="151"/>
                  </a:lnTo>
                  <a:lnTo>
                    <a:pt x="133" y="151"/>
                  </a:lnTo>
                  <a:close/>
                  <a:moveTo>
                    <a:pt x="111" y="130"/>
                  </a:moveTo>
                  <a:lnTo>
                    <a:pt x="113" y="134"/>
                  </a:lnTo>
                  <a:lnTo>
                    <a:pt x="111" y="136"/>
                  </a:lnTo>
                  <a:lnTo>
                    <a:pt x="109" y="134"/>
                  </a:lnTo>
                  <a:lnTo>
                    <a:pt x="111" y="130"/>
                  </a:lnTo>
                  <a:lnTo>
                    <a:pt x="111" y="130"/>
                  </a:lnTo>
                  <a:lnTo>
                    <a:pt x="111" y="130"/>
                  </a:lnTo>
                  <a:lnTo>
                    <a:pt x="111" y="130"/>
                  </a:lnTo>
                  <a:close/>
                  <a:moveTo>
                    <a:pt x="116" y="121"/>
                  </a:moveTo>
                  <a:lnTo>
                    <a:pt x="113" y="125"/>
                  </a:lnTo>
                  <a:lnTo>
                    <a:pt x="113" y="121"/>
                  </a:lnTo>
                  <a:lnTo>
                    <a:pt x="116" y="117"/>
                  </a:lnTo>
                  <a:lnTo>
                    <a:pt x="116" y="121"/>
                  </a:lnTo>
                  <a:lnTo>
                    <a:pt x="116" y="121"/>
                  </a:lnTo>
                  <a:lnTo>
                    <a:pt x="116" y="121"/>
                  </a:lnTo>
                  <a:lnTo>
                    <a:pt x="116" y="121"/>
                  </a:lnTo>
                  <a:close/>
                  <a:moveTo>
                    <a:pt x="120" y="121"/>
                  </a:moveTo>
                  <a:lnTo>
                    <a:pt x="118" y="117"/>
                  </a:lnTo>
                  <a:lnTo>
                    <a:pt x="120" y="115"/>
                  </a:lnTo>
                  <a:lnTo>
                    <a:pt x="122" y="117"/>
                  </a:lnTo>
                  <a:lnTo>
                    <a:pt x="120" y="121"/>
                  </a:lnTo>
                  <a:lnTo>
                    <a:pt x="120" y="121"/>
                  </a:lnTo>
                  <a:lnTo>
                    <a:pt x="120" y="121"/>
                  </a:lnTo>
                  <a:lnTo>
                    <a:pt x="120" y="121"/>
                  </a:lnTo>
                  <a:close/>
                  <a:moveTo>
                    <a:pt x="130" y="112"/>
                  </a:moveTo>
                  <a:lnTo>
                    <a:pt x="130" y="115"/>
                  </a:lnTo>
                  <a:lnTo>
                    <a:pt x="124" y="121"/>
                  </a:lnTo>
                  <a:lnTo>
                    <a:pt x="126" y="113"/>
                  </a:lnTo>
                  <a:lnTo>
                    <a:pt x="130" y="112"/>
                  </a:lnTo>
                  <a:lnTo>
                    <a:pt x="130" y="112"/>
                  </a:lnTo>
                  <a:lnTo>
                    <a:pt x="130" y="112"/>
                  </a:lnTo>
                  <a:lnTo>
                    <a:pt x="130" y="112"/>
                  </a:lnTo>
                  <a:close/>
                  <a:moveTo>
                    <a:pt x="135" y="104"/>
                  </a:moveTo>
                  <a:lnTo>
                    <a:pt x="139" y="100"/>
                  </a:lnTo>
                  <a:lnTo>
                    <a:pt x="141" y="104"/>
                  </a:lnTo>
                  <a:lnTo>
                    <a:pt x="135" y="104"/>
                  </a:lnTo>
                  <a:lnTo>
                    <a:pt x="135" y="104"/>
                  </a:lnTo>
                  <a:lnTo>
                    <a:pt x="135" y="104"/>
                  </a:lnTo>
                  <a:lnTo>
                    <a:pt x="135" y="104"/>
                  </a:lnTo>
                  <a:close/>
                  <a:moveTo>
                    <a:pt x="141" y="104"/>
                  </a:moveTo>
                  <a:lnTo>
                    <a:pt x="141" y="112"/>
                  </a:lnTo>
                  <a:lnTo>
                    <a:pt x="137" y="110"/>
                  </a:lnTo>
                  <a:lnTo>
                    <a:pt x="133" y="113"/>
                  </a:lnTo>
                  <a:lnTo>
                    <a:pt x="133" y="110"/>
                  </a:lnTo>
                  <a:lnTo>
                    <a:pt x="141" y="104"/>
                  </a:lnTo>
                  <a:lnTo>
                    <a:pt x="141" y="104"/>
                  </a:lnTo>
                  <a:lnTo>
                    <a:pt x="141" y="104"/>
                  </a:lnTo>
                  <a:lnTo>
                    <a:pt x="141" y="104"/>
                  </a:lnTo>
                  <a:close/>
                  <a:moveTo>
                    <a:pt x="143" y="87"/>
                  </a:moveTo>
                  <a:lnTo>
                    <a:pt x="145" y="91"/>
                  </a:lnTo>
                  <a:lnTo>
                    <a:pt x="145" y="96"/>
                  </a:lnTo>
                  <a:lnTo>
                    <a:pt x="139" y="100"/>
                  </a:lnTo>
                  <a:lnTo>
                    <a:pt x="137" y="96"/>
                  </a:lnTo>
                  <a:lnTo>
                    <a:pt x="143" y="95"/>
                  </a:lnTo>
                  <a:lnTo>
                    <a:pt x="139" y="95"/>
                  </a:lnTo>
                  <a:lnTo>
                    <a:pt x="135" y="96"/>
                  </a:lnTo>
                  <a:lnTo>
                    <a:pt x="133" y="96"/>
                  </a:lnTo>
                  <a:lnTo>
                    <a:pt x="135" y="91"/>
                  </a:lnTo>
                  <a:lnTo>
                    <a:pt x="139" y="91"/>
                  </a:lnTo>
                  <a:lnTo>
                    <a:pt x="141" y="89"/>
                  </a:lnTo>
                  <a:lnTo>
                    <a:pt x="141" y="87"/>
                  </a:lnTo>
                  <a:lnTo>
                    <a:pt x="143" y="87"/>
                  </a:lnTo>
                  <a:lnTo>
                    <a:pt x="143" y="87"/>
                  </a:lnTo>
                  <a:lnTo>
                    <a:pt x="143" y="87"/>
                  </a:lnTo>
                  <a:lnTo>
                    <a:pt x="143" y="87"/>
                  </a:lnTo>
                  <a:close/>
                  <a:moveTo>
                    <a:pt x="148" y="89"/>
                  </a:moveTo>
                  <a:lnTo>
                    <a:pt x="146" y="87"/>
                  </a:lnTo>
                  <a:lnTo>
                    <a:pt x="146" y="81"/>
                  </a:lnTo>
                  <a:lnTo>
                    <a:pt x="152" y="78"/>
                  </a:lnTo>
                  <a:lnTo>
                    <a:pt x="152" y="76"/>
                  </a:lnTo>
                  <a:lnTo>
                    <a:pt x="154" y="72"/>
                  </a:lnTo>
                  <a:lnTo>
                    <a:pt x="158" y="76"/>
                  </a:lnTo>
                  <a:lnTo>
                    <a:pt x="154" y="79"/>
                  </a:lnTo>
                  <a:lnTo>
                    <a:pt x="154" y="83"/>
                  </a:lnTo>
                  <a:lnTo>
                    <a:pt x="148" y="89"/>
                  </a:lnTo>
                  <a:lnTo>
                    <a:pt x="148" y="89"/>
                  </a:lnTo>
                  <a:lnTo>
                    <a:pt x="148" y="89"/>
                  </a:lnTo>
                  <a:lnTo>
                    <a:pt x="148" y="89"/>
                  </a:lnTo>
                  <a:close/>
                  <a:moveTo>
                    <a:pt x="160" y="91"/>
                  </a:moveTo>
                  <a:lnTo>
                    <a:pt x="163" y="96"/>
                  </a:lnTo>
                  <a:lnTo>
                    <a:pt x="158" y="104"/>
                  </a:lnTo>
                  <a:lnTo>
                    <a:pt x="154" y="104"/>
                  </a:lnTo>
                  <a:lnTo>
                    <a:pt x="152" y="108"/>
                  </a:lnTo>
                  <a:lnTo>
                    <a:pt x="150" y="106"/>
                  </a:lnTo>
                  <a:lnTo>
                    <a:pt x="150" y="104"/>
                  </a:lnTo>
                  <a:lnTo>
                    <a:pt x="146" y="110"/>
                  </a:lnTo>
                  <a:lnTo>
                    <a:pt x="145" y="110"/>
                  </a:lnTo>
                  <a:lnTo>
                    <a:pt x="145" y="104"/>
                  </a:lnTo>
                  <a:lnTo>
                    <a:pt x="146" y="104"/>
                  </a:lnTo>
                  <a:lnTo>
                    <a:pt x="146" y="100"/>
                  </a:lnTo>
                  <a:lnTo>
                    <a:pt x="148" y="96"/>
                  </a:lnTo>
                  <a:lnTo>
                    <a:pt x="148" y="95"/>
                  </a:lnTo>
                  <a:lnTo>
                    <a:pt x="154" y="87"/>
                  </a:lnTo>
                  <a:lnTo>
                    <a:pt x="150" y="96"/>
                  </a:lnTo>
                  <a:lnTo>
                    <a:pt x="152" y="100"/>
                  </a:lnTo>
                  <a:lnTo>
                    <a:pt x="154" y="96"/>
                  </a:lnTo>
                  <a:lnTo>
                    <a:pt x="160" y="96"/>
                  </a:lnTo>
                  <a:lnTo>
                    <a:pt x="158" y="91"/>
                  </a:lnTo>
                  <a:lnTo>
                    <a:pt x="158" y="89"/>
                  </a:lnTo>
                  <a:lnTo>
                    <a:pt x="160" y="91"/>
                  </a:lnTo>
                  <a:lnTo>
                    <a:pt x="160" y="91"/>
                  </a:lnTo>
                  <a:lnTo>
                    <a:pt x="160" y="91"/>
                  </a:lnTo>
                  <a:lnTo>
                    <a:pt x="160" y="91"/>
                  </a:lnTo>
                  <a:close/>
                  <a:moveTo>
                    <a:pt x="158" y="87"/>
                  </a:moveTo>
                  <a:lnTo>
                    <a:pt x="158" y="85"/>
                  </a:lnTo>
                  <a:lnTo>
                    <a:pt x="160" y="85"/>
                  </a:lnTo>
                  <a:lnTo>
                    <a:pt x="163" y="87"/>
                  </a:lnTo>
                  <a:lnTo>
                    <a:pt x="163" y="89"/>
                  </a:lnTo>
                  <a:lnTo>
                    <a:pt x="158" y="87"/>
                  </a:lnTo>
                  <a:lnTo>
                    <a:pt x="158" y="87"/>
                  </a:lnTo>
                  <a:lnTo>
                    <a:pt x="158" y="87"/>
                  </a:lnTo>
                  <a:lnTo>
                    <a:pt x="158" y="87"/>
                  </a:lnTo>
                  <a:close/>
                  <a:moveTo>
                    <a:pt x="169" y="91"/>
                  </a:moveTo>
                  <a:lnTo>
                    <a:pt x="171" y="89"/>
                  </a:lnTo>
                  <a:lnTo>
                    <a:pt x="173" y="91"/>
                  </a:lnTo>
                  <a:lnTo>
                    <a:pt x="169" y="91"/>
                  </a:lnTo>
                  <a:lnTo>
                    <a:pt x="169" y="91"/>
                  </a:lnTo>
                  <a:lnTo>
                    <a:pt x="169" y="91"/>
                  </a:lnTo>
                  <a:lnTo>
                    <a:pt x="169" y="91"/>
                  </a:lnTo>
                  <a:close/>
                  <a:moveTo>
                    <a:pt x="182" y="72"/>
                  </a:moveTo>
                  <a:lnTo>
                    <a:pt x="182" y="76"/>
                  </a:lnTo>
                  <a:lnTo>
                    <a:pt x="182" y="78"/>
                  </a:lnTo>
                  <a:lnTo>
                    <a:pt x="178" y="78"/>
                  </a:lnTo>
                  <a:lnTo>
                    <a:pt x="177" y="79"/>
                  </a:lnTo>
                  <a:lnTo>
                    <a:pt x="173" y="79"/>
                  </a:lnTo>
                  <a:lnTo>
                    <a:pt x="171" y="85"/>
                  </a:lnTo>
                  <a:lnTo>
                    <a:pt x="169" y="85"/>
                  </a:lnTo>
                  <a:lnTo>
                    <a:pt x="169" y="81"/>
                  </a:lnTo>
                  <a:lnTo>
                    <a:pt x="167" y="81"/>
                  </a:lnTo>
                  <a:lnTo>
                    <a:pt x="169" y="76"/>
                  </a:lnTo>
                  <a:lnTo>
                    <a:pt x="167" y="76"/>
                  </a:lnTo>
                  <a:lnTo>
                    <a:pt x="167" y="72"/>
                  </a:lnTo>
                  <a:lnTo>
                    <a:pt x="173" y="72"/>
                  </a:lnTo>
                  <a:lnTo>
                    <a:pt x="167" y="70"/>
                  </a:lnTo>
                  <a:lnTo>
                    <a:pt x="171" y="66"/>
                  </a:lnTo>
                  <a:lnTo>
                    <a:pt x="173" y="66"/>
                  </a:lnTo>
                  <a:lnTo>
                    <a:pt x="173" y="64"/>
                  </a:lnTo>
                  <a:lnTo>
                    <a:pt x="178" y="64"/>
                  </a:lnTo>
                  <a:lnTo>
                    <a:pt x="178" y="66"/>
                  </a:lnTo>
                  <a:lnTo>
                    <a:pt x="182" y="70"/>
                  </a:lnTo>
                  <a:lnTo>
                    <a:pt x="182" y="72"/>
                  </a:lnTo>
                  <a:lnTo>
                    <a:pt x="182" y="72"/>
                  </a:lnTo>
                  <a:lnTo>
                    <a:pt x="182" y="72"/>
                  </a:lnTo>
                  <a:lnTo>
                    <a:pt x="182" y="72"/>
                  </a:lnTo>
                  <a:close/>
                  <a:moveTo>
                    <a:pt x="182" y="63"/>
                  </a:moveTo>
                  <a:lnTo>
                    <a:pt x="188" y="63"/>
                  </a:lnTo>
                  <a:lnTo>
                    <a:pt x="188" y="59"/>
                  </a:lnTo>
                  <a:lnTo>
                    <a:pt x="192" y="59"/>
                  </a:lnTo>
                  <a:lnTo>
                    <a:pt x="194" y="55"/>
                  </a:lnTo>
                  <a:lnTo>
                    <a:pt x="195" y="59"/>
                  </a:lnTo>
                  <a:lnTo>
                    <a:pt x="194" y="63"/>
                  </a:lnTo>
                  <a:lnTo>
                    <a:pt x="194" y="66"/>
                  </a:lnTo>
                  <a:lnTo>
                    <a:pt x="188" y="66"/>
                  </a:lnTo>
                  <a:lnTo>
                    <a:pt x="186" y="66"/>
                  </a:lnTo>
                  <a:lnTo>
                    <a:pt x="182" y="63"/>
                  </a:lnTo>
                  <a:lnTo>
                    <a:pt x="182" y="63"/>
                  </a:lnTo>
                  <a:lnTo>
                    <a:pt x="182" y="63"/>
                  </a:lnTo>
                  <a:lnTo>
                    <a:pt x="182" y="63"/>
                  </a:lnTo>
                  <a:close/>
                  <a:moveTo>
                    <a:pt x="197" y="42"/>
                  </a:moveTo>
                  <a:lnTo>
                    <a:pt x="195" y="40"/>
                  </a:lnTo>
                  <a:lnTo>
                    <a:pt x="199" y="36"/>
                  </a:lnTo>
                  <a:lnTo>
                    <a:pt x="197" y="42"/>
                  </a:lnTo>
                  <a:lnTo>
                    <a:pt x="197" y="42"/>
                  </a:lnTo>
                  <a:lnTo>
                    <a:pt x="197" y="42"/>
                  </a:lnTo>
                  <a:lnTo>
                    <a:pt x="197" y="42"/>
                  </a:lnTo>
                  <a:close/>
                  <a:moveTo>
                    <a:pt x="192" y="47"/>
                  </a:moveTo>
                  <a:lnTo>
                    <a:pt x="192" y="46"/>
                  </a:lnTo>
                  <a:lnTo>
                    <a:pt x="195" y="42"/>
                  </a:lnTo>
                  <a:lnTo>
                    <a:pt x="194" y="46"/>
                  </a:lnTo>
                  <a:lnTo>
                    <a:pt x="194" y="46"/>
                  </a:lnTo>
                  <a:lnTo>
                    <a:pt x="192" y="47"/>
                  </a:lnTo>
                  <a:lnTo>
                    <a:pt x="192" y="47"/>
                  </a:lnTo>
                  <a:lnTo>
                    <a:pt x="192" y="47"/>
                  </a:lnTo>
                  <a:lnTo>
                    <a:pt x="192" y="47"/>
                  </a:lnTo>
                  <a:close/>
                  <a:moveTo>
                    <a:pt x="203" y="55"/>
                  </a:moveTo>
                  <a:lnTo>
                    <a:pt x="203" y="49"/>
                  </a:lnTo>
                  <a:lnTo>
                    <a:pt x="205" y="53"/>
                  </a:lnTo>
                  <a:lnTo>
                    <a:pt x="203" y="55"/>
                  </a:lnTo>
                  <a:lnTo>
                    <a:pt x="203" y="55"/>
                  </a:lnTo>
                  <a:lnTo>
                    <a:pt x="203" y="55"/>
                  </a:lnTo>
                  <a:lnTo>
                    <a:pt x="203" y="55"/>
                  </a:lnTo>
                  <a:close/>
                  <a:moveTo>
                    <a:pt x="201" y="53"/>
                  </a:moveTo>
                  <a:lnTo>
                    <a:pt x="199" y="55"/>
                  </a:lnTo>
                  <a:lnTo>
                    <a:pt x="197" y="55"/>
                  </a:lnTo>
                  <a:lnTo>
                    <a:pt x="192" y="51"/>
                  </a:lnTo>
                  <a:lnTo>
                    <a:pt x="197" y="46"/>
                  </a:lnTo>
                  <a:lnTo>
                    <a:pt x="199" y="47"/>
                  </a:lnTo>
                  <a:lnTo>
                    <a:pt x="203" y="47"/>
                  </a:lnTo>
                  <a:lnTo>
                    <a:pt x="203" y="47"/>
                  </a:lnTo>
                  <a:lnTo>
                    <a:pt x="201" y="51"/>
                  </a:lnTo>
                  <a:lnTo>
                    <a:pt x="201" y="53"/>
                  </a:lnTo>
                  <a:lnTo>
                    <a:pt x="201" y="53"/>
                  </a:lnTo>
                  <a:lnTo>
                    <a:pt x="201" y="53"/>
                  </a:lnTo>
                  <a:lnTo>
                    <a:pt x="201" y="53"/>
                  </a:lnTo>
                  <a:close/>
                  <a:moveTo>
                    <a:pt x="210" y="46"/>
                  </a:moveTo>
                  <a:lnTo>
                    <a:pt x="209" y="46"/>
                  </a:lnTo>
                  <a:lnTo>
                    <a:pt x="205" y="46"/>
                  </a:lnTo>
                  <a:lnTo>
                    <a:pt x="205" y="42"/>
                  </a:lnTo>
                  <a:lnTo>
                    <a:pt x="203" y="36"/>
                  </a:lnTo>
                  <a:lnTo>
                    <a:pt x="205" y="36"/>
                  </a:lnTo>
                  <a:lnTo>
                    <a:pt x="207" y="42"/>
                  </a:lnTo>
                  <a:lnTo>
                    <a:pt x="210" y="42"/>
                  </a:lnTo>
                  <a:lnTo>
                    <a:pt x="210" y="46"/>
                  </a:lnTo>
                  <a:lnTo>
                    <a:pt x="210" y="46"/>
                  </a:lnTo>
                  <a:lnTo>
                    <a:pt x="210" y="46"/>
                  </a:lnTo>
                  <a:lnTo>
                    <a:pt x="210" y="46"/>
                  </a:lnTo>
                  <a:close/>
                  <a:moveTo>
                    <a:pt x="220" y="51"/>
                  </a:moveTo>
                  <a:lnTo>
                    <a:pt x="218" y="47"/>
                  </a:lnTo>
                  <a:lnTo>
                    <a:pt x="216" y="46"/>
                  </a:lnTo>
                  <a:lnTo>
                    <a:pt x="216" y="42"/>
                  </a:lnTo>
                  <a:lnTo>
                    <a:pt x="216" y="36"/>
                  </a:lnTo>
                  <a:lnTo>
                    <a:pt x="222" y="42"/>
                  </a:lnTo>
                  <a:lnTo>
                    <a:pt x="220" y="46"/>
                  </a:lnTo>
                  <a:lnTo>
                    <a:pt x="222" y="47"/>
                  </a:lnTo>
                  <a:lnTo>
                    <a:pt x="220" y="51"/>
                  </a:lnTo>
                  <a:lnTo>
                    <a:pt x="220" y="51"/>
                  </a:lnTo>
                  <a:lnTo>
                    <a:pt x="220" y="51"/>
                  </a:lnTo>
                  <a:lnTo>
                    <a:pt x="220" y="51"/>
                  </a:lnTo>
                  <a:close/>
                  <a:moveTo>
                    <a:pt x="248" y="36"/>
                  </a:moveTo>
                  <a:lnTo>
                    <a:pt x="246" y="36"/>
                  </a:lnTo>
                  <a:lnTo>
                    <a:pt x="241" y="34"/>
                  </a:lnTo>
                  <a:lnTo>
                    <a:pt x="242" y="32"/>
                  </a:lnTo>
                  <a:lnTo>
                    <a:pt x="246" y="32"/>
                  </a:lnTo>
                  <a:lnTo>
                    <a:pt x="248" y="34"/>
                  </a:lnTo>
                  <a:lnTo>
                    <a:pt x="248" y="36"/>
                  </a:lnTo>
                  <a:lnTo>
                    <a:pt x="248" y="36"/>
                  </a:lnTo>
                  <a:lnTo>
                    <a:pt x="248" y="36"/>
                  </a:lnTo>
                  <a:lnTo>
                    <a:pt x="248" y="36"/>
                  </a:lnTo>
                  <a:close/>
                  <a:moveTo>
                    <a:pt x="252" y="34"/>
                  </a:moveTo>
                  <a:lnTo>
                    <a:pt x="248" y="29"/>
                  </a:lnTo>
                  <a:lnTo>
                    <a:pt x="256" y="23"/>
                  </a:lnTo>
                  <a:lnTo>
                    <a:pt x="256" y="27"/>
                  </a:lnTo>
                  <a:lnTo>
                    <a:pt x="254" y="31"/>
                  </a:lnTo>
                  <a:lnTo>
                    <a:pt x="252" y="34"/>
                  </a:lnTo>
                  <a:lnTo>
                    <a:pt x="252" y="34"/>
                  </a:lnTo>
                  <a:lnTo>
                    <a:pt x="252" y="34"/>
                  </a:lnTo>
                  <a:lnTo>
                    <a:pt x="252" y="34"/>
                  </a:lnTo>
                  <a:close/>
                  <a:moveTo>
                    <a:pt x="246" y="27"/>
                  </a:moveTo>
                  <a:lnTo>
                    <a:pt x="242" y="27"/>
                  </a:lnTo>
                  <a:lnTo>
                    <a:pt x="237" y="25"/>
                  </a:lnTo>
                  <a:lnTo>
                    <a:pt x="235" y="21"/>
                  </a:lnTo>
                  <a:lnTo>
                    <a:pt x="237" y="23"/>
                  </a:lnTo>
                  <a:lnTo>
                    <a:pt x="241" y="19"/>
                  </a:lnTo>
                  <a:lnTo>
                    <a:pt x="242" y="23"/>
                  </a:lnTo>
                  <a:lnTo>
                    <a:pt x="246" y="19"/>
                  </a:lnTo>
                  <a:lnTo>
                    <a:pt x="248" y="19"/>
                  </a:lnTo>
                  <a:lnTo>
                    <a:pt x="254" y="15"/>
                  </a:lnTo>
                  <a:lnTo>
                    <a:pt x="254" y="17"/>
                  </a:lnTo>
                  <a:lnTo>
                    <a:pt x="246" y="27"/>
                  </a:lnTo>
                  <a:lnTo>
                    <a:pt x="246" y="27"/>
                  </a:lnTo>
                  <a:lnTo>
                    <a:pt x="246" y="27"/>
                  </a:lnTo>
                  <a:lnTo>
                    <a:pt x="246" y="27"/>
                  </a:lnTo>
                  <a:close/>
                  <a:moveTo>
                    <a:pt x="256" y="19"/>
                  </a:moveTo>
                  <a:lnTo>
                    <a:pt x="256" y="19"/>
                  </a:lnTo>
                  <a:lnTo>
                    <a:pt x="261" y="17"/>
                  </a:lnTo>
                  <a:lnTo>
                    <a:pt x="267" y="19"/>
                  </a:lnTo>
                  <a:lnTo>
                    <a:pt x="265" y="23"/>
                  </a:lnTo>
                  <a:lnTo>
                    <a:pt x="259" y="25"/>
                  </a:lnTo>
                  <a:lnTo>
                    <a:pt x="259" y="21"/>
                  </a:lnTo>
                  <a:lnTo>
                    <a:pt x="256" y="19"/>
                  </a:lnTo>
                  <a:lnTo>
                    <a:pt x="256" y="19"/>
                  </a:lnTo>
                  <a:lnTo>
                    <a:pt x="256" y="19"/>
                  </a:lnTo>
                  <a:lnTo>
                    <a:pt x="256" y="19"/>
                  </a:lnTo>
                  <a:close/>
                  <a:moveTo>
                    <a:pt x="267" y="12"/>
                  </a:moveTo>
                  <a:lnTo>
                    <a:pt x="265" y="12"/>
                  </a:lnTo>
                  <a:lnTo>
                    <a:pt x="265" y="12"/>
                  </a:lnTo>
                  <a:lnTo>
                    <a:pt x="261" y="10"/>
                  </a:lnTo>
                  <a:lnTo>
                    <a:pt x="265" y="8"/>
                  </a:lnTo>
                  <a:lnTo>
                    <a:pt x="267" y="12"/>
                  </a:lnTo>
                  <a:lnTo>
                    <a:pt x="267" y="12"/>
                  </a:lnTo>
                  <a:lnTo>
                    <a:pt x="267" y="12"/>
                  </a:lnTo>
                  <a:lnTo>
                    <a:pt x="267" y="12"/>
                  </a:lnTo>
                  <a:close/>
                  <a:moveTo>
                    <a:pt x="274" y="2"/>
                  </a:moveTo>
                  <a:lnTo>
                    <a:pt x="271" y="2"/>
                  </a:lnTo>
                  <a:lnTo>
                    <a:pt x="273" y="2"/>
                  </a:lnTo>
                  <a:lnTo>
                    <a:pt x="274" y="2"/>
                  </a:lnTo>
                  <a:lnTo>
                    <a:pt x="274" y="2"/>
                  </a:lnTo>
                  <a:lnTo>
                    <a:pt x="274" y="2"/>
                  </a:lnTo>
                  <a:lnTo>
                    <a:pt x="274" y="2"/>
                  </a:lnTo>
                  <a:lnTo>
                    <a:pt x="274" y="2"/>
                  </a:lnTo>
                  <a:close/>
                  <a:moveTo>
                    <a:pt x="280" y="8"/>
                  </a:moveTo>
                  <a:lnTo>
                    <a:pt x="280" y="6"/>
                  </a:lnTo>
                  <a:lnTo>
                    <a:pt x="282" y="2"/>
                  </a:lnTo>
                  <a:lnTo>
                    <a:pt x="284" y="2"/>
                  </a:lnTo>
                  <a:lnTo>
                    <a:pt x="286" y="2"/>
                  </a:lnTo>
                  <a:lnTo>
                    <a:pt x="286" y="0"/>
                  </a:lnTo>
                  <a:lnTo>
                    <a:pt x="288" y="2"/>
                  </a:lnTo>
                  <a:lnTo>
                    <a:pt x="291" y="2"/>
                  </a:lnTo>
                  <a:lnTo>
                    <a:pt x="290" y="6"/>
                  </a:lnTo>
                  <a:lnTo>
                    <a:pt x="291" y="6"/>
                  </a:lnTo>
                  <a:lnTo>
                    <a:pt x="291" y="10"/>
                  </a:lnTo>
                  <a:lnTo>
                    <a:pt x="288" y="12"/>
                  </a:lnTo>
                  <a:lnTo>
                    <a:pt x="284" y="8"/>
                  </a:lnTo>
                  <a:lnTo>
                    <a:pt x="280" y="8"/>
                  </a:lnTo>
                  <a:lnTo>
                    <a:pt x="280" y="8"/>
                  </a:lnTo>
                  <a:lnTo>
                    <a:pt x="280" y="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6" name="Freeform 8">
              <a:extLst>
                <a:ext uri="{FF2B5EF4-FFF2-40B4-BE49-F238E27FC236}">
                  <a16:creationId xmlns:a16="http://schemas.microsoft.com/office/drawing/2014/main" id="{02B61D48-439C-4DED-B39C-A775753383F1}"/>
                </a:ext>
              </a:extLst>
            </p:cNvPr>
            <p:cNvSpPr>
              <a:spLocks noEditPoints="1"/>
            </p:cNvSpPr>
            <p:nvPr/>
          </p:nvSpPr>
          <p:spPr bwMode="auto">
            <a:xfrm>
              <a:off x="2954" y="1532"/>
              <a:ext cx="179" cy="418"/>
            </a:xfrm>
            <a:custGeom>
              <a:avLst/>
              <a:gdLst/>
              <a:ahLst/>
              <a:cxnLst>
                <a:cxn ang="0">
                  <a:pos x="6" y="302"/>
                </a:cxn>
                <a:cxn ang="0">
                  <a:pos x="19" y="281"/>
                </a:cxn>
                <a:cxn ang="0">
                  <a:pos x="21" y="247"/>
                </a:cxn>
                <a:cxn ang="0">
                  <a:pos x="9" y="205"/>
                </a:cxn>
                <a:cxn ang="0">
                  <a:pos x="28" y="168"/>
                </a:cxn>
                <a:cxn ang="0">
                  <a:pos x="36" y="117"/>
                </a:cxn>
                <a:cxn ang="0">
                  <a:pos x="49" y="94"/>
                </a:cxn>
                <a:cxn ang="0">
                  <a:pos x="58" y="53"/>
                </a:cxn>
                <a:cxn ang="0">
                  <a:pos x="75" y="36"/>
                </a:cxn>
                <a:cxn ang="0">
                  <a:pos x="85" y="25"/>
                </a:cxn>
                <a:cxn ang="0">
                  <a:pos x="107" y="23"/>
                </a:cxn>
                <a:cxn ang="0">
                  <a:pos x="115" y="10"/>
                </a:cxn>
                <a:cxn ang="0">
                  <a:pos x="122" y="4"/>
                </a:cxn>
                <a:cxn ang="0">
                  <a:pos x="154" y="25"/>
                </a:cxn>
                <a:cxn ang="0">
                  <a:pos x="164" y="40"/>
                </a:cxn>
                <a:cxn ang="0">
                  <a:pos x="168" y="64"/>
                </a:cxn>
                <a:cxn ang="0">
                  <a:pos x="173" y="96"/>
                </a:cxn>
                <a:cxn ang="0">
                  <a:pos x="173" y="109"/>
                </a:cxn>
                <a:cxn ang="0">
                  <a:pos x="158" y="111"/>
                </a:cxn>
                <a:cxn ang="0">
                  <a:pos x="143" y="113"/>
                </a:cxn>
                <a:cxn ang="0">
                  <a:pos x="143" y="128"/>
                </a:cxn>
                <a:cxn ang="0">
                  <a:pos x="143" y="132"/>
                </a:cxn>
                <a:cxn ang="0">
                  <a:pos x="143" y="149"/>
                </a:cxn>
                <a:cxn ang="0">
                  <a:pos x="137" y="166"/>
                </a:cxn>
                <a:cxn ang="0">
                  <a:pos x="122" y="185"/>
                </a:cxn>
                <a:cxn ang="0">
                  <a:pos x="111" y="196"/>
                </a:cxn>
                <a:cxn ang="0">
                  <a:pos x="102" y="200"/>
                </a:cxn>
                <a:cxn ang="0">
                  <a:pos x="92" y="217"/>
                </a:cxn>
                <a:cxn ang="0">
                  <a:pos x="87" y="237"/>
                </a:cxn>
                <a:cxn ang="0">
                  <a:pos x="87" y="253"/>
                </a:cxn>
                <a:cxn ang="0">
                  <a:pos x="92" y="270"/>
                </a:cxn>
                <a:cxn ang="0">
                  <a:pos x="109" y="281"/>
                </a:cxn>
                <a:cxn ang="0">
                  <a:pos x="109" y="305"/>
                </a:cxn>
                <a:cxn ang="0">
                  <a:pos x="92" y="303"/>
                </a:cxn>
                <a:cxn ang="0">
                  <a:pos x="77" y="305"/>
                </a:cxn>
                <a:cxn ang="0">
                  <a:pos x="90" y="309"/>
                </a:cxn>
                <a:cxn ang="0">
                  <a:pos x="111" y="315"/>
                </a:cxn>
                <a:cxn ang="0">
                  <a:pos x="100" y="318"/>
                </a:cxn>
                <a:cxn ang="0">
                  <a:pos x="90" y="330"/>
                </a:cxn>
                <a:cxn ang="0">
                  <a:pos x="85" y="335"/>
                </a:cxn>
                <a:cxn ang="0">
                  <a:pos x="87" y="352"/>
                </a:cxn>
                <a:cxn ang="0">
                  <a:pos x="87" y="375"/>
                </a:cxn>
                <a:cxn ang="0">
                  <a:pos x="72" y="398"/>
                </a:cxn>
                <a:cxn ang="0">
                  <a:pos x="53" y="411"/>
                </a:cxn>
                <a:cxn ang="0">
                  <a:pos x="32" y="413"/>
                </a:cxn>
                <a:cxn ang="0">
                  <a:pos x="32" y="390"/>
                </a:cxn>
                <a:cxn ang="0">
                  <a:pos x="15" y="369"/>
                </a:cxn>
                <a:cxn ang="0">
                  <a:pos x="9" y="349"/>
                </a:cxn>
                <a:cxn ang="0">
                  <a:pos x="6" y="339"/>
                </a:cxn>
                <a:cxn ang="0">
                  <a:pos x="0" y="330"/>
                </a:cxn>
                <a:cxn ang="0">
                  <a:pos x="109" y="309"/>
                </a:cxn>
                <a:cxn ang="0">
                  <a:pos x="109" y="309"/>
                </a:cxn>
                <a:cxn ang="0">
                  <a:pos x="6" y="345"/>
                </a:cxn>
                <a:cxn ang="0">
                  <a:pos x="128" y="335"/>
                </a:cxn>
                <a:cxn ang="0">
                  <a:pos x="128" y="354"/>
                </a:cxn>
                <a:cxn ang="0">
                  <a:pos x="126" y="352"/>
                </a:cxn>
                <a:cxn ang="0">
                  <a:pos x="122" y="369"/>
                </a:cxn>
                <a:cxn ang="0">
                  <a:pos x="126" y="354"/>
                </a:cxn>
                <a:cxn ang="0">
                  <a:pos x="111" y="366"/>
                </a:cxn>
                <a:cxn ang="0">
                  <a:pos x="115" y="381"/>
                </a:cxn>
                <a:cxn ang="0">
                  <a:pos x="90" y="394"/>
                </a:cxn>
                <a:cxn ang="0">
                  <a:pos x="90" y="373"/>
                </a:cxn>
              </a:cxnLst>
              <a:rect l="0" t="0" r="r" b="b"/>
              <a:pathLst>
                <a:path w="179" h="418">
                  <a:moveTo>
                    <a:pt x="4" y="320"/>
                  </a:moveTo>
                  <a:lnTo>
                    <a:pt x="6" y="320"/>
                  </a:lnTo>
                  <a:lnTo>
                    <a:pt x="6" y="326"/>
                  </a:lnTo>
                  <a:lnTo>
                    <a:pt x="9" y="320"/>
                  </a:lnTo>
                  <a:lnTo>
                    <a:pt x="9" y="309"/>
                  </a:lnTo>
                  <a:lnTo>
                    <a:pt x="6" y="305"/>
                  </a:lnTo>
                  <a:lnTo>
                    <a:pt x="6" y="302"/>
                  </a:lnTo>
                  <a:lnTo>
                    <a:pt x="9" y="302"/>
                  </a:lnTo>
                  <a:lnTo>
                    <a:pt x="9" y="298"/>
                  </a:lnTo>
                  <a:lnTo>
                    <a:pt x="9" y="294"/>
                  </a:lnTo>
                  <a:lnTo>
                    <a:pt x="13" y="294"/>
                  </a:lnTo>
                  <a:lnTo>
                    <a:pt x="15" y="290"/>
                  </a:lnTo>
                  <a:lnTo>
                    <a:pt x="15" y="286"/>
                  </a:lnTo>
                  <a:lnTo>
                    <a:pt x="19" y="281"/>
                  </a:lnTo>
                  <a:lnTo>
                    <a:pt x="15" y="279"/>
                  </a:lnTo>
                  <a:lnTo>
                    <a:pt x="13" y="270"/>
                  </a:lnTo>
                  <a:lnTo>
                    <a:pt x="9" y="262"/>
                  </a:lnTo>
                  <a:lnTo>
                    <a:pt x="13" y="260"/>
                  </a:lnTo>
                  <a:lnTo>
                    <a:pt x="19" y="256"/>
                  </a:lnTo>
                  <a:lnTo>
                    <a:pt x="19" y="251"/>
                  </a:lnTo>
                  <a:lnTo>
                    <a:pt x="21" y="247"/>
                  </a:lnTo>
                  <a:lnTo>
                    <a:pt x="15" y="239"/>
                  </a:lnTo>
                  <a:lnTo>
                    <a:pt x="9" y="237"/>
                  </a:lnTo>
                  <a:lnTo>
                    <a:pt x="9" y="230"/>
                  </a:lnTo>
                  <a:lnTo>
                    <a:pt x="9" y="222"/>
                  </a:lnTo>
                  <a:lnTo>
                    <a:pt x="9" y="217"/>
                  </a:lnTo>
                  <a:lnTo>
                    <a:pt x="9" y="211"/>
                  </a:lnTo>
                  <a:lnTo>
                    <a:pt x="9" y="205"/>
                  </a:lnTo>
                  <a:lnTo>
                    <a:pt x="9" y="196"/>
                  </a:lnTo>
                  <a:lnTo>
                    <a:pt x="6" y="187"/>
                  </a:lnTo>
                  <a:lnTo>
                    <a:pt x="9" y="177"/>
                  </a:lnTo>
                  <a:lnTo>
                    <a:pt x="13" y="172"/>
                  </a:lnTo>
                  <a:lnTo>
                    <a:pt x="15" y="168"/>
                  </a:lnTo>
                  <a:lnTo>
                    <a:pt x="21" y="168"/>
                  </a:lnTo>
                  <a:lnTo>
                    <a:pt x="28" y="168"/>
                  </a:lnTo>
                  <a:lnTo>
                    <a:pt x="28" y="166"/>
                  </a:lnTo>
                  <a:lnTo>
                    <a:pt x="28" y="158"/>
                  </a:lnTo>
                  <a:lnTo>
                    <a:pt x="28" y="155"/>
                  </a:lnTo>
                  <a:lnTo>
                    <a:pt x="28" y="151"/>
                  </a:lnTo>
                  <a:lnTo>
                    <a:pt x="34" y="134"/>
                  </a:lnTo>
                  <a:lnTo>
                    <a:pt x="34" y="126"/>
                  </a:lnTo>
                  <a:lnTo>
                    <a:pt x="36" y="117"/>
                  </a:lnTo>
                  <a:lnTo>
                    <a:pt x="38" y="113"/>
                  </a:lnTo>
                  <a:lnTo>
                    <a:pt x="38" y="108"/>
                  </a:lnTo>
                  <a:lnTo>
                    <a:pt x="36" y="104"/>
                  </a:lnTo>
                  <a:lnTo>
                    <a:pt x="36" y="102"/>
                  </a:lnTo>
                  <a:lnTo>
                    <a:pt x="41" y="98"/>
                  </a:lnTo>
                  <a:lnTo>
                    <a:pt x="47" y="96"/>
                  </a:lnTo>
                  <a:lnTo>
                    <a:pt x="49" y="94"/>
                  </a:lnTo>
                  <a:lnTo>
                    <a:pt x="49" y="91"/>
                  </a:lnTo>
                  <a:lnTo>
                    <a:pt x="55" y="83"/>
                  </a:lnTo>
                  <a:lnTo>
                    <a:pt x="60" y="74"/>
                  </a:lnTo>
                  <a:lnTo>
                    <a:pt x="62" y="70"/>
                  </a:lnTo>
                  <a:lnTo>
                    <a:pt x="60" y="64"/>
                  </a:lnTo>
                  <a:lnTo>
                    <a:pt x="58" y="62"/>
                  </a:lnTo>
                  <a:lnTo>
                    <a:pt x="58" y="53"/>
                  </a:lnTo>
                  <a:lnTo>
                    <a:pt x="60" y="53"/>
                  </a:lnTo>
                  <a:lnTo>
                    <a:pt x="62" y="49"/>
                  </a:lnTo>
                  <a:lnTo>
                    <a:pt x="64" y="45"/>
                  </a:lnTo>
                  <a:lnTo>
                    <a:pt x="66" y="43"/>
                  </a:lnTo>
                  <a:lnTo>
                    <a:pt x="68" y="38"/>
                  </a:lnTo>
                  <a:lnTo>
                    <a:pt x="72" y="34"/>
                  </a:lnTo>
                  <a:lnTo>
                    <a:pt x="75" y="36"/>
                  </a:lnTo>
                  <a:lnTo>
                    <a:pt x="77" y="38"/>
                  </a:lnTo>
                  <a:lnTo>
                    <a:pt x="81" y="38"/>
                  </a:lnTo>
                  <a:lnTo>
                    <a:pt x="83" y="36"/>
                  </a:lnTo>
                  <a:lnTo>
                    <a:pt x="81" y="32"/>
                  </a:lnTo>
                  <a:lnTo>
                    <a:pt x="83" y="28"/>
                  </a:lnTo>
                  <a:lnTo>
                    <a:pt x="83" y="28"/>
                  </a:lnTo>
                  <a:lnTo>
                    <a:pt x="85" y="25"/>
                  </a:lnTo>
                  <a:lnTo>
                    <a:pt x="81" y="23"/>
                  </a:lnTo>
                  <a:lnTo>
                    <a:pt x="83" y="19"/>
                  </a:lnTo>
                  <a:lnTo>
                    <a:pt x="87" y="19"/>
                  </a:lnTo>
                  <a:lnTo>
                    <a:pt x="92" y="19"/>
                  </a:lnTo>
                  <a:lnTo>
                    <a:pt x="98" y="19"/>
                  </a:lnTo>
                  <a:lnTo>
                    <a:pt x="102" y="23"/>
                  </a:lnTo>
                  <a:lnTo>
                    <a:pt x="107" y="23"/>
                  </a:lnTo>
                  <a:lnTo>
                    <a:pt x="109" y="23"/>
                  </a:lnTo>
                  <a:lnTo>
                    <a:pt x="111" y="23"/>
                  </a:lnTo>
                  <a:lnTo>
                    <a:pt x="111" y="25"/>
                  </a:lnTo>
                  <a:lnTo>
                    <a:pt x="111" y="19"/>
                  </a:lnTo>
                  <a:lnTo>
                    <a:pt x="111" y="15"/>
                  </a:lnTo>
                  <a:lnTo>
                    <a:pt x="111" y="11"/>
                  </a:lnTo>
                  <a:lnTo>
                    <a:pt x="115" y="10"/>
                  </a:lnTo>
                  <a:lnTo>
                    <a:pt x="111" y="6"/>
                  </a:lnTo>
                  <a:lnTo>
                    <a:pt x="111" y="4"/>
                  </a:lnTo>
                  <a:lnTo>
                    <a:pt x="109" y="0"/>
                  </a:lnTo>
                  <a:lnTo>
                    <a:pt x="115" y="2"/>
                  </a:lnTo>
                  <a:lnTo>
                    <a:pt x="117" y="0"/>
                  </a:lnTo>
                  <a:lnTo>
                    <a:pt x="119" y="0"/>
                  </a:lnTo>
                  <a:lnTo>
                    <a:pt x="122" y="4"/>
                  </a:lnTo>
                  <a:lnTo>
                    <a:pt x="126" y="6"/>
                  </a:lnTo>
                  <a:lnTo>
                    <a:pt x="134" y="15"/>
                  </a:lnTo>
                  <a:lnTo>
                    <a:pt x="137" y="19"/>
                  </a:lnTo>
                  <a:lnTo>
                    <a:pt x="145" y="19"/>
                  </a:lnTo>
                  <a:lnTo>
                    <a:pt x="145" y="19"/>
                  </a:lnTo>
                  <a:lnTo>
                    <a:pt x="151" y="19"/>
                  </a:lnTo>
                  <a:lnTo>
                    <a:pt x="154" y="25"/>
                  </a:lnTo>
                  <a:lnTo>
                    <a:pt x="154" y="28"/>
                  </a:lnTo>
                  <a:lnTo>
                    <a:pt x="158" y="28"/>
                  </a:lnTo>
                  <a:lnTo>
                    <a:pt x="158" y="28"/>
                  </a:lnTo>
                  <a:lnTo>
                    <a:pt x="160" y="32"/>
                  </a:lnTo>
                  <a:lnTo>
                    <a:pt x="164" y="32"/>
                  </a:lnTo>
                  <a:lnTo>
                    <a:pt x="166" y="36"/>
                  </a:lnTo>
                  <a:lnTo>
                    <a:pt x="164" y="40"/>
                  </a:lnTo>
                  <a:lnTo>
                    <a:pt x="164" y="45"/>
                  </a:lnTo>
                  <a:lnTo>
                    <a:pt x="162" y="49"/>
                  </a:lnTo>
                  <a:lnTo>
                    <a:pt x="164" y="53"/>
                  </a:lnTo>
                  <a:lnTo>
                    <a:pt x="168" y="53"/>
                  </a:lnTo>
                  <a:lnTo>
                    <a:pt x="169" y="57"/>
                  </a:lnTo>
                  <a:lnTo>
                    <a:pt x="168" y="59"/>
                  </a:lnTo>
                  <a:lnTo>
                    <a:pt x="168" y="64"/>
                  </a:lnTo>
                  <a:lnTo>
                    <a:pt x="171" y="68"/>
                  </a:lnTo>
                  <a:lnTo>
                    <a:pt x="171" y="74"/>
                  </a:lnTo>
                  <a:lnTo>
                    <a:pt x="171" y="77"/>
                  </a:lnTo>
                  <a:lnTo>
                    <a:pt x="171" y="79"/>
                  </a:lnTo>
                  <a:lnTo>
                    <a:pt x="171" y="87"/>
                  </a:lnTo>
                  <a:lnTo>
                    <a:pt x="169" y="91"/>
                  </a:lnTo>
                  <a:lnTo>
                    <a:pt x="173" y="96"/>
                  </a:lnTo>
                  <a:lnTo>
                    <a:pt x="177" y="96"/>
                  </a:lnTo>
                  <a:lnTo>
                    <a:pt x="177" y="104"/>
                  </a:lnTo>
                  <a:lnTo>
                    <a:pt x="179" y="104"/>
                  </a:lnTo>
                  <a:lnTo>
                    <a:pt x="179" y="109"/>
                  </a:lnTo>
                  <a:lnTo>
                    <a:pt x="179" y="109"/>
                  </a:lnTo>
                  <a:lnTo>
                    <a:pt x="177" y="109"/>
                  </a:lnTo>
                  <a:lnTo>
                    <a:pt x="173" y="109"/>
                  </a:lnTo>
                  <a:lnTo>
                    <a:pt x="173" y="108"/>
                  </a:lnTo>
                  <a:lnTo>
                    <a:pt x="168" y="109"/>
                  </a:lnTo>
                  <a:lnTo>
                    <a:pt x="166" y="109"/>
                  </a:lnTo>
                  <a:lnTo>
                    <a:pt x="164" y="111"/>
                  </a:lnTo>
                  <a:lnTo>
                    <a:pt x="160" y="111"/>
                  </a:lnTo>
                  <a:lnTo>
                    <a:pt x="158" y="108"/>
                  </a:lnTo>
                  <a:lnTo>
                    <a:pt x="158" y="111"/>
                  </a:lnTo>
                  <a:lnTo>
                    <a:pt x="154" y="108"/>
                  </a:lnTo>
                  <a:lnTo>
                    <a:pt x="153" y="108"/>
                  </a:lnTo>
                  <a:lnTo>
                    <a:pt x="153" y="111"/>
                  </a:lnTo>
                  <a:lnTo>
                    <a:pt x="151" y="117"/>
                  </a:lnTo>
                  <a:lnTo>
                    <a:pt x="149" y="117"/>
                  </a:lnTo>
                  <a:lnTo>
                    <a:pt x="145" y="113"/>
                  </a:lnTo>
                  <a:lnTo>
                    <a:pt x="143" y="113"/>
                  </a:lnTo>
                  <a:lnTo>
                    <a:pt x="145" y="117"/>
                  </a:lnTo>
                  <a:lnTo>
                    <a:pt x="149" y="119"/>
                  </a:lnTo>
                  <a:lnTo>
                    <a:pt x="145" y="123"/>
                  </a:lnTo>
                  <a:lnTo>
                    <a:pt x="143" y="123"/>
                  </a:lnTo>
                  <a:lnTo>
                    <a:pt x="139" y="124"/>
                  </a:lnTo>
                  <a:lnTo>
                    <a:pt x="143" y="126"/>
                  </a:lnTo>
                  <a:lnTo>
                    <a:pt x="143" y="128"/>
                  </a:lnTo>
                  <a:lnTo>
                    <a:pt x="141" y="128"/>
                  </a:lnTo>
                  <a:lnTo>
                    <a:pt x="141" y="126"/>
                  </a:lnTo>
                  <a:lnTo>
                    <a:pt x="137" y="126"/>
                  </a:lnTo>
                  <a:lnTo>
                    <a:pt x="137" y="126"/>
                  </a:lnTo>
                  <a:lnTo>
                    <a:pt x="139" y="128"/>
                  </a:lnTo>
                  <a:lnTo>
                    <a:pt x="141" y="128"/>
                  </a:lnTo>
                  <a:lnTo>
                    <a:pt x="143" y="132"/>
                  </a:lnTo>
                  <a:lnTo>
                    <a:pt x="141" y="132"/>
                  </a:lnTo>
                  <a:lnTo>
                    <a:pt x="139" y="141"/>
                  </a:lnTo>
                  <a:lnTo>
                    <a:pt x="139" y="143"/>
                  </a:lnTo>
                  <a:lnTo>
                    <a:pt x="136" y="143"/>
                  </a:lnTo>
                  <a:lnTo>
                    <a:pt x="139" y="147"/>
                  </a:lnTo>
                  <a:lnTo>
                    <a:pt x="143" y="147"/>
                  </a:lnTo>
                  <a:lnTo>
                    <a:pt x="143" y="149"/>
                  </a:lnTo>
                  <a:lnTo>
                    <a:pt x="141" y="151"/>
                  </a:lnTo>
                  <a:lnTo>
                    <a:pt x="143" y="153"/>
                  </a:lnTo>
                  <a:lnTo>
                    <a:pt x="145" y="153"/>
                  </a:lnTo>
                  <a:lnTo>
                    <a:pt x="143" y="158"/>
                  </a:lnTo>
                  <a:lnTo>
                    <a:pt x="139" y="158"/>
                  </a:lnTo>
                  <a:lnTo>
                    <a:pt x="137" y="162"/>
                  </a:lnTo>
                  <a:lnTo>
                    <a:pt x="137" y="166"/>
                  </a:lnTo>
                  <a:lnTo>
                    <a:pt x="134" y="173"/>
                  </a:lnTo>
                  <a:lnTo>
                    <a:pt x="134" y="173"/>
                  </a:lnTo>
                  <a:lnTo>
                    <a:pt x="130" y="177"/>
                  </a:lnTo>
                  <a:lnTo>
                    <a:pt x="126" y="173"/>
                  </a:lnTo>
                  <a:lnTo>
                    <a:pt x="126" y="177"/>
                  </a:lnTo>
                  <a:lnTo>
                    <a:pt x="128" y="181"/>
                  </a:lnTo>
                  <a:lnTo>
                    <a:pt x="122" y="185"/>
                  </a:lnTo>
                  <a:lnTo>
                    <a:pt x="121" y="189"/>
                  </a:lnTo>
                  <a:lnTo>
                    <a:pt x="119" y="189"/>
                  </a:lnTo>
                  <a:lnTo>
                    <a:pt x="119" y="185"/>
                  </a:lnTo>
                  <a:lnTo>
                    <a:pt x="115" y="185"/>
                  </a:lnTo>
                  <a:lnTo>
                    <a:pt x="115" y="189"/>
                  </a:lnTo>
                  <a:lnTo>
                    <a:pt x="115" y="192"/>
                  </a:lnTo>
                  <a:lnTo>
                    <a:pt x="111" y="196"/>
                  </a:lnTo>
                  <a:lnTo>
                    <a:pt x="111" y="192"/>
                  </a:lnTo>
                  <a:lnTo>
                    <a:pt x="109" y="192"/>
                  </a:lnTo>
                  <a:lnTo>
                    <a:pt x="109" y="196"/>
                  </a:lnTo>
                  <a:lnTo>
                    <a:pt x="107" y="196"/>
                  </a:lnTo>
                  <a:lnTo>
                    <a:pt x="105" y="196"/>
                  </a:lnTo>
                  <a:lnTo>
                    <a:pt x="102" y="196"/>
                  </a:lnTo>
                  <a:lnTo>
                    <a:pt x="102" y="200"/>
                  </a:lnTo>
                  <a:lnTo>
                    <a:pt x="104" y="200"/>
                  </a:lnTo>
                  <a:lnTo>
                    <a:pt x="104" y="204"/>
                  </a:lnTo>
                  <a:lnTo>
                    <a:pt x="98" y="207"/>
                  </a:lnTo>
                  <a:lnTo>
                    <a:pt x="94" y="205"/>
                  </a:lnTo>
                  <a:lnTo>
                    <a:pt x="94" y="209"/>
                  </a:lnTo>
                  <a:lnTo>
                    <a:pt x="96" y="211"/>
                  </a:lnTo>
                  <a:lnTo>
                    <a:pt x="92" y="217"/>
                  </a:lnTo>
                  <a:lnTo>
                    <a:pt x="87" y="217"/>
                  </a:lnTo>
                  <a:lnTo>
                    <a:pt x="85" y="217"/>
                  </a:lnTo>
                  <a:lnTo>
                    <a:pt x="90" y="221"/>
                  </a:lnTo>
                  <a:lnTo>
                    <a:pt x="90" y="226"/>
                  </a:lnTo>
                  <a:lnTo>
                    <a:pt x="87" y="226"/>
                  </a:lnTo>
                  <a:lnTo>
                    <a:pt x="90" y="232"/>
                  </a:lnTo>
                  <a:lnTo>
                    <a:pt x="87" y="237"/>
                  </a:lnTo>
                  <a:lnTo>
                    <a:pt x="90" y="239"/>
                  </a:lnTo>
                  <a:lnTo>
                    <a:pt x="90" y="243"/>
                  </a:lnTo>
                  <a:lnTo>
                    <a:pt x="87" y="241"/>
                  </a:lnTo>
                  <a:lnTo>
                    <a:pt x="87" y="243"/>
                  </a:lnTo>
                  <a:lnTo>
                    <a:pt x="87" y="247"/>
                  </a:lnTo>
                  <a:lnTo>
                    <a:pt x="87" y="251"/>
                  </a:lnTo>
                  <a:lnTo>
                    <a:pt x="87" y="253"/>
                  </a:lnTo>
                  <a:lnTo>
                    <a:pt x="87" y="254"/>
                  </a:lnTo>
                  <a:lnTo>
                    <a:pt x="87" y="254"/>
                  </a:lnTo>
                  <a:lnTo>
                    <a:pt x="87" y="260"/>
                  </a:lnTo>
                  <a:lnTo>
                    <a:pt x="87" y="264"/>
                  </a:lnTo>
                  <a:lnTo>
                    <a:pt x="87" y="266"/>
                  </a:lnTo>
                  <a:lnTo>
                    <a:pt x="90" y="268"/>
                  </a:lnTo>
                  <a:lnTo>
                    <a:pt x="92" y="270"/>
                  </a:lnTo>
                  <a:lnTo>
                    <a:pt x="92" y="271"/>
                  </a:lnTo>
                  <a:lnTo>
                    <a:pt x="94" y="271"/>
                  </a:lnTo>
                  <a:lnTo>
                    <a:pt x="96" y="275"/>
                  </a:lnTo>
                  <a:lnTo>
                    <a:pt x="100" y="271"/>
                  </a:lnTo>
                  <a:lnTo>
                    <a:pt x="102" y="271"/>
                  </a:lnTo>
                  <a:lnTo>
                    <a:pt x="104" y="277"/>
                  </a:lnTo>
                  <a:lnTo>
                    <a:pt x="109" y="281"/>
                  </a:lnTo>
                  <a:lnTo>
                    <a:pt x="109" y="285"/>
                  </a:lnTo>
                  <a:lnTo>
                    <a:pt x="115" y="286"/>
                  </a:lnTo>
                  <a:lnTo>
                    <a:pt x="115" y="288"/>
                  </a:lnTo>
                  <a:lnTo>
                    <a:pt x="117" y="292"/>
                  </a:lnTo>
                  <a:lnTo>
                    <a:pt x="115" y="298"/>
                  </a:lnTo>
                  <a:lnTo>
                    <a:pt x="111" y="303"/>
                  </a:lnTo>
                  <a:lnTo>
                    <a:pt x="109" y="305"/>
                  </a:lnTo>
                  <a:lnTo>
                    <a:pt x="104" y="309"/>
                  </a:lnTo>
                  <a:lnTo>
                    <a:pt x="102" y="305"/>
                  </a:lnTo>
                  <a:lnTo>
                    <a:pt x="102" y="305"/>
                  </a:lnTo>
                  <a:lnTo>
                    <a:pt x="96" y="303"/>
                  </a:lnTo>
                  <a:lnTo>
                    <a:pt x="94" y="302"/>
                  </a:lnTo>
                  <a:lnTo>
                    <a:pt x="94" y="303"/>
                  </a:lnTo>
                  <a:lnTo>
                    <a:pt x="92" y="303"/>
                  </a:lnTo>
                  <a:lnTo>
                    <a:pt x="90" y="302"/>
                  </a:lnTo>
                  <a:lnTo>
                    <a:pt x="87" y="302"/>
                  </a:lnTo>
                  <a:lnTo>
                    <a:pt x="87" y="303"/>
                  </a:lnTo>
                  <a:lnTo>
                    <a:pt x="85" y="305"/>
                  </a:lnTo>
                  <a:lnTo>
                    <a:pt x="83" y="303"/>
                  </a:lnTo>
                  <a:lnTo>
                    <a:pt x="81" y="305"/>
                  </a:lnTo>
                  <a:lnTo>
                    <a:pt x="77" y="305"/>
                  </a:lnTo>
                  <a:lnTo>
                    <a:pt x="75" y="305"/>
                  </a:lnTo>
                  <a:lnTo>
                    <a:pt x="75" y="305"/>
                  </a:lnTo>
                  <a:lnTo>
                    <a:pt x="81" y="309"/>
                  </a:lnTo>
                  <a:lnTo>
                    <a:pt x="83" y="309"/>
                  </a:lnTo>
                  <a:lnTo>
                    <a:pt x="83" y="305"/>
                  </a:lnTo>
                  <a:lnTo>
                    <a:pt x="87" y="305"/>
                  </a:lnTo>
                  <a:lnTo>
                    <a:pt x="90" y="309"/>
                  </a:lnTo>
                  <a:lnTo>
                    <a:pt x="92" y="309"/>
                  </a:lnTo>
                  <a:lnTo>
                    <a:pt x="94" y="311"/>
                  </a:lnTo>
                  <a:lnTo>
                    <a:pt x="98" y="309"/>
                  </a:lnTo>
                  <a:lnTo>
                    <a:pt x="100" y="311"/>
                  </a:lnTo>
                  <a:lnTo>
                    <a:pt x="104" y="309"/>
                  </a:lnTo>
                  <a:lnTo>
                    <a:pt x="109" y="309"/>
                  </a:lnTo>
                  <a:lnTo>
                    <a:pt x="111" y="315"/>
                  </a:lnTo>
                  <a:lnTo>
                    <a:pt x="111" y="317"/>
                  </a:lnTo>
                  <a:lnTo>
                    <a:pt x="109" y="318"/>
                  </a:lnTo>
                  <a:lnTo>
                    <a:pt x="105" y="318"/>
                  </a:lnTo>
                  <a:lnTo>
                    <a:pt x="102" y="324"/>
                  </a:lnTo>
                  <a:lnTo>
                    <a:pt x="100" y="322"/>
                  </a:lnTo>
                  <a:lnTo>
                    <a:pt x="102" y="320"/>
                  </a:lnTo>
                  <a:lnTo>
                    <a:pt x="100" y="318"/>
                  </a:lnTo>
                  <a:lnTo>
                    <a:pt x="98" y="320"/>
                  </a:lnTo>
                  <a:lnTo>
                    <a:pt x="98" y="322"/>
                  </a:lnTo>
                  <a:lnTo>
                    <a:pt x="96" y="322"/>
                  </a:lnTo>
                  <a:lnTo>
                    <a:pt x="94" y="326"/>
                  </a:lnTo>
                  <a:lnTo>
                    <a:pt x="92" y="330"/>
                  </a:lnTo>
                  <a:lnTo>
                    <a:pt x="90" y="328"/>
                  </a:lnTo>
                  <a:lnTo>
                    <a:pt x="90" y="330"/>
                  </a:lnTo>
                  <a:lnTo>
                    <a:pt x="87" y="332"/>
                  </a:lnTo>
                  <a:lnTo>
                    <a:pt x="87" y="332"/>
                  </a:lnTo>
                  <a:lnTo>
                    <a:pt x="87" y="332"/>
                  </a:lnTo>
                  <a:lnTo>
                    <a:pt x="85" y="334"/>
                  </a:lnTo>
                  <a:lnTo>
                    <a:pt x="87" y="334"/>
                  </a:lnTo>
                  <a:lnTo>
                    <a:pt x="90" y="335"/>
                  </a:lnTo>
                  <a:lnTo>
                    <a:pt x="85" y="335"/>
                  </a:lnTo>
                  <a:lnTo>
                    <a:pt x="90" y="339"/>
                  </a:lnTo>
                  <a:lnTo>
                    <a:pt x="90" y="341"/>
                  </a:lnTo>
                  <a:lnTo>
                    <a:pt x="87" y="345"/>
                  </a:lnTo>
                  <a:lnTo>
                    <a:pt x="90" y="349"/>
                  </a:lnTo>
                  <a:lnTo>
                    <a:pt x="87" y="351"/>
                  </a:lnTo>
                  <a:lnTo>
                    <a:pt x="83" y="349"/>
                  </a:lnTo>
                  <a:lnTo>
                    <a:pt x="87" y="352"/>
                  </a:lnTo>
                  <a:lnTo>
                    <a:pt x="85" y="356"/>
                  </a:lnTo>
                  <a:lnTo>
                    <a:pt x="87" y="358"/>
                  </a:lnTo>
                  <a:lnTo>
                    <a:pt x="85" y="360"/>
                  </a:lnTo>
                  <a:lnTo>
                    <a:pt x="87" y="364"/>
                  </a:lnTo>
                  <a:lnTo>
                    <a:pt x="85" y="369"/>
                  </a:lnTo>
                  <a:lnTo>
                    <a:pt x="85" y="373"/>
                  </a:lnTo>
                  <a:lnTo>
                    <a:pt x="87" y="375"/>
                  </a:lnTo>
                  <a:lnTo>
                    <a:pt x="87" y="377"/>
                  </a:lnTo>
                  <a:lnTo>
                    <a:pt x="85" y="386"/>
                  </a:lnTo>
                  <a:lnTo>
                    <a:pt x="83" y="390"/>
                  </a:lnTo>
                  <a:lnTo>
                    <a:pt x="81" y="398"/>
                  </a:lnTo>
                  <a:lnTo>
                    <a:pt x="77" y="403"/>
                  </a:lnTo>
                  <a:lnTo>
                    <a:pt x="73" y="399"/>
                  </a:lnTo>
                  <a:lnTo>
                    <a:pt x="72" y="398"/>
                  </a:lnTo>
                  <a:lnTo>
                    <a:pt x="68" y="399"/>
                  </a:lnTo>
                  <a:lnTo>
                    <a:pt x="60" y="398"/>
                  </a:lnTo>
                  <a:lnTo>
                    <a:pt x="60" y="398"/>
                  </a:lnTo>
                  <a:lnTo>
                    <a:pt x="58" y="403"/>
                  </a:lnTo>
                  <a:lnTo>
                    <a:pt x="53" y="403"/>
                  </a:lnTo>
                  <a:lnTo>
                    <a:pt x="49" y="409"/>
                  </a:lnTo>
                  <a:lnTo>
                    <a:pt x="53" y="411"/>
                  </a:lnTo>
                  <a:lnTo>
                    <a:pt x="53" y="415"/>
                  </a:lnTo>
                  <a:lnTo>
                    <a:pt x="49" y="418"/>
                  </a:lnTo>
                  <a:lnTo>
                    <a:pt x="43" y="415"/>
                  </a:lnTo>
                  <a:lnTo>
                    <a:pt x="36" y="418"/>
                  </a:lnTo>
                  <a:lnTo>
                    <a:pt x="32" y="418"/>
                  </a:lnTo>
                  <a:lnTo>
                    <a:pt x="30" y="415"/>
                  </a:lnTo>
                  <a:lnTo>
                    <a:pt x="32" y="413"/>
                  </a:lnTo>
                  <a:lnTo>
                    <a:pt x="30" y="403"/>
                  </a:lnTo>
                  <a:lnTo>
                    <a:pt x="28" y="403"/>
                  </a:lnTo>
                  <a:lnTo>
                    <a:pt x="25" y="399"/>
                  </a:lnTo>
                  <a:lnTo>
                    <a:pt x="25" y="398"/>
                  </a:lnTo>
                  <a:lnTo>
                    <a:pt x="25" y="398"/>
                  </a:lnTo>
                  <a:lnTo>
                    <a:pt x="28" y="394"/>
                  </a:lnTo>
                  <a:lnTo>
                    <a:pt x="32" y="390"/>
                  </a:lnTo>
                  <a:lnTo>
                    <a:pt x="30" y="386"/>
                  </a:lnTo>
                  <a:lnTo>
                    <a:pt x="28" y="388"/>
                  </a:lnTo>
                  <a:lnTo>
                    <a:pt x="25" y="384"/>
                  </a:lnTo>
                  <a:lnTo>
                    <a:pt x="23" y="381"/>
                  </a:lnTo>
                  <a:lnTo>
                    <a:pt x="19" y="379"/>
                  </a:lnTo>
                  <a:lnTo>
                    <a:pt x="19" y="375"/>
                  </a:lnTo>
                  <a:lnTo>
                    <a:pt x="15" y="369"/>
                  </a:lnTo>
                  <a:lnTo>
                    <a:pt x="13" y="366"/>
                  </a:lnTo>
                  <a:lnTo>
                    <a:pt x="13" y="360"/>
                  </a:lnTo>
                  <a:lnTo>
                    <a:pt x="9" y="360"/>
                  </a:lnTo>
                  <a:lnTo>
                    <a:pt x="6" y="358"/>
                  </a:lnTo>
                  <a:lnTo>
                    <a:pt x="9" y="356"/>
                  </a:lnTo>
                  <a:lnTo>
                    <a:pt x="9" y="352"/>
                  </a:lnTo>
                  <a:lnTo>
                    <a:pt x="9" y="349"/>
                  </a:lnTo>
                  <a:lnTo>
                    <a:pt x="9" y="345"/>
                  </a:lnTo>
                  <a:lnTo>
                    <a:pt x="13" y="343"/>
                  </a:lnTo>
                  <a:lnTo>
                    <a:pt x="9" y="341"/>
                  </a:lnTo>
                  <a:lnTo>
                    <a:pt x="9" y="339"/>
                  </a:lnTo>
                  <a:lnTo>
                    <a:pt x="9" y="339"/>
                  </a:lnTo>
                  <a:lnTo>
                    <a:pt x="6" y="339"/>
                  </a:lnTo>
                  <a:lnTo>
                    <a:pt x="6" y="339"/>
                  </a:lnTo>
                  <a:lnTo>
                    <a:pt x="9" y="343"/>
                  </a:lnTo>
                  <a:lnTo>
                    <a:pt x="6" y="345"/>
                  </a:lnTo>
                  <a:lnTo>
                    <a:pt x="6" y="339"/>
                  </a:lnTo>
                  <a:lnTo>
                    <a:pt x="6" y="339"/>
                  </a:lnTo>
                  <a:lnTo>
                    <a:pt x="0" y="339"/>
                  </a:lnTo>
                  <a:lnTo>
                    <a:pt x="0" y="332"/>
                  </a:lnTo>
                  <a:lnTo>
                    <a:pt x="0" y="330"/>
                  </a:lnTo>
                  <a:lnTo>
                    <a:pt x="0" y="322"/>
                  </a:lnTo>
                  <a:lnTo>
                    <a:pt x="4" y="320"/>
                  </a:lnTo>
                  <a:lnTo>
                    <a:pt x="4" y="320"/>
                  </a:lnTo>
                  <a:lnTo>
                    <a:pt x="4" y="320"/>
                  </a:lnTo>
                  <a:lnTo>
                    <a:pt x="4" y="320"/>
                  </a:lnTo>
                  <a:lnTo>
                    <a:pt x="4" y="320"/>
                  </a:lnTo>
                  <a:close/>
                  <a:moveTo>
                    <a:pt x="109" y="309"/>
                  </a:moveTo>
                  <a:lnTo>
                    <a:pt x="111" y="315"/>
                  </a:lnTo>
                  <a:lnTo>
                    <a:pt x="111" y="315"/>
                  </a:lnTo>
                  <a:lnTo>
                    <a:pt x="115" y="309"/>
                  </a:lnTo>
                  <a:lnTo>
                    <a:pt x="117" y="305"/>
                  </a:lnTo>
                  <a:lnTo>
                    <a:pt x="117" y="303"/>
                  </a:lnTo>
                  <a:lnTo>
                    <a:pt x="111" y="303"/>
                  </a:lnTo>
                  <a:lnTo>
                    <a:pt x="109" y="309"/>
                  </a:lnTo>
                  <a:lnTo>
                    <a:pt x="109" y="309"/>
                  </a:lnTo>
                  <a:lnTo>
                    <a:pt x="109" y="309"/>
                  </a:lnTo>
                  <a:lnTo>
                    <a:pt x="109" y="309"/>
                  </a:lnTo>
                  <a:close/>
                  <a:moveTo>
                    <a:pt x="6" y="345"/>
                  </a:moveTo>
                  <a:lnTo>
                    <a:pt x="6" y="349"/>
                  </a:lnTo>
                  <a:lnTo>
                    <a:pt x="6" y="349"/>
                  </a:lnTo>
                  <a:lnTo>
                    <a:pt x="6" y="345"/>
                  </a:lnTo>
                  <a:lnTo>
                    <a:pt x="6" y="345"/>
                  </a:lnTo>
                  <a:lnTo>
                    <a:pt x="6" y="345"/>
                  </a:lnTo>
                  <a:lnTo>
                    <a:pt x="6" y="345"/>
                  </a:lnTo>
                  <a:lnTo>
                    <a:pt x="6" y="345"/>
                  </a:lnTo>
                  <a:close/>
                  <a:moveTo>
                    <a:pt x="124" y="335"/>
                  </a:moveTo>
                  <a:lnTo>
                    <a:pt x="126" y="339"/>
                  </a:lnTo>
                  <a:lnTo>
                    <a:pt x="128" y="335"/>
                  </a:lnTo>
                  <a:lnTo>
                    <a:pt x="126" y="334"/>
                  </a:lnTo>
                  <a:lnTo>
                    <a:pt x="124" y="335"/>
                  </a:lnTo>
                  <a:lnTo>
                    <a:pt x="124" y="335"/>
                  </a:lnTo>
                  <a:lnTo>
                    <a:pt x="124" y="335"/>
                  </a:lnTo>
                  <a:lnTo>
                    <a:pt x="124" y="335"/>
                  </a:lnTo>
                  <a:close/>
                  <a:moveTo>
                    <a:pt x="126" y="352"/>
                  </a:moveTo>
                  <a:lnTo>
                    <a:pt x="128" y="354"/>
                  </a:lnTo>
                  <a:lnTo>
                    <a:pt x="130" y="351"/>
                  </a:lnTo>
                  <a:lnTo>
                    <a:pt x="134" y="351"/>
                  </a:lnTo>
                  <a:lnTo>
                    <a:pt x="130" y="349"/>
                  </a:lnTo>
                  <a:lnTo>
                    <a:pt x="128" y="349"/>
                  </a:lnTo>
                  <a:lnTo>
                    <a:pt x="126" y="352"/>
                  </a:lnTo>
                  <a:lnTo>
                    <a:pt x="126" y="352"/>
                  </a:lnTo>
                  <a:lnTo>
                    <a:pt x="126" y="352"/>
                  </a:lnTo>
                  <a:lnTo>
                    <a:pt x="126" y="352"/>
                  </a:lnTo>
                  <a:close/>
                  <a:moveTo>
                    <a:pt x="115" y="381"/>
                  </a:moveTo>
                  <a:lnTo>
                    <a:pt x="117" y="379"/>
                  </a:lnTo>
                  <a:lnTo>
                    <a:pt x="119" y="377"/>
                  </a:lnTo>
                  <a:lnTo>
                    <a:pt x="117" y="375"/>
                  </a:lnTo>
                  <a:lnTo>
                    <a:pt x="117" y="373"/>
                  </a:lnTo>
                  <a:lnTo>
                    <a:pt x="122" y="369"/>
                  </a:lnTo>
                  <a:lnTo>
                    <a:pt x="122" y="369"/>
                  </a:lnTo>
                  <a:lnTo>
                    <a:pt x="126" y="364"/>
                  </a:lnTo>
                  <a:lnTo>
                    <a:pt x="124" y="364"/>
                  </a:lnTo>
                  <a:lnTo>
                    <a:pt x="122" y="360"/>
                  </a:lnTo>
                  <a:lnTo>
                    <a:pt x="124" y="358"/>
                  </a:lnTo>
                  <a:lnTo>
                    <a:pt x="124" y="356"/>
                  </a:lnTo>
                  <a:lnTo>
                    <a:pt x="126" y="354"/>
                  </a:lnTo>
                  <a:lnTo>
                    <a:pt x="124" y="352"/>
                  </a:lnTo>
                  <a:lnTo>
                    <a:pt x="122" y="354"/>
                  </a:lnTo>
                  <a:lnTo>
                    <a:pt x="117" y="354"/>
                  </a:lnTo>
                  <a:lnTo>
                    <a:pt x="115" y="358"/>
                  </a:lnTo>
                  <a:lnTo>
                    <a:pt x="115" y="360"/>
                  </a:lnTo>
                  <a:lnTo>
                    <a:pt x="111" y="364"/>
                  </a:lnTo>
                  <a:lnTo>
                    <a:pt x="111" y="366"/>
                  </a:lnTo>
                  <a:lnTo>
                    <a:pt x="111" y="369"/>
                  </a:lnTo>
                  <a:lnTo>
                    <a:pt x="115" y="373"/>
                  </a:lnTo>
                  <a:lnTo>
                    <a:pt x="115" y="373"/>
                  </a:lnTo>
                  <a:lnTo>
                    <a:pt x="115" y="375"/>
                  </a:lnTo>
                  <a:lnTo>
                    <a:pt x="115" y="379"/>
                  </a:lnTo>
                  <a:lnTo>
                    <a:pt x="115" y="381"/>
                  </a:lnTo>
                  <a:lnTo>
                    <a:pt x="115" y="381"/>
                  </a:lnTo>
                  <a:lnTo>
                    <a:pt x="115" y="381"/>
                  </a:lnTo>
                  <a:lnTo>
                    <a:pt x="115" y="381"/>
                  </a:lnTo>
                  <a:close/>
                  <a:moveTo>
                    <a:pt x="87" y="390"/>
                  </a:moveTo>
                  <a:lnTo>
                    <a:pt x="87" y="394"/>
                  </a:lnTo>
                  <a:lnTo>
                    <a:pt x="87" y="398"/>
                  </a:lnTo>
                  <a:lnTo>
                    <a:pt x="87" y="398"/>
                  </a:lnTo>
                  <a:lnTo>
                    <a:pt x="90" y="394"/>
                  </a:lnTo>
                  <a:lnTo>
                    <a:pt x="90" y="390"/>
                  </a:lnTo>
                  <a:lnTo>
                    <a:pt x="92" y="383"/>
                  </a:lnTo>
                  <a:lnTo>
                    <a:pt x="94" y="377"/>
                  </a:lnTo>
                  <a:lnTo>
                    <a:pt x="94" y="373"/>
                  </a:lnTo>
                  <a:lnTo>
                    <a:pt x="92" y="369"/>
                  </a:lnTo>
                  <a:lnTo>
                    <a:pt x="90" y="373"/>
                  </a:lnTo>
                  <a:lnTo>
                    <a:pt x="90" y="373"/>
                  </a:lnTo>
                  <a:lnTo>
                    <a:pt x="90" y="381"/>
                  </a:lnTo>
                  <a:lnTo>
                    <a:pt x="87" y="381"/>
                  </a:lnTo>
                  <a:lnTo>
                    <a:pt x="87" y="390"/>
                  </a:lnTo>
                  <a:lnTo>
                    <a:pt x="87" y="390"/>
                  </a:lnTo>
                  <a:lnTo>
                    <a:pt x="87" y="39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7" name="Freeform 9">
              <a:extLst>
                <a:ext uri="{FF2B5EF4-FFF2-40B4-BE49-F238E27FC236}">
                  <a16:creationId xmlns:a16="http://schemas.microsoft.com/office/drawing/2014/main" id="{741884E3-7930-4DE2-AF1A-DCE7A31E6851}"/>
                </a:ext>
              </a:extLst>
            </p:cNvPr>
            <p:cNvSpPr>
              <a:spLocks noEditPoints="1"/>
            </p:cNvSpPr>
            <p:nvPr/>
          </p:nvSpPr>
          <p:spPr bwMode="auto">
            <a:xfrm>
              <a:off x="3075" y="1491"/>
              <a:ext cx="184" cy="331"/>
            </a:xfrm>
            <a:custGeom>
              <a:avLst/>
              <a:gdLst/>
              <a:ahLst/>
              <a:cxnLst>
                <a:cxn ang="0">
                  <a:pos x="167" y="277"/>
                </a:cxn>
                <a:cxn ang="0">
                  <a:pos x="171" y="226"/>
                </a:cxn>
                <a:cxn ang="0">
                  <a:pos x="158" y="188"/>
                </a:cxn>
                <a:cxn ang="0">
                  <a:pos x="152" y="165"/>
                </a:cxn>
                <a:cxn ang="0">
                  <a:pos x="146" y="128"/>
                </a:cxn>
                <a:cxn ang="0">
                  <a:pos x="141" y="83"/>
                </a:cxn>
                <a:cxn ang="0">
                  <a:pos x="120" y="64"/>
                </a:cxn>
                <a:cxn ang="0">
                  <a:pos x="116" y="37"/>
                </a:cxn>
                <a:cxn ang="0">
                  <a:pos x="120" y="11"/>
                </a:cxn>
                <a:cxn ang="0">
                  <a:pos x="90" y="0"/>
                </a:cxn>
                <a:cxn ang="0">
                  <a:pos x="75" y="7"/>
                </a:cxn>
                <a:cxn ang="0">
                  <a:pos x="71" y="34"/>
                </a:cxn>
                <a:cxn ang="0">
                  <a:pos x="62" y="45"/>
                </a:cxn>
                <a:cxn ang="0">
                  <a:pos x="37" y="52"/>
                </a:cxn>
                <a:cxn ang="0">
                  <a:pos x="9" y="30"/>
                </a:cxn>
                <a:cxn ang="0">
                  <a:pos x="0" y="37"/>
                </a:cxn>
                <a:cxn ang="0">
                  <a:pos x="26" y="58"/>
                </a:cxn>
                <a:cxn ang="0">
                  <a:pos x="39" y="68"/>
                </a:cxn>
                <a:cxn ang="0">
                  <a:pos x="45" y="88"/>
                </a:cxn>
                <a:cxn ang="0">
                  <a:pos x="54" y="107"/>
                </a:cxn>
                <a:cxn ang="0">
                  <a:pos x="54" y="135"/>
                </a:cxn>
                <a:cxn ang="0">
                  <a:pos x="65" y="149"/>
                </a:cxn>
                <a:cxn ang="0">
                  <a:pos x="80" y="167"/>
                </a:cxn>
                <a:cxn ang="0">
                  <a:pos x="84" y="181"/>
                </a:cxn>
                <a:cxn ang="0">
                  <a:pos x="65" y="192"/>
                </a:cxn>
                <a:cxn ang="0">
                  <a:pos x="54" y="201"/>
                </a:cxn>
                <a:cxn ang="0">
                  <a:pos x="54" y="218"/>
                </a:cxn>
                <a:cxn ang="0">
                  <a:pos x="41" y="220"/>
                </a:cxn>
                <a:cxn ang="0">
                  <a:pos x="37" y="233"/>
                </a:cxn>
                <a:cxn ang="0">
                  <a:pos x="28" y="235"/>
                </a:cxn>
                <a:cxn ang="0">
                  <a:pos x="26" y="250"/>
                </a:cxn>
                <a:cxn ang="0">
                  <a:pos x="30" y="263"/>
                </a:cxn>
                <a:cxn ang="0">
                  <a:pos x="37" y="282"/>
                </a:cxn>
                <a:cxn ang="0">
                  <a:pos x="33" y="307"/>
                </a:cxn>
                <a:cxn ang="0">
                  <a:pos x="45" y="312"/>
                </a:cxn>
                <a:cxn ang="0">
                  <a:pos x="58" y="316"/>
                </a:cxn>
                <a:cxn ang="0">
                  <a:pos x="65" y="331"/>
                </a:cxn>
                <a:cxn ang="0">
                  <a:pos x="79" y="327"/>
                </a:cxn>
                <a:cxn ang="0">
                  <a:pos x="103" y="316"/>
                </a:cxn>
                <a:cxn ang="0">
                  <a:pos x="109" y="314"/>
                </a:cxn>
                <a:cxn ang="0">
                  <a:pos x="116" y="314"/>
                </a:cxn>
                <a:cxn ang="0">
                  <a:pos x="129" y="311"/>
                </a:cxn>
                <a:cxn ang="0">
                  <a:pos x="141" y="307"/>
                </a:cxn>
                <a:cxn ang="0">
                  <a:pos x="146" y="307"/>
                </a:cxn>
                <a:cxn ang="0">
                  <a:pos x="75" y="167"/>
                </a:cxn>
                <a:cxn ang="0">
                  <a:pos x="79" y="173"/>
                </a:cxn>
                <a:cxn ang="0">
                  <a:pos x="24" y="226"/>
                </a:cxn>
                <a:cxn ang="0">
                  <a:pos x="28" y="228"/>
                </a:cxn>
                <a:cxn ang="0">
                  <a:pos x="22" y="228"/>
                </a:cxn>
                <a:cxn ang="0">
                  <a:pos x="60" y="327"/>
                </a:cxn>
                <a:cxn ang="0">
                  <a:pos x="56" y="322"/>
                </a:cxn>
                <a:cxn ang="0">
                  <a:pos x="56" y="322"/>
                </a:cxn>
                <a:cxn ang="0">
                  <a:pos x="48" y="320"/>
                </a:cxn>
                <a:cxn ang="0">
                  <a:pos x="45" y="316"/>
                </a:cxn>
                <a:cxn ang="0">
                  <a:pos x="33" y="312"/>
                </a:cxn>
                <a:cxn ang="0">
                  <a:pos x="33" y="312"/>
                </a:cxn>
                <a:cxn ang="0">
                  <a:pos x="11" y="312"/>
                </a:cxn>
                <a:cxn ang="0">
                  <a:pos x="16" y="324"/>
                </a:cxn>
                <a:cxn ang="0">
                  <a:pos x="11" y="322"/>
                </a:cxn>
              </a:cxnLst>
              <a:rect l="0" t="0" r="r" b="b"/>
              <a:pathLst>
                <a:path w="184" h="331">
                  <a:moveTo>
                    <a:pt x="146" y="307"/>
                  </a:moveTo>
                  <a:lnTo>
                    <a:pt x="144" y="301"/>
                  </a:lnTo>
                  <a:lnTo>
                    <a:pt x="154" y="295"/>
                  </a:lnTo>
                  <a:lnTo>
                    <a:pt x="158" y="292"/>
                  </a:lnTo>
                  <a:lnTo>
                    <a:pt x="163" y="282"/>
                  </a:lnTo>
                  <a:lnTo>
                    <a:pt x="167" y="277"/>
                  </a:lnTo>
                  <a:lnTo>
                    <a:pt x="173" y="267"/>
                  </a:lnTo>
                  <a:lnTo>
                    <a:pt x="180" y="256"/>
                  </a:lnTo>
                  <a:lnTo>
                    <a:pt x="184" y="241"/>
                  </a:lnTo>
                  <a:lnTo>
                    <a:pt x="184" y="235"/>
                  </a:lnTo>
                  <a:lnTo>
                    <a:pt x="176" y="226"/>
                  </a:lnTo>
                  <a:lnTo>
                    <a:pt x="171" y="226"/>
                  </a:lnTo>
                  <a:lnTo>
                    <a:pt x="163" y="213"/>
                  </a:lnTo>
                  <a:lnTo>
                    <a:pt x="163" y="207"/>
                  </a:lnTo>
                  <a:lnTo>
                    <a:pt x="167" y="201"/>
                  </a:lnTo>
                  <a:lnTo>
                    <a:pt x="167" y="196"/>
                  </a:lnTo>
                  <a:lnTo>
                    <a:pt x="163" y="192"/>
                  </a:lnTo>
                  <a:lnTo>
                    <a:pt x="158" y="188"/>
                  </a:lnTo>
                  <a:lnTo>
                    <a:pt x="158" y="182"/>
                  </a:lnTo>
                  <a:lnTo>
                    <a:pt x="160" y="181"/>
                  </a:lnTo>
                  <a:lnTo>
                    <a:pt x="158" y="177"/>
                  </a:lnTo>
                  <a:lnTo>
                    <a:pt x="154" y="175"/>
                  </a:lnTo>
                  <a:lnTo>
                    <a:pt x="152" y="173"/>
                  </a:lnTo>
                  <a:lnTo>
                    <a:pt x="152" y="165"/>
                  </a:lnTo>
                  <a:lnTo>
                    <a:pt x="154" y="162"/>
                  </a:lnTo>
                  <a:lnTo>
                    <a:pt x="152" y="162"/>
                  </a:lnTo>
                  <a:lnTo>
                    <a:pt x="152" y="158"/>
                  </a:lnTo>
                  <a:lnTo>
                    <a:pt x="152" y="147"/>
                  </a:lnTo>
                  <a:lnTo>
                    <a:pt x="154" y="147"/>
                  </a:lnTo>
                  <a:lnTo>
                    <a:pt x="146" y="128"/>
                  </a:lnTo>
                  <a:lnTo>
                    <a:pt x="139" y="113"/>
                  </a:lnTo>
                  <a:lnTo>
                    <a:pt x="137" y="107"/>
                  </a:lnTo>
                  <a:lnTo>
                    <a:pt x="133" y="101"/>
                  </a:lnTo>
                  <a:lnTo>
                    <a:pt x="135" y="92"/>
                  </a:lnTo>
                  <a:lnTo>
                    <a:pt x="139" y="88"/>
                  </a:lnTo>
                  <a:lnTo>
                    <a:pt x="141" y="83"/>
                  </a:lnTo>
                  <a:lnTo>
                    <a:pt x="139" y="81"/>
                  </a:lnTo>
                  <a:lnTo>
                    <a:pt x="129" y="75"/>
                  </a:lnTo>
                  <a:lnTo>
                    <a:pt x="129" y="71"/>
                  </a:lnTo>
                  <a:lnTo>
                    <a:pt x="128" y="68"/>
                  </a:lnTo>
                  <a:lnTo>
                    <a:pt x="122" y="64"/>
                  </a:lnTo>
                  <a:lnTo>
                    <a:pt x="120" y="64"/>
                  </a:lnTo>
                  <a:lnTo>
                    <a:pt x="116" y="54"/>
                  </a:lnTo>
                  <a:lnTo>
                    <a:pt x="112" y="52"/>
                  </a:lnTo>
                  <a:lnTo>
                    <a:pt x="114" y="45"/>
                  </a:lnTo>
                  <a:lnTo>
                    <a:pt x="116" y="41"/>
                  </a:lnTo>
                  <a:lnTo>
                    <a:pt x="112" y="39"/>
                  </a:lnTo>
                  <a:lnTo>
                    <a:pt x="116" y="37"/>
                  </a:lnTo>
                  <a:lnTo>
                    <a:pt x="120" y="35"/>
                  </a:lnTo>
                  <a:lnTo>
                    <a:pt x="120" y="28"/>
                  </a:lnTo>
                  <a:lnTo>
                    <a:pt x="124" y="24"/>
                  </a:lnTo>
                  <a:lnTo>
                    <a:pt x="124" y="19"/>
                  </a:lnTo>
                  <a:lnTo>
                    <a:pt x="120" y="15"/>
                  </a:lnTo>
                  <a:lnTo>
                    <a:pt x="120" y="11"/>
                  </a:lnTo>
                  <a:lnTo>
                    <a:pt x="112" y="11"/>
                  </a:lnTo>
                  <a:lnTo>
                    <a:pt x="109" y="9"/>
                  </a:lnTo>
                  <a:lnTo>
                    <a:pt x="105" y="7"/>
                  </a:lnTo>
                  <a:lnTo>
                    <a:pt x="103" y="3"/>
                  </a:lnTo>
                  <a:lnTo>
                    <a:pt x="99" y="0"/>
                  </a:lnTo>
                  <a:lnTo>
                    <a:pt x="90" y="0"/>
                  </a:lnTo>
                  <a:lnTo>
                    <a:pt x="88" y="3"/>
                  </a:lnTo>
                  <a:lnTo>
                    <a:pt x="88" y="3"/>
                  </a:lnTo>
                  <a:lnTo>
                    <a:pt x="84" y="3"/>
                  </a:lnTo>
                  <a:lnTo>
                    <a:pt x="79" y="3"/>
                  </a:lnTo>
                  <a:lnTo>
                    <a:pt x="75" y="5"/>
                  </a:lnTo>
                  <a:lnTo>
                    <a:pt x="75" y="7"/>
                  </a:lnTo>
                  <a:lnTo>
                    <a:pt x="75" y="11"/>
                  </a:lnTo>
                  <a:lnTo>
                    <a:pt x="71" y="13"/>
                  </a:lnTo>
                  <a:lnTo>
                    <a:pt x="75" y="17"/>
                  </a:lnTo>
                  <a:lnTo>
                    <a:pt x="71" y="19"/>
                  </a:lnTo>
                  <a:lnTo>
                    <a:pt x="71" y="30"/>
                  </a:lnTo>
                  <a:lnTo>
                    <a:pt x="71" y="34"/>
                  </a:lnTo>
                  <a:lnTo>
                    <a:pt x="75" y="37"/>
                  </a:lnTo>
                  <a:lnTo>
                    <a:pt x="71" y="39"/>
                  </a:lnTo>
                  <a:lnTo>
                    <a:pt x="71" y="41"/>
                  </a:lnTo>
                  <a:lnTo>
                    <a:pt x="65" y="41"/>
                  </a:lnTo>
                  <a:lnTo>
                    <a:pt x="64" y="45"/>
                  </a:lnTo>
                  <a:lnTo>
                    <a:pt x="62" y="45"/>
                  </a:lnTo>
                  <a:lnTo>
                    <a:pt x="58" y="51"/>
                  </a:lnTo>
                  <a:lnTo>
                    <a:pt x="54" y="49"/>
                  </a:lnTo>
                  <a:lnTo>
                    <a:pt x="48" y="45"/>
                  </a:lnTo>
                  <a:lnTo>
                    <a:pt x="45" y="45"/>
                  </a:lnTo>
                  <a:lnTo>
                    <a:pt x="41" y="47"/>
                  </a:lnTo>
                  <a:lnTo>
                    <a:pt x="37" y="52"/>
                  </a:lnTo>
                  <a:lnTo>
                    <a:pt x="30" y="52"/>
                  </a:lnTo>
                  <a:lnTo>
                    <a:pt x="24" y="49"/>
                  </a:lnTo>
                  <a:lnTo>
                    <a:pt x="20" y="45"/>
                  </a:lnTo>
                  <a:lnTo>
                    <a:pt x="20" y="41"/>
                  </a:lnTo>
                  <a:lnTo>
                    <a:pt x="11" y="34"/>
                  </a:lnTo>
                  <a:lnTo>
                    <a:pt x="9" y="30"/>
                  </a:lnTo>
                  <a:lnTo>
                    <a:pt x="5" y="30"/>
                  </a:lnTo>
                  <a:lnTo>
                    <a:pt x="3" y="34"/>
                  </a:lnTo>
                  <a:lnTo>
                    <a:pt x="1" y="35"/>
                  </a:lnTo>
                  <a:lnTo>
                    <a:pt x="3" y="37"/>
                  </a:lnTo>
                  <a:lnTo>
                    <a:pt x="1" y="39"/>
                  </a:lnTo>
                  <a:lnTo>
                    <a:pt x="0" y="37"/>
                  </a:lnTo>
                  <a:lnTo>
                    <a:pt x="0" y="39"/>
                  </a:lnTo>
                  <a:lnTo>
                    <a:pt x="3" y="43"/>
                  </a:lnTo>
                  <a:lnTo>
                    <a:pt x="7" y="45"/>
                  </a:lnTo>
                  <a:lnTo>
                    <a:pt x="15" y="54"/>
                  </a:lnTo>
                  <a:lnTo>
                    <a:pt x="20" y="58"/>
                  </a:lnTo>
                  <a:lnTo>
                    <a:pt x="26" y="58"/>
                  </a:lnTo>
                  <a:lnTo>
                    <a:pt x="28" y="58"/>
                  </a:lnTo>
                  <a:lnTo>
                    <a:pt x="32" y="58"/>
                  </a:lnTo>
                  <a:lnTo>
                    <a:pt x="35" y="64"/>
                  </a:lnTo>
                  <a:lnTo>
                    <a:pt x="37" y="68"/>
                  </a:lnTo>
                  <a:lnTo>
                    <a:pt x="39" y="68"/>
                  </a:lnTo>
                  <a:lnTo>
                    <a:pt x="39" y="68"/>
                  </a:lnTo>
                  <a:lnTo>
                    <a:pt x="41" y="71"/>
                  </a:lnTo>
                  <a:lnTo>
                    <a:pt x="45" y="71"/>
                  </a:lnTo>
                  <a:lnTo>
                    <a:pt x="47" y="75"/>
                  </a:lnTo>
                  <a:lnTo>
                    <a:pt x="45" y="79"/>
                  </a:lnTo>
                  <a:lnTo>
                    <a:pt x="45" y="84"/>
                  </a:lnTo>
                  <a:lnTo>
                    <a:pt x="45" y="88"/>
                  </a:lnTo>
                  <a:lnTo>
                    <a:pt x="45" y="92"/>
                  </a:lnTo>
                  <a:lnTo>
                    <a:pt x="48" y="92"/>
                  </a:lnTo>
                  <a:lnTo>
                    <a:pt x="50" y="98"/>
                  </a:lnTo>
                  <a:lnTo>
                    <a:pt x="48" y="98"/>
                  </a:lnTo>
                  <a:lnTo>
                    <a:pt x="48" y="103"/>
                  </a:lnTo>
                  <a:lnTo>
                    <a:pt x="54" y="107"/>
                  </a:lnTo>
                  <a:lnTo>
                    <a:pt x="54" y="115"/>
                  </a:lnTo>
                  <a:lnTo>
                    <a:pt x="54" y="116"/>
                  </a:lnTo>
                  <a:lnTo>
                    <a:pt x="54" y="118"/>
                  </a:lnTo>
                  <a:lnTo>
                    <a:pt x="54" y="128"/>
                  </a:lnTo>
                  <a:lnTo>
                    <a:pt x="50" y="130"/>
                  </a:lnTo>
                  <a:lnTo>
                    <a:pt x="54" y="135"/>
                  </a:lnTo>
                  <a:lnTo>
                    <a:pt x="58" y="135"/>
                  </a:lnTo>
                  <a:lnTo>
                    <a:pt x="60" y="143"/>
                  </a:lnTo>
                  <a:lnTo>
                    <a:pt x="62" y="145"/>
                  </a:lnTo>
                  <a:lnTo>
                    <a:pt x="62" y="149"/>
                  </a:lnTo>
                  <a:lnTo>
                    <a:pt x="64" y="149"/>
                  </a:lnTo>
                  <a:lnTo>
                    <a:pt x="65" y="149"/>
                  </a:lnTo>
                  <a:lnTo>
                    <a:pt x="71" y="152"/>
                  </a:lnTo>
                  <a:lnTo>
                    <a:pt x="79" y="152"/>
                  </a:lnTo>
                  <a:lnTo>
                    <a:pt x="82" y="158"/>
                  </a:lnTo>
                  <a:lnTo>
                    <a:pt x="79" y="162"/>
                  </a:lnTo>
                  <a:lnTo>
                    <a:pt x="80" y="162"/>
                  </a:lnTo>
                  <a:lnTo>
                    <a:pt x="80" y="167"/>
                  </a:lnTo>
                  <a:lnTo>
                    <a:pt x="80" y="169"/>
                  </a:lnTo>
                  <a:lnTo>
                    <a:pt x="86" y="175"/>
                  </a:lnTo>
                  <a:lnTo>
                    <a:pt x="80" y="173"/>
                  </a:lnTo>
                  <a:lnTo>
                    <a:pt x="80" y="175"/>
                  </a:lnTo>
                  <a:lnTo>
                    <a:pt x="84" y="179"/>
                  </a:lnTo>
                  <a:lnTo>
                    <a:pt x="84" y="181"/>
                  </a:lnTo>
                  <a:lnTo>
                    <a:pt x="79" y="179"/>
                  </a:lnTo>
                  <a:lnTo>
                    <a:pt x="75" y="179"/>
                  </a:lnTo>
                  <a:lnTo>
                    <a:pt x="71" y="181"/>
                  </a:lnTo>
                  <a:lnTo>
                    <a:pt x="71" y="182"/>
                  </a:lnTo>
                  <a:lnTo>
                    <a:pt x="65" y="186"/>
                  </a:lnTo>
                  <a:lnTo>
                    <a:pt x="65" y="192"/>
                  </a:lnTo>
                  <a:lnTo>
                    <a:pt x="65" y="192"/>
                  </a:lnTo>
                  <a:lnTo>
                    <a:pt x="60" y="197"/>
                  </a:lnTo>
                  <a:lnTo>
                    <a:pt x="58" y="203"/>
                  </a:lnTo>
                  <a:lnTo>
                    <a:pt x="58" y="203"/>
                  </a:lnTo>
                  <a:lnTo>
                    <a:pt x="56" y="201"/>
                  </a:lnTo>
                  <a:lnTo>
                    <a:pt x="54" y="201"/>
                  </a:lnTo>
                  <a:lnTo>
                    <a:pt x="56" y="205"/>
                  </a:lnTo>
                  <a:lnTo>
                    <a:pt x="54" y="209"/>
                  </a:lnTo>
                  <a:lnTo>
                    <a:pt x="50" y="209"/>
                  </a:lnTo>
                  <a:lnTo>
                    <a:pt x="48" y="213"/>
                  </a:lnTo>
                  <a:lnTo>
                    <a:pt x="48" y="216"/>
                  </a:lnTo>
                  <a:lnTo>
                    <a:pt x="54" y="218"/>
                  </a:lnTo>
                  <a:lnTo>
                    <a:pt x="47" y="216"/>
                  </a:lnTo>
                  <a:lnTo>
                    <a:pt x="47" y="216"/>
                  </a:lnTo>
                  <a:lnTo>
                    <a:pt x="45" y="216"/>
                  </a:lnTo>
                  <a:lnTo>
                    <a:pt x="41" y="220"/>
                  </a:lnTo>
                  <a:lnTo>
                    <a:pt x="45" y="222"/>
                  </a:lnTo>
                  <a:lnTo>
                    <a:pt x="41" y="220"/>
                  </a:lnTo>
                  <a:lnTo>
                    <a:pt x="41" y="222"/>
                  </a:lnTo>
                  <a:lnTo>
                    <a:pt x="41" y="226"/>
                  </a:lnTo>
                  <a:lnTo>
                    <a:pt x="41" y="226"/>
                  </a:lnTo>
                  <a:lnTo>
                    <a:pt x="41" y="230"/>
                  </a:lnTo>
                  <a:lnTo>
                    <a:pt x="39" y="231"/>
                  </a:lnTo>
                  <a:lnTo>
                    <a:pt x="37" y="233"/>
                  </a:lnTo>
                  <a:lnTo>
                    <a:pt x="35" y="231"/>
                  </a:lnTo>
                  <a:lnTo>
                    <a:pt x="33" y="231"/>
                  </a:lnTo>
                  <a:lnTo>
                    <a:pt x="32" y="230"/>
                  </a:lnTo>
                  <a:lnTo>
                    <a:pt x="30" y="231"/>
                  </a:lnTo>
                  <a:lnTo>
                    <a:pt x="30" y="233"/>
                  </a:lnTo>
                  <a:lnTo>
                    <a:pt x="28" y="235"/>
                  </a:lnTo>
                  <a:lnTo>
                    <a:pt x="30" y="237"/>
                  </a:lnTo>
                  <a:lnTo>
                    <a:pt x="28" y="243"/>
                  </a:lnTo>
                  <a:lnTo>
                    <a:pt x="26" y="243"/>
                  </a:lnTo>
                  <a:lnTo>
                    <a:pt x="24" y="246"/>
                  </a:lnTo>
                  <a:lnTo>
                    <a:pt x="26" y="250"/>
                  </a:lnTo>
                  <a:lnTo>
                    <a:pt x="26" y="250"/>
                  </a:lnTo>
                  <a:lnTo>
                    <a:pt x="26" y="256"/>
                  </a:lnTo>
                  <a:lnTo>
                    <a:pt x="26" y="256"/>
                  </a:lnTo>
                  <a:lnTo>
                    <a:pt x="28" y="256"/>
                  </a:lnTo>
                  <a:lnTo>
                    <a:pt x="30" y="258"/>
                  </a:lnTo>
                  <a:lnTo>
                    <a:pt x="30" y="262"/>
                  </a:lnTo>
                  <a:lnTo>
                    <a:pt x="30" y="263"/>
                  </a:lnTo>
                  <a:lnTo>
                    <a:pt x="30" y="267"/>
                  </a:lnTo>
                  <a:lnTo>
                    <a:pt x="30" y="267"/>
                  </a:lnTo>
                  <a:lnTo>
                    <a:pt x="33" y="275"/>
                  </a:lnTo>
                  <a:lnTo>
                    <a:pt x="35" y="277"/>
                  </a:lnTo>
                  <a:lnTo>
                    <a:pt x="33" y="280"/>
                  </a:lnTo>
                  <a:lnTo>
                    <a:pt x="37" y="282"/>
                  </a:lnTo>
                  <a:lnTo>
                    <a:pt x="33" y="284"/>
                  </a:lnTo>
                  <a:lnTo>
                    <a:pt x="35" y="290"/>
                  </a:lnTo>
                  <a:lnTo>
                    <a:pt x="33" y="292"/>
                  </a:lnTo>
                  <a:lnTo>
                    <a:pt x="33" y="299"/>
                  </a:lnTo>
                  <a:lnTo>
                    <a:pt x="35" y="301"/>
                  </a:lnTo>
                  <a:lnTo>
                    <a:pt x="33" y="307"/>
                  </a:lnTo>
                  <a:lnTo>
                    <a:pt x="33" y="311"/>
                  </a:lnTo>
                  <a:lnTo>
                    <a:pt x="35" y="311"/>
                  </a:lnTo>
                  <a:lnTo>
                    <a:pt x="39" y="311"/>
                  </a:lnTo>
                  <a:lnTo>
                    <a:pt x="41" y="311"/>
                  </a:lnTo>
                  <a:lnTo>
                    <a:pt x="41" y="307"/>
                  </a:lnTo>
                  <a:lnTo>
                    <a:pt x="45" y="312"/>
                  </a:lnTo>
                  <a:lnTo>
                    <a:pt x="48" y="312"/>
                  </a:lnTo>
                  <a:lnTo>
                    <a:pt x="50" y="314"/>
                  </a:lnTo>
                  <a:lnTo>
                    <a:pt x="56" y="312"/>
                  </a:lnTo>
                  <a:lnTo>
                    <a:pt x="58" y="314"/>
                  </a:lnTo>
                  <a:lnTo>
                    <a:pt x="56" y="316"/>
                  </a:lnTo>
                  <a:lnTo>
                    <a:pt x="58" y="316"/>
                  </a:lnTo>
                  <a:lnTo>
                    <a:pt x="64" y="314"/>
                  </a:lnTo>
                  <a:lnTo>
                    <a:pt x="64" y="316"/>
                  </a:lnTo>
                  <a:lnTo>
                    <a:pt x="62" y="320"/>
                  </a:lnTo>
                  <a:lnTo>
                    <a:pt x="65" y="327"/>
                  </a:lnTo>
                  <a:lnTo>
                    <a:pt x="65" y="329"/>
                  </a:lnTo>
                  <a:lnTo>
                    <a:pt x="65" y="331"/>
                  </a:lnTo>
                  <a:lnTo>
                    <a:pt x="65" y="331"/>
                  </a:lnTo>
                  <a:lnTo>
                    <a:pt x="69" y="327"/>
                  </a:lnTo>
                  <a:lnTo>
                    <a:pt x="71" y="327"/>
                  </a:lnTo>
                  <a:lnTo>
                    <a:pt x="71" y="329"/>
                  </a:lnTo>
                  <a:lnTo>
                    <a:pt x="75" y="327"/>
                  </a:lnTo>
                  <a:lnTo>
                    <a:pt x="79" y="327"/>
                  </a:lnTo>
                  <a:lnTo>
                    <a:pt x="82" y="324"/>
                  </a:lnTo>
                  <a:lnTo>
                    <a:pt x="86" y="324"/>
                  </a:lnTo>
                  <a:lnTo>
                    <a:pt x="94" y="320"/>
                  </a:lnTo>
                  <a:lnTo>
                    <a:pt x="94" y="316"/>
                  </a:lnTo>
                  <a:lnTo>
                    <a:pt x="99" y="320"/>
                  </a:lnTo>
                  <a:lnTo>
                    <a:pt x="103" y="316"/>
                  </a:lnTo>
                  <a:lnTo>
                    <a:pt x="105" y="312"/>
                  </a:lnTo>
                  <a:lnTo>
                    <a:pt x="105" y="314"/>
                  </a:lnTo>
                  <a:lnTo>
                    <a:pt x="103" y="316"/>
                  </a:lnTo>
                  <a:lnTo>
                    <a:pt x="105" y="320"/>
                  </a:lnTo>
                  <a:lnTo>
                    <a:pt x="109" y="312"/>
                  </a:lnTo>
                  <a:lnTo>
                    <a:pt x="109" y="314"/>
                  </a:lnTo>
                  <a:lnTo>
                    <a:pt x="109" y="311"/>
                  </a:lnTo>
                  <a:lnTo>
                    <a:pt x="109" y="311"/>
                  </a:lnTo>
                  <a:lnTo>
                    <a:pt x="111" y="312"/>
                  </a:lnTo>
                  <a:lnTo>
                    <a:pt x="112" y="312"/>
                  </a:lnTo>
                  <a:lnTo>
                    <a:pt x="114" y="311"/>
                  </a:lnTo>
                  <a:lnTo>
                    <a:pt x="116" y="314"/>
                  </a:lnTo>
                  <a:lnTo>
                    <a:pt x="118" y="312"/>
                  </a:lnTo>
                  <a:lnTo>
                    <a:pt x="118" y="311"/>
                  </a:lnTo>
                  <a:lnTo>
                    <a:pt x="122" y="311"/>
                  </a:lnTo>
                  <a:lnTo>
                    <a:pt x="122" y="312"/>
                  </a:lnTo>
                  <a:lnTo>
                    <a:pt x="124" y="311"/>
                  </a:lnTo>
                  <a:lnTo>
                    <a:pt x="129" y="311"/>
                  </a:lnTo>
                  <a:lnTo>
                    <a:pt x="133" y="312"/>
                  </a:lnTo>
                  <a:lnTo>
                    <a:pt x="137" y="311"/>
                  </a:lnTo>
                  <a:lnTo>
                    <a:pt x="137" y="311"/>
                  </a:lnTo>
                  <a:lnTo>
                    <a:pt x="135" y="307"/>
                  </a:lnTo>
                  <a:lnTo>
                    <a:pt x="137" y="307"/>
                  </a:lnTo>
                  <a:lnTo>
                    <a:pt x="141" y="307"/>
                  </a:lnTo>
                  <a:lnTo>
                    <a:pt x="141" y="311"/>
                  </a:lnTo>
                  <a:lnTo>
                    <a:pt x="144" y="311"/>
                  </a:lnTo>
                  <a:lnTo>
                    <a:pt x="144" y="311"/>
                  </a:lnTo>
                  <a:lnTo>
                    <a:pt x="146" y="307"/>
                  </a:lnTo>
                  <a:lnTo>
                    <a:pt x="146" y="307"/>
                  </a:lnTo>
                  <a:lnTo>
                    <a:pt x="146" y="307"/>
                  </a:lnTo>
                  <a:lnTo>
                    <a:pt x="146" y="307"/>
                  </a:lnTo>
                  <a:close/>
                  <a:moveTo>
                    <a:pt x="79" y="173"/>
                  </a:moveTo>
                  <a:lnTo>
                    <a:pt x="75" y="175"/>
                  </a:lnTo>
                  <a:lnTo>
                    <a:pt x="71" y="175"/>
                  </a:lnTo>
                  <a:lnTo>
                    <a:pt x="71" y="171"/>
                  </a:lnTo>
                  <a:lnTo>
                    <a:pt x="75" y="167"/>
                  </a:lnTo>
                  <a:lnTo>
                    <a:pt x="79" y="169"/>
                  </a:lnTo>
                  <a:lnTo>
                    <a:pt x="79" y="171"/>
                  </a:lnTo>
                  <a:lnTo>
                    <a:pt x="75" y="171"/>
                  </a:lnTo>
                  <a:lnTo>
                    <a:pt x="79" y="173"/>
                  </a:lnTo>
                  <a:lnTo>
                    <a:pt x="79" y="173"/>
                  </a:lnTo>
                  <a:lnTo>
                    <a:pt x="79" y="173"/>
                  </a:lnTo>
                  <a:lnTo>
                    <a:pt x="79" y="173"/>
                  </a:lnTo>
                  <a:close/>
                  <a:moveTo>
                    <a:pt x="24" y="226"/>
                  </a:moveTo>
                  <a:lnTo>
                    <a:pt x="26" y="222"/>
                  </a:lnTo>
                  <a:lnTo>
                    <a:pt x="28" y="226"/>
                  </a:lnTo>
                  <a:lnTo>
                    <a:pt x="26" y="226"/>
                  </a:lnTo>
                  <a:lnTo>
                    <a:pt x="24" y="226"/>
                  </a:lnTo>
                  <a:lnTo>
                    <a:pt x="24" y="226"/>
                  </a:lnTo>
                  <a:lnTo>
                    <a:pt x="24" y="226"/>
                  </a:lnTo>
                  <a:lnTo>
                    <a:pt x="24" y="226"/>
                  </a:lnTo>
                  <a:close/>
                  <a:moveTo>
                    <a:pt x="22" y="228"/>
                  </a:moveTo>
                  <a:lnTo>
                    <a:pt x="26" y="230"/>
                  </a:lnTo>
                  <a:lnTo>
                    <a:pt x="28" y="228"/>
                  </a:lnTo>
                  <a:lnTo>
                    <a:pt x="28" y="231"/>
                  </a:lnTo>
                  <a:lnTo>
                    <a:pt x="24" y="233"/>
                  </a:lnTo>
                  <a:lnTo>
                    <a:pt x="22" y="231"/>
                  </a:lnTo>
                  <a:lnTo>
                    <a:pt x="22" y="228"/>
                  </a:lnTo>
                  <a:lnTo>
                    <a:pt x="22" y="228"/>
                  </a:lnTo>
                  <a:lnTo>
                    <a:pt x="22" y="228"/>
                  </a:lnTo>
                  <a:lnTo>
                    <a:pt x="22" y="228"/>
                  </a:lnTo>
                  <a:close/>
                  <a:moveTo>
                    <a:pt x="62" y="326"/>
                  </a:moveTo>
                  <a:lnTo>
                    <a:pt x="62" y="329"/>
                  </a:lnTo>
                  <a:lnTo>
                    <a:pt x="60" y="331"/>
                  </a:lnTo>
                  <a:lnTo>
                    <a:pt x="58" y="329"/>
                  </a:lnTo>
                  <a:lnTo>
                    <a:pt x="60" y="327"/>
                  </a:lnTo>
                  <a:lnTo>
                    <a:pt x="62" y="326"/>
                  </a:lnTo>
                  <a:lnTo>
                    <a:pt x="62" y="326"/>
                  </a:lnTo>
                  <a:lnTo>
                    <a:pt x="62" y="326"/>
                  </a:lnTo>
                  <a:lnTo>
                    <a:pt x="62" y="326"/>
                  </a:lnTo>
                  <a:close/>
                  <a:moveTo>
                    <a:pt x="56" y="322"/>
                  </a:moveTo>
                  <a:lnTo>
                    <a:pt x="56" y="322"/>
                  </a:lnTo>
                  <a:lnTo>
                    <a:pt x="58" y="324"/>
                  </a:lnTo>
                  <a:lnTo>
                    <a:pt x="56" y="324"/>
                  </a:lnTo>
                  <a:lnTo>
                    <a:pt x="56" y="322"/>
                  </a:lnTo>
                  <a:lnTo>
                    <a:pt x="56" y="322"/>
                  </a:lnTo>
                  <a:lnTo>
                    <a:pt x="56" y="322"/>
                  </a:lnTo>
                  <a:lnTo>
                    <a:pt x="56" y="322"/>
                  </a:lnTo>
                  <a:close/>
                  <a:moveTo>
                    <a:pt x="48" y="320"/>
                  </a:moveTo>
                  <a:lnTo>
                    <a:pt x="54" y="316"/>
                  </a:lnTo>
                  <a:lnTo>
                    <a:pt x="54" y="320"/>
                  </a:lnTo>
                  <a:lnTo>
                    <a:pt x="50" y="322"/>
                  </a:lnTo>
                  <a:lnTo>
                    <a:pt x="48" y="320"/>
                  </a:lnTo>
                  <a:lnTo>
                    <a:pt x="48" y="320"/>
                  </a:lnTo>
                  <a:lnTo>
                    <a:pt x="48" y="320"/>
                  </a:lnTo>
                  <a:lnTo>
                    <a:pt x="48" y="320"/>
                  </a:lnTo>
                  <a:lnTo>
                    <a:pt x="48" y="320"/>
                  </a:lnTo>
                  <a:close/>
                  <a:moveTo>
                    <a:pt x="41" y="311"/>
                  </a:moveTo>
                  <a:lnTo>
                    <a:pt x="45" y="314"/>
                  </a:lnTo>
                  <a:lnTo>
                    <a:pt x="45" y="316"/>
                  </a:lnTo>
                  <a:lnTo>
                    <a:pt x="41" y="314"/>
                  </a:lnTo>
                  <a:lnTo>
                    <a:pt x="41" y="311"/>
                  </a:lnTo>
                  <a:lnTo>
                    <a:pt x="41" y="311"/>
                  </a:lnTo>
                  <a:lnTo>
                    <a:pt x="41" y="311"/>
                  </a:lnTo>
                  <a:lnTo>
                    <a:pt x="41" y="311"/>
                  </a:lnTo>
                  <a:close/>
                  <a:moveTo>
                    <a:pt x="33" y="312"/>
                  </a:moveTo>
                  <a:lnTo>
                    <a:pt x="37" y="312"/>
                  </a:lnTo>
                  <a:lnTo>
                    <a:pt x="35" y="314"/>
                  </a:lnTo>
                  <a:lnTo>
                    <a:pt x="35" y="314"/>
                  </a:lnTo>
                  <a:lnTo>
                    <a:pt x="33" y="312"/>
                  </a:lnTo>
                  <a:lnTo>
                    <a:pt x="33" y="312"/>
                  </a:lnTo>
                  <a:lnTo>
                    <a:pt x="33" y="312"/>
                  </a:lnTo>
                  <a:lnTo>
                    <a:pt x="33" y="312"/>
                  </a:lnTo>
                  <a:close/>
                  <a:moveTo>
                    <a:pt x="9" y="320"/>
                  </a:moveTo>
                  <a:lnTo>
                    <a:pt x="11" y="320"/>
                  </a:lnTo>
                  <a:lnTo>
                    <a:pt x="15" y="320"/>
                  </a:lnTo>
                  <a:lnTo>
                    <a:pt x="11" y="316"/>
                  </a:lnTo>
                  <a:lnTo>
                    <a:pt x="11" y="312"/>
                  </a:lnTo>
                  <a:lnTo>
                    <a:pt x="15" y="312"/>
                  </a:lnTo>
                  <a:lnTo>
                    <a:pt x="20" y="316"/>
                  </a:lnTo>
                  <a:lnTo>
                    <a:pt x="20" y="320"/>
                  </a:lnTo>
                  <a:lnTo>
                    <a:pt x="16" y="320"/>
                  </a:lnTo>
                  <a:lnTo>
                    <a:pt x="16" y="322"/>
                  </a:lnTo>
                  <a:lnTo>
                    <a:pt x="16" y="324"/>
                  </a:lnTo>
                  <a:lnTo>
                    <a:pt x="20" y="324"/>
                  </a:lnTo>
                  <a:lnTo>
                    <a:pt x="20" y="327"/>
                  </a:lnTo>
                  <a:lnTo>
                    <a:pt x="20" y="329"/>
                  </a:lnTo>
                  <a:lnTo>
                    <a:pt x="16" y="326"/>
                  </a:lnTo>
                  <a:lnTo>
                    <a:pt x="11" y="324"/>
                  </a:lnTo>
                  <a:lnTo>
                    <a:pt x="11" y="322"/>
                  </a:lnTo>
                  <a:lnTo>
                    <a:pt x="7" y="320"/>
                  </a:lnTo>
                  <a:lnTo>
                    <a:pt x="9" y="320"/>
                  </a:lnTo>
                  <a:lnTo>
                    <a:pt x="9" y="320"/>
                  </a:lnTo>
                  <a:lnTo>
                    <a:pt x="9" y="32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8" name="Freeform 10">
              <a:extLst>
                <a:ext uri="{FF2B5EF4-FFF2-40B4-BE49-F238E27FC236}">
                  <a16:creationId xmlns:a16="http://schemas.microsoft.com/office/drawing/2014/main" id="{F2FC21A0-9F62-4B74-A58B-39FF5A83D0E2}"/>
                </a:ext>
              </a:extLst>
            </p:cNvPr>
            <p:cNvSpPr>
              <a:spLocks/>
            </p:cNvSpPr>
            <p:nvPr/>
          </p:nvSpPr>
          <p:spPr bwMode="auto">
            <a:xfrm>
              <a:off x="2869" y="1960"/>
              <a:ext cx="158" cy="186"/>
            </a:xfrm>
            <a:custGeom>
              <a:avLst/>
              <a:gdLst/>
              <a:ahLst/>
              <a:cxnLst>
                <a:cxn ang="0">
                  <a:pos x="57" y="4"/>
                </a:cxn>
                <a:cxn ang="0">
                  <a:pos x="66" y="11"/>
                </a:cxn>
                <a:cxn ang="0">
                  <a:pos x="70" y="19"/>
                </a:cxn>
                <a:cxn ang="0">
                  <a:pos x="78" y="15"/>
                </a:cxn>
                <a:cxn ang="0">
                  <a:pos x="87" y="17"/>
                </a:cxn>
                <a:cxn ang="0">
                  <a:pos x="79" y="24"/>
                </a:cxn>
                <a:cxn ang="0">
                  <a:pos x="89" y="28"/>
                </a:cxn>
                <a:cxn ang="0">
                  <a:pos x="104" y="20"/>
                </a:cxn>
                <a:cxn ang="0">
                  <a:pos x="110" y="13"/>
                </a:cxn>
                <a:cxn ang="0">
                  <a:pos x="110" y="17"/>
                </a:cxn>
                <a:cxn ang="0">
                  <a:pos x="117" y="17"/>
                </a:cxn>
                <a:cxn ang="0">
                  <a:pos x="128" y="24"/>
                </a:cxn>
                <a:cxn ang="0">
                  <a:pos x="138" y="30"/>
                </a:cxn>
                <a:cxn ang="0">
                  <a:pos x="147" y="43"/>
                </a:cxn>
                <a:cxn ang="0">
                  <a:pos x="147" y="60"/>
                </a:cxn>
                <a:cxn ang="0">
                  <a:pos x="151" y="73"/>
                </a:cxn>
                <a:cxn ang="0">
                  <a:pos x="157" y="88"/>
                </a:cxn>
                <a:cxn ang="0">
                  <a:pos x="151" y="100"/>
                </a:cxn>
                <a:cxn ang="0">
                  <a:pos x="138" y="103"/>
                </a:cxn>
                <a:cxn ang="0">
                  <a:pos x="123" y="111"/>
                </a:cxn>
                <a:cxn ang="0">
                  <a:pos x="108" y="115"/>
                </a:cxn>
                <a:cxn ang="0">
                  <a:pos x="115" y="128"/>
                </a:cxn>
                <a:cxn ang="0">
                  <a:pos x="126" y="141"/>
                </a:cxn>
                <a:cxn ang="0">
                  <a:pos x="138" y="162"/>
                </a:cxn>
                <a:cxn ang="0">
                  <a:pos x="123" y="171"/>
                </a:cxn>
                <a:cxn ang="0">
                  <a:pos x="126" y="182"/>
                </a:cxn>
                <a:cxn ang="0">
                  <a:pos x="110" y="181"/>
                </a:cxn>
                <a:cxn ang="0">
                  <a:pos x="96" y="182"/>
                </a:cxn>
                <a:cxn ang="0">
                  <a:pos x="83" y="182"/>
                </a:cxn>
                <a:cxn ang="0">
                  <a:pos x="70" y="182"/>
                </a:cxn>
                <a:cxn ang="0">
                  <a:pos x="59" y="181"/>
                </a:cxn>
                <a:cxn ang="0">
                  <a:pos x="53" y="177"/>
                </a:cxn>
                <a:cxn ang="0">
                  <a:pos x="44" y="181"/>
                </a:cxn>
                <a:cxn ang="0">
                  <a:pos x="34" y="179"/>
                </a:cxn>
                <a:cxn ang="0">
                  <a:pos x="36" y="162"/>
                </a:cxn>
                <a:cxn ang="0">
                  <a:pos x="38" y="147"/>
                </a:cxn>
                <a:cxn ang="0">
                  <a:pos x="23" y="145"/>
                </a:cxn>
                <a:cxn ang="0">
                  <a:pos x="14" y="141"/>
                </a:cxn>
                <a:cxn ang="0">
                  <a:pos x="8" y="132"/>
                </a:cxn>
                <a:cxn ang="0">
                  <a:pos x="6" y="117"/>
                </a:cxn>
                <a:cxn ang="0">
                  <a:pos x="2" y="101"/>
                </a:cxn>
                <a:cxn ang="0">
                  <a:pos x="2" y="86"/>
                </a:cxn>
                <a:cxn ang="0">
                  <a:pos x="15" y="79"/>
                </a:cxn>
                <a:cxn ang="0">
                  <a:pos x="19" y="68"/>
                </a:cxn>
                <a:cxn ang="0">
                  <a:pos x="14" y="64"/>
                </a:cxn>
                <a:cxn ang="0">
                  <a:pos x="23" y="54"/>
                </a:cxn>
                <a:cxn ang="0">
                  <a:pos x="25" y="47"/>
                </a:cxn>
                <a:cxn ang="0">
                  <a:pos x="19" y="39"/>
                </a:cxn>
                <a:cxn ang="0">
                  <a:pos x="34" y="37"/>
                </a:cxn>
                <a:cxn ang="0">
                  <a:pos x="38" y="39"/>
                </a:cxn>
                <a:cxn ang="0">
                  <a:pos x="42" y="43"/>
                </a:cxn>
                <a:cxn ang="0">
                  <a:pos x="44" y="34"/>
                </a:cxn>
                <a:cxn ang="0">
                  <a:pos x="57" y="30"/>
                </a:cxn>
                <a:cxn ang="0">
                  <a:pos x="57" y="30"/>
                </a:cxn>
                <a:cxn ang="0">
                  <a:pos x="53" y="22"/>
                </a:cxn>
                <a:cxn ang="0">
                  <a:pos x="44" y="13"/>
                </a:cxn>
                <a:cxn ang="0">
                  <a:pos x="47" y="5"/>
                </a:cxn>
                <a:cxn ang="0">
                  <a:pos x="44" y="0"/>
                </a:cxn>
              </a:cxnLst>
              <a:rect l="0" t="0" r="r" b="b"/>
              <a:pathLst>
                <a:path w="158" h="186">
                  <a:moveTo>
                    <a:pt x="44" y="0"/>
                  </a:moveTo>
                  <a:lnTo>
                    <a:pt x="47" y="0"/>
                  </a:lnTo>
                  <a:lnTo>
                    <a:pt x="57" y="4"/>
                  </a:lnTo>
                  <a:lnTo>
                    <a:pt x="57" y="4"/>
                  </a:lnTo>
                  <a:lnTo>
                    <a:pt x="61" y="4"/>
                  </a:lnTo>
                  <a:lnTo>
                    <a:pt x="64" y="5"/>
                  </a:lnTo>
                  <a:lnTo>
                    <a:pt x="68" y="5"/>
                  </a:lnTo>
                  <a:lnTo>
                    <a:pt x="66" y="11"/>
                  </a:lnTo>
                  <a:lnTo>
                    <a:pt x="64" y="13"/>
                  </a:lnTo>
                  <a:lnTo>
                    <a:pt x="64" y="15"/>
                  </a:lnTo>
                  <a:lnTo>
                    <a:pt x="68" y="17"/>
                  </a:lnTo>
                  <a:lnTo>
                    <a:pt x="70" y="19"/>
                  </a:lnTo>
                  <a:lnTo>
                    <a:pt x="72" y="17"/>
                  </a:lnTo>
                  <a:lnTo>
                    <a:pt x="74" y="15"/>
                  </a:lnTo>
                  <a:lnTo>
                    <a:pt x="76" y="13"/>
                  </a:lnTo>
                  <a:lnTo>
                    <a:pt x="78" y="15"/>
                  </a:lnTo>
                  <a:lnTo>
                    <a:pt x="81" y="19"/>
                  </a:lnTo>
                  <a:lnTo>
                    <a:pt x="83" y="19"/>
                  </a:lnTo>
                  <a:lnTo>
                    <a:pt x="83" y="15"/>
                  </a:lnTo>
                  <a:lnTo>
                    <a:pt x="87" y="17"/>
                  </a:lnTo>
                  <a:lnTo>
                    <a:pt x="87" y="20"/>
                  </a:lnTo>
                  <a:lnTo>
                    <a:pt x="83" y="22"/>
                  </a:lnTo>
                  <a:lnTo>
                    <a:pt x="83" y="22"/>
                  </a:lnTo>
                  <a:lnTo>
                    <a:pt x="79" y="24"/>
                  </a:lnTo>
                  <a:lnTo>
                    <a:pt x="83" y="26"/>
                  </a:lnTo>
                  <a:lnTo>
                    <a:pt x="83" y="26"/>
                  </a:lnTo>
                  <a:lnTo>
                    <a:pt x="89" y="26"/>
                  </a:lnTo>
                  <a:lnTo>
                    <a:pt x="89" y="28"/>
                  </a:lnTo>
                  <a:lnTo>
                    <a:pt x="93" y="28"/>
                  </a:lnTo>
                  <a:lnTo>
                    <a:pt x="96" y="24"/>
                  </a:lnTo>
                  <a:lnTo>
                    <a:pt x="98" y="20"/>
                  </a:lnTo>
                  <a:lnTo>
                    <a:pt x="104" y="20"/>
                  </a:lnTo>
                  <a:lnTo>
                    <a:pt x="104" y="19"/>
                  </a:lnTo>
                  <a:lnTo>
                    <a:pt x="108" y="17"/>
                  </a:lnTo>
                  <a:lnTo>
                    <a:pt x="108" y="15"/>
                  </a:lnTo>
                  <a:lnTo>
                    <a:pt x="110" y="13"/>
                  </a:lnTo>
                  <a:lnTo>
                    <a:pt x="115" y="13"/>
                  </a:lnTo>
                  <a:lnTo>
                    <a:pt x="111" y="15"/>
                  </a:lnTo>
                  <a:lnTo>
                    <a:pt x="110" y="17"/>
                  </a:lnTo>
                  <a:lnTo>
                    <a:pt x="110" y="17"/>
                  </a:lnTo>
                  <a:lnTo>
                    <a:pt x="108" y="19"/>
                  </a:lnTo>
                  <a:lnTo>
                    <a:pt x="108" y="20"/>
                  </a:lnTo>
                  <a:lnTo>
                    <a:pt x="111" y="17"/>
                  </a:lnTo>
                  <a:lnTo>
                    <a:pt x="117" y="17"/>
                  </a:lnTo>
                  <a:lnTo>
                    <a:pt x="119" y="17"/>
                  </a:lnTo>
                  <a:lnTo>
                    <a:pt x="119" y="19"/>
                  </a:lnTo>
                  <a:lnTo>
                    <a:pt x="123" y="19"/>
                  </a:lnTo>
                  <a:lnTo>
                    <a:pt x="128" y="24"/>
                  </a:lnTo>
                  <a:lnTo>
                    <a:pt x="132" y="22"/>
                  </a:lnTo>
                  <a:lnTo>
                    <a:pt x="134" y="26"/>
                  </a:lnTo>
                  <a:lnTo>
                    <a:pt x="134" y="30"/>
                  </a:lnTo>
                  <a:lnTo>
                    <a:pt x="138" y="30"/>
                  </a:lnTo>
                  <a:lnTo>
                    <a:pt x="138" y="30"/>
                  </a:lnTo>
                  <a:lnTo>
                    <a:pt x="143" y="34"/>
                  </a:lnTo>
                  <a:lnTo>
                    <a:pt x="147" y="34"/>
                  </a:lnTo>
                  <a:lnTo>
                    <a:pt x="147" y="43"/>
                  </a:lnTo>
                  <a:lnTo>
                    <a:pt x="147" y="47"/>
                  </a:lnTo>
                  <a:lnTo>
                    <a:pt x="140" y="51"/>
                  </a:lnTo>
                  <a:lnTo>
                    <a:pt x="140" y="52"/>
                  </a:lnTo>
                  <a:lnTo>
                    <a:pt x="147" y="60"/>
                  </a:lnTo>
                  <a:lnTo>
                    <a:pt x="147" y="64"/>
                  </a:lnTo>
                  <a:lnTo>
                    <a:pt x="149" y="68"/>
                  </a:lnTo>
                  <a:lnTo>
                    <a:pt x="149" y="68"/>
                  </a:lnTo>
                  <a:lnTo>
                    <a:pt x="151" y="73"/>
                  </a:lnTo>
                  <a:lnTo>
                    <a:pt x="149" y="75"/>
                  </a:lnTo>
                  <a:lnTo>
                    <a:pt x="153" y="85"/>
                  </a:lnTo>
                  <a:lnTo>
                    <a:pt x="155" y="86"/>
                  </a:lnTo>
                  <a:lnTo>
                    <a:pt x="157" y="88"/>
                  </a:lnTo>
                  <a:lnTo>
                    <a:pt x="158" y="98"/>
                  </a:lnTo>
                  <a:lnTo>
                    <a:pt x="157" y="100"/>
                  </a:lnTo>
                  <a:lnTo>
                    <a:pt x="153" y="100"/>
                  </a:lnTo>
                  <a:lnTo>
                    <a:pt x="151" y="100"/>
                  </a:lnTo>
                  <a:lnTo>
                    <a:pt x="143" y="100"/>
                  </a:lnTo>
                  <a:lnTo>
                    <a:pt x="143" y="103"/>
                  </a:lnTo>
                  <a:lnTo>
                    <a:pt x="143" y="105"/>
                  </a:lnTo>
                  <a:lnTo>
                    <a:pt x="138" y="103"/>
                  </a:lnTo>
                  <a:lnTo>
                    <a:pt x="134" y="103"/>
                  </a:lnTo>
                  <a:lnTo>
                    <a:pt x="132" y="107"/>
                  </a:lnTo>
                  <a:lnTo>
                    <a:pt x="126" y="107"/>
                  </a:lnTo>
                  <a:lnTo>
                    <a:pt x="123" y="111"/>
                  </a:lnTo>
                  <a:lnTo>
                    <a:pt x="121" y="113"/>
                  </a:lnTo>
                  <a:lnTo>
                    <a:pt x="113" y="118"/>
                  </a:lnTo>
                  <a:lnTo>
                    <a:pt x="110" y="117"/>
                  </a:lnTo>
                  <a:lnTo>
                    <a:pt x="108" y="115"/>
                  </a:lnTo>
                  <a:lnTo>
                    <a:pt x="106" y="117"/>
                  </a:lnTo>
                  <a:lnTo>
                    <a:pt x="106" y="118"/>
                  </a:lnTo>
                  <a:lnTo>
                    <a:pt x="111" y="122"/>
                  </a:lnTo>
                  <a:lnTo>
                    <a:pt x="115" y="128"/>
                  </a:lnTo>
                  <a:lnTo>
                    <a:pt x="115" y="132"/>
                  </a:lnTo>
                  <a:lnTo>
                    <a:pt x="117" y="135"/>
                  </a:lnTo>
                  <a:lnTo>
                    <a:pt x="121" y="137"/>
                  </a:lnTo>
                  <a:lnTo>
                    <a:pt x="126" y="141"/>
                  </a:lnTo>
                  <a:lnTo>
                    <a:pt x="128" y="145"/>
                  </a:lnTo>
                  <a:lnTo>
                    <a:pt x="138" y="152"/>
                  </a:lnTo>
                  <a:lnTo>
                    <a:pt x="138" y="156"/>
                  </a:lnTo>
                  <a:lnTo>
                    <a:pt x="138" y="162"/>
                  </a:lnTo>
                  <a:lnTo>
                    <a:pt x="134" y="162"/>
                  </a:lnTo>
                  <a:lnTo>
                    <a:pt x="132" y="164"/>
                  </a:lnTo>
                  <a:lnTo>
                    <a:pt x="128" y="165"/>
                  </a:lnTo>
                  <a:lnTo>
                    <a:pt x="123" y="171"/>
                  </a:lnTo>
                  <a:lnTo>
                    <a:pt x="123" y="173"/>
                  </a:lnTo>
                  <a:lnTo>
                    <a:pt x="128" y="177"/>
                  </a:lnTo>
                  <a:lnTo>
                    <a:pt x="128" y="181"/>
                  </a:lnTo>
                  <a:lnTo>
                    <a:pt x="126" y="182"/>
                  </a:lnTo>
                  <a:lnTo>
                    <a:pt x="123" y="179"/>
                  </a:lnTo>
                  <a:lnTo>
                    <a:pt x="117" y="181"/>
                  </a:lnTo>
                  <a:lnTo>
                    <a:pt x="113" y="179"/>
                  </a:lnTo>
                  <a:lnTo>
                    <a:pt x="110" y="181"/>
                  </a:lnTo>
                  <a:lnTo>
                    <a:pt x="104" y="182"/>
                  </a:lnTo>
                  <a:lnTo>
                    <a:pt x="102" y="182"/>
                  </a:lnTo>
                  <a:lnTo>
                    <a:pt x="98" y="182"/>
                  </a:lnTo>
                  <a:lnTo>
                    <a:pt x="96" y="182"/>
                  </a:lnTo>
                  <a:lnTo>
                    <a:pt x="93" y="182"/>
                  </a:lnTo>
                  <a:lnTo>
                    <a:pt x="87" y="182"/>
                  </a:lnTo>
                  <a:lnTo>
                    <a:pt x="81" y="182"/>
                  </a:lnTo>
                  <a:lnTo>
                    <a:pt x="83" y="182"/>
                  </a:lnTo>
                  <a:lnTo>
                    <a:pt x="81" y="186"/>
                  </a:lnTo>
                  <a:lnTo>
                    <a:pt x="76" y="186"/>
                  </a:lnTo>
                  <a:lnTo>
                    <a:pt x="74" y="182"/>
                  </a:lnTo>
                  <a:lnTo>
                    <a:pt x="70" y="182"/>
                  </a:lnTo>
                  <a:lnTo>
                    <a:pt x="68" y="182"/>
                  </a:lnTo>
                  <a:lnTo>
                    <a:pt x="66" y="182"/>
                  </a:lnTo>
                  <a:lnTo>
                    <a:pt x="64" y="182"/>
                  </a:lnTo>
                  <a:lnTo>
                    <a:pt x="59" y="181"/>
                  </a:lnTo>
                  <a:lnTo>
                    <a:pt x="57" y="179"/>
                  </a:lnTo>
                  <a:lnTo>
                    <a:pt x="57" y="181"/>
                  </a:lnTo>
                  <a:lnTo>
                    <a:pt x="53" y="181"/>
                  </a:lnTo>
                  <a:lnTo>
                    <a:pt x="53" y="177"/>
                  </a:lnTo>
                  <a:lnTo>
                    <a:pt x="47" y="179"/>
                  </a:lnTo>
                  <a:lnTo>
                    <a:pt x="47" y="181"/>
                  </a:lnTo>
                  <a:lnTo>
                    <a:pt x="47" y="182"/>
                  </a:lnTo>
                  <a:lnTo>
                    <a:pt x="44" y="181"/>
                  </a:lnTo>
                  <a:lnTo>
                    <a:pt x="38" y="182"/>
                  </a:lnTo>
                  <a:lnTo>
                    <a:pt x="36" y="182"/>
                  </a:lnTo>
                  <a:lnTo>
                    <a:pt x="36" y="182"/>
                  </a:lnTo>
                  <a:lnTo>
                    <a:pt x="34" y="179"/>
                  </a:lnTo>
                  <a:lnTo>
                    <a:pt x="30" y="177"/>
                  </a:lnTo>
                  <a:lnTo>
                    <a:pt x="30" y="171"/>
                  </a:lnTo>
                  <a:lnTo>
                    <a:pt x="32" y="164"/>
                  </a:lnTo>
                  <a:lnTo>
                    <a:pt x="36" y="162"/>
                  </a:lnTo>
                  <a:lnTo>
                    <a:pt x="36" y="158"/>
                  </a:lnTo>
                  <a:lnTo>
                    <a:pt x="38" y="152"/>
                  </a:lnTo>
                  <a:lnTo>
                    <a:pt x="42" y="149"/>
                  </a:lnTo>
                  <a:lnTo>
                    <a:pt x="38" y="147"/>
                  </a:lnTo>
                  <a:lnTo>
                    <a:pt x="34" y="147"/>
                  </a:lnTo>
                  <a:lnTo>
                    <a:pt x="30" y="145"/>
                  </a:lnTo>
                  <a:lnTo>
                    <a:pt x="27" y="147"/>
                  </a:lnTo>
                  <a:lnTo>
                    <a:pt x="23" y="145"/>
                  </a:lnTo>
                  <a:lnTo>
                    <a:pt x="21" y="145"/>
                  </a:lnTo>
                  <a:lnTo>
                    <a:pt x="17" y="147"/>
                  </a:lnTo>
                  <a:lnTo>
                    <a:pt x="14" y="143"/>
                  </a:lnTo>
                  <a:lnTo>
                    <a:pt x="14" y="141"/>
                  </a:lnTo>
                  <a:lnTo>
                    <a:pt x="12" y="139"/>
                  </a:lnTo>
                  <a:lnTo>
                    <a:pt x="12" y="139"/>
                  </a:lnTo>
                  <a:lnTo>
                    <a:pt x="12" y="132"/>
                  </a:lnTo>
                  <a:lnTo>
                    <a:pt x="8" y="132"/>
                  </a:lnTo>
                  <a:lnTo>
                    <a:pt x="8" y="128"/>
                  </a:lnTo>
                  <a:lnTo>
                    <a:pt x="2" y="122"/>
                  </a:lnTo>
                  <a:lnTo>
                    <a:pt x="2" y="122"/>
                  </a:lnTo>
                  <a:lnTo>
                    <a:pt x="6" y="117"/>
                  </a:lnTo>
                  <a:lnTo>
                    <a:pt x="2" y="113"/>
                  </a:lnTo>
                  <a:lnTo>
                    <a:pt x="2" y="111"/>
                  </a:lnTo>
                  <a:lnTo>
                    <a:pt x="0" y="105"/>
                  </a:lnTo>
                  <a:lnTo>
                    <a:pt x="2" y="101"/>
                  </a:lnTo>
                  <a:lnTo>
                    <a:pt x="0" y="101"/>
                  </a:lnTo>
                  <a:lnTo>
                    <a:pt x="2" y="98"/>
                  </a:lnTo>
                  <a:lnTo>
                    <a:pt x="2" y="92"/>
                  </a:lnTo>
                  <a:lnTo>
                    <a:pt x="2" y="86"/>
                  </a:lnTo>
                  <a:lnTo>
                    <a:pt x="6" y="83"/>
                  </a:lnTo>
                  <a:lnTo>
                    <a:pt x="8" y="79"/>
                  </a:lnTo>
                  <a:lnTo>
                    <a:pt x="12" y="79"/>
                  </a:lnTo>
                  <a:lnTo>
                    <a:pt x="15" y="79"/>
                  </a:lnTo>
                  <a:lnTo>
                    <a:pt x="19" y="77"/>
                  </a:lnTo>
                  <a:lnTo>
                    <a:pt x="17" y="73"/>
                  </a:lnTo>
                  <a:lnTo>
                    <a:pt x="19" y="73"/>
                  </a:lnTo>
                  <a:lnTo>
                    <a:pt x="19" y="68"/>
                  </a:lnTo>
                  <a:lnTo>
                    <a:pt x="21" y="68"/>
                  </a:lnTo>
                  <a:lnTo>
                    <a:pt x="19" y="64"/>
                  </a:lnTo>
                  <a:lnTo>
                    <a:pt x="14" y="64"/>
                  </a:lnTo>
                  <a:lnTo>
                    <a:pt x="14" y="64"/>
                  </a:lnTo>
                  <a:lnTo>
                    <a:pt x="15" y="60"/>
                  </a:lnTo>
                  <a:lnTo>
                    <a:pt x="19" y="62"/>
                  </a:lnTo>
                  <a:lnTo>
                    <a:pt x="23" y="60"/>
                  </a:lnTo>
                  <a:lnTo>
                    <a:pt x="23" y="54"/>
                  </a:lnTo>
                  <a:lnTo>
                    <a:pt x="23" y="52"/>
                  </a:lnTo>
                  <a:lnTo>
                    <a:pt x="25" y="49"/>
                  </a:lnTo>
                  <a:lnTo>
                    <a:pt x="25" y="49"/>
                  </a:lnTo>
                  <a:lnTo>
                    <a:pt x="25" y="47"/>
                  </a:lnTo>
                  <a:lnTo>
                    <a:pt x="25" y="47"/>
                  </a:lnTo>
                  <a:lnTo>
                    <a:pt x="25" y="43"/>
                  </a:lnTo>
                  <a:lnTo>
                    <a:pt x="21" y="43"/>
                  </a:lnTo>
                  <a:lnTo>
                    <a:pt x="19" y="39"/>
                  </a:lnTo>
                  <a:lnTo>
                    <a:pt x="19" y="37"/>
                  </a:lnTo>
                  <a:lnTo>
                    <a:pt x="29" y="34"/>
                  </a:lnTo>
                  <a:lnTo>
                    <a:pt x="30" y="34"/>
                  </a:lnTo>
                  <a:lnTo>
                    <a:pt x="34" y="37"/>
                  </a:lnTo>
                  <a:lnTo>
                    <a:pt x="34" y="39"/>
                  </a:lnTo>
                  <a:lnTo>
                    <a:pt x="38" y="43"/>
                  </a:lnTo>
                  <a:lnTo>
                    <a:pt x="38" y="43"/>
                  </a:lnTo>
                  <a:lnTo>
                    <a:pt x="38" y="39"/>
                  </a:lnTo>
                  <a:lnTo>
                    <a:pt x="38" y="37"/>
                  </a:lnTo>
                  <a:lnTo>
                    <a:pt x="38" y="34"/>
                  </a:lnTo>
                  <a:lnTo>
                    <a:pt x="44" y="39"/>
                  </a:lnTo>
                  <a:lnTo>
                    <a:pt x="42" y="43"/>
                  </a:lnTo>
                  <a:lnTo>
                    <a:pt x="47" y="47"/>
                  </a:lnTo>
                  <a:lnTo>
                    <a:pt x="44" y="43"/>
                  </a:lnTo>
                  <a:lnTo>
                    <a:pt x="44" y="39"/>
                  </a:lnTo>
                  <a:lnTo>
                    <a:pt x="44" y="34"/>
                  </a:lnTo>
                  <a:lnTo>
                    <a:pt x="47" y="30"/>
                  </a:lnTo>
                  <a:lnTo>
                    <a:pt x="47" y="30"/>
                  </a:lnTo>
                  <a:lnTo>
                    <a:pt x="53" y="34"/>
                  </a:lnTo>
                  <a:lnTo>
                    <a:pt x="57" y="30"/>
                  </a:lnTo>
                  <a:lnTo>
                    <a:pt x="61" y="37"/>
                  </a:lnTo>
                  <a:lnTo>
                    <a:pt x="70" y="39"/>
                  </a:lnTo>
                  <a:lnTo>
                    <a:pt x="62" y="34"/>
                  </a:lnTo>
                  <a:lnTo>
                    <a:pt x="57" y="30"/>
                  </a:lnTo>
                  <a:lnTo>
                    <a:pt x="53" y="30"/>
                  </a:lnTo>
                  <a:lnTo>
                    <a:pt x="47" y="28"/>
                  </a:lnTo>
                  <a:lnTo>
                    <a:pt x="47" y="24"/>
                  </a:lnTo>
                  <a:lnTo>
                    <a:pt x="53" y="22"/>
                  </a:lnTo>
                  <a:lnTo>
                    <a:pt x="47" y="20"/>
                  </a:lnTo>
                  <a:lnTo>
                    <a:pt x="47" y="17"/>
                  </a:lnTo>
                  <a:lnTo>
                    <a:pt x="44" y="17"/>
                  </a:lnTo>
                  <a:lnTo>
                    <a:pt x="44" y="13"/>
                  </a:lnTo>
                  <a:lnTo>
                    <a:pt x="47" y="13"/>
                  </a:lnTo>
                  <a:lnTo>
                    <a:pt x="53" y="13"/>
                  </a:lnTo>
                  <a:lnTo>
                    <a:pt x="47" y="9"/>
                  </a:lnTo>
                  <a:lnTo>
                    <a:pt x="47" y="5"/>
                  </a:lnTo>
                  <a:lnTo>
                    <a:pt x="47" y="5"/>
                  </a:lnTo>
                  <a:lnTo>
                    <a:pt x="44" y="5"/>
                  </a:lnTo>
                  <a:lnTo>
                    <a:pt x="44" y="0"/>
                  </a:lnTo>
                  <a:lnTo>
                    <a:pt x="44" y="0"/>
                  </a:lnTo>
                  <a:lnTo>
                    <a:pt x="44" y="0"/>
                  </a:lnTo>
                  <a:lnTo>
                    <a:pt x="44" y="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9" name="Freeform 11">
              <a:extLst>
                <a:ext uri="{FF2B5EF4-FFF2-40B4-BE49-F238E27FC236}">
                  <a16:creationId xmlns:a16="http://schemas.microsoft.com/office/drawing/2014/main" id="{14FCE8DC-A113-49CB-9C6D-765D0994F239}"/>
                </a:ext>
              </a:extLst>
            </p:cNvPr>
            <p:cNvSpPr>
              <a:spLocks/>
            </p:cNvSpPr>
            <p:nvPr/>
          </p:nvSpPr>
          <p:spPr bwMode="auto">
            <a:xfrm>
              <a:off x="3122" y="2124"/>
              <a:ext cx="163" cy="107"/>
            </a:xfrm>
            <a:custGeom>
              <a:avLst/>
              <a:gdLst/>
              <a:ahLst/>
              <a:cxnLst>
                <a:cxn ang="0">
                  <a:pos x="41" y="5"/>
                </a:cxn>
                <a:cxn ang="0">
                  <a:pos x="47" y="3"/>
                </a:cxn>
                <a:cxn ang="0">
                  <a:pos x="60" y="9"/>
                </a:cxn>
                <a:cxn ang="0">
                  <a:pos x="64" y="13"/>
                </a:cxn>
                <a:cxn ang="0">
                  <a:pos x="75" y="13"/>
                </a:cxn>
                <a:cxn ang="0">
                  <a:pos x="82" y="9"/>
                </a:cxn>
                <a:cxn ang="0">
                  <a:pos x="99" y="5"/>
                </a:cxn>
                <a:cxn ang="0">
                  <a:pos x="113" y="9"/>
                </a:cxn>
                <a:cxn ang="0">
                  <a:pos x="122" y="20"/>
                </a:cxn>
                <a:cxn ang="0">
                  <a:pos x="133" y="34"/>
                </a:cxn>
                <a:cxn ang="0">
                  <a:pos x="133" y="54"/>
                </a:cxn>
                <a:cxn ang="0">
                  <a:pos x="141" y="66"/>
                </a:cxn>
                <a:cxn ang="0">
                  <a:pos x="152" y="67"/>
                </a:cxn>
                <a:cxn ang="0">
                  <a:pos x="160" y="64"/>
                </a:cxn>
                <a:cxn ang="0">
                  <a:pos x="163" y="69"/>
                </a:cxn>
                <a:cxn ang="0">
                  <a:pos x="163" y="73"/>
                </a:cxn>
                <a:cxn ang="0">
                  <a:pos x="158" y="79"/>
                </a:cxn>
                <a:cxn ang="0">
                  <a:pos x="150" y="82"/>
                </a:cxn>
                <a:cxn ang="0">
                  <a:pos x="150" y="88"/>
                </a:cxn>
                <a:cxn ang="0">
                  <a:pos x="146" y="98"/>
                </a:cxn>
                <a:cxn ang="0">
                  <a:pos x="145" y="101"/>
                </a:cxn>
                <a:cxn ang="0">
                  <a:pos x="139" y="98"/>
                </a:cxn>
                <a:cxn ang="0">
                  <a:pos x="133" y="96"/>
                </a:cxn>
                <a:cxn ang="0">
                  <a:pos x="122" y="94"/>
                </a:cxn>
                <a:cxn ang="0">
                  <a:pos x="105" y="99"/>
                </a:cxn>
                <a:cxn ang="0">
                  <a:pos x="99" y="103"/>
                </a:cxn>
                <a:cxn ang="0">
                  <a:pos x="90" y="103"/>
                </a:cxn>
                <a:cxn ang="0">
                  <a:pos x="82" y="103"/>
                </a:cxn>
                <a:cxn ang="0">
                  <a:pos x="75" y="103"/>
                </a:cxn>
                <a:cxn ang="0">
                  <a:pos x="64" y="103"/>
                </a:cxn>
                <a:cxn ang="0">
                  <a:pos x="60" y="101"/>
                </a:cxn>
                <a:cxn ang="0">
                  <a:pos x="50" y="103"/>
                </a:cxn>
                <a:cxn ang="0">
                  <a:pos x="50" y="99"/>
                </a:cxn>
                <a:cxn ang="0">
                  <a:pos x="49" y="94"/>
                </a:cxn>
                <a:cxn ang="0">
                  <a:pos x="41" y="90"/>
                </a:cxn>
                <a:cxn ang="0">
                  <a:pos x="45" y="82"/>
                </a:cxn>
                <a:cxn ang="0">
                  <a:pos x="35" y="86"/>
                </a:cxn>
                <a:cxn ang="0">
                  <a:pos x="28" y="86"/>
                </a:cxn>
                <a:cxn ang="0">
                  <a:pos x="20" y="79"/>
                </a:cxn>
                <a:cxn ang="0">
                  <a:pos x="22" y="75"/>
                </a:cxn>
                <a:cxn ang="0">
                  <a:pos x="11" y="67"/>
                </a:cxn>
                <a:cxn ang="0">
                  <a:pos x="5" y="58"/>
                </a:cxn>
                <a:cxn ang="0">
                  <a:pos x="0" y="54"/>
                </a:cxn>
                <a:cxn ang="0">
                  <a:pos x="9" y="50"/>
                </a:cxn>
                <a:cxn ang="0">
                  <a:pos x="13" y="47"/>
                </a:cxn>
                <a:cxn ang="0">
                  <a:pos x="17" y="39"/>
                </a:cxn>
                <a:cxn ang="0">
                  <a:pos x="28" y="18"/>
                </a:cxn>
                <a:cxn ang="0">
                  <a:pos x="35" y="11"/>
                </a:cxn>
                <a:cxn ang="0">
                  <a:pos x="39" y="5"/>
                </a:cxn>
                <a:cxn ang="0">
                  <a:pos x="39" y="5"/>
                </a:cxn>
              </a:cxnLst>
              <a:rect l="0" t="0" r="r" b="b"/>
              <a:pathLst>
                <a:path w="163" h="107">
                  <a:moveTo>
                    <a:pt x="39" y="5"/>
                  </a:moveTo>
                  <a:lnTo>
                    <a:pt x="41" y="5"/>
                  </a:lnTo>
                  <a:lnTo>
                    <a:pt x="43" y="3"/>
                  </a:lnTo>
                  <a:lnTo>
                    <a:pt x="47" y="3"/>
                  </a:lnTo>
                  <a:lnTo>
                    <a:pt x="54" y="5"/>
                  </a:lnTo>
                  <a:lnTo>
                    <a:pt x="60" y="9"/>
                  </a:lnTo>
                  <a:lnTo>
                    <a:pt x="64" y="9"/>
                  </a:lnTo>
                  <a:lnTo>
                    <a:pt x="64" y="13"/>
                  </a:lnTo>
                  <a:lnTo>
                    <a:pt x="69" y="15"/>
                  </a:lnTo>
                  <a:lnTo>
                    <a:pt x="75" y="13"/>
                  </a:lnTo>
                  <a:lnTo>
                    <a:pt x="79" y="11"/>
                  </a:lnTo>
                  <a:lnTo>
                    <a:pt x="82" y="9"/>
                  </a:lnTo>
                  <a:lnTo>
                    <a:pt x="94" y="5"/>
                  </a:lnTo>
                  <a:lnTo>
                    <a:pt x="99" y="5"/>
                  </a:lnTo>
                  <a:lnTo>
                    <a:pt x="111" y="0"/>
                  </a:lnTo>
                  <a:lnTo>
                    <a:pt x="113" y="9"/>
                  </a:lnTo>
                  <a:lnTo>
                    <a:pt x="120" y="17"/>
                  </a:lnTo>
                  <a:lnTo>
                    <a:pt x="122" y="20"/>
                  </a:lnTo>
                  <a:lnTo>
                    <a:pt x="129" y="28"/>
                  </a:lnTo>
                  <a:lnTo>
                    <a:pt x="133" y="34"/>
                  </a:lnTo>
                  <a:lnTo>
                    <a:pt x="135" y="37"/>
                  </a:lnTo>
                  <a:lnTo>
                    <a:pt x="133" y="54"/>
                  </a:lnTo>
                  <a:lnTo>
                    <a:pt x="137" y="62"/>
                  </a:lnTo>
                  <a:lnTo>
                    <a:pt x="141" y="66"/>
                  </a:lnTo>
                  <a:lnTo>
                    <a:pt x="146" y="67"/>
                  </a:lnTo>
                  <a:lnTo>
                    <a:pt x="152" y="67"/>
                  </a:lnTo>
                  <a:lnTo>
                    <a:pt x="154" y="66"/>
                  </a:lnTo>
                  <a:lnTo>
                    <a:pt x="160" y="64"/>
                  </a:lnTo>
                  <a:lnTo>
                    <a:pt x="163" y="67"/>
                  </a:lnTo>
                  <a:lnTo>
                    <a:pt x="163" y="69"/>
                  </a:lnTo>
                  <a:lnTo>
                    <a:pt x="163" y="71"/>
                  </a:lnTo>
                  <a:lnTo>
                    <a:pt x="163" y="73"/>
                  </a:lnTo>
                  <a:lnTo>
                    <a:pt x="163" y="79"/>
                  </a:lnTo>
                  <a:lnTo>
                    <a:pt x="158" y="79"/>
                  </a:lnTo>
                  <a:lnTo>
                    <a:pt x="152" y="79"/>
                  </a:lnTo>
                  <a:lnTo>
                    <a:pt x="150" y="82"/>
                  </a:lnTo>
                  <a:lnTo>
                    <a:pt x="148" y="86"/>
                  </a:lnTo>
                  <a:lnTo>
                    <a:pt x="150" y="88"/>
                  </a:lnTo>
                  <a:lnTo>
                    <a:pt x="150" y="94"/>
                  </a:lnTo>
                  <a:lnTo>
                    <a:pt x="146" y="98"/>
                  </a:lnTo>
                  <a:lnTo>
                    <a:pt x="148" y="101"/>
                  </a:lnTo>
                  <a:lnTo>
                    <a:pt x="145" y="101"/>
                  </a:lnTo>
                  <a:lnTo>
                    <a:pt x="143" y="99"/>
                  </a:lnTo>
                  <a:lnTo>
                    <a:pt x="139" y="98"/>
                  </a:lnTo>
                  <a:lnTo>
                    <a:pt x="135" y="99"/>
                  </a:lnTo>
                  <a:lnTo>
                    <a:pt x="133" y="96"/>
                  </a:lnTo>
                  <a:lnTo>
                    <a:pt x="128" y="94"/>
                  </a:lnTo>
                  <a:lnTo>
                    <a:pt x="122" y="94"/>
                  </a:lnTo>
                  <a:lnTo>
                    <a:pt x="116" y="94"/>
                  </a:lnTo>
                  <a:lnTo>
                    <a:pt x="105" y="99"/>
                  </a:lnTo>
                  <a:lnTo>
                    <a:pt x="103" y="103"/>
                  </a:lnTo>
                  <a:lnTo>
                    <a:pt x="99" y="103"/>
                  </a:lnTo>
                  <a:lnTo>
                    <a:pt x="97" y="103"/>
                  </a:lnTo>
                  <a:lnTo>
                    <a:pt x="90" y="103"/>
                  </a:lnTo>
                  <a:lnTo>
                    <a:pt x="86" y="103"/>
                  </a:lnTo>
                  <a:lnTo>
                    <a:pt x="82" y="103"/>
                  </a:lnTo>
                  <a:lnTo>
                    <a:pt x="79" y="103"/>
                  </a:lnTo>
                  <a:lnTo>
                    <a:pt x="75" y="103"/>
                  </a:lnTo>
                  <a:lnTo>
                    <a:pt x="69" y="107"/>
                  </a:lnTo>
                  <a:lnTo>
                    <a:pt x="64" y="103"/>
                  </a:lnTo>
                  <a:lnTo>
                    <a:pt x="64" y="103"/>
                  </a:lnTo>
                  <a:lnTo>
                    <a:pt x="60" y="101"/>
                  </a:lnTo>
                  <a:lnTo>
                    <a:pt x="56" y="101"/>
                  </a:lnTo>
                  <a:lnTo>
                    <a:pt x="50" y="103"/>
                  </a:lnTo>
                  <a:lnTo>
                    <a:pt x="49" y="101"/>
                  </a:lnTo>
                  <a:lnTo>
                    <a:pt x="50" y="99"/>
                  </a:lnTo>
                  <a:lnTo>
                    <a:pt x="50" y="96"/>
                  </a:lnTo>
                  <a:lnTo>
                    <a:pt x="49" y="94"/>
                  </a:lnTo>
                  <a:lnTo>
                    <a:pt x="43" y="94"/>
                  </a:lnTo>
                  <a:lnTo>
                    <a:pt x="41" y="90"/>
                  </a:lnTo>
                  <a:lnTo>
                    <a:pt x="41" y="86"/>
                  </a:lnTo>
                  <a:lnTo>
                    <a:pt x="45" y="82"/>
                  </a:lnTo>
                  <a:lnTo>
                    <a:pt x="39" y="82"/>
                  </a:lnTo>
                  <a:lnTo>
                    <a:pt x="35" y="86"/>
                  </a:lnTo>
                  <a:lnTo>
                    <a:pt x="33" y="82"/>
                  </a:lnTo>
                  <a:lnTo>
                    <a:pt x="28" y="86"/>
                  </a:lnTo>
                  <a:lnTo>
                    <a:pt x="26" y="82"/>
                  </a:lnTo>
                  <a:lnTo>
                    <a:pt x="20" y="79"/>
                  </a:lnTo>
                  <a:lnTo>
                    <a:pt x="20" y="79"/>
                  </a:lnTo>
                  <a:lnTo>
                    <a:pt x="22" y="75"/>
                  </a:lnTo>
                  <a:lnTo>
                    <a:pt x="17" y="69"/>
                  </a:lnTo>
                  <a:lnTo>
                    <a:pt x="11" y="67"/>
                  </a:lnTo>
                  <a:lnTo>
                    <a:pt x="11" y="64"/>
                  </a:lnTo>
                  <a:lnTo>
                    <a:pt x="5" y="58"/>
                  </a:lnTo>
                  <a:lnTo>
                    <a:pt x="5" y="54"/>
                  </a:lnTo>
                  <a:lnTo>
                    <a:pt x="0" y="54"/>
                  </a:lnTo>
                  <a:lnTo>
                    <a:pt x="5" y="50"/>
                  </a:lnTo>
                  <a:lnTo>
                    <a:pt x="9" y="50"/>
                  </a:lnTo>
                  <a:lnTo>
                    <a:pt x="9" y="47"/>
                  </a:lnTo>
                  <a:lnTo>
                    <a:pt x="13" y="47"/>
                  </a:lnTo>
                  <a:lnTo>
                    <a:pt x="17" y="43"/>
                  </a:lnTo>
                  <a:lnTo>
                    <a:pt x="17" y="39"/>
                  </a:lnTo>
                  <a:lnTo>
                    <a:pt x="24" y="30"/>
                  </a:lnTo>
                  <a:lnTo>
                    <a:pt x="28" y="18"/>
                  </a:lnTo>
                  <a:lnTo>
                    <a:pt x="30" y="11"/>
                  </a:lnTo>
                  <a:lnTo>
                    <a:pt x="35" y="11"/>
                  </a:lnTo>
                  <a:lnTo>
                    <a:pt x="39" y="5"/>
                  </a:lnTo>
                  <a:lnTo>
                    <a:pt x="39" y="5"/>
                  </a:lnTo>
                  <a:lnTo>
                    <a:pt x="39" y="5"/>
                  </a:lnTo>
                  <a:lnTo>
                    <a:pt x="39" y="5"/>
                  </a:lnTo>
                  <a:close/>
                </a:path>
              </a:pathLst>
            </a:custGeom>
            <a:solidFill>
              <a:srgbClr val="BDBD00"/>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0" name="Freeform 12">
              <a:extLst>
                <a:ext uri="{FF2B5EF4-FFF2-40B4-BE49-F238E27FC236}">
                  <a16:creationId xmlns:a16="http://schemas.microsoft.com/office/drawing/2014/main" id="{B069087F-DE39-4206-98D3-C9275EE4DB73}"/>
                </a:ext>
              </a:extLst>
            </p:cNvPr>
            <p:cNvSpPr>
              <a:spLocks/>
            </p:cNvSpPr>
            <p:nvPr/>
          </p:nvSpPr>
          <p:spPr bwMode="auto">
            <a:xfrm>
              <a:off x="3122" y="2124"/>
              <a:ext cx="163" cy="107"/>
            </a:xfrm>
            <a:custGeom>
              <a:avLst/>
              <a:gdLst/>
              <a:ahLst/>
              <a:cxnLst>
                <a:cxn ang="0">
                  <a:pos x="41" y="5"/>
                </a:cxn>
                <a:cxn ang="0">
                  <a:pos x="47" y="3"/>
                </a:cxn>
                <a:cxn ang="0">
                  <a:pos x="60" y="9"/>
                </a:cxn>
                <a:cxn ang="0">
                  <a:pos x="64" y="13"/>
                </a:cxn>
                <a:cxn ang="0">
                  <a:pos x="75" y="13"/>
                </a:cxn>
                <a:cxn ang="0">
                  <a:pos x="82" y="9"/>
                </a:cxn>
                <a:cxn ang="0">
                  <a:pos x="99" y="5"/>
                </a:cxn>
                <a:cxn ang="0">
                  <a:pos x="113" y="9"/>
                </a:cxn>
                <a:cxn ang="0">
                  <a:pos x="122" y="20"/>
                </a:cxn>
                <a:cxn ang="0">
                  <a:pos x="133" y="34"/>
                </a:cxn>
                <a:cxn ang="0">
                  <a:pos x="133" y="54"/>
                </a:cxn>
                <a:cxn ang="0">
                  <a:pos x="141" y="66"/>
                </a:cxn>
                <a:cxn ang="0">
                  <a:pos x="152" y="67"/>
                </a:cxn>
                <a:cxn ang="0">
                  <a:pos x="160" y="64"/>
                </a:cxn>
                <a:cxn ang="0">
                  <a:pos x="163" y="69"/>
                </a:cxn>
                <a:cxn ang="0">
                  <a:pos x="163" y="73"/>
                </a:cxn>
                <a:cxn ang="0">
                  <a:pos x="158" y="79"/>
                </a:cxn>
                <a:cxn ang="0">
                  <a:pos x="150" y="82"/>
                </a:cxn>
                <a:cxn ang="0">
                  <a:pos x="150" y="88"/>
                </a:cxn>
                <a:cxn ang="0">
                  <a:pos x="146" y="98"/>
                </a:cxn>
                <a:cxn ang="0">
                  <a:pos x="145" y="101"/>
                </a:cxn>
                <a:cxn ang="0">
                  <a:pos x="139" y="98"/>
                </a:cxn>
                <a:cxn ang="0">
                  <a:pos x="133" y="96"/>
                </a:cxn>
                <a:cxn ang="0">
                  <a:pos x="122" y="94"/>
                </a:cxn>
                <a:cxn ang="0">
                  <a:pos x="105" y="99"/>
                </a:cxn>
                <a:cxn ang="0">
                  <a:pos x="99" y="103"/>
                </a:cxn>
                <a:cxn ang="0">
                  <a:pos x="90" y="103"/>
                </a:cxn>
                <a:cxn ang="0">
                  <a:pos x="82" y="103"/>
                </a:cxn>
                <a:cxn ang="0">
                  <a:pos x="75" y="103"/>
                </a:cxn>
                <a:cxn ang="0">
                  <a:pos x="64" y="103"/>
                </a:cxn>
                <a:cxn ang="0">
                  <a:pos x="60" y="101"/>
                </a:cxn>
                <a:cxn ang="0">
                  <a:pos x="50" y="103"/>
                </a:cxn>
                <a:cxn ang="0">
                  <a:pos x="50" y="99"/>
                </a:cxn>
                <a:cxn ang="0">
                  <a:pos x="49" y="94"/>
                </a:cxn>
                <a:cxn ang="0">
                  <a:pos x="41" y="90"/>
                </a:cxn>
                <a:cxn ang="0">
                  <a:pos x="45" y="82"/>
                </a:cxn>
                <a:cxn ang="0">
                  <a:pos x="35" y="86"/>
                </a:cxn>
                <a:cxn ang="0">
                  <a:pos x="28" y="86"/>
                </a:cxn>
                <a:cxn ang="0">
                  <a:pos x="20" y="79"/>
                </a:cxn>
                <a:cxn ang="0">
                  <a:pos x="22" y="75"/>
                </a:cxn>
                <a:cxn ang="0">
                  <a:pos x="11" y="67"/>
                </a:cxn>
                <a:cxn ang="0">
                  <a:pos x="5" y="58"/>
                </a:cxn>
                <a:cxn ang="0">
                  <a:pos x="0" y="54"/>
                </a:cxn>
                <a:cxn ang="0">
                  <a:pos x="9" y="50"/>
                </a:cxn>
                <a:cxn ang="0">
                  <a:pos x="13" y="47"/>
                </a:cxn>
                <a:cxn ang="0">
                  <a:pos x="17" y="39"/>
                </a:cxn>
                <a:cxn ang="0">
                  <a:pos x="28" y="18"/>
                </a:cxn>
                <a:cxn ang="0">
                  <a:pos x="35" y="11"/>
                </a:cxn>
                <a:cxn ang="0">
                  <a:pos x="39" y="5"/>
                </a:cxn>
                <a:cxn ang="0">
                  <a:pos x="39" y="5"/>
                </a:cxn>
              </a:cxnLst>
              <a:rect l="0" t="0" r="r" b="b"/>
              <a:pathLst>
                <a:path w="163" h="107">
                  <a:moveTo>
                    <a:pt x="39" y="5"/>
                  </a:moveTo>
                  <a:lnTo>
                    <a:pt x="41" y="5"/>
                  </a:lnTo>
                  <a:lnTo>
                    <a:pt x="43" y="3"/>
                  </a:lnTo>
                  <a:lnTo>
                    <a:pt x="47" y="3"/>
                  </a:lnTo>
                  <a:lnTo>
                    <a:pt x="54" y="5"/>
                  </a:lnTo>
                  <a:lnTo>
                    <a:pt x="60" y="9"/>
                  </a:lnTo>
                  <a:lnTo>
                    <a:pt x="64" y="9"/>
                  </a:lnTo>
                  <a:lnTo>
                    <a:pt x="64" y="13"/>
                  </a:lnTo>
                  <a:lnTo>
                    <a:pt x="69" y="15"/>
                  </a:lnTo>
                  <a:lnTo>
                    <a:pt x="75" y="13"/>
                  </a:lnTo>
                  <a:lnTo>
                    <a:pt x="79" y="11"/>
                  </a:lnTo>
                  <a:lnTo>
                    <a:pt x="82" y="9"/>
                  </a:lnTo>
                  <a:lnTo>
                    <a:pt x="94" y="5"/>
                  </a:lnTo>
                  <a:lnTo>
                    <a:pt x="99" y="5"/>
                  </a:lnTo>
                  <a:lnTo>
                    <a:pt x="111" y="0"/>
                  </a:lnTo>
                  <a:lnTo>
                    <a:pt x="113" y="9"/>
                  </a:lnTo>
                  <a:lnTo>
                    <a:pt x="120" y="17"/>
                  </a:lnTo>
                  <a:lnTo>
                    <a:pt x="122" y="20"/>
                  </a:lnTo>
                  <a:lnTo>
                    <a:pt x="129" y="28"/>
                  </a:lnTo>
                  <a:lnTo>
                    <a:pt x="133" y="34"/>
                  </a:lnTo>
                  <a:lnTo>
                    <a:pt x="135" y="37"/>
                  </a:lnTo>
                  <a:lnTo>
                    <a:pt x="133" y="54"/>
                  </a:lnTo>
                  <a:lnTo>
                    <a:pt x="137" y="62"/>
                  </a:lnTo>
                  <a:lnTo>
                    <a:pt x="141" y="66"/>
                  </a:lnTo>
                  <a:lnTo>
                    <a:pt x="146" y="67"/>
                  </a:lnTo>
                  <a:lnTo>
                    <a:pt x="152" y="67"/>
                  </a:lnTo>
                  <a:lnTo>
                    <a:pt x="154" y="66"/>
                  </a:lnTo>
                  <a:lnTo>
                    <a:pt x="160" y="64"/>
                  </a:lnTo>
                  <a:lnTo>
                    <a:pt x="163" y="67"/>
                  </a:lnTo>
                  <a:lnTo>
                    <a:pt x="163" y="69"/>
                  </a:lnTo>
                  <a:lnTo>
                    <a:pt x="163" y="71"/>
                  </a:lnTo>
                  <a:lnTo>
                    <a:pt x="163" y="73"/>
                  </a:lnTo>
                  <a:lnTo>
                    <a:pt x="163" y="79"/>
                  </a:lnTo>
                  <a:lnTo>
                    <a:pt x="158" y="79"/>
                  </a:lnTo>
                  <a:lnTo>
                    <a:pt x="152" y="79"/>
                  </a:lnTo>
                  <a:lnTo>
                    <a:pt x="150" y="82"/>
                  </a:lnTo>
                  <a:lnTo>
                    <a:pt x="148" y="86"/>
                  </a:lnTo>
                  <a:lnTo>
                    <a:pt x="150" y="88"/>
                  </a:lnTo>
                  <a:lnTo>
                    <a:pt x="150" y="94"/>
                  </a:lnTo>
                  <a:lnTo>
                    <a:pt x="146" y="98"/>
                  </a:lnTo>
                  <a:lnTo>
                    <a:pt x="148" y="101"/>
                  </a:lnTo>
                  <a:lnTo>
                    <a:pt x="145" y="101"/>
                  </a:lnTo>
                  <a:lnTo>
                    <a:pt x="143" y="99"/>
                  </a:lnTo>
                  <a:lnTo>
                    <a:pt x="139" y="98"/>
                  </a:lnTo>
                  <a:lnTo>
                    <a:pt x="135" y="99"/>
                  </a:lnTo>
                  <a:lnTo>
                    <a:pt x="133" y="96"/>
                  </a:lnTo>
                  <a:lnTo>
                    <a:pt x="128" y="94"/>
                  </a:lnTo>
                  <a:lnTo>
                    <a:pt x="122" y="94"/>
                  </a:lnTo>
                  <a:lnTo>
                    <a:pt x="116" y="94"/>
                  </a:lnTo>
                  <a:lnTo>
                    <a:pt x="105" y="99"/>
                  </a:lnTo>
                  <a:lnTo>
                    <a:pt x="103" y="103"/>
                  </a:lnTo>
                  <a:lnTo>
                    <a:pt x="99" y="103"/>
                  </a:lnTo>
                  <a:lnTo>
                    <a:pt x="97" y="103"/>
                  </a:lnTo>
                  <a:lnTo>
                    <a:pt x="90" y="103"/>
                  </a:lnTo>
                  <a:lnTo>
                    <a:pt x="86" y="103"/>
                  </a:lnTo>
                  <a:lnTo>
                    <a:pt x="82" y="103"/>
                  </a:lnTo>
                  <a:lnTo>
                    <a:pt x="79" y="103"/>
                  </a:lnTo>
                  <a:lnTo>
                    <a:pt x="75" y="103"/>
                  </a:lnTo>
                  <a:lnTo>
                    <a:pt x="69" y="107"/>
                  </a:lnTo>
                  <a:lnTo>
                    <a:pt x="64" y="103"/>
                  </a:lnTo>
                  <a:lnTo>
                    <a:pt x="64" y="103"/>
                  </a:lnTo>
                  <a:lnTo>
                    <a:pt x="60" y="101"/>
                  </a:lnTo>
                  <a:lnTo>
                    <a:pt x="56" y="101"/>
                  </a:lnTo>
                  <a:lnTo>
                    <a:pt x="50" y="103"/>
                  </a:lnTo>
                  <a:lnTo>
                    <a:pt x="49" y="101"/>
                  </a:lnTo>
                  <a:lnTo>
                    <a:pt x="50" y="99"/>
                  </a:lnTo>
                  <a:lnTo>
                    <a:pt x="50" y="96"/>
                  </a:lnTo>
                  <a:lnTo>
                    <a:pt x="49" y="94"/>
                  </a:lnTo>
                  <a:lnTo>
                    <a:pt x="43" y="94"/>
                  </a:lnTo>
                  <a:lnTo>
                    <a:pt x="41" y="90"/>
                  </a:lnTo>
                  <a:lnTo>
                    <a:pt x="41" y="86"/>
                  </a:lnTo>
                  <a:lnTo>
                    <a:pt x="45" y="82"/>
                  </a:lnTo>
                  <a:lnTo>
                    <a:pt x="39" y="82"/>
                  </a:lnTo>
                  <a:lnTo>
                    <a:pt x="35" y="86"/>
                  </a:lnTo>
                  <a:lnTo>
                    <a:pt x="33" y="82"/>
                  </a:lnTo>
                  <a:lnTo>
                    <a:pt x="28" y="86"/>
                  </a:lnTo>
                  <a:lnTo>
                    <a:pt x="26" y="82"/>
                  </a:lnTo>
                  <a:lnTo>
                    <a:pt x="20" y="79"/>
                  </a:lnTo>
                  <a:lnTo>
                    <a:pt x="20" y="79"/>
                  </a:lnTo>
                  <a:lnTo>
                    <a:pt x="22" y="75"/>
                  </a:lnTo>
                  <a:lnTo>
                    <a:pt x="17" y="69"/>
                  </a:lnTo>
                  <a:lnTo>
                    <a:pt x="11" y="67"/>
                  </a:lnTo>
                  <a:lnTo>
                    <a:pt x="11" y="64"/>
                  </a:lnTo>
                  <a:lnTo>
                    <a:pt x="5" y="58"/>
                  </a:lnTo>
                  <a:lnTo>
                    <a:pt x="5" y="54"/>
                  </a:lnTo>
                  <a:lnTo>
                    <a:pt x="0" y="54"/>
                  </a:lnTo>
                  <a:lnTo>
                    <a:pt x="5" y="50"/>
                  </a:lnTo>
                  <a:lnTo>
                    <a:pt x="9" y="50"/>
                  </a:lnTo>
                  <a:lnTo>
                    <a:pt x="9" y="47"/>
                  </a:lnTo>
                  <a:lnTo>
                    <a:pt x="13" y="47"/>
                  </a:lnTo>
                  <a:lnTo>
                    <a:pt x="17" y="43"/>
                  </a:lnTo>
                  <a:lnTo>
                    <a:pt x="17" y="39"/>
                  </a:lnTo>
                  <a:lnTo>
                    <a:pt x="24" y="30"/>
                  </a:lnTo>
                  <a:lnTo>
                    <a:pt x="28" y="18"/>
                  </a:lnTo>
                  <a:lnTo>
                    <a:pt x="30" y="11"/>
                  </a:lnTo>
                  <a:lnTo>
                    <a:pt x="35" y="11"/>
                  </a:lnTo>
                  <a:lnTo>
                    <a:pt x="39" y="5"/>
                  </a:lnTo>
                  <a:lnTo>
                    <a:pt x="39" y="5"/>
                  </a:lnTo>
                  <a:lnTo>
                    <a:pt x="39" y="5"/>
                  </a:lnTo>
                  <a:lnTo>
                    <a:pt x="39" y="5"/>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1" name="Freeform 13">
              <a:extLst>
                <a:ext uri="{FF2B5EF4-FFF2-40B4-BE49-F238E27FC236}">
                  <a16:creationId xmlns:a16="http://schemas.microsoft.com/office/drawing/2014/main" id="{86043879-F307-4A68-BAF6-6A591470A964}"/>
                </a:ext>
              </a:extLst>
            </p:cNvPr>
            <p:cNvSpPr>
              <a:spLocks/>
            </p:cNvSpPr>
            <p:nvPr/>
          </p:nvSpPr>
          <p:spPr bwMode="auto">
            <a:xfrm>
              <a:off x="3054" y="2120"/>
              <a:ext cx="105" cy="68"/>
            </a:xfrm>
            <a:custGeom>
              <a:avLst/>
              <a:gdLst/>
              <a:ahLst/>
              <a:cxnLst>
                <a:cxn ang="0">
                  <a:pos x="68" y="58"/>
                </a:cxn>
                <a:cxn ang="0">
                  <a:pos x="71" y="54"/>
                </a:cxn>
                <a:cxn ang="0">
                  <a:pos x="75" y="54"/>
                </a:cxn>
                <a:cxn ang="0">
                  <a:pos x="77" y="51"/>
                </a:cxn>
                <a:cxn ang="0">
                  <a:pos x="81" y="51"/>
                </a:cxn>
                <a:cxn ang="0">
                  <a:pos x="83" y="47"/>
                </a:cxn>
                <a:cxn ang="0">
                  <a:pos x="83" y="43"/>
                </a:cxn>
                <a:cxn ang="0">
                  <a:pos x="92" y="34"/>
                </a:cxn>
                <a:cxn ang="0">
                  <a:pos x="96" y="22"/>
                </a:cxn>
                <a:cxn ang="0">
                  <a:pos x="98" y="15"/>
                </a:cxn>
                <a:cxn ang="0">
                  <a:pos x="103" y="15"/>
                </a:cxn>
                <a:cxn ang="0">
                  <a:pos x="105" y="9"/>
                </a:cxn>
                <a:cxn ang="0">
                  <a:pos x="103" y="7"/>
                </a:cxn>
                <a:cxn ang="0">
                  <a:pos x="98" y="4"/>
                </a:cxn>
                <a:cxn ang="0">
                  <a:pos x="96" y="0"/>
                </a:cxn>
                <a:cxn ang="0">
                  <a:pos x="88" y="2"/>
                </a:cxn>
                <a:cxn ang="0">
                  <a:pos x="83" y="0"/>
                </a:cxn>
                <a:cxn ang="0">
                  <a:pos x="77" y="2"/>
                </a:cxn>
                <a:cxn ang="0">
                  <a:pos x="71" y="0"/>
                </a:cxn>
                <a:cxn ang="0">
                  <a:pos x="68" y="0"/>
                </a:cxn>
                <a:cxn ang="0">
                  <a:pos x="64" y="4"/>
                </a:cxn>
                <a:cxn ang="0">
                  <a:pos x="58" y="7"/>
                </a:cxn>
                <a:cxn ang="0">
                  <a:pos x="58" y="13"/>
                </a:cxn>
                <a:cxn ang="0">
                  <a:pos x="54" y="7"/>
                </a:cxn>
                <a:cxn ang="0">
                  <a:pos x="49" y="9"/>
                </a:cxn>
                <a:cxn ang="0">
                  <a:pos x="43" y="13"/>
                </a:cxn>
                <a:cxn ang="0">
                  <a:pos x="43" y="15"/>
                </a:cxn>
                <a:cxn ang="0">
                  <a:pos x="34" y="17"/>
                </a:cxn>
                <a:cxn ang="0">
                  <a:pos x="26" y="19"/>
                </a:cxn>
                <a:cxn ang="0">
                  <a:pos x="21" y="17"/>
                </a:cxn>
                <a:cxn ang="0">
                  <a:pos x="9" y="9"/>
                </a:cxn>
                <a:cxn ang="0">
                  <a:pos x="9" y="13"/>
                </a:cxn>
                <a:cxn ang="0">
                  <a:pos x="9" y="17"/>
                </a:cxn>
                <a:cxn ang="0">
                  <a:pos x="9" y="21"/>
                </a:cxn>
                <a:cxn ang="0">
                  <a:pos x="0" y="21"/>
                </a:cxn>
                <a:cxn ang="0">
                  <a:pos x="0" y="22"/>
                </a:cxn>
                <a:cxn ang="0">
                  <a:pos x="4" y="26"/>
                </a:cxn>
                <a:cxn ang="0">
                  <a:pos x="2" y="30"/>
                </a:cxn>
                <a:cxn ang="0">
                  <a:pos x="2" y="34"/>
                </a:cxn>
                <a:cxn ang="0">
                  <a:pos x="4" y="38"/>
                </a:cxn>
                <a:cxn ang="0">
                  <a:pos x="0" y="41"/>
                </a:cxn>
                <a:cxn ang="0">
                  <a:pos x="0" y="41"/>
                </a:cxn>
                <a:cxn ang="0">
                  <a:pos x="4" y="47"/>
                </a:cxn>
                <a:cxn ang="0">
                  <a:pos x="5" y="53"/>
                </a:cxn>
                <a:cxn ang="0">
                  <a:pos x="7" y="53"/>
                </a:cxn>
                <a:cxn ang="0">
                  <a:pos x="15" y="58"/>
                </a:cxn>
                <a:cxn ang="0">
                  <a:pos x="19" y="62"/>
                </a:cxn>
                <a:cxn ang="0">
                  <a:pos x="22" y="66"/>
                </a:cxn>
                <a:cxn ang="0">
                  <a:pos x="32" y="66"/>
                </a:cxn>
                <a:cxn ang="0">
                  <a:pos x="39" y="68"/>
                </a:cxn>
                <a:cxn ang="0">
                  <a:pos x="43" y="66"/>
                </a:cxn>
                <a:cxn ang="0">
                  <a:pos x="43" y="66"/>
                </a:cxn>
                <a:cxn ang="0">
                  <a:pos x="45" y="62"/>
                </a:cxn>
                <a:cxn ang="0">
                  <a:pos x="51" y="62"/>
                </a:cxn>
                <a:cxn ang="0">
                  <a:pos x="53" y="62"/>
                </a:cxn>
                <a:cxn ang="0">
                  <a:pos x="54" y="58"/>
                </a:cxn>
                <a:cxn ang="0">
                  <a:pos x="58" y="56"/>
                </a:cxn>
                <a:cxn ang="0">
                  <a:pos x="62" y="56"/>
                </a:cxn>
                <a:cxn ang="0">
                  <a:pos x="64" y="58"/>
                </a:cxn>
                <a:cxn ang="0">
                  <a:pos x="68" y="58"/>
                </a:cxn>
                <a:cxn ang="0">
                  <a:pos x="68" y="58"/>
                </a:cxn>
                <a:cxn ang="0">
                  <a:pos x="68" y="58"/>
                </a:cxn>
              </a:cxnLst>
              <a:rect l="0" t="0" r="r" b="b"/>
              <a:pathLst>
                <a:path w="105" h="68">
                  <a:moveTo>
                    <a:pt x="68" y="58"/>
                  </a:moveTo>
                  <a:lnTo>
                    <a:pt x="71" y="54"/>
                  </a:lnTo>
                  <a:lnTo>
                    <a:pt x="75" y="54"/>
                  </a:lnTo>
                  <a:lnTo>
                    <a:pt x="77" y="51"/>
                  </a:lnTo>
                  <a:lnTo>
                    <a:pt x="81" y="51"/>
                  </a:lnTo>
                  <a:lnTo>
                    <a:pt x="83" y="47"/>
                  </a:lnTo>
                  <a:lnTo>
                    <a:pt x="83" y="43"/>
                  </a:lnTo>
                  <a:lnTo>
                    <a:pt x="92" y="34"/>
                  </a:lnTo>
                  <a:lnTo>
                    <a:pt x="96" y="22"/>
                  </a:lnTo>
                  <a:lnTo>
                    <a:pt x="98" y="15"/>
                  </a:lnTo>
                  <a:lnTo>
                    <a:pt x="103" y="15"/>
                  </a:lnTo>
                  <a:lnTo>
                    <a:pt x="105" y="9"/>
                  </a:lnTo>
                  <a:lnTo>
                    <a:pt x="103" y="7"/>
                  </a:lnTo>
                  <a:lnTo>
                    <a:pt x="98" y="4"/>
                  </a:lnTo>
                  <a:lnTo>
                    <a:pt x="96" y="0"/>
                  </a:lnTo>
                  <a:lnTo>
                    <a:pt x="88" y="2"/>
                  </a:lnTo>
                  <a:lnTo>
                    <a:pt x="83" y="0"/>
                  </a:lnTo>
                  <a:lnTo>
                    <a:pt x="77" y="2"/>
                  </a:lnTo>
                  <a:lnTo>
                    <a:pt x="71" y="0"/>
                  </a:lnTo>
                  <a:lnTo>
                    <a:pt x="68" y="0"/>
                  </a:lnTo>
                  <a:lnTo>
                    <a:pt x="64" y="4"/>
                  </a:lnTo>
                  <a:lnTo>
                    <a:pt x="58" y="7"/>
                  </a:lnTo>
                  <a:lnTo>
                    <a:pt x="58" y="13"/>
                  </a:lnTo>
                  <a:lnTo>
                    <a:pt x="54" y="7"/>
                  </a:lnTo>
                  <a:lnTo>
                    <a:pt x="49" y="9"/>
                  </a:lnTo>
                  <a:lnTo>
                    <a:pt x="43" y="13"/>
                  </a:lnTo>
                  <a:lnTo>
                    <a:pt x="43" y="15"/>
                  </a:lnTo>
                  <a:lnTo>
                    <a:pt x="34" y="17"/>
                  </a:lnTo>
                  <a:lnTo>
                    <a:pt x="26" y="19"/>
                  </a:lnTo>
                  <a:lnTo>
                    <a:pt x="21" y="17"/>
                  </a:lnTo>
                  <a:lnTo>
                    <a:pt x="9" y="9"/>
                  </a:lnTo>
                  <a:lnTo>
                    <a:pt x="9" y="13"/>
                  </a:lnTo>
                  <a:lnTo>
                    <a:pt x="9" y="17"/>
                  </a:lnTo>
                  <a:lnTo>
                    <a:pt x="9" y="21"/>
                  </a:lnTo>
                  <a:lnTo>
                    <a:pt x="0" y="21"/>
                  </a:lnTo>
                  <a:lnTo>
                    <a:pt x="0" y="22"/>
                  </a:lnTo>
                  <a:lnTo>
                    <a:pt x="4" y="26"/>
                  </a:lnTo>
                  <a:lnTo>
                    <a:pt x="2" y="30"/>
                  </a:lnTo>
                  <a:lnTo>
                    <a:pt x="2" y="34"/>
                  </a:lnTo>
                  <a:lnTo>
                    <a:pt x="4" y="38"/>
                  </a:lnTo>
                  <a:lnTo>
                    <a:pt x="0" y="41"/>
                  </a:lnTo>
                  <a:lnTo>
                    <a:pt x="0" y="41"/>
                  </a:lnTo>
                  <a:lnTo>
                    <a:pt x="4" y="47"/>
                  </a:lnTo>
                  <a:lnTo>
                    <a:pt x="5" y="53"/>
                  </a:lnTo>
                  <a:lnTo>
                    <a:pt x="7" y="53"/>
                  </a:lnTo>
                  <a:lnTo>
                    <a:pt x="15" y="58"/>
                  </a:lnTo>
                  <a:lnTo>
                    <a:pt x="19" y="62"/>
                  </a:lnTo>
                  <a:lnTo>
                    <a:pt x="22" y="66"/>
                  </a:lnTo>
                  <a:lnTo>
                    <a:pt x="32" y="66"/>
                  </a:lnTo>
                  <a:lnTo>
                    <a:pt x="39" y="68"/>
                  </a:lnTo>
                  <a:lnTo>
                    <a:pt x="43" y="66"/>
                  </a:lnTo>
                  <a:lnTo>
                    <a:pt x="43" y="66"/>
                  </a:lnTo>
                  <a:lnTo>
                    <a:pt x="45" y="62"/>
                  </a:lnTo>
                  <a:lnTo>
                    <a:pt x="51" y="62"/>
                  </a:lnTo>
                  <a:lnTo>
                    <a:pt x="53" y="62"/>
                  </a:lnTo>
                  <a:lnTo>
                    <a:pt x="54" y="58"/>
                  </a:lnTo>
                  <a:lnTo>
                    <a:pt x="58" y="56"/>
                  </a:lnTo>
                  <a:lnTo>
                    <a:pt x="62" y="56"/>
                  </a:lnTo>
                  <a:lnTo>
                    <a:pt x="64" y="58"/>
                  </a:lnTo>
                  <a:lnTo>
                    <a:pt x="68" y="58"/>
                  </a:lnTo>
                  <a:lnTo>
                    <a:pt x="68" y="58"/>
                  </a:lnTo>
                  <a:lnTo>
                    <a:pt x="68" y="5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2" name="Freeform 14">
              <a:extLst>
                <a:ext uri="{FF2B5EF4-FFF2-40B4-BE49-F238E27FC236}">
                  <a16:creationId xmlns:a16="http://schemas.microsoft.com/office/drawing/2014/main" id="{CFA84632-C26C-49FA-9143-D84DD114334F}"/>
                </a:ext>
              </a:extLst>
            </p:cNvPr>
            <p:cNvSpPr>
              <a:spLocks/>
            </p:cNvSpPr>
            <p:nvPr/>
          </p:nvSpPr>
          <p:spPr bwMode="auto">
            <a:xfrm>
              <a:off x="3065" y="2097"/>
              <a:ext cx="89" cy="38"/>
            </a:xfrm>
            <a:custGeom>
              <a:avLst/>
              <a:gdLst/>
              <a:ahLst/>
              <a:cxnLst>
                <a:cxn ang="0">
                  <a:pos x="0" y="30"/>
                </a:cxn>
                <a:cxn ang="0">
                  <a:pos x="11" y="36"/>
                </a:cxn>
                <a:cxn ang="0">
                  <a:pos x="19" y="38"/>
                </a:cxn>
                <a:cxn ang="0">
                  <a:pos x="25" y="36"/>
                </a:cxn>
                <a:cxn ang="0">
                  <a:pos x="32" y="34"/>
                </a:cxn>
                <a:cxn ang="0">
                  <a:pos x="34" y="32"/>
                </a:cxn>
                <a:cxn ang="0">
                  <a:pos x="40" y="30"/>
                </a:cxn>
                <a:cxn ang="0">
                  <a:pos x="43" y="27"/>
                </a:cxn>
                <a:cxn ang="0">
                  <a:pos x="49" y="32"/>
                </a:cxn>
                <a:cxn ang="0">
                  <a:pos x="49" y="28"/>
                </a:cxn>
                <a:cxn ang="0">
                  <a:pos x="53" y="25"/>
                </a:cxn>
                <a:cxn ang="0">
                  <a:pos x="57" y="21"/>
                </a:cxn>
                <a:cxn ang="0">
                  <a:pos x="62" y="21"/>
                </a:cxn>
                <a:cxn ang="0">
                  <a:pos x="66" y="23"/>
                </a:cxn>
                <a:cxn ang="0">
                  <a:pos x="74" y="21"/>
                </a:cxn>
                <a:cxn ang="0">
                  <a:pos x="77" y="23"/>
                </a:cxn>
                <a:cxn ang="0">
                  <a:pos x="85" y="19"/>
                </a:cxn>
                <a:cxn ang="0">
                  <a:pos x="85" y="13"/>
                </a:cxn>
                <a:cxn ang="0">
                  <a:pos x="89" y="6"/>
                </a:cxn>
                <a:cxn ang="0">
                  <a:pos x="87" y="6"/>
                </a:cxn>
                <a:cxn ang="0">
                  <a:pos x="81" y="2"/>
                </a:cxn>
                <a:cxn ang="0">
                  <a:pos x="74" y="2"/>
                </a:cxn>
                <a:cxn ang="0">
                  <a:pos x="72" y="2"/>
                </a:cxn>
                <a:cxn ang="0">
                  <a:pos x="68" y="0"/>
                </a:cxn>
                <a:cxn ang="0">
                  <a:pos x="66" y="2"/>
                </a:cxn>
                <a:cxn ang="0">
                  <a:pos x="62" y="4"/>
                </a:cxn>
                <a:cxn ang="0">
                  <a:pos x="62" y="2"/>
                </a:cxn>
                <a:cxn ang="0">
                  <a:pos x="57" y="2"/>
                </a:cxn>
                <a:cxn ang="0">
                  <a:pos x="55" y="2"/>
                </a:cxn>
                <a:cxn ang="0">
                  <a:pos x="51" y="2"/>
                </a:cxn>
                <a:cxn ang="0">
                  <a:pos x="49" y="6"/>
                </a:cxn>
                <a:cxn ang="0">
                  <a:pos x="47" y="6"/>
                </a:cxn>
                <a:cxn ang="0">
                  <a:pos x="43" y="6"/>
                </a:cxn>
                <a:cxn ang="0">
                  <a:pos x="43" y="6"/>
                </a:cxn>
                <a:cxn ang="0">
                  <a:pos x="36" y="6"/>
                </a:cxn>
                <a:cxn ang="0">
                  <a:pos x="32" y="10"/>
                </a:cxn>
                <a:cxn ang="0">
                  <a:pos x="28" y="10"/>
                </a:cxn>
                <a:cxn ang="0">
                  <a:pos x="25" y="13"/>
                </a:cxn>
                <a:cxn ang="0">
                  <a:pos x="19" y="13"/>
                </a:cxn>
                <a:cxn ang="0">
                  <a:pos x="11" y="17"/>
                </a:cxn>
                <a:cxn ang="0">
                  <a:pos x="10" y="15"/>
                </a:cxn>
                <a:cxn ang="0">
                  <a:pos x="4" y="15"/>
                </a:cxn>
                <a:cxn ang="0">
                  <a:pos x="0" y="19"/>
                </a:cxn>
                <a:cxn ang="0">
                  <a:pos x="0" y="19"/>
                </a:cxn>
                <a:cxn ang="0">
                  <a:pos x="0" y="23"/>
                </a:cxn>
                <a:cxn ang="0">
                  <a:pos x="0" y="30"/>
                </a:cxn>
                <a:cxn ang="0">
                  <a:pos x="0" y="30"/>
                </a:cxn>
                <a:cxn ang="0">
                  <a:pos x="0" y="30"/>
                </a:cxn>
              </a:cxnLst>
              <a:rect l="0" t="0" r="r" b="b"/>
              <a:pathLst>
                <a:path w="89" h="38">
                  <a:moveTo>
                    <a:pt x="0" y="30"/>
                  </a:moveTo>
                  <a:lnTo>
                    <a:pt x="11" y="36"/>
                  </a:lnTo>
                  <a:lnTo>
                    <a:pt x="19" y="38"/>
                  </a:lnTo>
                  <a:lnTo>
                    <a:pt x="25" y="36"/>
                  </a:lnTo>
                  <a:lnTo>
                    <a:pt x="32" y="34"/>
                  </a:lnTo>
                  <a:lnTo>
                    <a:pt x="34" y="32"/>
                  </a:lnTo>
                  <a:lnTo>
                    <a:pt x="40" y="30"/>
                  </a:lnTo>
                  <a:lnTo>
                    <a:pt x="43" y="27"/>
                  </a:lnTo>
                  <a:lnTo>
                    <a:pt x="49" y="32"/>
                  </a:lnTo>
                  <a:lnTo>
                    <a:pt x="49" y="28"/>
                  </a:lnTo>
                  <a:lnTo>
                    <a:pt x="53" y="25"/>
                  </a:lnTo>
                  <a:lnTo>
                    <a:pt x="57" y="21"/>
                  </a:lnTo>
                  <a:lnTo>
                    <a:pt x="62" y="21"/>
                  </a:lnTo>
                  <a:lnTo>
                    <a:pt x="66" y="23"/>
                  </a:lnTo>
                  <a:lnTo>
                    <a:pt x="74" y="21"/>
                  </a:lnTo>
                  <a:lnTo>
                    <a:pt x="77" y="23"/>
                  </a:lnTo>
                  <a:lnTo>
                    <a:pt x="85" y="19"/>
                  </a:lnTo>
                  <a:lnTo>
                    <a:pt x="85" y="13"/>
                  </a:lnTo>
                  <a:lnTo>
                    <a:pt x="89" y="6"/>
                  </a:lnTo>
                  <a:lnTo>
                    <a:pt x="87" y="6"/>
                  </a:lnTo>
                  <a:lnTo>
                    <a:pt x="81" y="2"/>
                  </a:lnTo>
                  <a:lnTo>
                    <a:pt x="74" y="2"/>
                  </a:lnTo>
                  <a:lnTo>
                    <a:pt x="72" y="2"/>
                  </a:lnTo>
                  <a:lnTo>
                    <a:pt x="68" y="0"/>
                  </a:lnTo>
                  <a:lnTo>
                    <a:pt x="66" y="2"/>
                  </a:lnTo>
                  <a:lnTo>
                    <a:pt x="62" y="4"/>
                  </a:lnTo>
                  <a:lnTo>
                    <a:pt x="62" y="2"/>
                  </a:lnTo>
                  <a:lnTo>
                    <a:pt x="57" y="2"/>
                  </a:lnTo>
                  <a:lnTo>
                    <a:pt x="55" y="2"/>
                  </a:lnTo>
                  <a:lnTo>
                    <a:pt x="51" y="2"/>
                  </a:lnTo>
                  <a:lnTo>
                    <a:pt x="49" y="6"/>
                  </a:lnTo>
                  <a:lnTo>
                    <a:pt x="47" y="6"/>
                  </a:lnTo>
                  <a:lnTo>
                    <a:pt x="43" y="6"/>
                  </a:lnTo>
                  <a:lnTo>
                    <a:pt x="43" y="6"/>
                  </a:lnTo>
                  <a:lnTo>
                    <a:pt x="36" y="6"/>
                  </a:lnTo>
                  <a:lnTo>
                    <a:pt x="32" y="10"/>
                  </a:lnTo>
                  <a:lnTo>
                    <a:pt x="28" y="10"/>
                  </a:lnTo>
                  <a:lnTo>
                    <a:pt x="25" y="13"/>
                  </a:lnTo>
                  <a:lnTo>
                    <a:pt x="19" y="13"/>
                  </a:lnTo>
                  <a:lnTo>
                    <a:pt x="11" y="17"/>
                  </a:lnTo>
                  <a:lnTo>
                    <a:pt x="10" y="15"/>
                  </a:lnTo>
                  <a:lnTo>
                    <a:pt x="4" y="15"/>
                  </a:lnTo>
                  <a:lnTo>
                    <a:pt x="0" y="19"/>
                  </a:lnTo>
                  <a:lnTo>
                    <a:pt x="0" y="19"/>
                  </a:lnTo>
                  <a:lnTo>
                    <a:pt x="0" y="23"/>
                  </a:lnTo>
                  <a:lnTo>
                    <a:pt x="0" y="30"/>
                  </a:lnTo>
                  <a:lnTo>
                    <a:pt x="0" y="30"/>
                  </a:lnTo>
                  <a:lnTo>
                    <a:pt x="0" y="3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3" name="Freeform 15">
              <a:extLst>
                <a:ext uri="{FF2B5EF4-FFF2-40B4-BE49-F238E27FC236}">
                  <a16:creationId xmlns:a16="http://schemas.microsoft.com/office/drawing/2014/main" id="{1555E5D5-B73D-4568-9202-7B5572D3EF81}"/>
                </a:ext>
              </a:extLst>
            </p:cNvPr>
            <p:cNvSpPr>
              <a:spLocks/>
            </p:cNvSpPr>
            <p:nvPr/>
          </p:nvSpPr>
          <p:spPr bwMode="auto">
            <a:xfrm>
              <a:off x="2937" y="2109"/>
              <a:ext cx="128" cy="64"/>
            </a:xfrm>
            <a:custGeom>
              <a:avLst/>
              <a:gdLst/>
              <a:ahLst/>
              <a:cxnLst>
                <a:cxn ang="0">
                  <a:pos x="79" y="60"/>
                </a:cxn>
                <a:cxn ang="0">
                  <a:pos x="89" y="64"/>
                </a:cxn>
                <a:cxn ang="0">
                  <a:pos x="96" y="60"/>
                </a:cxn>
                <a:cxn ang="0">
                  <a:pos x="104" y="60"/>
                </a:cxn>
                <a:cxn ang="0">
                  <a:pos x="113" y="54"/>
                </a:cxn>
                <a:cxn ang="0">
                  <a:pos x="122" y="49"/>
                </a:cxn>
                <a:cxn ang="0">
                  <a:pos x="121" y="41"/>
                </a:cxn>
                <a:cxn ang="0">
                  <a:pos x="119" y="33"/>
                </a:cxn>
                <a:cxn ang="0">
                  <a:pos x="128" y="33"/>
                </a:cxn>
                <a:cxn ang="0">
                  <a:pos x="128" y="24"/>
                </a:cxn>
                <a:cxn ang="0">
                  <a:pos x="126" y="9"/>
                </a:cxn>
                <a:cxn ang="0">
                  <a:pos x="115" y="3"/>
                </a:cxn>
                <a:cxn ang="0">
                  <a:pos x="107" y="5"/>
                </a:cxn>
                <a:cxn ang="0">
                  <a:pos x="94" y="1"/>
                </a:cxn>
                <a:cxn ang="0">
                  <a:pos x="89" y="3"/>
                </a:cxn>
                <a:cxn ang="0">
                  <a:pos x="89" y="7"/>
                </a:cxn>
                <a:cxn ang="0">
                  <a:pos x="81" y="11"/>
                </a:cxn>
                <a:cxn ang="0">
                  <a:pos x="68" y="5"/>
                </a:cxn>
                <a:cxn ang="0">
                  <a:pos x="68" y="13"/>
                </a:cxn>
                <a:cxn ang="0">
                  <a:pos x="64" y="15"/>
                </a:cxn>
                <a:cxn ang="0">
                  <a:pos x="55" y="24"/>
                </a:cxn>
                <a:cxn ang="0">
                  <a:pos x="60" y="28"/>
                </a:cxn>
                <a:cxn ang="0">
                  <a:pos x="58" y="33"/>
                </a:cxn>
                <a:cxn ang="0">
                  <a:pos x="49" y="33"/>
                </a:cxn>
                <a:cxn ang="0">
                  <a:pos x="42" y="33"/>
                </a:cxn>
                <a:cxn ang="0">
                  <a:pos x="34" y="35"/>
                </a:cxn>
                <a:cxn ang="0">
                  <a:pos x="28" y="35"/>
                </a:cxn>
                <a:cxn ang="0">
                  <a:pos x="21" y="33"/>
                </a:cxn>
                <a:cxn ang="0">
                  <a:pos x="17" y="35"/>
                </a:cxn>
                <a:cxn ang="0">
                  <a:pos x="10" y="37"/>
                </a:cxn>
                <a:cxn ang="0">
                  <a:pos x="4" y="35"/>
                </a:cxn>
                <a:cxn ang="0">
                  <a:pos x="0" y="35"/>
                </a:cxn>
                <a:cxn ang="0">
                  <a:pos x="2" y="41"/>
                </a:cxn>
                <a:cxn ang="0">
                  <a:pos x="6" y="47"/>
                </a:cxn>
                <a:cxn ang="0">
                  <a:pos x="11" y="45"/>
                </a:cxn>
                <a:cxn ang="0">
                  <a:pos x="17" y="47"/>
                </a:cxn>
                <a:cxn ang="0">
                  <a:pos x="21" y="49"/>
                </a:cxn>
                <a:cxn ang="0">
                  <a:pos x="28" y="52"/>
                </a:cxn>
                <a:cxn ang="0">
                  <a:pos x="40" y="47"/>
                </a:cxn>
                <a:cxn ang="0">
                  <a:pos x="47" y="50"/>
                </a:cxn>
                <a:cxn ang="0">
                  <a:pos x="66" y="58"/>
                </a:cxn>
                <a:cxn ang="0">
                  <a:pos x="75" y="60"/>
                </a:cxn>
                <a:cxn ang="0">
                  <a:pos x="75" y="60"/>
                </a:cxn>
              </a:cxnLst>
              <a:rect l="0" t="0" r="r" b="b"/>
              <a:pathLst>
                <a:path w="128" h="64">
                  <a:moveTo>
                    <a:pt x="75" y="60"/>
                  </a:moveTo>
                  <a:lnTo>
                    <a:pt x="79" y="60"/>
                  </a:lnTo>
                  <a:lnTo>
                    <a:pt x="85" y="60"/>
                  </a:lnTo>
                  <a:lnTo>
                    <a:pt x="89" y="64"/>
                  </a:lnTo>
                  <a:lnTo>
                    <a:pt x="92" y="60"/>
                  </a:lnTo>
                  <a:lnTo>
                    <a:pt x="96" y="60"/>
                  </a:lnTo>
                  <a:lnTo>
                    <a:pt x="102" y="60"/>
                  </a:lnTo>
                  <a:lnTo>
                    <a:pt x="104" y="60"/>
                  </a:lnTo>
                  <a:lnTo>
                    <a:pt x="104" y="60"/>
                  </a:lnTo>
                  <a:lnTo>
                    <a:pt x="113" y="54"/>
                  </a:lnTo>
                  <a:lnTo>
                    <a:pt x="119" y="52"/>
                  </a:lnTo>
                  <a:lnTo>
                    <a:pt x="122" y="49"/>
                  </a:lnTo>
                  <a:lnTo>
                    <a:pt x="121" y="45"/>
                  </a:lnTo>
                  <a:lnTo>
                    <a:pt x="121" y="41"/>
                  </a:lnTo>
                  <a:lnTo>
                    <a:pt x="122" y="37"/>
                  </a:lnTo>
                  <a:lnTo>
                    <a:pt x="119" y="33"/>
                  </a:lnTo>
                  <a:lnTo>
                    <a:pt x="119" y="33"/>
                  </a:lnTo>
                  <a:lnTo>
                    <a:pt x="128" y="33"/>
                  </a:lnTo>
                  <a:lnTo>
                    <a:pt x="128" y="28"/>
                  </a:lnTo>
                  <a:lnTo>
                    <a:pt x="128" y="24"/>
                  </a:lnTo>
                  <a:lnTo>
                    <a:pt x="126" y="15"/>
                  </a:lnTo>
                  <a:lnTo>
                    <a:pt x="126" y="9"/>
                  </a:lnTo>
                  <a:lnTo>
                    <a:pt x="119" y="7"/>
                  </a:lnTo>
                  <a:lnTo>
                    <a:pt x="115" y="3"/>
                  </a:lnTo>
                  <a:lnTo>
                    <a:pt x="111" y="5"/>
                  </a:lnTo>
                  <a:lnTo>
                    <a:pt x="107" y="5"/>
                  </a:lnTo>
                  <a:lnTo>
                    <a:pt x="102" y="1"/>
                  </a:lnTo>
                  <a:lnTo>
                    <a:pt x="94" y="1"/>
                  </a:lnTo>
                  <a:lnTo>
                    <a:pt x="90" y="0"/>
                  </a:lnTo>
                  <a:lnTo>
                    <a:pt x="89" y="3"/>
                  </a:lnTo>
                  <a:lnTo>
                    <a:pt x="89" y="5"/>
                  </a:lnTo>
                  <a:lnTo>
                    <a:pt x="89" y="7"/>
                  </a:lnTo>
                  <a:lnTo>
                    <a:pt x="83" y="9"/>
                  </a:lnTo>
                  <a:lnTo>
                    <a:pt x="81" y="11"/>
                  </a:lnTo>
                  <a:lnTo>
                    <a:pt x="72" y="5"/>
                  </a:lnTo>
                  <a:lnTo>
                    <a:pt x="68" y="5"/>
                  </a:lnTo>
                  <a:lnTo>
                    <a:pt x="68" y="7"/>
                  </a:lnTo>
                  <a:lnTo>
                    <a:pt x="68" y="13"/>
                  </a:lnTo>
                  <a:lnTo>
                    <a:pt x="66" y="13"/>
                  </a:lnTo>
                  <a:lnTo>
                    <a:pt x="64" y="15"/>
                  </a:lnTo>
                  <a:lnTo>
                    <a:pt x="60" y="18"/>
                  </a:lnTo>
                  <a:lnTo>
                    <a:pt x="55" y="24"/>
                  </a:lnTo>
                  <a:lnTo>
                    <a:pt x="55" y="26"/>
                  </a:lnTo>
                  <a:lnTo>
                    <a:pt x="60" y="28"/>
                  </a:lnTo>
                  <a:lnTo>
                    <a:pt x="60" y="33"/>
                  </a:lnTo>
                  <a:lnTo>
                    <a:pt x="58" y="33"/>
                  </a:lnTo>
                  <a:lnTo>
                    <a:pt x="55" y="30"/>
                  </a:lnTo>
                  <a:lnTo>
                    <a:pt x="49" y="33"/>
                  </a:lnTo>
                  <a:lnTo>
                    <a:pt x="45" y="30"/>
                  </a:lnTo>
                  <a:lnTo>
                    <a:pt x="42" y="33"/>
                  </a:lnTo>
                  <a:lnTo>
                    <a:pt x="36" y="35"/>
                  </a:lnTo>
                  <a:lnTo>
                    <a:pt x="34" y="35"/>
                  </a:lnTo>
                  <a:lnTo>
                    <a:pt x="30" y="35"/>
                  </a:lnTo>
                  <a:lnTo>
                    <a:pt x="28" y="35"/>
                  </a:lnTo>
                  <a:lnTo>
                    <a:pt x="25" y="33"/>
                  </a:lnTo>
                  <a:lnTo>
                    <a:pt x="21" y="33"/>
                  </a:lnTo>
                  <a:lnTo>
                    <a:pt x="15" y="33"/>
                  </a:lnTo>
                  <a:lnTo>
                    <a:pt x="17" y="35"/>
                  </a:lnTo>
                  <a:lnTo>
                    <a:pt x="15" y="37"/>
                  </a:lnTo>
                  <a:lnTo>
                    <a:pt x="10" y="37"/>
                  </a:lnTo>
                  <a:lnTo>
                    <a:pt x="8" y="33"/>
                  </a:lnTo>
                  <a:lnTo>
                    <a:pt x="4" y="35"/>
                  </a:lnTo>
                  <a:lnTo>
                    <a:pt x="2" y="35"/>
                  </a:lnTo>
                  <a:lnTo>
                    <a:pt x="0" y="35"/>
                  </a:lnTo>
                  <a:lnTo>
                    <a:pt x="4" y="37"/>
                  </a:lnTo>
                  <a:lnTo>
                    <a:pt x="2" y="41"/>
                  </a:lnTo>
                  <a:lnTo>
                    <a:pt x="6" y="43"/>
                  </a:lnTo>
                  <a:lnTo>
                    <a:pt x="6" y="47"/>
                  </a:lnTo>
                  <a:lnTo>
                    <a:pt x="8" y="47"/>
                  </a:lnTo>
                  <a:lnTo>
                    <a:pt x="11" y="45"/>
                  </a:lnTo>
                  <a:lnTo>
                    <a:pt x="15" y="49"/>
                  </a:lnTo>
                  <a:lnTo>
                    <a:pt x="17" y="47"/>
                  </a:lnTo>
                  <a:lnTo>
                    <a:pt x="21" y="47"/>
                  </a:lnTo>
                  <a:lnTo>
                    <a:pt x="21" y="49"/>
                  </a:lnTo>
                  <a:lnTo>
                    <a:pt x="21" y="49"/>
                  </a:lnTo>
                  <a:lnTo>
                    <a:pt x="28" y="52"/>
                  </a:lnTo>
                  <a:lnTo>
                    <a:pt x="36" y="47"/>
                  </a:lnTo>
                  <a:lnTo>
                    <a:pt x="40" y="47"/>
                  </a:lnTo>
                  <a:lnTo>
                    <a:pt x="47" y="47"/>
                  </a:lnTo>
                  <a:lnTo>
                    <a:pt x="47" y="50"/>
                  </a:lnTo>
                  <a:lnTo>
                    <a:pt x="57" y="56"/>
                  </a:lnTo>
                  <a:lnTo>
                    <a:pt x="66" y="58"/>
                  </a:lnTo>
                  <a:lnTo>
                    <a:pt x="74" y="58"/>
                  </a:lnTo>
                  <a:lnTo>
                    <a:pt x="75" y="60"/>
                  </a:lnTo>
                  <a:lnTo>
                    <a:pt x="75" y="60"/>
                  </a:lnTo>
                  <a:lnTo>
                    <a:pt x="75" y="60"/>
                  </a:lnTo>
                  <a:lnTo>
                    <a:pt x="75" y="6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4" name="Freeform 16">
              <a:extLst>
                <a:ext uri="{FF2B5EF4-FFF2-40B4-BE49-F238E27FC236}">
                  <a16:creationId xmlns:a16="http://schemas.microsoft.com/office/drawing/2014/main" id="{DAA25A45-E1BB-410E-A4AA-A9D28E2702C0}"/>
                </a:ext>
              </a:extLst>
            </p:cNvPr>
            <p:cNvSpPr>
              <a:spLocks/>
            </p:cNvSpPr>
            <p:nvPr/>
          </p:nvSpPr>
          <p:spPr bwMode="auto">
            <a:xfrm>
              <a:off x="3007" y="1960"/>
              <a:ext cx="173" cy="143"/>
            </a:xfrm>
            <a:custGeom>
              <a:avLst/>
              <a:gdLst/>
              <a:ahLst/>
              <a:cxnLst>
                <a:cxn ang="0">
                  <a:pos x="107" y="143"/>
                </a:cxn>
                <a:cxn ang="0">
                  <a:pos x="111" y="139"/>
                </a:cxn>
                <a:cxn ang="0">
                  <a:pos x="116" y="139"/>
                </a:cxn>
                <a:cxn ang="0">
                  <a:pos x="124" y="143"/>
                </a:cxn>
                <a:cxn ang="0">
                  <a:pos x="128" y="137"/>
                </a:cxn>
                <a:cxn ang="0">
                  <a:pos x="133" y="139"/>
                </a:cxn>
                <a:cxn ang="0">
                  <a:pos x="148" y="143"/>
                </a:cxn>
                <a:cxn ang="0">
                  <a:pos x="154" y="137"/>
                </a:cxn>
                <a:cxn ang="0">
                  <a:pos x="164" y="120"/>
                </a:cxn>
                <a:cxn ang="0">
                  <a:pos x="167" y="113"/>
                </a:cxn>
                <a:cxn ang="0">
                  <a:pos x="173" y="107"/>
                </a:cxn>
                <a:cxn ang="0">
                  <a:pos x="173" y="101"/>
                </a:cxn>
                <a:cxn ang="0">
                  <a:pos x="167" y="98"/>
                </a:cxn>
                <a:cxn ang="0">
                  <a:pos x="164" y="88"/>
                </a:cxn>
                <a:cxn ang="0">
                  <a:pos x="164" y="75"/>
                </a:cxn>
                <a:cxn ang="0">
                  <a:pos x="160" y="64"/>
                </a:cxn>
                <a:cxn ang="0">
                  <a:pos x="164" y="58"/>
                </a:cxn>
                <a:cxn ang="0">
                  <a:pos x="164" y="45"/>
                </a:cxn>
                <a:cxn ang="0">
                  <a:pos x="160" y="36"/>
                </a:cxn>
                <a:cxn ang="0">
                  <a:pos x="154" y="24"/>
                </a:cxn>
                <a:cxn ang="0">
                  <a:pos x="152" y="11"/>
                </a:cxn>
                <a:cxn ang="0">
                  <a:pos x="147" y="7"/>
                </a:cxn>
                <a:cxn ang="0">
                  <a:pos x="98" y="9"/>
                </a:cxn>
                <a:cxn ang="0">
                  <a:pos x="88" y="15"/>
                </a:cxn>
                <a:cxn ang="0">
                  <a:pos x="81" y="15"/>
                </a:cxn>
                <a:cxn ang="0">
                  <a:pos x="92" y="7"/>
                </a:cxn>
                <a:cxn ang="0">
                  <a:pos x="86" y="11"/>
                </a:cxn>
                <a:cxn ang="0">
                  <a:pos x="71" y="13"/>
                </a:cxn>
                <a:cxn ang="0">
                  <a:pos x="69" y="5"/>
                </a:cxn>
                <a:cxn ang="0">
                  <a:pos x="77" y="7"/>
                </a:cxn>
                <a:cxn ang="0">
                  <a:pos x="71" y="2"/>
                </a:cxn>
                <a:cxn ang="0">
                  <a:pos x="56" y="5"/>
                </a:cxn>
                <a:cxn ang="0">
                  <a:pos x="43" y="5"/>
                </a:cxn>
                <a:cxn ang="0">
                  <a:pos x="34" y="11"/>
                </a:cxn>
                <a:cxn ang="0">
                  <a:pos x="32" y="19"/>
                </a:cxn>
                <a:cxn ang="0">
                  <a:pos x="17" y="20"/>
                </a:cxn>
                <a:cxn ang="0">
                  <a:pos x="9" y="26"/>
                </a:cxn>
                <a:cxn ang="0">
                  <a:pos x="5" y="32"/>
                </a:cxn>
                <a:cxn ang="0">
                  <a:pos x="5" y="34"/>
                </a:cxn>
                <a:cxn ang="0">
                  <a:pos x="5" y="49"/>
                </a:cxn>
                <a:cxn ang="0">
                  <a:pos x="0" y="54"/>
                </a:cxn>
                <a:cxn ang="0">
                  <a:pos x="5" y="64"/>
                </a:cxn>
                <a:cxn ang="0">
                  <a:pos x="9" y="69"/>
                </a:cxn>
                <a:cxn ang="0">
                  <a:pos x="9" y="75"/>
                </a:cxn>
                <a:cxn ang="0">
                  <a:pos x="15" y="88"/>
                </a:cxn>
                <a:cxn ang="0">
                  <a:pos x="19" y="100"/>
                </a:cxn>
                <a:cxn ang="0">
                  <a:pos x="19" y="103"/>
                </a:cxn>
                <a:cxn ang="0">
                  <a:pos x="22" y="103"/>
                </a:cxn>
                <a:cxn ang="0">
                  <a:pos x="32" y="103"/>
                </a:cxn>
                <a:cxn ang="0">
                  <a:pos x="34" y="109"/>
                </a:cxn>
                <a:cxn ang="0">
                  <a:pos x="41" y="109"/>
                </a:cxn>
                <a:cxn ang="0">
                  <a:pos x="39" y="115"/>
                </a:cxn>
                <a:cxn ang="0">
                  <a:pos x="41" y="120"/>
                </a:cxn>
                <a:cxn ang="0">
                  <a:pos x="47" y="118"/>
                </a:cxn>
                <a:cxn ang="0">
                  <a:pos x="43" y="113"/>
                </a:cxn>
                <a:cxn ang="0">
                  <a:pos x="54" y="117"/>
                </a:cxn>
                <a:cxn ang="0">
                  <a:pos x="58" y="120"/>
                </a:cxn>
                <a:cxn ang="0">
                  <a:pos x="69" y="122"/>
                </a:cxn>
                <a:cxn ang="0">
                  <a:pos x="88" y="132"/>
                </a:cxn>
                <a:cxn ang="0">
                  <a:pos x="94" y="137"/>
                </a:cxn>
                <a:cxn ang="0">
                  <a:pos x="101" y="137"/>
                </a:cxn>
                <a:cxn ang="0">
                  <a:pos x="103" y="143"/>
                </a:cxn>
                <a:cxn ang="0">
                  <a:pos x="103" y="143"/>
                </a:cxn>
              </a:cxnLst>
              <a:rect l="0" t="0" r="r" b="b"/>
              <a:pathLst>
                <a:path w="173" h="143">
                  <a:moveTo>
                    <a:pt x="103" y="143"/>
                  </a:moveTo>
                  <a:lnTo>
                    <a:pt x="107" y="143"/>
                  </a:lnTo>
                  <a:lnTo>
                    <a:pt x="109" y="143"/>
                  </a:lnTo>
                  <a:lnTo>
                    <a:pt x="111" y="139"/>
                  </a:lnTo>
                  <a:lnTo>
                    <a:pt x="115" y="139"/>
                  </a:lnTo>
                  <a:lnTo>
                    <a:pt x="116" y="139"/>
                  </a:lnTo>
                  <a:lnTo>
                    <a:pt x="122" y="139"/>
                  </a:lnTo>
                  <a:lnTo>
                    <a:pt x="124" y="143"/>
                  </a:lnTo>
                  <a:lnTo>
                    <a:pt x="128" y="139"/>
                  </a:lnTo>
                  <a:lnTo>
                    <a:pt x="128" y="137"/>
                  </a:lnTo>
                  <a:lnTo>
                    <a:pt x="133" y="139"/>
                  </a:lnTo>
                  <a:lnTo>
                    <a:pt x="133" y="139"/>
                  </a:lnTo>
                  <a:lnTo>
                    <a:pt x="141" y="139"/>
                  </a:lnTo>
                  <a:lnTo>
                    <a:pt x="148" y="143"/>
                  </a:lnTo>
                  <a:lnTo>
                    <a:pt x="154" y="143"/>
                  </a:lnTo>
                  <a:lnTo>
                    <a:pt x="154" y="137"/>
                  </a:lnTo>
                  <a:lnTo>
                    <a:pt x="152" y="133"/>
                  </a:lnTo>
                  <a:lnTo>
                    <a:pt x="164" y="120"/>
                  </a:lnTo>
                  <a:lnTo>
                    <a:pt x="167" y="115"/>
                  </a:lnTo>
                  <a:lnTo>
                    <a:pt x="167" y="113"/>
                  </a:lnTo>
                  <a:lnTo>
                    <a:pt x="173" y="113"/>
                  </a:lnTo>
                  <a:lnTo>
                    <a:pt x="173" y="107"/>
                  </a:lnTo>
                  <a:lnTo>
                    <a:pt x="173" y="105"/>
                  </a:lnTo>
                  <a:lnTo>
                    <a:pt x="173" y="101"/>
                  </a:lnTo>
                  <a:lnTo>
                    <a:pt x="173" y="100"/>
                  </a:lnTo>
                  <a:lnTo>
                    <a:pt x="167" y="98"/>
                  </a:lnTo>
                  <a:lnTo>
                    <a:pt x="167" y="90"/>
                  </a:lnTo>
                  <a:lnTo>
                    <a:pt x="164" y="88"/>
                  </a:lnTo>
                  <a:lnTo>
                    <a:pt x="164" y="79"/>
                  </a:lnTo>
                  <a:lnTo>
                    <a:pt x="164" y="75"/>
                  </a:lnTo>
                  <a:lnTo>
                    <a:pt x="160" y="69"/>
                  </a:lnTo>
                  <a:lnTo>
                    <a:pt x="160" y="64"/>
                  </a:lnTo>
                  <a:lnTo>
                    <a:pt x="162" y="58"/>
                  </a:lnTo>
                  <a:lnTo>
                    <a:pt x="164" y="58"/>
                  </a:lnTo>
                  <a:lnTo>
                    <a:pt x="164" y="47"/>
                  </a:lnTo>
                  <a:lnTo>
                    <a:pt x="164" y="45"/>
                  </a:lnTo>
                  <a:lnTo>
                    <a:pt x="164" y="41"/>
                  </a:lnTo>
                  <a:lnTo>
                    <a:pt x="160" y="36"/>
                  </a:lnTo>
                  <a:lnTo>
                    <a:pt x="158" y="26"/>
                  </a:lnTo>
                  <a:lnTo>
                    <a:pt x="154" y="24"/>
                  </a:lnTo>
                  <a:lnTo>
                    <a:pt x="154" y="19"/>
                  </a:lnTo>
                  <a:lnTo>
                    <a:pt x="152" y="11"/>
                  </a:lnTo>
                  <a:lnTo>
                    <a:pt x="148" y="11"/>
                  </a:lnTo>
                  <a:lnTo>
                    <a:pt x="147" y="7"/>
                  </a:lnTo>
                  <a:lnTo>
                    <a:pt x="120" y="11"/>
                  </a:lnTo>
                  <a:lnTo>
                    <a:pt x="98" y="9"/>
                  </a:lnTo>
                  <a:lnTo>
                    <a:pt x="94" y="9"/>
                  </a:lnTo>
                  <a:lnTo>
                    <a:pt x="88" y="15"/>
                  </a:lnTo>
                  <a:lnTo>
                    <a:pt x="83" y="17"/>
                  </a:lnTo>
                  <a:lnTo>
                    <a:pt x="81" y="15"/>
                  </a:lnTo>
                  <a:lnTo>
                    <a:pt x="86" y="13"/>
                  </a:lnTo>
                  <a:lnTo>
                    <a:pt x="92" y="7"/>
                  </a:lnTo>
                  <a:lnTo>
                    <a:pt x="88" y="7"/>
                  </a:lnTo>
                  <a:lnTo>
                    <a:pt x="86" y="11"/>
                  </a:lnTo>
                  <a:lnTo>
                    <a:pt x="79" y="15"/>
                  </a:lnTo>
                  <a:lnTo>
                    <a:pt x="71" y="13"/>
                  </a:lnTo>
                  <a:lnTo>
                    <a:pt x="69" y="7"/>
                  </a:lnTo>
                  <a:lnTo>
                    <a:pt x="69" y="5"/>
                  </a:lnTo>
                  <a:lnTo>
                    <a:pt x="75" y="5"/>
                  </a:lnTo>
                  <a:lnTo>
                    <a:pt x="77" y="7"/>
                  </a:lnTo>
                  <a:lnTo>
                    <a:pt x="77" y="5"/>
                  </a:lnTo>
                  <a:lnTo>
                    <a:pt x="71" y="2"/>
                  </a:lnTo>
                  <a:lnTo>
                    <a:pt x="62" y="0"/>
                  </a:lnTo>
                  <a:lnTo>
                    <a:pt x="56" y="5"/>
                  </a:lnTo>
                  <a:lnTo>
                    <a:pt x="49" y="5"/>
                  </a:lnTo>
                  <a:lnTo>
                    <a:pt x="43" y="5"/>
                  </a:lnTo>
                  <a:lnTo>
                    <a:pt x="41" y="11"/>
                  </a:lnTo>
                  <a:lnTo>
                    <a:pt x="34" y="11"/>
                  </a:lnTo>
                  <a:lnTo>
                    <a:pt x="32" y="15"/>
                  </a:lnTo>
                  <a:lnTo>
                    <a:pt x="32" y="19"/>
                  </a:lnTo>
                  <a:lnTo>
                    <a:pt x="26" y="19"/>
                  </a:lnTo>
                  <a:lnTo>
                    <a:pt x="17" y="20"/>
                  </a:lnTo>
                  <a:lnTo>
                    <a:pt x="11" y="24"/>
                  </a:lnTo>
                  <a:lnTo>
                    <a:pt x="9" y="26"/>
                  </a:lnTo>
                  <a:lnTo>
                    <a:pt x="7" y="32"/>
                  </a:lnTo>
                  <a:lnTo>
                    <a:pt x="5" y="32"/>
                  </a:lnTo>
                  <a:lnTo>
                    <a:pt x="7" y="34"/>
                  </a:lnTo>
                  <a:lnTo>
                    <a:pt x="5" y="34"/>
                  </a:lnTo>
                  <a:lnTo>
                    <a:pt x="7" y="43"/>
                  </a:lnTo>
                  <a:lnTo>
                    <a:pt x="5" y="49"/>
                  </a:lnTo>
                  <a:lnTo>
                    <a:pt x="0" y="51"/>
                  </a:lnTo>
                  <a:lnTo>
                    <a:pt x="0" y="54"/>
                  </a:lnTo>
                  <a:lnTo>
                    <a:pt x="7" y="60"/>
                  </a:lnTo>
                  <a:lnTo>
                    <a:pt x="5" y="64"/>
                  </a:lnTo>
                  <a:lnTo>
                    <a:pt x="9" y="68"/>
                  </a:lnTo>
                  <a:lnTo>
                    <a:pt x="9" y="69"/>
                  </a:lnTo>
                  <a:lnTo>
                    <a:pt x="11" y="75"/>
                  </a:lnTo>
                  <a:lnTo>
                    <a:pt x="9" y="75"/>
                  </a:lnTo>
                  <a:lnTo>
                    <a:pt x="13" y="85"/>
                  </a:lnTo>
                  <a:lnTo>
                    <a:pt x="15" y="88"/>
                  </a:lnTo>
                  <a:lnTo>
                    <a:pt x="17" y="88"/>
                  </a:lnTo>
                  <a:lnTo>
                    <a:pt x="19" y="100"/>
                  </a:lnTo>
                  <a:lnTo>
                    <a:pt x="17" y="101"/>
                  </a:lnTo>
                  <a:lnTo>
                    <a:pt x="19" y="103"/>
                  </a:lnTo>
                  <a:lnTo>
                    <a:pt x="19" y="101"/>
                  </a:lnTo>
                  <a:lnTo>
                    <a:pt x="22" y="103"/>
                  </a:lnTo>
                  <a:lnTo>
                    <a:pt x="22" y="101"/>
                  </a:lnTo>
                  <a:lnTo>
                    <a:pt x="32" y="103"/>
                  </a:lnTo>
                  <a:lnTo>
                    <a:pt x="32" y="105"/>
                  </a:lnTo>
                  <a:lnTo>
                    <a:pt x="34" y="109"/>
                  </a:lnTo>
                  <a:lnTo>
                    <a:pt x="37" y="109"/>
                  </a:lnTo>
                  <a:lnTo>
                    <a:pt x="41" y="109"/>
                  </a:lnTo>
                  <a:lnTo>
                    <a:pt x="39" y="113"/>
                  </a:lnTo>
                  <a:lnTo>
                    <a:pt x="39" y="115"/>
                  </a:lnTo>
                  <a:lnTo>
                    <a:pt x="41" y="117"/>
                  </a:lnTo>
                  <a:lnTo>
                    <a:pt x="41" y="120"/>
                  </a:lnTo>
                  <a:lnTo>
                    <a:pt x="45" y="120"/>
                  </a:lnTo>
                  <a:lnTo>
                    <a:pt x="47" y="118"/>
                  </a:lnTo>
                  <a:lnTo>
                    <a:pt x="49" y="118"/>
                  </a:lnTo>
                  <a:lnTo>
                    <a:pt x="43" y="113"/>
                  </a:lnTo>
                  <a:lnTo>
                    <a:pt x="45" y="113"/>
                  </a:lnTo>
                  <a:lnTo>
                    <a:pt x="54" y="117"/>
                  </a:lnTo>
                  <a:lnTo>
                    <a:pt x="58" y="117"/>
                  </a:lnTo>
                  <a:lnTo>
                    <a:pt x="58" y="120"/>
                  </a:lnTo>
                  <a:lnTo>
                    <a:pt x="62" y="122"/>
                  </a:lnTo>
                  <a:lnTo>
                    <a:pt x="69" y="122"/>
                  </a:lnTo>
                  <a:lnTo>
                    <a:pt x="75" y="124"/>
                  </a:lnTo>
                  <a:lnTo>
                    <a:pt x="88" y="132"/>
                  </a:lnTo>
                  <a:lnTo>
                    <a:pt x="92" y="137"/>
                  </a:lnTo>
                  <a:lnTo>
                    <a:pt x="94" y="137"/>
                  </a:lnTo>
                  <a:lnTo>
                    <a:pt x="94" y="137"/>
                  </a:lnTo>
                  <a:lnTo>
                    <a:pt x="101" y="137"/>
                  </a:lnTo>
                  <a:lnTo>
                    <a:pt x="103" y="137"/>
                  </a:lnTo>
                  <a:lnTo>
                    <a:pt x="103" y="143"/>
                  </a:lnTo>
                  <a:lnTo>
                    <a:pt x="103" y="143"/>
                  </a:lnTo>
                  <a:lnTo>
                    <a:pt x="103" y="143"/>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5" name="Freeform 17">
              <a:extLst>
                <a:ext uri="{FF2B5EF4-FFF2-40B4-BE49-F238E27FC236}">
                  <a16:creationId xmlns:a16="http://schemas.microsoft.com/office/drawing/2014/main" id="{E23D2435-0E3B-4963-91DA-09010D370C7C}"/>
                </a:ext>
              </a:extLst>
            </p:cNvPr>
            <p:cNvSpPr>
              <a:spLocks/>
            </p:cNvSpPr>
            <p:nvPr/>
          </p:nvSpPr>
          <p:spPr bwMode="auto">
            <a:xfrm>
              <a:off x="2975" y="2061"/>
              <a:ext cx="137" cy="59"/>
            </a:xfrm>
            <a:custGeom>
              <a:avLst/>
              <a:gdLst/>
              <a:ahLst/>
              <a:cxnLst>
                <a:cxn ang="0">
                  <a:pos x="51" y="2"/>
                </a:cxn>
                <a:cxn ang="0">
                  <a:pos x="54" y="2"/>
                </a:cxn>
                <a:cxn ang="0">
                  <a:pos x="66" y="2"/>
                </a:cxn>
                <a:cxn ang="0">
                  <a:pos x="68" y="8"/>
                </a:cxn>
                <a:cxn ang="0">
                  <a:pos x="75" y="10"/>
                </a:cxn>
                <a:cxn ang="0">
                  <a:pos x="73" y="14"/>
                </a:cxn>
                <a:cxn ang="0">
                  <a:pos x="75" y="19"/>
                </a:cxn>
                <a:cxn ang="0">
                  <a:pos x="81" y="17"/>
                </a:cxn>
                <a:cxn ang="0">
                  <a:pos x="77" y="14"/>
                </a:cxn>
                <a:cxn ang="0">
                  <a:pos x="86" y="17"/>
                </a:cxn>
                <a:cxn ang="0">
                  <a:pos x="92" y="19"/>
                </a:cxn>
                <a:cxn ang="0">
                  <a:pos x="103" y="21"/>
                </a:cxn>
                <a:cxn ang="0">
                  <a:pos x="120" y="31"/>
                </a:cxn>
                <a:cxn ang="0">
                  <a:pos x="126" y="38"/>
                </a:cxn>
                <a:cxn ang="0">
                  <a:pos x="133" y="36"/>
                </a:cxn>
                <a:cxn ang="0">
                  <a:pos x="137" y="42"/>
                </a:cxn>
                <a:cxn ang="0">
                  <a:pos x="126" y="46"/>
                </a:cxn>
                <a:cxn ang="0">
                  <a:pos x="116" y="51"/>
                </a:cxn>
                <a:cxn ang="0">
                  <a:pos x="101" y="55"/>
                </a:cxn>
                <a:cxn ang="0">
                  <a:pos x="94" y="53"/>
                </a:cxn>
                <a:cxn ang="0">
                  <a:pos x="81" y="55"/>
                </a:cxn>
                <a:cxn ang="0">
                  <a:pos x="75" y="53"/>
                </a:cxn>
                <a:cxn ang="0">
                  <a:pos x="64" y="49"/>
                </a:cxn>
                <a:cxn ang="0">
                  <a:pos x="52" y="48"/>
                </a:cxn>
                <a:cxn ang="0">
                  <a:pos x="51" y="53"/>
                </a:cxn>
                <a:cxn ang="0">
                  <a:pos x="45" y="57"/>
                </a:cxn>
                <a:cxn ang="0">
                  <a:pos x="34" y="53"/>
                </a:cxn>
                <a:cxn ang="0">
                  <a:pos x="32" y="53"/>
                </a:cxn>
                <a:cxn ang="0">
                  <a:pos x="20" y="42"/>
                </a:cxn>
                <a:cxn ang="0">
                  <a:pos x="11" y="36"/>
                </a:cxn>
                <a:cxn ang="0">
                  <a:pos x="7" y="29"/>
                </a:cxn>
                <a:cxn ang="0">
                  <a:pos x="0" y="19"/>
                </a:cxn>
                <a:cxn ang="0">
                  <a:pos x="2" y="14"/>
                </a:cxn>
                <a:cxn ang="0">
                  <a:pos x="7" y="17"/>
                </a:cxn>
                <a:cxn ang="0">
                  <a:pos x="15" y="12"/>
                </a:cxn>
                <a:cxn ang="0">
                  <a:pos x="24" y="8"/>
                </a:cxn>
                <a:cxn ang="0">
                  <a:pos x="32" y="4"/>
                </a:cxn>
                <a:cxn ang="0">
                  <a:pos x="37" y="4"/>
                </a:cxn>
                <a:cxn ang="0">
                  <a:pos x="45" y="0"/>
                </a:cxn>
                <a:cxn ang="0">
                  <a:pos x="51" y="0"/>
                </a:cxn>
                <a:cxn ang="0">
                  <a:pos x="51" y="0"/>
                </a:cxn>
              </a:cxnLst>
              <a:rect l="0" t="0" r="r" b="b"/>
              <a:pathLst>
                <a:path w="137" h="59">
                  <a:moveTo>
                    <a:pt x="51" y="0"/>
                  </a:moveTo>
                  <a:lnTo>
                    <a:pt x="51" y="2"/>
                  </a:lnTo>
                  <a:lnTo>
                    <a:pt x="52" y="0"/>
                  </a:lnTo>
                  <a:lnTo>
                    <a:pt x="54" y="2"/>
                  </a:lnTo>
                  <a:lnTo>
                    <a:pt x="56" y="0"/>
                  </a:lnTo>
                  <a:lnTo>
                    <a:pt x="66" y="2"/>
                  </a:lnTo>
                  <a:lnTo>
                    <a:pt x="66" y="4"/>
                  </a:lnTo>
                  <a:lnTo>
                    <a:pt x="68" y="8"/>
                  </a:lnTo>
                  <a:lnTo>
                    <a:pt x="71" y="8"/>
                  </a:lnTo>
                  <a:lnTo>
                    <a:pt x="75" y="10"/>
                  </a:lnTo>
                  <a:lnTo>
                    <a:pt x="73" y="14"/>
                  </a:lnTo>
                  <a:lnTo>
                    <a:pt x="73" y="14"/>
                  </a:lnTo>
                  <a:lnTo>
                    <a:pt x="75" y="17"/>
                  </a:lnTo>
                  <a:lnTo>
                    <a:pt x="75" y="19"/>
                  </a:lnTo>
                  <a:lnTo>
                    <a:pt x="77" y="19"/>
                  </a:lnTo>
                  <a:lnTo>
                    <a:pt x="81" y="17"/>
                  </a:lnTo>
                  <a:lnTo>
                    <a:pt x="81" y="17"/>
                  </a:lnTo>
                  <a:lnTo>
                    <a:pt x="77" y="14"/>
                  </a:lnTo>
                  <a:lnTo>
                    <a:pt x="77" y="14"/>
                  </a:lnTo>
                  <a:lnTo>
                    <a:pt x="86" y="17"/>
                  </a:lnTo>
                  <a:lnTo>
                    <a:pt x="92" y="17"/>
                  </a:lnTo>
                  <a:lnTo>
                    <a:pt x="92" y="19"/>
                  </a:lnTo>
                  <a:lnTo>
                    <a:pt x="96" y="21"/>
                  </a:lnTo>
                  <a:lnTo>
                    <a:pt x="103" y="21"/>
                  </a:lnTo>
                  <a:lnTo>
                    <a:pt x="109" y="23"/>
                  </a:lnTo>
                  <a:lnTo>
                    <a:pt x="120" y="31"/>
                  </a:lnTo>
                  <a:lnTo>
                    <a:pt x="126" y="38"/>
                  </a:lnTo>
                  <a:lnTo>
                    <a:pt x="126" y="38"/>
                  </a:lnTo>
                  <a:lnTo>
                    <a:pt x="128" y="36"/>
                  </a:lnTo>
                  <a:lnTo>
                    <a:pt x="133" y="36"/>
                  </a:lnTo>
                  <a:lnTo>
                    <a:pt x="137" y="38"/>
                  </a:lnTo>
                  <a:lnTo>
                    <a:pt x="137" y="42"/>
                  </a:lnTo>
                  <a:lnTo>
                    <a:pt x="128" y="42"/>
                  </a:lnTo>
                  <a:lnTo>
                    <a:pt x="126" y="46"/>
                  </a:lnTo>
                  <a:lnTo>
                    <a:pt x="120" y="46"/>
                  </a:lnTo>
                  <a:lnTo>
                    <a:pt x="116" y="51"/>
                  </a:lnTo>
                  <a:lnTo>
                    <a:pt x="109" y="51"/>
                  </a:lnTo>
                  <a:lnTo>
                    <a:pt x="101" y="55"/>
                  </a:lnTo>
                  <a:lnTo>
                    <a:pt x="100" y="53"/>
                  </a:lnTo>
                  <a:lnTo>
                    <a:pt x="94" y="53"/>
                  </a:lnTo>
                  <a:lnTo>
                    <a:pt x="90" y="57"/>
                  </a:lnTo>
                  <a:lnTo>
                    <a:pt x="81" y="55"/>
                  </a:lnTo>
                  <a:lnTo>
                    <a:pt x="77" y="51"/>
                  </a:lnTo>
                  <a:lnTo>
                    <a:pt x="75" y="53"/>
                  </a:lnTo>
                  <a:lnTo>
                    <a:pt x="69" y="53"/>
                  </a:lnTo>
                  <a:lnTo>
                    <a:pt x="64" y="49"/>
                  </a:lnTo>
                  <a:lnTo>
                    <a:pt x="56" y="49"/>
                  </a:lnTo>
                  <a:lnTo>
                    <a:pt x="52" y="48"/>
                  </a:lnTo>
                  <a:lnTo>
                    <a:pt x="51" y="51"/>
                  </a:lnTo>
                  <a:lnTo>
                    <a:pt x="51" y="53"/>
                  </a:lnTo>
                  <a:lnTo>
                    <a:pt x="51" y="55"/>
                  </a:lnTo>
                  <a:lnTo>
                    <a:pt x="45" y="57"/>
                  </a:lnTo>
                  <a:lnTo>
                    <a:pt x="41" y="59"/>
                  </a:lnTo>
                  <a:lnTo>
                    <a:pt x="34" y="53"/>
                  </a:lnTo>
                  <a:lnTo>
                    <a:pt x="30" y="53"/>
                  </a:lnTo>
                  <a:lnTo>
                    <a:pt x="32" y="53"/>
                  </a:lnTo>
                  <a:lnTo>
                    <a:pt x="22" y="44"/>
                  </a:lnTo>
                  <a:lnTo>
                    <a:pt x="20" y="42"/>
                  </a:lnTo>
                  <a:lnTo>
                    <a:pt x="15" y="38"/>
                  </a:lnTo>
                  <a:lnTo>
                    <a:pt x="11" y="36"/>
                  </a:lnTo>
                  <a:lnTo>
                    <a:pt x="7" y="32"/>
                  </a:lnTo>
                  <a:lnTo>
                    <a:pt x="7" y="29"/>
                  </a:lnTo>
                  <a:lnTo>
                    <a:pt x="5" y="21"/>
                  </a:lnTo>
                  <a:lnTo>
                    <a:pt x="0" y="19"/>
                  </a:lnTo>
                  <a:lnTo>
                    <a:pt x="0" y="17"/>
                  </a:lnTo>
                  <a:lnTo>
                    <a:pt x="2" y="14"/>
                  </a:lnTo>
                  <a:lnTo>
                    <a:pt x="2" y="17"/>
                  </a:lnTo>
                  <a:lnTo>
                    <a:pt x="7" y="17"/>
                  </a:lnTo>
                  <a:lnTo>
                    <a:pt x="15" y="14"/>
                  </a:lnTo>
                  <a:lnTo>
                    <a:pt x="15" y="12"/>
                  </a:lnTo>
                  <a:lnTo>
                    <a:pt x="20" y="8"/>
                  </a:lnTo>
                  <a:lnTo>
                    <a:pt x="24" y="8"/>
                  </a:lnTo>
                  <a:lnTo>
                    <a:pt x="26" y="4"/>
                  </a:lnTo>
                  <a:lnTo>
                    <a:pt x="32" y="4"/>
                  </a:lnTo>
                  <a:lnTo>
                    <a:pt x="36" y="6"/>
                  </a:lnTo>
                  <a:lnTo>
                    <a:pt x="37" y="4"/>
                  </a:lnTo>
                  <a:lnTo>
                    <a:pt x="37" y="0"/>
                  </a:lnTo>
                  <a:lnTo>
                    <a:pt x="45" y="0"/>
                  </a:lnTo>
                  <a:lnTo>
                    <a:pt x="47" y="0"/>
                  </a:lnTo>
                  <a:lnTo>
                    <a:pt x="51" y="0"/>
                  </a:lnTo>
                  <a:lnTo>
                    <a:pt x="51" y="0"/>
                  </a:lnTo>
                  <a:lnTo>
                    <a:pt x="51" y="0"/>
                  </a:lnTo>
                  <a:lnTo>
                    <a:pt x="51" y="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6" name="Freeform 18">
              <a:extLst>
                <a:ext uri="{FF2B5EF4-FFF2-40B4-BE49-F238E27FC236}">
                  <a16:creationId xmlns:a16="http://schemas.microsoft.com/office/drawing/2014/main" id="{0A30A1CC-888C-4816-A1D2-B1BD2AC5D31B}"/>
                </a:ext>
              </a:extLst>
            </p:cNvPr>
            <p:cNvSpPr>
              <a:spLocks/>
            </p:cNvSpPr>
            <p:nvPr/>
          </p:nvSpPr>
          <p:spPr bwMode="auto">
            <a:xfrm>
              <a:off x="2875" y="2135"/>
              <a:ext cx="85" cy="47"/>
            </a:xfrm>
            <a:custGeom>
              <a:avLst/>
              <a:gdLst/>
              <a:ahLst/>
              <a:cxnLst>
                <a:cxn ang="0">
                  <a:pos x="36" y="7"/>
                </a:cxn>
                <a:cxn ang="0">
                  <a:pos x="43" y="6"/>
                </a:cxn>
                <a:cxn ang="0">
                  <a:pos x="45" y="2"/>
                </a:cxn>
                <a:cxn ang="0">
                  <a:pos x="49" y="4"/>
                </a:cxn>
                <a:cxn ang="0">
                  <a:pos x="55" y="2"/>
                </a:cxn>
                <a:cxn ang="0">
                  <a:pos x="60" y="7"/>
                </a:cxn>
                <a:cxn ang="0">
                  <a:pos x="64" y="11"/>
                </a:cxn>
                <a:cxn ang="0">
                  <a:pos x="68" y="17"/>
                </a:cxn>
                <a:cxn ang="0">
                  <a:pos x="73" y="15"/>
                </a:cxn>
                <a:cxn ang="0">
                  <a:pos x="81" y="17"/>
                </a:cxn>
                <a:cxn ang="0">
                  <a:pos x="85" y="19"/>
                </a:cxn>
                <a:cxn ang="0">
                  <a:pos x="83" y="30"/>
                </a:cxn>
                <a:cxn ang="0">
                  <a:pos x="73" y="39"/>
                </a:cxn>
                <a:cxn ang="0">
                  <a:pos x="68" y="36"/>
                </a:cxn>
                <a:cxn ang="0">
                  <a:pos x="58" y="39"/>
                </a:cxn>
                <a:cxn ang="0">
                  <a:pos x="55" y="41"/>
                </a:cxn>
                <a:cxn ang="0">
                  <a:pos x="49" y="36"/>
                </a:cxn>
                <a:cxn ang="0">
                  <a:pos x="38" y="43"/>
                </a:cxn>
                <a:cxn ang="0">
                  <a:pos x="24" y="47"/>
                </a:cxn>
                <a:cxn ang="0">
                  <a:pos x="23" y="41"/>
                </a:cxn>
                <a:cxn ang="0">
                  <a:pos x="19" y="36"/>
                </a:cxn>
                <a:cxn ang="0">
                  <a:pos x="9" y="30"/>
                </a:cxn>
                <a:cxn ang="0">
                  <a:pos x="9" y="39"/>
                </a:cxn>
                <a:cxn ang="0">
                  <a:pos x="0" y="39"/>
                </a:cxn>
                <a:cxn ang="0">
                  <a:pos x="2" y="36"/>
                </a:cxn>
                <a:cxn ang="0">
                  <a:pos x="4" y="34"/>
                </a:cxn>
                <a:cxn ang="0">
                  <a:pos x="9" y="19"/>
                </a:cxn>
                <a:cxn ang="0">
                  <a:pos x="15" y="15"/>
                </a:cxn>
                <a:cxn ang="0">
                  <a:pos x="19" y="9"/>
                </a:cxn>
                <a:cxn ang="0">
                  <a:pos x="19" y="6"/>
                </a:cxn>
                <a:cxn ang="0">
                  <a:pos x="23" y="7"/>
                </a:cxn>
                <a:cxn ang="0">
                  <a:pos x="32" y="6"/>
                </a:cxn>
                <a:cxn ang="0">
                  <a:pos x="32" y="6"/>
                </a:cxn>
              </a:cxnLst>
              <a:rect l="0" t="0" r="r" b="b"/>
              <a:pathLst>
                <a:path w="85" h="47">
                  <a:moveTo>
                    <a:pt x="32" y="6"/>
                  </a:moveTo>
                  <a:lnTo>
                    <a:pt x="36" y="7"/>
                  </a:lnTo>
                  <a:lnTo>
                    <a:pt x="40" y="4"/>
                  </a:lnTo>
                  <a:lnTo>
                    <a:pt x="43" y="6"/>
                  </a:lnTo>
                  <a:lnTo>
                    <a:pt x="45" y="4"/>
                  </a:lnTo>
                  <a:lnTo>
                    <a:pt x="45" y="2"/>
                  </a:lnTo>
                  <a:lnTo>
                    <a:pt x="49" y="0"/>
                  </a:lnTo>
                  <a:lnTo>
                    <a:pt x="49" y="4"/>
                  </a:lnTo>
                  <a:lnTo>
                    <a:pt x="53" y="4"/>
                  </a:lnTo>
                  <a:lnTo>
                    <a:pt x="55" y="2"/>
                  </a:lnTo>
                  <a:lnTo>
                    <a:pt x="55" y="4"/>
                  </a:lnTo>
                  <a:lnTo>
                    <a:pt x="60" y="7"/>
                  </a:lnTo>
                  <a:lnTo>
                    <a:pt x="68" y="9"/>
                  </a:lnTo>
                  <a:lnTo>
                    <a:pt x="64" y="11"/>
                  </a:lnTo>
                  <a:lnTo>
                    <a:pt x="64" y="15"/>
                  </a:lnTo>
                  <a:lnTo>
                    <a:pt x="68" y="17"/>
                  </a:lnTo>
                  <a:lnTo>
                    <a:pt x="70" y="17"/>
                  </a:lnTo>
                  <a:lnTo>
                    <a:pt x="73" y="15"/>
                  </a:lnTo>
                  <a:lnTo>
                    <a:pt x="77" y="19"/>
                  </a:lnTo>
                  <a:lnTo>
                    <a:pt x="81" y="17"/>
                  </a:lnTo>
                  <a:lnTo>
                    <a:pt x="83" y="17"/>
                  </a:lnTo>
                  <a:lnTo>
                    <a:pt x="85" y="19"/>
                  </a:lnTo>
                  <a:lnTo>
                    <a:pt x="81" y="24"/>
                  </a:lnTo>
                  <a:lnTo>
                    <a:pt x="83" y="30"/>
                  </a:lnTo>
                  <a:lnTo>
                    <a:pt x="75" y="30"/>
                  </a:lnTo>
                  <a:lnTo>
                    <a:pt x="73" y="39"/>
                  </a:lnTo>
                  <a:lnTo>
                    <a:pt x="72" y="36"/>
                  </a:lnTo>
                  <a:lnTo>
                    <a:pt x="68" y="36"/>
                  </a:lnTo>
                  <a:lnTo>
                    <a:pt x="58" y="34"/>
                  </a:lnTo>
                  <a:lnTo>
                    <a:pt x="58" y="39"/>
                  </a:lnTo>
                  <a:lnTo>
                    <a:pt x="55" y="45"/>
                  </a:lnTo>
                  <a:lnTo>
                    <a:pt x="55" y="41"/>
                  </a:lnTo>
                  <a:lnTo>
                    <a:pt x="49" y="39"/>
                  </a:lnTo>
                  <a:lnTo>
                    <a:pt x="49" y="36"/>
                  </a:lnTo>
                  <a:lnTo>
                    <a:pt x="45" y="30"/>
                  </a:lnTo>
                  <a:lnTo>
                    <a:pt x="38" y="43"/>
                  </a:lnTo>
                  <a:lnTo>
                    <a:pt x="32" y="41"/>
                  </a:lnTo>
                  <a:lnTo>
                    <a:pt x="24" y="47"/>
                  </a:lnTo>
                  <a:lnTo>
                    <a:pt x="23" y="45"/>
                  </a:lnTo>
                  <a:lnTo>
                    <a:pt x="23" y="41"/>
                  </a:lnTo>
                  <a:lnTo>
                    <a:pt x="19" y="39"/>
                  </a:lnTo>
                  <a:lnTo>
                    <a:pt x="19" y="36"/>
                  </a:lnTo>
                  <a:lnTo>
                    <a:pt x="15" y="34"/>
                  </a:lnTo>
                  <a:lnTo>
                    <a:pt x="9" y="30"/>
                  </a:lnTo>
                  <a:lnTo>
                    <a:pt x="8" y="36"/>
                  </a:lnTo>
                  <a:lnTo>
                    <a:pt x="9" y="39"/>
                  </a:lnTo>
                  <a:lnTo>
                    <a:pt x="4" y="39"/>
                  </a:lnTo>
                  <a:lnTo>
                    <a:pt x="0" y="39"/>
                  </a:lnTo>
                  <a:lnTo>
                    <a:pt x="0" y="36"/>
                  </a:lnTo>
                  <a:lnTo>
                    <a:pt x="2" y="36"/>
                  </a:lnTo>
                  <a:lnTo>
                    <a:pt x="4" y="36"/>
                  </a:lnTo>
                  <a:lnTo>
                    <a:pt x="4" y="34"/>
                  </a:lnTo>
                  <a:lnTo>
                    <a:pt x="6" y="28"/>
                  </a:lnTo>
                  <a:lnTo>
                    <a:pt x="9" y="19"/>
                  </a:lnTo>
                  <a:lnTo>
                    <a:pt x="13" y="19"/>
                  </a:lnTo>
                  <a:lnTo>
                    <a:pt x="15" y="15"/>
                  </a:lnTo>
                  <a:lnTo>
                    <a:pt x="19" y="11"/>
                  </a:lnTo>
                  <a:lnTo>
                    <a:pt x="19" y="9"/>
                  </a:lnTo>
                  <a:lnTo>
                    <a:pt x="13" y="7"/>
                  </a:lnTo>
                  <a:lnTo>
                    <a:pt x="19" y="6"/>
                  </a:lnTo>
                  <a:lnTo>
                    <a:pt x="23" y="4"/>
                  </a:lnTo>
                  <a:lnTo>
                    <a:pt x="23" y="7"/>
                  </a:lnTo>
                  <a:lnTo>
                    <a:pt x="28" y="7"/>
                  </a:lnTo>
                  <a:lnTo>
                    <a:pt x="32" y="6"/>
                  </a:lnTo>
                  <a:lnTo>
                    <a:pt x="32" y="6"/>
                  </a:lnTo>
                  <a:lnTo>
                    <a:pt x="32" y="6"/>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7" name="Freeform 19">
              <a:extLst>
                <a:ext uri="{FF2B5EF4-FFF2-40B4-BE49-F238E27FC236}">
                  <a16:creationId xmlns:a16="http://schemas.microsoft.com/office/drawing/2014/main" id="{AB151389-E3EC-43B9-90E0-D6C1BD4AA568}"/>
                </a:ext>
              </a:extLst>
            </p:cNvPr>
            <p:cNvSpPr>
              <a:spLocks noEditPoints="1"/>
            </p:cNvSpPr>
            <p:nvPr/>
          </p:nvSpPr>
          <p:spPr bwMode="auto">
            <a:xfrm>
              <a:off x="2828" y="2003"/>
              <a:ext cx="68" cy="58"/>
            </a:xfrm>
            <a:custGeom>
              <a:avLst/>
              <a:gdLst/>
              <a:ahLst/>
              <a:cxnLst>
                <a:cxn ang="0">
                  <a:pos x="43" y="55"/>
                </a:cxn>
                <a:cxn ang="0">
                  <a:pos x="43" y="43"/>
                </a:cxn>
                <a:cxn ang="0">
                  <a:pos x="49" y="36"/>
                </a:cxn>
                <a:cxn ang="0">
                  <a:pos x="58" y="36"/>
                </a:cxn>
                <a:cxn ang="0">
                  <a:pos x="60" y="30"/>
                </a:cxn>
                <a:cxn ang="0">
                  <a:pos x="60" y="25"/>
                </a:cxn>
                <a:cxn ang="0">
                  <a:pos x="60" y="21"/>
                </a:cxn>
                <a:cxn ang="0">
                  <a:pos x="56" y="21"/>
                </a:cxn>
                <a:cxn ang="0">
                  <a:pos x="60" y="19"/>
                </a:cxn>
                <a:cxn ang="0">
                  <a:pos x="66" y="11"/>
                </a:cxn>
                <a:cxn ang="0">
                  <a:pos x="68" y="6"/>
                </a:cxn>
                <a:cxn ang="0">
                  <a:pos x="68" y="6"/>
                </a:cxn>
                <a:cxn ang="0">
                  <a:pos x="60" y="2"/>
                </a:cxn>
                <a:cxn ang="0">
                  <a:pos x="51" y="0"/>
                </a:cxn>
                <a:cxn ang="0">
                  <a:pos x="43" y="2"/>
                </a:cxn>
                <a:cxn ang="0">
                  <a:pos x="36" y="2"/>
                </a:cxn>
                <a:cxn ang="0">
                  <a:pos x="24" y="11"/>
                </a:cxn>
                <a:cxn ang="0">
                  <a:pos x="19" y="11"/>
                </a:cxn>
                <a:cxn ang="0">
                  <a:pos x="17" y="19"/>
                </a:cxn>
                <a:cxn ang="0">
                  <a:pos x="17" y="26"/>
                </a:cxn>
                <a:cxn ang="0">
                  <a:pos x="13" y="32"/>
                </a:cxn>
                <a:cxn ang="0">
                  <a:pos x="9" y="36"/>
                </a:cxn>
                <a:cxn ang="0">
                  <a:pos x="19" y="40"/>
                </a:cxn>
                <a:cxn ang="0">
                  <a:pos x="13" y="43"/>
                </a:cxn>
                <a:cxn ang="0">
                  <a:pos x="13" y="45"/>
                </a:cxn>
                <a:cxn ang="0">
                  <a:pos x="17" y="47"/>
                </a:cxn>
                <a:cxn ang="0">
                  <a:pos x="9" y="43"/>
                </a:cxn>
                <a:cxn ang="0">
                  <a:pos x="2" y="43"/>
                </a:cxn>
                <a:cxn ang="0">
                  <a:pos x="7" y="45"/>
                </a:cxn>
                <a:cxn ang="0">
                  <a:pos x="9" y="49"/>
                </a:cxn>
                <a:cxn ang="0">
                  <a:pos x="9" y="49"/>
                </a:cxn>
                <a:cxn ang="0">
                  <a:pos x="4" y="47"/>
                </a:cxn>
                <a:cxn ang="0">
                  <a:pos x="0" y="47"/>
                </a:cxn>
                <a:cxn ang="0">
                  <a:pos x="4" y="51"/>
                </a:cxn>
                <a:cxn ang="0">
                  <a:pos x="9" y="55"/>
                </a:cxn>
                <a:cxn ang="0">
                  <a:pos x="13" y="51"/>
                </a:cxn>
                <a:cxn ang="0">
                  <a:pos x="19" y="49"/>
                </a:cxn>
                <a:cxn ang="0">
                  <a:pos x="24" y="47"/>
                </a:cxn>
                <a:cxn ang="0">
                  <a:pos x="30" y="49"/>
                </a:cxn>
                <a:cxn ang="0">
                  <a:pos x="38" y="51"/>
                </a:cxn>
                <a:cxn ang="0">
                  <a:pos x="39" y="55"/>
                </a:cxn>
                <a:cxn ang="0">
                  <a:pos x="41" y="58"/>
                </a:cxn>
                <a:cxn ang="0">
                  <a:pos x="41" y="58"/>
                </a:cxn>
                <a:cxn ang="0">
                  <a:pos x="9" y="40"/>
                </a:cxn>
                <a:cxn ang="0">
                  <a:pos x="9" y="43"/>
                </a:cxn>
                <a:cxn ang="0">
                  <a:pos x="4" y="43"/>
                </a:cxn>
                <a:cxn ang="0">
                  <a:pos x="4" y="43"/>
                </a:cxn>
                <a:cxn ang="0">
                  <a:pos x="7" y="40"/>
                </a:cxn>
                <a:cxn ang="0">
                  <a:pos x="13" y="40"/>
                </a:cxn>
                <a:cxn ang="0">
                  <a:pos x="9" y="40"/>
                </a:cxn>
                <a:cxn ang="0">
                  <a:pos x="9" y="40"/>
                </a:cxn>
                <a:cxn ang="0">
                  <a:pos x="7" y="40"/>
                </a:cxn>
              </a:cxnLst>
              <a:rect l="0" t="0" r="r" b="b"/>
              <a:pathLst>
                <a:path w="68" h="58">
                  <a:moveTo>
                    <a:pt x="41" y="58"/>
                  </a:moveTo>
                  <a:lnTo>
                    <a:pt x="43" y="55"/>
                  </a:lnTo>
                  <a:lnTo>
                    <a:pt x="45" y="47"/>
                  </a:lnTo>
                  <a:lnTo>
                    <a:pt x="43" y="43"/>
                  </a:lnTo>
                  <a:lnTo>
                    <a:pt x="47" y="40"/>
                  </a:lnTo>
                  <a:lnTo>
                    <a:pt x="49" y="36"/>
                  </a:lnTo>
                  <a:lnTo>
                    <a:pt x="55" y="36"/>
                  </a:lnTo>
                  <a:lnTo>
                    <a:pt x="58" y="36"/>
                  </a:lnTo>
                  <a:lnTo>
                    <a:pt x="60" y="34"/>
                  </a:lnTo>
                  <a:lnTo>
                    <a:pt x="60" y="30"/>
                  </a:lnTo>
                  <a:lnTo>
                    <a:pt x="60" y="30"/>
                  </a:lnTo>
                  <a:lnTo>
                    <a:pt x="60" y="25"/>
                  </a:lnTo>
                  <a:lnTo>
                    <a:pt x="64" y="25"/>
                  </a:lnTo>
                  <a:lnTo>
                    <a:pt x="60" y="21"/>
                  </a:lnTo>
                  <a:lnTo>
                    <a:pt x="56" y="21"/>
                  </a:lnTo>
                  <a:lnTo>
                    <a:pt x="56" y="21"/>
                  </a:lnTo>
                  <a:lnTo>
                    <a:pt x="58" y="17"/>
                  </a:lnTo>
                  <a:lnTo>
                    <a:pt x="60" y="19"/>
                  </a:lnTo>
                  <a:lnTo>
                    <a:pt x="66" y="17"/>
                  </a:lnTo>
                  <a:lnTo>
                    <a:pt x="66" y="11"/>
                  </a:lnTo>
                  <a:lnTo>
                    <a:pt x="66" y="9"/>
                  </a:lnTo>
                  <a:lnTo>
                    <a:pt x="68" y="6"/>
                  </a:lnTo>
                  <a:lnTo>
                    <a:pt x="68" y="6"/>
                  </a:lnTo>
                  <a:lnTo>
                    <a:pt x="68" y="6"/>
                  </a:lnTo>
                  <a:lnTo>
                    <a:pt x="64" y="6"/>
                  </a:lnTo>
                  <a:lnTo>
                    <a:pt x="60" y="2"/>
                  </a:lnTo>
                  <a:lnTo>
                    <a:pt x="56" y="0"/>
                  </a:lnTo>
                  <a:lnTo>
                    <a:pt x="51" y="0"/>
                  </a:lnTo>
                  <a:lnTo>
                    <a:pt x="47" y="2"/>
                  </a:lnTo>
                  <a:lnTo>
                    <a:pt x="43" y="2"/>
                  </a:lnTo>
                  <a:lnTo>
                    <a:pt x="41" y="2"/>
                  </a:lnTo>
                  <a:lnTo>
                    <a:pt x="36" y="2"/>
                  </a:lnTo>
                  <a:lnTo>
                    <a:pt x="32" y="6"/>
                  </a:lnTo>
                  <a:lnTo>
                    <a:pt x="24" y="11"/>
                  </a:lnTo>
                  <a:lnTo>
                    <a:pt x="23" y="9"/>
                  </a:lnTo>
                  <a:lnTo>
                    <a:pt x="19" y="11"/>
                  </a:lnTo>
                  <a:lnTo>
                    <a:pt x="19" y="15"/>
                  </a:lnTo>
                  <a:lnTo>
                    <a:pt x="17" y="19"/>
                  </a:lnTo>
                  <a:lnTo>
                    <a:pt x="19" y="21"/>
                  </a:lnTo>
                  <a:lnTo>
                    <a:pt x="17" y="26"/>
                  </a:lnTo>
                  <a:lnTo>
                    <a:pt x="13" y="28"/>
                  </a:lnTo>
                  <a:lnTo>
                    <a:pt x="13" y="32"/>
                  </a:lnTo>
                  <a:lnTo>
                    <a:pt x="9" y="34"/>
                  </a:lnTo>
                  <a:lnTo>
                    <a:pt x="9" y="36"/>
                  </a:lnTo>
                  <a:lnTo>
                    <a:pt x="13" y="40"/>
                  </a:lnTo>
                  <a:lnTo>
                    <a:pt x="19" y="40"/>
                  </a:lnTo>
                  <a:lnTo>
                    <a:pt x="13" y="40"/>
                  </a:lnTo>
                  <a:lnTo>
                    <a:pt x="13" y="43"/>
                  </a:lnTo>
                  <a:lnTo>
                    <a:pt x="9" y="43"/>
                  </a:lnTo>
                  <a:lnTo>
                    <a:pt x="13" y="45"/>
                  </a:lnTo>
                  <a:lnTo>
                    <a:pt x="17" y="45"/>
                  </a:lnTo>
                  <a:lnTo>
                    <a:pt x="17" y="47"/>
                  </a:lnTo>
                  <a:lnTo>
                    <a:pt x="13" y="47"/>
                  </a:lnTo>
                  <a:lnTo>
                    <a:pt x="9" y="43"/>
                  </a:lnTo>
                  <a:lnTo>
                    <a:pt x="4" y="43"/>
                  </a:lnTo>
                  <a:lnTo>
                    <a:pt x="2" y="43"/>
                  </a:lnTo>
                  <a:lnTo>
                    <a:pt x="4" y="45"/>
                  </a:lnTo>
                  <a:lnTo>
                    <a:pt x="7" y="45"/>
                  </a:lnTo>
                  <a:lnTo>
                    <a:pt x="9" y="49"/>
                  </a:lnTo>
                  <a:lnTo>
                    <a:pt x="9" y="49"/>
                  </a:lnTo>
                  <a:lnTo>
                    <a:pt x="13" y="51"/>
                  </a:lnTo>
                  <a:lnTo>
                    <a:pt x="9" y="49"/>
                  </a:lnTo>
                  <a:lnTo>
                    <a:pt x="9" y="49"/>
                  </a:lnTo>
                  <a:lnTo>
                    <a:pt x="4" y="47"/>
                  </a:lnTo>
                  <a:lnTo>
                    <a:pt x="0" y="47"/>
                  </a:lnTo>
                  <a:lnTo>
                    <a:pt x="0" y="47"/>
                  </a:lnTo>
                  <a:lnTo>
                    <a:pt x="2" y="49"/>
                  </a:lnTo>
                  <a:lnTo>
                    <a:pt x="4" y="51"/>
                  </a:lnTo>
                  <a:lnTo>
                    <a:pt x="7" y="51"/>
                  </a:lnTo>
                  <a:lnTo>
                    <a:pt x="9" y="55"/>
                  </a:lnTo>
                  <a:lnTo>
                    <a:pt x="9" y="51"/>
                  </a:lnTo>
                  <a:lnTo>
                    <a:pt x="13" y="51"/>
                  </a:lnTo>
                  <a:lnTo>
                    <a:pt x="13" y="49"/>
                  </a:lnTo>
                  <a:lnTo>
                    <a:pt x="19" y="49"/>
                  </a:lnTo>
                  <a:lnTo>
                    <a:pt x="19" y="47"/>
                  </a:lnTo>
                  <a:lnTo>
                    <a:pt x="24" y="47"/>
                  </a:lnTo>
                  <a:lnTo>
                    <a:pt x="28" y="49"/>
                  </a:lnTo>
                  <a:lnTo>
                    <a:pt x="30" y="49"/>
                  </a:lnTo>
                  <a:lnTo>
                    <a:pt x="32" y="51"/>
                  </a:lnTo>
                  <a:lnTo>
                    <a:pt x="38" y="51"/>
                  </a:lnTo>
                  <a:lnTo>
                    <a:pt x="39" y="55"/>
                  </a:lnTo>
                  <a:lnTo>
                    <a:pt x="39" y="55"/>
                  </a:lnTo>
                  <a:lnTo>
                    <a:pt x="41" y="58"/>
                  </a:lnTo>
                  <a:lnTo>
                    <a:pt x="41" y="58"/>
                  </a:lnTo>
                  <a:lnTo>
                    <a:pt x="41" y="58"/>
                  </a:lnTo>
                  <a:lnTo>
                    <a:pt x="41" y="58"/>
                  </a:lnTo>
                  <a:close/>
                  <a:moveTo>
                    <a:pt x="4" y="43"/>
                  </a:moveTo>
                  <a:lnTo>
                    <a:pt x="9" y="40"/>
                  </a:lnTo>
                  <a:lnTo>
                    <a:pt x="9" y="43"/>
                  </a:lnTo>
                  <a:lnTo>
                    <a:pt x="9" y="43"/>
                  </a:lnTo>
                  <a:lnTo>
                    <a:pt x="9" y="43"/>
                  </a:lnTo>
                  <a:lnTo>
                    <a:pt x="4" y="43"/>
                  </a:lnTo>
                  <a:lnTo>
                    <a:pt x="4" y="43"/>
                  </a:lnTo>
                  <a:lnTo>
                    <a:pt x="4" y="43"/>
                  </a:lnTo>
                  <a:lnTo>
                    <a:pt x="4" y="43"/>
                  </a:lnTo>
                  <a:close/>
                  <a:moveTo>
                    <a:pt x="7" y="40"/>
                  </a:moveTo>
                  <a:lnTo>
                    <a:pt x="9" y="40"/>
                  </a:lnTo>
                  <a:lnTo>
                    <a:pt x="13" y="40"/>
                  </a:lnTo>
                  <a:lnTo>
                    <a:pt x="13" y="40"/>
                  </a:lnTo>
                  <a:lnTo>
                    <a:pt x="9" y="40"/>
                  </a:lnTo>
                  <a:lnTo>
                    <a:pt x="9" y="40"/>
                  </a:lnTo>
                  <a:lnTo>
                    <a:pt x="9" y="40"/>
                  </a:lnTo>
                  <a:lnTo>
                    <a:pt x="7" y="40"/>
                  </a:lnTo>
                  <a:lnTo>
                    <a:pt x="7" y="40"/>
                  </a:lnTo>
                  <a:lnTo>
                    <a:pt x="7" y="4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8" name="Freeform 20">
              <a:extLst>
                <a:ext uri="{FF2B5EF4-FFF2-40B4-BE49-F238E27FC236}">
                  <a16:creationId xmlns:a16="http://schemas.microsoft.com/office/drawing/2014/main" id="{C886392A-3BA2-4D0E-8AFA-9EDA9F2A9110}"/>
                </a:ext>
              </a:extLst>
            </p:cNvPr>
            <p:cNvSpPr>
              <a:spLocks/>
            </p:cNvSpPr>
            <p:nvPr/>
          </p:nvSpPr>
          <p:spPr bwMode="auto">
            <a:xfrm>
              <a:off x="2822" y="2050"/>
              <a:ext cx="53" cy="43"/>
            </a:xfrm>
            <a:custGeom>
              <a:avLst/>
              <a:gdLst/>
              <a:ahLst/>
              <a:cxnLst>
                <a:cxn ang="0">
                  <a:pos x="49" y="28"/>
                </a:cxn>
                <a:cxn ang="0">
                  <a:pos x="53" y="25"/>
                </a:cxn>
                <a:cxn ang="0">
                  <a:pos x="49" y="21"/>
                </a:cxn>
                <a:cxn ang="0">
                  <a:pos x="49" y="19"/>
                </a:cxn>
                <a:cxn ang="0">
                  <a:pos x="47" y="13"/>
                </a:cxn>
                <a:cxn ang="0">
                  <a:pos x="49" y="10"/>
                </a:cxn>
                <a:cxn ang="0">
                  <a:pos x="45" y="8"/>
                </a:cxn>
                <a:cxn ang="0">
                  <a:pos x="45" y="6"/>
                </a:cxn>
                <a:cxn ang="0">
                  <a:pos x="44" y="2"/>
                </a:cxn>
                <a:cxn ang="0">
                  <a:pos x="38" y="2"/>
                </a:cxn>
                <a:cxn ang="0">
                  <a:pos x="36" y="2"/>
                </a:cxn>
                <a:cxn ang="0">
                  <a:pos x="34" y="2"/>
                </a:cxn>
                <a:cxn ang="0">
                  <a:pos x="30" y="0"/>
                </a:cxn>
                <a:cxn ang="0">
                  <a:pos x="25" y="0"/>
                </a:cxn>
                <a:cxn ang="0">
                  <a:pos x="25" y="2"/>
                </a:cxn>
                <a:cxn ang="0">
                  <a:pos x="21" y="2"/>
                </a:cxn>
                <a:cxn ang="0">
                  <a:pos x="21" y="2"/>
                </a:cxn>
                <a:cxn ang="0">
                  <a:pos x="17" y="2"/>
                </a:cxn>
                <a:cxn ang="0">
                  <a:pos x="15" y="6"/>
                </a:cxn>
                <a:cxn ang="0">
                  <a:pos x="13" y="2"/>
                </a:cxn>
                <a:cxn ang="0">
                  <a:pos x="10" y="2"/>
                </a:cxn>
                <a:cxn ang="0">
                  <a:pos x="10" y="2"/>
                </a:cxn>
                <a:cxn ang="0">
                  <a:pos x="6" y="0"/>
                </a:cxn>
                <a:cxn ang="0">
                  <a:pos x="4" y="2"/>
                </a:cxn>
                <a:cxn ang="0">
                  <a:pos x="0" y="8"/>
                </a:cxn>
                <a:cxn ang="0">
                  <a:pos x="4" y="10"/>
                </a:cxn>
                <a:cxn ang="0">
                  <a:pos x="4" y="15"/>
                </a:cxn>
                <a:cxn ang="0">
                  <a:pos x="6" y="17"/>
                </a:cxn>
                <a:cxn ang="0">
                  <a:pos x="10" y="21"/>
                </a:cxn>
                <a:cxn ang="0">
                  <a:pos x="13" y="25"/>
                </a:cxn>
                <a:cxn ang="0">
                  <a:pos x="15" y="25"/>
                </a:cxn>
                <a:cxn ang="0">
                  <a:pos x="17" y="25"/>
                </a:cxn>
                <a:cxn ang="0">
                  <a:pos x="21" y="27"/>
                </a:cxn>
                <a:cxn ang="0">
                  <a:pos x="21" y="32"/>
                </a:cxn>
                <a:cxn ang="0">
                  <a:pos x="25" y="34"/>
                </a:cxn>
                <a:cxn ang="0">
                  <a:pos x="25" y="32"/>
                </a:cxn>
                <a:cxn ang="0">
                  <a:pos x="29" y="32"/>
                </a:cxn>
                <a:cxn ang="0">
                  <a:pos x="29" y="34"/>
                </a:cxn>
                <a:cxn ang="0">
                  <a:pos x="34" y="36"/>
                </a:cxn>
                <a:cxn ang="0">
                  <a:pos x="36" y="40"/>
                </a:cxn>
                <a:cxn ang="0">
                  <a:pos x="40" y="40"/>
                </a:cxn>
                <a:cxn ang="0">
                  <a:pos x="44" y="43"/>
                </a:cxn>
                <a:cxn ang="0">
                  <a:pos x="45" y="40"/>
                </a:cxn>
                <a:cxn ang="0">
                  <a:pos x="49" y="40"/>
                </a:cxn>
                <a:cxn ang="0">
                  <a:pos x="49" y="40"/>
                </a:cxn>
                <a:cxn ang="0">
                  <a:pos x="47" y="40"/>
                </a:cxn>
                <a:cxn ang="0">
                  <a:pos x="47" y="36"/>
                </a:cxn>
                <a:cxn ang="0">
                  <a:pos x="45" y="34"/>
                </a:cxn>
                <a:cxn ang="0">
                  <a:pos x="47" y="32"/>
                </a:cxn>
                <a:cxn ang="0">
                  <a:pos x="49" y="28"/>
                </a:cxn>
                <a:cxn ang="0">
                  <a:pos x="49" y="28"/>
                </a:cxn>
                <a:cxn ang="0">
                  <a:pos x="49" y="28"/>
                </a:cxn>
                <a:cxn ang="0">
                  <a:pos x="49" y="28"/>
                </a:cxn>
              </a:cxnLst>
              <a:rect l="0" t="0" r="r" b="b"/>
              <a:pathLst>
                <a:path w="53" h="43">
                  <a:moveTo>
                    <a:pt x="49" y="28"/>
                  </a:moveTo>
                  <a:lnTo>
                    <a:pt x="53" y="25"/>
                  </a:lnTo>
                  <a:lnTo>
                    <a:pt x="49" y="21"/>
                  </a:lnTo>
                  <a:lnTo>
                    <a:pt x="49" y="19"/>
                  </a:lnTo>
                  <a:lnTo>
                    <a:pt x="47" y="13"/>
                  </a:lnTo>
                  <a:lnTo>
                    <a:pt x="49" y="10"/>
                  </a:lnTo>
                  <a:lnTo>
                    <a:pt x="45" y="8"/>
                  </a:lnTo>
                  <a:lnTo>
                    <a:pt x="45" y="6"/>
                  </a:lnTo>
                  <a:lnTo>
                    <a:pt x="44" y="2"/>
                  </a:lnTo>
                  <a:lnTo>
                    <a:pt x="38" y="2"/>
                  </a:lnTo>
                  <a:lnTo>
                    <a:pt x="36" y="2"/>
                  </a:lnTo>
                  <a:lnTo>
                    <a:pt x="34" y="2"/>
                  </a:lnTo>
                  <a:lnTo>
                    <a:pt x="30" y="0"/>
                  </a:lnTo>
                  <a:lnTo>
                    <a:pt x="25" y="0"/>
                  </a:lnTo>
                  <a:lnTo>
                    <a:pt x="25" y="2"/>
                  </a:lnTo>
                  <a:lnTo>
                    <a:pt x="21" y="2"/>
                  </a:lnTo>
                  <a:lnTo>
                    <a:pt x="21" y="2"/>
                  </a:lnTo>
                  <a:lnTo>
                    <a:pt x="17" y="2"/>
                  </a:lnTo>
                  <a:lnTo>
                    <a:pt x="15" y="6"/>
                  </a:lnTo>
                  <a:lnTo>
                    <a:pt x="13" y="2"/>
                  </a:lnTo>
                  <a:lnTo>
                    <a:pt x="10" y="2"/>
                  </a:lnTo>
                  <a:lnTo>
                    <a:pt x="10" y="2"/>
                  </a:lnTo>
                  <a:lnTo>
                    <a:pt x="6" y="0"/>
                  </a:lnTo>
                  <a:lnTo>
                    <a:pt x="4" y="2"/>
                  </a:lnTo>
                  <a:lnTo>
                    <a:pt x="0" y="8"/>
                  </a:lnTo>
                  <a:lnTo>
                    <a:pt x="4" y="10"/>
                  </a:lnTo>
                  <a:lnTo>
                    <a:pt x="4" y="15"/>
                  </a:lnTo>
                  <a:lnTo>
                    <a:pt x="6" y="17"/>
                  </a:lnTo>
                  <a:lnTo>
                    <a:pt x="10" y="21"/>
                  </a:lnTo>
                  <a:lnTo>
                    <a:pt x="13" y="25"/>
                  </a:lnTo>
                  <a:lnTo>
                    <a:pt x="15" y="25"/>
                  </a:lnTo>
                  <a:lnTo>
                    <a:pt x="17" y="25"/>
                  </a:lnTo>
                  <a:lnTo>
                    <a:pt x="21" y="27"/>
                  </a:lnTo>
                  <a:lnTo>
                    <a:pt x="21" y="32"/>
                  </a:lnTo>
                  <a:lnTo>
                    <a:pt x="25" y="34"/>
                  </a:lnTo>
                  <a:lnTo>
                    <a:pt x="25" y="32"/>
                  </a:lnTo>
                  <a:lnTo>
                    <a:pt x="29" y="32"/>
                  </a:lnTo>
                  <a:lnTo>
                    <a:pt x="29" y="34"/>
                  </a:lnTo>
                  <a:lnTo>
                    <a:pt x="34" y="36"/>
                  </a:lnTo>
                  <a:lnTo>
                    <a:pt x="36" y="40"/>
                  </a:lnTo>
                  <a:lnTo>
                    <a:pt x="40" y="40"/>
                  </a:lnTo>
                  <a:lnTo>
                    <a:pt x="44" y="43"/>
                  </a:lnTo>
                  <a:lnTo>
                    <a:pt x="45" y="40"/>
                  </a:lnTo>
                  <a:lnTo>
                    <a:pt x="49" y="40"/>
                  </a:lnTo>
                  <a:lnTo>
                    <a:pt x="49" y="40"/>
                  </a:lnTo>
                  <a:lnTo>
                    <a:pt x="47" y="40"/>
                  </a:lnTo>
                  <a:lnTo>
                    <a:pt x="47" y="36"/>
                  </a:lnTo>
                  <a:lnTo>
                    <a:pt x="45" y="34"/>
                  </a:lnTo>
                  <a:lnTo>
                    <a:pt x="47" y="32"/>
                  </a:lnTo>
                  <a:lnTo>
                    <a:pt x="49" y="28"/>
                  </a:lnTo>
                  <a:lnTo>
                    <a:pt x="49" y="28"/>
                  </a:lnTo>
                  <a:lnTo>
                    <a:pt x="49" y="28"/>
                  </a:lnTo>
                  <a:lnTo>
                    <a:pt x="49" y="2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9" name="Freeform 21">
              <a:extLst>
                <a:ext uri="{FF2B5EF4-FFF2-40B4-BE49-F238E27FC236}">
                  <a16:creationId xmlns:a16="http://schemas.microsoft.com/office/drawing/2014/main" id="{44F54D02-4B15-4468-83A2-80DAF2113486}"/>
                </a:ext>
              </a:extLst>
            </p:cNvPr>
            <p:cNvSpPr>
              <a:spLocks/>
            </p:cNvSpPr>
            <p:nvPr/>
          </p:nvSpPr>
          <p:spPr bwMode="auto">
            <a:xfrm>
              <a:off x="2869" y="2082"/>
              <a:ext cx="12" cy="15"/>
            </a:xfrm>
            <a:custGeom>
              <a:avLst/>
              <a:gdLst/>
              <a:ahLst/>
              <a:cxnLst>
                <a:cxn ang="0">
                  <a:pos x="4" y="11"/>
                </a:cxn>
                <a:cxn ang="0">
                  <a:pos x="4" y="10"/>
                </a:cxn>
                <a:cxn ang="0">
                  <a:pos x="2" y="10"/>
                </a:cxn>
                <a:cxn ang="0">
                  <a:pos x="2" y="6"/>
                </a:cxn>
                <a:cxn ang="0">
                  <a:pos x="0" y="6"/>
                </a:cxn>
                <a:cxn ang="0">
                  <a:pos x="2" y="2"/>
                </a:cxn>
                <a:cxn ang="0">
                  <a:pos x="4" y="0"/>
                </a:cxn>
                <a:cxn ang="0">
                  <a:pos x="4" y="0"/>
                </a:cxn>
                <a:cxn ang="0">
                  <a:pos x="8" y="6"/>
                </a:cxn>
                <a:cxn ang="0">
                  <a:pos x="8" y="10"/>
                </a:cxn>
                <a:cxn ang="0">
                  <a:pos x="12" y="10"/>
                </a:cxn>
                <a:cxn ang="0">
                  <a:pos x="12" y="15"/>
                </a:cxn>
                <a:cxn ang="0">
                  <a:pos x="8" y="15"/>
                </a:cxn>
                <a:cxn ang="0">
                  <a:pos x="4" y="15"/>
                </a:cxn>
                <a:cxn ang="0">
                  <a:pos x="4" y="11"/>
                </a:cxn>
                <a:cxn ang="0">
                  <a:pos x="4" y="11"/>
                </a:cxn>
                <a:cxn ang="0">
                  <a:pos x="4" y="11"/>
                </a:cxn>
                <a:cxn ang="0">
                  <a:pos x="4" y="11"/>
                </a:cxn>
              </a:cxnLst>
              <a:rect l="0" t="0" r="r" b="b"/>
              <a:pathLst>
                <a:path w="12" h="15">
                  <a:moveTo>
                    <a:pt x="4" y="11"/>
                  </a:moveTo>
                  <a:lnTo>
                    <a:pt x="4" y="10"/>
                  </a:lnTo>
                  <a:lnTo>
                    <a:pt x="2" y="10"/>
                  </a:lnTo>
                  <a:lnTo>
                    <a:pt x="2" y="6"/>
                  </a:lnTo>
                  <a:lnTo>
                    <a:pt x="0" y="6"/>
                  </a:lnTo>
                  <a:lnTo>
                    <a:pt x="2" y="2"/>
                  </a:lnTo>
                  <a:lnTo>
                    <a:pt x="4" y="0"/>
                  </a:lnTo>
                  <a:lnTo>
                    <a:pt x="4" y="0"/>
                  </a:lnTo>
                  <a:lnTo>
                    <a:pt x="8" y="6"/>
                  </a:lnTo>
                  <a:lnTo>
                    <a:pt x="8" y="10"/>
                  </a:lnTo>
                  <a:lnTo>
                    <a:pt x="12" y="10"/>
                  </a:lnTo>
                  <a:lnTo>
                    <a:pt x="12" y="15"/>
                  </a:lnTo>
                  <a:lnTo>
                    <a:pt x="8" y="15"/>
                  </a:lnTo>
                  <a:lnTo>
                    <a:pt x="4" y="15"/>
                  </a:lnTo>
                  <a:lnTo>
                    <a:pt x="4" y="11"/>
                  </a:lnTo>
                  <a:lnTo>
                    <a:pt x="4" y="11"/>
                  </a:lnTo>
                  <a:lnTo>
                    <a:pt x="4" y="11"/>
                  </a:lnTo>
                  <a:lnTo>
                    <a:pt x="4" y="11"/>
                  </a:lnTo>
                  <a:close/>
                </a:path>
              </a:pathLst>
            </a:custGeom>
            <a:solidFill>
              <a:srgbClr val="BDBD00"/>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0" name="Freeform 22">
              <a:extLst>
                <a:ext uri="{FF2B5EF4-FFF2-40B4-BE49-F238E27FC236}">
                  <a16:creationId xmlns:a16="http://schemas.microsoft.com/office/drawing/2014/main" id="{70871990-F5BB-4B1E-8D64-B6EDDBA5CA44}"/>
                </a:ext>
              </a:extLst>
            </p:cNvPr>
            <p:cNvSpPr>
              <a:spLocks/>
            </p:cNvSpPr>
            <p:nvPr/>
          </p:nvSpPr>
          <p:spPr bwMode="auto">
            <a:xfrm>
              <a:off x="2606" y="1950"/>
              <a:ext cx="73" cy="95"/>
            </a:xfrm>
            <a:custGeom>
              <a:avLst/>
              <a:gdLst/>
              <a:ahLst/>
              <a:cxnLst>
                <a:cxn ang="0">
                  <a:pos x="30" y="91"/>
                </a:cxn>
                <a:cxn ang="0">
                  <a:pos x="36" y="87"/>
                </a:cxn>
                <a:cxn ang="0">
                  <a:pos x="41" y="85"/>
                </a:cxn>
                <a:cxn ang="0">
                  <a:pos x="56" y="79"/>
                </a:cxn>
                <a:cxn ang="0">
                  <a:pos x="60" y="78"/>
                </a:cxn>
                <a:cxn ang="0">
                  <a:pos x="64" y="76"/>
                </a:cxn>
                <a:cxn ang="0">
                  <a:pos x="69" y="68"/>
                </a:cxn>
                <a:cxn ang="0">
                  <a:pos x="71" y="53"/>
                </a:cxn>
                <a:cxn ang="0">
                  <a:pos x="71" y="46"/>
                </a:cxn>
                <a:cxn ang="0">
                  <a:pos x="68" y="38"/>
                </a:cxn>
                <a:cxn ang="0">
                  <a:pos x="68" y="32"/>
                </a:cxn>
                <a:cxn ang="0">
                  <a:pos x="56" y="23"/>
                </a:cxn>
                <a:cxn ang="0">
                  <a:pos x="51" y="30"/>
                </a:cxn>
                <a:cxn ang="0">
                  <a:pos x="51" y="15"/>
                </a:cxn>
                <a:cxn ang="0">
                  <a:pos x="56" y="8"/>
                </a:cxn>
                <a:cxn ang="0">
                  <a:pos x="60" y="4"/>
                </a:cxn>
                <a:cxn ang="0">
                  <a:pos x="56" y="0"/>
                </a:cxn>
                <a:cxn ang="0">
                  <a:pos x="49" y="10"/>
                </a:cxn>
                <a:cxn ang="0">
                  <a:pos x="49" y="4"/>
                </a:cxn>
                <a:cxn ang="0">
                  <a:pos x="45" y="4"/>
                </a:cxn>
                <a:cxn ang="0">
                  <a:pos x="39" y="6"/>
                </a:cxn>
                <a:cxn ang="0">
                  <a:pos x="39" y="12"/>
                </a:cxn>
                <a:cxn ang="0">
                  <a:pos x="36" y="14"/>
                </a:cxn>
                <a:cxn ang="0">
                  <a:pos x="36" y="19"/>
                </a:cxn>
                <a:cxn ang="0">
                  <a:pos x="41" y="19"/>
                </a:cxn>
                <a:cxn ang="0">
                  <a:pos x="36" y="25"/>
                </a:cxn>
                <a:cxn ang="0">
                  <a:pos x="24" y="29"/>
                </a:cxn>
                <a:cxn ang="0">
                  <a:pos x="15" y="25"/>
                </a:cxn>
                <a:cxn ang="0">
                  <a:pos x="11" y="27"/>
                </a:cxn>
                <a:cxn ang="0">
                  <a:pos x="15" y="32"/>
                </a:cxn>
                <a:cxn ang="0">
                  <a:pos x="5" y="32"/>
                </a:cxn>
                <a:cxn ang="0">
                  <a:pos x="17" y="38"/>
                </a:cxn>
                <a:cxn ang="0">
                  <a:pos x="15" y="42"/>
                </a:cxn>
                <a:cxn ang="0">
                  <a:pos x="5" y="46"/>
                </a:cxn>
                <a:cxn ang="0">
                  <a:pos x="9" y="47"/>
                </a:cxn>
                <a:cxn ang="0">
                  <a:pos x="26" y="51"/>
                </a:cxn>
                <a:cxn ang="0">
                  <a:pos x="17" y="59"/>
                </a:cxn>
                <a:cxn ang="0">
                  <a:pos x="9" y="68"/>
                </a:cxn>
                <a:cxn ang="0">
                  <a:pos x="17" y="66"/>
                </a:cxn>
                <a:cxn ang="0">
                  <a:pos x="24" y="64"/>
                </a:cxn>
                <a:cxn ang="0">
                  <a:pos x="15" y="68"/>
                </a:cxn>
                <a:cxn ang="0">
                  <a:pos x="9" y="72"/>
                </a:cxn>
                <a:cxn ang="0">
                  <a:pos x="9" y="76"/>
                </a:cxn>
                <a:cxn ang="0">
                  <a:pos x="2" y="76"/>
                </a:cxn>
                <a:cxn ang="0">
                  <a:pos x="9" y="78"/>
                </a:cxn>
                <a:cxn ang="0">
                  <a:pos x="2" y="85"/>
                </a:cxn>
                <a:cxn ang="0">
                  <a:pos x="15" y="85"/>
                </a:cxn>
                <a:cxn ang="0">
                  <a:pos x="9" y="91"/>
                </a:cxn>
                <a:cxn ang="0">
                  <a:pos x="9" y="91"/>
                </a:cxn>
                <a:cxn ang="0">
                  <a:pos x="15" y="95"/>
                </a:cxn>
                <a:cxn ang="0">
                  <a:pos x="17" y="95"/>
                </a:cxn>
              </a:cxnLst>
              <a:rect l="0" t="0" r="r" b="b"/>
              <a:pathLst>
                <a:path w="73" h="95">
                  <a:moveTo>
                    <a:pt x="17" y="95"/>
                  </a:moveTo>
                  <a:lnTo>
                    <a:pt x="24" y="95"/>
                  </a:lnTo>
                  <a:lnTo>
                    <a:pt x="30" y="91"/>
                  </a:lnTo>
                  <a:lnTo>
                    <a:pt x="36" y="87"/>
                  </a:lnTo>
                  <a:lnTo>
                    <a:pt x="34" y="85"/>
                  </a:lnTo>
                  <a:lnTo>
                    <a:pt x="36" y="87"/>
                  </a:lnTo>
                  <a:lnTo>
                    <a:pt x="36" y="87"/>
                  </a:lnTo>
                  <a:lnTo>
                    <a:pt x="39" y="87"/>
                  </a:lnTo>
                  <a:lnTo>
                    <a:pt x="41" y="85"/>
                  </a:lnTo>
                  <a:lnTo>
                    <a:pt x="45" y="85"/>
                  </a:lnTo>
                  <a:lnTo>
                    <a:pt x="45" y="81"/>
                  </a:lnTo>
                  <a:lnTo>
                    <a:pt x="56" y="79"/>
                  </a:lnTo>
                  <a:lnTo>
                    <a:pt x="58" y="78"/>
                  </a:lnTo>
                  <a:lnTo>
                    <a:pt x="58" y="79"/>
                  </a:lnTo>
                  <a:lnTo>
                    <a:pt x="60" y="78"/>
                  </a:lnTo>
                  <a:lnTo>
                    <a:pt x="64" y="79"/>
                  </a:lnTo>
                  <a:lnTo>
                    <a:pt x="68" y="79"/>
                  </a:lnTo>
                  <a:lnTo>
                    <a:pt x="64" y="76"/>
                  </a:lnTo>
                  <a:lnTo>
                    <a:pt x="66" y="72"/>
                  </a:lnTo>
                  <a:lnTo>
                    <a:pt x="69" y="70"/>
                  </a:lnTo>
                  <a:lnTo>
                    <a:pt x="69" y="68"/>
                  </a:lnTo>
                  <a:lnTo>
                    <a:pt x="71" y="64"/>
                  </a:lnTo>
                  <a:lnTo>
                    <a:pt x="73" y="61"/>
                  </a:lnTo>
                  <a:lnTo>
                    <a:pt x="71" y="53"/>
                  </a:lnTo>
                  <a:lnTo>
                    <a:pt x="69" y="51"/>
                  </a:lnTo>
                  <a:lnTo>
                    <a:pt x="71" y="49"/>
                  </a:lnTo>
                  <a:lnTo>
                    <a:pt x="71" y="46"/>
                  </a:lnTo>
                  <a:lnTo>
                    <a:pt x="69" y="42"/>
                  </a:lnTo>
                  <a:lnTo>
                    <a:pt x="69" y="38"/>
                  </a:lnTo>
                  <a:lnTo>
                    <a:pt x="68" y="38"/>
                  </a:lnTo>
                  <a:lnTo>
                    <a:pt x="69" y="34"/>
                  </a:lnTo>
                  <a:lnTo>
                    <a:pt x="71" y="34"/>
                  </a:lnTo>
                  <a:lnTo>
                    <a:pt x="68" y="32"/>
                  </a:lnTo>
                  <a:lnTo>
                    <a:pt x="64" y="32"/>
                  </a:lnTo>
                  <a:lnTo>
                    <a:pt x="60" y="25"/>
                  </a:lnTo>
                  <a:lnTo>
                    <a:pt x="56" y="23"/>
                  </a:lnTo>
                  <a:lnTo>
                    <a:pt x="54" y="25"/>
                  </a:lnTo>
                  <a:lnTo>
                    <a:pt x="51" y="29"/>
                  </a:lnTo>
                  <a:lnTo>
                    <a:pt x="51" y="30"/>
                  </a:lnTo>
                  <a:lnTo>
                    <a:pt x="41" y="23"/>
                  </a:lnTo>
                  <a:lnTo>
                    <a:pt x="47" y="15"/>
                  </a:lnTo>
                  <a:lnTo>
                    <a:pt x="51" y="15"/>
                  </a:lnTo>
                  <a:lnTo>
                    <a:pt x="51" y="12"/>
                  </a:lnTo>
                  <a:lnTo>
                    <a:pt x="54" y="10"/>
                  </a:lnTo>
                  <a:lnTo>
                    <a:pt x="56" y="8"/>
                  </a:lnTo>
                  <a:lnTo>
                    <a:pt x="54" y="8"/>
                  </a:lnTo>
                  <a:lnTo>
                    <a:pt x="58" y="6"/>
                  </a:lnTo>
                  <a:lnTo>
                    <a:pt x="60" y="4"/>
                  </a:lnTo>
                  <a:lnTo>
                    <a:pt x="56" y="0"/>
                  </a:lnTo>
                  <a:lnTo>
                    <a:pt x="54" y="0"/>
                  </a:lnTo>
                  <a:lnTo>
                    <a:pt x="56" y="0"/>
                  </a:lnTo>
                  <a:lnTo>
                    <a:pt x="51" y="0"/>
                  </a:lnTo>
                  <a:lnTo>
                    <a:pt x="51" y="6"/>
                  </a:lnTo>
                  <a:lnTo>
                    <a:pt x="49" y="10"/>
                  </a:lnTo>
                  <a:lnTo>
                    <a:pt x="51" y="8"/>
                  </a:lnTo>
                  <a:lnTo>
                    <a:pt x="51" y="6"/>
                  </a:lnTo>
                  <a:lnTo>
                    <a:pt x="49" y="4"/>
                  </a:lnTo>
                  <a:lnTo>
                    <a:pt x="47" y="4"/>
                  </a:lnTo>
                  <a:lnTo>
                    <a:pt x="49" y="4"/>
                  </a:lnTo>
                  <a:lnTo>
                    <a:pt x="45" y="4"/>
                  </a:lnTo>
                  <a:lnTo>
                    <a:pt x="43" y="4"/>
                  </a:lnTo>
                  <a:lnTo>
                    <a:pt x="39" y="4"/>
                  </a:lnTo>
                  <a:lnTo>
                    <a:pt x="39" y="6"/>
                  </a:lnTo>
                  <a:lnTo>
                    <a:pt x="39" y="8"/>
                  </a:lnTo>
                  <a:lnTo>
                    <a:pt x="36" y="10"/>
                  </a:lnTo>
                  <a:lnTo>
                    <a:pt x="39" y="12"/>
                  </a:lnTo>
                  <a:lnTo>
                    <a:pt x="39" y="14"/>
                  </a:lnTo>
                  <a:lnTo>
                    <a:pt x="36" y="14"/>
                  </a:lnTo>
                  <a:lnTo>
                    <a:pt x="36" y="14"/>
                  </a:lnTo>
                  <a:lnTo>
                    <a:pt x="34" y="15"/>
                  </a:lnTo>
                  <a:lnTo>
                    <a:pt x="34" y="19"/>
                  </a:lnTo>
                  <a:lnTo>
                    <a:pt x="36" y="19"/>
                  </a:lnTo>
                  <a:lnTo>
                    <a:pt x="36" y="19"/>
                  </a:lnTo>
                  <a:lnTo>
                    <a:pt x="39" y="19"/>
                  </a:lnTo>
                  <a:lnTo>
                    <a:pt x="41" y="19"/>
                  </a:lnTo>
                  <a:lnTo>
                    <a:pt x="39" y="21"/>
                  </a:lnTo>
                  <a:lnTo>
                    <a:pt x="34" y="23"/>
                  </a:lnTo>
                  <a:lnTo>
                    <a:pt x="36" y="25"/>
                  </a:lnTo>
                  <a:lnTo>
                    <a:pt x="30" y="27"/>
                  </a:lnTo>
                  <a:lnTo>
                    <a:pt x="26" y="25"/>
                  </a:lnTo>
                  <a:lnTo>
                    <a:pt x="24" y="29"/>
                  </a:lnTo>
                  <a:lnTo>
                    <a:pt x="22" y="25"/>
                  </a:lnTo>
                  <a:lnTo>
                    <a:pt x="15" y="23"/>
                  </a:lnTo>
                  <a:lnTo>
                    <a:pt x="15" y="25"/>
                  </a:lnTo>
                  <a:lnTo>
                    <a:pt x="9" y="23"/>
                  </a:lnTo>
                  <a:lnTo>
                    <a:pt x="9" y="29"/>
                  </a:lnTo>
                  <a:lnTo>
                    <a:pt x="11" y="27"/>
                  </a:lnTo>
                  <a:lnTo>
                    <a:pt x="11" y="29"/>
                  </a:lnTo>
                  <a:lnTo>
                    <a:pt x="15" y="30"/>
                  </a:lnTo>
                  <a:lnTo>
                    <a:pt x="15" y="32"/>
                  </a:lnTo>
                  <a:lnTo>
                    <a:pt x="11" y="34"/>
                  </a:lnTo>
                  <a:lnTo>
                    <a:pt x="11" y="32"/>
                  </a:lnTo>
                  <a:lnTo>
                    <a:pt x="5" y="32"/>
                  </a:lnTo>
                  <a:lnTo>
                    <a:pt x="11" y="34"/>
                  </a:lnTo>
                  <a:lnTo>
                    <a:pt x="15" y="34"/>
                  </a:lnTo>
                  <a:lnTo>
                    <a:pt x="17" y="38"/>
                  </a:lnTo>
                  <a:lnTo>
                    <a:pt x="11" y="38"/>
                  </a:lnTo>
                  <a:lnTo>
                    <a:pt x="11" y="40"/>
                  </a:lnTo>
                  <a:lnTo>
                    <a:pt x="15" y="42"/>
                  </a:lnTo>
                  <a:lnTo>
                    <a:pt x="9" y="42"/>
                  </a:lnTo>
                  <a:lnTo>
                    <a:pt x="9" y="44"/>
                  </a:lnTo>
                  <a:lnTo>
                    <a:pt x="5" y="46"/>
                  </a:lnTo>
                  <a:lnTo>
                    <a:pt x="9" y="47"/>
                  </a:lnTo>
                  <a:lnTo>
                    <a:pt x="11" y="46"/>
                  </a:lnTo>
                  <a:lnTo>
                    <a:pt x="9" y="47"/>
                  </a:lnTo>
                  <a:lnTo>
                    <a:pt x="15" y="47"/>
                  </a:lnTo>
                  <a:lnTo>
                    <a:pt x="15" y="51"/>
                  </a:lnTo>
                  <a:lnTo>
                    <a:pt x="26" y="51"/>
                  </a:lnTo>
                  <a:lnTo>
                    <a:pt x="22" y="53"/>
                  </a:lnTo>
                  <a:lnTo>
                    <a:pt x="21" y="53"/>
                  </a:lnTo>
                  <a:lnTo>
                    <a:pt x="17" y="59"/>
                  </a:lnTo>
                  <a:lnTo>
                    <a:pt x="19" y="59"/>
                  </a:lnTo>
                  <a:lnTo>
                    <a:pt x="15" y="62"/>
                  </a:lnTo>
                  <a:lnTo>
                    <a:pt x="9" y="68"/>
                  </a:lnTo>
                  <a:lnTo>
                    <a:pt x="11" y="68"/>
                  </a:lnTo>
                  <a:lnTo>
                    <a:pt x="15" y="64"/>
                  </a:lnTo>
                  <a:lnTo>
                    <a:pt x="17" y="66"/>
                  </a:lnTo>
                  <a:lnTo>
                    <a:pt x="22" y="66"/>
                  </a:lnTo>
                  <a:lnTo>
                    <a:pt x="24" y="64"/>
                  </a:lnTo>
                  <a:lnTo>
                    <a:pt x="24" y="64"/>
                  </a:lnTo>
                  <a:lnTo>
                    <a:pt x="26" y="66"/>
                  </a:lnTo>
                  <a:lnTo>
                    <a:pt x="21" y="68"/>
                  </a:lnTo>
                  <a:lnTo>
                    <a:pt x="15" y="68"/>
                  </a:lnTo>
                  <a:lnTo>
                    <a:pt x="15" y="70"/>
                  </a:lnTo>
                  <a:lnTo>
                    <a:pt x="9" y="72"/>
                  </a:lnTo>
                  <a:lnTo>
                    <a:pt x="9" y="72"/>
                  </a:lnTo>
                  <a:lnTo>
                    <a:pt x="9" y="76"/>
                  </a:lnTo>
                  <a:lnTo>
                    <a:pt x="11" y="76"/>
                  </a:lnTo>
                  <a:lnTo>
                    <a:pt x="9" y="76"/>
                  </a:lnTo>
                  <a:lnTo>
                    <a:pt x="5" y="72"/>
                  </a:lnTo>
                  <a:lnTo>
                    <a:pt x="5" y="76"/>
                  </a:lnTo>
                  <a:lnTo>
                    <a:pt x="2" y="76"/>
                  </a:lnTo>
                  <a:lnTo>
                    <a:pt x="0" y="76"/>
                  </a:lnTo>
                  <a:lnTo>
                    <a:pt x="0" y="78"/>
                  </a:lnTo>
                  <a:lnTo>
                    <a:pt x="9" y="78"/>
                  </a:lnTo>
                  <a:lnTo>
                    <a:pt x="5" y="79"/>
                  </a:lnTo>
                  <a:lnTo>
                    <a:pt x="2" y="81"/>
                  </a:lnTo>
                  <a:lnTo>
                    <a:pt x="2" y="85"/>
                  </a:lnTo>
                  <a:lnTo>
                    <a:pt x="2" y="85"/>
                  </a:lnTo>
                  <a:lnTo>
                    <a:pt x="5" y="87"/>
                  </a:lnTo>
                  <a:lnTo>
                    <a:pt x="15" y="85"/>
                  </a:lnTo>
                  <a:lnTo>
                    <a:pt x="5" y="87"/>
                  </a:lnTo>
                  <a:lnTo>
                    <a:pt x="2" y="91"/>
                  </a:lnTo>
                  <a:lnTo>
                    <a:pt x="9" y="91"/>
                  </a:lnTo>
                  <a:lnTo>
                    <a:pt x="15" y="87"/>
                  </a:lnTo>
                  <a:lnTo>
                    <a:pt x="15" y="91"/>
                  </a:lnTo>
                  <a:lnTo>
                    <a:pt x="9" y="91"/>
                  </a:lnTo>
                  <a:lnTo>
                    <a:pt x="11" y="91"/>
                  </a:lnTo>
                  <a:lnTo>
                    <a:pt x="9" y="95"/>
                  </a:lnTo>
                  <a:lnTo>
                    <a:pt x="15" y="95"/>
                  </a:lnTo>
                  <a:lnTo>
                    <a:pt x="17" y="95"/>
                  </a:lnTo>
                  <a:lnTo>
                    <a:pt x="17" y="95"/>
                  </a:lnTo>
                  <a:lnTo>
                    <a:pt x="17" y="95"/>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1" name="Freeform 23">
              <a:extLst>
                <a:ext uri="{FF2B5EF4-FFF2-40B4-BE49-F238E27FC236}">
                  <a16:creationId xmlns:a16="http://schemas.microsoft.com/office/drawing/2014/main" id="{0AB3469C-202F-4C69-8945-85E46325C4A4}"/>
                </a:ext>
              </a:extLst>
            </p:cNvPr>
            <p:cNvSpPr>
              <a:spLocks noEditPoints="1"/>
            </p:cNvSpPr>
            <p:nvPr/>
          </p:nvSpPr>
          <p:spPr bwMode="auto">
            <a:xfrm>
              <a:off x="2647" y="1796"/>
              <a:ext cx="158" cy="297"/>
            </a:xfrm>
            <a:custGeom>
              <a:avLst/>
              <a:gdLst/>
              <a:ahLst/>
              <a:cxnLst>
                <a:cxn ang="0">
                  <a:pos x="10" y="166"/>
                </a:cxn>
                <a:cxn ang="0">
                  <a:pos x="42" y="173"/>
                </a:cxn>
                <a:cxn ang="0">
                  <a:pos x="30" y="190"/>
                </a:cxn>
                <a:cxn ang="0">
                  <a:pos x="115" y="6"/>
                </a:cxn>
                <a:cxn ang="0">
                  <a:pos x="106" y="13"/>
                </a:cxn>
                <a:cxn ang="0">
                  <a:pos x="111" y="11"/>
                </a:cxn>
                <a:cxn ang="0">
                  <a:pos x="111" y="15"/>
                </a:cxn>
                <a:cxn ang="0">
                  <a:pos x="147" y="254"/>
                </a:cxn>
                <a:cxn ang="0">
                  <a:pos x="111" y="281"/>
                </a:cxn>
                <a:cxn ang="0">
                  <a:pos x="47" y="141"/>
                </a:cxn>
                <a:cxn ang="0">
                  <a:pos x="21" y="126"/>
                </a:cxn>
                <a:cxn ang="0">
                  <a:pos x="34" y="115"/>
                </a:cxn>
                <a:cxn ang="0">
                  <a:pos x="28" y="111"/>
                </a:cxn>
                <a:cxn ang="0">
                  <a:pos x="76" y="60"/>
                </a:cxn>
                <a:cxn ang="0">
                  <a:pos x="72" y="64"/>
                </a:cxn>
                <a:cxn ang="0">
                  <a:pos x="25" y="83"/>
                </a:cxn>
                <a:cxn ang="0">
                  <a:pos x="21" y="87"/>
                </a:cxn>
                <a:cxn ang="0">
                  <a:pos x="19" y="96"/>
                </a:cxn>
                <a:cxn ang="0">
                  <a:pos x="19" y="100"/>
                </a:cxn>
                <a:cxn ang="0">
                  <a:pos x="13" y="111"/>
                </a:cxn>
                <a:cxn ang="0">
                  <a:pos x="17" y="109"/>
                </a:cxn>
                <a:cxn ang="0">
                  <a:pos x="30" y="100"/>
                </a:cxn>
                <a:cxn ang="0">
                  <a:pos x="34" y="111"/>
                </a:cxn>
                <a:cxn ang="0">
                  <a:pos x="32" y="130"/>
                </a:cxn>
                <a:cxn ang="0">
                  <a:pos x="34" y="145"/>
                </a:cxn>
                <a:cxn ang="0">
                  <a:pos x="44" y="154"/>
                </a:cxn>
                <a:cxn ang="0">
                  <a:pos x="60" y="205"/>
                </a:cxn>
                <a:cxn ang="0">
                  <a:pos x="55" y="190"/>
                </a:cxn>
                <a:cxn ang="0">
                  <a:pos x="53" y="284"/>
                </a:cxn>
                <a:cxn ang="0">
                  <a:pos x="72" y="282"/>
                </a:cxn>
                <a:cxn ang="0">
                  <a:pos x="108" y="277"/>
                </a:cxn>
                <a:cxn ang="0">
                  <a:pos x="140" y="271"/>
                </a:cxn>
                <a:cxn ang="0">
                  <a:pos x="147" y="258"/>
                </a:cxn>
                <a:cxn ang="0">
                  <a:pos x="145" y="249"/>
                </a:cxn>
                <a:cxn ang="0">
                  <a:pos x="153" y="241"/>
                </a:cxn>
                <a:cxn ang="0">
                  <a:pos x="130" y="220"/>
                </a:cxn>
                <a:cxn ang="0">
                  <a:pos x="119" y="196"/>
                </a:cxn>
                <a:cxn ang="0">
                  <a:pos x="123" y="184"/>
                </a:cxn>
                <a:cxn ang="0">
                  <a:pos x="91" y="141"/>
                </a:cxn>
                <a:cxn ang="0">
                  <a:pos x="77" y="135"/>
                </a:cxn>
                <a:cxn ang="0">
                  <a:pos x="85" y="120"/>
                </a:cxn>
                <a:cxn ang="0">
                  <a:pos x="83" y="94"/>
                </a:cxn>
                <a:cxn ang="0">
                  <a:pos x="64" y="94"/>
                </a:cxn>
                <a:cxn ang="0">
                  <a:pos x="77" y="70"/>
                </a:cxn>
                <a:cxn ang="0">
                  <a:pos x="53" y="71"/>
                </a:cxn>
                <a:cxn ang="0">
                  <a:pos x="47" y="90"/>
                </a:cxn>
                <a:cxn ang="0">
                  <a:pos x="44" y="100"/>
                </a:cxn>
                <a:cxn ang="0">
                  <a:pos x="42" y="105"/>
                </a:cxn>
                <a:cxn ang="0">
                  <a:pos x="36" y="119"/>
                </a:cxn>
                <a:cxn ang="0">
                  <a:pos x="47" y="120"/>
                </a:cxn>
                <a:cxn ang="0">
                  <a:pos x="40" y="149"/>
                </a:cxn>
                <a:cxn ang="0">
                  <a:pos x="44" y="137"/>
                </a:cxn>
                <a:cxn ang="0">
                  <a:pos x="51" y="145"/>
                </a:cxn>
                <a:cxn ang="0">
                  <a:pos x="59" y="173"/>
                </a:cxn>
                <a:cxn ang="0">
                  <a:pos x="74" y="184"/>
                </a:cxn>
                <a:cxn ang="0">
                  <a:pos x="87" y="207"/>
                </a:cxn>
                <a:cxn ang="0">
                  <a:pos x="59" y="218"/>
                </a:cxn>
                <a:cxn ang="0">
                  <a:pos x="60" y="237"/>
                </a:cxn>
                <a:cxn ang="0">
                  <a:pos x="49" y="254"/>
                </a:cxn>
                <a:cxn ang="0">
                  <a:pos x="72" y="258"/>
                </a:cxn>
                <a:cxn ang="0">
                  <a:pos x="74" y="264"/>
                </a:cxn>
                <a:cxn ang="0">
                  <a:pos x="44" y="288"/>
                </a:cxn>
              </a:cxnLst>
              <a:rect l="0" t="0" r="r" b="b"/>
              <a:pathLst>
                <a:path w="158" h="297">
                  <a:moveTo>
                    <a:pt x="30" y="190"/>
                  </a:moveTo>
                  <a:lnTo>
                    <a:pt x="28" y="188"/>
                  </a:lnTo>
                  <a:lnTo>
                    <a:pt x="25" y="188"/>
                  </a:lnTo>
                  <a:lnTo>
                    <a:pt x="21" y="181"/>
                  </a:lnTo>
                  <a:lnTo>
                    <a:pt x="15" y="179"/>
                  </a:lnTo>
                  <a:lnTo>
                    <a:pt x="13" y="181"/>
                  </a:lnTo>
                  <a:lnTo>
                    <a:pt x="12" y="184"/>
                  </a:lnTo>
                  <a:lnTo>
                    <a:pt x="10" y="184"/>
                  </a:lnTo>
                  <a:lnTo>
                    <a:pt x="0" y="179"/>
                  </a:lnTo>
                  <a:lnTo>
                    <a:pt x="6" y="169"/>
                  </a:lnTo>
                  <a:lnTo>
                    <a:pt x="10" y="169"/>
                  </a:lnTo>
                  <a:lnTo>
                    <a:pt x="10" y="166"/>
                  </a:lnTo>
                  <a:lnTo>
                    <a:pt x="13" y="164"/>
                  </a:lnTo>
                  <a:lnTo>
                    <a:pt x="15" y="164"/>
                  </a:lnTo>
                  <a:lnTo>
                    <a:pt x="19" y="164"/>
                  </a:lnTo>
                  <a:lnTo>
                    <a:pt x="19" y="160"/>
                  </a:lnTo>
                  <a:lnTo>
                    <a:pt x="21" y="160"/>
                  </a:lnTo>
                  <a:lnTo>
                    <a:pt x="25" y="160"/>
                  </a:lnTo>
                  <a:lnTo>
                    <a:pt x="30" y="160"/>
                  </a:lnTo>
                  <a:lnTo>
                    <a:pt x="32" y="160"/>
                  </a:lnTo>
                  <a:lnTo>
                    <a:pt x="32" y="164"/>
                  </a:lnTo>
                  <a:lnTo>
                    <a:pt x="38" y="171"/>
                  </a:lnTo>
                  <a:lnTo>
                    <a:pt x="36" y="173"/>
                  </a:lnTo>
                  <a:lnTo>
                    <a:pt x="42" y="173"/>
                  </a:lnTo>
                  <a:lnTo>
                    <a:pt x="42" y="183"/>
                  </a:lnTo>
                  <a:lnTo>
                    <a:pt x="40" y="175"/>
                  </a:lnTo>
                  <a:lnTo>
                    <a:pt x="38" y="175"/>
                  </a:lnTo>
                  <a:lnTo>
                    <a:pt x="40" y="179"/>
                  </a:lnTo>
                  <a:lnTo>
                    <a:pt x="38" y="181"/>
                  </a:lnTo>
                  <a:lnTo>
                    <a:pt x="42" y="183"/>
                  </a:lnTo>
                  <a:lnTo>
                    <a:pt x="40" y="184"/>
                  </a:lnTo>
                  <a:lnTo>
                    <a:pt x="36" y="184"/>
                  </a:lnTo>
                  <a:lnTo>
                    <a:pt x="36" y="184"/>
                  </a:lnTo>
                  <a:lnTo>
                    <a:pt x="32" y="190"/>
                  </a:lnTo>
                  <a:lnTo>
                    <a:pt x="30" y="188"/>
                  </a:lnTo>
                  <a:lnTo>
                    <a:pt x="30" y="190"/>
                  </a:lnTo>
                  <a:lnTo>
                    <a:pt x="30" y="190"/>
                  </a:lnTo>
                  <a:lnTo>
                    <a:pt x="30" y="190"/>
                  </a:lnTo>
                  <a:lnTo>
                    <a:pt x="30" y="190"/>
                  </a:lnTo>
                  <a:lnTo>
                    <a:pt x="30" y="190"/>
                  </a:lnTo>
                  <a:close/>
                  <a:moveTo>
                    <a:pt x="108" y="26"/>
                  </a:moveTo>
                  <a:lnTo>
                    <a:pt x="109" y="24"/>
                  </a:lnTo>
                  <a:lnTo>
                    <a:pt x="109" y="26"/>
                  </a:lnTo>
                  <a:lnTo>
                    <a:pt x="108" y="26"/>
                  </a:lnTo>
                  <a:lnTo>
                    <a:pt x="108" y="26"/>
                  </a:lnTo>
                  <a:lnTo>
                    <a:pt x="108" y="26"/>
                  </a:lnTo>
                  <a:lnTo>
                    <a:pt x="108" y="26"/>
                  </a:lnTo>
                  <a:close/>
                  <a:moveTo>
                    <a:pt x="115" y="6"/>
                  </a:moveTo>
                  <a:lnTo>
                    <a:pt x="111" y="4"/>
                  </a:lnTo>
                  <a:lnTo>
                    <a:pt x="115" y="0"/>
                  </a:lnTo>
                  <a:lnTo>
                    <a:pt x="115" y="6"/>
                  </a:lnTo>
                  <a:lnTo>
                    <a:pt x="115" y="6"/>
                  </a:lnTo>
                  <a:lnTo>
                    <a:pt x="115" y="6"/>
                  </a:lnTo>
                  <a:lnTo>
                    <a:pt x="115" y="6"/>
                  </a:lnTo>
                  <a:close/>
                  <a:moveTo>
                    <a:pt x="106" y="13"/>
                  </a:moveTo>
                  <a:lnTo>
                    <a:pt x="106" y="9"/>
                  </a:lnTo>
                  <a:lnTo>
                    <a:pt x="104" y="9"/>
                  </a:lnTo>
                  <a:lnTo>
                    <a:pt x="104" y="13"/>
                  </a:lnTo>
                  <a:lnTo>
                    <a:pt x="104" y="13"/>
                  </a:lnTo>
                  <a:lnTo>
                    <a:pt x="106" y="13"/>
                  </a:lnTo>
                  <a:lnTo>
                    <a:pt x="106" y="13"/>
                  </a:lnTo>
                  <a:lnTo>
                    <a:pt x="106" y="13"/>
                  </a:lnTo>
                  <a:lnTo>
                    <a:pt x="106" y="13"/>
                  </a:lnTo>
                  <a:close/>
                  <a:moveTo>
                    <a:pt x="111" y="11"/>
                  </a:moveTo>
                  <a:lnTo>
                    <a:pt x="108" y="9"/>
                  </a:lnTo>
                  <a:lnTo>
                    <a:pt x="109" y="7"/>
                  </a:lnTo>
                  <a:lnTo>
                    <a:pt x="109" y="4"/>
                  </a:lnTo>
                  <a:lnTo>
                    <a:pt x="111" y="6"/>
                  </a:lnTo>
                  <a:lnTo>
                    <a:pt x="111" y="9"/>
                  </a:lnTo>
                  <a:lnTo>
                    <a:pt x="111" y="11"/>
                  </a:lnTo>
                  <a:lnTo>
                    <a:pt x="111" y="11"/>
                  </a:lnTo>
                  <a:lnTo>
                    <a:pt x="111" y="11"/>
                  </a:lnTo>
                  <a:lnTo>
                    <a:pt x="111" y="11"/>
                  </a:lnTo>
                  <a:close/>
                  <a:moveTo>
                    <a:pt x="109" y="22"/>
                  </a:moveTo>
                  <a:lnTo>
                    <a:pt x="108" y="21"/>
                  </a:lnTo>
                  <a:lnTo>
                    <a:pt x="102" y="19"/>
                  </a:lnTo>
                  <a:lnTo>
                    <a:pt x="100" y="17"/>
                  </a:lnTo>
                  <a:lnTo>
                    <a:pt x="104" y="17"/>
                  </a:lnTo>
                  <a:lnTo>
                    <a:pt x="108" y="17"/>
                  </a:lnTo>
                  <a:lnTo>
                    <a:pt x="108" y="15"/>
                  </a:lnTo>
                  <a:lnTo>
                    <a:pt x="108" y="13"/>
                  </a:lnTo>
                  <a:lnTo>
                    <a:pt x="108" y="13"/>
                  </a:lnTo>
                  <a:lnTo>
                    <a:pt x="109" y="13"/>
                  </a:lnTo>
                  <a:lnTo>
                    <a:pt x="111" y="15"/>
                  </a:lnTo>
                  <a:lnTo>
                    <a:pt x="111" y="17"/>
                  </a:lnTo>
                  <a:lnTo>
                    <a:pt x="111" y="19"/>
                  </a:lnTo>
                  <a:lnTo>
                    <a:pt x="109" y="21"/>
                  </a:lnTo>
                  <a:lnTo>
                    <a:pt x="111" y="24"/>
                  </a:lnTo>
                  <a:lnTo>
                    <a:pt x="109" y="22"/>
                  </a:lnTo>
                  <a:lnTo>
                    <a:pt x="109" y="22"/>
                  </a:lnTo>
                  <a:lnTo>
                    <a:pt x="109" y="22"/>
                  </a:lnTo>
                  <a:lnTo>
                    <a:pt x="109" y="22"/>
                  </a:lnTo>
                  <a:close/>
                  <a:moveTo>
                    <a:pt x="143" y="258"/>
                  </a:moveTo>
                  <a:lnTo>
                    <a:pt x="145" y="258"/>
                  </a:lnTo>
                  <a:lnTo>
                    <a:pt x="147" y="258"/>
                  </a:lnTo>
                  <a:lnTo>
                    <a:pt x="147" y="254"/>
                  </a:lnTo>
                  <a:lnTo>
                    <a:pt x="145" y="254"/>
                  </a:lnTo>
                  <a:lnTo>
                    <a:pt x="143" y="258"/>
                  </a:lnTo>
                  <a:lnTo>
                    <a:pt x="143" y="258"/>
                  </a:lnTo>
                  <a:lnTo>
                    <a:pt x="143" y="258"/>
                  </a:lnTo>
                  <a:lnTo>
                    <a:pt x="143" y="258"/>
                  </a:lnTo>
                  <a:close/>
                  <a:moveTo>
                    <a:pt x="106" y="277"/>
                  </a:moveTo>
                  <a:lnTo>
                    <a:pt x="111" y="275"/>
                  </a:lnTo>
                  <a:lnTo>
                    <a:pt x="111" y="277"/>
                  </a:lnTo>
                  <a:lnTo>
                    <a:pt x="115" y="277"/>
                  </a:lnTo>
                  <a:lnTo>
                    <a:pt x="115" y="279"/>
                  </a:lnTo>
                  <a:lnTo>
                    <a:pt x="115" y="281"/>
                  </a:lnTo>
                  <a:lnTo>
                    <a:pt x="111" y="281"/>
                  </a:lnTo>
                  <a:lnTo>
                    <a:pt x="109" y="279"/>
                  </a:lnTo>
                  <a:lnTo>
                    <a:pt x="106" y="277"/>
                  </a:lnTo>
                  <a:lnTo>
                    <a:pt x="106" y="277"/>
                  </a:lnTo>
                  <a:lnTo>
                    <a:pt x="106" y="277"/>
                  </a:lnTo>
                  <a:lnTo>
                    <a:pt x="106" y="277"/>
                  </a:lnTo>
                  <a:close/>
                  <a:moveTo>
                    <a:pt x="47" y="141"/>
                  </a:moveTo>
                  <a:lnTo>
                    <a:pt x="47" y="145"/>
                  </a:lnTo>
                  <a:lnTo>
                    <a:pt x="47" y="147"/>
                  </a:lnTo>
                  <a:lnTo>
                    <a:pt x="47" y="143"/>
                  </a:lnTo>
                  <a:lnTo>
                    <a:pt x="47" y="141"/>
                  </a:lnTo>
                  <a:lnTo>
                    <a:pt x="47" y="141"/>
                  </a:lnTo>
                  <a:lnTo>
                    <a:pt x="47" y="141"/>
                  </a:lnTo>
                  <a:lnTo>
                    <a:pt x="47" y="141"/>
                  </a:lnTo>
                  <a:close/>
                  <a:moveTo>
                    <a:pt x="30" y="139"/>
                  </a:moveTo>
                  <a:lnTo>
                    <a:pt x="30" y="135"/>
                  </a:lnTo>
                  <a:lnTo>
                    <a:pt x="32" y="137"/>
                  </a:lnTo>
                  <a:lnTo>
                    <a:pt x="30" y="139"/>
                  </a:lnTo>
                  <a:lnTo>
                    <a:pt x="30" y="139"/>
                  </a:lnTo>
                  <a:lnTo>
                    <a:pt x="30" y="139"/>
                  </a:lnTo>
                  <a:lnTo>
                    <a:pt x="30" y="139"/>
                  </a:lnTo>
                  <a:close/>
                  <a:moveTo>
                    <a:pt x="21" y="126"/>
                  </a:moveTo>
                  <a:lnTo>
                    <a:pt x="21" y="124"/>
                  </a:lnTo>
                  <a:lnTo>
                    <a:pt x="25" y="124"/>
                  </a:lnTo>
                  <a:lnTo>
                    <a:pt x="21" y="126"/>
                  </a:lnTo>
                  <a:lnTo>
                    <a:pt x="21" y="126"/>
                  </a:lnTo>
                  <a:lnTo>
                    <a:pt x="21" y="126"/>
                  </a:lnTo>
                  <a:lnTo>
                    <a:pt x="21" y="126"/>
                  </a:lnTo>
                  <a:close/>
                  <a:moveTo>
                    <a:pt x="25" y="124"/>
                  </a:moveTo>
                  <a:lnTo>
                    <a:pt x="28" y="120"/>
                  </a:lnTo>
                  <a:lnTo>
                    <a:pt x="28" y="120"/>
                  </a:lnTo>
                  <a:lnTo>
                    <a:pt x="25" y="124"/>
                  </a:lnTo>
                  <a:lnTo>
                    <a:pt x="25" y="124"/>
                  </a:lnTo>
                  <a:lnTo>
                    <a:pt x="25" y="124"/>
                  </a:lnTo>
                  <a:lnTo>
                    <a:pt x="25" y="124"/>
                  </a:lnTo>
                  <a:close/>
                  <a:moveTo>
                    <a:pt x="32" y="117"/>
                  </a:moveTo>
                  <a:lnTo>
                    <a:pt x="34" y="115"/>
                  </a:lnTo>
                  <a:lnTo>
                    <a:pt x="32" y="115"/>
                  </a:lnTo>
                  <a:lnTo>
                    <a:pt x="32" y="117"/>
                  </a:lnTo>
                  <a:lnTo>
                    <a:pt x="32" y="117"/>
                  </a:lnTo>
                  <a:lnTo>
                    <a:pt x="32" y="117"/>
                  </a:lnTo>
                  <a:lnTo>
                    <a:pt x="32" y="117"/>
                  </a:lnTo>
                  <a:close/>
                  <a:moveTo>
                    <a:pt x="28" y="111"/>
                  </a:moveTo>
                  <a:lnTo>
                    <a:pt x="30" y="115"/>
                  </a:lnTo>
                  <a:lnTo>
                    <a:pt x="30" y="113"/>
                  </a:lnTo>
                  <a:lnTo>
                    <a:pt x="30" y="111"/>
                  </a:lnTo>
                  <a:lnTo>
                    <a:pt x="28" y="111"/>
                  </a:lnTo>
                  <a:lnTo>
                    <a:pt x="28" y="111"/>
                  </a:lnTo>
                  <a:lnTo>
                    <a:pt x="28" y="111"/>
                  </a:lnTo>
                  <a:lnTo>
                    <a:pt x="28" y="111"/>
                  </a:lnTo>
                  <a:close/>
                  <a:moveTo>
                    <a:pt x="76" y="56"/>
                  </a:moveTo>
                  <a:lnTo>
                    <a:pt x="77" y="56"/>
                  </a:lnTo>
                  <a:lnTo>
                    <a:pt x="77" y="56"/>
                  </a:lnTo>
                  <a:lnTo>
                    <a:pt x="76" y="56"/>
                  </a:lnTo>
                  <a:lnTo>
                    <a:pt x="76" y="56"/>
                  </a:lnTo>
                  <a:lnTo>
                    <a:pt x="76" y="56"/>
                  </a:lnTo>
                  <a:lnTo>
                    <a:pt x="76" y="56"/>
                  </a:lnTo>
                  <a:close/>
                  <a:moveTo>
                    <a:pt x="72" y="56"/>
                  </a:moveTo>
                  <a:lnTo>
                    <a:pt x="74" y="56"/>
                  </a:lnTo>
                  <a:lnTo>
                    <a:pt x="77" y="60"/>
                  </a:lnTo>
                  <a:lnTo>
                    <a:pt x="76" y="60"/>
                  </a:lnTo>
                  <a:lnTo>
                    <a:pt x="79" y="60"/>
                  </a:lnTo>
                  <a:lnTo>
                    <a:pt x="79" y="64"/>
                  </a:lnTo>
                  <a:lnTo>
                    <a:pt x="77" y="64"/>
                  </a:lnTo>
                  <a:lnTo>
                    <a:pt x="74" y="64"/>
                  </a:lnTo>
                  <a:lnTo>
                    <a:pt x="74" y="60"/>
                  </a:lnTo>
                  <a:lnTo>
                    <a:pt x="72" y="64"/>
                  </a:lnTo>
                  <a:lnTo>
                    <a:pt x="72" y="60"/>
                  </a:lnTo>
                  <a:lnTo>
                    <a:pt x="72" y="56"/>
                  </a:lnTo>
                  <a:lnTo>
                    <a:pt x="72" y="56"/>
                  </a:lnTo>
                  <a:lnTo>
                    <a:pt x="72" y="56"/>
                  </a:lnTo>
                  <a:lnTo>
                    <a:pt x="72" y="56"/>
                  </a:lnTo>
                  <a:close/>
                  <a:moveTo>
                    <a:pt x="72" y="64"/>
                  </a:moveTo>
                  <a:lnTo>
                    <a:pt x="74" y="66"/>
                  </a:lnTo>
                  <a:lnTo>
                    <a:pt x="74" y="64"/>
                  </a:lnTo>
                  <a:lnTo>
                    <a:pt x="74" y="64"/>
                  </a:lnTo>
                  <a:lnTo>
                    <a:pt x="72" y="64"/>
                  </a:lnTo>
                  <a:lnTo>
                    <a:pt x="72" y="64"/>
                  </a:lnTo>
                  <a:lnTo>
                    <a:pt x="72" y="64"/>
                  </a:lnTo>
                  <a:lnTo>
                    <a:pt x="72" y="64"/>
                  </a:lnTo>
                  <a:close/>
                  <a:moveTo>
                    <a:pt x="21" y="87"/>
                  </a:moveTo>
                  <a:lnTo>
                    <a:pt x="23" y="85"/>
                  </a:lnTo>
                  <a:lnTo>
                    <a:pt x="21" y="83"/>
                  </a:lnTo>
                  <a:lnTo>
                    <a:pt x="23" y="81"/>
                  </a:lnTo>
                  <a:lnTo>
                    <a:pt x="25" y="83"/>
                  </a:lnTo>
                  <a:lnTo>
                    <a:pt x="25" y="79"/>
                  </a:lnTo>
                  <a:lnTo>
                    <a:pt x="32" y="73"/>
                  </a:lnTo>
                  <a:lnTo>
                    <a:pt x="32" y="77"/>
                  </a:lnTo>
                  <a:lnTo>
                    <a:pt x="30" y="81"/>
                  </a:lnTo>
                  <a:lnTo>
                    <a:pt x="28" y="85"/>
                  </a:lnTo>
                  <a:lnTo>
                    <a:pt x="30" y="85"/>
                  </a:lnTo>
                  <a:lnTo>
                    <a:pt x="28" y="88"/>
                  </a:lnTo>
                  <a:lnTo>
                    <a:pt x="25" y="87"/>
                  </a:lnTo>
                  <a:lnTo>
                    <a:pt x="23" y="88"/>
                  </a:lnTo>
                  <a:lnTo>
                    <a:pt x="21" y="87"/>
                  </a:lnTo>
                  <a:lnTo>
                    <a:pt x="21" y="87"/>
                  </a:lnTo>
                  <a:lnTo>
                    <a:pt x="21" y="87"/>
                  </a:lnTo>
                  <a:lnTo>
                    <a:pt x="21" y="87"/>
                  </a:lnTo>
                  <a:close/>
                  <a:moveTo>
                    <a:pt x="21" y="90"/>
                  </a:moveTo>
                  <a:lnTo>
                    <a:pt x="23" y="94"/>
                  </a:lnTo>
                  <a:lnTo>
                    <a:pt x="25" y="90"/>
                  </a:lnTo>
                  <a:lnTo>
                    <a:pt x="25" y="88"/>
                  </a:lnTo>
                  <a:lnTo>
                    <a:pt x="23" y="90"/>
                  </a:lnTo>
                  <a:lnTo>
                    <a:pt x="21" y="90"/>
                  </a:lnTo>
                  <a:lnTo>
                    <a:pt x="21" y="90"/>
                  </a:lnTo>
                  <a:lnTo>
                    <a:pt x="21" y="90"/>
                  </a:lnTo>
                  <a:lnTo>
                    <a:pt x="21" y="90"/>
                  </a:lnTo>
                  <a:lnTo>
                    <a:pt x="21" y="90"/>
                  </a:lnTo>
                  <a:close/>
                  <a:moveTo>
                    <a:pt x="19" y="96"/>
                  </a:moveTo>
                  <a:lnTo>
                    <a:pt x="15" y="100"/>
                  </a:lnTo>
                  <a:lnTo>
                    <a:pt x="13" y="94"/>
                  </a:lnTo>
                  <a:lnTo>
                    <a:pt x="15" y="94"/>
                  </a:lnTo>
                  <a:lnTo>
                    <a:pt x="19" y="94"/>
                  </a:lnTo>
                  <a:lnTo>
                    <a:pt x="19" y="96"/>
                  </a:lnTo>
                  <a:lnTo>
                    <a:pt x="19" y="96"/>
                  </a:lnTo>
                  <a:lnTo>
                    <a:pt x="19" y="96"/>
                  </a:lnTo>
                  <a:lnTo>
                    <a:pt x="19" y="96"/>
                  </a:lnTo>
                  <a:close/>
                  <a:moveTo>
                    <a:pt x="17" y="102"/>
                  </a:moveTo>
                  <a:lnTo>
                    <a:pt x="15" y="100"/>
                  </a:lnTo>
                  <a:lnTo>
                    <a:pt x="15" y="100"/>
                  </a:lnTo>
                  <a:lnTo>
                    <a:pt x="19" y="100"/>
                  </a:lnTo>
                  <a:lnTo>
                    <a:pt x="17" y="102"/>
                  </a:lnTo>
                  <a:lnTo>
                    <a:pt x="17" y="102"/>
                  </a:lnTo>
                  <a:lnTo>
                    <a:pt x="17" y="102"/>
                  </a:lnTo>
                  <a:lnTo>
                    <a:pt x="17" y="102"/>
                  </a:lnTo>
                  <a:close/>
                  <a:moveTo>
                    <a:pt x="13" y="111"/>
                  </a:moveTo>
                  <a:lnTo>
                    <a:pt x="15" y="113"/>
                  </a:lnTo>
                  <a:lnTo>
                    <a:pt x="12" y="115"/>
                  </a:lnTo>
                  <a:lnTo>
                    <a:pt x="12" y="113"/>
                  </a:lnTo>
                  <a:lnTo>
                    <a:pt x="13" y="111"/>
                  </a:lnTo>
                  <a:lnTo>
                    <a:pt x="13" y="111"/>
                  </a:lnTo>
                  <a:lnTo>
                    <a:pt x="13" y="111"/>
                  </a:lnTo>
                  <a:lnTo>
                    <a:pt x="13" y="111"/>
                  </a:lnTo>
                  <a:close/>
                  <a:moveTo>
                    <a:pt x="17" y="109"/>
                  </a:moveTo>
                  <a:lnTo>
                    <a:pt x="17" y="105"/>
                  </a:lnTo>
                  <a:lnTo>
                    <a:pt x="17" y="103"/>
                  </a:lnTo>
                  <a:lnTo>
                    <a:pt x="17" y="102"/>
                  </a:lnTo>
                  <a:lnTo>
                    <a:pt x="15" y="102"/>
                  </a:lnTo>
                  <a:lnTo>
                    <a:pt x="15" y="103"/>
                  </a:lnTo>
                  <a:lnTo>
                    <a:pt x="13" y="105"/>
                  </a:lnTo>
                  <a:lnTo>
                    <a:pt x="15" y="109"/>
                  </a:lnTo>
                  <a:lnTo>
                    <a:pt x="17" y="109"/>
                  </a:lnTo>
                  <a:lnTo>
                    <a:pt x="17" y="109"/>
                  </a:lnTo>
                  <a:lnTo>
                    <a:pt x="17" y="109"/>
                  </a:lnTo>
                  <a:lnTo>
                    <a:pt x="17" y="109"/>
                  </a:lnTo>
                  <a:close/>
                  <a:moveTo>
                    <a:pt x="34" y="111"/>
                  </a:moveTo>
                  <a:lnTo>
                    <a:pt x="34" y="107"/>
                  </a:lnTo>
                  <a:lnTo>
                    <a:pt x="30" y="107"/>
                  </a:lnTo>
                  <a:lnTo>
                    <a:pt x="28" y="103"/>
                  </a:lnTo>
                  <a:lnTo>
                    <a:pt x="28" y="102"/>
                  </a:lnTo>
                  <a:lnTo>
                    <a:pt x="28" y="102"/>
                  </a:lnTo>
                  <a:lnTo>
                    <a:pt x="28" y="103"/>
                  </a:lnTo>
                  <a:lnTo>
                    <a:pt x="25" y="100"/>
                  </a:lnTo>
                  <a:lnTo>
                    <a:pt x="25" y="100"/>
                  </a:lnTo>
                  <a:lnTo>
                    <a:pt x="25" y="100"/>
                  </a:lnTo>
                  <a:lnTo>
                    <a:pt x="25" y="96"/>
                  </a:lnTo>
                  <a:lnTo>
                    <a:pt x="30" y="100"/>
                  </a:lnTo>
                  <a:lnTo>
                    <a:pt x="28" y="94"/>
                  </a:lnTo>
                  <a:lnTo>
                    <a:pt x="30" y="94"/>
                  </a:lnTo>
                  <a:lnTo>
                    <a:pt x="32" y="100"/>
                  </a:lnTo>
                  <a:lnTo>
                    <a:pt x="32" y="103"/>
                  </a:lnTo>
                  <a:lnTo>
                    <a:pt x="36" y="105"/>
                  </a:lnTo>
                  <a:lnTo>
                    <a:pt x="38" y="105"/>
                  </a:lnTo>
                  <a:lnTo>
                    <a:pt x="40" y="105"/>
                  </a:lnTo>
                  <a:lnTo>
                    <a:pt x="38" y="107"/>
                  </a:lnTo>
                  <a:lnTo>
                    <a:pt x="36" y="111"/>
                  </a:lnTo>
                  <a:lnTo>
                    <a:pt x="34" y="111"/>
                  </a:lnTo>
                  <a:lnTo>
                    <a:pt x="34" y="111"/>
                  </a:lnTo>
                  <a:lnTo>
                    <a:pt x="34" y="111"/>
                  </a:lnTo>
                  <a:lnTo>
                    <a:pt x="34" y="111"/>
                  </a:lnTo>
                  <a:close/>
                  <a:moveTo>
                    <a:pt x="28" y="130"/>
                  </a:moveTo>
                  <a:lnTo>
                    <a:pt x="36" y="130"/>
                  </a:lnTo>
                  <a:lnTo>
                    <a:pt x="36" y="130"/>
                  </a:lnTo>
                  <a:lnTo>
                    <a:pt x="40" y="130"/>
                  </a:lnTo>
                  <a:lnTo>
                    <a:pt x="38" y="124"/>
                  </a:lnTo>
                  <a:lnTo>
                    <a:pt x="36" y="124"/>
                  </a:lnTo>
                  <a:lnTo>
                    <a:pt x="32" y="120"/>
                  </a:lnTo>
                  <a:lnTo>
                    <a:pt x="28" y="124"/>
                  </a:lnTo>
                  <a:lnTo>
                    <a:pt x="34" y="126"/>
                  </a:lnTo>
                  <a:lnTo>
                    <a:pt x="30" y="126"/>
                  </a:lnTo>
                  <a:lnTo>
                    <a:pt x="32" y="130"/>
                  </a:lnTo>
                  <a:lnTo>
                    <a:pt x="28" y="130"/>
                  </a:lnTo>
                  <a:lnTo>
                    <a:pt x="28" y="130"/>
                  </a:lnTo>
                  <a:lnTo>
                    <a:pt x="28" y="130"/>
                  </a:lnTo>
                  <a:lnTo>
                    <a:pt x="28" y="130"/>
                  </a:lnTo>
                  <a:close/>
                  <a:moveTo>
                    <a:pt x="34" y="145"/>
                  </a:moveTo>
                  <a:lnTo>
                    <a:pt x="32" y="141"/>
                  </a:lnTo>
                  <a:lnTo>
                    <a:pt x="40" y="134"/>
                  </a:lnTo>
                  <a:lnTo>
                    <a:pt x="36" y="141"/>
                  </a:lnTo>
                  <a:lnTo>
                    <a:pt x="34" y="145"/>
                  </a:lnTo>
                  <a:lnTo>
                    <a:pt x="34" y="145"/>
                  </a:lnTo>
                  <a:lnTo>
                    <a:pt x="34" y="145"/>
                  </a:lnTo>
                  <a:lnTo>
                    <a:pt x="34" y="145"/>
                  </a:lnTo>
                  <a:close/>
                  <a:moveTo>
                    <a:pt x="28" y="149"/>
                  </a:moveTo>
                  <a:lnTo>
                    <a:pt x="32" y="147"/>
                  </a:lnTo>
                  <a:lnTo>
                    <a:pt x="32" y="141"/>
                  </a:lnTo>
                  <a:lnTo>
                    <a:pt x="28" y="143"/>
                  </a:lnTo>
                  <a:lnTo>
                    <a:pt x="28" y="149"/>
                  </a:lnTo>
                  <a:lnTo>
                    <a:pt x="30" y="145"/>
                  </a:lnTo>
                  <a:lnTo>
                    <a:pt x="28" y="149"/>
                  </a:lnTo>
                  <a:lnTo>
                    <a:pt x="28" y="149"/>
                  </a:lnTo>
                  <a:lnTo>
                    <a:pt x="28" y="149"/>
                  </a:lnTo>
                  <a:lnTo>
                    <a:pt x="28" y="149"/>
                  </a:lnTo>
                  <a:close/>
                  <a:moveTo>
                    <a:pt x="44" y="149"/>
                  </a:moveTo>
                  <a:lnTo>
                    <a:pt x="44" y="154"/>
                  </a:lnTo>
                  <a:lnTo>
                    <a:pt x="47" y="154"/>
                  </a:lnTo>
                  <a:lnTo>
                    <a:pt x="47" y="151"/>
                  </a:lnTo>
                  <a:lnTo>
                    <a:pt x="47" y="147"/>
                  </a:lnTo>
                  <a:lnTo>
                    <a:pt x="44" y="149"/>
                  </a:lnTo>
                  <a:lnTo>
                    <a:pt x="44" y="149"/>
                  </a:lnTo>
                  <a:lnTo>
                    <a:pt x="44" y="149"/>
                  </a:lnTo>
                  <a:lnTo>
                    <a:pt x="44" y="149"/>
                  </a:lnTo>
                  <a:close/>
                  <a:moveTo>
                    <a:pt x="55" y="209"/>
                  </a:moveTo>
                  <a:lnTo>
                    <a:pt x="60" y="213"/>
                  </a:lnTo>
                  <a:lnTo>
                    <a:pt x="64" y="209"/>
                  </a:lnTo>
                  <a:lnTo>
                    <a:pt x="60" y="209"/>
                  </a:lnTo>
                  <a:lnTo>
                    <a:pt x="60" y="205"/>
                  </a:lnTo>
                  <a:lnTo>
                    <a:pt x="55" y="207"/>
                  </a:lnTo>
                  <a:lnTo>
                    <a:pt x="55" y="207"/>
                  </a:lnTo>
                  <a:lnTo>
                    <a:pt x="55" y="209"/>
                  </a:lnTo>
                  <a:lnTo>
                    <a:pt x="55" y="209"/>
                  </a:lnTo>
                  <a:lnTo>
                    <a:pt x="55" y="209"/>
                  </a:lnTo>
                  <a:lnTo>
                    <a:pt x="55" y="209"/>
                  </a:lnTo>
                  <a:close/>
                  <a:moveTo>
                    <a:pt x="51" y="190"/>
                  </a:moveTo>
                  <a:lnTo>
                    <a:pt x="53" y="184"/>
                  </a:lnTo>
                  <a:lnTo>
                    <a:pt x="59" y="181"/>
                  </a:lnTo>
                  <a:lnTo>
                    <a:pt x="59" y="183"/>
                  </a:lnTo>
                  <a:lnTo>
                    <a:pt x="59" y="184"/>
                  </a:lnTo>
                  <a:lnTo>
                    <a:pt x="55" y="190"/>
                  </a:lnTo>
                  <a:lnTo>
                    <a:pt x="51" y="190"/>
                  </a:lnTo>
                  <a:lnTo>
                    <a:pt x="51" y="190"/>
                  </a:lnTo>
                  <a:lnTo>
                    <a:pt x="51" y="190"/>
                  </a:lnTo>
                  <a:lnTo>
                    <a:pt x="51" y="190"/>
                  </a:lnTo>
                  <a:close/>
                  <a:moveTo>
                    <a:pt x="44" y="297"/>
                  </a:moveTo>
                  <a:lnTo>
                    <a:pt x="47" y="294"/>
                  </a:lnTo>
                  <a:lnTo>
                    <a:pt x="47" y="294"/>
                  </a:lnTo>
                  <a:lnTo>
                    <a:pt x="47" y="290"/>
                  </a:lnTo>
                  <a:lnTo>
                    <a:pt x="47" y="290"/>
                  </a:lnTo>
                  <a:lnTo>
                    <a:pt x="49" y="288"/>
                  </a:lnTo>
                  <a:lnTo>
                    <a:pt x="51" y="288"/>
                  </a:lnTo>
                  <a:lnTo>
                    <a:pt x="53" y="284"/>
                  </a:lnTo>
                  <a:lnTo>
                    <a:pt x="57" y="288"/>
                  </a:lnTo>
                  <a:lnTo>
                    <a:pt x="59" y="284"/>
                  </a:lnTo>
                  <a:lnTo>
                    <a:pt x="62" y="284"/>
                  </a:lnTo>
                  <a:lnTo>
                    <a:pt x="62" y="284"/>
                  </a:lnTo>
                  <a:lnTo>
                    <a:pt x="64" y="288"/>
                  </a:lnTo>
                  <a:lnTo>
                    <a:pt x="66" y="288"/>
                  </a:lnTo>
                  <a:lnTo>
                    <a:pt x="68" y="288"/>
                  </a:lnTo>
                  <a:lnTo>
                    <a:pt x="72" y="288"/>
                  </a:lnTo>
                  <a:lnTo>
                    <a:pt x="72" y="288"/>
                  </a:lnTo>
                  <a:lnTo>
                    <a:pt x="72" y="288"/>
                  </a:lnTo>
                  <a:lnTo>
                    <a:pt x="74" y="284"/>
                  </a:lnTo>
                  <a:lnTo>
                    <a:pt x="72" y="282"/>
                  </a:lnTo>
                  <a:lnTo>
                    <a:pt x="76" y="281"/>
                  </a:lnTo>
                  <a:lnTo>
                    <a:pt x="77" y="279"/>
                  </a:lnTo>
                  <a:lnTo>
                    <a:pt x="77" y="279"/>
                  </a:lnTo>
                  <a:lnTo>
                    <a:pt x="85" y="277"/>
                  </a:lnTo>
                  <a:lnTo>
                    <a:pt x="87" y="277"/>
                  </a:lnTo>
                  <a:lnTo>
                    <a:pt x="91" y="281"/>
                  </a:lnTo>
                  <a:lnTo>
                    <a:pt x="92" y="279"/>
                  </a:lnTo>
                  <a:lnTo>
                    <a:pt x="96" y="279"/>
                  </a:lnTo>
                  <a:lnTo>
                    <a:pt x="98" y="281"/>
                  </a:lnTo>
                  <a:lnTo>
                    <a:pt x="100" y="277"/>
                  </a:lnTo>
                  <a:lnTo>
                    <a:pt x="104" y="275"/>
                  </a:lnTo>
                  <a:lnTo>
                    <a:pt x="108" y="277"/>
                  </a:lnTo>
                  <a:lnTo>
                    <a:pt x="111" y="273"/>
                  </a:lnTo>
                  <a:lnTo>
                    <a:pt x="115" y="273"/>
                  </a:lnTo>
                  <a:lnTo>
                    <a:pt x="115" y="273"/>
                  </a:lnTo>
                  <a:lnTo>
                    <a:pt x="115" y="273"/>
                  </a:lnTo>
                  <a:lnTo>
                    <a:pt x="117" y="273"/>
                  </a:lnTo>
                  <a:lnTo>
                    <a:pt x="119" y="275"/>
                  </a:lnTo>
                  <a:lnTo>
                    <a:pt x="123" y="273"/>
                  </a:lnTo>
                  <a:lnTo>
                    <a:pt x="128" y="273"/>
                  </a:lnTo>
                  <a:lnTo>
                    <a:pt x="130" y="273"/>
                  </a:lnTo>
                  <a:lnTo>
                    <a:pt x="136" y="273"/>
                  </a:lnTo>
                  <a:lnTo>
                    <a:pt x="136" y="273"/>
                  </a:lnTo>
                  <a:lnTo>
                    <a:pt x="140" y="271"/>
                  </a:lnTo>
                  <a:lnTo>
                    <a:pt x="141" y="271"/>
                  </a:lnTo>
                  <a:lnTo>
                    <a:pt x="145" y="267"/>
                  </a:lnTo>
                  <a:lnTo>
                    <a:pt x="147" y="267"/>
                  </a:lnTo>
                  <a:lnTo>
                    <a:pt x="149" y="269"/>
                  </a:lnTo>
                  <a:lnTo>
                    <a:pt x="149" y="265"/>
                  </a:lnTo>
                  <a:lnTo>
                    <a:pt x="153" y="264"/>
                  </a:lnTo>
                  <a:lnTo>
                    <a:pt x="155" y="264"/>
                  </a:lnTo>
                  <a:lnTo>
                    <a:pt x="155" y="260"/>
                  </a:lnTo>
                  <a:lnTo>
                    <a:pt x="155" y="258"/>
                  </a:lnTo>
                  <a:lnTo>
                    <a:pt x="155" y="258"/>
                  </a:lnTo>
                  <a:lnTo>
                    <a:pt x="151" y="258"/>
                  </a:lnTo>
                  <a:lnTo>
                    <a:pt x="147" y="258"/>
                  </a:lnTo>
                  <a:lnTo>
                    <a:pt x="145" y="258"/>
                  </a:lnTo>
                  <a:lnTo>
                    <a:pt x="141" y="258"/>
                  </a:lnTo>
                  <a:lnTo>
                    <a:pt x="141" y="258"/>
                  </a:lnTo>
                  <a:lnTo>
                    <a:pt x="141" y="254"/>
                  </a:lnTo>
                  <a:lnTo>
                    <a:pt x="143" y="254"/>
                  </a:lnTo>
                  <a:lnTo>
                    <a:pt x="143" y="254"/>
                  </a:lnTo>
                  <a:lnTo>
                    <a:pt x="140" y="254"/>
                  </a:lnTo>
                  <a:lnTo>
                    <a:pt x="140" y="254"/>
                  </a:lnTo>
                  <a:lnTo>
                    <a:pt x="141" y="252"/>
                  </a:lnTo>
                  <a:lnTo>
                    <a:pt x="143" y="254"/>
                  </a:lnTo>
                  <a:lnTo>
                    <a:pt x="147" y="252"/>
                  </a:lnTo>
                  <a:lnTo>
                    <a:pt x="145" y="249"/>
                  </a:lnTo>
                  <a:lnTo>
                    <a:pt x="143" y="249"/>
                  </a:lnTo>
                  <a:lnTo>
                    <a:pt x="145" y="245"/>
                  </a:lnTo>
                  <a:lnTo>
                    <a:pt x="147" y="245"/>
                  </a:lnTo>
                  <a:lnTo>
                    <a:pt x="149" y="245"/>
                  </a:lnTo>
                  <a:lnTo>
                    <a:pt x="151" y="245"/>
                  </a:lnTo>
                  <a:lnTo>
                    <a:pt x="153" y="243"/>
                  </a:lnTo>
                  <a:lnTo>
                    <a:pt x="151" y="243"/>
                  </a:lnTo>
                  <a:lnTo>
                    <a:pt x="153" y="243"/>
                  </a:lnTo>
                  <a:lnTo>
                    <a:pt x="149" y="241"/>
                  </a:lnTo>
                  <a:lnTo>
                    <a:pt x="151" y="239"/>
                  </a:lnTo>
                  <a:lnTo>
                    <a:pt x="153" y="239"/>
                  </a:lnTo>
                  <a:lnTo>
                    <a:pt x="153" y="241"/>
                  </a:lnTo>
                  <a:lnTo>
                    <a:pt x="155" y="239"/>
                  </a:lnTo>
                  <a:lnTo>
                    <a:pt x="155" y="237"/>
                  </a:lnTo>
                  <a:lnTo>
                    <a:pt x="158" y="233"/>
                  </a:lnTo>
                  <a:lnTo>
                    <a:pt x="158" y="228"/>
                  </a:lnTo>
                  <a:lnTo>
                    <a:pt x="158" y="224"/>
                  </a:lnTo>
                  <a:lnTo>
                    <a:pt x="155" y="220"/>
                  </a:lnTo>
                  <a:lnTo>
                    <a:pt x="151" y="215"/>
                  </a:lnTo>
                  <a:lnTo>
                    <a:pt x="141" y="215"/>
                  </a:lnTo>
                  <a:lnTo>
                    <a:pt x="136" y="215"/>
                  </a:lnTo>
                  <a:lnTo>
                    <a:pt x="136" y="220"/>
                  </a:lnTo>
                  <a:lnTo>
                    <a:pt x="136" y="220"/>
                  </a:lnTo>
                  <a:lnTo>
                    <a:pt x="130" y="220"/>
                  </a:lnTo>
                  <a:lnTo>
                    <a:pt x="128" y="218"/>
                  </a:lnTo>
                  <a:lnTo>
                    <a:pt x="136" y="213"/>
                  </a:lnTo>
                  <a:lnTo>
                    <a:pt x="136" y="209"/>
                  </a:lnTo>
                  <a:lnTo>
                    <a:pt x="130" y="203"/>
                  </a:lnTo>
                  <a:lnTo>
                    <a:pt x="128" y="203"/>
                  </a:lnTo>
                  <a:lnTo>
                    <a:pt x="124" y="200"/>
                  </a:lnTo>
                  <a:lnTo>
                    <a:pt x="123" y="196"/>
                  </a:lnTo>
                  <a:lnTo>
                    <a:pt x="121" y="198"/>
                  </a:lnTo>
                  <a:lnTo>
                    <a:pt x="119" y="198"/>
                  </a:lnTo>
                  <a:lnTo>
                    <a:pt x="117" y="196"/>
                  </a:lnTo>
                  <a:lnTo>
                    <a:pt x="115" y="196"/>
                  </a:lnTo>
                  <a:lnTo>
                    <a:pt x="119" y="196"/>
                  </a:lnTo>
                  <a:lnTo>
                    <a:pt x="121" y="196"/>
                  </a:lnTo>
                  <a:lnTo>
                    <a:pt x="123" y="196"/>
                  </a:lnTo>
                  <a:lnTo>
                    <a:pt x="124" y="196"/>
                  </a:lnTo>
                  <a:lnTo>
                    <a:pt x="126" y="198"/>
                  </a:lnTo>
                  <a:lnTo>
                    <a:pt x="128" y="198"/>
                  </a:lnTo>
                  <a:lnTo>
                    <a:pt x="130" y="198"/>
                  </a:lnTo>
                  <a:lnTo>
                    <a:pt x="124" y="194"/>
                  </a:lnTo>
                  <a:lnTo>
                    <a:pt x="123" y="190"/>
                  </a:lnTo>
                  <a:lnTo>
                    <a:pt x="124" y="188"/>
                  </a:lnTo>
                  <a:lnTo>
                    <a:pt x="126" y="188"/>
                  </a:lnTo>
                  <a:lnTo>
                    <a:pt x="123" y="184"/>
                  </a:lnTo>
                  <a:lnTo>
                    <a:pt x="123" y="184"/>
                  </a:lnTo>
                  <a:lnTo>
                    <a:pt x="121" y="184"/>
                  </a:lnTo>
                  <a:lnTo>
                    <a:pt x="117" y="179"/>
                  </a:lnTo>
                  <a:lnTo>
                    <a:pt x="115" y="175"/>
                  </a:lnTo>
                  <a:lnTo>
                    <a:pt x="108" y="175"/>
                  </a:lnTo>
                  <a:lnTo>
                    <a:pt x="108" y="171"/>
                  </a:lnTo>
                  <a:lnTo>
                    <a:pt x="106" y="171"/>
                  </a:lnTo>
                  <a:lnTo>
                    <a:pt x="104" y="164"/>
                  </a:lnTo>
                  <a:lnTo>
                    <a:pt x="102" y="160"/>
                  </a:lnTo>
                  <a:lnTo>
                    <a:pt x="100" y="151"/>
                  </a:lnTo>
                  <a:lnTo>
                    <a:pt x="98" y="149"/>
                  </a:lnTo>
                  <a:lnTo>
                    <a:pt x="96" y="149"/>
                  </a:lnTo>
                  <a:lnTo>
                    <a:pt x="91" y="141"/>
                  </a:lnTo>
                  <a:lnTo>
                    <a:pt x="91" y="141"/>
                  </a:lnTo>
                  <a:lnTo>
                    <a:pt x="87" y="139"/>
                  </a:lnTo>
                  <a:lnTo>
                    <a:pt x="83" y="137"/>
                  </a:lnTo>
                  <a:lnTo>
                    <a:pt x="81" y="137"/>
                  </a:lnTo>
                  <a:lnTo>
                    <a:pt x="77" y="141"/>
                  </a:lnTo>
                  <a:lnTo>
                    <a:pt x="74" y="139"/>
                  </a:lnTo>
                  <a:lnTo>
                    <a:pt x="72" y="139"/>
                  </a:lnTo>
                  <a:lnTo>
                    <a:pt x="68" y="137"/>
                  </a:lnTo>
                  <a:lnTo>
                    <a:pt x="68" y="135"/>
                  </a:lnTo>
                  <a:lnTo>
                    <a:pt x="68" y="137"/>
                  </a:lnTo>
                  <a:lnTo>
                    <a:pt x="74" y="137"/>
                  </a:lnTo>
                  <a:lnTo>
                    <a:pt x="77" y="135"/>
                  </a:lnTo>
                  <a:lnTo>
                    <a:pt x="77" y="134"/>
                  </a:lnTo>
                  <a:lnTo>
                    <a:pt x="81" y="134"/>
                  </a:lnTo>
                  <a:lnTo>
                    <a:pt x="85" y="134"/>
                  </a:lnTo>
                  <a:lnTo>
                    <a:pt x="81" y="130"/>
                  </a:lnTo>
                  <a:lnTo>
                    <a:pt x="81" y="130"/>
                  </a:lnTo>
                  <a:lnTo>
                    <a:pt x="79" y="126"/>
                  </a:lnTo>
                  <a:lnTo>
                    <a:pt x="76" y="130"/>
                  </a:lnTo>
                  <a:lnTo>
                    <a:pt x="74" y="130"/>
                  </a:lnTo>
                  <a:lnTo>
                    <a:pt x="77" y="124"/>
                  </a:lnTo>
                  <a:lnTo>
                    <a:pt x="83" y="126"/>
                  </a:lnTo>
                  <a:lnTo>
                    <a:pt x="85" y="124"/>
                  </a:lnTo>
                  <a:lnTo>
                    <a:pt x="85" y="120"/>
                  </a:lnTo>
                  <a:lnTo>
                    <a:pt x="87" y="120"/>
                  </a:lnTo>
                  <a:lnTo>
                    <a:pt x="91" y="117"/>
                  </a:lnTo>
                  <a:lnTo>
                    <a:pt x="91" y="115"/>
                  </a:lnTo>
                  <a:lnTo>
                    <a:pt x="91" y="113"/>
                  </a:lnTo>
                  <a:lnTo>
                    <a:pt x="91" y="109"/>
                  </a:lnTo>
                  <a:lnTo>
                    <a:pt x="91" y="107"/>
                  </a:lnTo>
                  <a:lnTo>
                    <a:pt x="92" y="103"/>
                  </a:lnTo>
                  <a:lnTo>
                    <a:pt x="96" y="100"/>
                  </a:lnTo>
                  <a:lnTo>
                    <a:pt x="96" y="100"/>
                  </a:lnTo>
                  <a:lnTo>
                    <a:pt x="91" y="94"/>
                  </a:lnTo>
                  <a:lnTo>
                    <a:pt x="91" y="94"/>
                  </a:lnTo>
                  <a:lnTo>
                    <a:pt x="83" y="94"/>
                  </a:lnTo>
                  <a:lnTo>
                    <a:pt x="79" y="94"/>
                  </a:lnTo>
                  <a:lnTo>
                    <a:pt x="77" y="94"/>
                  </a:lnTo>
                  <a:lnTo>
                    <a:pt x="76" y="94"/>
                  </a:lnTo>
                  <a:lnTo>
                    <a:pt x="72" y="94"/>
                  </a:lnTo>
                  <a:lnTo>
                    <a:pt x="72" y="94"/>
                  </a:lnTo>
                  <a:lnTo>
                    <a:pt x="72" y="94"/>
                  </a:lnTo>
                  <a:lnTo>
                    <a:pt x="68" y="96"/>
                  </a:lnTo>
                  <a:lnTo>
                    <a:pt x="66" y="100"/>
                  </a:lnTo>
                  <a:lnTo>
                    <a:pt x="64" y="100"/>
                  </a:lnTo>
                  <a:lnTo>
                    <a:pt x="62" y="100"/>
                  </a:lnTo>
                  <a:lnTo>
                    <a:pt x="62" y="100"/>
                  </a:lnTo>
                  <a:lnTo>
                    <a:pt x="64" y="94"/>
                  </a:lnTo>
                  <a:lnTo>
                    <a:pt x="68" y="90"/>
                  </a:lnTo>
                  <a:lnTo>
                    <a:pt x="66" y="90"/>
                  </a:lnTo>
                  <a:lnTo>
                    <a:pt x="62" y="90"/>
                  </a:lnTo>
                  <a:lnTo>
                    <a:pt x="64" y="90"/>
                  </a:lnTo>
                  <a:lnTo>
                    <a:pt x="64" y="88"/>
                  </a:lnTo>
                  <a:lnTo>
                    <a:pt x="72" y="83"/>
                  </a:lnTo>
                  <a:lnTo>
                    <a:pt x="74" y="79"/>
                  </a:lnTo>
                  <a:lnTo>
                    <a:pt x="76" y="79"/>
                  </a:lnTo>
                  <a:lnTo>
                    <a:pt x="77" y="75"/>
                  </a:lnTo>
                  <a:lnTo>
                    <a:pt x="76" y="73"/>
                  </a:lnTo>
                  <a:lnTo>
                    <a:pt x="77" y="71"/>
                  </a:lnTo>
                  <a:lnTo>
                    <a:pt x="77" y="70"/>
                  </a:lnTo>
                  <a:lnTo>
                    <a:pt x="74" y="70"/>
                  </a:lnTo>
                  <a:lnTo>
                    <a:pt x="72" y="71"/>
                  </a:lnTo>
                  <a:lnTo>
                    <a:pt x="68" y="70"/>
                  </a:lnTo>
                  <a:lnTo>
                    <a:pt x="66" y="71"/>
                  </a:lnTo>
                  <a:lnTo>
                    <a:pt x="64" y="71"/>
                  </a:lnTo>
                  <a:lnTo>
                    <a:pt x="60" y="73"/>
                  </a:lnTo>
                  <a:lnTo>
                    <a:pt x="59" y="73"/>
                  </a:lnTo>
                  <a:lnTo>
                    <a:pt x="57" y="75"/>
                  </a:lnTo>
                  <a:lnTo>
                    <a:pt x="57" y="73"/>
                  </a:lnTo>
                  <a:lnTo>
                    <a:pt x="57" y="71"/>
                  </a:lnTo>
                  <a:lnTo>
                    <a:pt x="53" y="75"/>
                  </a:lnTo>
                  <a:lnTo>
                    <a:pt x="53" y="71"/>
                  </a:lnTo>
                  <a:lnTo>
                    <a:pt x="49" y="70"/>
                  </a:lnTo>
                  <a:lnTo>
                    <a:pt x="49" y="73"/>
                  </a:lnTo>
                  <a:lnTo>
                    <a:pt x="47" y="73"/>
                  </a:lnTo>
                  <a:lnTo>
                    <a:pt x="47" y="77"/>
                  </a:lnTo>
                  <a:lnTo>
                    <a:pt x="47" y="77"/>
                  </a:lnTo>
                  <a:lnTo>
                    <a:pt x="47" y="79"/>
                  </a:lnTo>
                  <a:lnTo>
                    <a:pt x="44" y="81"/>
                  </a:lnTo>
                  <a:lnTo>
                    <a:pt x="47" y="83"/>
                  </a:lnTo>
                  <a:lnTo>
                    <a:pt x="44" y="87"/>
                  </a:lnTo>
                  <a:lnTo>
                    <a:pt x="44" y="87"/>
                  </a:lnTo>
                  <a:lnTo>
                    <a:pt x="47" y="88"/>
                  </a:lnTo>
                  <a:lnTo>
                    <a:pt x="47" y="90"/>
                  </a:lnTo>
                  <a:lnTo>
                    <a:pt x="44" y="90"/>
                  </a:lnTo>
                  <a:lnTo>
                    <a:pt x="44" y="90"/>
                  </a:lnTo>
                  <a:lnTo>
                    <a:pt x="42" y="88"/>
                  </a:lnTo>
                  <a:lnTo>
                    <a:pt x="42" y="90"/>
                  </a:lnTo>
                  <a:lnTo>
                    <a:pt x="42" y="90"/>
                  </a:lnTo>
                  <a:lnTo>
                    <a:pt x="42" y="94"/>
                  </a:lnTo>
                  <a:lnTo>
                    <a:pt x="40" y="90"/>
                  </a:lnTo>
                  <a:lnTo>
                    <a:pt x="38" y="94"/>
                  </a:lnTo>
                  <a:lnTo>
                    <a:pt x="40" y="94"/>
                  </a:lnTo>
                  <a:lnTo>
                    <a:pt x="38" y="96"/>
                  </a:lnTo>
                  <a:lnTo>
                    <a:pt x="40" y="100"/>
                  </a:lnTo>
                  <a:lnTo>
                    <a:pt x="44" y="100"/>
                  </a:lnTo>
                  <a:lnTo>
                    <a:pt x="40" y="100"/>
                  </a:lnTo>
                  <a:lnTo>
                    <a:pt x="38" y="100"/>
                  </a:lnTo>
                  <a:lnTo>
                    <a:pt x="38" y="102"/>
                  </a:lnTo>
                  <a:lnTo>
                    <a:pt x="38" y="103"/>
                  </a:lnTo>
                  <a:lnTo>
                    <a:pt x="44" y="102"/>
                  </a:lnTo>
                  <a:lnTo>
                    <a:pt x="40" y="103"/>
                  </a:lnTo>
                  <a:lnTo>
                    <a:pt x="40" y="105"/>
                  </a:lnTo>
                  <a:lnTo>
                    <a:pt x="40" y="105"/>
                  </a:lnTo>
                  <a:lnTo>
                    <a:pt x="44" y="103"/>
                  </a:lnTo>
                  <a:lnTo>
                    <a:pt x="44" y="105"/>
                  </a:lnTo>
                  <a:lnTo>
                    <a:pt x="44" y="107"/>
                  </a:lnTo>
                  <a:lnTo>
                    <a:pt x="42" y="105"/>
                  </a:lnTo>
                  <a:lnTo>
                    <a:pt x="42" y="105"/>
                  </a:lnTo>
                  <a:lnTo>
                    <a:pt x="40" y="109"/>
                  </a:lnTo>
                  <a:lnTo>
                    <a:pt x="42" y="109"/>
                  </a:lnTo>
                  <a:lnTo>
                    <a:pt x="40" y="109"/>
                  </a:lnTo>
                  <a:lnTo>
                    <a:pt x="38" y="111"/>
                  </a:lnTo>
                  <a:lnTo>
                    <a:pt x="40" y="113"/>
                  </a:lnTo>
                  <a:lnTo>
                    <a:pt x="42" y="113"/>
                  </a:lnTo>
                  <a:lnTo>
                    <a:pt x="38" y="113"/>
                  </a:lnTo>
                  <a:lnTo>
                    <a:pt x="36" y="115"/>
                  </a:lnTo>
                  <a:lnTo>
                    <a:pt x="38" y="117"/>
                  </a:lnTo>
                  <a:lnTo>
                    <a:pt x="38" y="117"/>
                  </a:lnTo>
                  <a:lnTo>
                    <a:pt x="36" y="119"/>
                  </a:lnTo>
                  <a:lnTo>
                    <a:pt x="32" y="119"/>
                  </a:lnTo>
                  <a:lnTo>
                    <a:pt x="30" y="120"/>
                  </a:lnTo>
                  <a:lnTo>
                    <a:pt x="32" y="120"/>
                  </a:lnTo>
                  <a:lnTo>
                    <a:pt x="36" y="120"/>
                  </a:lnTo>
                  <a:lnTo>
                    <a:pt x="38" y="120"/>
                  </a:lnTo>
                  <a:lnTo>
                    <a:pt x="36" y="120"/>
                  </a:lnTo>
                  <a:lnTo>
                    <a:pt x="34" y="120"/>
                  </a:lnTo>
                  <a:lnTo>
                    <a:pt x="38" y="124"/>
                  </a:lnTo>
                  <a:lnTo>
                    <a:pt x="38" y="124"/>
                  </a:lnTo>
                  <a:lnTo>
                    <a:pt x="40" y="124"/>
                  </a:lnTo>
                  <a:lnTo>
                    <a:pt x="47" y="119"/>
                  </a:lnTo>
                  <a:lnTo>
                    <a:pt x="47" y="120"/>
                  </a:lnTo>
                  <a:lnTo>
                    <a:pt x="47" y="120"/>
                  </a:lnTo>
                  <a:lnTo>
                    <a:pt x="44" y="120"/>
                  </a:lnTo>
                  <a:lnTo>
                    <a:pt x="44" y="124"/>
                  </a:lnTo>
                  <a:lnTo>
                    <a:pt x="44" y="126"/>
                  </a:lnTo>
                  <a:lnTo>
                    <a:pt x="42" y="134"/>
                  </a:lnTo>
                  <a:lnTo>
                    <a:pt x="42" y="134"/>
                  </a:lnTo>
                  <a:lnTo>
                    <a:pt x="40" y="137"/>
                  </a:lnTo>
                  <a:lnTo>
                    <a:pt x="42" y="141"/>
                  </a:lnTo>
                  <a:lnTo>
                    <a:pt x="40" y="143"/>
                  </a:lnTo>
                  <a:lnTo>
                    <a:pt x="40" y="145"/>
                  </a:lnTo>
                  <a:lnTo>
                    <a:pt x="42" y="145"/>
                  </a:lnTo>
                  <a:lnTo>
                    <a:pt x="40" y="149"/>
                  </a:lnTo>
                  <a:lnTo>
                    <a:pt x="40" y="154"/>
                  </a:lnTo>
                  <a:lnTo>
                    <a:pt x="38" y="154"/>
                  </a:lnTo>
                  <a:lnTo>
                    <a:pt x="38" y="154"/>
                  </a:lnTo>
                  <a:lnTo>
                    <a:pt x="42" y="154"/>
                  </a:lnTo>
                  <a:lnTo>
                    <a:pt x="40" y="154"/>
                  </a:lnTo>
                  <a:lnTo>
                    <a:pt x="42" y="151"/>
                  </a:lnTo>
                  <a:lnTo>
                    <a:pt x="42" y="147"/>
                  </a:lnTo>
                  <a:lnTo>
                    <a:pt x="44" y="145"/>
                  </a:lnTo>
                  <a:lnTo>
                    <a:pt x="44" y="137"/>
                  </a:lnTo>
                  <a:lnTo>
                    <a:pt x="44" y="137"/>
                  </a:lnTo>
                  <a:lnTo>
                    <a:pt x="47" y="134"/>
                  </a:lnTo>
                  <a:lnTo>
                    <a:pt x="44" y="137"/>
                  </a:lnTo>
                  <a:lnTo>
                    <a:pt x="44" y="141"/>
                  </a:lnTo>
                  <a:lnTo>
                    <a:pt x="47" y="143"/>
                  </a:lnTo>
                  <a:lnTo>
                    <a:pt x="47" y="139"/>
                  </a:lnTo>
                  <a:lnTo>
                    <a:pt x="47" y="137"/>
                  </a:lnTo>
                  <a:lnTo>
                    <a:pt x="49" y="141"/>
                  </a:lnTo>
                  <a:lnTo>
                    <a:pt x="51" y="137"/>
                  </a:lnTo>
                  <a:lnTo>
                    <a:pt x="51" y="134"/>
                  </a:lnTo>
                  <a:lnTo>
                    <a:pt x="51" y="134"/>
                  </a:lnTo>
                  <a:lnTo>
                    <a:pt x="51" y="137"/>
                  </a:lnTo>
                  <a:lnTo>
                    <a:pt x="55" y="141"/>
                  </a:lnTo>
                  <a:lnTo>
                    <a:pt x="51" y="139"/>
                  </a:lnTo>
                  <a:lnTo>
                    <a:pt x="51" y="145"/>
                  </a:lnTo>
                  <a:lnTo>
                    <a:pt x="51" y="149"/>
                  </a:lnTo>
                  <a:lnTo>
                    <a:pt x="53" y="149"/>
                  </a:lnTo>
                  <a:lnTo>
                    <a:pt x="55" y="151"/>
                  </a:lnTo>
                  <a:lnTo>
                    <a:pt x="51" y="154"/>
                  </a:lnTo>
                  <a:lnTo>
                    <a:pt x="49" y="164"/>
                  </a:lnTo>
                  <a:lnTo>
                    <a:pt x="49" y="166"/>
                  </a:lnTo>
                  <a:lnTo>
                    <a:pt x="47" y="164"/>
                  </a:lnTo>
                  <a:lnTo>
                    <a:pt x="47" y="169"/>
                  </a:lnTo>
                  <a:lnTo>
                    <a:pt x="51" y="173"/>
                  </a:lnTo>
                  <a:lnTo>
                    <a:pt x="49" y="169"/>
                  </a:lnTo>
                  <a:lnTo>
                    <a:pt x="51" y="168"/>
                  </a:lnTo>
                  <a:lnTo>
                    <a:pt x="59" y="173"/>
                  </a:lnTo>
                  <a:lnTo>
                    <a:pt x="59" y="169"/>
                  </a:lnTo>
                  <a:lnTo>
                    <a:pt x="57" y="168"/>
                  </a:lnTo>
                  <a:lnTo>
                    <a:pt x="59" y="166"/>
                  </a:lnTo>
                  <a:lnTo>
                    <a:pt x="62" y="169"/>
                  </a:lnTo>
                  <a:lnTo>
                    <a:pt x="68" y="169"/>
                  </a:lnTo>
                  <a:lnTo>
                    <a:pt x="68" y="168"/>
                  </a:lnTo>
                  <a:lnTo>
                    <a:pt x="68" y="168"/>
                  </a:lnTo>
                  <a:lnTo>
                    <a:pt x="72" y="164"/>
                  </a:lnTo>
                  <a:lnTo>
                    <a:pt x="79" y="166"/>
                  </a:lnTo>
                  <a:lnTo>
                    <a:pt x="74" y="166"/>
                  </a:lnTo>
                  <a:lnTo>
                    <a:pt x="72" y="177"/>
                  </a:lnTo>
                  <a:lnTo>
                    <a:pt x="74" y="184"/>
                  </a:lnTo>
                  <a:lnTo>
                    <a:pt x="76" y="184"/>
                  </a:lnTo>
                  <a:lnTo>
                    <a:pt x="76" y="190"/>
                  </a:lnTo>
                  <a:lnTo>
                    <a:pt x="79" y="184"/>
                  </a:lnTo>
                  <a:lnTo>
                    <a:pt x="83" y="184"/>
                  </a:lnTo>
                  <a:lnTo>
                    <a:pt x="81" y="190"/>
                  </a:lnTo>
                  <a:lnTo>
                    <a:pt x="83" y="190"/>
                  </a:lnTo>
                  <a:lnTo>
                    <a:pt x="79" y="194"/>
                  </a:lnTo>
                  <a:lnTo>
                    <a:pt x="81" y="198"/>
                  </a:lnTo>
                  <a:lnTo>
                    <a:pt x="79" y="203"/>
                  </a:lnTo>
                  <a:lnTo>
                    <a:pt x="81" y="205"/>
                  </a:lnTo>
                  <a:lnTo>
                    <a:pt x="83" y="207"/>
                  </a:lnTo>
                  <a:lnTo>
                    <a:pt x="87" y="207"/>
                  </a:lnTo>
                  <a:lnTo>
                    <a:pt x="85" y="209"/>
                  </a:lnTo>
                  <a:lnTo>
                    <a:pt x="81" y="209"/>
                  </a:lnTo>
                  <a:lnTo>
                    <a:pt x="79" y="205"/>
                  </a:lnTo>
                  <a:lnTo>
                    <a:pt x="77" y="207"/>
                  </a:lnTo>
                  <a:lnTo>
                    <a:pt x="79" y="211"/>
                  </a:lnTo>
                  <a:lnTo>
                    <a:pt x="81" y="211"/>
                  </a:lnTo>
                  <a:lnTo>
                    <a:pt x="77" y="211"/>
                  </a:lnTo>
                  <a:lnTo>
                    <a:pt x="76" y="209"/>
                  </a:lnTo>
                  <a:lnTo>
                    <a:pt x="72" y="211"/>
                  </a:lnTo>
                  <a:lnTo>
                    <a:pt x="68" y="209"/>
                  </a:lnTo>
                  <a:lnTo>
                    <a:pt x="62" y="213"/>
                  </a:lnTo>
                  <a:lnTo>
                    <a:pt x="59" y="218"/>
                  </a:lnTo>
                  <a:lnTo>
                    <a:pt x="55" y="220"/>
                  </a:lnTo>
                  <a:lnTo>
                    <a:pt x="51" y="224"/>
                  </a:lnTo>
                  <a:lnTo>
                    <a:pt x="55" y="220"/>
                  </a:lnTo>
                  <a:lnTo>
                    <a:pt x="57" y="224"/>
                  </a:lnTo>
                  <a:lnTo>
                    <a:pt x="57" y="220"/>
                  </a:lnTo>
                  <a:lnTo>
                    <a:pt x="64" y="220"/>
                  </a:lnTo>
                  <a:lnTo>
                    <a:pt x="62" y="224"/>
                  </a:lnTo>
                  <a:lnTo>
                    <a:pt x="66" y="224"/>
                  </a:lnTo>
                  <a:lnTo>
                    <a:pt x="62" y="228"/>
                  </a:lnTo>
                  <a:lnTo>
                    <a:pt x="64" y="228"/>
                  </a:lnTo>
                  <a:lnTo>
                    <a:pt x="66" y="230"/>
                  </a:lnTo>
                  <a:lnTo>
                    <a:pt x="60" y="237"/>
                  </a:lnTo>
                  <a:lnTo>
                    <a:pt x="59" y="237"/>
                  </a:lnTo>
                  <a:lnTo>
                    <a:pt x="55" y="241"/>
                  </a:lnTo>
                  <a:lnTo>
                    <a:pt x="53" y="241"/>
                  </a:lnTo>
                  <a:lnTo>
                    <a:pt x="49" y="243"/>
                  </a:lnTo>
                  <a:lnTo>
                    <a:pt x="47" y="243"/>
                  </a:lnTo>
                  <a:lnTo>
                    <a:pt x="44" y="245"/>
                  </a:lnTo>
                  <a:lnTo>
                    <a:pt x="47" y="245"/>
                  </a:lnTo>
                  <a:lnTo>
                    <a:pt x="47" y="249"/>
                  </a:lnTo>
                  <a:lnTo>
                    <a:pt x="44" y="250"/>
                  </a:lnTo>
                  <a:lnTo>
                    <a:pt x="47" y="252"/>
                  </a:lnTo>
                  <a:lnTo>
                    <a:pt x="47" y="252"/>
                  </a:lnTo>
                  <a:lnTo>
                    <a:pt x="49" y="254"/>
                  </a:lnTo>
                  <a:lnTo>
                    <a:pt x="51" y="252"/>
                  </a:lnTo>
                  <a:lnTo>
                    <a:pt x="55" y="250"/>
                  </a:lnTo>
                  <a:lnTo>
                    <a:pt x="60" y="249"/>
                  </a:lnTo>
                  <a:lnTo>
                    <a:pt x="60" y="252"/>
                  </a:lnTo>
                  <a:lnTo>
                    <a:pt x="64" y="252"/>
                  </a:lnTo>
                  <a:lnTo>
                    <a:pt x="60" y="254"/>
                  </a:lnTo>
                  <a:lnTo>
                    <a:pt x="60" y="254"/>
                  </a:lnTo>
                  <a:lnTo>
                    <a:pt x="66" y="254"/>
                  </a:lnTo>
                  <a:lnTo>
                    <a:pt x="66" y="254"/>
                  </a:lnTo>
                  <a:lnTo>
                    <a:pt x="68" y="254"/>
                  </a:lnTo>
                  <a:lnTo>
                    <a:pt x="72" y="254"/>
                  </a:lnTo>
                  <a:lnTo>
                    <a:pt x="72" y="258"/>
                  </a:lnTo>
                  <a:lnTo>
                    <a:pt x="79" y="258"/>
                  </a:lnTo>
                  <a:lnTo>
                    <a:pt x="79" y="258"/>
                  </a:lnTo>
                  <a:lnTo>
                    <a:pt x="83" y="254"/>
                  </a:lnTo>
                  <a:lnTo>
                    <a:pt x="87" y="254"/>
                  </a:lnTo>
                  <a:lnTo>
                    <a:pt x="87" y="252"/>
                  </a:lnTo>
                  <a:lnTo>
                    <a:pt x="91" y="250"/>
                  </a:lnTo>
                  <a:lnTo>
                    <a:pt x="87" y="254"/>
                  </a:lnTo>
                  <a:lnTo>
                    <a:pt x="83" y="258"/>
                  </a:lnTo>
                  <a:lnTo>
                    <a:pt x="83" y="264"/>
                  </a:lnTo>
                  <a:lnTo>
                    <a:pt x="79" y="264"/>
                  </a:lnTo>
                  <a:lnTo>
                    <a:pt x="77" y="265"/>
                  </a:lnTo>
                  <a:lnTo>
                    <a:pt x="74" y="264"/>
                  </a:lnTo>
                  <a:lnTo>
                    <a:pt x="68" y="264"/>
                  </a:lnTo>
                  <a:lnTo>
                    <a:pt x="62" y="264"/>
                  </a:lnTo>
                  <a:lnTo>
                    <a:pt x="62" y="267"/>
                  </a:lnTo>
                  <a:lnTo>
                    <a:pt x="59" y="269"/>
                  </a:lnTo>
                  <a:lnTo>
                    <a:pt x="57" y="269"/>
                  </a:lnTo>
                  <a:lnTo>
                    <a:pt x="55" y="277"/>
                  </a:lnTo>
                  <a:lnTo>
                    <a:pt x="53" y="279"/>
                  </a:lnTo>
                  <a:lnTo>
                    <a:pt x="51" y="281"/>
                  </a:lnTo>
                  <a:lnTo>
                    <a:pt x="47" y="282"/>
                  </a:lnTo>
                  <a:lnTo>
                    <a:pt x="47" y="284"/>
                  </a:lnTo>
                  <a:lnTo>
                    <a:pt x="47" y="284"/>
                  </a:lnTo>
                  <a:lnTo>
                    <a:pt x="44" y="288"/>
                  </a:lnTo>
                  <a:lnTo>
                    <a:pt x="42" y="288"/>
                  </a:lnTo>
                  <a:lnTo>
                    <a:pt x="40" y="288"/>
                  </a:lnTo>
                  <a:lnTo>
                    <a:pt x="36" y="290"/>
                  </a:lnTo>
                  <a:lnTo>
                    <a:pt x="36" y="294"/>
                  </a:lnTo>
                  <a:lnTo>
                    <a:pt x="40" y="294"/>
                  </a:lnTo>
                  <a:lnTo>
                    <a:pt x="40" y="294"/>
                  </a:lnTo>
                  <a:lnTo>
                    <a:pt x="44" y="294"/>
                  </a:lnTo>
                  <a:lnTo>
                    <a:pt x="44" y="297"/>
                  </a:lnTo>
                  <a:lnTo>
                    <a:pt x="44" y="297"/>
                  </a:lnTo>
                  <a:lnTo>
                    <a:pt x="44" y="297"/>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2" name="Freeform 24">
              <a:extLst>
                <a:ext uri="{FF2B5EF4-FFF2-40B4-BE49-F238E27FC236}">
                  <a16:creationId xmlns:a16="http://schemas.microsoft.com/office/drawing/2014/main" id="{D7F8FCF0-CBF4-4082-B475-39E687522C88}"/>
                </a:ext>
              </a:extLst>
            </p:cNvPr>
            <p:cNvSpPr>
              <a:spLocks noEditPoints="1"/>
            </p:cNvSpPr>
            <p:nvPr/>
          </p:nvSpPr>
          <p:spPr bwMode="auto">
            <a:xfrm>
              <a:off x="2700" y="2061"/>
              <a:ext cx="243" cy="223"/>
            </a:xfrm>
            <a:custGeom>
              <a:avLst/>
              <a:gdLst/>
              <a:ahLst/>
              <a:cxnLst>
                <a:cxn ang="0">
                  <a:pos x="190" y="110"/>
                </a:cxn>
                <a:cxn ang="0">
                  <a:pos x="175" y="115"/>
                </a:cxn>
                <a:cxn ang="0">
                  <a:pos x="181" y="104"/>
                </a:cxn>
                <a:cxn ang="0">
                  <a:pos x="194" y="85"/>
                </a:cxn>
                <a:cxn ang="0">
                  <a:pos x="203" y="83"/>
                </a:cxn>
                <a:cxn ang="0">
                  <a:pos x="203" y="63"/>
                </a:cxn>
                <a:cxn ang="0">
                  <a:pos x="209" y="46"/>
                </a:cxn>
                <a:cxn ang="0">
                  <a:pos x="194" y="44"/>
                </a:cxn>
                <a:cxn ang="0">
                  <a:pos x="181" y="38"/>
                </a:cxn>
                <a:cxn ang="0">
                  <a:pos x="164" y="34"/>
                </a:cxn>
                <a:cxn ang="0">
                  <a:pos x="151" y="25"/>
                </a:cxn>
                <a:cxn ang="0">
                  <a:pos x="139" y="17"/>
                </a:cxn>
                <a:cxn ang="0">
                  <a:pos x="128" y="2"/>
                </a:cxn>
                <a:cxn ang="0">
                  <a:pos x="109" y="6"/>
                </a:cxn>
                <a:cxn ang="0">
                  <a:pos x="103" y="27"/>
                </a:cxn>
                <a:cxn ang="0">
                  <a:pos x="83" y="34"/>
                </a:cxn>
                <a:cxn ang="0">
                  <a:pos x="70" y="42"/>
                </a:cxn>
                <a:cxn ang="0">
                  <a:pos x="60" y="34"/>
                </a:cxn>
                <a:cxn ang="0">
                  <a:pos x="51" y="38"/>
                </a:cxn>
                <a:cxn ang="0">
                  <a:pos x="55" y="51"/>
                </a:cxn>
                <a:cxn ang="0">
                  <a:pos x="45" y="57"/>
                </a:cxn>
                <a:cxn ang="0">
                  <a:pos x="26" y="51"/>
                </a:cxn>
                <a:cxn ang="0">
                  <a:pos x="15" y="57"/>
                </a:cxn>
                <a:cxn ang="0">
                  <a:pos x="2" y="63"/>
                </a:cxn>
                <a:cxn ang="0">
                  <a:pos x="2" y="66"/>
                </a:cxn>
                <a:cxn ang="0">
                  <a:pos x="6" y="70"/>
                </a:cxn>
                <a:cxn ang="0">
                  <a:pos x="9" y="78"/>
                </a:cxn>
                <a:cxn ang="0">
                  <a:pos x="24" y="81"/>
                </a:cxn>
                <a:cxn ang="0">
                  <a:pos x="34" y="83"/>
                </a:cxn>
                <a:cxn ang="0">
                  <a:pos x="39" y="91"/>
                </a:cxn>
                <a:cxn ang="0">
                  <a:pos x="49" y="91"/>
                </a:cxn>
                <a:cxn ang="0">
                  <a:pos x="45" y="100"/>
                </a:cxn>
                <a:cxn ang="0">
                  <a:pos x="60" y="112"/>
                </a:cxn>
                <a:cxn ang="0">
                  <a:pos x="60" y="125"/>
                </a:cxn>
                <a:cxn ang="0">
                  <a:pos x="66" y="132"/>
                </a:cxn>
                <a:cxn ang="0">
                  <a:pos x="64" y="149"/>
                </a:cxn>
                <a:cxn ang="0">
                  <a:pos x="56" y="178"/>
                </a:cxn>
                <a:cxn ang="0">
                  <a:pos x="64" y="187"/>
                </a:cxn>
                <a:cxn ang="0">
                  <a:pos x="88" y="194"/>
                </a:cxn>
                <a:cxn ang="0">
                  <a:pos x="109" y="194"/>
                </a:cxn>
                <a:cxn ang="0">
                  <a:pos x="134" y="198"/>
                </a:cxn>
                <a:cxn ang="0">
                  <a:pos x="143" y="174"/>
                </a:cxn>
                <a:cxn ang="0">
                  <a:pos x="160" y="178"/>
                </a:cxn>
                <a:cxn ang="0">
                  <a:pos x="188" y="185"/>
                </a:cxn>
                <a:cxn ang="0">
                  <a:pos x="205" y="170"/>
                </a:cxn>
                <a:cxn ang="0">
                  <a:pos x="194" y="145"/>
                </a:cxn>
                <a:cxn ang="0">
                  <a:pos x="194" y="127"/>
                </a:cxn>
                <a:cxn ang="0">
                  <a:pos x="198" y="121"/>
                </a:cxn>
                <a:cxn ang="0">
                  <a:pos x="230" y="217"/>
                </a:cxn>
                <a:cxn ang="0">
                  <a:pos x="228" y="211"/>
                </a:cxn>
                <a:cxn ang="0">
                  <a:pos x="224" y="202"/>
                </a:cxn>
                <a:cxn ang="0">
                  <a:pos x="233" y="194"/>
                </a:cxn>
                <a:cxn ang="0">
                  <a:pos x="237" y="187"/>
                </a:cxn>
                <a:cxn ang="0">
                  <a:pos x="243" y="202"/>
                </a:cxn>
                <a:cxn ang="0">
                  <a:pos x="235" y="223"/>
                </a:cxn>
              </a:cxnLst>
              <a:rect l="0" t="0" r="r" b="b"/>
              <a:pathLst>
                <a:path w="243" h="223">
                  <a:moveTo>
                    <a:pt x="198" y="121"/>
                  </a:moveTo>
                  <a:lnTo>
                    <a:pt x="198" y="117"/>
                  </a:lnTo>
                  <a:lnTo>
                    <a:pt x="194" y="115"/>
                  </a:lnTo>
                  <a:lnTo>
                    <a:pt x="194" y="112"/>
                  </a:lnTo>
                  <a:lnTo>
                    <a:pt x="190" y="110"/>
                  </a:lnTo>
                  <a:lnTo>
                    <a:pt x="184" y="108"/>
                  </a:lnTo>
                  <a:lnTo>
                    <a:pt x="183" y="112"/>
                  </a:lnTo>
                  <a:lnTo>
                    <a:pt x="184" y="115"/>
                  </a:lnTo>
                  <a:lnTo>
                    <a:pt x="179" y="115"/>
                  </a:lnTo>
                  <a:lnTo>
                    <a:pt x="175" y="115"/>
                  </a:lnTo>
                  <a:lnTo>
                    <a:pt x="175" y="112"/>
                  </a:lnTo>
                  <a:lnTo>
                    <a:pt x="177" y="112"/>
                  </a:lnTo>
                  <a:lnTo>
                    <a:pt x="179" y="112"/>
                  </a:lnTo>
                  <a:lnTo>
                    <a:pt x="179" y="110"/>
                  </a:lnTo>
                  <a:lnTo>
                    <a:pt x="181" y="104"/>
                  </a:lnTo>
                  <a:lnTo>
                    <a:pt x="186" y="97"/>
                  </a:lnTo>
                  <a:lnTo>
                    <a:pt x="188" y="97"/>
                  </a:lnTo>
                  <a:lnTo>
                    <a:pt x="190" y="91"/>
                  </a:lnTo>
                  <a:lnTo>
                    <a:pt x="194" y="87"/>
                  </a:lnTo>
                  <a:lnTo>
                    <a:pt x="194" y="85"/>
                  </a:lnTo>
                  <a:lnTo>
                    <a:pt x="190" y="83"/>
                  </a:lnTo>
                  <a:lnTo>
                    <a:pt x="194" y="81"/>
                  </a:lnTo>
                  <a:lnTo>
                    <a:pt x="198" y="80"/>
                  </a:lnTo>
                  <a:lnTo>
                    <a:pt x="199" y="83"/>
                  </a:lnTo>
                  <a:lnTo>
                    <a:pt x="203" y="83"/>
                  </a:lnTo>
                  <a:lnTo>
                    <a:pt x="207" y="81"/>
                  </a:lnTo>
                  <a:lnTo>
                    <a:pt x="205" y="78"/>
                  </a:lnTo>
                  <a:lnTo>
                    <a:pt x="203" y="76"/>
                  </a:lnTo>
                  <a:lnTo>
                    <a:pt x="203" y="70"/>
                  </a:lnTo>
                  <a:lnTo>
                    <a:pt x="203" y="63"/>
                  </a:lnTo>
                  <a:lnTo>
                    <a:pt x="207" y="63"/>
                  </a:lnTo>
                  <a:lnTo>
                    <a:pt x="207" y="59"/>
                  </a:lnTo>
                  <a:lnTo>
                    <a:pt x="209" y="53"/>
                  </a:lnTo>
                  <a:lnTo>
                    <a:pt x="213" y="49"/>
                  </a:lnTo>
                  <a:lnTo>
                    <a:pt x="209" y="46"/>
                  </a:lnTo>
                  <a:lnTo>
                    <a:pt x="205" y="46"/>
                  </a:lnTo>
                  <a:lnTo>
                    <a:pt x="203" y="44"/>
                  </a:lnTo>
                  <a:lnTo>
                    <a:pt x="199" y="46"/>
                  </a:lnTo>
                  <a:lnTo>
                    <a:pt x="194" y="44"/>
                  </a:lnTo>
                  <a:lnTo>
                    <a:pt x="194" y="44"/>
                  </a:lnTo>
                  <a:lnTo>
                    <a:pt x="190" y="46"/>
                  </a:lnTo>
                  <a:lnTo>
                    <a:pt x="186" y="42"/>
                  </a:lnTo>
                  <a:lnTo>
                    <a:pt x="186" y="42"/>
                  </a:lnTo>
                  <a:lnTo>
                    <a:pt x="183" y="38"/>
                  </a:lnTo>
                  <a:lnTo>
                    <a:pt x="181" y="38"/>
                  </a:lnTo>
                  <a:lnTo>
                    <a:pt x="175" y="38"/>
                  </a:lnTo>
                  <a:lnTo>
                    <a:pt x="173" y="34"/>
                  </a:lnTo>
                  <a:lnTo>
                    <a:pt x="169" y="34"/>
                  </a:lnTo>
                  <a:lnTo>
                    <a:pt x="169" y="36"/>
                  </a:lnTo>
                  <a:lnTo>
                    <a:pt x="164" y="34"/>
                  </a:lnTo>
                  <a:lnTo>
                    <a:pt x="160" y="34"/>
                  </a:lnTo>
                  <a:lnTo>
                    <a:pt x="158" y="29"/>
                  </a:lnTo>
                  <a:lnTo>
                    <a:pt x="154" y="27"/>
                  </a:lnTo>
                  <a:lnTo>
                    <a:pt x="154" y="25"/>
                  </a:lnTo>
                  <a:lnTo>
                    <a:pt x="151" y="25"/>
                  </a:lnTo>
                  <a:lnTo>
                    <a:pt x="149" y="27"/>
                  </a:lnTo>
                  <a:lnTo>
                    <a:pt x="145" y="25"/>
                  </a:lnTo>
                  <a:lnTo>
                    <a:pt x="145" y="19"/>
                  </a:lnTo>
                  <a:lnTo>
                    <a:pt x="141" y="17"/>
                  </a:lnTo>
                  <a:lnTo>
                    <a:pt x="139" y="17"/>
                  </a:lnTo>
                  <a:lnTo>
                    <a:pt x="137" y="17"/>
                  </a:lnTo>
                  <a:lnTo>
                    <a:pt x="134" y="14"/>
                  </a:lnTo>
                  <a:lnTo>
                    <a:pt x="130" y="10"/>
                  </a:lnTo>
                  <a:lnTo>
                    <a:pt x="128" y="8"/>
                  </a:lnTo>
                  <a:lnTo>
                    <a:pt x="128" y="2"/>
                  </a:lnTo>
                  <a:lnTo>
                    <a:pt x="124" y="0"/>
                  </a:lnTo>
                  <a:lnTo>
                    <a:pt x="124" y="0"/>
                  </a:lnTo>
                  <a:lnTo>
                    <a:pt x="117" y="4"/>
                  </a:lnTo>
                  <a:lnTo>
                    <a:pt x="115" y="2"/>
                  </a:lnTo>
                  <a:lnTo>
                    <a:pt x="109" y="6"/>
                  </a:lnTo>
                  <a:lnTo>
                    <a:pt x="109" y="10"/>
                  </a:lnTo>
                  <a:lnTo>
                    <a:pt x="109" y="14"/>
                  </a:lnTo>
                  <a:lnTo>
                    <a:pt x="109" y="19"/>
                  </a:lnTo>
                  <a:lnTo>
                    <a:pt x="103" y="25"/>
                  </a:lnTo>
                  <a:lnTo>
                    <a:pt x="103" y="27"/>
                  </a:lnTo>
                  <a:lnTo>
                    <a:pt x="96" y="29"/>
                  </a:lnTo>
                  <a:lnTo>
                    <a:pt x="96" y="29"/>
                  </a:lnTo>
                  <a:lnTo>
                    <a:pt x="90" y="29"/>
                  </a:lnTo>
                  <a:lnTo>
                    <a:pt x="85" y="32"/>
                  </a:lnTo>
                  <a:lnTo>
                    <a:pt x="83" y="34"/>
                  </a:lnTo>
                  <a:lnTo>
                    <a:pt x="83" y="38"/>
                  </a:lnTo>
                  <a:lnTo>
                    <a:pt x="87" y="38"/>
                  </a:lnTo>
                  <a:lnTo>
                    <a:pt x="83" y="42"/>
                  </a:lnTo>
                  <a:lnTo>
                    <a:pt x="77" y="42"/>
                  </a:lnTo>
                  <a:lnTo>
                    <a:pt x="70" y="42"/>
                  </a:lnTo>
                  <a:lnTo>
                    <a:pt x="66" y="38"/>
                  </a:lnTo>
                  <a:lnTo>
                    <a:pt x="64" y="42"/>
                  </a:lnTo>
                  <a:lnTo>
                    <a:pt x="64" y="38"/>
                  </a:lnTo>
                  <a:lnTo>
                    <a:pt x="60" y="38"/>
                  </a:lnTo>
                  <a:lnTo>
                    <a:pt x="60" y="34"/>
                  </a:lnTo>
                  <a:lnTo>
                    <a:pt x="58" y="32"/>
                  </a:lnTo>
                  <a:lnTo>
                    <a:pt x="56" y="34"/>
                  </a:lnTo>
                  <a:lnTo>
                    <a:pt x="51" y="34"/>
                  </a:lnTo>
                  <a:lnTo>
                    <a:pt x="49" y="32"/>
                  </a:lnTo>
                  <a:lnTo>
                    <a:pt x="51" y="38"/>
                  </a:lnTo>
                  <a:lnTo>
                    <a:pt x="49" y="38"/>
                  </a:lnTo>
                  <a:lnTo>
                    <a:pt x="56" y="44"/>
                  </a:lnTo>
                  <a:lnTo>
                    <a:pt x="55" y="46"/>
                  </a:lnTo>
                  <a:lnTo>
                    <a:pt x="56" y="49"/>
                  </a:lnTo>
                  <a:lnTo>
                    <a:pt x="55" y="51"/>
                  </a:lnTo>
                  <a:lnTo>
                    <a:pt x="56" y="55"/>
                  </a:lnTo>
                  <a:lnTo>
                    <a:pt x="58" y="57"/>
                  </a:lnTo>
                  <a:lnTo>
                    <a:pt x="51" y="57"/>
                  </a:lnTo>
                  <a:lnTo>
                    <a:pt x="47" y="57"/>
                  </a:lnTo>
                  <a:lnTo>
                    <a:pt x="45" y="57"/>
                  </a:lnTo>
                  <a:lnTo>
                    <a:pt x="41" y="59"/>
                  </a:lnTo>
                  <a:lnTo>
                    <a:pt x="39" y="57"/>
                  </a:lnTo>
                  <a:lnTo>
                    <a:pt x="36" y="61"/>
                  </a:lnTo>
                  <a:lnTo>
                    <a:pt x="30" y="53"/>
                  </a:lnTo>
                  <a:lnTo>
                    <a:pt x="26" y="51"/>
                  </a:lnTo>
                  <a:lnTo>
                    <a:pt x="24" y="53"/>
                  </a:lnTo>
                  <a:lnTo>
                    <a:pt x="21" y="57"/>
                  </a:lnTo>
                  <a:lnTo>
                    <a:pt x="19" y="55"/>
                  </a:lnTo>
                  <a:lnTo>
                    <a:pt x="17" y="57"/>
                  </a:lnTo>
                  <a:lnTo>
                    <a:pt x="15" y="57"/>
                  </a:lnTo>
                  <a:lnTo>
                    <a:pt x="11" y="57"/>
                  </a:lnTo>
                  <a:lnTo>
                    <a:pt x="9" y="59"/>
                  </a:lnTo>
                  <a:lnTo>
                    <a:pt x="2" y="59"/>
                  </a:lnTo>
                  <a:lnTo>
                    <a:pt x="0" y="63"/>
                  </a:lnTo>
                  <a:lnTo>
                    <a:pt x="2" y="63"/>
                  </a:lnTo>
                  <a:lnTo>
                    <a:pt x="4" y="63"/>
                  </a:lnTo>
                  <a:lnTo>
                    <a:pt x="9" y="63"/>
                  </a:lnTo>
                  <a:lnTo>
                    <a:pt x="9" y="66"/>
                  </a:lnTo>
                  <a:lnTo>
                    <a:pt x="6" y="66"/>
                  </a:lnTo>
                  <a:lnTo>
                    <a:pt x="2" y="66"/>
                  </a:lnTo>
                  <a:lnTo>
                    <a:pt x="4" y="68"/>
                  </a:lnTo>
                  <a:lnTo>
                    <a:pt x="6" y="66"/>
                  </a:lnTo>
                  <a:lnTo>
                    <a:pt x="9" y="66"/>
                  </a:lnTo>
                  <a:lnTo>
                    <a:pt x="9" y="68"/>
                  </a:lnTo>
                  <a:lnTo>
                    <a:pt x="6" y="70"/>
                  </a:lnTo>
                  <a:lnTo>
                    <a:pt x="2" y="70"/>
                  </a:lnTo>
                  <a:lnTo>
                    <a:pt x="2" y="72"/>
                  </a:lnTo>
                  <a:lnTo>
                    <a:pt x="6" y="72"/>
                  </a:lnTo>
                  <a:lnTo>
                    <a:pt x="9" y="76"/>
                  </a:lnTo>
                  <a:lnTo>
                    <a:pt x="9" y="78"/>
                  </a:lnTo>
                  <a:lnTo>
                    <a:pt x="11" y="76"/>
                  </a:lnTo>
                  <a:lnTo>
                    <a:pt x="13" y="76"/>
                  </a:lnTo>
                  <a:lnTo>
                    <a:pt x="17" y="76"/>
                  </a:lnTo>
                  <a:lnTo>
                    <a:pt x="23" y="78"/>
                  </a:lnTo>
                  <a:lnTo>
                    <a:pt x="24" y="81"/>
                  </a:lnTo>
                  <a:lnTo>
                    <a:pt x="26" y="81"/>
                  </a:lnTo>
                  <a:lnTo>
                    <a:pt x="30" y="83"/>
                  </a:lnTo>
                  <a:lnTo>
                    <a:pt x="34" y="81"/>
                  </a:lnTo>
                  <a:lnTo>
                    <a:pt x="34" y="81"/>
                  </a:lnTo>
                  <a:lnTo>
                    <a:pt x="34" y="83"/>
                  </a:lnTo>
                  <a:lnTo>
                    <a:pt x="34" y="85"/>
                  </a:lnTo>
                  <a:lnTo>
                    <a:pt x="39" y="83"/>
                  </a:lnTo>
                  <a:lnTo>
                    <a:pt x="39" y="85"/>
                  </a:lnTo>
                  <a:lnTo>
                    <a:pt x="39" y="87"/>
                  </a:lnTo>
                  <a:lnTo>
                    <a:pt x="39" y="91"/>
                  </a:lnTo>
                  <a:lnTo>
                    <a:pt x="41" y="91"/>
                  </a:lnTo>
                  <a:lnTo>
                    <a:pt x="45" y="87"/>
                  </a:lnTo>
                  <a:lnTo>
                    <a:pt x="51" y="87"/>
                  </a:lnTo>
                  <a:lnTo>
                    <a:pt x="53" y="91"/>
                  </a:lnTo>
                  <a:lnTo>
                    <a:pt x="49" y="91"/>
                  </a:lnTo>
                  <a:lnTo>
                    <a:pt x="45" y="91"/>
                  </a:lnTo>
                  <a:lnTo>
                    <a:pt x="43" y="93"/>
                  </a:lnTo>
                  <a:lnTo>
                    <a:pt x="45" y="93"/>
                  </a:lnTo>
                  <a:lnTo>
                    <a:pt x="47" y="97"/>
                  </a:lnTo>
                  <a:lnTo>
                    <a:pt x="45" y="100"/>
                  </a:lnTo>
                  <a:lnTo>
                    <a:pt x="45" y="104"/>
                  </a:lnTo>
                  <a:lnTo>
                    <a:pt x="49" y="104"/>
                  </a:lnTo>
                  <a:lnTo>
                    <a:pt x="53" y="110"/>
                  </a:lnTo>
                  <a:lnTo>
                    <a:pt x="58" y="110"/>
                  </a:lnTo>
                  <a:lnTo>
                    <a:pt x="60" y="112"/>
                  </a:lnTo>
                  <a:lnTo>
                    <a:pt x="60" y="115"/>
                  </a:lnTo>
                  <a:lnTo>
                    <a:pt x="64" y="117"/>
                  </a:lnTo>
                  <a:lnTo>
                    <a:pt x="60" y="121"/>
                  </a:lnTo>
                  <a:lnTo>
                    <a:pt x="60" y="121"/>
                  </a:lnTo>
                  <a:lnTo>
                    <a:pt x="60" y="125"/>
                  </a:lnTo>
                  <a:lnTo>
                    <a:pt x="64" y="127"/>
                  </a:lnTo>
                  <a:lnTo>
                    <a:pt x="70" y="130"/>
                  </a:lnTo>
                  <a:lnTo>
                    <a:pt x="73" y="142"/>
                  </a:lnTo>
                  <a:lnTo>
                    <a:pt x="70" y="136"/>
                  </a:lnTo>
                  <a:lnTo>
                    <a:pt x="66" y="132"/>
                  </a:lnTo>
                  <a:lnTo>
                    <a:pt x="64" y="130"/>
                  </a:lnTo>
                  <a:lnTo>
                    <a:pt x="60" y="132"/>
                  </a:lnTo>
                  <a:lnTo>
                    <a:pt x="60" y="142"/>
                  </a:lnTo>
                  <a:lnTo>
                    <a:pt x="60" y="149"/>
                  </a:lnTo>
                  <a:lnTo>
                    <a:pt x="64" y="149"/>
                  </a:lnTo>
                  <a:lnTo>
                    <a:pt x="60" y="151"/>
                  </a:lnTo>
                  <a:lnTo>
                    <a:pt x="60" y="164"/>
                  </a:lnTo>
                  <a:lnTo>
                    <a:pt x="56" y="174"/>
                  </a:lnTo>
                  <a:lnTo>
                    <a:pt x="53" y="176"/>
                  </a:lnTo>
                  <a:lnTo>
                    <a:pt x="56" y="178"/>
                  </a:lnTo>
                  <a:lnTo>
                    <a:pt x="56" y="179"/>
                  </a:lnTo>
                  <a:lnTo>
                    <a:pt x="58" y="179"/>
                  </a:lnTo>
                  <a:lnTo>
                    <a:pt x="58" y="183"/>
                  </a:lnTo>
                  <a:lnTo>
                    <a:pt x="58" y="187"/>
                  </a:lnTo>
                  <a:lnTo>
                    <a:pt x="64" y="187"/>
                  </a:lnTo>
                  <a:lnTo>
                    <a:pt x="70" y="189"/>
                  </a:lnTo>
                  <a:lnTo>
                    <a:pt x="73" y="193"/>
                  </a:lnTo>
                  <a:lnTo>
                    <a:pt x="79" y="191"/>
                  </a:lnTo>
                  <a:lnTo>
                    <a:pt x="83" y="194"/>
                  </a:lnTo>
                  <a:lnTo>
                    <a:pt x="88" y="194"/>
                  </a:lnTo>
                  <a:lnTo>
                    <a:pt x="90" y="198"/>
                  </a:lnTo>
                  <a:lnTo>
                    <a:pt x="94" y="194"/>
                  </a:lnTo>
                  <a:lnTo>
                    <a:pt x="103" y="193"/>
                  </a:lnTo>
                  <a:lnTo>
                    <a:pt x="105" y="194"/>
                  </a:lnTo>
                  <a:lnTo>
                    <a:pt x="109" y="194"/>
                  </a:lnTo>
                  <a:lnTo>
                    <a:pt x="115" y="198"/>
                  </a:lnTo>
                  <a:lnTo>
                    <a:pt x="124" y="194"/>
                  </a:lnTo>
                  <a:lnTo>
                    <a:pt x="130" y="198"/>
                  </a:lnTo>
                  <a:lnTo>
                    <a:pt x="134" y="200"/>
                  </a:lnTo>
                  <a:lnTo>
                    <a:pt x="134" y="198"/>
                  </a:lnTo>
                  <a:lnTo>
                    <a:pt x="130" y="194"/>
                  </a:lnTo>
                  <a:lnTo>
                    <a:pt x="134" y="187"/>
                  </a:lnTo>
                  <a:lnTo>
                    <a:pt x="134" y="185"/>
                  </a:lnTo>
                  <a:lnTo>
                    <a:pt x="137" y="179"/>
                  </a:lnTo>
                  <a:lnTo>
                    <a:pt x="143" y="174"/>
                  </a:lnTo>
                  <a:lnTo>
                    <a:pt x="145" y="174"/>
                  </a:lnTo>
                  <a:lnTo>
                    <a:pt x="149" y="174"/>
                  </a:lnTo>
                  <a:lnTo>
                    <a:pt x="152" y="176"/>
                  </a:lnTo>
                  <a:lnTo>
                    <a:pt x="158" y="178"/>
                  </a:lnTo>
                  <a:lnTo>
                    <a:pt x="160" y="178"/>
                  </a:lnTo>
                  <a:lnTo>
                    <a:pt x="164" y="176"/>
                  </a:lnTo>
                  <a:lnTo>
                    <a:pt x="164" y="176"/>
                  </a:lnTo>
                  <a:lnTo>
                    <a:pt x="177" y="183"/>
                  </a:lnTo>
                  <a:lnTo>
                    <a:pt x="179" y="185"/>
                  </a:lnTo>
                  <a:lnTo>
                    <a:pt x="188" y="185"/>
                  </a:lnTo>
                  <a:lnTo>
                    <a:pt x="190" y="183"/>
                  </a:lnTo>
                  <a:lnTo>
                    <a:pt x="190" y="181"/>
                  </a:lnTo>
                  <a:lnTo>
                    <a:pt x="194" y="176"/>
                  </a:lnTo>
                  <a:lnTo>
                    <a:pt x="205" y="170"/>
                  </a:lnTo>
                  <a:lnTo>
                    <a:pt x="205" y="170"/>
                  </a:lnTo>
                  <a:lnTo>
                    <a:pt x="205" y="164"/>
                  </a:lnTo>
                  <a:lnTo>
                    <a:pt x="207" y="159"/>
                  </a:lnTo>
                  <a:lnTo>
                    <a:pt x="203" y="159"/>
                  </a:lnTo>
                  <a:lnTo>
                    <a:pt x="198" y="155"/>
                  </a:lnTo>
                  <a:lnTo>
                    <a:pt x="194" y="145"/>
                  </a:lnTo>
                  <a:lnTo>
                    <a:pt x="190" y="142"/>
                  </a:lnTo>
                  <a:lnTo>
                    <a:pt x="194" y="136"/>
                  </a:lnTo>
                  <a:lnTo>
                    <a:pt x="198" y="136"/>
                  </a:lnTo>
                  <a:lnTo>
                    <a:pt x="199" y="130"/>
                  </a:lnTo>
                  <a:lnTo>
                    <a:pt x="194" y="127"/>
                  </a:lnTo>
                  <a:lnTo>
                    <a:pt x="194" y="125"/>
                  </a:lnTo>
                  <a:lnTo>
                    <a:pt x="198" y="121"/>
                  </a:lnTo>
                  <a:lnTo>
                    <a:pt x="198" y="121"/>
                  </a:lnTo>
                  <a:lnTo>
                    <a:pt x="198" y="121"/>
                  </a:lnTo>
                  <a:lnTo>
                    <a:pt x="198" y="121"/>
                  </a:lnTo>
                  <a:lnTo>
                    <a:pt x="198" y="121"/>
                  </a:lnTo>
                  <a:close/>
                  <a:moveTo>
                    <a:pt x="235" y="223"/>
                  </a:moveTo>
                  <a:lnTo>
                    <a:pt x="230" y="219"/>
                  </a:lnTo>
                  <a:lnTo>
                    <a:pt x="230" y="219"/>
                  </a:lnTo>
                  <a:lnTo>
                    <a:pt x="230" y="217"/>
                  </a:lnTo>
                  <a:lnTo>
                    <a:pt x="233" y="217"/>
                  </a:lnTo>
                  <a:lnTo>
                    <a:pt x="230" y="215"/>
                  </a:lnTo>
                  <a:lnTo>
                    <a:pt x="230" y="215"/>
                  </a:lnTo>
                  <a:lnTo>
                    <a:pt x="230" y="213"/>
                  </a:lnTo>
                  <a:lnTo>
                    <a:pt x="228" y="211"/>
                  </a:lnTo>
                  <a:lnTo>
                    <a:pt x="224" y="210"/>
                  </a:lnTo>
                  <a:lnTo>
                    <a:pt x="228" y="208"/>
                  </a:lnTo>
                  <a:lnTo>
                    <a:pt x="228" y="208"/>
                  </a:lnTo>
                  <a:lnTo>
                    <a:pt x="224" y="206"/>
                  </a:lnTo>
                  <a:lnTo>
                    <a:pt x="224" y="202"/>
                  </a:lnTo>
                  <a:lnTo>
                    <a:pt x="224" y="202"/>
                  </a:lnTo>
                  <a:lnTo>
                    <a:pt x="228" y="200"/>
                  </a:lnTo>
                  <a:lnTo>
                    <a:pt x="224" y="198"/>
                  </a:lnTo>
                  <a:lnTo>
                    <a:pt x="228" y="194"/>
                  </a:lnTo>
                  <a:lnTo>
                    <a:pt x="233" y="194"/>
                  </a:lnTo>
                  <a:lnTo>
                    <a:pt x="233" y="191"/>
                  </a:lnTo>
                  <a:lnTo>
                    <a:pt x="237" y="194"/>
                  </a:lnTo>
                  <a:lnTo>
                    <a:pt x="239" y="194"/>
                  </a:lnTo>
                  <a:lnTo>
                    <a:pt x="239" y="191"/>
                  </a:lnTo>
                  <a:lnTo>
                    <a:pt x="237" y="187"/>
                  </a:lnTo>
                  <a:lnTo>
                    <a:pt x="239" y="185"/>
                  </a:lnTo>
                  <a:lnTo>
                    <a:pt x="243" y="185"/>
                  </a:lnTo>
                  <a:lnTo>
                    <a:pt x="243" y="191"/>
                  </a:lnTo>
                  <a:lnTo>
                    <a:pt x="243" y="194"/>
                  </a:lnTo>
                  <a:lnTo>
                    <a:pt x="243" y="202"/>
                  </a:lnTo>
                  <a:lnTo>
                    <a:pt x="243" y="210"/>
                  </a:lnTo>
                  <a:lnTo>
                    <a:pt x="243" y="215"/>
                  </a:lnTo>
                  <a:lnTo>
                    <a:pt x="239" y="219"/>
                  </a:lnTo>
                  <a:lnTo>
                    <a:pt x="235" y="223"/>
                  </a:lnTo>
                  <a:lnTo>
                    <a:pt x="235" y="223"/>
                  </a:lnTo>
                  <a:lnTo>
                    <a:pt x="235" y="223"/>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3" name="Freeform 25">
              <a:extLst>
                <a:ext uri="{FF2B5EF4-FFF2-40B4-BE49-F238E27FC236}">
                  <a16:creationId xmlns:a16="http://schemas.microsoft.com/office/drawing/2014/main" id="{6C620B91-9CBA-4AB6-B359-CE2392C89A17}"/>
                </a:ext>
              </a:extLst>
            </p:cNvPr>
            <p:cNvSpPr>
              <a:spLocks noEditPoints="1"/>
            </p:cNvSpPr>
            <p:nvPr/>
          </p:nvSpPr>
          <p:spPr bwMode="auto">
            <a:xfrm>
              <a:off x="2890" y="2152"/>
              <a:ext cx="211" cy="237"/>
            </a:xfrm>
            <a:custGeom>
              <a:avLst/>
              <a:gdLst/>
              <a:ahLst/>
              <a:cxnLst>
                <a:cxn ang="0">
                  <a:pos x="8" y="62"/>
                </a:cxn>
                <a:cxn ang="0">
                  <a:pos x="8" y="38"/>
                </a:cxn>
                <a:cxn ang="0">
                  <a:pos x="17" y="24"/>
                </a:cxn>
                <a:cxn ang="0">
                  <a:pos x="38" y="24"/>
                </a:cxn>
                <a:cxn ang="0">
                  <a:pos x="57" y="17"/>
                </a:cxn>
                <a:cxn ang="0">
                  <a:pos x="68" y="2"/>
                </a:cxn>
                <a:cxn ang="0">
                  <a:pos x="94" y="4"/>
                </a:cxn>
                <a:cxn ang="0">
                  <a:pos x="119" y="19"/>
                </a:cxn>
                <a:cxn ang="0">
                  <a:pos x="113" y="32"/>
                </a:cxn>
                <a:cxn ang="0">
                  <a:pos x="96" y="41"/>
                </a:cxn>
                <a:cxn ang="0">
                  <a:pos x="98" y="58"/>
                </a:cxn>
                <a:cxn ang="0">
                  <a:pos x="117" y="77"/>
                </a:cxn>
                <a:cxn ang="0">
                  <a:pos x="132" y="102"/>
                </a:cxn>
                <a:cxn ang="0">
                  <a:pos x="151" y="115"/>
                </a:cxn>
                <a:cxn ang="0">
                  <a:pos x="169" y="119"/>
                </a:cxn>
                <a:cxn ang="0">
                  <a:pos x="169" y="130"/>
                </a:cxn>
                <a:cxn ang="0">
                  <a:pos x="205" y="149"/>
                </a:cxn>
                <a:cxn ang="0">
                  <a:pos x="211" y="162"/>
                </a:cxn>
                <a:cxn ang="0">
                  <a:pos x="201" y="158"/>
                </a:cxn>
                <a:cxn ang="0">
                  <a:pos x="188" y="151"/>
                </a:cxn>
                <a:cxn ang="0">
                  <a:pos x="181" y="160"/>
                </a:cxn>
                <a:cxn ang="0">
                  <a:pos x="181" y="169"/>
                </a:cxn>
                <a:cxn ang="0">
                  <a:pos x="186" y="186"/>
                </a:cxn>
                <a:cxn ang="0">
                  <a:pos x="175" y="207"/>
                </a:cxn>
                <a:cxn ang="0">
                  <a:pos x="164" y="201"/>
                </a:cxn>
                <a:cxn ang="0">
                  <a:pos x="169" y="192"/>
                </a:cxn>
                <a:cxn ang="0">
                  <a:pos x="169" y="175"/>
                </a:cxn>
                <a:cxn ang="0">
                  <a:pos x="160" y="162"/>
                </a:cxn>
                <a:cxn ang="0">
                  <a:pos x="151" y="152"/>
                </a:cxn>
                <a:cxn ang="0">
                  <a:pos x="141" y="143"/>
                </a:cxn>
                <a:cxn ang="0">
                  <a:pos x="126" y="135"/>
                </a:cxn>
                <a:cxn ang="0">
                  <a:pos x="113" y="130"/>
                </a:cxn>
                <a:cxn ang="0">
                  <a:pos x="92" y="111"/>
                </a:cxn>
                <a:cxn ang="0">
                  <a:pos x="73" y="92"/>
                </a:cxn>
                <a:cxn ang="0">
                  <a:pos x="62" y="75"/>
                </a:cxn>
                <a:cxn ang="0">
                  <a:pos x="51" y="64"/>
                </a:cxn>
                <a:cxn ang="0">
                  <a:pos x="15" y="75"/>
                </a:cxn>
                <a:cxn ang="0">
                  <a:pos x="32" y="137"/>
                </a:cxn>
                <a:cxn ang="0">
                  <a:pos x="28" y="135"/>
                </a:cxn>
                <a:cxn ang="0">
                  <a:pos x="77" y="107"/>
                </a:cxn>
                <a:cxn ang="0">
                  <a:pos x="77" y="107"/>
                </a:cxn>
                <a:cxn ang="0">
                  <a:pos x="66" y="98"/>
                </a:cxn>
                <a:cxn ang="0">
                  <a:pos x="62" y="98"/>
                </a:cxn>
                <a:cxn ang="0">
                  <a:pos x="40" y="186"/>
                </a:cxn>
                <a:cxn ang="0">
                  <a:pos x="51" y="181"/>
                </a:cxn>
                <a:cxn ang="0">
                  <a:pos x="57" y="169"/>
                </a:cxn>
                <a:cxn ang="0">
                  <a:pos x="57" y="147"/>
                </a:cxn>
                <a:cxn ang="0">
                  <a:pos x="45" y="135"/>
                </a:cxn>
                <a:cxn ang="0">
                  <a:pos x="28" y="143"/>
                </a:cxn>
                <a:cxn ang="0">
                  <a:pos x="34" y="160"/>
                </a:cxn>
                <a:cxn ang="0">
                  <a:pos x="34" y="168"/>
                </a:cxn>
                <a:cxn ang="0">
                  <a:pos x="40" y="186"/>
                </a:cxn>
                <a:cxn ang="0">
                  <a:pos x="158" y="230"/>
                </a:cxn>
                <a:cxn ang="0">
                  <a:pos x="162" y="205"/>
                </a:cxn>
                <a:cxn ang="0">
                  <a:pos x="145" y="207"/>
                </a:cxn>
                <a:cxn ang="0">
                  <a:pos x="117" y="205"/>
                </a:cxn>
                <a:cxn ang="0">
                  <a:pos x="113" y="218"/>
                </a:cxn>
                <a:cxn ang="0">
                  <a:pos x="139" y="230"/>
                </a:cxn>
                <a:cxn ang="0">
                  <a:pos x="156" y="237"/>
                </a:cxn>
              </a:cxnLst>
              <a:rect l="0" t="0" r="r" b="b"/>
              <a:pathLst>
                <a:path w="211" h="237">
                  <a:moveTo>
                    <a:pt x="15" y="75"/>
                  </a:moveTo>
                  <a:lnTo>
                    <a:pt x="15" y="71"/>
                  </a:lnTo>
                  <a:lnTo>
                    <a:pt x="17" y="66"/>
                  </a:lnTo>
                  <a:lnTo>
                    <a:pt x="11" y="66"/>
                  </a:lnTo>
                  <a:lnTo>
                    <a:pt x="8" y="62"/>
                  </a:lnTo>
                  <a:lnTo>
                    <a:pt x="4" y="51"/>
                  </a:lnTo>
                  <a:lnTo>
                    <a:pt x="0" y="47"/>
                  </a:lnTo>
                  <a:lnTo>
                    <a:pt x="4" y="43"/>
                  </a:lnTo>
                  <a:lnTo>
                    <a:pt x="8" y="43"/>
                  </a:lnTo>
                  <a:lnTo>
                    <a:pt x="8" y="38"/>
                  </a:lnTo>
                  <a:lnTo>
                    <a:pt x="4" y="34"/>
                  </a:lnTo>
                  <a:lnTo>
                    <a:pt x="4" y="30"/>
                  </a:lnTo>
                  <a:lnTo>
                    <a:pt x="8" y="28"/>
                  </a:lnTo>
                  <a:lnTo>
                    <a:pt x="9" y="30"/>
                  </a:lnTo>
                  <a:lnTo>
                    <a:pt x="17" y="24"/>
                  </a:lnTo>
                  <a:lnTo>
                    <a:pt x="23" y="26"/>
                  </a:lnTo>
                  <a:lnTo>
                    <a:pt x="28" y="13"/>
                  </a:lnTo>
                  <a:lnTo>
                    <a:pt x="32" y="17"/>
                  </a:lnTo>
                  <a:lnTo>
                    <a:pt x="32" y="21"/>
                  </a:lnTo>
                  <a:lnTo>
                    <a:pt x="38" y="24"/>
                  </a:lnTo>
                  <a:lnTo>
                    <a:pt x="40" y="28"/>
                  </a:lnTo>
                  <a:lnTo>
                    <a:pt x="43" y="21"/>
                  </a:lnTo>
                  <a:lnTo>
                    <a:pt x="43" y="17"/>
                  </a:lnTo>
                  <a:lnTo>
                    <a:pt x="53" y="19"/>
                  </a:lnTo>
                  <a:lnTo>
                    <a:pt x="57" y="17"/>
                  </a:lnTo>
                  <a:lnTo>
                    <a:pt x="58" y="21"/>
                  </a:lnTo>
                  <a:lnTo>
                    <a:pt x="58" y="13"/>
                  </a:lnTo>
                  <a:lnTo>
                    <a:pt x="66" y="11"/>
                  </a:lnTo>
                  <a:lnTo>
                    <a:pt x="64" y="7"/>
                  </a:lnTo>
                  <a:lnTo>
                    <a:pt x="68" y="2"/>
                  </a:lnTo>
                  <a:lnTo>
                    <a:pt x="75" y="6"/>
                  </a:lnTo>
                  <a:lnTo>
                    <a:pt x="83" y="0"/>
                  </a:lnTo>
                  <a:lnTo>
                    <a:pt x="89" y="0"/>
                  </a:lnTo>
                  <a:lnTo>
                    <a:pt x="94" y="0"/>
                  </a:lnTo>
                  <a:lnTo>
                    <a:pt x="94" y="4"/>
                  </a:lnTo>
                  <a:lnTo>
                    <a:pt x="104" y="7"/>
                  </a:lnTo>
                  <a:lnTo>
                    <a:pt x="113" y="11"/>
                  </a:lnTo>
                  <a:lnTo>
                    <a:pt x="122" y="11"/>
                  </a:lnTo>
                  <a:lnTo>
                    <a:pt x="122" y="11"/>
                  </a:lnTo>
                  <a:lnTo>
                    <a:pt x="119" y="19"/>
                  </a:lnTo>
                  <a:lnTo>
                    <a:pt x="119" y="21"/>
                  </a:lnTo>
                  <a:lnTo>
                    <a:pt x="117" y="26"/>
                  </a:lnTo>
                  <a:lnTo>
                    <a:pt x="119" y="32"/>
                  </a:lnTo>
                  <a:lnTo>
                    <a:pt x="113" y="32"/>
                  </a:lnTo>
                  <a:lnTo>
                    <a:pt x="113" y="32"/>
                  </a:lnTo>
                  <a:lnTo>
                    <a:pt x="109" y="36"/>
                  </a:lnTo>
                  <a:lnTo>
                    <a:pt x="105" y="36"/>
                  </a:lnTo>
                  <a:lnTo>
                    <a:pt x="102" y="38"/>
                  </a:lnTo>
                  <a:lnTo>
                    <a:pt x="98" y="38"/>
                  </a:lnTo>
                  <a:lnTo>
                    <a:pt x="96" y="41"/>
                  </a:lnTo>
                  <a:lnTo>
                    <a:pt x="98" y="47"/>
                  </a:lnTo>
                  <a:lnTo>
                    <a:pt x="100" y="49"/>
                  </a:lnTo>
                  <a:lnTo>
                    <a:pt x="98" y="53"/>
                  </a:lnTo>
                  <a:lnTo>
                    <a:pt x="96" y="54"/>
                  </a:lnTo>
                  <a:lnTo>
                    <a:pt x="98" y="58"/>
                  </a:lnTo>
                  <a:lnTo>
                    <a:pt x="98" y="64"/>
                  </a:lnTo>
                  <a:lnTo>
                    <a:pt x="100" y="68"/>
                  </a:lnTo>
                  <a:lnTo>
                    <a:pt x="109" y="71"/>
                  </a:lnTo>
                  <a:lnTo>
                    <a:pt x="113" y="73"/>
                  </a:lnTo>
                  <a:lnTo>
                    <a:pt x="117" y="77"/>
                  </a:lnTo>
                  <a:lnTo>
                    <a:pt x="128" y="88"/>
                  </a:lnTo>
                  <a:lnTo>
                    <a:pt x="128" y="92"/>
                  </a:lnTo>
                  <a:lnTo>
                    <a:pt x="130" y="92"/>
                  </a:lnTo>
                  <a:lnTo>
                    <a:pt x="130" y="98"/>
                  </a:lnTo>
                  <a:lnTo>
                    <a:pt x="132" y="102"/>
                  </a:lnTo>
                  <a:lnTo>
                    <a:pt x="136" y="105"/>
                  </a:lnTo>
                  <a:lnTo>
                    <a:pt x="137" y="107"/>
                  </a:lnTo>
                  <a:lnTo>
                    <a:pt x="145" y="113"/>
                  </a:lnTo>
                  <a:lnTo>
                    <a:pt x="147" y="115"/>
                  </a:lnTo>
                  <a:lnTo>
                    <a:pt x="151" y="115"/>
                  </a:lnTo>
                  <a:lnTo>
                    <a:pt x="151" y="117"/>
                  </a:lnTo>
                  <a:lnTo>
                    <a:pt x="158" y="117"/>
                  </a:lnTo>
                  <a:lnTo>
                    <a:pt x="162" y="119"/>
                  </a:lnTo>
                  <a:lnTo>
                    <a:pt x="166" y="117"/>
                  </a:lnTo>
                  <a:lnTo>
                    <a:pt x="169" y="119"/>
                  </a:lnTo>
                  <a:lnTo>
                    <a:pt x="169" y="122"/>
                  </a:lnTo>
                  <a:lnTo>
                    <a:pt x="164" y="126"/>
                  </a:lnTo>
                  <a:lnTo>
                    <a:pt x="164" y="126"/>
                  </a:lnTo>
                  <a:lnTo>
                    <a:pt x="166" y="130"/>
                  </a:lnTo>
                  <a:lnTo>
                    <a:pt x="169" y="130"/>
                  </a:lnTo>
                  <a:lnTo>
                    <a:pt x="177" y="132"/>
                  </a:lnTo>
                  <a:lnTo>
                    <a:pt x="192" y="139"/>
                  </a:lnTo>
                  <a:lnTo>
                    <a:pt x="198" y="143"/>
                  </a:lnTo>
                  <a:lnTo>
                    <a:pt x="201" y="147"/>
                  </a:lnTo>
                  <a:lnTo>
                    <a:pt x="205" y="149"/>
                  </a:lnTo>
                  <a:lnTo>
                    <a:pt x="211" y="151"/>
                  </a:lnTo>
                  <a:lnTo>
                    <a:pt x="211" y="154"/>
                  </a:lnTo>
                  <a:lnTo>
                    <a:pt x="211" y="158"/>
                  </a:lnTo>
                  <a:lnTo>
                    <a:pt x="211" y="162"/>
                  </a:lnTo>
                  <a:lnTo>
                    <a:pt x="211" y="162"/>
                  </a:lnTo>
                  <a:lnTo>
                    <a:pt x="207" y="166"/>
                  </a:lnTo>
                  <a:lnTo>
                    <a:pt x="207" y="166"/>
                  </a:lnTo>
                  <a:lnTo>
                    <a:pt x="205" y="166"/>
                  </a:lnTo>
                  <a:lnTo>
                    <a:pt x="201" y="162"/>
                  </a:lnTo>
                  <a:lnTo>
                    <a:pt x="201" y="158"/>
                  </a:lnTo>
                  <a:lnTo>
                    <a:pt x="201" y="154"/>
                  </a:lnTo>
                  <a:lnTo>
                    <a:pt x="200" y="154"/>
                  </a:lnTo>
                  <a:lnTo>
                    <a:pt x="194" y="154"/>
                  </a:lnTo>
                  <a:lnTo>
                    <a:pt x="192" y="152"/>
                  </a:lnTo>
                  <a:lnTo>
                    <a:pt x="188" y="151"/>
                  </a:lnTo>
                  <a:lnTo>
                    <a:pt x="186" y="151"/>
                  </a:lnTo>
                  <a:lnTo>
                    <a:pt x="185" y="151"/>
                  </a:lnTo>
                  <a:lnTo>
                    <a:pt x="183" y="156"/>
                  </a:lnTo>
                  <a:lnTo>
                    <a:pt x="181" y="158"/>
                  </a:lnTo>
                  <a:lnTo>
                    <a:pt x="181" y="160"/>
                  </a:lnTo>
                  <a:lnTo>
                    <a:pt x="181" y="162"/>
                  </a:lnTo>
                  <a:lnTo>
                    <a:pt x="177" y="166"/>
                  </a:lnTo>
                  <a:lnTo>
                    <a:pt x="177" y="168"/>
                  </a:lnTo>
                  <a:lnTo>
                    <a:pt x="181" y="169"/>
                  </a:lnTo>
                  <a:lnTo>
                    <a:pt x="181" y="169"/>
                  </a:lnTo>
                  <a:lnTo>
                    <a:pt x="186" y="175"/>
                  </a:lnTo>
                  <a:lnTo>
                    <a:pt x="188" y="177"/>
                  </a:lnTo>
                  <a:lnTo>
                    <a:pt x="188" y="183"/>
                  </a:lnTo>
                  <a:lnTo>
                    <a:pt x="188" y="184"/>
                  </a:lnTo>
                  <a:lnTo>
                    <a:pt x="186" y="186"/>
                  </a:lnTo>
                  <a:lnTo>
                    <a:pt x="185" y="186"/>
                  </a:lnTo>
                  <a:lnTo>
                    <a:pt x="181" y="190"/>
                  </a:lnTo>
                  <a:lnTo>
                    <a:pt x="181" y="200"/>
                  </a:lnTo>
                  <a:lnTo>
                    <a:pt x="177" y="201"/>
                  </a:lnTo>
                  <a:lnTo>
                    <a:pt x="175" y="207"/>
                  </a:lnTo>
                  <a:lnTo>
                    <a:pt x="171" y="211"/>
                  </a:lnTo>
                  <a:lnTo>
                    <a:pt x="168" y="211"/>
                  </a:lnTo>
                  <a:lnTo>
                    <a:pt x="164" y="207"/>
                  </a:lnTo>
                  <a:lnTo>
                    <a:pt x="164" y="205"/>
                  </a:lnTo>
                  <a:lnTo>
                    <a:pt x="164" y="201"/>
                  </a:lnTo>
                  <a:lnTo>
                    <a:pt x="166" y="201"/>
                  </a:lnTo>
                  <a:lnTo>
                    <a:pt x="169" y="200"/>
                  </a:lnTo>
                  <a:lnTo>
                    <a:pt x="169" y="196"/>
                  </a:lnTo>
                  <a:lnTo>
                    <a:pt x="169" y="192"/>
                  </a:lnTo>
                  <a:lnTo>
                    <a:pt x="169" y="192"/>
                  </a:lnTo>
                  <a:lnTo>
                    <a:pt x="171" y="192"/>
                  </a:lnTo>
                  <a:lnTo>
                    <a:pt x="171" y="186"/>
                  </a:lnTo>
                  <a:lnTo>
                    <a:pt x="171" y="184"/>
                  </a:lnTo>
                  <a:lnTo>
                    <a:pt x="171" y="183"/>
                  </a:lnTo>
                  <a:lnTo>
                    <a:pt x="169" y="175"/>
                  </a:lnTo>
                  <a:lnTo>
                    <a:pt x="168" y="175"/>
                  </a:lnTo>
                  <a:lnTo>
                    <a:pt x="168" y="166"/>
                  </a:lnTo>
                  <a:lnTo>
                    <a:pt x="166" y="162"/>
                  </a:lnTo>
                  <a:lnTo>
                    <a:pt x="162" y="160"/>
                  </a:lnTo>
                  <a:lnTo>
                    <a:pt x="160" y="162"/>
                  </a:lnTo>
                  <a:lnTo>
                    <a:pt x="156" y="160"/>
                  </a:lnTo>
                  <a:lnTo>
                    <a:pt x="153" y="156"/>
                  </a:lnTo>
                  <a:lnTo>
                    <a:pt x="151" y="156"/>
                  </a:lnTo>
                  <a:lnTo>
                    <a:pt x="147" y="154"/>
                  </a:lnTo>
                  <a:lnTo>
                    <a:pt x="151" y="152"/>
                  </a:lnTo>
                  <a:lnTo>
                    <a:pt x="151" y="149"/>
                  </a:lnTo>
                  <a:lnTo>
                    <a:pt x="147" y="147"/>
                  </a:lnTo>
                  <a:lnTo>
                    <a:pt x="145" y="145"/>
                  </a:lnTo>
                  <a:lnTo>
                    <a:pt x="141" y="147"/>
                  </a:lnTo>
                  <a:lnTo>
                    <a:pt x="141" y="143"/>
                  </a:lnTo>
                  <a:lnTo>
                    <a:pt x="137" y="141"/>
                  </a:lnTo>
                  <a:lnTo>
                    <a:pt x="136" y="143"/>
                  </a:lnTo>
                  <a:lnTo>
                    <a:pt x="134" y="141"/>
                  </a:lnTo>
                  <a:lnTo>
                    <a:pt x="128" y="135"/>
                  </a:lnTo>
                  <a:lnTo>
                    <a:pt x="126" y="135"/>
                  </a:lnTo>
                  <a:lnTo>
                    <a:pt x="122" y="132"/>
                  </a:lnTo>
                  <a:lnTo>
                    <a:pt x="119" y="135"/>
                  </a:lnTo>
                  <a:lnTo>
                    <a:pt x="117" y="135"/>
                  </a:lnTo>
                  <a:lnTo>
                    <a:pt x="117" y="132"/>
                  </a:lnTo>
                  <a:lnTo>
                    <a:pt x="113" y="130"/>
                  </a:lnTo>
                  <a:lnTo>
                    <a:pt x="109" y="130"/>
                  </a:lnTo>
                  <a:lnTo>
                    <a:pt x="102" y="124"/>
                  </a:lnTo>
                  <a:lnTo>
                    <a:pt x="94" y="113"/>
                  </a:lnTo>
                  <a:lnTo>
                    <a:pt x="92" y="113"/>
                  </a:lnTo>
                  <a:lnTo>
                    <a:pt x="92" y="111"/>
                  </a:lnTo>
                  <a:lnTo>
                    <a:pt x="89" y="105"/>
                  </a:lnTo>
                  <a:lnTo>
                    <a:pt x="83" y="105"/>
                  </a:lnTo>
                  <a:lnTo>
                    <a:pt x="83" y="102"/>
                  </a:lnTo>
                  <a:lnTo>
                    <a:pt x="77" y="98"/>
                  </a:lnTo>
                  <a:lnTo>
                    <a:pt x="73" y="92"/>
                  </a:lnTo>
                  <a:lnTo>
                    <a:pt x="70" y="92"/>
                  </a:lnTo>
                  <a:lnTo>
                    <a:pt x="70" y="87"/>
                  </a:lnTo>
                  <a:lnTo>
                    <a:pt x="66" y="85"/>
                  </a:lnTo>
                  <a:lnTo>
                    <a:pt x="66" y="81"/>
                  </a:lnTo>
                  <a:lnTo>
                    <a:pt x="62" y="75"/>
                  </a:lnTo>
                  <a:lnTo>
                    <a:pt x="62" y="71"/>
                  </a:lnTo>
                  <a:lnTo>
                    <a:pt x="62" y="71"/>
                  </a:lnTo>
                  <a:lnTo>
                    <a:pt x="58" y="68"/>
                  </a:lnTo>
                  <a:lnTo>
                    <a:pt x="55" y="68"/>
                  </a:lnTo>
                  <a:lnTo>
                    <a:pt x="51" y="64"/>
                  </a:lnTo>
                  <a:lnTo>
                    <a:pt x="38" y="62"/>
                  </a:lnTo>
                  <a:lnTo>
                    <a:pt x="28" y="68"/>
                  </a:lnTo>
                  <a:lnTo>
                    <a:pt x="28" y="68"/>
                  </a:lnTo>
                  <a:lnTo>
                    <a:pt x="25" y="73"/>
                  </a:lnTo>
                  <a:lnTo>
                    <a:pt x="15" y="75"/>
                  </a:lnTo>
                  <a:lnTo>
                    <a:pt x="15" y="75"/>
                  </a:lnTo>
                  <a:lnTo>
                    <a:pt x="15" y="75"/>
                  </a:lnTo>
                  <a:lnTo>
                    <a:pt x="15" y="75"/>
                  </a:lnTo>
                  <a:close/>
                  <a:moveTo>
                    <a:pt x="28" y="137"/>
                  </a:moveTo>
                  <a:lnTo>
                    <a:pt x="32" y="137"/>
                  </a:lnTo>
                  <a:lnTo>
                    <a:pt x="32" y="135"/>
                  </a:lnTo>
                  <a:lnTo>
                    <a:pt x="32" y="135"/>
                  </a:lnTo>
                  <a:lnTo>
                    <a:pt x="32" y="132"/>
                  </a:lnTo>
                  <a:lnTo>
                    <a:pt x="32" y="135"/>
                  </a:lnTo>
                  <a:lnTo>
                    <a:pt x="28" y="135"/>
                  </a:lnTo>
                  <a:lnTo>
                    <a:pt x="28" y="137"/>
                  </a:lnTo>
                  <a:lnTo>
                    <a:pt x="28" y="137"/>
                  </a:lnTo>
                  <a:lnTo>
                    <a:pt x="28" y="137"/>
                  </a:lnTo>
                  <a:lnTo>
                    <a:pt x="28" y="137"/>
                  </a:lnTo>
                  <a:close/>
                  <a:moveTo>
                    <a:pt x="77" y="107"/>
                  </a:moveTo>
                  <a:lnTo>
                    <a:pt x="79" y="107"/>
                  </a:lnTo>
                  <a:lnTo>
                    <a:pt x="79" y="105"/>
                  </a:lnTo>
                  <a:lnTo>
                    <a:pt x="77" y="107"/>
                  </a:lnTo>
                  <a:lnTo>
                    <a:pt x="77" y="107"/>
                  </a:lnTo>
                  <a:lnTo>
                    <a:pt x="77" y="107"/>
                  </a:lnTo>
                  <a:lnTo>
                    <a:pt x="77" y="107"/>
                  </a:lnTo>
                  <a:close/>
                  <a:moveTo>
                    <a:pt x="62" y="98"/>
                  </a:moveTo>
                  <a:lnTo>
                    <a:pt x="62" y="100"/>
                  </a:lnTo>
                  <a:lnTo>
                    <a:pt x="62" y="100"/>
                  </a:lnTo>
                  <a:lnTo>
                    <a:pt x="66" y="98"/>
                  </a:lnTo>
                  <a:lnTo>
                    <a:pt x="68" y="98"/>
                  </a:lnTo>
                  <a:lnTo>
                    <a:pt x="68" y="96"/>
                  </a:lnTo>
                  <a:lnTo>
                    <a:pt x="66" y="92"/>
                  </a:lnTo>
                  <a:lnTo>
                    <a:pt x="66" y="96"/>
                  </a:lnTo>
                  <a:lnTo>
                    <a:pt x="62" y="98"/>
                  </a:lnTo>
                  <a:lnTo>
                    <a:pt x="62" y="98"/>
                  </a:lnTo>
                  <a:lnTo>
                    <a:pt x="62" y="98"/>
                  </a:lnTo>
                  <a:lnTo>
                    <a:pt x="62" y="98"/>
                  </a:lnTo>
                  <a:close/>
                  <a:moveTo>
                    <a:pt x="40" y="186"/>
                  </a:moveTo>
                  <a:lnTo>
                    <a:pt x="40" y="186"/>
                  </a:lnTo>
                  <a:lnTo>
                    <a:pt x="41" y="186"/>
                  </a:lnTo>
                  <a:lnTo>
                    <a:pt x="45" y="186"/>
                  </a:lnTo>
                  <a:lnTo>
                    <a:pt x="45" y="183"/>
                  </a:lnTo>
                  <a:lnTo>
                    <a:pt x="47" y="181"/>
                  </a:lnTo>
                  <a:lnTo>
                    <a:pt x="51" y="181"/>
                  </a:lnTo>
                  <a:lnTo>
                    <a:pt x="53" y="183"/>
                  </a:lnTo>
                  <a:lnTo>
                    <a:pt x="55" y="183"/>
                  </a:lnTo>
                  <a:lnTo>
                    <a:pt x="57" y="179"/>
                  </a:lnTo>
                  <a:lnTo>
                    <a:pt x="57" y="175"/>
                  </a:lnTo>
                  <a:lnTo>
                    <a:pt x="57" y="169"/>
                  </a:lnTo>
                  <a:lnTo>
                    <a:pt x="57" y="162"/>
                  </a:lnTo>
                  <a:lnTo>
                    <a:pt x="58" y="156"/>
                  </a:lnTo>
                  <a:lnTo>
                    <a:pt x="53" y="152"/>
                  </a:lnTo>
                  <a:lnTo>
                    <a:pt x="57" y="151"/>
                  </a:lnTo>
                  <a:lnTo>
                    <a:pt x="57" y="147"/>
                  </a:lnTo>
                  <a:lnTo>
                    <a:pt x="57" y="143"/>
                  </a:lnTo>
                  <a:lnTo>
                    <a:pt x="55" y="139"/>
                  </a:lnTo>
                  <a:lnTo>
                    <a:pt x="51" y="135"/>
                  </a:lnTo>
                  <a:lnTo>
                    <a:pt x="49" y="135"/>
                  </a:lnTo>
                  <a:lnTo>
                    <a:pt x="45" y="135"/>
                  </a:lnTo>
                  <a:lnTo>
                    <a:pt x="43" y="135"/>
                  </a:lnTo>
                  <a:lnTo>
                    <a:pt x="38" y="141"/>
                  </a:lnTo>
                  <a:lnTo>
                    <a:pt x="32" y="141"/>
                  </a:lnTo>
                  <a:lnTo>
                    <a:pt x="28" y="139"/>
                  </a:lnTo>
                  <a:lnTo>
                    <a:pt x="28" y="143"/>
                  </a:lnTo>
                  <a:lnTo>
                    <a:pt x="28" y="147"/>
                  </a:lnTo>
                  <a:lnTo>
                    <a:pt x="32" y="149"/>
                  </a:lnTo>
                  <a:lnTo>
                    <a:pt x="32" y="152"/>
                  </a:lnTo>
                  <a:lnTo>
                    <a:pt x="34" y="154"/>
                  </a:lnTo>
                  <a:lnTo>
                    <a:pt x="34" y="160"/>
                  </a:lnTo>
                  <a:lnTo>
                    <a:pt x="32" y="162"/>
                  </a:lnTo>
                  <a:lnTo>
                    <a:pt x="32" y="166"/>
                  </a:lnTo>
                  <a:lnTo>
                    <a:pt x="38" y="166"/>
                  </a:lnTo>
                  <a:lnTo>
                    <a:pt x="38" y="166"/>
                  </a:lnTo>
                  <a:lnTo>
                    <a:pt x="34" y="168"/>
                  </a:lnTo>
                  <a:lnTo>
                    <a:pt x="32" y="175"/>
                  </a:lnTo>
                  <a:lnTo>
                    <a:pt x="34" y="177"/>
                  </a:lnTo>
                  <a:lnTo>
                    <a:pt x="38" y="184"/>
                  </a:lnTo>
                  <a:lnTo>
                    <a:pt x="40" y="186"/>
                  </a:lnTo>
                  <a:lnTo>
                    <a:pt x="40" y="186"/>
                  </a:lnTo>
                  <a:lnTo>
                    <a:pt x="40" y="186"/>
                  </a:lnTo>
                  <a:lnTo>
                    <a:pt x="40" y="186"/>
                  </a:lnTo>
                  <a:close/>
                  <a:moveTo>
                    <a:pt x="156" y="237"/>
                  </a:moveTo>
                  <a:lnTo>
                    <a:pt x="156" y="232"/>
                  </a:lnTo>
                  <a:lnTo>
                    <a:pt x="158" y="230"/>
                  </a:lnTo>
                  <a:lnTo>
                    <a:pt x="156" y="226"/>
                  </a:lnTo>
                  <a:lnTo>
                    <a:pt x="153" y="222"/>
                  </a:lnTo>
                  <a:lnTo>
                    <a:pt x="156" y="213"/>
                  </a:lnTo>
                  <a:lnTo>
                    <a:pt x="160" y="209"/>
                  </a:lnTo>
                  <a:lnTo>
                    <a:pt x="162" y="205"/>
                  </a:lnTo>
                  <a:lnTo>
                    <a:pt x="158" y="200"/>
                  </a:lnTo>
                  <a:lnTo>
                    <a:pt x="153" y="205"/>
                  </a:lnTo>
                  <a:lnTo>
                    <a:pt x="151" y="205"/>
                  </a:lnTo>
                  <a:lnTo>
                    <a:pt x="147" y="201"/>
                  </a:lnTo>
                  <a:lnTo>
                    <a:pt x="145" y="207"/>
                  </a:lnTo>
                  <a:lnTo>
                    <a:pt x="136" y="205"/>
                  </a:lnTo>
                  <a:lnTo>
                    <a:pt x="128" y="209"/>
                  </a:lnTo>
                  <a:lnTo>
                    <a:pt x="122" y="207"/>
                  </a:lnTo>
                  <a:lnTo>
                    <a:pt x="122" y="205"/>
                  </a:lnTo>
                  <a:lnTo>
                    <a:pt x="117" y="205"/>
                  </a:lnTo>
                  <a:lnTo>
                    <a:pt x="113" y="207"/>
                  </a:lnTo>
                  <a:lnTo>
                    <a:pt x="113" y="205"/>
                  </a:lnTo>
                  <a:lnTo>
                    <a:pt x="109" y="207"/>
                  </a:lnTo>
                  <a:lnTo>
                    <a:pt x="107" y="215"/>
                  </a:lnTo>
                  <a:lnTo>
                    <a:pt x="113" y="218"/>
                  </a:lnTo>
                  <a:lnTo>
                    <a:pt x="117" y="216"/>
                  </a:lnTo>
                  <a:lnTo>
                    <a:pt x="122" y="222"/>
                  </a:lnTo>
                  <a:lnTo>
                    <a:pt x="126" y="224"/>
                  </a:lnTo>
                  <a:lnTo>
                    <a:pt x="130" y="226"/>
                  </a:lnTo>
                  <a:lnTo>
                    <a:pt x="139" y="230"/>
                  </a:lnTo>
                  <a:lnTo>
                    <a:pt x="141" y="230"/>
                  </a:lnTo>
                  <a:lnTo>
                    <a:pt x="145" y="230"/>
                  </a:lnTo>
                  <a:lnTo>
                    <a:pt x="145" y="233"/>
                  </a:lnTo>
                  <a:lnTo>
                    <a:pt x="153" y="237"/>
                  </a:lnTo>
                  <a:lnTo>
                    <a:pt x="156" y="237"/>
                  </a:lnTo>
                  <a:lnTo>
                    <a:pt x="156" y="237"/>
                  </a:lnTo>
                  <a:lnTo>
                    <a:pt x="156" y="237"/>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4" name="Freeform 26">
              <a:extLst>
                <a:ext uri="{FF2B5EF4-FFF2-40B4-BE49-F238E27FC236}">
                  <a16:creationId xmlns:a16="http://schemas.microsoft.com/office/drawing/2014/main" id="{7F230FEB-8BD5-47C0-ABE9-44E81224D2EB}"/>
                </a:ext>
              </a:extLst>
            </p:cNvPr>
            <p:cNvSpPr>
              <a:spLocks noEditPoints="1"/>
            </p:cNvSpPr>
            <p:nvPr/>
          </p:nvSpPr>
          <p:spPr bwMode="auto">
            <a:xfrm>
              <a:off x="2621" y="2231"/>
              <a:ext cx="233" cy="168"/>
            </a:xfrm>
            <a:custGeom>
              <a:avLst/>
              <a:gdLst/>
              <a:ahLst/>
              <a:cxnLst>
                <a:cxn ang="0">
                  <a:pos x="135" y="9"/>
                </a:cxn>
                <a:cxn ang="0">
                  <a:pos x="137" y="15"/>
                </a:cxn>
                <a:cxn ang="0">
                  <a:pos x="154" y="23"/>
                </a:cxn>
                <a:cxn ang="0">
                  <a:pos x="167" y="24"/>
                </a:cxn>
                <a:cxn ang="0">
                  <a:pos x="182" y="23"/>
                </a:cxn>
                <a:cxn ang="0">
                  <a:pos x="194" y="28"/>
                </a:cxn>
                <a:cxn ang="0">
                  <a:pos x="213" y="30"/>
                </a:cxn>
                <a:cxn ang="0">
                  <a:pos x="211" y="40"/>
                </a:cxn>
                <a:cxn ang="0">
                  <a:pos x="201" y="53"/>
                </a:cxn>
                <a:cxn ang="0">
                  <a:pos x="198" y="56"/>
                </a:cxn>
                <a:cxn ang="0">
                  <a:pos x="181" y="62"/>
                </a:cxn>
                <a:cxn ang="0">
                  <a:pos x="177" y="68"/>
                </a:cxn>
                <a:cxn ang="0">
                  <a:pos x="175" y="72"/>
                </a:cxn>
                <a:cxn ang="0">
                  <a:pos x="164" y="79"/>
                </a:cxn>
                <a:cxn ang="0">
                  <a:pos x="158" y="100"/>
                </a:cxn>
                <a:cxn ang="0">
                  <a:pos x="166" y="111"/>
                </a:cxn>
                <a:cxn ang="0">
                  <a:pos x="156" y="121"/>
                </a:cxn>
                <a:cxn ang="0">
                  <a:pos x="150" y="136"/>
                </a:cxn>
                <a:cxn ang="0">
                  <a:pos x="132" y="145"/>
                </a:cxn>
                <a:cxn ang="0">
                  <a:pos x="124" y="153"/>
                </a:cxn>
                <a:cxn ang="0">
                  <a:pos x="115" y="154"/>
                </a:cxn>
                <a:cxn ang="0">
                  <a:pos x="107" y="154"/>
                </a:cxn>
                <a:cxn ang="0">
                  <a:pos x="90" y="153"/>
                </a:cxn>
                <a:cxn ang="0">
                  <a:pos x="71" y="160"/>
                </a:cxn>
                <a:cxn ang="0">
                  <a:pos x="64" y="168"/>
                </a:cxn>
                <a:cxn ang="0">
                  <a:pos x="49" y="153"/>
                </a:cxn>
                <a:cxn ang="0">
                  <a:pos x="36" y="145"/>
                </a:cxn>
                <a:cxn ang="0">
                  <a:pos x="30" y="136"/>
                </a:cxn>
                <a:cxn ang="0">
                  <a:pos x="39" y="121"/>
                </a:cxn>
                <a:cxn ang="0">
                  <a:pos x="38" y="107"/>
                </a:cxn>
                <a:cxn ang="0">
                  <a:pos x="30" y="89"/>
                </a:cxn>
                <a:cxn ang="0">
                  <a:pos x="41" y="83"/>
                </a:cxn>
                <a:cxn ang="0">
                  <a:pos x="43" y="64"/>
                </a:cxn>
                <a:cxn ang="0">
                  <a:pos x="51" y="53"/>
                </a:cxn>
                <a:cxn ang="0">
                  <a:pos x="49" y="40"/>
                </a:cxn>
                <a:cxn ang="0">
                  <a:pos x="26" y="40"/>
                </a:cxn>
                <a:cxn ang="0">
                  <a:pos x="19" y="36"/>
                </a:cxn>
                <a:cxn ang="0">
                  <a:pos x="7" y="36"/>
                </a:cxn>
                <a:cxn ang="0">
                  <a:pos x="11" y="28"/>
                </a:cxn>
                <a:cxn ang="0">
                  <a:pos x="7" y="28"/>
                </a:cxn>
                <a:cxn ang="0">
                  <a:pos x="6" y="21"/>
                </a:cxn>
                <a:cxn ang="0">
                  <a:pos x="0" y="15"/>
                </a:cxn>
                <a:cxn ang="0">
                  <a:pos x="13" y="9"/>
                </a:cxn>
                <a:cxn ang="0">
                  <a:pos x="21" y="6"/>
                </a:cxn>
                <a:cxn ang="0">
                  <a:pos x="26" y="0"/>
                </a:cxn>
                <a:cxn ang="0">
                  <a:pos x="38" y="4"/>
                </a:cxn>
                <a:cxn ang="0">
                  <a:pos x="51" y="4"/>
                </a:cxn>
                <a:cxn ang="0">
                  <a:pos x="60" y="0"/>
                </a:cxn>
                <a:cxn ang="0">
                  <a:pos x="86" y="8"/>
                </a:cxn>
                <a:cxn ang="0">
                  <a:pos x="102" y="8"/>
                </a:cxn>
                <a:cxn ang="0">
                  <a:pos x="117" y="4"/>
                </a:cxn>
                <a:cxn ang="0">
                  <a:pos x="130" y="8"/>
                </a:cxn>
                <a:cxn ang="0">
                  <a:pos x="132" y="6"/>
                </a:cxn>
                <a:cxn ang="0">
                  <a:pos x="230" y="89"/>
                </a:cxn>
                <a:cxn ang="0">
                  <a:pos x="230" y="83"/>
                </a:cxn>
                <a:cxn ang="0">
                  <a:pos x="220" y="87"/>
                </a:cxn>
                <a:cxn ang="0">
                  <a:pos x="211" y="98"/>
                </a:cxn>
                <a:cxn ang="0">
                  <a:pos x="213" y="89"/>
                </a:cxn>
                <a:cxn ang="0">
                  <a:pos x="205" y="96"/>
                </a:cxn>
                <a:cxn ang="0">
                  <a:pos x="211" y="98"/>
                </a:cxn>
                <a:cxn ang="0">
                  <a:pos x="190" y="111"/>
                </a:cxn>
                <a:cxn ang="0">
                  <a:pos x="190" y="104"/>
                </a:cxn>
                <a:cxn ang="0">
                  <a:pos x="190" y="111"/>
                </a:cxn>
              </a:cxnLst>
              <a:rect l="0" t="0" r="r" b="b"/>
              <a:pathLst>
                <a:path w="233" h="168">
                  <a:moveTo>
                    <a:pt x="132" y="6"/>
                  </a:moveTo>
                  <a:lnTo>
                    <a:pt x="135" y="8"/>
                  </a:lnTo>
                  <a:lnTo>
                    <a:pt x="135" y="9"/>
                  </a:lnTo>
                  <a:lnTo>
                    <a:pt x="137" y="9"/>
                  </a:lnTo>
                  <a:lnTo>
                    <a:pt x="137" y="13"/>
                  </a:lnTo>
                  <a:lnTo>
                    <a:pt x="137" y="15"/>
                  </a:lnTo>
                  <a:lnTo>
                    <a:pt x="143" y="15"/>
                  </a:lnTo>
                  <a:lnTo>
                    <a:pt x="150" y="19"/>
                  </a:lnTo>
                  <a:lnTo>
                    <a:pt x="154" y="23"/>
                  </a:lnTo>
                  <a:lnTo>
                    <a:pt x="160" y="21"/>
                  </a:lnTo>
                  <a:lnTo>
                    <a:pt x="164" y="24"/>
                  </a:lnTo>
                  <a:lnTo>
                    <a:pt x="167" y="24"/>
                  </a:lnTo>
                  <a:lnTo>
                    <a:pt x="169" y="28"/>
                  </a:lnTo>
                  <a:lnTo>
                    <a:pt x="173" y="24"/>
                  </a:lnTo>
                  <a:lnTo>
                    <a:pt x="182" y="23"/>
                  </a:lnTo>
                  <a:lnTo>
                    <a:pt x="186" y="24"/>
                  </a:lnTo>
                  <a:lnTo>
                    <a:pt x="190" y="24"/>
                  </a:lnTo>
                  <a:lnTo>
                    <a:pt x="194" y="28"/>
                  </a:lnTo>
                  <a:lnTo>
                    <a:pt x="203" y="24"/>
                  </a:lnTo>
                  <a:lnTo>
                    <a:pt x="211" y="28"/>
                  </a:lnTo>
                  <a:lnTo>
                    <a:pt x="213" y="30"/>
                  </a:lnTo>
                  <a:lnTo>
                    <a:pt x="213" y="32"/>
                  </a:lnTo>
                  <a:lnTo>
                    <a:pt x="211" y="34"/>
                  </a:lnTo>
                  <a:lnTo>
                    <a:pt x="211" y="40"/>
                  </a:lnTo>
                  <a:lnTo>
                    <a:pt x="211" y="43"/>
                  </a:lnTo>
                  <a:lnTo>
                    <a:pt x="209" y="47"/>
                  </a:lnTo>
                  <a:lnTo>
                    <a:pt x="201" y="53"/>
                  </a:lnTo>
                  <a:lnTo>
                    <a:pt x="201" y="53"/>
                  </a:lnTo>
                  <a:lnTo>
                    <a:pt x="198" y="56"/>
                  </a:lnTo>
                  <a:lnTo>
                    <a:pt x="198" y="56"/>
                  </a:lnTo>
                  <a:lnTo>
                    <a:pt x="194" y="58"/>
                  </a:lnTo>
                  <a:lnTo>
                    <a:pt x="186" y="58"/>
                  </a:lnTo>
                  <a:lnTo>
                    <a:pt x="181" y="62"/>
                  </a:lnTo>
                  <a:lnTo>
                    <a:pt x="177" y="64"/>
                  </a:lnTo>
                  <a:lnTo>
                    <a:pt x="179" y="64"/>
                  </a:lnTo>
                  <a:lnTo>
                    <a:pt x="177" y="68"/>
                  </a:lnTo>
                  <a:lnTo>
                    <a:pt x="175" y="72"/>
                  </a:lnTo>
                  <a:lnTo>
                    <a:pt x="175" y="72"/>
                  </a:lnTo>
                  <a:lnTo>
                    <a:pt x="175" y="72"/>
                  </a:lnTo>
                  <a:lnTo>
                    <a:pt x="173" y="68"/>
                  </a:lnTo>
                  <a:lnTo>
                    <a:pt x="167" y="77"/>
                  </a:lnTo>
                  <a:lnTo>
                    <a:pt x="164" y="79"/>
                  </a:lnTo>
                  <a:lnTo>
                    <a:pt x="158" y="92"/>
                  </a:lnTo>
                  <a:lnTo>
                    <a:pt x="156" y="96"/>
                  </a:lnTo>
                  <a:lnTo>
                    <a:pt x="158" y="100"/>
                  </a:lnTo>
                  <a:lnTo>
                    <a:pt x="160" y="104"/>
                  </a:lnTo>
                  <a:lnTo>
                    <a:pt x="160" y="105"/>
                  </a:lnTo>
                  <a:lnTo>
                    <a:pt x="166" y="111"/>
                  </a:lnTo>
                  <a:lnTo>
                    <a:pt x="164" y="115"/>
                  </a:lnTo>
                  <a:lnTo>
                    <a:pt x="156" y="117"/>
                  </a:lnTo>
                  <a:lnTo>
                    <a:pt x="156" y="121"/>
                  </a:lnTo>
                  <a:lnTo>
                    <a:pt x="150" y="128"/>
                  </a:lnTo>
                  <a:lnTo>
                    <a:pt x="150" y="132"/>
                  </a:lnTo>
                  <a:lnTo>
                    <a:pt x="150" y="136"/>
                  </a:lnTo>
                  <a:lnTo>
                    <a:pt x="150" y="139"/>
                  </a:lnTo>
                  <a:lnTo>
                    <a:pt x="143" y="139"/>
                  </a:lnTo>
                  <a:lnTo>
                    <a:pt x="132" y="145"/>
                  </a:lnTo>
                  <a:lnTo>
                    <a:pt x="132" y="147"/>
                  </a:lnTo>
                  <a:lnTo>
                    <a:pt x="126" y="154"/>
                  </a:lnTo>
                  <a:lnTo>
                    <a:pt x="124" y="153"/>
                  </a:lnTo>
                  <a:lnTo>
                    <a:pt x="120" y="149"/>
                  </a:lnTo>
                  <a:lnTo>
                    <a:pt x="118" y="153"/>
                  </a:lnTo>
                  <a:lnTo>
                    <a:pt x="115" y="154"/>
                  </a:lnTo>
                  <a:lnTo>
                    <a:pt x="113" y="153"/>
                  </a:lnTo>
                  <a:lnTo>
                    <a:pt x="109" y="153"/>
                  </a:lnTo>
                  <a:lnTo>
                    <a:pt x="107" y="154"/>
                  </a:lnTo>
                  <a:lnTo>
                    <a:pt x="102" y="154"/>
                  </a:lnTo>
                  <a:lnTo>
                    <a:pt x="94" y="151"/>
                  </a:lnTo>
                  <a:lnTo>
                    <a:pt x="90" y="153"/>
                  </a:lnTo>
                  <a:lnTo>
                    <a:pt x="85" y="154"/>
                  </a:lnTo>
                  <a:lnTo>
                    <a:pt x="79" y="160"/>
                  </a:lnTo>
                  <a:lnTo>
                    <a:pt x="71" y="160"/>
                  </a:lnTo>
                  <a:lnTo>
                    <a:pt x="70" y="164"/>
                  </a:lnTo>
                  <a:lnTo>
                    <a:pt x="70" y="166"/>
                  </a:lnTo>
                  <a:lnTo>
                    <a:pt x="64" y="168"/>
                  </a:lnTo>
                  <a:lnTo>
                    <a:pt x="56" y="168"/>
                  </a:lnTo>
                  <a:lnTo>
                    <a:pt x="51" y="160"/>
                  </a:lnTo>
                  <a:lnTo>
                    <a:pt x="49" y="153"/>
                  </a:lnTo>
                  <a:lnTo>
                    <a:pt x="49" y="153"/>
                  </a:lnTo>
                  <a:lnTo>
                    <a:pt x="41" y="145"/>
                  </a:lnTo>
                  <a:lnTo>
                    <a:pt x="36" y="145"/>
                  </a:lnTo>
                  <a:lnTo>
                    <a:pt x="32" y="145"/>
                  </a:lnTo>
                  <a:lnTo>
                    <a:pt x="32" y="139"/>
                  </a:lnTo>
                  <a:lnTo>
                    <a:pt x="30" y="136"/>
                  </a:lnTo>
                  <a:lnTo>
                    <a:pt x="34" y="126"/>
                  </a:lnTo>
                  <a:lnTo>
                    <a:pt x="39" y="122"/>
                  </a:lnTo>
                  <a:lnTo>
                    <a:pt x="39" y="121"/>
                  </a:lnTo>
                  <a:lnTo>
                    <a:pt x="36" y="121"/>
                  </a:lnTo>
                  <a:lnTo>
                    <a:pt x="32" y="115"/>
                  </a:lnTo>
                  <a:lnTo>
                    <a:pt x="38" y="107"/>
                  </a:lnTo>
                  <a:lnTo>
                    <a:pt x="38" y="102"/>
                  </a:lnTo>
                  <a:lnTo>
                    <a:pt x="34" y="98"/>
                  </a:lnTo>
                  <a:lnTo>
                    <a:pt x="30" y="89"/>
                  </a:lnTo>
                  <a:lnTo>
                    <a:pt x="34" y="89"/>
                  </a:lnTo>
                  <a:lnTo>
                    <a:pt x="36" y="89"/>
                  </a:lnTo>
                  <a:lnTo>
                    <a:pt x="41" y="83"/>
                  </a:lnTo>
                  <a:lnTo>
                    <a:pt x="38" y="79"/>
                  </a:lnTo>
                  <a:lnTo>
                    <a:pt x="43" y="75"/>
                  </a:lnTo>
                  <a:lnTo>
                    <a:pt x="43" y="64"/>
                  </a:lnTo>
                  <a:lnTo>
                    <a:pt x="41" y="58"/>
                  </a:lnTo>
                  <a:lnTo>
                    <a:pt x="49" y="53"/>
                  </a:lnTo>
                  <a:lnTo>
                    <a:pt x="51" y="53"/>
                  </a:lnTo>
                  <a:lnTo>
                    <a:pt x="54" y="49"/>
                  </a:lnTo>
                  <a:lnTo>
                    <a:pt x="49" y="43"/>
                  </a:lnTo>
                  <a:lnTo>
                    <a:pt x="49" y="40"/>
                  </a:lnTo>
                  <a:lnTo>
                    <a:pt x="39" y="38"/>
                  </a:lnTo>
                  <a:lnTo>
                    <a:pt x="36" y="40"/>
                  </a:lnTo>
                  <a:lnTo>
                    <a:pt x="26" y="40"/>
                  </a:lnTo>
                  <a:lnTo>
                    <a:pt x="21" y="43"/>
                  </a:lnTo>
                  <a:lnTo>
                    <a:pt x="19" y="40"/>
                  </a:lnTo>
                  <a:lnTo>
                    <a:pt x="19" y="36"/>
                  </a:lnTo>
                  <a:lnTo>
                    <a:pt x="17" y="36"/>
                  </a:lnTo>
                  <a:lnTo>
                    <a:pt x="7" y="36"/>
                  </a:lnTo>
                  <a:lnTo>
                    <a:pt x="7" y="36"/>
                  </a:lnTo>
                  <a:lnTo>
                    <a:pt x="11" y="32"/>
                  </a:lnTo>
                  <a:lnTo>
                    <a:pt x="9" y="30"/>
                  </a:lnTo>
                  <a:lnTo>
                    <a:pt x="11" y="28"/>
                  </a:lnTo>
                  <a:lnTo>
                    <a:pt x="9" y="28"/>
                  </a:lnTo>
                  <a:lnTo>
                    <a:pt x="9" y="24"/>
                  </a:lnTo>
                  <a:lnTo>
                    <a:pt x="7" y="28"/>
                  </a:lnTo>
                  <a:lnTo>
                    <a:pt x="6" y="24"/>
                  </a:lnTo>
                  <a:lnTo>
                    <a:pt x="7" y="21"/>
                  </a:lnTo>
                  <a:lnTo>
                    <a:pt x="6" y="21"/>
                  </a:lnTo>
                  <a:lnTo>
                    <a:pt x="6" y="19"/>
                  </a:lnTo>
                  <a:lnTo>
                    <a:pt x="2" y="19"/>
                  </a:lnTo>
                  <a:lnTo>
                    <a:pt x="0" y="15"/>
                  </a:lnTo>
                  <a:lnTo>
                    <a:pt x="4" y="11"/>
                  </a:lnTo>
                  <a:lnTo>
                    <a:pt x="11" y="8"/>
                  </a:lnTo>
                  <a:lnTo>
                    <a:pt x="13" y="9"/>
                  </a:lnTo>
                  <a:lnTo>
                    <a:pt x="19" y="9"/>
                  </a:lnTo>
                  <a:lnTo>
                    <a:pt x="21" y="6"/>
                  </a:lnTo>
                  <a:lnTo>
                    <a:pt x="21" y="6"/>
                  </a:lnTo>
                  <a:lnTo>
                    <a:pt x="19" y="4"/>
                  </a:lnTo>
                  <a:lnTo>
                    <a:pt x="26" y="0"/>
                  </a:lnTo>
                  <a:lnTo>
                    <a:pt x="26" y="0"/>
                  </a:lnTo>
                  <a:lnTo>
                    <a:pt x="30" y="0"/>
                  </a:lnTo>
                  <a:lnTo>
                    <a:pt x="34" y="0"/>
                  </a:lnTo>
                  <a:lnTo>
                    <a:pt x="38" y="4"/>
                  </a:lnTo>
                  <a:lnTo>
                    <a:pt x="41" y="0"/>
                  </a:lnTo>
                  <a:lnTo>
                    <a:pt x="45" y="0"/>
                  </a:lnTo>
                  <a:lnTo>
                    <a:pt x="51" y="4"/>
                  </a:lnTo>
                  <a:lnTo>
                    <a:pt x="54" y="0"/>
                  </a:lnTo>
                  <a:lnTo>
                    <a:pt x="60" y="0"/>
                  </a:lnTo>
                  <a:lnTo>
                    <a:pt x="60" y="0"/>
                  </a:lnTo>
                  <a:lnTo>
                    <a:pt x="66" y="4"/>
                  </a:lnTo>
                  <a:lnTo>
                    <a:pt x="79" y="6"/>
                  </a:lnTo>
                  <a:lnTo>
                    <a:pt x="86" y="8"/>
                  </a:lnTo>
                  <a:lnTo>
                    <a:pt x="94" y="4"/>
                  </a:lnTo>
                  <a:lnTo>
                    <a:pt x="102" y="4"/>
                  </a:lnTo>
                  <a:lnTo>
                    <a:pt x="102" y="8"/>
                  </a:lnTo>
                  <a:lnTo>
                    <a:pt x="109" y="8"/>
                  </a:lnTo>
                  <a:lnTo>
                    <a:pt x="113" y="4"/>
                  </a:lnTo>
                  <a:lnTo>
                    <a:pt x="117" y="4"/>
                  </a:lnTo>
                  <a:lnTo>
                    <a:pt x="124" y="11"/>
                  </a:lnTo>
                  <a:lnTo>
                    <a:pt x="126" y="8"/>
                  </a:lnTo>
                  <a:lnTo>
                    <a:pt x="130" y="8"/>
                  </a:lnTo>
                  <a:lnTo>
                    <a:pt x="132" y="6"/>
                  </a:lnTo>
                  <a:lnTo>
                    <a:pt x="132" y="6"/>
                  </a:lnTo>
                  <a:lnTo>
                    <a:pt x="132" y="6"/>
                  </a:lnTo>
                  <a:lnTo>
                    <a:pt x="132" y="6"/>
                  </a:lnTo>
                  <a:close/>
                  <a:moveTo>
                    <a:pt x="220" y="87"/>
                  </a:moveTo>
                  <a:lnTo>
                    <a:pt x="230" y="89"/>
                  </a:lnTo>
                  <a:lnTo>
                    <a:pt x="230" y="89"/>
                  </a:lnTo>
                  <a:lnTo>
                    <a:pt x="233" y="87"/>
                  </a:lnTo>
                  <a:lnTo>
                    <a:pt x="230" y="83"/>
                  </a:lnTo>
                  <a:lnTo>
                    <a:pt x="224" y="85"/>
                  </a:lnTo>
                  <a:lnTo>
                    <a:pt x="220" y="87"/>
                  </a:lnTo>
                  <a:lnTo>
                    <a:pt x="220" y="87"/>
                  </a:lnTo>
                  <a:lnTo>
                    <a:pt x="220" y="87"/>
                  </a:lnTo>
                  <a:lnTo>
                    <a:pt x="220" y="87"/>
                  </a:lnTo>
                  <a:close/>
                  <a:moveTo>
                    <a:pt x="211" y="98"/>
                  </a:moveTo>
                  <a:lnTo>
                    <a:pt x="213" y="96"/>
                  </a:lnTo>
                  <a:lnTo>
                    <a:pt x="218" y="89"/>
                  </a:lnTo>
                  <a:lnTo>
                    <a:pt x="213" y="89"/>
                  </a:lnTo>
                  <a:lnTo>
                    <a:pt x="209" y="89"/>
                  </a:lnTo>
                  <a:lnTo>
                    <a:pt x="205" y="92"/>
                  </a:lnTo>
                  <a:lnTo>
                    <a:pt x="205" y="96"/>
                  </a:lnTo>
                  <a:lnTo>
                    <a:pt x="209" y="96"/>
                  </a:lnTo>
                  <a:lnTo>
                    <a:pt x="211" y="98"/>
                  </a:lnTo>
                  <a:lnTo>
                    <a:pt x="211" y="98"/>
                  </a:lnTo>
                  <a:lnTo>
                    <a:pt x="211" y="98"/>
                  </a:lnTo>
                  <a:lnTo>
                    <a:pt x="211" y="98"/>
                  </a:lnTo>
                  <a:close/>
                  <a:moveTo>
                    <a:pt x="190" y="111"/>
                  </a:moveTo>
                  <a:lnTo>
                    <a:pt x="190" y="107"/>
                  </a:lnTo>
                  <a:lnTo>
                    <a:pt x="194" y="105"/>
                  </a:lnTo>
                  <a:lnTo>
                    <a:pt x="190" y="104"/>
                  </a:lnTo>
                  <a:lnTo>
                    <a:pt x="186" y="105"/>
                  </a:lnTo>
                  <a:lnTo>
                    <a:pt x="186" y="107"/>
                  </a:lnTo>
                  <a:lnTo>
                    <a:pt x="190" y="111"/>
                  </a:lnTo>
                  <a:lnTo>
                    <a:pt x="190" y="111"/>
                  </a:lnTo>
                  <a:lnTo>
                    <a:pt x="190" y="111"/>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5" name="Freeform 27">
              <a:extLst>
                <a:ext uri="{FF2B5EF4-FFF2-40B4-BE49-F238E27FC236}">
                  <a16:creationId xmlns:a16="http://schemas.microsoft.com/office/drawing/2014/main" id="{10F05B42-7C86-492F-831F-989EEF1A8724}"/>
                </a:ext>
              </a:extLst>
            </p:cNvPr>
            <p:cNvSpPr>
              <a:spLocks/>
            </p:cNvSpPr>
            <p:nvPr/>
          </p:nvSpPr>
          <p:spPr bwMode="auto">
            <a:xfrm>
              <a:off x="2617" y="2267"/>
              <a:ext cx="57" cy="117"/>
            </a:xfrm>
            <a:custGeom>
              <a:avLst/>
              <a:gdLst/>
              <a:ahLst/>
              <a:cxnLst>
                <a:cxn ang="0">
                  <a:pos x="36" y="107"/>
                </a:cxn>
                <a:cxn ang="0">
                  <a:pos x="38" y="94"/>
                </a:cxn>
                <a:cxn ang="0">
                  <a:pos x="43" y="86"/>
                </a:cxn>
                <a:cxn ang="0">
                  <a:pos x="36" y="81"/>
                </a:cxn>
                <a:cxn ang="0">
                  <a:pos x="40" y="68"/>
                </a:cxn>
                <a:cxn ang="0">
                  <a:pos x="32" y="54"/>
                </a:cxn>
                <a:cxn ang="0">
                  <a:pos x="40" y="54"/>
                </a:cxn>
                <a:cxn ang="0">
                  <a:pos x="40" y="45"/>
                </a:cxn>
                <a:cxn ang="0">
                  <a:pos x="47" y="30"/>
                </a:cxn>
                <a:cxn ang="0">
                  <a:pos x="53" y="19"/>
                </a:cxn>
                <a:cxn ang="0">
                  <a:pos x="57" y="15"/>
                </a:cxn>
                <a:cxn ang="0">
                  <a:pos x="53" y="4"/>
                </a:cxn>
                <a:cxn ang="0">
                  <a:pos x="40" y="5"/>
                </a:cxn>
                <a:cxn ang="0">
                  <a:pos x="25" y="7"/>
                </a:cxn>
                <a:cxn ang="0">
                  <a:pos x="23" y="0"/>
                </a:cxn>
                <a:cxn ang="0">
                  <a:pos x="11" y="0"/>
                </a:cxn>
                <a:cxn ang="0">
                  <a:pos x="15" y="13"/>
                </a:cxn>
                <a:cxn ang="0">
                  <a:pos x="13" y="24"/>
                </a:cxn>
                <a:cxn ang="0">
                  <a:pos x="15" y="34"/>
                </a:cxn>
                <a:cxn ang="0">
                  <a:pos x="11" y="41"/>
                </a:cxn>
                <a:cxn ang="0">
                  <a:pos x="6" y="53"/>
                </a:cxn>
                <a:cxn ang="0">
                  <a:pos x="0" y="64"/>
                </a:cxn>
                <a:cxn ang="0">
                  <a:pos x="0" y="77"/>
                </a:cxn>
                <a:cxn ang="0">
                  <a:pos x="4" y="73"/>
                </a:cxn>
                <a:cxn ang="0">
                  <a:pos x="8" y="73"/>
                </a:cxn>
                <a:cxn ang="0">
                  <a:pos x="4" y="79"/>
                </a:cxn>
                <a:cxn ang="0">
                  <a:pos x="4" y="85"/>
                </a:cxn>
                <a:cxn ang="0">
                  <a:pos x="13" y="83"/>
                </a:cxn>
                <a:cxn ang="0">
                  <a:pos x="11" y="88"/>
                </a:cxn>
                <a:cxn ang="0">
                  <a:pos x="10" y="103"/>
                </a:cxn>
                <a:cxn ang="0">
                  <a:pos x="6" y="113"/>
                </a:cxn>
                <a:cxn ang="0">
                  <a:pos x="13" y="111"/>
                </a:cxn>
                <a:cxn ang="0">
                  <a:pos x="25" y="117"/>
                </a:cxn>
                <a:cxn ang="0">
                  <a:pos x="36" y="113"/>
                </a:cxn>
                <a:cxn ang="0">
                  <a:pos x="36" y="111"/>
                </a:cxn>
                <a:cxn ang="0">
                  <a:pos x="36" y="111"/>
                </a:cxn>
              </a:cxnLst>
              <a:rect l="0" t="0" r="r" b="b"/>
              <a:pathLst>
                <a:path w="57" h="117">
                  <a:moveTo>
                    <a:pt x="36" y="111"/>
                  </a:moveTo>
                  <a:lnTo>
                    <a:pt x="36" y="107"/>
                  </a:lnTo>
                  <a:lnTo>
                    <a:pt x="34" y="101"/>
                  </a:lnTo>
                  <a:lnTo>
                    <a:pt x="38" y="94"/>
                  </a:lnTo>
                  <a:lnTo>
                    <a:pt x="43" y="88"/>
                  </a:lnTo>
                  <a:lnTo>
                    <a:pt x="43" y="86"/>
                  </a:lnTo>
                  <a:lnTo>
                    <a:pt x="40" y="86"/>
                  </a:lnTo>
                  <a:lnTo>
                    <a:pt x="36" y="81"/>
                  </a:lnTo>
                  <a:lnTo>
                    <a:pt x="40" y="75"/>
                  </a:lnTo>
                  <a:lnTo>
                    <a:pt x="40" y="68"/>
                  </a:lnTo>
                  <a:lnTo>
                    <a:pt x="38" y="64"/>
                  </a:lnTo>
                  <a:lnTo>
                    <a:pt x="32" y="54"/>
                  </a:lnTo>
                  <a:lnTo>
                    <a:pt x="38" y="54"/>
                  </a:lnTo>
                  <a:lnTo>
                    <a:pt x="40" y="54"/>
                  </a:lnTo>
                  <a:lnTo>
                    <a:pt x="45" y="49"/>
                  </a:lnTo>
                  <a:lnTo>
                    <a:pt x="40" y="45"/>
                  </a:lnTo>
                  <a:lnTo>
                    <a:pt x="47" y="41"/>
                  </a:lnTo>
                  <a:lnTo>
                    <a:pt x="47" y="30"/>
                  </a:lnTo>
                  <a:lnTo>
                    <a:pt x="45" y="24"/>
                  </a:lnTo>
                  <a:lnTo>
                    <a:pt x="53" y="19"/>
                  </a:lnTo>
                  <a:lnTo>
                    <a:pt x="55" y="19"/>
                  </a:lnTo>
                  <a:lnTo>
                    <a:pt x="57" y="15"/>
                  </a:lnTo>
                  <a:lnTo>
                    <a:pt x="53" y="7"/>
                  </a:lnTo>
                  <a:lnTo>
                    <a:pt x="53" y="4"/>
                  </a:lnTo>
                  <a:lnTo>
                    <a:pt x="43" y="4"/>
                  </a:lnTo>
                  <a:lnTo>
                    <a:pt x="40" y="5"/>
                  </a:lnTo>
                  <a:lnTo>
                    <a:pt x="28" y="4"/>
                  </a:lnTo>
                  <a:lnTo>
                    <a:pt x="25" y="7"/>
                  </a:lnTo>
                  <a:lnTo>
                    <a:pt x="23" y="4"/>
                  </a:lnTo>
                  <a:lnTo>
                    <a:pt x="23" y="0"/>
                  </a:lnTo>
                  <a:lnTo>
                    <a:pt x="19" y="0"/>
                  </a:lnTo>
                  <a:lnTo>
                    <a:pt x="11" y="0"/>
                  </a:lnTo>
                  <a:lnTo>
                    <a:pt x="11" y="5"/>
                  </a:lnTo>
                  <a:lnTo>
                    <a:pt x="15" y="13"/>
                  </a:lnTo>
                  <a:lnTo>
                    <a:pt x="13" y="24"/>
                  </a:lnTo>
                  <a:lnTo>
                    <a:pt x="13" y="24"/>
                  </a:lnTo>
                  <a:lnTo>
                    <a:pt x="13" y="30"/>
                  </a:lnTo>
                  <a:lnTo>
                    <a:pt x="15" y="34"/>
                  </a:lnTo>
                  <a:lnTo>
                    <a:pt x="13" y="37"/>
                  </a:lnTo>
                  <a:lnTo>
                    <a:pt x="11" y="41"/>
                  </a:lnTo>
                  <a:lnTo>
                    <a:pt x="11" y="47"/>
                  </a:lnTo>
                  <a:lnTo>
                    <a:pt x="6" y="53"/>
                  </a:lnTo>
                  <a:lnTo>
                    <a:pt x="6" y="54"/>
                  </a:lnTo>
                  <a:lnTo>
                    <a:pt x="0" y="64"/>
                  </a:lnTo>
                  <a:lnTo>
                    <a:pt x="0" y="73"/>
                  </a:lnTo>
                  <a:lnTo>
                    <a:pt x="0" y="77"/>
                  </a:lnTo>
                  <a:lnTo>
                    <a:pt x="4" y="77"/>
                  </a:lnTo>
                  <a:lnTo>
                    <a:pt x="4" y="73"/>
                  </a:lnTo>
                  <a:lnTo>
                    <a:pt x="8" y="71"/>
                  </a:lnTo>
                  <a:lnTo>
                    <a:pt x="8" y="73"/>
                  </a:lnTo>
                  <a:lnTo>
                    <a:pt x="10" y="77"/>
                  </a:lnTo>
                  <a:lnTo>
                    <a:pt x="4" y="79"/>
                  </a:lnTo>
                  <a:lnTo>
                    <a:pt x="4" y="83"/>
                  </a:lnTo>
                  <a:lnTo>
                    <a:pt x="4" y="85"/>
                  </a:lnTo>
                  <a:lnTo>
                    <a:pt x="8" y="83"/>
                  </a:lnTo>
                  <a:lnTo>
                    <a:pt x="13" y="83"/>
                  </a:lnTo>
                  <a:lnTo>
                    <a:pt x="10" y="85"/>
                  </a:lnTo>
                  <a:lnTo>
                    <a:pt x="11" y="88"/>
                  </a:lnTo>
                  <a:lnTo>
                    <a:pt x="10" y="94"/>
                  </a:lnTo>
                  <a:lnTo>
                    <a:pt x="10" y="103"/>
                  </a:lnTo>
                  <a:lnTo>
                    <a:pt x="8" y="111"/>
                  </a:lnTo>
                  <a:lnTo>
                    <a:pt x="6" y="113"/>
                  </a:lnTo>
                  <a:lnTo>
                    <a:pt x="8" y="115"/>
                  </a:lnTo>
                  <a:lnTo>
                    <a:pt x="13" y="111"/>
                  </a:lnTo>
                  <a:lnTo>
                    <a:pt x="23" y="113"/>
                  </a:lnTo>
                  <a:lnTo>
                    <a:pt x="25" y="117"/>
                  </a:lnTo>
                  <a:lnTo>
                    <a:pt x="30" y="113"/>
                  </a:lnTo>
                  <a:lnTo>
                    <a:pt x="36" y="113"/>
                  </a:lnTo>
                  <a:lnTo>
                    <a:pt x="36" y="111"/>
                  </a:lnTo>
                  <a:lnTo>
                    <a:pt x="36" y="111"/>
                  </a:lnTo>
                  <a:lnTo>
                    <a:pt x="36" y="111"/>
                  </a:lnTo>
                  <a:lnTo>
                    <a:pt x="36" y="111"/>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6" name="Freeform 28">
              <a:extLst>
                <a:ext uri="{FF2B5EF4-FFF2-40B4-BE49-F238E27FC236}">
                  <a16:creationId xmlns:a16="http://schemas.microsoft.com/office/drawing/2014/main" id="{B3E7BEF4-01A3-41BA-B497-C3704F8B2F0D}"/>
                </a:ext>
              </a:extLst>
            </p:cNvPr>
            <p:cNvSpPr>
              <a:spLocks/>
            </p:cNvSpPr>
            <p:nvPr/>
          </p:nvSpPr>
          <p:spPr bwMode="auto">
            <a:xfrm>
              <a:off x="3718" y="2600"/>
              <a:ext cx="91" cy="70"/>
            </a:xfrm>
            <a:custGeom>
              <a:avLst/>
              <a:gdLst/>
              <a:ahLst/>
              <a:cxnLst>
                <a:cxn ang="0">
                  <a:pos x="0" y="36"/>
                </a:cxn>
                <a:cxn ang="0">
                  <a:pos x="0" y="44"/>
                </a:cxn>
                <a:cxn ang="0">
                  <a:pos x="4" y="49"/>
                </a:cxn>
                <a:cxn ang="0">
                  <a:pos x="6" y="62"/>
                </a:cxn>
                <a:cxn ang="0">
                  <a:pos x="64" y="70"/>
                </a:cxn>
                <a:cxn ang="0">
                  <a:pos x="70" y="64"/>
                </a:cxn>
                <a:cxn ang="0">
                  <a:pos x="85" y="15"/>
                </a:cxn>
                <a:cxn ang="0">
                  <a:pos x="91" y="15"/>
                </a:cxn>
                <a:cxn ang="0">
                  <a:pos x="89" y="11"/>
                </a:cxn>
                <a:cxn ang="0">
                  <a:pos x="89" y="8"/>
                </a:cxn>
                <a:cxn ang="0">
                  <a:pos x="85" y="10"/>
                </a:cxn>
                <a:cxn ang="0">
                  <a:pos x="85" y="8"/>
                </a:cxn>
                <a:cxn ang="0">
                  <a:pos x="85" y="8"/>
                </a:cxn>
                <a:cxn ang="0">
                  <a:pos x="85" y="8"/>
                </a:cxn>
                <a:cxn ang="0">
                  <a:pos x="83" y="0"/>
                </a:cxn>
                <a:cxn ang="0">
                  <a:pos x="81" y="0"/>
                </a:cxn>
                <a:cxn ang="0">
                  <a:pos x="81" y="4"/>
                </a:cxn>
                <a:cxn ang="0">
                  <a:pos x="79" y="4"/>
                </a:cxn>
                <a:cxn ang="0">
                  <a:pos x="68" y="11"/>
                </a:cxn>
                <a:cxn ang="0">
                  <a:pos x="68" y="15"/>
                </a:cxn>
                <a:cxn ang="0">
                  <a:pos x="57" y="25"/>
                </a:cxn>
                <a:cxn ang="0">
                  <a:pos x="55" y="28"/>
                </a:cxn>
                <a:cxn ang="0">
                  <a:pos x="57" y="28"/>
                </a:cxn>
                <a:cxn ang="0">
                  <a:pos x="57" y="30"/>
                </a:cxn>
                <a:cxn ang="0">
                  <a:pos x="55" y="36"/>
                </a:cxn>
                <a:cxn ang="0">
                  <a:pos x="51" y="34"/>
                </a:cxn>
                <a:cxn ang="0">
                  <a:pos x="51" y="34"/>
                </a:cxn>
                <a:cxn ang="0">
                  <a:pos x="45" y="34"/>
                </a:cxn>
                <a:cxn ang="0">
                  <a:pos x="49" y="38"/>
                </a:cxn>
                <a:cxn ang="0">
                  <a:pos x="45" y="38"/>
                </a:cxn>
                <a:cxn ang="0">
                  <a:pos x="45" y="40"/>
                </a:cxn>
                <a:cxn ang="0">
                  <a:pos x="40" y="42"/>
                </a:cxn>
                <a:cxn ang="0">
                  <a:pos x="36" y="42"/>
                </a:cxn>
                <a:cxn ang="0">
                  <a:pos x="34" y="40"/>
                </a:cxn>
                <a:cxn ang="0">
                  <a:pos x="30" y="40"/>
                </a:cxn>
                <a:cxn ang="0">
                  <a:pos x="29" y="38"/>
                </a:cxn>
                <a:cxn ang="0">
                  <a:pos x="27" y="40"/>
                </a:cxn>
                <a:cxn ang="0">
                  <a:pos x="19" y="38"/>
                </a:cxn>
                <a:cxn ang="0">
                  <a:pos x="13" y="44"/>
                </a:cxn>
                <a:cxn ang="0">
                  <a:pos x="10" y="44"/>
                </a:cxn>
                <a:cxn ang="0">
                  <a:pos x="6" y="44"/>
                </a:cxn>
                <a:cxn ang="0">
                  <a:pos x="4" y="44"/>
                </a:cxn>
                <a:cxn ang="0">
                  <a:pos x="2" y="36"/>
                </a:cxn>
                <a:cxn ang="0">
                  <a:pos x="2" y="36"/>
                </a:cxn>
                <a:cxn ang="0">
                  <a:pos x="0" y="36"/>
                </a:cxn>
                <a:cxn ang="0">
                  <a:pos x="0" y="36"/>
                </a:cxn>
                <a:cxn ang="0">
                  <a:pos x="0" y="36"/>
                </a:cxn>
              </a:cxnLst>
              <a:rect l="0" t="0" r="r" b="b"/>
              <a:pathLst>
                <a:path w="91" h="70">
                  <a:moveTo>
                    <a:pt x="0" y="36"/>
                  </a:moveTo>
                  <a:lnTo>
                    <a:pt x="0" y="44"/>
                  </a:lnTo>
                  <a:lnTo>
                    <a:pt x="4" y="49"/>
                  </a:lnTo>
                  <a:lnTo>
                    <a:pt x="6" y="62"/>
                  </a:lnTo>
                  <a:lnTo>
                    <a:pt x="64" y="70"/>
                  </a:lnTo>
                  <a:lnTo>
                    <a:pt x="70" y="64"/>
                  </a:lnTo>
                  <a:lnTo>
                    <a:pt x="85" y="15"/>
                  </a:lnTo>
                  <a:lnTo>
                    <a:pt x="91" y="15"/>
                  </a:lnTo>
                  <a:lnTo>
                    <a:pt x="89" y="11"/>
                  </a:lnTo>
                  <a:lnTo>
                    <a:pt x="89" y="8"/>
                  </a:lnTo>
                  <a:lnTo>
                    <a:pt x="85" y="10"/>
                  </a:lnTo>
                  <a:lnTo>
                    <a:pt x="85" y="8"/>
                  </a:lnTo>
                  <a:lnTo>
                    <a:pt x="85" y="8"/>
                  </a:lnTo>
                  <a:lnTo>
                    <a:pt x="85" y="8"/>
                  </a:lnTo>
                  <a:lnTo>
                    <a:pt x="83" y="0"/>
                  </a:lnTo>
                  <a:lnTo>
                    <a:pt x="81" y="0"/>
                  </a:lnTo>
                  <a:lnTo>
                    <a:pt x="81" y="4"/>
                  </a:lnTo>
                  <a:lnTo>
                    <a:pt x="79" y="4"/>
                  </a:lnTo>
                  <a:lnTo>
                    <a:pt x="68" y="11"/>
                  </a:lnTo>
                  <a:lnTo>
                    <a:pt x="68" y="15"/>
                  </a:lnTo>
                  <a:lnTo>
                    <a:pt x="57" y="25"/>
                  </a:lnTo>
                  <a:lnTo>
                    <a:pt x="55" y="28"/>
                  </a:lnTo>
                  <a:lnTo>
                    <a:pt x="57" y="28"/>
                  </a:lnTo>
                  <a:lnTo>
                    <a:pt x="57" y="30"/>
                  </a:lnTo>
                  <a:lnTo>
                    <a:pt x="55" y="36"/>
                  </a:lnTo>
                  <a:lnTo>
                    <a:pt x="51" y="34"/>
                  </a:lnTo>
                  <a:lnTo>
                    <a:pt x="51" y="34"/>
                  </a:lnTo>
                  <a:lnTo>
                    <a:pt x="45" y="34"/>
                  </a:lnTo>
                  <a:lnTo>
                    <a:pt x="49" y="38"/>
                  </a:lnTo>
                  <a:lnTo>
                    <a:pt x="45" y="38"/>
                  </a:lnTo>
                  <a:lnTo>
                    <a:pt x="45" y="40"/>
                  </a:lnTo>
                  <a:lnTo>
                    <a:pt x="40" y="42"/>
                  </a:lnTo>
                  <a:lnTo>
                    <a:pt x="36" y="42"/>
                  </a:lnTo>
                  <a:lnTo>
                    <a:pt x="34" y="40"/>
                  </a:lnTo>
                  <a:lnTo>
                    <a:pt x="30" y="40"/>
                  </a:lnTo>
                  <a:lnTo>
                    <a:pt x="29" y="38"/>
                  </a:lnTo>
                  <a:lnTo>
                    <a:pt x="27" y="40"/>
                  </a:lnTo>
                  <a:lnTo>
                    <a:pt x="19" y="38"/>
                  </a:lnTo>
                  <a:lnTo>
                    <a:pt x="13" y="44"/>
                  </a:lnTo>
                  <a:lnTo>
                    <a:pt x="10" y="44"/>
                  </a:lnTo>
                  <a:lnTo>
                    <a:pt x="6" y="44"/>
                  </a:lnTo>
                  <a:lnTo>
                    <a:pt x="4" y="44"/>
                  </a:lnTo>
                  <a:lnTo>
                    <a:pt x="2" y="36"/>
                  </a:lnTo>
                  <a:lnTo>
                    <a:pt x="2" y="36"/>
                  </a:lnTo>
                  <a:lnTo>
                    <a:pt x="0" y="36"/>
                  </a:lnTo>
                  <a:lnTo>
                    <a:pt x="0" y="36"/>
                  </a:lnTo>
                  <a:lnTo>
                    <a:pt x="0" y="36"/>
                  </a:lnTo>
                  <a:close/>
                </a:path>
              </a:pathLst>
            </a:custGeom>
            <a:solidFill>
              <a:schemeClr val="bg2">
                <a:lumMod val="90000"/>
              </a:schemeClr>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7" name="Freeform 30">
              <a:extLst>
                <a:ext uri="{FF2B5EF4-FFF2-40B4-BE49-F238E27FC236}">
                  <a16:creationId xmlns:a16="http://schemas.microsoft.com/office/drawing/2014/main" id="{53532CC0-F695-4120-9C71-05DC0BE76584}"/>
                </a:ext>
              </a:extLst>
            </p:cNvPr>
            <p:cNvSpPr>
              <a:spLocks/>
            </p:cNvSpPr>
            <p:nvPr/>
          </p:nvSpPr>
          <p:spPr bwMode="auto">
            <a:xfrm>
              <a:off x="2559" y="2404"/>
              <a:ext cx="205" cy="177"/>
            </a:xfrm>
            <a:custGeom>
              <a:avLst/>
              <a:gdLst/>
              <a:ahLst/>
              <a:cxnLst>
                <a:cxn ang="0">
                  <a:pos x="68" y="168"/>
                </a:cxn>
                <a:cxn ang="0">
                  <a:pos x="68" y="168"/>
                </a:cxn>
                <a:cxn ang="0">
                  <a:pos x="77" y="147"/>
                </a:cxn>
                <a:cxn ang="0">
                  <a:pos x="86" y="140"/>
                </a:cxn>
                <a:cxn ang="0">
                  <a:pos x="100" y="136"/>
                </a:cxn>
                <a:cxn ang="0">
                  <a:pos x="111" y="136"/>
                </a:cxn>
                <a:cxn ang="0">
                  <a:pos x="132" y="126"/>
                </a:cxn>
                <a:cxn ang="0">
                  <a:pos x="164" y="106"/>
                </a:cxn>
                <a:cxn ang="0">
                  <a:pos x="165" y="96"/>
                </a:cxn>
                <a:cxn ang="0">
                  <a:pos x="171" y="91"/>
                </a:cxn>
                <a:cxn ang="0">
                  <a:pos x="179" y="81"/>
                </a:cxn>
                <a:cxn ang="0">
                  <a:pos x="203" y="78"/>
                </a:cxn>
                <a:cxn ang="0">
                  <a:pos x="205" y="72"/>
                </a:cxn>
                <a:cxn ang="0">
                  <a:pos x="203" y="72"/>
                </a:cxn>
                <a:cxn ang="0">
                  <a:pos x="197" y="68"/>
                </a:cxn>
                <a:cxn ang="0">
                  <a:pos x="194" y="59"/>
                </a:cxn>
                <a:cxn ang="0">
                  <a:pos x="192" y="44"/>
                </a:cxn>
                <a:cxn ang="0">
                  <a:pos x="192" y="29"/>
                </a:cxn>
                <a:cxn ang="0">
                  <a:pos x="190" y="25"/>
                </a:cxn>
                <a:cxn ang="0">
                  <a:pos x="188" y="19"/>
                </a:cxn>
                <a:cxn ang="0">
                  <a:pos x="182" y="19"/>
                </a:cxn>
                <a:cxn ang="0">
                  <a:pos x="171" y="15"/>
                </a:cxn>
                <a:cxn ang="0">
                  <a:pos x="169" y="12"/>
                </a:cxn>
                <a:cxn ang="0">
                  <a:pos x="165" y="15"/>
                </a:cxn>
                <a:cxn ang="0">
                  <a:pos x="154" y="15"/>
                </a:cxn>
                <a:cxn ang="0">
                  <a:pos x="147" y="17"/>
                </a:cxn>
                <a:cxn ang="0">
                  <a:pos x="137" y="17"/>
                </a:cxn>
                <a:cxn ang="0">
                  <a:pos x="132" y="10"/>
                </a:cxn>
                <a:cxn ang="0">
                  <a:pos x="130" y="4"/>
                </a:cxn>
                <a:cxn ang="0">
                  <a:pos x="130" y="0"/>
                </a:cxn>
                <a:cxn ang="0">
                  <a:pos x="124" y="4"/>
                </a:cxn>
                <a:cxn ang="0">
                  <a:pos x="116" y="8"/>
                </a:cxn>
                <a:cxn ang="0">
                  <a:pos x="113" y="25"/>
                </a:cxn>
                <a:cxn ang="0">
                  <a:pos x="111" y="36"/>
                </a:cxn>
                <a:cxn ang="0">
                  <a:pos x="100" y="44"/>
                </a:cxn>
                <a:cxn ang="0">
                  <a:pos x="88" y="47"/>
                </a:cxn>
                <a:cxn ang="0">
                  <a:pos x="83" y="53"/>
                </a:cxn>
                <a:cxn ang="0">
                  <a:pos x="69" y="61"/>
                </a:cxn>
                <a:cxn ang="0">
                  <a:pos x="60" y="68"/>
                </a:cxn>
                <a:cxn ang="0">
                  <a:pos x="62" y="81"/>
                </a:cxn>
                <a:cxn ang="0">
                  <a:pos x="49" y="96"/>
                </a:cxn>
                <a:cxn ang="0">
                  <a:pos x="52" y="108"/>
                </a:cxn>
                <a:cxn ang="0">
                  <a:pos x="52" y="117"/>
                </a:cxn>
                <a:cxn ang="0">
                  <a:pos x="52" y="123"/>
                </a:cxn>
                <a:cxn ang="0">
                  <a:pos x="39" y="140"/>
                </a:cxn>
                <a:cxn ang="0">
                  <a:pos x="28" y="147"/>
                </a:cxn>
                <a:cxn ang="0">
                  <a:pos x="0" y="168"/>
                </a:cxn>
              </a:cxnLst>
              <a:rect l="0" t="0" r="r" b="b"/>
              <a:pathLst>
                <a:path w="205" h="177">
                  <a:moveTo>
                    <a:pt x="68" y="177"/>
                  </a:moveTo>
                  <a:lnTo>
                    <a:pt x="68" y="168"/>
                  </a:lnTo>
                  <a:lnTo>
                    <a:pt x="68" y="168"/>
                  </a:lnTo>
                  <a:lnTo>
                    <a:pt x="68" y="168"/>
                  </a:lnTo>
                  <a:lnTo>
                    <a:pt x="68" y="155"/>
                  </a:lnTo>
                  <a:lnTo>
                    <a:pt x="77" y="147"/>
                  </a:lnTo>
                  <a:lnTo>
                    <a:pt x="81" y="142"/>
                  </a:lnTo>
                  <a:lnTo>
                    <a:pt x="86" y="140"/>
                  </a:lnTo>
                  <a:lnTo>
                    <a:pt x="94" y="136"/>
                  </a:lnTo>
                  <a:lnTo>
                    <a:pt x="100" y="136"/>
                  </a:lnTo>
                  <a:lnTo>
                    <a:pt x="103" y="136"/>
                  </a:lnTo>
                  <a:lnTo>
                    <a:pt x="111" y="136"/>
                  </a:lnTo>
                  <a:lnTo>
                    <a:pt x="116" y="136"/>
                  </a:lnTo>
                  <a:lnTo>
                    <a:pt x="132" y="126"/>
                  </a:lnTo>
                  <a:lnTo>
                    <a:pt x="150" y="115"/>
                  </a:lnTo>
                  <a:lnTo>
                    <a:pt x="164" y="106"/>
                  </a:lnTo>
                  <a:lnTo>
                    <a:pt x="165" y="102"/>
                  </a:lnTo>
                  <a:lnTo>
                    <a:pt x="165" y="96"/>
                  </a:lnTo>
                  <a:lnTo>
                    <a:pt x="167" y="93"/>
                  </a:lnTo>
                  <a:lnTo>
                    <a:pt x="171" y="91"/>
                  </a:lnTo>
                  <a:lnTo>
                    <a:pt x="175" y="83"/>
                  </a:lnTo>
                  <a:lnTo>
                    <a:pt x="179" y="81"/>
                  </a:lnTo>
                  <a:lnTo>
                    <a:pt x="203" y="81"/>
                  </a:lnTo>
                  <a:lnTo>
                    <a:pt x="203" y="78"/>
                  </a:lnTo>
                  <a:lnTo>
                    <a:pt x="203" y="76"/>
                  </a:lnTo>
                  <a:lnTo>
                    <a:pt x="205" y="72"/>
                  </a:lnTo>
                  <a:lnTo>
                    <a:pt x="203" y="72"/>
                  </a:lnTo>
                  <a:lnTo>
                    <a:pt x="203" y="72"/>
                  </a:lnTo>
                  <a:lnTo>
                    <a:pt x="199" y="68"/>
                  </a:lnTo>
                  <a:lnTo>
                    <a:pt x="197" y="68"/>
                  </a:lnTo>
                  <a:lnTo>
                    <a:pt x="197" y="64"/>
                  </a:lnTo>
                  <a:lnTo>
                    <a:pt x="194" y="59"/>
                  </a:lnTo>
                  <a:lnTo>
                    <a:pt x="192" y="44"/>
                  </a:lnTo>
                  <a:lnTo>
                    <a:pt x="192" y="44"/>
                  </a:lnTo>
                  <a:lnTo>
                    <a:pt x="192" y="36"/>
                  </a:lnTo>
                  <a:lnTo>
                    <a:pt x="192" y="29"/>
                  </a:lnTo>
                  <a:lnTo>
                    <a:pt x="192" y="29"/>
                  </a:lnTo>
                  <a:lnTo>
                    <a:pt x="190" y="25"/>
                  </a:lnTo>
                  <a:lnTo>
                    <a:pt x="188" y="23"/>
                  </a:lnTo>
                  <a:lnTo>
                    <a:pt x="188" y="19"/>
                  </a:lnTo>
                  <a:lnTo>
                    <a:pt x="186" y="19"/>
                  </a:lnTo>
                  <a:lnTo>
                    <a:pt x="182" y="19"/>
                  </a:lnTo>
                  <a:lnTo>
                    <a:pt x="173" y="17"/>
                  </a:lnTo>
                  <a:lnTo>
                    <a:pt x="171" y="15"/>
                  </a:lnTo>
                  <a:lnTo>
                    <a:pt x="171" y="12"/>
                  </a:lnTo>
                  <a:lnTo>
                    <a:pt x="169" y="12"/>
                  </a:lnTo>
                  <a:lnTo>
                    <a:pt x="169" y="12"/>
                  </a:lnTo>
                  <a:lnTo>
                    <a:pt x="165" y="15"/>
                  </a:lnTo>
                  <a:lnTo>
                    <a:pt x="160" y="15"/>
                  </a:lnTo>
                  <a:lnTo>
                    <a:pt x="154" y="15"/>
                  </a:lnTo>
                  <a:lnTo>
                    <a:pt x="150" y="13"/>
                  </a:lnTo>
                  <a:lnTo>
                    <a:pt x="147" y="17"/>
                  </a:lnTo>
                  <a:lnTo>
                    <a:pt x="141" y="17"/>
                  </a:lnTo>
                  <a:lnTo>
                    <a:pt x="137" y="17"/>
                  </a:lnTo>
                  <a:lnTo>
                    <a:pt x="132" y="12"/>
                  </a:lnTo>
                  <a:lnTo>
                    <a:pt x="132" y="10"/>
                  </a:lnTo>
                  <a:lnTo>
                    <a:pt x="130" y="6"/>
                  </a:lnTo>
                  <a:lnTo>
                    <a:pt x="130" y="4"/>
                  </a:lnTo>
                  <a:lnTo>
                    <a:pt x="132" y="4"/>
                  </a:lnTo>
                  <a:lnTo>
                    <a:pt x="130" y="0"/>
                  </a:lnTo>
                  <a:lnTo>
                    <a:pt x="126" y="4"/>
                  </a:lnTo>
                  <a:lnTo>
                    <a:pt x="124" y="4"/>
                  </a:lnTo>
                  <a:lnTo>
                    <a:pt x="120" y="4"/>
                  </a:lnTo>
                  <a:lnTo>
                    <a:pt x="116" y="8"/>
                  </a:lnTo>
                  <a:lnTo>
                    <a:pt x="116" y="19"/>
                  </a:lnTo>
                  <a:lnTo>
                    <a:pt x="113" y="25"/>
                  </a:lnTo>
                  <a:lnTo>
                    <a:pt x="111" y="30"/>
                  </a:lnTo>
                  <a:lnTo>
                    <a:pt x="111" y="36"/>
                  </a:lnTo>
                  <a:lnTo>
                    <a:pt x="101" y="44"/>
                  </a:lnTo>
                  <a:lnTo>
                    <a:pt x="100" y="44"/>
                  </a:lnTo>
                  <a:lnTo>
                    <a:pt x="96" y="47"/>
                  </a:lnTo>
                  <a:lnTo>
                    <a:pt x="88" y="47"/>
                  </a:lnTo>
                  <a:lnTo>
                    <a:pt x="83" y="53"/>
                  </a:lnTo>
                  <a:lnTo>
                    <a:pt x="83" y="53"/>
                  </a:lnTo>
                  <a:lnTo>
                    <a:pt x="75" y="59"/>
                  </a:lnTo>
                  <a:lnTo>
                    <a:pt x="69" y="61"/>
                  </a:lnTo>
                  <a:lnTo>
                    <a:pt x="68" y="64"/>
                  </a:lnTo>
                  <a:lnTo>
                    <a:pt x="60" y="68"/>
                  </a:lnTo>
                  <a:lnTo>
                    <a:pt x="64" y="76"/>
                  </a:lnTo>
                  <a:lnTo>
                    <a:pt x="62" y="81"/>
                  </a:lnTo>
                  <a:lnTo>
                    <a:pt x="54" y="87"/>
                  </a:lnTo>
                  <a:lnTo>
                    <a:pt x="49" y="96"/>
                  </a:lnTo>
                  <a:lnTo>
                    <a:pt x="49" y="100"/>
                  </a:lnTo>
                  <a:lnTo>
                    <a:pt x="52" y="108"/>
                  </a:lnTo>
                  <a:lnTo>
                    <a:pt x="51" y="115"/>
                  </a:lnTo>
                  <a:lnTo>
                    <a:pt x="52" y="117"/>
                  </a:lnTo>
                  <a:lnTo>
                    <a:pt x="54" y="117"/>
                  </a:lnTo>
                  <a:lnTo>
                    <a:pt x="52" y="123"/>
                  </a:lnTo>
                  <a:lnTo>
                    <a:pt x="39" y="136"/>
                  </a:lnTo>
                  <a:lnTo>
                    <a:pt x="39" y="140"/>
                  </a:lnTo>
                  <a:lnTo>
                    <a:pt x="36" y="147"/>
                  </a:lnTo>
                  <a:lnTo>
                    <a:pt x="28" y="147"/>
                  </a:lnTo>
                  <a:lnTo>
                    <a:pt x="15" y="160"/>
                  </a:lnTo>
                  <a:lnTo>
                    <a:pt x="0" y="168"/>
                  </a:lnTo>
                  <a:lnTo>
                    <a:pt x="68" y="177"/>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8" name="Freeform 31">
              <a:extLst>
                <a:ext uri="{FF2B5EF4-FFF2-40B4-BE49-F238E27FC236}">
                  <a16:creationId xmlns:a16="http://schemas.microsoft.com/office/drawing/2014/main" id="{43AD7A32-C578-42B3-B670-744C01E8D186}"/>
                </a:ext>
              </a:extLst>
            </p:cNvPr>
            <p:cNvSpPr>
              <a:spLocks/>
            </p:cNvSpPr>
            <p:nvPr/>
          </p:nvSpPr>
          <p:spPr bwMode="auto">
            <a:xfrm>
              <a:off x="2559" y="2404"/>
              <a:ext cx="205" cy="177"/>
            </a:xfrm>
            <a:custGeom>
              <a:avLst/>
              <a:gdLst/>
              <a:ahLst/>
              <a:cxnLst>
                <a:cxn ang="0">
                  <a:pos x="68" y="168"/>
                </a:cxn>
                <a:cxn ang="0">
                  <a:pos x="68" y="168"/>
                </a:cxn>
                <a:cxn ang="0">
                  <a:pos x="77" y="147"/>
                </a:cxn>
                <a:cxn ang="0">
                  <a:pos x="86" y="140"/>
                </a:cxn>
                <a:cxn ang="0">
                  <a:pos x="100" y="136"/>
                </a:cxn>
                <a:cxn ang="0">
                  <a:pos x="111" y="136"/>
                </a:cxn>
                <a:cxn ang="0">
                  <a:pos x="132" y="126"/>
                </a:cxn>
                <a:cxn ang="0">
                  <a:pos x="164" y="106"/>
                </a:cxn>
                <a:cxn ang="0">
                  <a:pos x="165" y="96"/>
                </a:cxn>
                <a:cxn ang="0">
                  <a:pos x="171" y="91"/>
                </a:cxn>
                <a:cxn ang="0">
                  <a:pos x="179" y="81"/>
                </a:cxn>
                <a:cxn ang="0">
                  <a:pos x="203" y="78"/>
                </a:cxn>
                <a:cxn ang="0">
                  <a:pos x="205" y="72"/>
                </a:cxn>
                <a:cxn ang="0">
                  <a:pos x="203" y="72"/>
                </a:cxn>
                <a:cxn ang="0">
                  <a:pos x="197" y="68"/>
                </a:cxn>
                <a:cxn ang="0">
                  <a:pos x="194" y="59"/>
                </a:cxn>
                <a:cxn ang="0">
                  <a:pos x="192" y="44"/>
                </a:cxn>
                <a:cxn ang="0">
                  <a:pos x="192" y="29"/>
                </a:cxn>
                <a:cxn ang="0">
                  <a:pos x="190" y="25"/>
                </a:cxn>
                <a:cxn ang="0">
                  <a:pos x="188" y="19"/>
                </a:cxn>
                <a:cxn ang="0">
                  <a:pos x="182" y="19"/>
                </a:cxn>
                <a:cxn ang="0">
                  <a:pos x="171" y="15"/>
                </a:cxn>
                <a:cxn ang="0">
                  <a:pos x="169" y="12"/>
                </a:cxn>
                <a:cxn ang="0">
                  <a:pos x="165" y="15"/>
                </a:cxn>
                <a:cxn ang="0">
                  <a:pos x="154" y="15"/>
                </a:cxn>
                <a:cxn ang="0">
                  <a:pos x="147" y="17"/>
                </a:cxn>
                <a:cxn ang="0">
                  <a:pos x="137" y="17"/>
                </a:cxn>
                <a:cxn ang="0">
                  <a:pos x="132" y="10"/>
                </a:cxn>
                <a:cxn ang="0">
                  <a:pos x="130" y="4"/>
                </a:cxn>
                <a:cxn ang="0">
                  <a:pos x="130" y="0"/>
                </a:cxn>
                <a:cxn ang="0">
                  <a:pos x="124" y="4"/>
                </a:cxn>
                <a:cxn ang="0">
                  <a:pos x="116" y="8"/>
                </a:cxn>
                <a:cxn ang="0">
                  <a:pos x="113" y="25"/>
                </a:cxn>
                <a:cxn ang="0">
                  <a:pos x="111" y="36"/>
                </a:cxn>
                <a:cxn ang="0">
                  <a:pos x="100" y="44"/>
                </a:cxn>
                <a:cxn ang="0">
                  <a:pos x="88" y="47"/>
                </a:cxn>
                <a:cxn ang="0">
                  <a:pos x="83" y="53"/>
                </a:cxn>
                <a:cxn ang="0">
                  <a:pos x="69" y="61"/>
                </a:cxn>
                <a:cxn ang="0">
                  <a:pos x="60" y="68"/>
                </a:cxn>
                <a:cxn ang="0">
                  <a:pos x="62" y="81"/>
                </a:cxn>
                <a:cxn ang="0">
                  <a:pos x="49" y="96"/>
                </a:cxn>
                <a:cxn ang="0">
                  <a:pos x="52" y="108"/>
                </a:cxn>
                <a:cxn ang="0">
                  <a:pos x="52" y="117"/>
                </a:cxn>
                <a:cxn ang="0">
                  <a:pos x="52" y="123"/>
                </a:cxn>
                <a:cxn ang="0">
                  <a:pos x="39" y="140"/>
                </a:cxn>
                <a:cxn ang="0">
                  <a:pos x="28" y="147"/>
                </a:cxn>
                <a:cxn ang="0">
                  <a:pos x="0" y="168"/>
                </a:cxn>
              </a:cxnLst>
              <a:rect l="0" t="0" r="r" b="b"/>
              <a:pathLst>
                <a:path w="205" h="177">
                  <a:moveTo>
                    <a:pt x="68" y="177"/>
                  </a:moveTo>
                  <a:lnTo>
                    <a:pt x="68" y="168"/>
                  </a:lnTo>
                  <a:lnTo>
                    <a:pt x="68" y="168"/>
                  </a:lnTo>
                  <a:lnTo>
                    <a:pt x="68" y="168"/>
                  </a:lnTo>
                  <a:lnTo>
                    <a:pt x="68" y="155"/>
                  </a:lnTo>
                  <a:lnTo>
                    <a:pt x="77" y="147"/>
                  </a:lnTo>
                  <a:lnTo>
                    <a:pt x="81" y="142"/>
                  </a:lnTo>
                  <a:lnTo>
                    <a:pt x="86" y="140"/>
                  </a:lnTo>
                  <a:lnTo>
                    <a:pt x="94" y="136"/>
                  </a:lnTo>
                  <a:lnTo>
                    <a:pt x="100" y="136"/>
                  </a:lnTo>
                  <a:lnTo>
                    <a:pt x="103" y="136"/>
                  </a:lnTo>
                  <a:lnTo>
                    <a:pt x="111" y="136"/>
                  </a:lnTo>
                  <a:lnTo>
                    <a:pt x="116" y="136"/>
                  </a:lnTo>
                  <a:lnTo>
                    <a:pt x="132" y="126"/>
                  </a:lnTo>
                  <a:lnTo>
                    <a:pt x="150" y="115"/>
                  </a:lnTo>
                  <a:lnTo>
                    <a:pt x="164" y="106"/>
                  </a:lnTo>
                  <a:lnTo>
                    <a:pt x="165" y="102"/>
                  </a:lnTo>
                  <a:lnTo>
                    <a:pt x="165" y="96"/>
                  </a:lnTo>
                  <a:lnTo>
                    <a:pt x="167" y="93"/>
                  </a:lnTo>
                  <a:lnTo>
                    <a:pt x="171" y="91"/>
                  </a:lnTo>
                  <a:lnTo>
                    <a:pt x="175" y="83"/>
                  </a:lnTo>
                  <a:lnTo>
                    <a:pt x="179" y="81"/>
                  </a:lnTo>
                  <a:lnTo>
                    <a:pt x="203" y="81"/>
                  </a:lnTo>
                  <a:lnTo>
                    <a:pt x="203" y="78"/>
                  </a:lnTo>
                  <a:lnTo>
                    <a:pt x="203" y="76"/>
                  </a:lnTo>
                  <a:lnTo>
                    <a:pt x="205" y="72"/>
                  </a:lnTo>
                  <a:lnTo>
                    <a:pt x="203" y="72"/>
                  </a:lnTo>
                  <a:lnTo>
                    <a:pt x="203" y="72"/>
                  </a:lnTo>
                  <a:lnTo>
                    <a:pt x="199" y="68"/>
                  </a:lnTo>
                  <a:lnTo>
                    <a:pt x="197" y="68"/>
                  </a:lnTo>
                  <a:lnTo>
                    <a:pt x="197" y="64"/>
                  </a:lnTo>
                  <a:lnTo>
                    <a:pt x="194" y="59"/>
                  </a:lnTo>
                  <a:lnTo>
                    <a:pt x="192" y="44"/>
                  </a:lnTo>
                  <a:lnTo>
                    <a:pt x="192" y="44"/>
                  </a:lnTo>
                  <a:lnTo>
                    <a:pt x="192" y="36"/>
                  </a:lnTo>
                  <a:lnTo>
                    <a:pt x="192" y="29"/>
                  </a:lnTo>
                  <a:lnTo>
                    <a:pt x="192" y="29"/>
                  </a:lnTo>
                  <a:lnTo>
                    <a:pt x="190" y="25"/>
                  </a:lnTo>
                  <a:lnTo>
                    <a:pt x="188" y="23"/>
                  </a:lnTo>
                  <a:lnTo>
                    <a:pt x="188" y="19"/>
                  </a:lnTo>
                  <a:lnTo>
                    <a:pt x="186" y="19"/>
                  </a:lnTo>
                  <a:lnTo>
                    <a:pt x="182" y="19"/>
                  </a:lnTo>
                  <a:lnTo>
                    <a:pt x="173" y="17"/>
                  </a:lnTo>
                  <a:lnTo>
                    <a:pt x="171" y="15"/>
                  </a:lnTo>
                  <a:lnTo>
                    <a:pt x="171" y="12"/>
                  </a:lnTo>
                  <a:lnTo>
                    <a:pt x="169" y="12"/>
                  </a:lnTo>
                  <a:lnTo>
                    <a:pt x="169" y="12"/>
                  </a:lnTo>
                  <a:lnTo>
                    <a:pt x="165" y="15"/>
                  </a:lnTo>
                  <a:lnTo>
                    <a:pt x="160" y="15"/>
                  </a:lnTo>
                  <a:lnTo>
                    <a:pt x="154" y="15"/>
                  </a:lnTo>
                  <a:lnTo>
                    <a:pt x="150" y="13"/>
                  </a:lnTo>
                  <a:lnTo>
                    <a:pt x="147" y="17"/>
                  </a:lnTo>
                  <a:lnTo>
                    <a:pt x="141" y="17"/>
                  </a:lnTo>
                  <a:lnTo>
                    <a:pt x="137" y="17"/>
                  </a:lnTo>
                  <a:lnTo>
                    <a:pt x="132" y="12"/>
                  </a:lnTo>
                  <a:lnTo>
                    <a:pt x="132" y="10"/>
                  </a:lnTo>
                  <a:lnTo>
                    <a:pt x="130" y="6"/>
                  </a:lnTo>
                  <a:lnTo>
                    <a:pt x="130" y="4"/>
                  </a:lnTo>
                  <a:lnTo>
                    <a:pt x="132" y="4"/>
                  </a:lnTo>
                  <a:lnTo>
                    <a:pt x="130" y="0"/>
                  </a:lnTo>
                  <a:lnTo>
                    <a:pt x="126" y="4"/>
                  </a:lnTo>
                  <a:lnTo>
                    <a:pt x="124" y="4"/>
                  </a:lnTo>
                  <a:lnTo>
                    <a:pt x="120" y="4"/>
                  </a:lnTo>
                  <a:lnTo>
                    <a:pt x="116" y="8"/>
                  </a:lnTo>
                  <a:lnTo>
                    <a:pt x="116" y="19"/>
                  </a:lnTo>
                  <a:lnTo>
                    <a:pt x="113" y="25"/>
                  </a:lnTo>
                  <a:lnTo>
                    <a:pt x="111" y="30"/>
                  </a:lnTo>
                  <a:lnTo>
                    <a:pt x="111" y="36"/>
                  </a:lnTo>
                  <a:lnTo>
                    <a:pt x="101" y="44"/>
                  </a:lnTo>
                  <a:lnTo>
                    <a:pt x="100" y="44"/>
                  </a:lnTo>
                  <a:lnTo>
                    <a:pt x="96" y="47"/>
                  </a:lnTo>
                  <a:lnTo>
                    <a:pt x="88" y="47"/>
                  </a:lnTo>
                  <a:lnTo>
                    <a:pt x="83" y="53"/>
                  </a:lnTo>
                  <a:lnTo>
                    <a:pt x="83" y="53"/>
                  </a:lnTo>
                  <a:lnTo>
                    <a:pt x="75" y="59"/>
                  </a:lnTo>
                  <a:lnTo>
                    <a:pt x="69" y="61"/>
                  </a:lnTo>
                  <a:lnTo>
                    <a:pt x="68" y="64"/>
                  </a:lnTo>
                  <a:lnTo>
                    <a:pt x="60" y="68"/>
                  </a:lnTo>
                  <a:lnTo>
                    <a:pt x="64" y="76"/>
                  </a:lnTo>
                  <a:lnTo>
                    <a:pt x="62" y="81"/>
                  </a:lnTo>
                  <a:lnTo>
                    <a:pt x="54" y="87"/>
                  </a:lnTo>
                  <a:lnTo>
                    <a:pt x="49" y="96"/>
                  </a:lnTo>
                  <a:lnTo>
                    <a:pt x="49" y="100"/>
                  </a:lnTo>
                  <a:lnTo>
                    <a:pt x="52" y="108"/>
                  </a:lnTo>
                  <a:lnTo>
                    <a:pt x="51" y="115"/>
                  </a:lnTo>
                  <a:lnTo>
                    <a:pt x="52" y="117"/>
                  </a:lnTo>
                  <a:lnTo>
                    <a:pt x="54" y="117"/>
                  </a:lnTo>
                  <a:lnTo>
                    <a:pt x="52" y="123"/>
                  </a:lnTo>
                  <a:lnTo>
                    <a:pt x="39" y="136"/>
                  </a:lnTo>
                  <a:lnTo>
                    <a:pt x="39" y="140"/>
                  </a:lnTo>
                  <a:lnTo>
                    <a:pt x="36" y="147"/>
                  </a:lnTo>
                  <a:lnTo>
                    <a:pt x="28" y="147"/>
                  </a:lnTo>
                  <a:lnTo>
                    <a:pt x="15" y="160"/>
                  </a:lnTo>
                  <a:lnTo>
                    <a:pt x="0" y="168"/>
                  </a:lnTo>
                </a:path>
              </a:pathLst>
            </a:cu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9" name="Line 32">
              <a:extLst>
                <a:ext uri="{FF2B5EF4-FFF2-40B4-BE49-F238E27FC236}">
                  <a16:creationId xmlns:a16="http://schemas.microsoft.com/office/drawing/2014/main" id="{D6CC3553-3406-42F3-A005-1391A15A733B}"/>
                </a:ext>
              </a:extLst>
            </p:cNvPr>
            <p:cNvSpPr>
              <a:spLocks noChangeShapeType="1"/>
            </p:cNvSpPr>
            <p:nvPr/>
          </p:nvSpPr>
          <p:spPr bwMode="auto">
            <a:xfrm>
              <a:off x="2627" y="2579"/>
              <a:ext cx="1" cy="1"/>
            </a:xfrm>
            <a:prstGeom prst="line">
              <a:avLst/>
            </a:pr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0" name="Line 33">
              <a:extLst>
                <a:ext uri="{FF2B5EF4-FFF2-40B4-BE49-F238E27FC236}">
                  <a16:creationId xmlns:a16="http://schemas.microsoft.com/office/drawing/2014/main" id="{E746E63B-40E1-4E3B-BFB1-350F998C4769}"/>
                </a:ext>
              </a:extLst>
            </p:cNvPr>
            <p:cNvSpPr>
              <a:spLocks noChangeShapeType="1"/>
            </p:cNvSpPr>
            <p:nvPr/>
          </p:nvSpPr>
          <p:spPr bwMode="auto">
            <a:xfrm>
              <a:off x="2627" y="2579"/>
              <a:ext cx="1" cy="1"/>
            </a:xfrm>
            <a:prstGeom prst="line">
              <a:avLst/>
            </a:pr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1" name="Freeform 34">
              <a:extLst>
                <a:ext uri="{FF2B5EF4-FFF2-40B4-BE49-F238E27FC236}">
                  <a16:creationId xmlns:a16="http://schemas.microsoft.com/office/drawing/2014/main" id="{37645D5A-1BBE-420F-9A9C-7885B4C2A2B4}"/>
                </a:ext>
              </a:extLst>
            </p:cNvPr>
            <p:cNvSpPr>
              <a:spLocks/>
            </p:cNvSpPr>
            <p:nvPr/>
          </p:nvSpPr>
          <p:spPr bwMode="auto">
            <a:xfrm>
              <a:off x="2474" y="2566"/>
              <a:ext cx="153" cy="136"/>
            </a:xfrm>
            <a:custGeom>
              <a:avLst/>
              <a:gdLst/>
              <a:ahLst/>
              <a:cxnLst>
                <a:cxn ang="0">
                  <a:pos x="85" y="0"/>
                </a:cxn>
                <a:cxn ang="0">
                  <a:pos x="70" y="19"/>
                </a:cxn>
                <a:cxn ang="0">
                  <a:pos x="70" y="25"/>
                </a:cxn>
                <a:cxn ang="0">
                  <a:pos x="66" y="25"/>
                </a:cxn>
                <a:cxn ang="0">
                  <a:pos x="53" y="34"/>
                </a:cxn>
                <a:cxn ang="0">
                  <a:pos x="53" y="38"/>
                </a:cxn>
                <a:cxn ang="0">
                  <a:pos x="49" y="38"/>
                </a:cxn>
                <a:cxn ang="0">
                  <a:pos x="49" y="44"/>
                </a:cxn>
                <a:cxn ang="0">
                  <a:pos x="38" y="61"/>
                </a:cxn>
                <a:cxn ang="0">
                  <a:pos x="38" y="66"/>
                </a:cxn>
                <a:cxn ang="0">
                  <a:pos x="28" y="76"/>
                </a:cxn>
                <a:cxn ang="0">
                  <a:pos x="25" y="76"/>
                </a:cxn>
                <a:cxn ang="0">
                  <a:pos x="23" y="85"/>
                </a:cxn>
                <a:cxn ang="0">
                  <a:pos x="23" y="89"/>
                </a:cxn>
                <a:cxn ang="0">
                  <a:pos x="15" y="100"/>
                </a:cxn>
                <a:cxn ang="0">
                  <a:pos x="15" y="102"/>
                </a:cxn>
                <a:cxn ang="0">
                  <a:pos x="15" y="104"/>
                </a:cxn>
                <a:cxn ang="0">
                  <a:pos x="13" y="104"/>
                </a:cxn>
                <a:cxn ang="0">
                  <a:pos x="8" y="115"/>
                </a:cxn>
                <a:cxn ang="0">
                  <a:pos x="4" y="117"/>
                </a:cxn>
                <a:cxn ang="0">
                  <a:pos x="2" y="119"/>
                </a:cxn>
                <a:cxn ang="0">
                  <a:pos x="2" y="125"/>
                </a:cxn>
                <a:cxn ang="0">
                  <a:pos x="0" y="126"/>
                </a:cxn>
                <a:cxn ang="0">
                  <a:pos x="0" y="136"/>
                </a:cxn>
                <a:cxn ang="0">
                  <a:pos x="73" y="134"/>
                </a:cxn>
                <a:cxn ang="0">
                  <a:pos x="73" y="98"/>
                </a:cxn>
                <a:cxn ang="0">
                  <a:pos x="77" y="94"/>
                </a:cxn>
                <a:cxn ang="0">
                  <a:pos x="79" y="91"/>
                </a:cxn>
                <a:cxn ang="0">
                  <a:pos x="85" y="89"/>
                </a:cxn>
                <a:cxn ang="0">
                  <a:pos x="92" y="89"/>
                </a:cxn>
                <a:cxn ang="0">
                  <a:pos x="92" y="40"/>
                </a:cxn>
                <a:cxn ang="0">
                  <a:pos x="151" y="40"/>
                </a:cxn>
                <a:cxn ang="0">
                  <a:pos x="153" y="15"/>
                </a:cxn>
                <a:cxn ang="0">
                  <a:pos x="85" y="0"/>
                </a:cxn>
              </a:cxnLst>
              <a:rect l="0" t="0" r="r" b="b"/>
              <a:pathLst>
                <a:path w="153" h="136">
                  <a:moveTo>
                    <a:pt x="85" y="0"/>
                  </a:moveTo>
                  <a:lnTo>
                    <a:pt x="70" y="19"/>
                  </a:lnTo>
                  <a:lnTo>
                    <a:pt x="70" y="25"/>
                  </a:lnTo>
                  <a:lnTo>
                    <a:pt x="66" y="25"/>
                  </a:lnTo>
                  <a:lnTo>
                    <a:pt x="53" y="34"/>
                  </a:lnTo>
                  <a:lnTo>
                    <a:pt x="53" y="38"/>
                  </a:lnTo>
                  <a:lnTo>
                    <a:pt x="49" y="38"/>
                  </a:lnTo>
                  <a:lnTo>
                    <a:pt x="49" y="44"/>
                  </a:lnTo>
                  <a:lnTo>
                    <a:pt x="38" y="61"/>
                  </a:lnTo>
                  <a:lnTo>
                    <a:pt x="38" y="66"/>
                  </a:lnTo>
                  <a:lnTo>
                    <a:pt x="28" y="76"/>
                  </a:lnTo>
                  <a:lnTo>
                    <a:pt x="25" y="76"/>
                  </a:lnTo>
                  <a:lnTo>
                    <a:pt x="23" y="85"/>
                  </a:lnTo>
                  <a:lnTo>
                    <a:pt x="23" y="89"/>
                  </a:lnTo>
                  <a:lnTo>
                    <a:pt x="15" y="100"/>
                  </a:lnTo>
                  <a:lnTo>
                    <a:pt x="15" y="102"/>
                  </a:lnTo>
                  <a:lnTo>
                    <a:pt x="15" y="104"/>
                  </a:lnTo>
                  <a:lnTo>
                    <a:pt x="13" y="104"/>
                  </a:lnTo>
                  <a:lnTo>
                    <a:pt x="8" y="115"/>
                  </a:lnTo>
                  <a:lnTo>
                    <a:pt x="4" y="117"/>
                  </a:lnTo>
                  <a:lnTo>
                    <a:pt x="2" y="119"/>
                  </a:lnTo>
                  <a:lnTo>
                    <a:pt x="2" y="125"/>
                  </a:lnTo>
                  <a:lnTo>
                    <a:pt x="0" y="126"/>
                  </a:lnTo>
                  <a:lnTo>
                    <a:pt x="0" y="136"/>
                  </a:lnTo>
                  <a:lnTo>
                    <a:pt x="73" y="134"/>
                  </a:lnTo>
                  <a:lnTo>
                    <a:pt x="73" y="98"/>
                  </a:lnTo>
                  <a:lnTo>
                    <a:pt x="77" y="94"/>
                  </a:lnTo>
                  <a:lnTo>
                    <a:pt x="79" y="91"/>
                  </a:lnTo>
                  <a:lnTo>
                    <a:pt x="85" y="89"/>
                  </a:lnTo>
                  <a:lnTo>
                    <a:pt x="92" y="89"/>
                  </a:lnTo>
                  <a:lnTo>
                    <a:pt x="92" y="40"/>
                  </a:lnTo>
                  <a:lnTo>
                    <a:pt x="151" y="40"/>
                  </a:lnTo>
                  <a:lnTo>
                    <a:pt x="153" y="15"/>
                  </a:lnTo>
                  <a:lnTo>
                    <a:pt x="85" y="0"/>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2" name="Freeform 35">
              <a:extLst>
                <a:ext uri="{FF2B5EF4-FFF2-40B4-BE49-F238E27FC236}">
                  <a16:creationId xmlns:a16="http://schemas.microsoft.com/office/drawing/2014/main" id="{5A71A1ED-1F5E-4B7E-B967-A165F5210FB0}"/>
                </a:ext>
              </a:extLst>
            </p:cNvPr>
            <p:cNvSpPr>
              <a:spLocks/>
            </p:cNvSpPr>
            <p:nvPr/>
          </p:nvSpPr>
          <p:spPr bwMode="auto">
            <a:xfrm>
              <a:off x="2474" y="2566"/>
              <a:ext cx="153" cy="136"/>
            </a:xfrm>
            <a:custGeom>
              <a:avLst/>
              <a:gdLst/>
              <a:ahLst/>
              <a:cxnLst>
                <a:cxn ang="0">
                  <a:pos x="85" y="0"/>
                </a:cxn>
                <a:cxn ang="0">
                  <a:pos x="70" y="19"/>
                </a:cxn>
                <a:cxn ang="0">
                  <a:pos x="70" y="25"/>
                </a:cxn>
                <a:cxn ang="0">
                  <a:pos x="66" y="25"/>
                </a:cxn>
                <a:cxn ang="0">
                  <a:pos x="53" y="34"/>
                </a:cxn>
                <a:cxn ang="0">
                  <a:pos x="53" y="38"/>
                </a:cxn>
                <a:cxn ang="0">
                  <a:pos x="49" y="38"/>
                </a:cxn>
                <a:cxn ang="0">
                  <a:pos x="49" y="44"/>
                </a:cxn>
                <a:cxn ang="0">
                  <a:pos x="38" y="61"/>
                </a:cxn>
                <a:cxn ang="0">
                  <a:pos x="38" y="66"/>
                </a:cxn>
                <a:cxn ang="0">
                  <a:pos x="28" y="76"/>
                </a:cxn>
                <a:cxn ang="0">
                  <a:pos x="25" y="76"/>
                </a:cxn>
                <a:cxn ang="0">
                  <a:pos x="23" y="85"/>
                </a:cxn>
                <a:cxn ang="0">
                  <a:pos x="23" y="89"/>
                </a:cxn>
                <a:cxn ang="0">
                  <a:pos x="15" y="100"/>
                </a:cxn>
                <a:cxn ang="0">
                  <a:pos x="15" y="102"/>
                </a:cxn>
                <a:cxn ang="0">
                  <a:pos x="15" y="104"/>
                </a:cxn>
                <a:cxn ang="0">
                  <a:pos x="13" y="104"/>
                </a:cxn>
                <a:cxn ang="0">
                  <a:pos x="8" y="115"/>
                </a:cxn>
                <a:cxn ang="0">
                  <a:pos x="4" y="117"/>
                </a:cxn>
                <a:cxn ang="0">
                  <a:pos x="2" y="119"/>
                </a:cxn>
                <a:cxn ang="0">
                  <a:pos x="2" y="125"/>
                </a:cxn>
                <a:cxn ang="0">
                  <a:pos x="0" y="126"/>
                </a:cxn>
                <a:cxn ang="0">
                  <a:pos x="0" y="136"/>
                </a:cxn>
                <a:cxn ang="0">
                  <a:pos x="73" y="134"/>
                </a:cxn>
                <a:cxn ang="0">
                  <a:pos x="73" y="98"/>
                </a:cxn>
                <a:cxn ang="0">
                  <a:pos x="77" y="94"/>
                </a:cxn>
                <a:cxn ang="0">
                  <a:pos x="79" y="91"/>
                </a:cxn>
                <a:cxn ang="0">
                  <a:pos x="85" y="89"/>
                </a:cxn>
                <a:cxn ang="0">
                  <a:pos x="92" y="89"/>
                </a:cxn>
                <a:cxn ang="0">
                  <a:pos x="92" y="40"/>
                </a:cxn>
                <a:cxn ang="0">
                  <a:pos x="151" y="40"/>
                </a:cxn>
                <a:cxn ang="0">
                  <a:pos x="153" y="15"/>
                </a:cxn>
              </a:cxnLst>
              <a:rect l="0" t="0" r="r" b="b"/>
              <a:pathLst>
                <a:path w="153" h="136">
                  <a:moveTo>
                    <a:pt x="85" y="0"/>
                  </a:moveTo>
                  <a:lnTo>
                    <a:pt x="70" y="19"/>
                  </a:lnTo>
                  <a:lnTo>
                    <a:pt x="70" y="25"/>
                  </a:lnTo>
                  <a:lnTo>
                    <a:pt x="66" y="25"/>
                  </a:lnTo>
                  <a:lnTo>
                    <a:pt x="53" y="34"/>
                  </a:lnTo>
                  <a:lnTo>
                    <a:pt x="53" y="38"/>
                  </a:lnTo>
                  <a:lnTo>
                    <a:pt x="49" y="38"/>
                  </a:lnTo>
                  <a:lnTo>
                    <a:pt x="49" y="44"/>
                  </a:lnTo>
                  <a:lnTo>
                    <a:pt x="38" y="61"/>
                  </a:lnTo>
                  <a:lnTo>
                    <a:pt x="38" y="66"/>
                  </a:lnTo>
                  <a:lnTo>
                    <a:pt x="28" y="76"/>
                  </a:lnTo>
                  <a:lnTo>
                    <a:pt x="25" y="76"/>
                  </a:lnTo>
                  <a:lnTo>
                    <a:pt x="23" y="85"/>
                  </a:lnTo>
                  <a:lnTo>
                    <a:pt x="23" y="89"/>
                  </a:lnTo>
                  <a:lnTo>
                    <a:pt x="15" y="100"/>
                  </a:lnTo>
                  <a:lnTo>
                    <a:pt x="15" y="102"/>
                  </a:lnTo>
                  <a:lnTo>
                    <a:pt x="15" y="104"/>
                  </a:lnTo>
                  <a:lnTo>
                    <a:pt x="13" y="104"/>
                  </a:lnTo>
                  <a:lnTo>
                    <a:pt x="8" y="115"/>
                  </a:lnTo>
                  <a:lnTo>
                    <a:pt x="4" y="117"/>
                  </a:lnTo>
                  <a:lnTo>
                    <a:pt x="2" y="119"/>
                  </a:lnTo>
                  <a:lnTo>
                    <a:pt x="2" y="125"/>
                  </a:lnTo>
                  <a:lnTo>
                    <a:pt x="0" y="126"/>
                  </a:lnTo>
                  <a:lnTo>
                    <a:pt x="0" y="136"/>
                  </a:lnTo>
                  <a:lnTo>
                    <a:pt x="73" y="134"/>
                  </a:lnTo>
                  <a:lnTo>
                    <a:pt x="73" y="98"/>
                  </a:lnTo>
                  <a:lnTo>
                    <a:pt x="77" y="94"/>
                  </a:lnTo>
                  <a:lnTo>
                    <a:pt x="79" y="91"/>
                  </a:lnTo>
                  <a:lnTo>
                    <a:pt x="85" y="89"/>
                  </a:lnTo>
                  <a:lnTo>
                    <a:pt x="92" y="89"/>
                  </a:lnTo>
                  <a:lnTo>
                    <a:pt x="92" y="40"/>
                  </a:lnTo>
                  <a:lnTo>
                    <a:pt x="151" y="40"/>
                  </a:lnTo>
                  <a:lnTo>
                    <a:pt x="153" y="15"/>
                  </a:lnTo>
                </a:path>
              </a:pathLst>
            </a:cu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3" name="Freeform 36">
              <a:extLst>
                <a:ext uri="{FF2B5EF4-FFF2-40B4-BE49-F238E27FC236}">
                  <a16:creationId xmlns:a16="http://schemas.microsoft.com/office/drawing/2014/main" id="{F8DEF027-46AA-4AA8-9BFF-CC9470D00809}"/>
                </a:ext>
              </a:extLst>
            </p:cNvPr>
            <p:cNvSpPr>
              <a:spLocks/>
            </p:cNvSpPr>
            <p:nvPr/>
          </p:nvSpPr>
          <p:spPr bwMode="auto">
            <a:xfrm>
              <a:off x="3408" y="2480"/>
              <a:ext cx="384" cy="322"/>
            </a:xfrm>
            <a:custGeom>
              <a:avLst/>
              <a:gdLst/>
              <a:ahLst/>
              <a:cxnLst>
                <a:cxn ang="0">
                  <a:pos x="233" y="67"/>
                </a:cxn>
                <a:cxn ang="0">
                  <a:pos x="92" y="3"/>
                </a:cxn>
                <a:cxn ang="0">
                  <a:pos x="41" y="15"/>
                </a:cxn>
                <a:cxn ang="0">
                  <a:pos x="54" y="52"/>
                </a:cxn>
                <a:cxn ang="0">
                  <a:pos x="7" y="62"/>
                </a:cxn>
                <a:cxn ang="0">
                  <a:pos x="0" y="77"/>
                </a:cxn>
                <a:cxn ang="0">
                  <a:pos x="2" y="83"/>
                </a:cxn>
                <a:cxn ang="0">
                  <a:pos x="9" y="84"/>
                </a:cxn>
                <a:cxn ang="0">
                  <a:pos x="17" y="98"/>
                </a:cxn>
                <a:cxn ang="0">
                  <a:pos x="24" y="105"/>
                </a:cxn>
                <a:cxn ang="0">
                  <a:pos x="32" y="118"/>
                </a:cxn>
                <a:cxn ang="0">
                  <a:pos x="35" y="126"/>
                </a:cxn>
                <a:cxn ang="0">
                  <a:pos x="47" y="139"/>
                </a:cxn>
                <a:cxn ang="0">
                  <a:pos x="49" y="150"/>
                </a:cxn>
                <a:cxn ang="0">
                  <a:pos x="54" y="160"/>
                </a:cxn>
                <a:cxn ang="0">
                  <a:pos x="62" y="160"/>
                </a:cxn>
                <a:cxn ang="0">
                  <a:pos x="75" y="171"/>
                </a:cxn>
                <a:cxn ang="0">
                  <a:pos x="79" y="179"/>
                </a:cxn>
                <a:cxn ang="0">
                  <a:pos x="84" y="194"/>
                </a:cxn>
                <a:cxn ang="0">
                  <a:pos x="81" y="203"/>
                </a:cxn>
                <a:cxn ang="0">
                  <a:pos x="86" y="220"/>
                </a:cxn>
                <a:cxn ang="0">
                  <a:pos x="99" y="235"/>
                </a:cxn>
                <a:cxn ang="0">
                  <a:pos x="109" y="241"/>
                </a:cxn>
                <a:cxn ang="0">
                  <a:pos x="118" y="248"/>
                </a:cxn>
                <a:cxn ang="0">
                  <a:pos x="122" y="252"/>
                </a:cxn>
                <a:cxn ang="0">
                  <a:pos x="130" y="275"/>
                </a:cxn>
                <a:cxn ang="0">
                  <a:pos x="148" y="297"/>
                </a:cxn>
                <a:cxn ang="0">
                  <a:pos x="162" y="307"/>
                </a:cxn>
                <a:cxn ang="0">
                  <a:pos x="169" y="303"/>
                </a:cxn>
                <a:cxn ang="0">
                  <a:pos x="175" y="286"/>
                </a:cxn>
                <a:cxn ang="0">
                  <a:pos x="207" y="297"/>
                </a:cxn>
                <a:cxn ang="0">
                  <a:pos x="258" y="277"/>
                </a:cxn>
                <a:cxn ang="0">
                  <a:pos x="380" y="184"/>
                </a:cxn>
                <a:cxn ang="0">
                  <a:pos x="318" y="184"/>
                </a:cxn>
                <a:cxn ang="0">
                  <a:pos x="310" y="156"/>
                </a:cxn>
                <a:cxn ang="0">
                  <a:pos x="307" y="154"/>
                </a:cxn>
                <a:cxn ang="0">
                  <a:pos x="307" y="150"/>
                </a:cxn>
                <a:cxn ang="0">
                  <a:pos x="297" y="147"/>
                </a:cxn>
                <a:cxn ang="0">
                  <a:pos x="291" y="141"/>
                </a:cxn>
                <a:cxn ang="0">
                  <a:pos x="280" y="120"/>
                </a:cxn>
                <a:cxn ang="0">
                  <a:pos x="278" y="111"/>
                </a:cxn>
                <a:cxn ang="0">
                  <a:pos x="273" y="105"/>
                </a:cxn>
                <a:cxn ang="0">
                  <a:pos x="263" y="92"/>
                </a:cxn>
                <a:cxn ang="0">
                  <a:pos x="267" y="92"/>
                </a:cxn>
                <a:cxn ang="0">
                  <a:pos x="256" y="88"/>
                </a:cxn>
                <a:cxn ang="0">
                  <a:pos x="248" y="73"/>
                </a:cxn>
                <a:cxn ang="0">
                  <a:pos x="246" y="69"/>
                </a:cxn>
              </a:cxnLst>
              <a:rect l="0" t="0" r="r" b="b"/>
              <a:pathLst>
                <a:path w="384" h="322">
                  <a:moveTo>
                    <a:pt x="246" y="69"/>
                  </a:moveTo>
                  <a:lnTo>
                    <a:pt x="233" y="73"/>
                  </a:lnTo>
                  <a:lnTo>
                    <a:pt x="233" y="67"/>
                  </a:lnTo>
                  <a:lnTo>
                    <a:pt x="216" y="62"/>
                  </a:lnTo>
                  <a:lnTo>
                    <a:pt x="179" y="60"/>
                  </a:lnTo>
                  <a:lnTo>
                    <a:pt x="92" y="3"/>
                  </a:lnTo>
                  <a:lnTo>
                    <a:pt x="75" y="0"/>
                  </a:lnTo>
                  <a:lnTo>
                    <a:pt x="67" y="5"/>
                  </a:lnTo>
                  <a:lnTo>
                    <a:pt x="41" y="15"/>
                  </a:lnTo>
                  <a:lnTo>
                    <a:pt x="62" y="37"/>
                  </a:lnTo>
                  <a:lnTo>
                    <a:pt x="54" y="47"/>
                  </a:lnTo>
                  <a:lnTo>
                    <a:pt x="54" y="52"/>
                  </a:lnTo>
                  <a:lnTo>
                    <a:pt x="39" y="52"/>
                  </a:lnTo>
                  <a:lnTo>
                    <a:pt x="26" y="67"/>
                  </a:lnTo>
                  <a:lnTo>
                    <a:pt x="7" y="62"/>
                  </a:lnTo>
                  <a:lnTo>
                    <a:pt x="0" y="62"/>
                  </a:lnTo>
                  <a:lnTo>
                    <a:pt x="0" y="69"/>
                  </a:lnTo>
                  <a:lnTo>
                    <a:pt x="0" y="77"/>
                  </a:lnTo>
                  <a:lnTo>
                    <a:pt x="0" y="81"/>
                  </a:lnTo>
                  <a:lnTo>
                    <a:pt x="0" y="83"/>
                  </a:lnTo>
                  <a:lnTo>
                    <a:pt x="2" y="83"/>
                  </a:lnTo>
                  <a:lnTo>
                    <a:pt x="2" y="84"/>
                  </a:lnTo>
                  <a:lnTo>
                    <a:pt x="5" y="83"/>
                  </a:lnTo>
                  <a:lnTo>
                    <a:pt x="9" y="84"/>
                  </a:lnTo>
                  <a:lnTo>
                    <a:pt x="9" y="84"/>
                  </a:lnTo>
                  <a:lnTo>
                    <a:pt x="17" y="96"/>
                  </a:lnTo>
                  <a:lnTo>
                    <a:pt x="17" y="98"/>
                  </a:lnTo>
                  <a:lnTo>
                    <a:pt x="20" y="98"/>
                  </a:lnTo>
                  <a:lnTo>
                    <a:pt x="20" y="101"/>
                  </a:lnTo>
                  <a:lnTo>
                    <a:pt x="24" y="105"/>
                  </a:lnTo>
                  <a:lnTo>
                    <a:pt x="26" y="105"/>
                  </a:lnTo>
                  <a:lnTo>
                    <a:pt x="30" y="116"/>
                  </a:lnTo>
                  <a:lnTo>
                    <a:pt x="32" y="118"/>
                  </a:lnTo>
                  <a:lnTo>
                    <a:pt x="32" y="122"/>
                  </a:lnTo>
                  <a:lnTo>
                    <a:pt x="35" y="122"/>
                  </a:lnTo>
                  <a:lnTo>
                    <a:pt x="35" y="126"/>
                  </a:lnTo>
                  <a:lnTo>
                    <a:pt x="39" y="130"/>
                  </a:lnTo>
                  <a:lnTo>
                    <a:pt x="43" y="130"/>
                  </a:lnTo>
                  <a:lnTo>
                    <a:pt x="47" y="139"/>
                  </a:lnTo>
                  <a:lnTo>
                    <a:pt x="49" y="143"/>
                  </a:lnTo>
                  <a:lnTo>
                    <a:pt x="51" y="148"/>
                  </a:lnTo>
                  <a:lnTo>
                    <a:pt x="49" y="150"/>
                  </a:lnTo>
                  <a:lnTo>
                    <a:pt x="49" y="154"/>
                  </a:lnTo>
                  <a:lnTo>
                    <a:pt x="51" y="154"/>
                  </a:lnTo>
                  <a:lnTo>
                    <a:pt x="54" y="160"/>
                  </a:lnTo>
                  <a:lnTo>
                    <a:pt x="54" y="160"/>
                  </a:lnTo>
                  <a:lnTo>
                    <a:pt x="58" y="156"/>
                  </a:lnTo>
                  <a:lnTo>
                    <a:pt x="62" y="160"/>
                  </a:lnTo>
                  <a:lnTo>
                    <a:pt x="67" y="162"/>
                  </a:lnTo>
                  <a:lnTo>
                    <a:pt x="73" y="167"/>
                  </a:lnTo>
                  <a:lnTo>
                    <a:pt x="75" y="171"/>
                  </a:lnTo>
                  <a:lnTo>
                    <a:pt x="75" y="173"/>
                  </a:lnTo>
                  <a:lnTo>
                    <a:pt x="75" y="175"/>
                  </a:lnTo>
                  <a:lnTo>
                    <a:pt x="79" y="179"/>
                  </a:lnTo>
                  <a:lnTo>
                    <a:pt x="81" y="184"/>
                  </a:lnTo>
                  <a:lnTo>
                    <a:pt x="84" y="186"/>
                  </a:lnTo>
                  <a:lnTo>
                    <a:pt x="84" y="194"/>
                  </a:lnTo>
                  <a:lnTo>
                    <a:pt x="84" y="196"/>
                  </a:lnTo>
                  <a:lnTo>
                    <a:pt x="84" y="203"/>
                  </a:lnTo>
                  <a:lnTo>
                    <a:pt x="81" y="203"/>
                  </a:lnTo>
                  <a:lnTo>
                    <a:pt x="84" y="205"/>
                  </a:lnTo>
                  <a:lnTo>
                    <a:pt x="84" y="212"/>
                  </a:lnTo>
                  <a:lnTo>
                    <a:pt x="86" y="220"/>
                  </a:lnTo>
                  <a:lnTo>
                    <a:pt x="88" y="224"/>
                  </a:lnTo>
                  <a:lnTo>
                    <a:pt x="90" y="224"/>
                  </a:lnTo>
                  <a:lnTo>
                    <a:pt x="99" y="235"/>
                  </a:lnTo>
                  <a:lnTo>
                    <a:pt x="103" y="235"/>
                  </a:lnTo>
                  <a:lnTo>
                    <a:pt x="105" y="237"/>
                  </a:lnTo>
                  <a:lnTo>
                    <a:pt x="109" y="241"/>
                  </a:lnTo>
                  <a:lnTo>
                    <a:pt x="109" y="241"/>
                  </a:lnTo>
                  <a:lnTo>
                    <a:pt x="118" y="244"/>
                  </a:lnTo>
                  <a:lnTo>
                    <a:pt x="118" y="248"/>
                  </a:lnTo>
                  <a:lnTo>
                    <a:pt x="120" y="248"/>
                  </a:lnTo>
                  <a:lnTo>
                    <a:pt x="120" y="252"/>
                  </a:lnTo>
                  <a:lnTo>
                    <a:pt x="122" y="252"/>
                  </a:lnTo>
                  <a:lnTo>
                    <a:pt x="128" y="267"/>
                  </a:lnTo>
                  <a:lnTo>
                    <a:pt x="130" y="271"/>
                  </a:lnTo>
                  <a:lnTo>
                    <a:pt x="130" y="275"/>
                  </a:lnTo>
                  <a:lnTo>
                    <a:pt x="145" y="288"/>
                  </a:lnTo>
                  <a:lnTo>
                    <a:pt x="147" y="288"/>
                  </a:lnTo>
                  <a:lnTo>
                    <a:pt x="148" y="297"/>
                  </a:lnTo>
                  <a:lnTo>
                    <a:pt x="154" y="299"/>
                  </a:lnTo>
                  <a:lnTo>
                    <a:pt x="158" y="307"/>
                  </a:lnTo>
                  <a:lnTo>
                    <a:pt x="162" y="307"/>
                  </a:lnTo>
                  <a:lnTo>
                    <a:pt x="163" y="310"/>
                  </a:lnTo>
                  <a:lnTo>
                    <a:pt x="167" y="307"/>
                  </a:lnTo>
                  <a:lnTo>
                    <a:pt x="169" y="303"/>
                  </a:lnTo>
                  <a:lnTo>
                    <a:pt x="169" y="297"/>
                  </a:lnTo>
                  <a:lnTo>
                    <a:pt x="169" y="288"/>
                  </a:lnTo>
                  <a:lnTo>
                    <a:pt x="175" y="286"/>
                  </a:lnTo>
                  <a:lnTo>
                    <a:pt x="180" y="290"/>
                  </a:lnTo>
                  <a:lnTo>
                    <a:pt x="192" y="290"/>
                  </a:lnTo>
                  <a:lnTo>
                    <a:pt x="207" y="297"/>
                  </a:lnTo>
                  <a:lnTo>
                    <a:pt x="224" y="303"/>
                  </a:lnTo>
                  <a:lnTo>
                    <a:pt x="224" y="322"/>
                  </a:lnTo>
                  <a:lnTo>
                    <a:pt x="258" y="277"/>
                  </a:lnTo>
                  <a:lnTo>
                    <a:pt x="382" y="239"/>
                  </a:lnTo>
                  <a:lnTo>
                    <a:pt x="384" y="199"/>
                  </a:lnTo>
                  <a:lnTo>
                    <a:pt x="380" y="184"/>
                  </a:lnTo>
                  <a:lnTo>
                    <a:pt x="380" y="184"/>
                  </a:lnTo>
                  <a:lnTo>
                    <a:pt x="374" y="190"/>
                  </a:lnTo>
                  <a:lnTo>
                    <a:pt x="318" y="184"/>
                  </a:lnTo>
                  <a:lnTo>
                    <a:pt x="316" y="169"/>
                  </a:lnTo>
                  <a:lnTo>
                    <a:pt x="310" y="164"/>
                  </a:lnTo>
                  <a:lnTo>
                    <a:pt x="310" y="156"/>
                  </a:lnTo>
                  <a:lnTo>
                    <a:pt x="310" y="156"/>
                  </a:lnTo>
                  <a:lnTo>
                    <a:pt x="310" y="156"/>
                  </a:lnTo>
                  <a:lnTo>
                    <a:pt x="307" y="154"/>
                  </a:lnTo>
                  <a:lnTo>
                    <a:pt x="307" y="150"/>
                  </a:lnTo>
                  <a:lnTo>
                    <a:pt x="310" y="150"/>
                  </a:lnTo>
                  <a:lnTo>
                    <a:pt x="307" y="150"/>
                  </a:lnTo>
                  <a:lnTo>
                    <a:pt x="307" y="150"/>
                  </a:lnTo>
                  <a:lnTo>
                    <a:pt x="303" y="150"/>
                  </a:lnTo>
                  <a:lnTo>
                    <a:pt x="297" y="147"/>
                  </a:lnTo>
                  <a:lnTo>
                    <a:pt x="297" y="145"/>
                  </a:lnTo>
                  <a:lnTo>
                    <a:pt x="295" y="145"/>
                  </a:lnTo>
                  <a:lnTo>
                    <a:pt x="291" y="141"/>
                  </a:lnTo>
                  <a:lnTo>
                    <a:pt x="291" y="135"/>
                  </a:lnTo>
                  <a:lnTo>
                    <a:pt x="282" y="126"/>
                  </a:lnTo>
                  <a:lnTo>
                    <a:pt x="280" y="120"/>
                  </a:lnTo>
                  <a:lnTo>
                    <a:pt x="282" y="120"/>
                  </a:lnTo>
                  <a:lnTo>
                    <a:pt x="282" y="118"/>
                  </a:lnTo>
                  <a:lnTo>
                    <a:pt x="278" y="111"/>
                  </a:lnTo>
                  <a:lnTo>
                    <a:pt x="278" y="107"/>
                  </a:lnTo>
                  <a:lnTo>
                    <a:pt x="276" y="105"/>
                  </a:lnTo>
                  <a:lnTo>
                    <a:pt x="273" y="105"/>
                  </a:lnTo>
                  <a:lnTo>
                    <a:pt x="269" y="96"/>
                  </a:lnTo>
                  <a:lnTo>
                    <a:pt x="267" y="96"/>
                  </a:lnTo>
                  <a:lnTo>
                    <a:pt x="263" y="92"/>
                  </a:lnTo>
                  <a:lnTo>
                    <a:pt x="263" y="92"/>
                  </a:lnTo>
                  <a:lnTo>
                    <a:pt x="265" y="90"/>
                  </a:lnTo>
                  <a:lnTo>
                    <a:pt x="267" y="92"/>
                  </a:lnTo>
                  <a:lnTo>
                    <a:pt x="265" y="90"/>
                  </a:lnTo>
                  <a:lnTo>
                    <a:pt x="261" y="88"/>
                  </a:lnTo>
                  <a:lnTo>
                    <a:pt x="256" y="88"/>
                  </a:lnTo>
                  <a:lnTo>
                    <a:pt x="252" y="77"/>
                  </a:lnTo>
                  <a:lnTo>
                    <a:pt x="248" y="73"/>
                  </a:lnTo>
                  <a:lnTo>
                    <a:pt x="248" y="73"/>
                  </a:lnTo>
                  <a:lnTo>
                    <a:pt x="248" y="69"/>
                  </a:lnTo>
                  <a:lnTo>
                    <a:pt x="246" y="71"/>
                  </a:lnTo>
                  <a:lnTo>
                    <a:pt x="246" y="69"/>
                  </a:lnTo>
                  <a:lnTo>
                    <a:pt x="246" y="69"/>
                  </a:lnTo>
                  <a:lnTo>
                    <a:pt x="246" y="69"/>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4" name="Freeform 37">
              <a:extLst>
                <a:ext uri="{FF2B5EF4-FFF2-40B4-BE49-F238E27FC236}">
                  <a16:creationId xmlns:a16="http://schemas.microsoft.com/office/drawing/2014/main" id="{2F1B1F99-CD4A-4C95-95FB-3B4EB4790A0A}"/>
                </a:ext>
              </a:extLst>
            </p:cNvPr>
            <p:cNvSpPr>
              <a:spLocks noEditPoints="1"/>
            </p:cNvSpPr>
            <p:nvPr/>
          </p:nvSpPr>
          <p:spPr bwMode="auto">
            <a:xfrm>
              <a:off x="3069" y="3521"/>
              <a:ext cx="301" cy="253"/>
            </a:xfrm>
            <a:custGeom>
              <a:avLst/>
              <a:gdLst/>
              <a:ahLst/>
              <a:cxnLst>
                <a:cxn ang="0">
                  <a:pos x="7" y="121"/>
                </a:cxn>
                <a:cxn ang="0">
                  <a:pos x="17" y="123"/>
                </a:cxn>
                <a:cxn ang="0">
                  <a:pos x="36" y="132"/>
                </a:cxn>
                <a:cxn ang="0">
                  <a:pos x="47" y="134"/>
                </a:cxn>
                <a:cxn ang="0">
                  <a:pos x="54" y="123"/>
                </a:cxn>
                <a:cxn ang="0">
                  <a:pos x="77" y="59"/>
                </a:cxn>
                <a:cxn ang="0">
                  <a:pos x="81" y="91"/>
                </a:cxn>
                <a:cxn ang="0">
                  <a:pos x="100" y="87"/>
                </a:cxn>
                <a:cxn ang="0">
                  <a:pos x="118" y="76"/>
                </a:cxn>
                <a:cxn ang="0">
                  <a:pos x="139" y="66"/>
                </a:cxn>
                <a:cxn ang="0">
                  <a:pos x="158" y="72"/>
                </a:cxn>
                <a:cxn ang="0">
                  <a:pos x="173" y="68"/>
                </a:cxn>
                <a:cxn ang="0">
                  <a:pos x="173" y="57"/>
                </a:cxn>
                <a:cxn ang="0">
                  <a:pos x="186" y="47"/>
                </a:cxn>
                <a:cxn ang="0">
                  <a:pos x="194" y="42"/>
                </a:cxn>
                <a:cxn ang="0">
                  <a:pos x="201" y="25"/>
                </a:cxn>
                <a:cxn ang="0">
                  <a:pos x="211" y="19"/>
                </a:cxn>
                <a:cxn ang="0">
                  <a:pos x="224" y="13"/>
                </a:cxn>
                <a:cxn ang="0">
                  <a:pos x="233" y="4"/>
                </a:cxn>
                <a:cxn ang="0">
                  <a:pos x="250" y="0"/>
                </a:cxn>
                <a:cxn ang="0">
                  <a:pos x="262" y="4"/>
                </a:cxn>
                <a:cxn ang="0">
                  <a:pos x="282" y="13"/>
                </a:cxn>
                <a:cxn ang="0">
                  <a:pos x="286" y="34"/>
                </a:cxn>
                <a:cxn ang="0">
                  <a:pos x="286" y="68"/>
                </a:cxn>
                <a:cxn ang="0">
                  <a:pos x="271" y="72"/>
                </a:cxn>
                <a:cxn ang="0">
                  <a:pos x="267" y="93"/>
                </a:cxn>
                <a:cxn ang="0">
                  <a:pos x="286" y="93"/>
                </a:cxn>
                <a:cxn ang="0">
                  <a:pos x="301" y="91"/>
                </a:cxn>
                <a:cxn ang="0">
                  <a:pos x="297" y="108"/>
                </a:cxn>
                <a:cxn ang="0">
                  <a:pos x="286" y="132"/>
                </a:cxn>
                <a:cxn ang="0">
                  <a:pos x="271" y="142"/>
                </a:cxn>
                <a:cxn ang="0">
                  <a:pos x="262" y="155"/>
                </a:cxn>
                <a:cxn ang="0">
                  <a:pos x="239" y="185"/>
                </a:cxn>
                <a:cxn ang="0">
                  <a:pos x="211" y="209"/>
                </a:cxn>
                <a:cxn ang="0">
                  <a:pos x="190" y="228"/>
                </a:cxn>
                <a:cxn ang="0">
                  <a:pos x="173" y="230"/>
                </a:cxn>
                <a:cxn ang="0">
                  <a:pos x="162" y="240"/>
                </a:cxn>
                <a:cxn ang="0">
                  <a:pos x="149" y="243"/>
                </a:cxn>
                <a:cxn ang="0">
                  <a:pos x="120" y="240"/>
                </a:cxn>
                <a:cxn ang="0">
                  <a:pos x="100" y="240"/>
                </a:cxn>
                <a:cxn ang="0">
                  <a:pos x="94" y="245"/>
                </a:cxn>
                <a:cxn ang="0">
                  <a:pos x="73" y="245"/>
                </a:cxn>
                <a:cxn ang="0">
                  <a:pos x="60" y="253"/>
                </a:cxn>
                <a:cxn ang="0">
                  <a:pos x="43" y="245"/>
                </a:cxn>
                <a:cxn ang="0">
                  <a:pos x="34" y="240"/>
                </a:cxn>
                <a:cxn ang="0">
                  <a:pos x="30" y="238"/>
                </a:cxn>
                <a:cxn ang="0">
                  <a:pos x="21" y="215"/>
                </a:cxn>
                <a:cxn ang="0">
                  <a:pos x="30" y="207"/>
                </a:cxn>
                <a:cxn ang="0">
                  <a:pos x="24" y="179"/>
                </a:cxn>
                <a:cxn ang="0">
                  <a:pos x="9" y="136"/>
                </a:cxn>
                <a:cxn ang="0">
                  <a:pos x="0" y="125"/>
                </a:cxn>
                <a:cxn ang="0">
                  <a:pos x="207" y="170"/>
                </a:cxn>
                <a:cxn ang="0">
                  <a:pos x="218" y="159"/>
                </a:cxn>
                <a:cxn ang="0">
                  <a:pos x="231" y="153"/>
                </a:cxn>
                <a:cxn ang="0">
                  <a:pos x="237" y="140"/>
                </a:cxn>
                <a:cxn ang="0">
                  <a:pos x="222" y="130"/>
                </a:cxn>
                <a:cxn ang="0">
                  <a:pos x="213" y="132"/>
                </a:cxn>
                <a:cxn ang="0">
                  <a:pos x="194" y="147"/>
                </a:cxn>
                <a:cxn ang="0">
                  <a:pos x="198" y="162"/>
                </a:cxn>
              </a:cxnLst>
              <a:rect l="0" t="0" r="r" b="b"/>
              <a:pathLst>
                <a:path w="301" h="253">
                  <a:moveTo>
                    <a:pt x="0" y="125"/>
                  </a:moveTo>
                  <a:lnTo>
                    <a:pt x="6" y="125"/>
                  </a:lnTo>
                  <a:lnTo>
                    <a:pt x="7" y="123"/>
                  </a:lnTo>
                  <a:lnTo>
                    <a:pt x="7" y="121"/>
                  </a:lnTo>
                  <a:lnTo>
                    <a:pt x="7" y="121"/>
                  </a:lnTo>
                  <a:lnTo>
                    <a:pt x="9" y="117"/>
                  </a:lnTo>
                  <a:lnTo>
                    <a:pt x="13" y="115"/>
                  </a:lnTo>
                  <a:lnTo>
                    <a:pt x="15" y="121"/>
                  </a:lnTo>
                  <a:lnTo>
                    <a:pt x="19" y="121"/>
                  </a:lnTo>
                  <a:lnTo>
                    <a:pt x="17" y="123"/>
                  </a:lnTo>
                  <a:lnTo>
                    <a:pt x="21" y="128"/>
                  </a:lnTo>
                  <a:lnTo>
                    <a:pt x="26" y="130"/>
                  </a:lnTo>
                  <a:lnTo>
                    <a:pt x="30" y="132"/>
                  </a:lnTo>
                  <a:lnTo>
                    <a:pt x="32" y="132"/>
                  </a:lnTo>
                  <a:lnTo>
                    <a:pt x="36" y="132"/>
                  </a:lnTo>
                  <a:lnTo>
                    <a:pt x="38" y="132"/>
                  </a:lnTo>
                  <a:lnTo>
                    <a:pt x="39" y="130"/>
                  </a:lnTo>
                  <a:lnTo>
                    <a:pt x="43" y="130"/>
                  </a:lnTo>
                  <a:lnTo>
                    <a:pt x="45" y="134"/>
                  </a:lnTo>
                  <a:lnTo>
                    <a:pt x="47" y="134"/>
                  </a:lnTo>
                  <a:lnTo>
                    <a:pt x="49" y="134"/>
                  </a:lnTo>
                  <a:lnTo>
                    <a:pt x="49" y="130"/>
                  </a:lnTo>
                  <a:lnTo>
                    <a:pt x="51" y="128"/>
                  </a:lnTo>
                  <a:lnTo>
                    <a:pt x="54" y="126"/>
                  </a:lnTo>
                  <a:lnTo>
                    <a:pt x="54" y="123"/>
                  </a:lnTo>
                  <a:lnTo>
                    <a:pt x="60" y="121"/>
                  </a:lnTo>
                  <a:lnTo>
                    <a:pt x="66" y="121"/>
                  </a:lnTo>
                  <a:lnTo>
                    <a:pt x="68" y="121"/>
                  </a:lnTo>
                  <a:lnTo>
                    <a:pt x="70" y="55"/>
                  </a:lnTo>
                  <a:lnTo>
                    <a:pt x="77" y="59"/>
                  </a:lnTo>
                  <a:lnTo>
                    <a:pt x="79" y="66"/>
                  </a:lnTo>
                  <a:lnTo>
                    <a:pt x="83" y="76"/>
                  </a:lnTo>
                  <a:lnTo>
                    <a:pt x="83" y="79"/>
                  </a:lnTo>
                  <a:lnTo>
                    <a:pt x="81" y="87"/>
                  </a:lnTo>
                  <a:lnTo>
                    <a:pt x="81" y="91"/>
                  </a:lnTo>
                  <a:lnTo>
                    <a:pt x="85" y="87"/>
                  </a:lnTo>
                  <a:lnTo>
                    <a:pt x="88" y="91"/>
                  </a:lnTo>
                  <a:lnTo>
                    <a:pt x="94" y="87"/>
                  </a:lnTo>
                  <a:lnTo>
                    <a:pt x="96" y="91"/>
                  </a:lnTo>
                  <a:lnTo>
                    <a:pt x="100" y="87"/>
                  </a:lnTo>
                  <a:lnTo>
                    <a:pt x="103" y="87"/>
                  </a:lnTo>
                  <a:lnTo>
                    <a:pt x="107" y="83"/>
                  </a:lnTo>
                  <a:lnTo>
                    <a:pt x="109" y="81"/>
                  </a:lnTo>
                  <a:lnTo>
                    <a:pt x="115" y="79"/>
                  </a:lnTo>
                  <a:lnTo>
                    <a:pt x="118" y="76"/>
                  </a:lnTo>
                  <a:lnTo>
                    <a:pt x="120" y="66"/>
                  </a:lnTo>
                  <a:lnTo>
                    <a:pt x="126" y="62"/>
                  </a:lnTo>
                  <a:lnTo>
                    <a:pt x="130" y="62"/>
                  </a:lnTo>
                  <a:lnTo>
                    <a:pt x="137" y="62"/>
                  </a:lnTo>
                  <a:lnTo>
                    <a:pt x="139" y="66"/>
                  </a:lnTo>
                  <a:lnTo>
                    <a:pt x="139" y="66"/>
                  </a:lnTo>
                  <a:lnTo>
                    <a:pt x="149" y="72"/>
                  </a:lnTo>
                  <a:lnTo>
                    <a:pt x="152" y="72"/>
                  </a:lnTo>
                  <a:lnTo>
                    <a:pt x="154" y="72"/>
                  </a:lnTo>
                  <a:lnTo>
                    <a:pt x="158" y="72"/>
                  </a:lnTo>
                  <a:lnTo>
                    <a:pt x="162" y="72"/>
                  </a:lnTo>
                  <a:lnTo>
                    <a:pt x="166" y="68"/>
                  </a:lnTo>
                  <a:lnTo>
                    <a:pt x="167" y="72"/>
                  </a:lnTo>
                  <a:lnTo>
                    <a:pt x="169" y="72"/>
                  </a:lnTo>
                  <a:lnTo>
                    <a:pt x="173" y="68"/>
                  </a:lnTo>
                  <a:lnTo>
                    <a:pt x="173" y="68"/>
                  </a:lnTo>
                  <a:lnTo>
                    <a:pt x="173" y="66"/>
                  </a:lnTo>
                  <a:lnTo>
                    <a:pt x="173" y="62"/>
                  </a:lnTo>
                  <a:lnTo>
                    <a:pt x="173" y="59"/>
                  </a:lnTo>
                  <a:lnTo>
                    <a:pt x="173" y="57"/>
                  </a:lnTo>
                  <a:lnTo>
                    <a:pt x="177" y="53"/>
                  </a:lnTo>
                  <a:lnTo>
                    <a:pt x="179" y="51"/>
                  </a:lnTo>
                  <a:lnTo>
                    <a:pt x="182" y="51"/>
                  </a:lnTo>
                  <a:lnTo>
                    <a:pt x="184" y="49"/>
                  </a:lnTo>
                  <a:lnTo>
                    <a:pt x="186" y="47"/>
                  </a:lnTo>
                  <a:lnTo>
                    <a:pt x="186" y="47"/>
                  </a:lnTo>
                  <a:lnTo>
                    <a:pt x="188" y="45"/>
                  </a:lnTo>
                  <a:lnTo>
                    <a:pt x="190" y="42"/>
                  </a:lnTo>
                  <a:lnTo>
                    <a:pt x="194" y="42"/>
                  </a:lnTo>
                  <a:lnTo>
                    <a:pt x="194" y="42"/>
                  </a:lnTo>
                  <a:lnTo>
                    <a:pt x="198" y="42"/>
                  </a:lnTo>
                  <a:lnTo>
                    <a:pt x="198" y="38"/>
                  </a:lnTo>
                  <a:lnTo>
                    <a:pt x="194" y="34"/>
                  </a:lnTo>
                  <a:lnTo>
                    <a:pt x="198" y="32"/>
                  </a:lnTo>
                  <a:lnTo>
                    <a:pt x="201" y="25"/>
                  </a:lnTo>
                  <a:lnTo>
                    <a:pt x="203" y="23"/>
                  </a:lnTo>
                  <a:lnTo>
                    <a:pt x="207" y="23"/>
                  </a:lnTo>
                  <a:lnTo>
                    <a:pt x="207" y="21"/>
                  </a:lnTo>
                  <a:lnTo>
                    <a:pt x="209" y="21"/>
                  </a:lnTo>
                  <a:lnTo>
                    <a:pt x="211" y="19"/>
                  </a:lnTo>
                  <a:lnTo>
                    <a:pt x="213" y="17"/>
                  </a:lnTo>
                  <a:lnTo>
                    <a:pt x="214" y="15"/>
                  </a:lnTo>
                  <a:lnTo>
                    <a:pt x="218" y="13"/>
                  </a:lnTo>
                  <a:lnTo>
                    <a:pt x="222" y="13"/>
                  </a:lnTo>
                  <a:lnTo>
                    <a:pt x="224" y="13"/>
                  </a:lnTo>
                  <a:lnTo>
                    <a:pt x="226" y="13"/>
                  </a:lnTo>
                  <a:lnTo>
                    <a:pt x="228" y="13"/>
                  </a:lnTo>
                  <a:lnTo>
                    <a:pt x="231" y="10"/>
                  </a:lnTo>
                  <a:lnTo>
                    <a:pt x="233" y="10"/>
                  </a:lnTo>
                  <a:lnTo>
                    <a:pt x="233" y="4"/>
                  </a:lnTo>
                  <a:lnTo>
                    <a:pt x="233" y="4"/>
                  </a:lnTo>
                  <a:lnTo>
                    <a:pt x="237" y="2"/>
                  </a:lnTo>
                  <a:lnTo>
                    <a:pt x="239" y="2"/>
                  </a:lnTo>
                  <a:lnTo>
                    <a:pt x="241" y="2"/>
                  </a:lnTo>
                  <a:lnTo>
                    <a:pt x="250" y="0"/>
                  </a:lnTo>
                  <a:lnTo>
                    <a:pt x="254" y="0"/>
                  </a:lnTo>
                  <a:lnTo>
                    <a:pt x="256" y="4"/>
                  </a:lnTo>
                  <a:lnTo>
                    <a:pt x="258" y="4"/>
                  </a:lnTo>
                  <a:lnTo>
                    <a:pt x="262" y="4"/>
                  </a:lnTo>
                  <a:lnTo>
                    <a:pt x="262" y="4"/>
                  </a:lnTo>
                  <a:lnTo>
                    <a:pt x="265" y="4"/>
                  </a:lnTo>
                  <a:lnTo>
                    <a:pt x="271" y="4"/>
                  </a:lnTo>
                  <a:lnTo>
                    <a:pt x="277" y="4"/>
                  </a:lnTo>
                  <a:lnTo>
                    <a:pt x="280" y="10"/>
                  </a:lnTo>
                  <a:lnTo>
                    <a:pt x="282" y="13"/>
                  </a:lnTo>
                  <a:lnTo>
                    <a:pt x="282" y="17"/>
                  </a:lnTo>
                  <a:lnTo>
                    <a:pt x="286" y="23"/>
                  </a:lnTo>
                  <a:lnTo>
                    <a:pt x="286" y="32"/>
                  </a:lnTo>
                  <a:lnTo>
                    <a:pt x="286" y="32"/>
                  </a:lnTo>
                  <a:lnTo>
                    <a:pt x="286" y="34"/>
                  </a:lnTo>
                  <a:lnTo>
                    <a:pt x="286" y="38"/>
                  </a:lnTo>
                  <a:lnTo>
                    <a:pt x="286" y="44"/>
                  </a:lnTo>
                  <a:lnTo>
                    <a:pt x="286" y="59"/>
                  </a:lnTo>
                  <a:lnTo>
                    <a:pt x="286" y="62"/>
                  </a:lnTo>
                  <a:lnTo>
                    <a:pt x="286" y="68"/>
                  </a:lnTo>
                  <a:lnTo>
                    <a:pt x="286" y="76"/>
                  </a:lnTo>
                  <a:lnTo>
                    <a:pt x="282" y="74"/>
                  </a:lnTo>
                  <a:lnTo>
                    <a:pt x="280" y="72"/>
                  </a:lnTo>
                  <a:lnTo>
                    <a:pt x="275" y="68"/>
                  </a:lnTo>
                  <a:lnTo>
                    <a:pt x="271" y="72"/>
                  </a:lnTo>
                  <a:lnTo>
                    <a:pt x="271" y="74"/>
                  </a:lnTo>
                  <a:lnTo>
                    <a:pt x="265" y="83"/>
                  </a:lnTo>
                  <a:lnTo>
                    <a:pt x="263" y="87"/>
                  </a:lnTo>
                  <a:lnTo>
                    <a:pt x="265" y="87"/>
                  </a:lnTo>
                  <a:lnTo>
                    <a:pt x="267" y="93"/>
                  </a:lnTo>
                  <a:lnTo>
                    <a:pt x="271" y="96"/>
                  </a:lnTo>
                  <a:lnTo>
                    <a:pt x="277" y="98"/>
                  </a:lnTo>
                  <a:lnTo>
                    <a:pt x="282" y="98"/>
                  </a:lnTo>
                  <a:lnTo>
                    <a:pt x="286" y="96"/>
                  </a:lnTo>
                  <a:lnTo>
                    <a:pt x="286" y="93"/>
                  </a:lnTo>
                  <a:lnTo>
                    <a:pt x="286" y="93"/>
                  </a:lnTo>
                  <a:lnTo>
                    <a:pt x="288" y="91"/>
                  </a:lnTo>
                  <a:lnTo>
                    <a:pt x="292" y="91"/>
                  </a:lnTo>
                  <a:lnTo>
                    <a:pt x="297" y="91"/>
                  </a:lnTo>
                  <a:lnTo>
                    <a:pt x="301" y="91"/>
                  </a:lnTo>
                  <a:lnTo>
                    <a:pt x="301" y="93"/>
                  </a:lnTo>
                  <a:lnTo>
                    <a:pt x="299" y="96"/>
                  </a:lnTo>
                  <a:lnTo>
                    <a:pt x="301" y="96"/>
                  </a:lnTo>
                  <a:lnTo>
                    <a:pt x="297" y="102"/>
                  </a:lnTo>
                  <a:lnTo>
                    <a:pt x="297" y="108"/>
                  </a:lnTo>
                  <a:lnTo>
                    <a:pt x="295" y="113"/>
                  </a:lnTo>
                  <a:lnTo>
                    <a:pt x="292" y="121"/>
                  </a:lnTo>
                  <a:lnTo>
                    <a:pt x="292" y="123"/>
                  </a:lnTo>
                  <a:lnTo>
                    <a:pt x="288" y="126"/>
                  </a:lnTo>
                  <a:lnTo>
                    <a:pt x="286" y="132"/>
                  </a:lnTo>
                  <a:lnTo>
                    <a:pt x="282" y="132"/>
                  </a:lnTo>
                  <a:lnTo>
                    <a:pt x="282" y="134"/>
                  </a:lnTo>
                  <a:lnTo>
                    <a:pt x="278" y="136"/>
                  </a:lnTo>
                  <a:lnTo>
                    <a:pt x="277" y="138"/>
                  </a:lnTo>
                  <a:lnTo>
                    <a:pt x="271" y="142"/>
                  </a:lnTo>
                  <a:lnTo>
                    <a:pt x="271" y="145"/>
                  </a:lnTo>
                  <a:lnTo>
                    <a:pt x="265" y="149"/>
                  </a:lnTo>
                  <a:lnTo>
                    <a:pt x="265" y="151"/>
                  </a:lnTo>
                  <a:lnTo>
                    <a:pt x="263" y="155"/>
                  </a:lnTo>
                  <a:lnTo>
                    <a:pt x="262" y="155"/>
                  </a:lnTo>
                  <a:lnTo>
                    <a:pt x="258" y="160"/>
                  </a:lnTo>
                  <a:lnTo>
                    <a:pt x="250" y="172"/>
                  </a:lnTo>
                  <a:lnTo>
                    <a:pt x="245" y="179"/>
                  </a:lnTo>
                  <a:lnTo>
                    <a:pt x="243" y="183"/>
                  </a:lnTo>
                  <a:lnTo>
                    <a:pt x="239" y="185"/>
                  </a:lnTo>
                  <a:lnTo>
                    <a:pt x="237" y="191"/>
                  </a:lnTo>
                  <a:lnTo>
                    <a:pt x="233" y="191"/>
                  </a:lnTo>
                  <a:lnTo>
                    <a:pt x="233" y="191"/>
                  </a:lnTo>
                  <a:lnTo>
                    <a:pt x="214" y="209"/>
                  </a:lnTo>
                  <a:lnTo>
                    <a:pt x="211" y="209"/>
                  </a:lnTo>
                  <a:lnTo>
                    <a:pt x="213" y="211"/>
                  </a:lnTo>
                  <a:lnTo>
                    <a:pt x="209" y="215"/>
                  </a:lnTo>
                  <a:lnTo>
                    <a:pt x="198" y="224"/>
                  </a:lnTo>
                  <a:lnTo>
                    <a:pt x="194" y="224"/>
                  </a:lnTo>
                  <a:lnTo>
                    <a:pt x="190" y="228"/>
                  </a:lnTo>
                  <a:lnTo>
                    <a:pt x="190" y="228"/>
                  </a:lnTo>
                  <a:lnTo>
                    <a:pt x="182" y="230"/>
                  </a:lnTo>
                  <a:lnTo>
                    <a:pt x="177" y="232"/>
                  </a:lnTo>
                  <a:lnTo>
                    <a:pt x="173" y="232"/>
                  </a:lnTo>
                  <a:lnTo>
                    <a:pt x="173" y="230"/>
                  </a:lnTo>
                  <a:lnTo>
                    <a:pt x="167" y="232"/>
                  </a:lnTo>
                  <a:lnTo>
                    <a:pt x="162" y="232"/>
                  </a:lnTo>
                  <a:lnTo>
                    <a:pt x="160" y="236"/>
                  </a:lnTo>
                  <a:lnTo>
                    <a:pt x="162" y="240"/>
                  </a:lnTo>
                  <a:lnTo>
                    <a:pt x="162" y="240"/>
                  </a:lnTo>
                  <a:lnTo>
                    <a:pt x="156" y="240"/>
                  </a:lnTo>
                  <a:lnTo>
                    <a:pt x="152" y="238"/>
                  </a:lnTo>
                  <a:lnTo>
                    <a:pt x="149" y="238"/>
                  </a:lnTo>
                  <a:lnTo>
                    <a:pt x="145" y="241"/>
                  </a:lnTo>
                  <a:lnTo>
                    <a:pt x="149" y="243"/>
                  </a:lnTo>
                  <a:lnTo>
                    <a:pt x="145" y="243"/>
                  </a:lnTo>
                  <a:lnTo>
                    <a:pt x="137" y="241"/>
                  </a:lnTo>
                  <a:lnTo>
                    <a:pt x="135" y="240"/>
                  </a:lnTo>
                  <a:lnTo>
                    <a:pt x="126" y="238"/>
                  </a:lnTo>
                  <a:lnTo>
                    <a:pt x="120" y="240"/>
                  </a:lnTo>
                  <a:lnTo>
                    <a:pt x="120" y="240"/>
                  </a:lnTo>
                  <a:lnTo>
                    <a:pt x="118" y="241"/>
                  </a:lnTo>
                  <a:lnTo>
                    <a:pt x="115" y="240"/>
                  </a:lnTo>
                  <a:lnTo>
                    <a:pt x="103" y="240"/>
                  </a:lnTo>
                  <a:lnTo>
                    <a:pt x="100" y="240"/>
                  </a:lnTo>
                  <a:lnTo>
                    <a:pt x="100" y="243"/>
                  </a:lnTo>
                  <a:lnTo>
                    <a:pt x="98" y="243"/>
                  </a:lnTo>
                  <a:lnTo>
                    <a:pt x="94" y="243"/>
                  </a:lnTo>
                  <a:lnTo>
                    <a:pt x="94" y="245"/>
                  </a:lnTo>
                  <a:lnTo>
                    <a:pt x="94" y="245"/>
                  </a:lnTo>
                  <a:lnTo>
                    <a:pt x="88" y="245"/>
                  </a:lnTo>
                  <a:lnTo>
                    <a:pt x="85" y="249"/>
                  </a:lnTo>
                  <a:lnTo>
                    <a:pt x="79" y="245"/>
                  </a:lnTo>
                  <a:lnTo>
                    <a:pt x="75" y="245"/>
                  </a:lnTo>
                  <a:lnTo>
                    <a:pt x="73" y="245"/>
                  </a:lnTo>
                  <a:lnTo>
                    <a:pt x="70" y="245"/>
                  </a:lnTo>
                  <a:lnTo>
                    <a:pt x="66" y="253"/>
                  </a:lnTo>
                  <a:lnTo>
                    <a:pt x="64" y="253"/>
                  </a:lnTo>
                  <a:lnTo>
                    <a:pt x="60" y="253"/>
                  </a:lnTo>
                  <a:lnTo>
                    <a:pt x="60" y="253"/>
                  </a:lnTo>
                  <a:lnTo>
                    <a:pt x="58" y="253"/>
                  </a:lnTo>
                  <a:lnTo>
                    <a:pt x="49" y="249"/>
                  </a:lnTo>
                  <a:lnTo>
                    <a:pt x="47" y="253"/>
                  </a:lnTo>
                  <a:lnTo>
                    <a:pt x="47" y="245"/>
                  </a:lnTo>
                  <a:lnTo>
                    <a:pt x="43" y="245"/>
                  </a:lnTo>
                  <a:lnTo>
                    <a:pt x="39" y="245"/>
                  </a:lnTo>
                  <a:lnTo>
                    <a:pt x="38" y="245"/>
                  </a:lnTo>
                  <a:lnTo>
                    <a:pt x="39" y="245"/>
                  </a:lnTo>
                  <a:lnTo>
                    <a:pt x="38" y="241"/>
                  </a:lnTo>
                  <a:lnTo>
                    <a:pt x="34" y="240"/>
                  </a:lnTo>
                  <a:lnTo>
                    <a:pt x="30" y="243"/>
                  </a:lnTo>
                  <a:lnTo>
                    <a:pt x="30" y="245"/>
                  </a:lnTo>
                  <a:lnTo>
                    <a:pt x="30" y="245"/>
                  </a:lnTo>
                  <a:lnTo>
                    <a:pt x="30" y="240"/>
                  </a:lnTo>
                  <a:lnTo>
                    <a:pt x="30" y="238"/>
                  </a:lnTo>
                  <a:lnTo>
                    <a:pt x="30" y="232"/>
                  </a:lnTo>
                  <a:lnTo>
                    <a:pt x="32" y="228"/>
                  </a:lnTo>
                  <a:lnTo>
                    <a:pt x="30" y="221"/>
                  </a:lnTo>
                  <a:lnTo>
                    <a:pt x="26" y="221"/>
                  </a:lnTo>
                  <a:lnTo>
                    <a:pt x="21" y="215"/>
                  </a:lnTo>
                  <a:lnTo>
                    <a:pt x="21" y="209"/>
                  </a:lnTo>
                  <a:lnTo>
                    <a:pt x="24" y="207"/>
                  </a:lnTo>
                  <a:lnTo>
                    <a:pt x="26" y="209"/>
                  </a:lnTo>
                  <a:lnTo>
                    <a:pt x="26" y="209"/>
                  </a:lnTo>
                  <a:lnTo>
                    <a:pt x="30" y="207"/>
                  </a:lnTo>
                  <a:lnTo>
                    <a:pt x="30" y="202"/>
                  </a:lnTo>
                  <a:lnTo>
                    <a:pt x="30" y="196"/>
                  </a:lnTo>
                  <a:lnTo>
                    <a:pt x="30" y="194"/>
                  </a:lnTo>
                  <a:lnTo>
                    <a:pt x="24" y="185"/>
                  </a:lnTo>
                  <a:lnTo>
                    <a:pt x="24" y="179"/>
                  </a:lnTo>
                  <a:lnTo>
                    <a:pt x="19" y="175"/>
                  </a:lnTo>
                  <a:lnTo>
                    <a:pt x="17" y="162"/>
                  </a:lnTo>
                  <a:lnTo>
                    <a:pt x="13" y="153"/>
                  </a:lnTo>
                  <a:lnTo>
                    <a:pt x="13" y="147"/>
                  </a:lnTo>
                  <a:lnTo>
                    <a:pt x="9" y="136"/>
                  </a:lnTo>
                  <a:lnTo>
                    <a:pt x="2" y="132"/>
                  </a:lnTo>
                  <a:lnTo>
                    <a:pt x="2" y="125"/>
                  </a:lnTo>
                  <a:lnTo>
                    <a:pt x="0" y="125"/>
                  </a:lnTo>
                  <a:lnTo>
                    <a:pt x="0" y="125"/>
                  </a:lnTo>
                  <a:lnTo>
                    <a:pt x="0" y="125"/>
                  </a:lnTo>
                  <a:lnTo>
                    <a:pt x="0" y="125"/>
                  </a:lnTo>
                  <a:close/>
                  <a:moveTo>
                    <a:pt x="198" y="162"/>
                  </a:moveTo>
                  <a:lnTo>
                    <a:pt x="203" y="164"/>
                  </a:lnTo>
                  <a:lnTo>
                    <a:pt x="203" y="166"/>
                  </a:lnTo>
                  <a:lnTo>
                    <a:pt x="207" y="170"/>
                  </a:lnTo>
                  <a:lnTo>
                    <a:pt x="211" y="166"/>
                  </a:lnTo>
                  <a:lnTo>
                    <a:pt x="213" y="166"/>
                  </a:lnTo>
                  <a:lnTo>
                    <a:pt x="213" y="164"/>
                  </a:lnTo>
                  <a:lnTo>
                    <a:pt x="214" y="160"/>
                  </a:lnTo>
                  <a:lnTo>
                    <a:pt x="218" y="159"/>
                  </a:lnTo>
                  <a:lnTo>
                    <a:pt x="222" y="159"/>
                  </a:lnTo>
                  <a:lnTo>
                    <a:pt x="224" y="157"/>
                  </a:lnTo>
                  <a:lnTo>
                    <a:pt x="228" y="159"/>
                  </a:lnTo>
                  <a:lnTo>
                    <a:pt x="231" y="155"/>
                  </a:lnTo>
                  <a:lnTo>
                    <a:pt x="231" y="153"/>
                  </a:lnTo>
                  <a:lnTo>
                    <a:pt x="228" y="151"/>
                  </a:lnTo>
                  <a:lnTo>
                    <a:pt x="228" y="149"/>
                  </a:lnTo>
                  <a:lnTo>
                    <a:pt x="231" y="147"/>
                  </a:lnTo>
                  <a:lnTo>
                    <a:pt x="237" y="145"/>
                  </a:lnTo>
                  <a:lnTo>
                    <a:pt x="237" y="140"/>
                  </a:lnTo>
                  <a:lnTo>
                    <a:pt x="231" y="132"/>
                  </a:lnTo>
                  <a:lnTo>
                    <a:pt x="228" y="130"/>
                  </a:lnTo>
                  <a:lnTo>
                    <a:pt x="226" y="130"/>
                  </a:lnTo>
                  <a:lnTo>
                    <a:pt x="224" y="128"/>
                  </a:lnTo>
                  <a:lnTo>
                    <a:pt x="222" y="130"/>
                  </a:lnTo>
                  <a:lnTo>
                    <a:pt x="220" y="128"/>
                  </a:lnTo>
                  <a:lnTo>
                    <a:pt x="216" y="128"/>
                  </a:lnTo>
                  <a:lnTo>
                    <a:pt x="216" y="130"/>
                  </a:lnTo>
                  <a:lnTo>
                    <a:pt x="214" y="130"/>
                  </a:lnTo>
                  <a:lnTo>
                    <a:pt x="213" y="132"/>
                  </a:lnTo>
                  <a:lnTo>
                    <a:pt x="207" y="134"/>
                  </a:lnTo>
                  <a:lnTo>
                    <a:pt x="203" y="138"/>
                  </a:lnTo>
                  <a:lnTo>
                    <a:pt x="201" y="142"/>
                  </a:lnTo>
                  <a:lnTo>
                    <a:pt x="194" y="145"/>
                  </a:lnTo>
                  <a:lnTo>
                    <a:pt x="194" y="147"/>
                  </a:lnTo>
                  <a:lnTo>
                    <a:pt x="194" y="151"/>
                  </a:lnTo>
                  <a:lnTo>
                    <a:pt x="198" y="153"/>
                  </a:lnTo>
                  <a:lnTo>
                    <a:pt x="198" y="155"/>
                  </a:lnTo>
                  <a:lnTo>
                    <a:pt x="198" y="159"/>
                  </a:lnTo>
                  <a:lnTo>
                    <a:pt x="198" y="162"/>
                  </a:lnTo>
                  <a:lnTo>
                    <a:pt x="198" y="162"/>
                  </a:lnTo>
                  <a:lnTo>
                    <a:pt x="198" y="162"/>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5" name="Freeform 38">
              <a:extLst>
                <a:ext uri="{FF2B5EF4-FFF2-40B4-BE49-F238E27FC236}">
                  <a16:creationId xmlns:a16="http://schemas.microsoft.com/office/drawing/2014/main" id="{93A8BA6F-4D51-4ABB-AD3C-3548070FCE5C}"/>
                </a:ext>
              </a:extLst>
            </p:cNvPr>
            <p:cNvSpPr>
              <a:spLocks noEditPoints="1"/>
            </p:cNvSpPr>
            <p:nvPr/>
          </p:nvSpPr>
          <p:spPr bwMode="auto">
            <a:xfrm>
              <a:off x="518" y="745"/>
              <a:ext cx="1602" cy="1495"/>
            </a:xfrm>
            <a:custGeom>
              <a:avLst/>
              <a:gdLst/>
              <a:ahLst/>
              <a:cxnLst>
                <a:cxn ang="0">
                  <a:pos x="1156" y="107"/>
                </a:cxn>
                <a:cxn ang="0">
                  <a:pos x="1222" y="218"/>
                </a:cxn>
                <a:cxn ang="0">
                  <a:pos x="1184" y="292"/>
                </a:cxn>
                <a:cxn ang="0">
                  <a:pos x="1284" y="158"/>
                </a:cxn>
                <a:cxn ang="0">
                  <a:pos x="1267" y="98"/>
                </a:cxn>
                <a:cxn ang="0">
                  <a:pos x="1391" y="4"/>
                </a:cxn>
                <a:cxn ang="0">
                  <a:pos x="1544" y="132"/>
                </a:cxn>
                <a:cxn ang="0">
                  <a:pos x="1363" y="256"/>
                </a:cxn>
                <a:cxn ang="0">
                  <a:pos x="1216" y="378"/>
                </a:cxn>
                <a:cxn ang="0">
                  <a:pos x="1222" y="399"/>
                </a:cxn>
                <a:cxn ang="0">
                  <a:pos x="1054" y="262"/>
                </a:cxn>
                <a:cxn ang="0">
                  <a:pos x="990" y="205"/>
                </a:cxn>
                <a:cxn ang="0">
                  <a:pos x="1169" y="458"/>
                </a:cxn>
                <a:cxn ang="0">
                  <a:pos x="1066" y="318"/>
                </a:cxn>
                <a:cxn ang="0">
                  <a:pos x="1017" y="307"/>
                </a:cxn>
                <a:cxn ang="0">
                  <a:pos x="680" y="250"/>
                </a:cxn>
                <a:cxn ang="0">
                  <a:pos x="996" y="369"/>
                </a:cxn>
                <a:cxn ang="0">
                  <a:pos x="962" y="346"/>
                </a:cxn>
                <a:cxn ang="0">
                  <a:pos x="704" y="277"/>
                </a:cxn>
                <a:cxn ang="0">
                  <a:pos x="828" y="316"/>
                </a:cxn>
                <a:cxn ang="0">
                  <a:pos x="584" y="324"/>
                </a:cxn>
                <a:cxn ang="0">
                  <a:pos x="849" y="459"/>
                </a:cxn>
                <a:cxn ang="0">
                  <a:pos x="926" y="482"/>
                </a:cxn>
                <a:cxn ang="0">
                  <a:pos x="940" y="533"/>
                </a:cxn>
                <a:cxn ang="0">
                  <a:pos x="1103" y="717"/>
                </a:cxn>
                <a:cxn ang="0">
                  <a:pos x="1160" y="744"/>
                </a:cxn>
                <a:cxn ang="0">
                  <a:pos x="821" y="578"/>
                </a:cxn>
                <a:cxn ang="0">
                  <a:pos x="740" y="476"/>
                </a:cxn>
                <a:cxn ang="0">
                  <a:pos x="599" y="518"/>
                </a:cxn>
                <a:cxn ang="0">
                  <a:pos x="742" y="633"/>
                </a:cxn>
                <a:cxn ang="0">
                  <a:pos x="830" y="631"/>
                </a:cxn>
                <a:cxn ang="0">
                  <a:pos x="1105" y="840"/>
                </a:cxn>
                <a:cxn ang="0">
                  <a:pos x="1126" y="659"/>
                </a:cxn>
                <a:cxn ang="0">
                  <a:pos x="1075" y="506"/>
                </a:cxn>
                <a:cxn ang="0">
                  <a:pos x="1135" y="569"/>
                </a:cxn>
                <a:cxn ang="0">
                  <a:pos x="1252" y="621"/>
                </a:cxn>
                <a:cxn ang="0">
                  <a:pos x="1286" y="717"/>
                </a:cxn>
                <a:cxn ang="0">
                  <a:pos x="1322" y="808"/>
                </a:cxn>
                <a:cxn ang="0">
                  <a:pos x="1284" y="830"/>
                </a:cxn>
                <a:cxn ang="0">
                  <a:pos x="1252" y="949"/>
                </a:cxn>
                <a:cxn ang="0">
                  <a:pos x="1005" y="862"/>
                </a:cxn>
                <a:cxn ang="0">
                  <a:pos x="1148" y="1045"/>
                </a:cxn>
                <a:cxn ang="0">
                  <a:pos x="956" y="1117"/>
                </a:cxn>
                <a:cxn ang="0">
                  <a:pos x="1301" y="1300"/>
                </a:cxn>
                <a:cxn ang="0">
                  <a:pos x="1337" y="1397"/>
                </a:cxn>
                <a:cxn ang="0">
                  <a:pos x="1325" y="1320"/>
                </a:cxn>
                <a:cxn ang="0">
                  <a:pos x="1235" y="1418"/>
                </a:cxn>
                <a:cxn ang="0">
                  <a:pos x="102" y="1151"/>
                </a:cxn>
                <a:cxn ang="0">
                  <a:pos x="45" y="1113"/>
                </a:cxn>
                <a:cxn ang="0">
                  <a:pos x="147" y="1194"/>
                </a:cxn>
                <a:cxn ang="0">
                  <a:pos x="121" y="1041"/>
                </a:cxn>
                <a:cxn ang="0">
                  <a:pos x="326" y="510"/>
                </a:cxn>
                <a:cxn ang="0">
                  <a:pos x="593" y="653"/>
                </a:cxn>
                <a:cxn ang="0">
                  <a:pos x="772" y="687"/>
                </a:cxn>
                <a:cxn ang="0">
                  <a:pos x="876" y="625"/>
                </a:cxn>
                <a:cxn ang="0">
                  <a:pos x="973" y="731"/>
                </a:cxn>
                <a:cxn ang="0">
                  <a:pos x="956" y="780"/>
                </a:cxn>
                <a:cxn ang="0">
                  <a:pos x="763" y="957"/>
                </a:cxn>
                <a:cxn ang="0">
                  <a:pos x="998" y="1139"/>
                </a:cxn>
                <a:cxn ang="0">
                  <a:pos x="1184" y="1073"/>
                </a:cxn>
                <a:cxn ang="0">
                  <a:pos x="1286" y="1181"/>
                </a:cxn>
                <a:cxn ang="0">
                  <a:pos x="1164" y="1300"/>
                </a:cxn>
                <a:cxn ang="0">
                  <a:pos x="1154" y="1422"/>
                </a:cxn>
              </a:cxnLst>
              <a:rect l="0" t="0" r="r" b="b"/>
              <a:pathLst>
                <a:path w="1602" h="1495">
                  <a:moveTo>
                    <a:pt x="1160" y="262"/>
                  </a:moveTo>
                  <a:lnTo>
                    <a:pt x="1160" y="260"/>
                  </a:lnTo>
                  <a:lnTo>
                    <a:pt x="1164" y="256"/>
                  </a:lnTo>
                  <a:lnTo>
                    <a:pt x="1169" y="250"/>
                  </a:lnTo>
                  <a:lnTo>
                    <a:pt x="1173" y="241"/>
                  </a:lnTo>
                  <a:lnTo>
                    <a:pt x="1175" y="237"/>
                  </a:lnTo>
                  <a:lnTo>
                    <a:pt x="1175" y="243"/>
                  </a:lnTo>
                  <a:lnTo>
                    <a:pt x="1173" y="247"/>
                  </a:lnTo>
                  <a:lnTo>
                    <a:pt x="1173" y="250"/>
                  </a:lnTo>
                  <a:lnTo>
                    <a:pt x="1177" y="250"/>
                  </a:lnTo>
                  <a:lnTo>
                    <a:pt x="1180" y="247"/>
                  </a:lnTo>
                  <a:lnTo>
                    <a:pt x="1184" y="243"/>
                  </a:lnTo>
                  <a:lnTo>
                    <a:pt x="1182" y="241"/>
                  </a:lnTo>
                  <a:lnTo>
                    <a:pt x="1179" y="237"/>
                  </a:lnTo>
                  <a:lnTo>
                    <a:pt x="1179" y="237"/>
                  </a:lnTo>
                  <a:lnTo>
                    <a:pt x="1184" y="237"/>
                  </a:lnTo>
                  <a:lnTo>
                    <a:pt x="1184" y="231"/>
                  </a:lnTo>
                  <a:lnTo>
                    <a:pt x="1182" y="230"/>
                  </a:lnTo>
                  <a:lnTo>
                    <a:pt x="1182" y="226"/>
                  </a:lnTo>
                  <a:lnTo>
                    <a:pt x="1188" y="222"/>
                  </a:lnTo>
                  <a:lnTo>
                    <a:pt x="1188" y="216"/>
                  </a:lnTo>
                  <a:lnTo>
                    <a:pt x="1194" y="216"/>
                  </a:lnTo>
                  <a:lnTo>
                    <a:pt x="1194" y="213"/>
                  </a:lnTo>
                  <a:lnTo>
                    <a:pt x="1194" y="216"/>
                  </a:lnTo>
                  <a:lnTo>
                    <a:pt x="1194" y="216"/>
                  </a:lnTo>
                  <a:lnTo>
                    <a:pt x="1192" y="216"/>
                  </a:lnTo>
                  <a:lnTo>
                    <a:pt x="1188" y="226"/>
                  </a:lnTo>
                  <a:lnTo>
                    <a:pt x="1184" y="228"/>
                  </a:lnTo>
                  <a:lnTo>
                    <a:pt x="1184" y="233"/>
                  </a:lnTo>
                  <a:lnTo>
                    <a:pt x="1188" y="237"/>
                  </a:lnTo>
                  <a:lnTo>
                    <a:pt x="1188" y="241"/>
                  </a:lnTo>
                  <a:lnTo>
                    <a:pt x="1188" y="237"/>
                  </a:lnTo>
                  <a:lnTo>
                    <a:pt x="1194" y="233"/>
                  </a:lnTo>
                  <a:lnTo>
                    <a:pt x="1199" y="228"/>
                  </a:lnTo>
                  <a:lnTo>
                    <a:pt x="1201" y="222"/>
                  </a:lnTo>
                  <a:lnTo>
                    <a:pt x="1201" y="218"/>
                  </a:lnTo>
                  <a:lnTo>
                    <a:pt x="1205" y="213"/>
                  </a:lnTo>
                  <a:lnTo>
                    <a:pt x="1207" y="213"/>
                  </a:lnTo>
                  <a:lnTo>
                    <a:pt x="1207" y="216"/>
                  </a:lnTo>
                  <a:lnTo>
                    <a:pt x="1207" y="216"/>
                  </a:lnTo>
                  <a:lnTo>
                    <a:pt x="1207" y="220"/>
                  </a:lnTo>
                  <a:lnTo>
                    <a:pt x="1209" y="220"/>
                  </a:lnTo>
                  <a:lnTo>
                    <a:pt x="1212" y="216"/>
                  </a:lnTo>
                  <a:lnTo>
                    <a:pt x="1216" y="216"/>
                  </a:lnTo>
                  <a:lnTo>
                    <a:pt x="1222" y="216"/>
                  </a:lnTo>
                  <a:lnTo>
                    <a:pt x="1228" y="213"/>
                  </a:lnTo>
                  <a:lnTo>
                    <a:pt x="1231" y="213"/>
                  </a:lnTo>
                  <a:lnTo>
                    <a:pt x="1233" y="211"/>
                  </a:lnTo>
                  <a:lnTo>
                    <a:pt x="1237" y="211"/>
                  </a:lnTo>
                  <a:lnTo>
                    <a:pt x="1239" y="207"/>
                  </a:lnTo>
                  <a:lnTo>
                    <a:pt x="1239" y="203"/>
                  </a:lnTo>
                  <a:lnTo>
                    <a:pt x="1239" y="201"/>
                  </a:lnTo>
                  <a:lnTo>
                    <a:pt x="1237" y="198"/>
                  </a:lnTo>
                  <a:lnTo>
                    <a:pt x="1239" y="194"/>
                  </a:lnTo>
                  <a:lnTo>
                    <a:pt x="1239" y="186"/>
                  </a:lnTo>
                  <a:lnTo>
                    <a:pt x="1237" y="186"/>
                  </a:lnTo>
                  <a:lnTo>
                    <a:pt x="1235" y="192"/>
                  </a:lnTo>
                  <a:lnTo>
                    <a:pt x="1229" y="196"/>
                  </a:lnTo>
                  <a:lnTo>
                    <a:pt x="1228" y="196"/>
                  </a:lnTo>
                  <a:lnTo>
                    <a:pt x="1228" y="192"/>
                  </a:lnTo>
                  <a:lnTo>
                    <a:pt x="1231" y="188"/>
                  </a:lnTo>
                  <a:lnTo>
                    <a:pt x="1235" y="186"/>
                  </a:lnTo>
                  <a:lnTo>
                    <a:pt x="1235" y="183"/>
                  </a:lnTo>
                  <a:lnTo>
                    <a:pt x="1231" y="181"/>
                  </a:lnTo>
                  <a:lnTo>
                    <a:pt x="1229" y="179"/>
                  </a:lnTo>
                  <a:lnTo>
                    <a:pt x="1228" y="179"/>
                  </a:lnTo>
                  <a:lnTo>
                    <a:pt x="1226" y="179"/>
                  </a:lnTo>
                  <a:lnTo>
                    <a:pt x="1226" y="183"/>
                  </a:lnTo>
                  <a:lnTo>
                    <a:pt x="1222" y="181"/>
                  </a:lnTo>
                  <a:lnTo>
                    <a:pt x="1218" y="181"/>
                  </a:lnTo>
                  <a:lnTo>
                    <a:pt x="1218" y="183"/>
                  </a:lnTo>
                  <a:lnTo>
                    <a:pt x="1214" y="183"/>
                  </a:lnTo>
                  <a:lnTo>
                    <a:pt x="1216" y="181"/>
                  </a:lnTo>
                  <a:lnTo>
                    <a:pt x="1224" y="177"/>
                  </a:lnTo>
                  <a:lnTo>
                    <a:pt x="1228" y="173"/>
                  </a:lnTo>
                  <a:lnTo>
                    <a:pt x="1233" y="167"/>
                  </a:lnTo>
                  <a:lnTo>
                    <a:pt x="1235" y="167"/>
                  </a:lnTo>
                  <a:lnTo>
                    <a:pt x="1241" y="158"/>
                  </a:lnTo>
                  <a:lnTo>
                    <a:pt x="1243" y="152"/>
                  </a:lnTo>
                  <a:lnTo>
                    <a:pt x="1241" y="152"/>
                  </a:lnTo>
                  <a:lnTo>
                    <a:pt x="1237" y="152"/>
                  </a:lnTo>
                  <a:lnTo>
                    <a:pt x="1235" y="156"/>
                  </a:lnTo>
                  <a:lnTo>
                    <a:pt x="1233" y="152"/>
                  </a:lnTo>
                  <a:lnTo>
                    <a:pt x="1235" y="149"/>
                  </a:lnTo>
                  <a:lnTo>
                    <a:pt x="1237" y="149"/>
                  </a:lnTo>
                  <a:lnTo>
                    <a:pt x="1241" y="149"/>
                  </a:lnTo>
                  <a:lnTo>
                    <a:pt x="1243" y="149"/>
                  </a:lnTo>
                  <a:lnTo>
                    <a:pt x="1243" y="143"/>
                  </a:lnTo>
                  <a:lnTo>
                    <a:pt x="1246" y="139"/>
                  </a:lnTo>
                  <a:lnTo>
                    <a:pt x="1246" y="135"/>
                  </a:lnTo>
                  <a:lnTo>
                    <a:pt x="1243" y="134"/>
                  </a:lnTo>
                  <a:lnTo>
                    <a:pt x="1243" y="132"/>
                  </a:lnTo>
                  <a:lnTo>
                    <a:pt x="1241" y="132"/>
                  </a:lnTo>
                  <a:lnTo>
                    <a:pt x="1237" y="132"/>
                  </a:lnTo>
                  <a:lnTo>
                    <a:pt x="1233" y="139"/>
                  </a:lnTo>
                  <a:lnTo>
                    <a:pt x="1233" y="145"/>
                  </a:lnTo>
                  <a:lnTo>
                    <a:pt x="1235" y="147"/>
                  </a:lnTo>
                  <a:lnTo>
                    <a:pt x="1231" y="149"/>
                  </a:lnTo>
                  <a:lnTo>
                    <a:pt x="1229" y="149"/>
                  </a:lnTo>
                  <a:lnTo>
                    <a:pt x="1229" y="149"/>
                  </a:lnTo>
                  <a:lnTo>
                    <a:pt x="1229" y="149"/>
                  </a:lnTo>
                  <a:lnTo>
                    <a:pt x="1228" y="147"/>
                  </a:lnTo>
                  <a:lnTo>
                    <a:pt x="1228" y="143"/>
                  </a:lnTo>
                  <a:lnTo>
                    <a:pt x="1231" y="137"/>
                  </a:lnTo>
                  <a:lnTo>
                    <a:pt x="1229" y="134"/>
                  </a:lnTo>
                  <a:lnTo>
                    <a:pt x="1231" y="132"/>
                  </a:lnTo>
                  <a:lnTo>
                    <a:pt x="1233" y="132"/>
                  </a:lnTo>
                  <a:lnTo>
                    <a:pt x="1235" y="132"/>
                  </a:lnTo>
                  <a:lnTo>
                    <a:pt x="1233" y="128"/>
                  </a:lnTo>
                  <a:lnTo>
                    <a:pt x="1231" y="122"/>
                  </a:lnTo>
                  <a:lnTo>
                    <a:pt x="1228" y="122"/>
                  </a:lnTo>
                  <a:lnTo>
                    <a:pt x="1224" y="122"/>
                  </a:lnTo>
                  <a:lnTo>
                    <a:pt x="1222" y="128"/>
                  </a:lnTo>
                  <a:lnTo>
                    <a:pt x="1222" y="124"/>
                  </a:lnTo>
                  <a:lnTo>
                    <a:pt x="1222" y="122"/>
                  </a:lnTo>
                  <a:lnTo>
                    <a:pt x="1222" y="118"/>
                  </a:lnTo>
                  <a:lnTo>
                    <a:pt x="1218" y="115"/>
                  </a:lnTo>
                  <a:lnTo>
                    <a:pt x="1218" y="105"/>
                  </a:lnTo>
                  <a:lnTo>
                    <a:pt x="1218" y="100"/>
                  </a:lnTo>
                  <a:lnTo>
                    <a:pt x="1222" y="94"/>
                  </a:lnTo>
                  <a:lnTo>
                    <a:pt x="1222" y="88"/>
                  </a:lnTo>
                  <a:lnTo>
                    <a:pt x="1222" y="86"/>
                  </a:lnTo>
                  <a:lnTo>
                    <a:pt x="1224" y="79"/>
                  </a:lnTo>
                  <a:lnTo>
                    <a:pt x="1224" y="73"/>
                  </a:lnTo>
                  <a:lnTo>
                    <a:pt x="1222" y="69"/>
                  </a:lnTo>
                  <a:lnTo>
                    <a:pt x="1222" y="68"/>
                  </a:lnTo>
                  <a:lnTo>
                    <a:pt x="1216" y="64"/>
                  </a:lnTo>
                  <a:lnTo>
                    <a:pt x="1214" y="60"/>
                  </a:lnTo>
                  <a:lnTo>
                    <a:pt x="1209" y="58"/>
                  </a:lnTo>
                  <a:lnTo>
                    <a:pt x="1207" y="58"/>
                  </a:lnTo>
                  <a:lnTo>
                    <a:pt x="1207" y="62"/>
                  </a:lnTo>
                  <a:lnTo>
                    <a:pt x="1207" y="62"/>
                  </a:lnTo>
                  <a:lnTo>
                    <a:pt x="1201" y="58"/>
                  </a:lnTo>
                  <a:lnTo>
                    <a:pt x="1197" y="58"/>
                  </a:lnTo>
                  <a:lnTo>
                    <a:pt x="1197" y="62"/>
                  </a:lnTo>
                  <a:lnTo>
                    <a:pt x="1194" y="68"/>
                  </a:lnTo>
                  <a:lnTo>
                    <a:pt x="1197" y="68"/>
                  </a:lnTo>
                  <a:lnTo>
                    <a:pt x="1201" y="68"/>
                  </a:lnTo>
                  <a:lnTo>
                    <a:pt x="1203" y="68"/>
                  </a:lnTo>
                  <a:lnTo>
                    <a:pt x="1209" y="69"/>
                  </a:lnTo>
                  <a:lnTo>
                    <a:pt x="1211" y="71"/>
                  </a:lnTo>
                  <a:lnTo>
                    <a:pt x="1212" y="73"/>
                  </a:lnTo>
                  <a:lnTo>
                    <a:pt x="1212" y="75"/>
                  </a:lnTo>
                  <a:lnTo>
                    <a:pt x="1207" y="81"/>
                  </a:lnTo>
                  <a:lnTo>
                    <a:pt x="1205" y="81"/>
                  </a:lnTo>
                  <a:lnTo>
                    <a:pt x="1201" y="79"/>
                  </a:lnTo>
                  <a:lnTo>
                    <a:pt x="1197" y="79"/>
                  </a:lnTo>
                  <a:lnTo>
                    <a:pt x="1194" y="77"/>
                  </a:lnTo>
                  <a:lnTo>
                    <a:pt x="1197" y="81"/>
                  </a:lnTo>
                  <a:lnTo>
                    <a:pt x="1197" y="81"/>
                  </a:lnTo>
                  <a:lnTo>
                    <a:pt x="1194" y="85"/>
                  </a:lnTo>
                  <a:lnTo>
                    <a:pt x="1194" y="86"/>
                  </a:lnTo>
                  <a:lnTo>
                    <a:pt x="1188" y="81"/>
                  </a:lnTo>
                  <a:lnTo>
                    <a:pt x="1182" y="83"/>
                  </a:lnTo>
                  <a:lnTo>
                    <a:pt x="1180" y="88"/>
                  </a:lnTo>
                  <a:lnTo>
                    <a:pt x="1177" y="88"/>
                  </a:lnTo>
                  <a:lnTo>
                    <a:pt x="1179" y="94"/>
                  </a:lnTo>
                  <a:lnTo>
                    <a:pt x="1180" y="94"/>
                  </a:lnTo>
                  <a:lnTo>
                    <a:pt x="1182" y="98"/>
                  </a:lnTo>
                  <a:lnTo>
                    <a:pt x="1184" y="100"/>
                  </a:lnTo>
                  <a:lnTo>
                    <a:pt x="1184" y="102"/>
                  </a:lnTo>
                  <a:lnTo>
                    <a:pt x="1184" y="102"/>
                  </a:lnTo>
                  <a:lnTo>
                    <a:pt x="1182" y="103"/>
                  </a:lnTo>
                  <a:lnTo>
                    <a:pt x="1184" y="107"/>
                  </a:lnTo>
                  <a:lnTo>
                    <a:pt x="1184" y="109"/>
                  </a:lnTo>
                  <a:lnTo>
                    <a:pt x="1182" y="109"/>
                  </a:lnTo>
                  <a:lnTo>
                    <a:pt x="1179" y="107"/>
                  </a:lnTo>
                  <a:lnTo>
                    <a:pt x="1175" y="105"/>
                  </a:lnTo>
                  <a:lnTo>
                    <a:pt x="1173" y="103"/>
                  </a:lnTo>
                  <a:lnTo>
                    <a:pt x="1169" y="103"/>
                  </a:lnTo>
                  <a:lnTo>
                    <a:pt x="1167" y="105"/>
                  </a:lnTo>
                  <a:lnTo>
                    <a:pt x="1167" y="107"/>
                  </a:lnTo>
                  <a:lnTo>
                    <a:pt x="1167" y="111"/>
                  </a:lnTo>
                  <a:lnTo>
                    <a:pt x="1167" y="115"/>
                  </a:lnTo>
                  <a:lnTo>
                    <a:pt x="1164" y="113"/>
                  </a:lnTo>
                  <a:lnTo>
                    <a:pt x="1164" y="111"/>
                  </a:lnTo>
                  <a:lnTo>
                    <a:pt x="1160" y="109"/>
                  </a:lnTo>
                  <a:lnTo>
                    <a:pt x="1158" y="107"/>
                  </a:lnTo>
                  <a:lnTo>
                    <a:pt x="1156" y="107"/>
                  </a:lnTo>
                  <a:lnTo>
                    <a:pt x="1154" y="105"/>
                  </a:lnTo>
                  <a:lnTo>
                    <a:pt x="1152" y="103"/>
                  </a:lnTo>
                  <a:lnTo>
                    <a:pt x="1150" y="107"/>
                  </a:lnTo>
                  <a:lnTo>
                    <a:pt x="1152" y="111"/>
                  </a:lnTo>
                  <a:lnTo>
                    <a:pt x="1152" y="115"/>
                  </a:lnTo>
                  <a:lnTo>
                    <a:pt x="1154" y="118"/>
                  </a:lnTo>
                  <a:lnTo>
                    <a:pt x="1156" y="122"/>
                  </a:lnTo>
                  <a:lnTo>
                    <a:pt x="1160" y="122"/>
                  </a:lnTo>
                  <a:lnTo>
                    <a:pt x="1164" y="124"/>
                  </a:lnTo>
                  <a:lnTo>
                    <a:pt x="1160" y="124"/>
                  </a:lnTo>
                  <a:lnTo>
                    <a:pt x="1158" y="124"/>
                  </a:lnTo>
                  <a:lnTo>
                    <a:pt x="1160" y="128"/>
                  </a:lnTo>
                  <a:lnTo>
                    <a:pt x="1164" y="132"/>
                  </a:lnTo>
                  <a:lnTo>
                    <a:pt x="1167" y="134"/>
                  </a:lnTo>
                  <a:lnTo>
                    <a:pt x="1173" y="132"/>
                  </a:lnTo>
                  <a:lnTo>
                    <a:pt x="1173" y="132"/>
                  </a:lnTo>
                  <a:lnTo>
                    <a:pt x="1175" y="132"/>
                  </a:lnTo>
                  <a:lnTo>
                    <a:pt x="1175" y="134"/>
                  </a:lnTo>
                  <a:lnTo>
                    <a:pt x="1173" y="135"/>
                  </a:lnTo>
                  <a:lnTo>
                    <a:pt x="1169" y="141"/>
                  </a:lnTo>
                  <a:lnTo>
                    <a:pt x="1167" y="141"/>
                  </a:lnTo>
                  <a:lnTo>
                    <a:pt x="1164" y="137"/>
                  </a:lnTo>
                  <a:lnTo>
                    <a:pt x="1154" y="135"/>
                  </a:lnTo>
                  <a:lnTo>
                    <a:pt x="1150" y="132"/>
                  </a:lnTo>
                  <a:lnTo>
                    <a:pt x="1147" y="128"/>
                  </a:lnTo>
                  <a:lnTo>
                    <a:pt x="1147" y="128"/>
                  </a:lnTo>
                  <a:lnTo>
                    <a:pt x="1145" y="128"/>
                  </a:lnTo>
                  <a:lnTo>
                    <a:pt x="1143" y="132"/>
                  </a:lnTo>
                  <a:lnTo>
                    <a:pt x="1143" y="134"/>
                  </a:lnTo>
                  <a:lnTo>
                    <a:pt x="1143" y="135"/>
                  </a:lnTo>
                  <a:lnTo>
                    <a:pt x="1143" y="141"/>
                  </a:lnTo>
                  <a:lnTo>
                    <a:pt x="1143" y="143"/>
                  </a:lnTo>
                  <a:lnTo>
                    <a:pt x="1139" y="141"/>
                  </a:lnTo>
                  <a:lnTo>
                    <a:pt x="1139" y="147"/>
                  </a:lnTo>
                  <a:lnTo>
                    <a:pt x="1135" y="149"/>
                  </a:lnTo>
                  <a:lnTo>
                    <a:pt x="1135" y="156"/>
                  </a:lnTo>
                  <a:lnTo>
                    <a:pt x="1139" y="156"/>
                  </a:lnTo>
                  <a:lnTo>
                    <a:pt x="1145" y="156"/>
                  </a:lnTo>
                  <a:lnTo>
                    <a:pt x="1148" y="158"/>
                  </a:lnTo>
                  <a:lnTo>
                    <a:pt x="1152" y="158"/>
                  </a:lnTo>
                  <a:lnTo>
                    <a:pt x="1152" y="162"/>
                  </a:lnTo>
                  <a:lnTo>
                    <a:pt x="1148" y="162"/>
                  </a:lnTo>
                  <a:lnTo>
                    <a:pt x="1145" y="162"/>
                  </a:lnTo>
                  <a:lnTo>
                    <a:pt x="1139" y="162"/>
                  </a:lnTo>
                  <a:lnTo>
                    <a:pt x="1139" y="158"/>
                  </a:lnTo>
                  <a:lnTo>
                    <a:pt x="1135" y="162"/>
                  </a:lnTo>
                  <a:lnTo>
                    <a:pt x="1130" y="166"/>
                  </a:lnTo>
                  <a:lnTo>
                    <a:pt x="1130" y="169"/>
                  </a:lnTo>
                  <a:lnTo>
                    <a:pt x="1130" y="171"/>
                  </a:lnTo>
                  <a:lnTo>
                    <a:pt x="1130" y="173"/>
                  </a:lnTo>
                  <a:lnTo>
                    <a:pt x="1128" y="173"/>
                  </a:lnTo>
                  <a:lnTo>
                    <a:pt x="1128" y="177"/>
                  </a:lnTo>
                  <a:lnTo>
                    <a:pt x="1130" y="181"/>
                  </a:lnTo>
                  <a:lnTo>
                    <a:pt x="1133" y="179"/>
                  </a:lnTo>
                  <a:lnTo>
                    <a:pt x="1135" y="179"/>
                  </a:lnTo>
                  <a:lnTo>
                    <a:pt x="1139" y="173"/>
                  </a:lnTo>
                  <a:lnTo>
                    <a:pt x="1143" y="177"/>
                  </a:lnTo>
                  <a:lnTo>
                    <a:pt x="1143" y="181"/>
                  </a:lnTo>
                  <a:lnTo>
                    <a:pt x="1139" y="181"/>
                  </a:lnTo>
                  <a:lnTo>
                    <a:pt x="1135" y="183"/>
                  </a:lnTo>
                  <a:lnTo>
                    <a:pt x="1135" y="186"/>
                  </a:lnTo>
                  <a:lnTo>
                    <a:pt x="1139" y="186"/>
                  </a:lnTo>
                  <a:lnTo>
                    <a:pt x="1143" y="183"/>
                  </a:lnTo>
                  <a:lnTo>
                    <a:pt x="1145" y="183"/>
                  </a:lnTo>
                  <a:lnTo>
                    <a:pt x="1148" y="181"/>
                  </a:lnTo>
                  <a:lnTo>
                    <a:pt x="1148" y="183"/>
                  </a:lnTo>
                  <a:lnTo>
                    <a:pt x="1147" y="183"/>
                  </a:lnTo>
                  <a:lnTo>
                    <a:pt x="1148" y="186"/>
                  </a:lnTo>
                  <a:lnTo>
                    <a:pt x="1154" y="186"/>
                  </a:lnTo>
                  <a:lnTo>
                    <a:pt x="1156" y="186"/>
                  </a:lnTo>
                  <a:lnTo>
                    <a:pt x="1152" y="186"/>
                  </a:lnTo>
                  <a:lnTo>
                    <a:pt x="1152" y="192"/>
                  </a:lnTo>
                  <a:lnTo>
                    <a:pt x="1156" y="192"/>
                  </a:lnTo>
                  <a:lnTo>
                    <a:pt x="1160" y="192"/>
                  </a:lnTo>
                  <a:lnTo>
                    <a:pt x="1164" y="192"/>
                  </a:lnTo>
                  <a:lnTo>
                    <a:pt x="1173" y="196"/>
                  </a:lnTo>
                  <a:lnTo>
                    <a:pt x="1173" y="196"/>
                  </a:lnTo>
                  <a:lnTo>
                    <a:pt x="1164" y="196"/>
                  </a:lnTo>
                  <a:lnTo>
                    <a:pt x="1160" y="198"/>
                  </a:lnTo>
                  <a:lnTo>
                    <a:pt x="1158" y="194"/>
                  </a:lnTo>
                  <a:lnTo>
                    <a:pt x="1152" y="196"/>
                  </a:lnTo>
                  <a:lnTo>
                    <a:pt x="1152" y="198"/>
                  </a:lnTo>
                  <a:lnTo>
                    <a:pt x="1158" y="199"/>
                  </a:lnTo>
                  <a:lnTo>
                    <a:pt x="1164" y="201"/>
                  </a:lnTo>
                  <a:lnTo>
                    <a:pt x="1173" y="201"/>
                  </a:lnTo>
                  <a:lnTo>
                    <a:pt x="1173" y="203"/>
                  </a:lnTo>
                  <a:lnTo>
                    <a:pt x="1167" y="203"/>
                  </a:lnTo>
                  <a:lnTo>
                    <a:pt x="1164" y="203"/>
                  </a:lnTo>
                  <a:lnTo>
                    <a:pt x="1156" y="201"/>
                  </a:lnTo>
                  <a:lnTo>
                    <a:pt x="1152" y="201"/>
                  </a:lnTo>
                  <a:lnTo>
                    <a:pt x="1148" y="199"/>
                  </a:lnTo>
                  <a:lnTo>
                    <a:pt x="1145" y="198"/>
                  </a:lnTo>
                  <a:lnTo>
                    <a:pt x="1139" y="192"/>
                  </a:lnTo>
                  <a:lnTo>
                    <a:pt x="1139" y="194"/>
                  </a:lnTo>
                  <a:lnTo>
                    <a:pt x="1135" y="198"/>
                  </a:lnTo>
                  <a:lnTo>
                    <a:pt x="1130" y="198"/>
                  </a:lnTo>
                  <a:lnTo>
                    <a:pt x="1128" y="199"/>
                  </a:lnTo>
                  <a:lnTo>
                    <a:pt x="1128" y="207"/>
                  </a:lnTo>
                  <a:lnTo>
                    <a:pt x="1130" y="211"/>
                  </a:lnTo>
                  <a:lnTo>
                    <a:pt x="1130" y="213"/>
                  </a:lnTo>
                  <a:lnTo>
                    <a:pt x="1130" y="216"/>
                  </a:lnTo>
                  <a:lnTo>
                    <a:pt x="1128" y="211"/>
                  </a:lnTo>
                  <a:lnTo>
                    <a:pt x="1126" y="211"/>
                  </a:lnTo>
                  <a:lnTo>
                    <a:pt x="1122" y="216"/>
                  </a:lnTo>
                  <a:lnTo>
                    <a:pt x="1124" y="222"/>
                  </a:lnTo>
                  <a:lnTo>
                    <a:pt x="1126" y="222"/>
                  </a:lnTo>
                  <a:lnTo>
                    <a:pt x="1128" y="222"/>
                  </a:lnTo>
                  <a:lnTo>
                    <a:pt x="1130" y="222"/>
                  </a:lnTo>
                  <a:lnTo>
                    <a:pt x="1130" y="226"/>
                  </a:lnTo>
                  <a:lnTo>
                    <a:pt x="1135" y="228"/>
                  </a:lnTo>
                  <a:lnTo>
                    <a:pt x="1130" y="228"/>
                  </a:lnTo>
                  <a:lnTo>
                    <a:pt x="1130" y="230"/>
                  </a:lnTo>
                  <a:lnTo>
                    <a:pt x="1126" y="226"/>
                  </a:lnTo>
                  <a:lnTo>
                    <a:pt x="1122" y="226"/>
                  </a:lnTo>
                  <a:lnTo>
                    <a:pt x="1120" y="233"/>
                  </a:lnTo>
                  <a:lnTo>
                    <a:pt x="1122" y="235"/>
                  </a:lnTo>
                  <a:lnTo>
                    <a:pt x="1126" y="233"/>
                  </a:lnTo>
                  <a:lnTo>
                    <a:pt x="1124" y="237"/>
                  </a:lnTo>
                  <a:lnTo>
                    <a:pt x="1124" y="247"/>
                  </a:lnTo>
                  <a:lnTo>
                    <a:pt x="1126" y="243"/>
                  </a:lnTo>
                  <a:lnTo>
                    <a:pt x="1130" y="243"/>
                  </a:lnTo>
                  <a:lnTo>
                    <a:pt x="1130" y="250"/>
                  </a:lnTo>
                  <a:lnTo>
                    <a:pt x="1135" y="250"/>
                  </a:lnTo>
                  <a:lnTo>
                    <a:pt x="1143" y="256"/>
                  </a:lnTo>
                  <a:lnTo>
                    <a:pt x="1145" y="254"/>
                  </a:lnTo>
                  <a:lnTo>
                    <a:pt x="1145" y="250"/>
                  </a:lnTo>
                  <a:lnTo>
                    <a:pt x="1145" y="247"/>
                  </a:lnTo>
                  <a:lnTo>
                    <a:pt x="1150" y="250"/>
                  </a:lnTo>
                  <a:lnTo>
                    <a:pt x="1150" y="250"/>
                  </a:lnTo>
                  <a:lnTo>
                    <a:pt x="1150" y="254"/>
                  </a:lnTo>
                  <a:lnTo>
                    <a:pt x="1150" y="258"/>
                  </a:lnTo>
                  <a:lnTo>
                    <a:pt x="1152" y="258"/>
                  </a:lnTo>
                  <a:lnTo>
                    <a:pt x="1156" y="250"/>
                  </a:lnTo>
                  <a:lnTo>
                    <a:pt x="1156" y="243"/>
                  </a:lnTo>
                  <a:lnTo>
                    <a:pt x="1158" y="237"/>
                  </a:lnTo>
                  <a:lnTo>
                    <a:pt x="1160" y="231"/>
                  </a:lnTo>
                  <a:lnTo>
                    <a:pt x="1164" y="228"/>
                  </a:lnTo>
                  <a:lnTo>
                    <a:pt x="1164" y="233"/>
                  </a:lnTo>
                  <a:lnTo>
                    <a:pt x="1158" y="241"/>
                  </a:lnTo>
                  <a:lnTo>
                    <a:pt x="1158" y="247"/>
                  </a:lnTo>
                  <a:lnTo>
                    <a:pt x="1160" y="247"/>
                  </a:lnTo>
                  <a:lnTo>
                    <a:pt x="1158" y="254"/>
                  </a:lnTo>
                  <a:lnTo>
                    <a:pt x="1160" y="258"/>
                  </a:lnTo>
                  <a:lnTo>
                    <a:pt x="1158" y="262"/>
                  </a:lnTo>
                  <a:lnTo>
                    <a:pt x="1160" y="262"/>
                  </a:lnTo>
                  <a:lnTo>
                    <a:pt x="1160" y="262"/>
                  </a:lnTo>
                  <a:lnTo>
                    <a:pt x="1160" y="262"/>
                  </a:lnTo>
                  <a:lnTo>
                    <a:pt x="1160" y="262"/>
                  </a:lnTo>
                  <a:close/>
                  <a:moveTo>
                    <a:pt x="1167" y="98"/>
                  </a:moveTo>
                  <a:lnTo>
                    <a:pt x="1169" y="98"/>
                  </a:lnTo>
                  <a:lnTo>
                    <a:pt x="1173" y="98"/>
                  </a:lnTo>
                  <a:lnTo>
                    <a:pt x="1173" y="98"/>
                  </a:lnTo>
                  <a:lnTo>
                    <a:pt x="1177" y="98"/>
                  </a:lnTo>
                  <a:lnTo>
                    <a:pt x="1177" y="102"/>
                  </a:lnTo>
                  <a:lnTo>
                    <a:pt x="1175" y="102"/>
                  </a:lnTo>
                  <a:lnTo>
                    <a:pt x="1173" y="100"/>
                  </a:lnTo>
                  <a:lnTo>
                    <a:pt x="1169" y="100"/>
                  </a:lnTo>
                  <a:lnTo>
                    <a:pt x="1167" y="98"/>
                  </a:lnTo>
                  <a:lnTo>
                    <a:pt x="1167" y="98"/>
                  </a:lnTo>
                  <a:lnTo>
                    <a:pt x="1167" y="98"/>
                  </a:lnTo>
                  <a:lnTo>
                    <a:pt x="1167" y="98"/>
                  </a:lnTo>
                  <a:close/>
                  <a:moveTo>
                    <a:pt x="1173" y="260"/>
                  </a:moveTo>
                  <a:lnTo>
                    <a:pt x="1173" y="258"/>
                  </a:lnTo>
                  <a:lnTo>
                    <a:pt x="1173" y="254"/>
                  </a:lnTo>
                  <a:lnTo>
                    <a:pt x="1173" y="252"/>
                  </a:lnTo>
                  <a:lnTo>
                    <a:pt x="1177" y="250"/>
                  </a:lnTo>
                  <a:lnTo>
                    <a:pt x="1177" y="252"/>
                  </a:lnTo>
                  <a:lnTo>
                    <a:pt x="1177" y="254"/>
                  </a:lnTo>
                  <a:lnTo>
                    <a:pt x="1175" y="256"/>
                  </a:lnTo>
                  <a:lnTo>
                    <a:pt x="1173" y="260"/>
                  </a:lnTo>
                  <a:lnTo>
                    <a:pt x="1173" y="260"/>
                  </a:lnTo>
                  <a:lnTo>
                    <a:pt x="1173" y="260"/>
                  </a:lnTo>
                  <a:lnTo>
                    <a:pt x="1173" y="260"/>
                  </a:lnTo>
                  <a:lnTo>
                    <a:pt x="1173" y="260"/>
                  </a:lnTo>
                  <a:close/>
                  <a:moveTo>
                    <a:pt x="1209" y="226"/>
                  </a:moveTo>
                  <a:lnTo>
                    <a:pt x="1214" y="218"/>
                  </a:lnTo>
                  <a:lnTo>
                    <a:pt x="1216" y="218"/>
                  </a:lnTo>
                  <a:lnTo>
                    <a:pt x="1218" y="216"/>
                  </a:lnTo>
                  <a:lnTo>
                    <a:pt x="1222" y="218"/>
                  </a:lnTo>
                  <a:lnTo>
                    <a:pt x="1226" y="222"/>
                  </a:lnTo>
                  <a:lnTo>
                    <a:pt x="1224" y="226"/>
                  </a:lnTo>
                  <a:lnTo>
                    <a:pt x="1222" y="226"/>
                  </a:lnTo>
                  <a:lnTo>
                    <a:pt x="1218" y="228"/>
                  </a:lnTo>
                  <a:lnTo>
                    <a:pt x="1212" y="228"/>
                  </a:lnTo>
                  <a:lnTo>
                    <a:pt x="1211" y="228"/>
                  </a:lnTo>
                  <a:lnTo>
                    <a:pt x="1209" y="226"/>
                  </a:lnTo>
                  <a:lnTo>
                    <a:pt x="1209" y="226"/>
                  </a:lnTo>
                  <a:lnTo>
                    <a:pt x="1209" y="226"/>
                  </a:lnTo>
                  <a:lnTo>
                    <a:pt x="1209" y="226"/>
                  </a:lnTo>
                  <a:close/>
                  <a:moveTo>
                    <a:pt x="1487" y="5"/>
                  </a:moveTo>
                  <a:lnTo>
                    <a:pt x="1489" y="4"/>
                  </a:lnTo>
                  <a:lnTo>
                    <a:pt x="1491" y="4"/>
                  </a:lnTo>
                  <a:lnTo>
                    <a:pt x="1493" y="5"/>
                  </a:lnTo>
                  <a:lnTo>
                    <a:pt x="1489" y="9"/>
                  </a:lnTo>
                  <a:lnTo>
                    <a:pt x="1487" y="5"/>
                  </a:lnTo>
                  <a:lnTo>
                    <a:pt x="1487" y="5"/>
                  </a:lnTo>
                  <a:lnTo>
                    <a:pt x="1487" y="5"/>
                  </a:lnTo>
                  <a:lnTo>
                    <a:pt x="1487" y="5"/>
                  </a:lnTo>
                  <a:close/>
                  <a:moveTo>
                    <a:pt x="1354" y="269"/>
                  </a:moveTo>
                  <a:lnTo>
                    <a:pt x="1352" y="271"/>
                  </a:lnTo>
                  <a:lnTo>
                    <a:pt x="1354" y="271"/>
                  </a:lnTo>
                  <a:lnTo>
                    <a:pt x="1356" y="271"/>
                  </a:lnTo>
                  <a:lnTo>
                    <a:pt x="1356" y="271"/>
                  </a:lnTo>
                  <a:lnTo>
                    <a:pt x="1356" y="269"/>
                  </a:lnTo>
                  <a:lnTo>
                    <a:pt x="1356" y="269"/>
                  </a:lnTo>
                  <a:lnTo>
                    <a:pt x="1354" y="269"/>
                  </a:lnTo>
                  <a:lnTo>
                    <a:pt x="1354" y="269"/>
                  </a:lnTo>
                  <a:lnTo>
                    <a:pt x="1354" y="269"/>
                  </a:lnTo>
                  <a:lnTo>
                    <a:pt x="1354" y="269"/>
                  </a:lnTo>
                  <a:close/>
                  <a:moveTo>
                    <a:pt x="1286" y="311"/>
                  </a:moveTo>
                  <a:lnTo>
                    <a:pt x="1288" y="311"/>
                  </a:lnTo>
                  <a:lnTo>
                    <a:pt x="1292" y="311"/>
                  </a:lnTo>
                  <a:lnTo>
                    <a:pt x="1290" y="311"/>
                  </a:lnTo>
                  <a:lnTo>
                    <a:pt x="1286" y="311"/>
                  </a:lnTo>
                  <a:lnTo>
                    <a:pt x="1286" y="311"/>
                  </a:lnTo>
                  <a:lnTo>
                    <a:pt x="1286" y="311"/>
                  </a:lnTo>
                  <a:lnTo>
                    <a:pt x="1286" y="311"/>
                  </a:lnTo>
                  <a:close/>
                  <a:moveTo>
                    <a:pt x="1194" y="307"/>
                  </a:moveTo>
                  <a:lnTo>
                    <a:pt x="1192" y="305"/>
                  </a:lnTo>
                  <a:lnTo>
                    <a:pt x="1192" y="301"/>
                  </a:lnTo>
                  <a:lnTo>
                    <a:pt x="1194" y="301"/>
                  </a:lnTo>
                  <a:lnTo>
                    <a:pt x="1197" y="301"/>
                  </a:lnTo>
                  <a:lnTo>
                    <a:pt x="1197" y="305"/>
                  </a:lnTo>
                  <a:lnTo>
                    <a:pt x="1194" y="307"/>
                  </a:lnTo>
                  <a:lnTo>
                    <a:pt x="1194" y="307"/>
                  </a:lnTo>
                  <a:lnTo>
                    <a:pt x="1194" y="307"/>
                  </a:lnTo>
                  <a:lnTo>
                    <a:pt x="1194" y="307"/>
                  </a:lnTo>
                  <a:lnTo>
                    <a:pt x="1194" y="307"/>
                  </a:lnTo>
                  <a:close/>
                  <a:moveTo>
                    <a:pt x="1167" y="365"/>
                  </a:moveTo>
                  <a:lnTo>
                    <a:pt x="1167" y="363"/>
                  </a:lnTo>
                  <a:lnTo>
                    <a:pt x="1167" y="360"/>
                  </a:lnTo>
                  <a:lnTo>
                    <a:pt x="1164" y="354"/>
                  </a:lnTo>
                  <a:lnTo>
                    <a:pt x="1164" y="354"/>
                  </a:lnTo>
                  <a:lnTo>
                    <a:pt x="1164" y="354"/>
                  </a:lnTo>
                  <a:lnTo>
                    <a:pt x="1160" y="360"/>
                  </a:lnTo>
                  <a:lnTo>
                    <a:pt x="1164" y="365"/>
                  </a:lnTo>
                  <a:lnTo>
                    <a:pt x="1164" y="369"/>
                  </a:lnTo>
                  <a:lnTo>
                    <a:pt x="1164" y="371"/>
                  </a:lnTo>
                  <a:lnTo>
                    <a:pt x="1164" y="371"/>
                  </a:lnTo>
                  <a:lnTo>
                    <a:pt x="1160" y="369"/>
                  </a:lnTo>
                  <a:lnTo>
                    <a:pt x="1152" y="369"/>
                  </a:lnTo>
                  <a:lnTo>
                    <a:pt x="1152" y="369"/>
                  </a:lnTo>
                  <a:lnTo>
                    <a:pt x="1150" y="365"/>
                  </a:lnTo>
                  <a:lnTo>
                    <a:pt x="1145" y="363"/>
                  </a:lnTo>
                  <a:lnTo>
                    <a:pt x="1143" y="365"/>
                  </a:lnTo>
                  <a:lnTo>
                    <a:pt x="1143" y="363"/>
                  </a:lnTo>
                  <a:lnTo>
                    <a:pt x="1143" y="361"/>
                  </a:lnTo>
                  <a:lnTo>
                    <a:pt x="1139" y="361"/>
                  </a:lnTo>
                  <a:lnTo>
                    <a:pt x="1139" y="360"/>
                  </a:lnTo>
                  <a:lnTo>
                    <a:pt x="1139" y="356"/>
                  </a:lnTo>
                  <a:lnTo>
                    <a:pt x="1143" y="356"/>
                  </a:lnTo>
                  <a:lnTo>
                    <a:pt x="1143" y="354"/>
                  </a:lnTo>
                  <a:lnTo>
                    <a:pt x="1143" y="350"/>
                  </a:lnTo>
                  <a:lnTo>
                    <a:pt x="1143" y="344"/>
                  </a:lnTo>
                  <a:lnTo>
                    <a:pt x="1139" y="344"/>
                  </a:lnTo>
                  <a:lnTo>
                    <a:pt x="1139" y="346"/>
                  </a:lnTo>
                  <a:lnTo>
                    <a:pt x="1143" y="348"/>
                  </a:lnTo>
                  <a:lnTo>
                    <a:pt x="1143" y="352"/>
                  </a:lnTo>
                  <a:lnTo>
                    <a:pt x="1139" y="354"/>
                  </a:lnTo>
                  <a:lnTo>
                    <a:pt x="1139" y="354"/>
                  </a:lnTo>
                  <a:lnTo>
                    <a:pt x="1135" y="354"/>
                  </a:lnTo>
                  <a:lnTo>
                    <a:pt x="1135" y="356"/>
                  </a:lnTo>
                  <a:lnTo>
                    <a:pt x="1139" y="356"/>
                  </a:lnTo>
                  <a:lnTo>
                    <a:pt x="1135" y="361"/>
                  </a:lnTo>
                  <a:lnTo>
                    <a:pt x="1133" y="360"/>
                  </a:lnTo>
                  <a:lnTo>
                    <a:pt x="1130" y="356"/>
                  </a:lnTo>
                  <a:lnTo>
                    <a:pt x="1130" y="354"/>
                  </a:lnTo>
                  <a:lnTo>
                    <a:pt x="1130" y="352"/>
                  </a:lnTo>
                  <a:lnTo>
                    <a:pt x="1133" y="346"/>
                  </a:lnTo>
                  <a:lnTo>
                    <a:pt x="1130" y="344"/>
                  </a:lnTo>
                  <a:lnTo>
                    <a:pt x="1133" y="344"/>
                  </a:lnTo>
                  <a:lnTo>
                    <a:pt x="1130" y="344"/>
                  </a:lnTo>
                  <a:lnTo>
                    <a:pt x="1130" y="348"/>
                  </a:lnTo>
                  <a:lnTo>
                    <a:pt x="1128" y="350"/>
                  </a:lnTo>
                  <a:lnTo>
                    <a:pt x="1128" y="352"/>
                  </a:lnTo>
                  <a:lnTo>
                    <a:pt x="1128" y="356"/>
                  </a:lnTo>
                  <a:lnTo>
                    <a:pt x="1124" y="356"/>
                  </a:lnTo>
                  <a:lnTo>
                    <a:pt x="1122" y="354"/>
                  </a:lnTo>
                  <a:lnTo>
                    <a:pt x="1120" y="354"/>
                  </a:lnTo>
                  <a:lnTo>
                    <a:pt x="1118" y="352"/>
                  </a:lnTo>
                  <a:lnTo>
                    <a:pt x="1120" y="348"/>
                  </a:lnTo>
                  <a:lnTo>
                    <a:pt x="1120" y="344"/>
                  </a:lnTo>
                  <a:lnTo>
                    <a:pt x="1122" y="344"/>
                  </a:lnTo>
                  <a:lnTo>
                    <a:pt x="1122" y="339"/>
                  </a:lnTo>
                  <a:lnTo>
                    <a:pt x="1126" y="331"/>
                  </a:lnTo>
                  <a:lnTo>
                    <a:pt x="1124" y="335"/>
                  </a:lnTo>
                  <a:lnTo>
                    <a:pt x="1120" y="335"/>
                  </a:lnTo>
                  <a:lnTo>
                    <a:pt x="1118" y="341"/>
                  </a:lnTo>
                  <a:lnTo>
                    <a:pt x="1118" y="346"/>
                  </a:lnTo>
                  <a:lnTo>
                    <a:pt x="1118" y="350"/>
                  </a:lnTo>
                  <a:lnTo>
                    <a:pt x="1115" y="348"/>
                  </a:lnTo>
                  <a:lnTo>
                    <a:pt x="1118" y="344"/>
                  </a:lnTo>
                  <a:lnTo>
                    <a:pt x="1118" y="344"/>
                  </a:lnTo>
                  <a:lnTo>
                    <a:pt x="1118" y="344"/>
                  </a:lnTo>
                  <a:lnTo>
                    <a:pt x="1115" y="348"/>
                  </a:lnTo>
                  <a:lnTo>
                    <a:pt x="1109" y="348"/>
                  </a:lnTo>
                  <a:lnTo>
                    <a:pt x="1109" y="346"/>
                  </a:lnTo>
                  <a:lnTo>
                    <a:pt x="1109" y="341"/>
                  </a:lnTo>
                  <a:lnTo>
                    <a:pt x="1109" y="339"/>
                  </a:lnTo>
                  <a:lnTo>
                    <a:pt x="1109" y="337"/>
                  </a:lnTo>
                  <a:lnTo>
                    <a:pt x="1115" y="335"/>
                  </a:lnTo>
                  <a:lnTo>
                    <a:pt x="1115" y="331"/>
                  </a:lnTo>
                  <a:lnTo>
                    <a:pt x="1115" y="331"/>
                  </a:lnTo>
                  <a:lnTo>
                    <a:pt x="1115" y="328"/>
                  </a:lnTo>
                  <a:lnTo>
                    <a:pt x="1118" y="326"/>
                  </a:lnTo>
                  <a:lnTo>
                    <a:pt x="1120" y="324"/>
                  </a:lnTo>
                  <a:lnTo>
                    <a:pt x="1122" y="324"/>
                  </a:lnTo>
                  <a:lnTo>
                    <a:pt x="1128" y="322"/>
                  </a:lnTo>
                  <a:lnTo>
                    <a:pt x="1130" y="320"/>
                  </a:lnTo>
                  <a:lnTo>
                    <a:pt x="1130" y="318"/>
                  </a:lnTo>
                  <a:lnTo>
                    <a:pt x="1135" y="318"/>
                  </a:lnTo>
                  <a:lnTo>
                    <a:pt x="1135" y="316"/>
                  </a:lnTo>
                  <a:lnTo>
                    <a:pt x="1135" y="314"/>
                  </a:lnTo>
                  <a:lnTo>
                    <a:pt x="1139" y="314"/>
                  </a:lnTo>
                  <a:lnTo>
                    <a:pt x="1143" y="316"/>
                  </a:lnTo>
                  <a:lnTo>
                    <a:pt x="1150" y="316"/>
                  </a:lnTo>
                  <a:lnTo>
                    <a:pt x="1152" y="314"/>
                  </a:lnTo>
                  <a:lnTo>
                    <a:pt x="1156" y="316"/>
                  </a:lnTo>
                  <a:lnTo>
                    <a:pt x="1156" y="320"/>
                  </a:lnTo>
                  <a:lnTo>
                    <a:pt x="1160" y="320"/>
                  </a:lnTo>
                  <a:lnTo>
                    <a:pt x="1160" y="316"/>
                  </a:lnTo>
                  <a:lnTo>
                    <a:pt x="1160" y="316"/>
                  </a:lnTo>
                  <a:lnTo>
                    <a:pt x="1164" y="320"/>
                  </a:lnTo>
                  <a:lnTo>
                    <a:pt x="1167" y="318"/>
                  </a:lnTo>
                  <a:lnTo>
                    <a:pt x="1169" y="320"/>
                  </a:lnTo>
                  <a:lnTo>
                    <a:pt x="1173" y="318"/>
                  </a:lnTo>
                  <a:lnTo>
                    <a:pt x="1169" y="316"/>
                  </a:lnTo>
                  <a:lnTo>
                    <a:pt x="1167" y="316"/>
                  </a:lnTo>
                  <a:lnTo>
                    <a:pt x="1164" y="314"/>
                  </a:lnTo>
                  <a:lnTo>
                    <a:pt x="1164" y="314"/>
                  </a:lnTo>
                  <a:lnTo>
                    <a:pt x="1164" y="312"/>
                  </a:lnTo>
                  <a:lnTo>
                    <a:pt x="1167" y="311"/>
                  </a:lnTo>
                  <a:lnTo>
                    <a:pt x="1167" y="311"/>
                  </a:lnTo>
                  <a:lnTo>
                    <a:pt x="1164" y="307"/>
                  </a:lnTo>
                  <a:lnTo>
                    <a:pt x="1164" y="307"/>
                  </a:lnTo>
                  <a:lnTo>
                    <a:pt x="1167" y="307"/>
                  </a:lnTo>
                  <a:lnTo>
                    <a:pt x="1167" y="305"/>
                  </a:lnTo>
                  <a:lnTo>
                    <a:pt x="1164" y="305"/>
                  </a:lnTo>
                  <a:lnTo>
                    <a:pt x="1164" y="305"/>
                  </a:lnTo>
                  <a:lnTo>
                    <a:pt x="1160" y="305"/>
                  </a:lnTo>
                  <a:lnTo>
                    <a:pt x="1160" y="305"/>
                  </a:lnTo>
                  <a:lnTo>
                    <a:pt x="1160" y="301"/>
                  </a:lnTo>
                  <a:lnTo>
                    <a:pt x="1164" y="299"/>
                  </a:lnTo>
                  <a:lnTo>
                    <a:pt x="1164" y="297"/>
                  </a:lnTo>
                  <a:lnTo>
                    <a:pt x="1160" y="297"/>
                  </a:lnTo>
                  <a:lnTo>
                    <a:pt x="1160" y="294"/>
                  </a:lnTo>
                  <a:lnTo>
                    <a:pt x="1160" y="288"/>
                  </a:lnTo>
                  <a:lnTo>
                    <a:pt x="1160" y="286"/>
                  </a:lnTo>
                  <a:lnTo>
                    <a:pt x="1160" y="282"/>
                  </a:lnTo>
                  <a:lnTo>
                    <a:pt x="1160" y="280"/>
                  </a:lnTo>
                  <a:lnTo>
                    <a:pt x="1164" y="280"/>
                  </a:lnTo>
                  <a:lnTo>
                    <a:pt x="1167" y="280"/>
                  </a:lnTo>
                  <a:lnTo>
                    <a:pt x="1169" y="280"/>
                  </a:lnTo>
                  <a:lnTo>
                    <a:pt x="1173" y="277"/>
                  </a:lnTo>
                  <a:lnTo>
                    <a:pt x="1177" y="280"/>
                  </a:lnTo>
                  <a:lnTo>
                    <a:pt x="1180" y="280"/>
                  </a:lnTo>
                  <a:lnTo>
                    <a:pt x="1184" y="284"/>
                  </a:lnTo>
                  <a:lnTo>
                    <a:pt x="1184" y="292"/>
                  </a:lnTo>
                  <a:lnTo>
                    <a:pt x="1184" y="301"/>
                  </a:lnTo>
                  <a:lnTo>
                    <a:pt x="1184" y="307"/>
                  </a:lnTo>
                  <a:lnTo>
                    <a:pt x="1184" y="307"/>
                  </a:lnTo>
                  <a:lnTo>
                    <a:pt x="1188" y="307"/>
                  </a:lnTo>
                  <a:lnTo>
                    <a:pt x="1194" y="311"/>
                  </a:lnTo>
                  <a:lnTo>
                    <a:pt x="1197" y="314"/>
                  </a:lnTo>
                  <a:lnTo>
                    <a:pt x="1199" y="316"/>
                  </a:lnTo>
                  <a:lnTo>
                    <a:pt x="1199" y="312"/>
                  </a:lnTo>
                  <a:lnTo>
                    <a:pt x="1207" y="312"/>
                  </a:lnTo>
                  <a:lnTo>
                    <a:pt x="1212" y="318"/>
                  </a:lnTo>
                  <a:lnTo>
                    <a:pt x="1214" y="316"/>
                  </a:lnTo>
                  <a:lnTo>
                    <a:pt x="1211" y="314"/>
                  </a:lnTo>
                  <a:lnTo>
                    <a:pt x="1214" y="311"/>
                  </a:lnTo>
                  <a:lnTo>
                    <a:pt x="1218" y="311"/>
                  </a:lnTo>
                  <a:lnTo>
                    <a:pt x="1222" y="305"/>
                  </a:lnTo>
                  <a:lnTo>
                    <a:pt x="1229" y="299"/>
                  </a:lnTo>
                  <a:lnTo>
                    <a:pt x="1237" y="294"/>
                  </a:lnTo>
                  <a:lnTo>
                    <a:pt x="1237" y="290"/>
                  </a:lnTo>
                  <a:lnTo>
                    <a:pt x="1239" y="288"/>
                  </a:lnTo>
                  <a:lnTo>
                    <a:pt x="1237" y="288"/>
                  </a:lnTo>
                  <a:lnTo>
                    <a:pt x="1233" y="290"/>
                  </a:lnTo>
                  <a:lnTo>
                    <a:pt x="1233" y="292"/>
                  </a:lnTo>
                  <a:lnTo>
                    <a:pt x="1228" y="299"/>
                  </a:lnTo>
                  <a:lnTo>
                    <a:pt x="1222" y="301"/>
                  </a:lnTo>
                  <a:lnTo>
                    <a:pt x="1222" y="301"/>
                  </a:lnTo>
                  <a:lnTo>
                    <a:pt x="1218" y="307"/>
                  </a:lnTo>
                  <a:lnTo>
                    <a:pt x="1212" y="311"/>
                  </a:lnTo>
                  <a:lnTo>
                    <a:pt x="1211" y="307"/>
                  </a:lnTo>
                  <a:lnTo>
                    <a:pt x="1209" y="307"/>
                  </a:lnTo>
                  <a:lnTo>
                    <a:pt x="1207" y="311"/>
                  </a:lnTo>
                  <a:lnTo>
                    <a:pt x="1203" y="311"/>
                  </a:lnTo>
                  <a:lnTo>
                    <a:pt x="1197" y="305"/>
                  </a:lnTo>
                  <a:lnTo>
                    <a:pt x="1197" y="305"/>
                  </a:lnTo>
                  <a:lnTo>
                    <a:pt x="1201" y="301"/>
                  </a:lnTo>
                  <a:lnTo>
                    <a:pt x="1205" y="299"/>
                  </a:lnTo>
                  <a:lnTo>
                    <a:pt x="1205" y="296"/>
                  </a:lnTo>
                  <a:lnTo>
                    <a:pt x="1201" y="299"/>
                  </a:lnTo>
                  <a:lnTo>
                    <a:pt x="1199" y="301"/>
                  </a:lnTo>
                  <a:lnTo>
                    <a:pt x="1197" y="301"/>
                  </a:lnTo>
                  <a:lnTo>
                    <a:pt x="1194" y="297"/>
                  </a:lnTo>
                  <a:lnTo>
                    <a:pt x="1194" y="296"/>
                  </a:lnTo>
                  <a:lnTo>
                    <a:pt x="1197" y="296"/>
                  </a:lnTo>
                  <a:lnTo>
                    <a:pt x="1199" y="294"/>
                  </a:lnTo>
                  <a:lnTo>
                    <a:pt x="1199" y="292"/>
                  </a:lnTo>
                  <a:lnTo>
                    <a:pt x="1197" y="292"/>
                  </a:lnTo>
                  <a:lnTo>
                    <a:pt x="1197" y="290"/>
                  </a:lnTo>
                  <a:lnTo>
                    <a:pt x="1199" y="288"/>
                  </a:lnTo>
                  <a:lnTo>
                    <a:pt x="1201" y="290"/>
                  </a:lnTo>
                  <a:lnTo>
                    <a:pt x="1205" y="290"/>
                  </a:lnTo>
                  <a:lnTo>
                    <a:pt x="1205" y="288"/>
                  </a:lnTo>
                  <a:lnTo>
                    <a:pt x="1201" y="288"/>
                  </a:lnTo>
                  <a:lnTo>
                    <a:pt x="1199" y="286"/>
                  </a:lnTo>
                  <a:lnTo>
                    <a:pt x="1197" y="288"/>
                  </a:lnTo>
                  <a:lnTo>
                    <a:pt x="1194" y="288"/>
                  </a:lnTo>
                  <a:lnTo>
                    <a:pt x="1194" y="284"/>
                  </a:lnTo>
                  <a:lnTo>
                    <a:pt x="1194" y="282"/>
                  </a:lnTo>
                  <a:lnTo>
                    <a:pt x="1197" y="282"/>
                  </a:lnTo>
                  <a:lnTo>
                    <a:pt x="1199" y="280"/>
                  </a:lnTo>
                  <a:lnTo>
                    <a:pt x="1205" y="280"/>
                  </a:lnTo>
                  <a:lnTo>
                    <a:pt x="1209" y="282"/>
                  </a:lnTo>
                  <a:lnTo>
                    <a:pt x="1211" y="280"/>
                  </a:lnTo>
                  <a:lnTo>
                    <a:pt x="1207" y="280"/>
                  </a:lnTo>
                  <a:lnTo>
                    <a:pt x="1205" y="280"/>
                  </a:lnTo>
                  <a:lnTo>
                    <a:pt x="1209" y="277"/>
                  </a:lnTo>
                  <a:lnTo>
                    <a:pt x="1212" y="277"/>
                  </a:lnTo>
                  <a:lnTo>
                    <a:pt x="1212" y="275"/>
                  </a:lnTo>
                  <a:lnTo>
                    <a:pt x="1211" y="275"/>
                  </a:lnTo>
                  <a:lnTo>
                    <a:pt x="1211" y="271"/>
                  </a:lnTo>
                  <a:lnTo>
                    <a:pt x="1212" y="269"/>
                  </a:lnTo>
                  <a:lnTo>
                    <a:pt x="1216" y="267"/>
                  </a:lnTo>
                  <a:lnTo>
                    <a:pt x="1214" y="265"/>
                  </a:lnTo>
                  <a:lnTo>
                    <a:pt x="1218" y="258"/>
                  </a:lnTo>
                  <a:lnTo>
                    <a:pt x="1222" y="256"/>
                  </a:lnTo>
                  <a:lnTo>
                    <a:pt x="1222" y="252"/>
                  </a:lnTo>
                  <a:lnTo>
                    <a:pt x="1218" y="254"/>
                  </a:lnTo>
                  <a:lnTo>
                    <a:pt x="1214" y="260"/>
                  </a:lnTo>
                  <a:lnTo>
                    <a:pt x="1211" y="269"/>
                  </a:lnTo>
                  <a:lnTo>
                    <a:pt x="1205" y="271"/>
                  </a:lnTo>
                  <a:lnTo>
                    <a:pt x="1199" y="277"/>
                  </a:lnTo>
                  <a:lnTo>
                    <a:pt x="1197" y="277"/>
                  </a:lnTo>
                  <a:lnTo>
                    <a:pt x="1194" y="277"/>
                  </a:lnTo>
                  <a:lnTo>
                    <a:pt x="1194" y="275"/>
                  </a:lnTo>
                  <a:lnTo>
                    <a:pt x="1194" y="271"/>
                  </a:lnTo>
                  <a:lnTo>
                    <a:pt x="1197" y="269"/>
                  </a:lnTo>
                  <a:lnTo>
                    <a:pt x="1197" y="265"/>
                  </a:lnTo>
                  <a:lnTo>
                    <a:pt x="1194" y="269"/>
                  </a:lnTo>
                  <a:lnTo>
                    <a:pt x="1188" y="269"/>
                  </a:lnTo>
                  <a:lnTo>
                    <a:pt x="1188" y="271"/>
                  </a:lnTo>
                  <a:lnTo>
                    <a:pt x="1184" y="271"/>
                  </a:lnTo>
                  <a:lnTo>
                    <a:pt x="1180" y="271"/>
                  </a:lnTo>
                  <a:lnTo>
                    <a:pt x="1175" y="269"/>
                  </a:lnTo>
                  <a:lnTo>
                    <a:pt x="1179" y="267"/>
                  </a:lnTo>
                  <a:lnTo>
                    <a:pt x="1182" y="265"/>
                  </a:lnTo>
                  <a:lnTo>
                    <a:pt x="1180" y="263"/>
                  </a:lnTo>
                  <a:lnTo>
                    <a:pt x="1179" y="263"/>
                  </a:lnTo>
                  <a:lnTo>
                    <a:pt x="1179" y="260"/>
                  </a:lnTo>
                  <a:lnTo>
                    <a:pt x="1184" y="256"/>
                  </a:lnTo>
                  <a:lnTo>
                    <a:pt x="1184" y="252"/>
                  </a:lnTo>
                  <a:lnTo>
                    <a:pt x="1188" y="250"/>
                  </a:lnTo>
                  <a:lnTo>
                    <a:pt x="1192" y="250"/>
                  </a:lnTo>
                  <a:lnTo>
                    <a:pt x="1194" y="250"/>
                  </a:lnTo>
                  <a:lnTo>
                    <a:pt x="1194" y="243"/>
                  </a:lnTo>
                  <a:lnTo>
                    <a:pt x="1197" y="241"/>
                  </a:lnTo>
                  <a:lnTo>
                    <a:pt x="1203" y="233"/>
                  </a:lnTo>
                  <a:lnTo>
                    <a:pt x="1205" y="235"/>
                  </a:lnTo>
                  <a:lnTo>
                    <a:pt x="1212" y="233"/>
                  </a:lnTo>
                  <a:lnTo>
                    <a:pt x="1218" y="235"/>
                  </a:lnTo>
                  <a:lnTo>
                    <a:pt x="1222" y="233"/>
                  </a:lnTo>
                  <a:lnTo>
                    <a:pt x="1224" y="233"/>
                  </a:lnTo>
                  <a:lnTo>
                    <a:pt x="1228" y="230"/>
                  </a:lnTo>
                  <a:lnTo>
                    <a:pt x="1229" y="230"/>
                  </a:lnTo>
                  <a:lnTo>
                    <a:pt x="1231" y="231"/>
                  </a:lnTo>
                  <a:lnTo>
                    <a:pt x="1235" y="235"/>
                  </a:lnTo>
                  <a:lnTo>
                    <a:pt x="1239" y="237"/>
                  </a:lnTo>
                  <a:lnTo>
                    <a:pt x="1246" y="243"/>
                  </a:lnTo>
                  <a:lnTo>
                    <a:pt x="1246" y="243"/>
                  </a:lnTo>
                  <a:lnTo>
                    <a:pt x="1248" y="247"/>
                  </a:lnTo>
                  <a:lnTo>
                    <a:pt x="1252" y="247"/>
                  </a:lnTo>
                  <a:lnTo>
                    <a:pt x="1256" y="254"/>
                  </a:lnTo>
                  <a:lnTo>
                    <a:pt x="1256" y="250"/>
                  </a:lnTo>
                  <a:lnTo>
                    <a:pt x="1260" y="250"/>
                  </a:lnTo>
                  <a:lnTo>
                    <a:pt x="1260" y="247"/>
                  </a:lnTo>
                  <a:lnTo>
                    <a:pt x="1254" y="247"/>
                  </a:lnTo>
                  <a:lnTo>
                    <a:pt x="1252" y="247"/>
                  </a:lnTo>
                  <a:lnTo>
                    <a:pt x="1252" y="243"/>
                  </a:lnTo>
                  <a:lnTo>
                    <a:pt x="1256" y="243"/>
                  </a:lnTo>
                  <a:lnTo>
                    <a:pt x="1263" y="243"/>
                  </a:lnTo>
                  <a:lnTo>
                    <a:pt x="1267" y="243"/>
                  </a:lnTo>
                  <a:lnTo>
                    <a:pt x="1267" y="243"/>
                  </a:lnTo>
                  <a:lnTo>
                    <a:pt x="1267" y="237"/>
                  </a:lnTo>
                  <a:lnTo>
                    <a:pt x="1271" y="233"/>
                  </a:lnTo>
                  <a:lnTo>
                    <a:pt x="1271" y="231"/>
                  </a:lnTo>
                  <a:lnTo>
                    <a:pt x="1267" y="233"/>
                  </a:lnTo>
                  <a:lnTo>
                    <a:pt x="1267" y="235"/>
                  </a:lnTo>
                  <a:lnTo>
                    <a:pt x="1265" y="237"/>
                  </a:lnTo>
                  <a:lnTo>
                    <a:pt x="1261" y="241"/>
                  </a:lnTo>
                  <a:lnTo>
                    <a:pt x="1254" y="237"/>
                  </a:lnTo>
                  <a:lnTo>
                    <a:pt x="1248" y="237"/>
                  </a:lnTo>
                  <a:lnTo>
                    <a:pt x="1246" y="235"/>
                  </a:lnTo>
                  <a:lnTo>
                    <a:pt x="1243" y="233"/>
                  </a:lnTo>
                  <a:lnTo>
                    <a:pt x="1239" y="233"/>
                  </a:lnTo>
                  <a:lnTo>
                    <a:pt x="1235" y="226"/>
                  </a:lnTo>
                  <a:lnTo>
                    <a:pt x="1235" y="218"/>
                  </a:lnTo>
                  <a:lnTo>
                    <a:pt x="1237" y="216"/>
                  </a:lnTo>
                  <a:lnTo>
                    <a:pt x="1241" y="218"/>
                  </a:lnTo>
                  <a:lnTo>
                    <a:pt x="1241" y="222"/>
                  </a:lnTo>
                  <a:lnTo>
                    <a:pt x="1243" y="226"/>
                  </a:lnTo>
                  <a:lnTo>
                    <a:pt x="1246" y="220"/>
                  </a:lnTo>
                  <a:lnTo>
                    <a:pt x="1246" y="216"/>
                  </a:lnTo>
                  <a:lnTo>
                    <a:pt x="1243" y="216"/>
                  </a:lnTo>
                  <a:lnTo>
                    <a:pt x="1243" y="216"/>
                  </a:lnTo>
                  <a:lnTo>
                    <a:pt x="1243" y="213"/>
                  </a:lnTo>
                  <a:lnTo>
                    <a:pt x="1246" y="207"/>
                  </a:lnTo>
                  <a:lnTo>
                    <a:pt x="1246" y="201"/>
                  </a:lnTo>
                  <a:lnTo>
                    <a:pt x="1246" y="196"/>
                  </a:lnTo>
                  <a:lnTo>
                    <a:pt x="1246" y="186"/>
                  </a:lnTo>
                  <a:lnTo>
                    <a:pt x="1243" y="181"/>
                  </a:lnTo>
                  <a:lnTo>
                    <a:pt x="1243" y="179"/>
                  </a:lnTo>
                  <a:lnTo>
                    <a:pt x="1241" y="173"/>
                  </a:lnTo>
                  <a:lnTo>
                    <a:pt x="1243" y="173"/>
                  </a:lnTo>
                  <a:lnTo>
                    <a:pt x="1243" y="171"/>
                  </a:lnTo>
                  <a:lnTo>
                    <a:pt x="1246" y="171"/>
                  </a:lnTo>
                  <a:lnTo>
                    <a:pt x="1246" y="173"/>
                  </a:lnTo>
                  <a:lnTo>
                    <a:pt x="1252" y="173"/>
                  </a:lnTo>
                  <a:lnTo>
                    <a:pt x="1252" y="179"/>
                  </a:lnTo>
                  <a:lnTo>
                    <a:pt x="1254" y="177"/>
                  </a:lnTo>
                  <a:lnTo>
                    <a:pt x="1254" y="173"/>
                  </a:lnTo>
                  <a:lnTo>
                    <a:pt x="1252" y="169"/>
                  </a:lnTo>
                  <a:lnTo>
                    <a:pt x="1248" y="169"/>
                  </a:lnTo>
                  <a:lnTo>
                    <a:pt x="1246" y="166"/>
                  </a:lnTo>
                  <a:lnTo>
                    <a:pt x="1246" y="164"/>
                  </a:lnTo>
                  <a:lnTo>
                    <a:pt x="1246" y="158"/>
                  </a:lnTo>
                  <a:lnTo>
                    <a:pt x="1258" y="147"/>
                  </a:lnTo>
                  <a:lnTo>
                    <a:pt x="1263" y="145"/>
                  </a:lnTo>
                  <a:lnTo>
                    <a:pt x="1267" y="147"/>
                  </a:lnTo>
                  <a:lnTo>
                    <a:pt x="1267" y="149"/>
                  </a:lnTo>
                  <a:lnTo>
                    <a:pt x="1273" y="152"/>
                  </a:lnTo>
                  <a:lnTo>
                    <a:pt x="1276" y="152"/>
                  </a:lnTo>
                  <a:lnTo>
                    <a:pt x="1284" y="158"/>
                  </a:lnTo>
                  <a:lnTo>
                    <a:pt x="1284" y="162"/>
                  </a:lnTo>
                  <a:lnTo>
                    <a:pt x="1288" y="167"/>
                  </a:lnTo>
                  <a:lnTo>
                    <a:pt x="1290" y="177"/>
                  </a:lnTo>
                  <a:lnTo>
                    <a:pt x="1290" y="183"/>
                  </a:lnTo>
                  <a:lnTo>
                    <a:pt x="1292" y="188"/>
                  </a:lnTo>
                  <a:lnTo>
                    <a:pt x="1293" y="192"/>
                  </a:lnTo>
                  <a:lnTo>
                    <a:pt x="1295" y="192"/>
                  </a:lnTo>
                  <a:lnTo>
                    <a:pt x="1297" y="192"/>
                  </a:lnTo>
                  <a:lnTo>
                    <a:pt x="1301" y="194"/>
                  </a:lnTo>
                  <a:lnTo>
                    <a:pt x="1301" y="198"/>
                  </a:lnTo>
                  <a:lnTo>
                    <a:pt x="1301" y="196"/>
                  </a:lnTo>
                  <a:lnTo>
                    <a:pt x="1305" y="194"/>
                  </a:lnTo>
                  <a:lnTo>
                    <a:pt x="1307" y="194"/>
                  </a:lnTo>
                  <a:lnTo>
                    <a:pt x="1305" y="192"/>
                  </a:lnTo>
                  <a:lnTo>
                    <a:pt x="1301" y="192"/>
                  </a:lnTo>
                  <a:lnTo>
                    <a:pt x="1297" y="188"/>
                  </a:lnTo>
                  <a:lnTo>
                    <a:pt x="1295" y="186"/>
                  </a:lnTo>
                  <a:lnTo>
                    <a:pt x="1295" y="183"/>
                  </a:lnTo>
                  <a:lnTo>
                    <a:pt x="1297" y="181"/>
                  </a:lnTo>
                  <a:lnTo>
                    <a:pt x="1297" y="179"/>
                  </a:lnTo>
                  <a:lnTo>
                    <a:pt x="1297" y="164"/>
                  </a:lnTo>
                  <a:lnTo>
                    <a:pt x="1297" y="162"/>
                  </a:lnTo>
                  <a:lnTo>
                    <a:pt x="1297" y="156"/>
                  </a:lnTo>
                  <a:lnTo>
                    <a:pt x="1305" y="156"/>
                  </a:lnTo>
                  <a:lnTo>
                    <a:pt x="1307" y="158"/>
                  </a:lnTo>
                  <a:lnTo>
                    <a:pt x="1312" y="162"/>
                  </a:lnTo>
                  <a:lnTo>
                    <a:pt x="1318" y="162"/>
                  </a:lnTo>
                  <a:lnTo>
                    <a:pt x="1322" y="162"/>
                  </a:lnTo>
                  <a:lnTo>
                    <a:pt x="1331" y="162"/>
                  </a:lnTo>
                  <a:lnTo>
                    <a:pt x="1335" y="158"/>
                  </a:lnTo>
                  <a:lnTo>
                    <a:pt x="1339" y="162"/>
                  </a:lnTo>
                  <a:lnTo>
                    <a:pt x="1342" y="162"/>
                  </a:lnTo>
                  <a:lnTo>
                    <a:pt x="1350" y="164"/>
                  </a:lnTo>
                  <a:lnTo>
                    <a:pt x="1354" y="166"/>
                  </a:lnTo>
                  <a:lnTo>
                    <a:pt x="1356" y="164"/>
                  </a:lnTo>
                  <a:lnTo>
                    <a:pt x="1356" y="162"/>
                  </a:lnTo>
                  <a:lnTo>
                    <a:pt x="1354" y="162"/>
                  </a:lnTo>
                  <a:lnTo>
                    <a:pt x="1350" y="162"/>
                  </a:lnTo>
                  <a:lnTo>
                    <a:pt x="1342" y="158"/>
                  </a:lnTo>
                  <a:lnTo>
                    <a:pt x="1342" y="156"/>
                  </a:lnTo>
                  <a:lnTo>
                    <a:pt x="1342" y="156"/>
                  </a:lnTo>
                  <a:lnTo>
                    <a:pt x="1344" y="156"/>
                  </a:lnTo>
                  <a:lnTo>
                    <a:pt x="1350" y="152"/>
                  </a:lnTo>
                  <a:lnTo>
                    <a:pt x="1363" y="152"/>
                  </a:lnTo>
                  <a:lnTo>
                    <a:pt x="1371" y="152"/>
                  </a:lnTo>
                  <a:lnTo>
                    <a:pt x="1378" y="152"/>
                  </a:lnTo>
                  <a:lnTo>
                    <a:pt x="1384" y="156"/>
                  </a:lnTo>
                  <a:lnTo>
                    <a:pt x="1386" y="156"/>
                  </a:lnTo>
                  <a:lnTo>
                    <a:pt x="1389" y="156"/>
                  </a:lnTo>
                  <a:lnTo>
                    <a:pt x="1389" y="152"/>
                  </a:lnTo>
                  <a:lnTo>
                    <a:pt x="1386" y="152"/>
                  </a:lnTo>
                  <a:lnTo>
                    <a:pt x="1384" y="152"/>
                  </a:lnTo>
                  <a:lnTo>
                    <a:pt x="1384" y="149"/>
                  </a:lnTo>
                  <a:lnTo>
                    <a:pt x="1380" y="149"/>
                  </a:lnTo>
                  <a:lnTo>
                    <a:pt x="1374" y="149"/>
                  </a:lnTo>
                  <a:lnTo>
                    <a:pt x="1372" y="147"/>
                  </a:lnTo>
                  <a:lnTo>
                    <a:pt x="1361" y="147"/>
                  </a:lnTo>
                  <a:lnTo>
                    <a:pt x="1361" y="145"/>
                  </a:lnTo>
                  <a:lnTo>
                    <a:pt x="1363" y="143"/>
                  </a:lnTo>
                  <a:lnTo>
                    <a:pt x="1367" y="139"/>
                  </a:lnTo>
                  <a:lnTo>
                    <a:pt x="1371" y="137"/>
                  </a:lnTo>
                  <a:lnTo>
                    <a:pt x="1374" y="134"/>
                  </a:lnTo>
                  <a:lnTo>
                    <a:pt x="1376" y="132"/>
                  </a:lnTo>
                  <a:lnTo>
                    <a:pt x="1386" y="122"/>
                  </a:lnTo>
                  <a:lnTo>
                    <a:pt x="1391" y="122"/>
                  </a:lnTo>
                  <a:lnTo>
                    <a:pt x="1401" y="118"/>
                  </a:lnTo>
                  <a:lnTo>
                    <a:pt x="1401" y="117"/>
                  </a:lnTo>
                  <a:lnTo>
                    <a:pt x="1389" y="122"/>
                  </a:lnTo>
                  <a:lnTo>
                    <a:pt x="1384" y="122"/>
                  </a:lnTo>
                  <a:lnTo>
                    <a:pt x="1372" y="128"/>
                  </a:lnTo>
                  <a:lnTo>
                    <a:pt x="1372" y="134"/>
                  </a:lnTo>
                  <a:lnTo>
                    <a:pt x="1371" y="134"/>
                  </a:lnTo>
                  <a:lnTo>
                    <a:pt x="1371" y="128"/>
                  </a:lnTo>
                  <a:lnTo>
                    <a:pt x="1369" y="128"/>
                  </a:lnTo>
                  <a:lnTo>
                    <a:pt x="1365" y="132"/>
                  </a:lnTo>
                  <a:lnTo>
                    <a:pt x="1361" y="134"/>
                  </a:lnTo>
                  <a:lnTo>
                    <a:pt x="1359" y="139"/>
                  </a:lnTo>
                  <a:lnTo>
                    <a:pt x="1359" y="139"/>
                  </a:lnTo>
                  <a:lnTo>
                    <a:pt x="1359" y="141"/>
                  </a:lnTo>
                  <a:lnTo>
                    <a:pt x="1356" y="147"/>
                  </a:lnTo>
                  <a:lnTo>
                    <a:pt x="1350" y="147"/>
                  </a:lnTo>
                  <a:lnTo>
                    <a:pt x="1337" y="152"/>
                  </a:lnTo>
                  <a:lnTo>
                    <a:pt x="1335" y="152"/>
                  </a:lnTo>
                  <a:lnTo>
                    <a:pt x="1331" y="152"/>
                  </a:lnTo>
                  <a:lnTo>
                    <a:pt x="1320" y="152"/>
                  </a:lnTo>
                  <a:lnTo>
                    <a:pt x="1314" y="149"/>
                  </a:lnTo>
                  <a:lnTo>
                    <a:pt x="1310" y="149"/>
                  </a:lnTo>
                  <a:lnTo>
                    <a:pt x="1305" y="149"/>
                  </a:lnTo>
                  <a:lnTo>
                    <a:pt x="1305" y="145"/>
                  </a:lnTo>
                  <a:lnTo>
                    <a:pt x="1310" y="139"/>
                  </a:lnTo>
                  <a:lnTo>
                    <a:pt x="1314" y="139"/>
                  </a:lnTo>
                  <a:lnTo>
                    <a:pt x="1318" y="139"/>
                  </a:lnTo>
                  <a:lnTo>
                    <a:pt x="1325" y="137"/>
                  </a:lnTo>
                  <a:lnTo>
                    <a:pt x="1329" y="134"/>
                  </a:lnTo>
                  <a:lnTo>
                    <a:pt x="1325" y="134"/>
                  </a:lnTo>
                  <a:lnTo>
                    <a:pt x="1322" y="135"/>
                  </a:lnTo>
                  <a:lnTo>
                    <a:pt x="1316" y="135"/>
                  </a:lnTo>
                  <a:lnTo>
                    <a:pt x="1312" y="137"/>
                  </a:lnTo>
                  <a:lnTo>
                    <a:pt x="1310" y="135"/>
                  </a:lnTo>
                  <a:lnTo>
                    <a:pt x="1310" y="134"/>
                  </a:lnTo>
                  <a:lnTo>
                    <a:pt x="1312" y="132"/>
                  </a:lnTo>
                  <a:lnTo>
                    <a:pt x="1310" y="132"/>
                  </a:lnTo>
                  <a:lnTo>
                    <a:pt x="1305" y="132"/>
                  </a:lnTo>
                  <a:lnTo>
                    <a:pt x="1305" y="137"/>
                  </a:lnTo>
                  <a:lnTo>
                    <a:pt x="1297" y="143"/>
                  </a:lnTo>
                  <a:lnTo>
                    <a:pt x="1293" y="143"/>
                  </a:lnTo>
                  <a:lnTo>
                    <a:pt x="1284" y="141"/>
                  </a:lnTo>
                  <a:lnTo>
                    <a:pt x="1276" y="141"/>
                  </a:lnTo>
                  <a:lnTo>
                    <a:pt x="1273" y="137"/>
                  </a:lnTo>
                  <a:lnTo>
                    <a:pt x="1273" y="134"/>
                  </a:lnTo>
                  <a:lnTo>
                    <a:pt x="1271" y="134"/>
                  </a:lnTo>
                  <a:lnTo>
                    <a:pt x="1267" y="132"/>
                  </a:lnTo>
                  <a:lnTo>
                    <a:pt x="1267" y="128"/>
                  </a:lnTo>
                  <a:lnTo>
                    <a:pt x="1267" y="128"/>
                  </a:lnTo>
                  <a:lnTo>
                    <a:pt x="1273" y="122"/>
                  </a:lnTo>
                  <a:lnTo>
                    <a:pt x="1276" y="118"/>
                  </a:lnTo>
                  <a:lnTo>
                    <a:pt x="1280" y="115"/>
                  </a:lnTo>
                  <a:lnTo>
                    <a:pt x="1286" y="113"/>
                  </a:lnTo>
                  <a:lnTo>
                    <a:pt x="1288" y="109"/>
                  </a:lnTo>
                  <a:lnTo>
                    <a:pt x="1292" y="111"/>
                  </a:lnTo>
                  <a:lnTo>
                    <a:pt x="1297" y="111"/>
                  </a:lnTo>
                  <a:lnTo>
                    <a:pt x="1301" y="109"/>
                  </a:lnTo>
                  <a:lnTo>
                    <a:pt x="1305" y="111"/>
                  </a:lnTo>
                  <a:lnTo>
                    <a:pt x="1312" y="115"/>
                  </a:lnTo>
                  <a:lnTo>
                    <a:pt x="1318" y="115"/>
                  </a:lnTo>
                  <a:lnTo>
                    <a:pt x="1322" y="117"/>
                  </a:lnTo>
                  <a:lnTo>
                    <a:pt x="1325" y="115"/>
                  </a:lnTo>
                  <a:lnTo>
                    <a:pt x="1329" y="113"/>
                  </a:lnTo>
                  <a:lnTo>
                    <a:pt x="1325" y="111"/>
                  </a:lnTo>
                  <a:lnTo>
                    <a:pt x="1318" y="113"/>
                  </a:lnTo>
                  <a:lnTo>
                    <a:pt x="1310" y="111"/>
                  </a:lnTo>
                  <a:lnTo>
                    <a:pt x="1305" y="107"/>
                  </a:lnTo>
                  <a:lnTo>
                    <a:pt x="1301" y="107"/>
                  </a:lnTo>
                  <a:lnTo>
                    <a:pt x="1293" y="109"/>
                  </a:lnTo>
                  <a:lnTo>
                    <a:pt x="1286" y="107"/>
                  </a:lnTo>
                  <a:lnTo>
                    <a:pt x="1284" y="107"/>
                  </a:lnTo>
                  <a:lnTo>
                    <a:pt x="1282" y="109"/>
                  </a:lnTo>
                  <a:lnTo>
                    <a:pt x="1280" y="113"/>
                  </a:lnTo>
                  <a:lnTo>
                    <a:pt x="1273" y="118"/>
                  </a:lnTo>
                  <a:lnTo>
                    <a:pt x="1265" y="118"/>
                  </a:lnTo>
                  <a:lnTo>
                    <a:pt x="1261" y="128"/>
                  </a:lnTo>
                  <a:lnTo>
                    <a:pt x="1260" y="128"/>
                  </a:lnTo>
                  <a:lnTo>
                    <a:pt x="1256" y="124"/>
                  </a:lnTo>
                  <a:lnTo>
                    <a:pt x="1252" y="118"/>
                  </a:lnTo>
                  <a:lnTo>
                    <a:pt x="1248" y="118"/>
                  </a:lnTo>
                  <a:lnTo>
                    <a:pt x="1246" y="117"/>
                  </a:lnTo>
                  <a:lnTo>
                    <a:pt x="1246" y="111"/>
                  </a:lnTo>
                  <a:lnTo>
                    <a:pt x="1246" y="105"/>
                  </a:lnTo>
                  <a:lnTo>
                    <a:pt x="1243" y="103"/>
                  </a:lnTo>
                  <a:lnTo>
                    <a:pt x="1243" y="100"/>
                  </a:lnTo>
                  <a:lnTo>
                    <a:pt x="1246" y="98"/>
                  </a:lnTo>
                  <a:lnTo>
                    <a:pt x="1248" y="98"/>
                  </a:lnTo>
                  <a:lnTo>
                    <a:pt x="1252" y="98"/>
                  </a:lnTo>
                  <a:lnTo>
                    <a:pt x="1254" y="100"/>
                  </a:lnTo>
                  <a:lnTo>
                    <a:pt x="1265" y="98"/>
                  </a:lnTo>
                  <a:lnTo>
                    <a:pt x="1271" y="103"/>
                  </a:lnTo>
                  <a:lnTo>
                    <a:pt x="1273" y="103"/>
                  </a:lnTo>
                  <a:lnTo>
                    <a:pt x="1276" y="103"/>
                  </a:lnTo>
                  <a:lnTo>
                    <a:pt x="1280" y="103"/>
                  </a:lnTo>
                  <a:lnTo>
                    <a:pt x="1284" y="102"/>
                  </a:lnTo>
                  <a:lnTo>
                    <a:pt x="1288" y="103"/>
                  </a:lnTo>
                  <a:lnTo>
                    <a:pt x="1290" y="102"/>
                  </a:lnTo>
                  <a:lnTo>
                    <a:pt x="1293" y="102"/>
                  </a:lnTo>
                  <a:lnTo>
                    <a:pt x="1295" y="100"/>
                  </a:lnTo>
                  <a:lnTo>
                    <a:pt x="1301" y="98"/>
                  </a:lnTo>
                  <a:lnTo>
                    <a:pt x="1310" y="98"/>
                  </a:lnTo>
                  <a:lnTo>
                    <a:pt x="1310" y="94"/>
                  </a:lnTo>
                  <a:lnTo>
                    <a:pt x="1310" y="94"/>
                  </a:lnTo>
                  <a:lnTo>
                    <a:pt x="1307" y="94"/>
                  </a:lnTo>
                  <a:lnTo>
                    <a:pt x="1305" y="94"/>
                  </a:lnTo>
                  <a:lnTo>
                    <a:pt x="1305" y="98"/>
                  </a:lnTo>
                  <a:lnTo>
                    <a:pt x="1297" y="98"/>
                  </a:lnTo>
                  <a:lnTo>
                    <a:pt x="1292" y="98"/>
                  </a:lnTo>
                  <a:lnTo>
                    <a:pt x="1286" y="100"/>
                  </a:lnTo>
                  <a:lnTo>
                    <a:pt x="1282" y="100"/>
                  </a:lnTo>
                  <a:lnTo>
                    <a:pt x="1276" y="100"/>
                  </a:lnTo>
                  <a:lnTo>
                    <a:pt x="1276" y="100"/>
                  </a:lnTo>
                  <a:lnTo>
                    <a:pt x="1273" y="100"/>
                  </a:lnTo>
                  <a:lnTo>
                    <a:pt x="1267" y="98"/>
                  </a:lnTo>
                  <a:lnTo>
                    <a:pt x="1267" y="98"/>
                  </a:lnTo>
                  <a:lnTo>
                    <a:pt x="1265" y="94"/>
                  </a:lnTo>
                  <a:lnTo>
                    <a:pt x="1260" y="94"/>
                  </a:lnTo>
                  <a:lnTo>
                    <a:pt x="1254" y="94"/>
                  </a:lnTo>
                  <a:lnTo>
                    <a:pt x="1252" y="94"/>
                  </a:lnTo>
                  <a:lnTo>
                    <a:pt x="1246" y="94"/>
                  </a:lnTo>
                  <a:lnTo>
                    <a:pt x="1246" y="88"/>
                  </a:lnTo>
                  <a:lnTo>
                    <a:pt x="1246" y="88"/>
                  </a:lnTo>
                  <a:lnTo>
                    <a:pt x="1246" y="83"/>
                  </a:lnTo>
                  <a:lnTo>
                    <a:pt x="1248" y="81"/>
                  </a:lnTo>
                  <a:lnTo>
                    <a:pt x="1252" y="81"/>
                  </a:lnTo>
                  <a:lnTo>
                    <a:pt x="1254" y="85"/>
                  </a:lnTo>
                  <a:lnTo>
                    <a:pt x="1260" y="85"/>
                  </a:lnTo>
                  <a:lnTo>
                    <a:pt x="1261" y="83"/>
                  </a:lnTo>
                  <a:lnTo>
                    <a:pt x="1260" y="81"/>
                  </a:lnTo>
                  <a:lnTo>
                    <a:pt x="1256" y="81"/>
                  </a:lnTo>
                  <a:lnTo>
                    <a:pt x="1252" y="77"/>
                  </a:lnTo>
                  <a:lnTo>
                    <a:pt x="1254" y="75"/>
                  </a:lnTo>
                  <a:lnTo>
                    <a:pt x="1260" y="75"/>
                  </a:lnTo>
                  <a:lnTo>
                    <a:pt x="1265" y="71"/>
                  </a:lnTo>
                  <a:lnTo>
                    <a:pt x="1271" y="71"/>
                  </a:lnTo>
                  <a:lnTo>
                    <a:pt x="1273" y="69"/>
                  </a:lnTo>
                  <a:lnTo>
                    <a:pt x="1276" y="69"/>
                  </a:lnTo>
                  <a:lnTo>
                    <a:pt x="1280" y="69"/>
                  </a:lnTo>
                  <a:lnTo>
                    <a:pt x="1282" y="69"/>
                  </a:lnTo>
                  <a:lnTo>
                    <a:pt x="1282" y="68"/>
                  </a:lnTo>
                  <a:lnTo>
                    <a:pt x="1280" y="68"/>
                  </a:lnTo>
                  <a:lnTo>
                    <a:pt x="1273" y="68"/>
                  </a:lnTo>
                  <a:lnTo>
                    <a:pt x="1267" y="68"/>
                  </a:lnTo>
                  <a:lnTo>
                    <a:pt x="1261" y="69"/>
                  </a:lnTo>
                  <a:lnTo>
                    <a:pt x="1258" y="69"/>
                  </a:lnTo>
                  <a:lnTo>
                    <a:pt x="1256" y="71"/>
                  </a:lnTo>
                  <a:lnTo>
                    <a:pt x="1252" y="71"/>
                  </a:lnTo>
                  <a:lnTo>
                    <a:pt x="1252" y="69"/>
                  </a:lnTo>
                  <a:lnTo>
                    <a:pt x="1252" y="68"/>
                  </a:lnTo>
                  <a:lnTo>
                    <a:pt x="1256" y="64"/>
                  </a:lnTo>
                  <a:lnTo>
                    <a:pt x="1261" y="62"/>
                  </a:lnTo>
                  <a:lnTo>
                    <a:pt x="1267" y="60"/>
                  </a:lnTo>
                  <a:lnTo>
                    <a:pt x="1271" y="58"/>
                  </a:lnTo>
                  <a:lnTo>
                    <a:pt x="1265" y="58"/>
                  </a:lnTo>
                  <a:lnTo>
                    <a:pt x="1265" y="54"/>
                  </a:lnTo>
                  <a:lnTo>
                    <a:pt x="1265" y="51"/>
                  </a:lnTo>
                  <a:lnTo>
                    <a:pt x="1263" y="53"/>
                  </a:lnTo>
                  <a:lnTo>
                    <a:pt x="1261" y="54"/>
                  </a:lnTo>
                  <a:lnTo>
                    <a:pt x="1260" y="58"/>
                  </a:lnTo>
                  <a:lnTo>
                    <a:pt x="1260" y="54"/>
                  </a:lnTo>
                  <a:lnTo>
                    <a:pt x="1258" y="54"/>
                  </a:lnTo>
                  <a:lnTo>
                    <a:pt x="1256" y="54"/>
                  </a:lnTo>
                  <a:lnTo>
                    <a:pt x="1252" y="54"/>
                  </a:lnTo>
                  <a:lnTo>
                    <a:pt x="1252" y="60"/>
                  </a:lnTo>
                  <a:lnTo>
                    <a:pt x="1252" y="62"/>
                  </a:lnTo>
                  <a:lnTo>
                    <a:pt x="1246" y="64"/>
                  </a:lnTo>
                  <a:lnTo>
                    <a:pt x="1246" y="60"/>
                  </a:lnTo>
                  <a:lnTo>
                    <a:pt x="1246" y="54"/>
                  </a:lnTo>
                  <a:lnTo>
                    <a:pt x="1243" y="54"/>
                  </a:lnTo>
                  <a:lnTo>
                    <a:pt x="1243" y="53"/>
                  </a:lnTo>
                  <a:lnTo>
                    <a:pt x="1243" y="51"/>
                  </a:lnTo>
                  <a:lnTo>
                    <a:pt x="1246" y="53"/>
                  </a:lnTo>
                  <a:lnTo>
                    <a:pt x="1246" y="47"/>
                  </a:lnTo>
                  <a:lnTo>
                    <a:pt x="1252" y="47"/>
                  </a:lnTo>
                  <a:lnTo>
                    <a:pt x="1254" y="47"/>
                  </a:lnTo>
                  <a:lnTo>
                    <a:pt x="1256" y="43"/>
                  </a:lnTo>
                  <a:lnTo>
                    <a:pt x="1261" y="39"/>
                  </a:lnTo>
                  <a:lnTo>
                    <a:pt x="1263" y="43"/>
                  </a:lnTo>
                  <a:lnTo>
                    <a:pt x="1267" y="37"/>
                  </a:lnTo>
                  <a:lnTo>
                    <a:pt x="1276" y="37"/>
                  </a:lnTo>
                  <a:lnTo>
                    <a:pt x="1280" y="37"/>
                  </a:lnTo>
                  <a:lnTo>
                    <a:pt x="1280" y="37"/>
                  </a:lnTo>
                  <a:lnTo>
                    <a:pt x="1282" y="39"/>
                  </a:lnTo>
                  <a:lnTo>
                    <a:pt x="1280" y="43"/>
                  </a:lnTo>
                  <a:lnTo>
                    <a:pt x="1280" y="51"/>
                  </a:lnTo>
                  <a:lnTo>
                    <a:pt x="1282" y="51"/>
                  </a:lnTo>
                  <a:lnTo>
                    <a:pt x="1284" y="43"/>
                  </a:lnTo>
                  <a:lnTo>
                    <a:pt x="1288" y="43"/>
                  </a:lnTo>
                  <a:lnTo>
                    <a:pt x="1288" y="43"/>
                  </a:lnTo>
                  <a:lnTo>
                    <a:pt x="1288" y="45"/>
                  </a:lnTo>
                  <a:lnTo>
                    <a:pt x="1288" y="49"/>
                  </a:lnTo>
                  <a:lnTo>
                    <a:pt x="1290" y="47"/>
                  </a:lnTo>
                  <a:lnTo>
                    <a:pt x="1290" y="43"/>
                  </a:lnTo>
                  <a:lnTo>
                    <a:pt x="1292" y="43"/>
                  </a:lnTo>
                  <a:lnTo>
                    <a:pt x="1290" y="39"/>
                  </a:lnTo>
                  <a:lnTo>
                    <a:pt x="1292" y="34"/>
                  </a:lnTo>
                  <a:lnTo>
                    <a:pt x="1293" y="34"/>
                  </a:lnTo>
                  <a:lnTo>
                    <a:pt x="1297" y="30"/>
                  </a:lnTo>
                  <a:lnTo>
                    <a:pt x="1301" y="30"/>
                  </a:lnTo>
                  <a:lnTo>
                    <a:pt x="1301" y="34"/>
                  </a:lnTo>
                  <a:lnTo>
                    <a:pt x="1301" y="37"/>
                  </a:lnTo>
                  <a:lnTo>
                    <a:pt x="1305" y="39"/>
                  </a:lnTo>
                  <a:lnTo>
                    <a:pt x="1305" y="45"/>
                  </a:lnTo>
                  <a:lnTo>
                    <a:pt x="1305" y="47"/>
                  </a:lnTo>
                  <a:lnTo>
                    <a:pt x="1305" y="51"/>
                  </a:lnTo>
                  <a:lnTo>
                    <a:pt x="1305" y="54"/>
                  </a:lnTo>
                  <a:lnTo>
                    <a:pt x="1307" y="54"/>
                  </a:lnTo>
                  <a:lnTo>
                    <a:pt x="1310" y="54"/>
                  </a:lnTo>
                  <a:lnTo>
                    <a:pt x="1307" y="51"/>
                  </a:lnTo>
                  <a:lnTo>
                    <a:pt x="1307" y="47"/>
                  </a:lnTo>
                  <a:lnTo>
                    <a:pt x="1310" y="45"/>
                  </a:lnTo>
                  <a:lnTo>
                    <a:pt x="1312" y="39"/>
                  </a:lnTo>
                  <a:lnTo>
                    <a:pt x="1314" y="39"/>
                  </a:lnTo>
                  <a:lnTo>
                    <a:pt x="1318" y="45"/>
                  </a:lnTo>
                  <a:lnTo>
                    <a:pt x="1318" y="49"/>
                  </a:lnTo>
                  <a:lnTo>
                    <a:pt x="1316" y="54"/>
                  </a:lnTo>
                  <a:lnTo>
                    <a:pt x="1320" y="54"/>
                  </a:lnTo>
                  <a:lnTo>
                    <a:pt x="1320" y="58"/>
                  </a:lnTo>
                  <a:lnTo>
                    <a:pt x="1322" y="54"/>
                  </a:lnTo>
                  <a:lnTo>
                    <a:pt x="1322" y="51"/>
                  </a:lnTo>
                  <a:lnTo>
                    <a:pt x="1322" y="51"/>
                  </a:lnTo>
                  <a:lnTo>
                    <a:pt x="1325" y="49"/>
                  </a:lnTo>
                  <a:lnTo>
                    <a:pt x="1325" y="51"/>
                  </a:lnTo>
                  <a:lnTo>
                    <a:pt x="1325" y="53"/>
                  </a:lnTo>
                  <a:lnTo>
                    <a:pt x="1325" y="54"/>
                  </a:lnTo>
                  <a:lnTo>
                    <a:pt x="1325" y="58"/>
                  </a:lnTo>
                  <a:lnTo>
                    <a:pt x="1331" y="54"/>
                  </a:lnTo>
                  <a:lnTo>
                    <a:pt x="1331" y="54"/>
                  </a:lnTo>
                  <a:lnTo>
                    <a:pt x="1331" y="58"/>
                  </a:lnTo>
                  <a:lnTo>
                    <a:pt x="1335" y="54"/>
                  </a:lnTo>
                  <a:lnTo>
                    <a:pt x="1335" y="53"/>
                  </a:lnTo>
                  <a:lnTo>
                    <a:pt x="1331" y="47"/>
                  </a:lnTo>
                  <a:lnTo>
                    <a:pt x="1329" y="47"/>
                  </a:lnTo>
                  <a:lnTo>
                    <a:pt x="1325" y="43"/>
                  </a:lnTo>
                  <a:lnTo>
                    <a:pt x="1325" y="39"/>
                  </a:lnTo>
                  <a:lnTo>
                    <a:pt x="1322" y="37"/>
                  </a:lnTo>
                  <a:lnTo>
                    <a:pt x="1322" y="34"/>
                  </a:lnTo>
                  <a:lnTo>
                    <a:pt x="1320" y="34"/>
                  </a:lnTo>
                  <a:lnTo>
                    <a:pt x="1322" y="28"/>
                  </a:lnTo>
                  <a:lnTo>
                    <a:pt x="1325" y="28"/>
                  </a:lnTo>
                  <a:lnTo>
                    <a:pt x="1325" y="30"/>
                  </a:lnTo>
                  <a:lnTo>
                    <a:pt x="1331" y="30"/>
                  </a:lnTo>
                  <a:lnTo>
                    <a:pt x="1335" y="30"/>
                  </a:lnTo>
                  <a:lnTo>
                    <a:pt x="1335" y="30"/>
                  </a:lnTo>
                  <a:lnTo>
                    <a:pt x="1335" y="22"/>
                  </a:lnTo>
                  <a:lnTo>
                    <a:pt x="1335" y="19"/>
                  </a:lnTo>
                  <a:lnTo>
                    <a:pt x="1335" y="15"/>
                  </a:lnTo>
                  <a:lnTo>
                    <a:pt x="1339" y="15"/>
                  </a:lnTo>
                  <a:lnTo>
                    <a:pt x="1340" y="15"/>
                  </a:lnTo>
                  <a:lnTo>
                    <a:pt x="1348" y="17"/>
                  </a:lnTo>
                  <a:lnTo>
                    <a:pt x="1350" y="19"/>
                  </a:lnTo>
                  <a:lnTo>
                    <a:pt x="1350" y="21"/>
                  </a:lnTo>
                  <a:lnTo>
                    <a:pt x="1348" y="24"/>
                  </a:lnTo>
                  <a:lnTo>
                    <a:pt x="1348" y="26"/>
                  </a:lnTo>
                  <a:lnTo>
                    <a:pt x="1356" y="28"/>
                  </a:lnTo>
                  <a:lnTo>
                    <a:pt x="1356" y="30"/>
                  </a:lnTo>
                  <a:lnTo>
                    <a:pt x="1354" y="37"/>
                  </a:lnTo>
                  <a:lnTo>
                    <a:pt x="1356" y="43"/>
                  </a:lnTo>
                  <a:lnTo>
                    <a:pt x="1356" y="43"/>
                  </a:lnTo>
                  <a:lnTo>
                    <a:pt x="1359" y="37"/>
                  </a:lnTo>
                  <a:lnTo>
                    <a:pt x="1359" y="37"/>
                  </a:lnTo>
                  <a:lnTo>
                    <a:pt x="1361" y="43"/>
                  </a:lnTo>
                  <a:lnTo>
                    <a:pt x="1361" y="43"/>
                  </a:lnTo>
                  <a:lnTo>
                    <a:pt x="1365" y="43"/>
                  </a:lnTo>
                  <a:lnTo>
                    <a:pt x="1367" y="39"/>
                  </a:lnTo>
                  <a:lnTo>
                    <a:pt x="1371" y="37"/>
                  </a:lnTo>
                  <a:lnTo>
                    <a:pt x="1372" y="34"/>
                  </a:lnTo>
                  <a:lnTo>
                    <a:pt x="1369" y="30"/>
                  </a:lnTo>
                  <a:lnTo>
                    <a:pt x="1372" y="26"/>
                  </a:lnTo>
                  <a:lnTo>
                    <a:pt x="1374" y="26"/>
                  </a:lnTo>
                  <a:lnTo>
                    <a:pt x="1376" y="28"/>
                  </a:lnTo>
                  <a:lnTo>
                    <a:pt x="1384" y="28"/>
                  </a:lnTo>
                  <a:lnTo>
                    <a:pt x="1380" y="24"/>
                  </a:lnTo>
                  <a:lnTo>
                    <a:pt x="1376" y="21"/>
                  </a:lnTo>
                  <a:lnTo>
                    <a:pt x="1376" y="15"/>
                  </a:lnTo>
                  <a:lnTo>
                    <a:pt x="1376" y="13"/>
                  </a:lnTo>
                  <a:lnTo>
                    <a:pt x="1378" y="9"/>
                  </a:lnTo>
                  <a:lnTo>
                    <a:pt x="1380" y="9"/>
                  </a:lnTo>
                  <a:lnTo>
                    <a:pt x="1386" y="13"/>
                  </a:lnTo>
                  <a:lnTo>
                    <a:pt x="1386" y="19"/>
                  </a:lnTo>
                  <a:lnTo>
                    <a:pt x="1389" y="24"/>
                  </a:lnTo>
                  <a:lnTo>
                    <a:pt x="1389" y="28"/>
                  </a:lnTo>
                  <a:lnTo>
                    <a:pt x="1389" y="30"/>
                  </a:lnTo>
                  <a:lnTo>
                    <a:pt x="1389" y="34"/>
                  </a:lnTo>
                  <a:lnTo>
                    <a:pt x="1391" y="37"/>
                  </a:lnTo>
                  <a:lnTo>
                    <a:pt x="1393" y="37"/>
                  </a:lnTo>
                  <a:lnTo>
                    <a:pt x="1393" y="34"/>
                  </a:lnTo>
                  <a:lnTo>
                    <a:pt x="1393" y="30"/>
                  </a:lnTo>
                  <a:lnTo>
                    <a:pt x="1393" y="26"/>
                  </a:lnTo>
                  <a:lnTo>
                    <a:pt x="1391" y="21"/>
                  </a:lnTo>
                  <a:lnTo>
                    <a:pt x="1391" y="13"/>
                  </a:lnTo>
                  <a:lnTo>
                    <a:pt x="1391" y="5"/>
                  </a:lnTo>
                  <a:lnTo>
                    <a:pt x="1391" y="4"/>
                  </a:lnTo>
                  <a:lnTo>
                    <a:pt x="1395" y="4"/>
                  </a:lnTo>
                  <a:lnTo>
                    <a:pt x="1399" y="5"/>
                  </a:lnTo>
                  <a:lnTo>
                    <a:pt x="1401" y="5"/>
                  </a:lnTo>
                  <a:lnTo>
                    <a:pt x="1403" y="9"/>
                  </a:lnTo>
                  <a:lnTo>
                    <a:pt x="1403" y="13"/>
                  </a:lnTo>
                  <a:lnTo>
                    <a:pt x="1404" y="17"/>
                  </a:lnTo>
                  <a:lnTo>
                    <a:pt x="1404" y="21"/>
                  </a:lnTo>
                  <a:lnTo>
                    <a:pt x="1404" y="28"/>
                  </a:lnTo>
                  <a:lnTo>
                    <a:pt x="1406" y="28"/>
                  </a:lnTo>
                  <a:lnTo>
                    <a:pt x="1406" y="24"/>
                  </a:lnTo>
                  <a:lnTo>
                    <a:pt x="1408" y="22"/>
                  </a:lnTo>
                  <a:lnTo>
                    <a:pt x="1410" y="22"/>
                  </a:lnTo>
                  <a:lnTo>
                    <a:pt x="1414" y="30"/>
                  </a:lnTo>
                  <a:lnTo>
                    <a:pt x="1416" y="28"/>
                  </a:lnTo>
                  <a:lnTo>
                    <a:pt x="1418" y="28"/>
                  </a:lnTo>
                  <a:lnTo>
                    <a:pt x="1418" y="26"/>
                  </a:lnTo>
                  <a:lnTo>
                    <a:pt x="1416" y="24"/>
                  </a:lnTo>
                  <a:lnTo>
                    <a:pt x="1414" y="21"/>
                  </a:lnTo>
                  <a:lnTo>
                    <a:pt x="1414" y="19"/>
                  </a:lnTo>
                  <a:lnTo>
                    <a:pt x="1414" y="17"/>
                  </a:lnTo>
                  <a:lnTo>
                    <a:pt x="1410" y="13"/>
                  </a:lnTo>
                  <a:lnTo>
                    <a:pt x="1410" y="13"/>
                  </a:lnTo>
                  <a:lnTo>
                    <a:pt x="1410" y="9"/>
                  </a:lnTo>
                  <a:lnTo>
                    <a:pt x="1414" y="9"/>
                  </a:lnTo>
                  <a:lnTo>
                    <a:pt x="1414" y="9"/>
                  </a:lnTo>
                  <a:lnTo>
                    <a:pt x="1410" y="5"/>
                  </a:lnTo>
                  <a:lnTo>
                    <a:pt x="1408" y="4"/>
                  </a:lnTo>
                  <a:lnTo>
                    <a:pt x="1410" y="4"/>
                  </a:lnTo>
                  <a:lnTo>
                    <a:pt x="1414" y="4"/>
                  </a:lnTo>
                  <a:lnTo>
                    <a:pt x="1416" y="0"/>
                  </a:lnTo>
                  <a:lnTo>
                    <a:pt x="1425" y="0"/>
                  </a:lnTo>
                  <a:lnTo>
                    <a:pt x="1425" y="4"/>
                  </a:lnTo>
                  <a:lnTo>
                    <a:pt x="1425" y="5"/>
                  </a:lnTo>
                  <a:lnTo>
                    <a:pt x="1423" y="9"/>
                  </a:lnTo>
                  <a:lnTo>
                    <a:pt x="1425" y="13"/>
                  </a:lnTo>
                  <a:lnTo>
                    <a:pt x="1427" y="13"/>
                  </a:lnTo>
                  <a:lnTo>
                    <a:pt x="1429" y="5"/>
                  </a:lnTo>
                  <a:lnTo>
                    <a:pt x="1431" y="5"/>
                  </a:lnTo>
                  <a:lnTo>
                    <a:pt x="1433" y="9"/>
                  </a:lnTo>
                  <a:lnTo>
                    <a:pt x="1431" y="13"/>
                  </a:lnTo>
                  <a:lnTo>
                    <a:pt x="1433" y="13"/>
                  </a:lnTo>
                  <a:lnTo>
                    <a:pt x="1435" y="13"/>
                  </a:lnTo>
                  <a:lnTo>
                    <a:pt x="1435" y="13"/>
                  </a:lnTo>
                  <a:lnTo>
                    <a:pt x="1440" y="9"/>
                  </a:lnTo>
                  <a:lnTo>
                    <a:pt x="1440" y="9"/>
                  </a:lnTo>
                  <a:lnTo>
                    <a:pt x="1440" y="13"/>
                  </a:lnTo>
                  <a:lnTo>
                    <a:pt x="1438" y="17"/>
                  </a:lnTo>
                  <a:lnTo>
                    <a:pt x="1440" y="22"/>
                  </a:lnTo>
                  <a:lnTo>
                    <a:pt x="1438" y="26"/>
                  </a:lnTo>
                  <a:lnTo>
                    <a:pt x="1440" y="28"/>
                  </a:lnTo>
                  <a:lnTo>
                    <a:pt x="1444" y="26"/>
                  </a:lnTo>
                  <a:lnTo>
                    <a:pt x="1448" y="28"/>
                  </a:lnTo>
                  <a:lnTo>
                    <a:pt x="1448" y="26"/>
                  </a:lnTo>
                  <a:lnTo>
                    <a:pt x="1448" y="21"/>
                  </a:lnTo>
                  <a:lnTo>
                    <a:pt x="1452" y="13"/>
                  </a:lnTo>
                  <a:lnTo>
                    <a:pt x="1448" y="5"/>
                  </a:lnTo>
                  <a:lnTo>
                    <a:pt x="1450" y="0"/>
                  </a:lnTo>
                  <a:lnTo>
                    <a:pt x="1452" y="0"/>
                  </a:lnTo>
                  <a:lnTo>
                    <a:pt x="1453" y="0"/>
                  </a:lnTo>
                  <a:lnTo>
                    <a:pt x="1457" y="0"/>
                  </a:lnTo>
                  <a:lnTo>
                    <a:pt x="1459" y="4"/>
                  </a:lnTo>
                  <a:lnTo>
                    <a:pt x="1465" y="0"/>
                  </a:lnTo>
                  <a:lnTo>
                    <a:pt x="1468" y="0"/>
                  </a:lnTo>
                  <a:lnTo>
                    <a:pt x="1472" y="4"/>
                  </a:lnTo>
                  <a:lnTo>
                    <a:pt x="1474" y="5"/>
                  </a:lnTo>
                  <a:lnTo>
                    <a:pt x="1480" y="4"/>
                  </a:lnTo>
                  <a:lnTo>
                    <a:pt x="1484" y="9"/>
                  </a:lnTo>
                  <a:lnTo>
                    <a:pt x="1485" y="13"/>
                  </a:lnTo>
                  <a:lnTo>
                    <a:pt x="1487" y="13"/>
                  </a:lnTo>
                  <a:lnTo>
                    <a:pt x="1487" y="17"/>
                  </a:lnTo>
                  <a:lnTo>
                    <a:pt x="1485" y="22"/>
                  </a:lnTo>
                  <a:lnTo>
                    <a:pt x="1485" y="24"/>
                  </a:lnTo>
                  <a:lnTo>
                    <a:pt x="1489" y="22"/>
                  </a:lnTo>
                  <a:lnTo>
                    <a:pt x="1493" y="19"/>
                  </a:lnTo>
                  <a:lnTo>
                    <a:pt x="1497" y="15"/>
                  </a:lnTo>
                  <a:lnTo>
                    <a:pt x="1502" y="13"/>
                  </a:lnTo>
                  <a:lnTo>
                    <a:pt x="1504" y="13"/>
                  </a:lnTo>
                  <a:lnTo>
                    <a:pt x="1508" y="13"/>
                  </a:lnTo>
                  <a:lnTo>
                    <a:pt x="1514" y="13"/>
                  </a:lnTo>
                  <a:lnTo>
                    <a:pt x="1514" y="17"/>
                  </a:lnTo>
                  <a:lnTo>
                    <a:pt x="1508" y="21"/>
                  </a:lnTo>
                  <a:lnTo>
                    <a:pt x="1512" y="24"/>
                  </a:lnTo>
                  <a:lnTo>
                    <a:pt x="1514" y="22"/>
                  </a:lnTo>
                  <a:lnTo>
                    <a:pt x="1514" y="19"/>
                  </a:lnTo>
                  <a:lnTo>
                    <a:pt x="1517" y="17"/>
                  </a:lnTo>
                  <a:lnTo>
                    <a:pt x="1521" y="15"/>
                  </a:lnTo>
                  <a:lnTo>
                    <a:pt x="1527" y="17"/>
                  </a:lnTo>
                  <a:lnTo>
                    <a:pt x="1534" y="19"/>
                  </a:lnTo>
                  <a:lnTo>
                    <a:pt x="1536" y="21"/>
                  </a:lnTo>
                  <a:lnTo>
                    <a:pt x="1534" y="24"/>
                  </a:lnTo>
                  <a:lnTo>
                    <a:pt x="1532" y="24"/>
                  </a:lnTo>
                  <a:lnTo>
                    <a:pt x="1532" y="26"/>
                  </a:lnTo>
                  <a:lnTo>
                    <a:pt x="1531" y="30"/>
                  </a:lnTo>
                  <a:lnTo>
                    <a:pt x="1532" y="30"/>
                  </a:lnTo>
                  <a:lnTo>
                    <a:pt x="1534" y="30"/>
                  </a:lnTo>
                  <a:lnTo>
                    <a:pt x="1538" y="28"/>
                  </a:lnTo>
                  <a:lnTo>
                    <a:pt x="1538" y="30"/>
                  </a:lnTo>
                  <a:lnTo>
                    <a:pt x="1542" y="34"/>
                  </a:lnTo>
                  <a:lnTo>
                    <a:pt x="1544" y="30"/>
                  </a:lnTo>
                  <a:lnTo>
                    <a:pt x="1548" y="30"/>
                  </a:lnTo>
                  <a:lnTo>
                    <a:pt x="1548" y="30"/>
                  </a:lnTo>
                  <a:lnTo>
                    <a:pt x="1548" y="34"/>
                  </a:lnTo>
                  <a:lnTo>
                    <a:pt x="1548" y="37"/>
                  </a:lnTo>
                  <a:lnTo>
                    <a:pt x="1551" y="37"/>
                  </a:lnTo>
                  <a:lnTo>
                    <a:pt x="1551" y="34"/>
                  </a:lnTo>
                  <a:lnTo>
                    <a:pt x="1555" y="34"/>
                  </a:lnTo>
                  <a:lnTo>
                    <a:pt x="1557" y="34"/>
                  </a:lnTo>
                  <a:lnTo>
                    <a:pt x="1557" y="37"/>
                  </a:lnTo>
                  <a:lnTo>
                    <a:pt x="1564" y="39"/>
                  </a:lnTo>
                  <a:lnTo>
                    <a:pt x="1568" y="39"/>
                  </a:lnTo>
                  <a:lnTo>
                    <a:pt x="1570" y="43"/>
                  </a:lnTo>
                  <a:lnTo>
                    <a:pt x="1568" y="43"/>
                  </a:lnTo>
                  <a:lnTo>
                    <a:pt x="1561" y="47"/>
                  </a:lnTo>
                  <a:lnTo>
                    <a:pt x="1557" y="51"/>
                  </a:lnTo>
                  <a:lnTo>
                    <a:pt x="1551" y="53"/>
                  </a:lnTo>
                  <a:lnTo>
                    <a:pt x="1548" y="54"/>
                  </a:lnTo>
                  <a:lnTo>
                    <a:pt x="1546" y="54"/>
                  </a:lnTo>
                  <a:lnTo>
                    <a:pt x="1542" y="54"/>
                  </a:lnTo>
                  <a:lnTo>
                    <a:pt x="1540" y="54"/>
                  </a:lnTo>
                  <a:lnTo>
                    <a:pt x="1534" y="58"/>
                  </a:lnTo>
                  <a:lnTo>
                    <a:pt x="1544" y="58"/>
                  </a:lnTo>
                  <a:lnTo>
                    <a:pt x="1551" y="58"/>
                  </a:lnTo>
                  <a:lnTo>
                    <a:pt x="1551" y="60"/>
                  </a:lnTo>
                  <a:lnTo>
                    <a:pt x="1555" y="60"/>
                  </a:lnTo>
                  <a:lnTo>
                    <a:pt x="1557" y="54"/>
                  </a:lnTo>
                  <a:lnTo>
                    <a:pt x="1561" y="54"/>
                  </a:lnTo>
                  <a:lnTo>
                    <a:pt x="1563" y="54"/>
                  </a:lnTo>
                  <a:lnTo>
                    <a:pt x="1564" y="51"/>
                  </a:lnTo>
                  <a:lnTo>
                    <a:pt x="1570" y="49"/>
                  </a:lnTo>
                  <a:lnTo>
                    <a:pt x="1572" y="49"/>
                  </a:lnTo>
                  <a:lnTo>
                    <a:pt x="1576" y="51"/>
                  </a:lnTo>
                  <a:lnTo>
                    <a:pt x="1572" y="54"/>
                  </a:lnTo>
                  <a:lnTo>
                    <a:pt x="1576" y="58"/>
                  </a:lnTo>
                  <a:lnTo>
                    <a:pt x="1576" y="54"/>
                  </a:lnTo>
                  <a:lnTo>
                    <a:pt x="1578" y="53"/>
                  </a:lnTo>
                  <a:lnTo>
                    <a:pt x="1581" y="49"/>
                  </a:lnTo>
                  <a:lnTo>
                    <a:pt x="1585" y="51"/>
                  </a:lnTo>
                  <a:lnTo>
                    <a:pt x="1581" y="54"/>
                  </a:lnTo>
                  <a:lnTo>
                    <a:pt x="1581" y="54"/>
                  </a:lnTo>
                  <a:lnTo>
                    <a:pt x="1581" y="60"/>
                  </a:lnTo>
                  <a:lnTo>
                    <a:pt x="1581" y="62"/>
                  </a:lnTo>
                  <a:lnTo>
                    <a:pt x="1585" y="60"/>
                  </a:lnTo>
                  <a:lnTo>
                    <a:pt x="1585" y="58"/>
                  </a:lnTo>
                  <a:lnTo>
                    <a:pt x="1585" y="54"/>
                  </a:lnTo>
                  <a:lnTo>
                    <a:pt x="1591" y="54"/>
                  </a:lnTo>
                  <a:lnTo>
                    <a:pt x="1593" y="54"/>
                  </a:lnTo>
                  <a:lnTo>
                    <a:pt x="1591" y="64"/>
                  </a:lnTo>
                  <a:lnTo>
                    <a:pt x="1589" y="64"/>
                  </a:lnTo>
                  <a:lnTo>
                    <a:pt x="1591" y="64"/>
                  </a:lnTo>
                  <a:lnTo>
                    <a:pt x="1593" y="68"/>
                  </a:lnTo>
                  <a:lnTo>
                    <a:pt x="1591" y="73"/>
                  </a:lnTo>
                  <a:lnTo>
                    <a:pt x="1587" y="75"/>
                  </a:lnTo>
                  <a:lnTo>
                    <a:pt x="1587" y="79"/>
                  </a:lnTo>
                  <a:lnTo>
                    <a:pt x="1581" y="85"/>
                  </a:lnTo>
                  <a:lnTo>
                    <a:pt x="1585" y="86"/>
                  </a:lnTo>
                  <a:lnTo>
                    <a:pt x="1587" y="85"/>
                  </a:lnTo>
                  <a:lnTo>
                    <a:pt x="1589" y="81"/>
                  </a:lnTo>
                  <a:lnTo>
                    <a:pt x="1593" y="81"/>
                  </a:lnTo>
                  <a:lnTo>
                    <a:pt x="1593" y="79"/>
                  </a:lnTo>
                  <a:lnTo>
                    <a:pt x="1596" y="79"/>
                  </a:lnTo>
                  <a:lnTo>
                    <a:pt x="1600" y="83"/>
                  </a:lnTo>
                  <a:lnTo>
                    <a:pt x="1602" y="88"/>
                  </a:lnTo>
                  <a:lnTo>
                    <a:pt x="1602" y="94"/>
                  </a:lnTo>
                  <a:lnTo>
                    <a:pt x="1602" y="102"/>
                  </a:lnTo>
                  <a:lnTo>
                    <a:pt x="1596" y="109"/>
                  </a:lnTo>
                  <a:lnTo>
                    <a:pt x="1589" y="113"/>
                  </a:lnTo>
                  <a:lnTo>
                    <a:pt x="1587" y="115"/>
                  </a:lnTo>
                  <a:lnTo>
                    <a:pt x="1585" y="115"/>
                  </a:lnTo>
                  <a:lnTo>
                    <a:pt x="1581" y="117"/>
                  </a:lnTo>
                  <a:lnTo>
                    <a:pt x="1581" y="118"/>
                  </a:lnTo>
                  <a:lnTo>
                    <a:pt x="1578" y="118"/>
                  </a:lnTo>
                  <a:lnTo>
                    <a:pt x="1568" y="124"/>
                  </a:lnTo>
                  <a:lnTo>
                    <a:pt x="1564" y="128"/>
                  </a:lnTo>
                  <a:lnTo>
                    <a:pt x="1561" y="128"/>
                  </a:lnTo>
                  <a:lnTo>
                    <a:pt x="1555" y="132"/>
                  </a:lnTo>
                  <a:lnTo>
                    <a:pt x="1551" y="132"/>
                  </a:lnTo>
                  <a:lnTo>
                    <a:pt x="1548" y="128"/>
                  </a:lnTo>
                  <a:lnTo>
                    <a:pt x="1546" y="132"/>
                  </a:lnTo>
                  <a:lnTo>
                    <a:pt x="1544" y="132"/>
                  </a:lnTo>
                  <a:lnTo>
                    <a:pt x="1540" y="132"/>
                  </a:lnTo>
                  <a:lnTo>
                    <a:pt x="1534" y="128"/>
                  </a:lnTo>
                  <a:lnTo>
                    <a:pt x="1529" y="128"/>
                  </a:lnTo>
                  <a:lnTo>
                    <a:pt x="1529" y="132"/>
                  </a:lnTo>
                  <a:lnTo>
                    <a:pt x="1534" y="132"/>
                  </a:lnTo>
                  <a:lnTo>
                    <a:pt x="1536" y="132"/>
                  </a:lnTo>
                  <a:lnTo>
                    <a:pt x="1532" y="134"/>
                  </a:lnTo>
                  <a:lnTo>
                    <a:pt x="1529" y="132"/>
                  </a:lnTo>
                  <a:lnTo>
                    <a:pt x="1527" y="132"/>
                  </a:lnTo>
                  <a:lnTo>
                    <a:pt x="1523" y="132"/>
                  </a:lnTo>
                  <a:lnTo>
                    <a:pt x="1517" y="132"/>
                  </a:lnTo>
                  <a:lnTo>
                    <a:pt x="1516" y="128"/>
                  </a:lnTo>
                  <a:lnTo>
                    <a:pt x="1514" y="128"/>
                  </a:lnTo>
                  <a:lnTo>
                    <a:pt x="1512" y="128"/>
                  </a:lnTo>
                  <a:lnTo>
                    <a:pt x="1504" y="122"/>
                  </a:lnTo>
                  <a:lnTo>
                    <a:pt x="1502" y="118"/>
                  </a:lnTo>
                  <a:lnTo>
                    <a:pt x="1502" y="122"/>
                  </a:lnTo>
                  <a:lnTo>
                    <a:pt x="1506" y="128"/>
                  </a:lnTo>
                  <a:lnTo>
                    <a:pt x="1506" y="128"/>
                  </a:lnTo>
                  <a:lnTo>
                    <a:pt x="1504" y="128"/>
                  </a:lnTo>
                  <a:lnTo>
                    <a:pt x="1499" y="128"/>
                  </a:lnTo>
                  <a:lnTo>
                    <a:pt x="1502" y="132"/>
                  </a:lnTo>
                  <a:lnTo>
                    <a:pt x="1514" y="132"/>
                  </a:lnTo>
                  <a:lnTo>
                    <a:pt x="1521" y="134"/>
                  </a:lnTo>
                  <a:lnTo>
                    <a:pt x="1523" y="135"/>
                  </a:lnTo>
                  <a:lnTo>
                    <a:pt x="1517" y="137"/>
                  </a:lnTo>
                  <a:lnTo>
                    <a:pt x="1502" y="145"/>
                  </a:lnTo>
                  <a:lnTo>
                    <a:pt x="1493" y="147"/>
                  </a:lnTo>
                  <a:lnTo>
                    <a:pt x="1489" y="147"/>
                  </a:lnTo>
                  <a:lnTo>
                    <a:pt x="1484" y="149"/>
                  </a:lnTo>
                  <a:lnTo>
                    <a:pt x="1478" y="147"/>
                  </a:lnTo>
                  <a:lnTo>
                    <a:pt x="1478" y="145"/>
                  </a:lnTo>
                  <a:lnTo>
                    <a:pt x="1474" y="147"/>
                  </a:lnTo>
                  <a:lnTo>
                    <a:pt x="1472" y="145"/>
                  </a:lnTo>
                  <a:lnTo>
                    <a:pt x="1468" y="147"/>
                  </a:lnTo>
                  <a:lnTo>
                    <a:pt x="1467" y="149"/>
                  </a:lnTo>
                  <a:lnTo>
                    <a:pt x="1468" y="149"/>
                  </a:lnTo>
                  <a:lnTo>
                    <a:pt x="1472" y="152"/>
                  </a:lnTo>
                  <a:lnTo>
                    <a:pt x="1474" y="149"/>
                  </a:lnTo>
                  <a:lnTo>
                    <a:pt x="1485" y="149"/>
                  </a:lnTo>
                  <a:lnTo>
                    <a:pt x="1491" y="149"/>
                  </a:lnTo>
                  <a:lnTo>
                    <a:pt x="1504" y="149"/>
                  </a:lnTo>
                  <a:lnTo>
                    <a:pt x="1514" y="149"/>
                  </a:lnTo>
                  <a:lnTo>
                    <a:pt x="1517" y="143"/>
                  </a:lnTo>
                  <a:lnTo>
                    <a:pt x="1523" y="141"/>
                  </a:lnTo>
                  <a:lnTo>
                    <a:pt x="1527" y="143"/>
                  </a:lnTo>
                  <a:lnTo>
                    <a:pt x="1531" y="143"/>
                  </a:lnTo>
                  <a:lnTo>
                    <a:pt x="1536" y="143"/>
                  </a:lnTo>
                  <a:lnTo>
                    <a:pt x="1534" y="149"/>
                  </a:lnTo>
                  <a:lnTo>
                    <a:pt x="1531" y="152"/>
                  </a:lnTo>
                  <a:lnTo>
                    <a:pt x="1527" y="156"/>
                  </a:lnTo>
                  <a:lnTo>
                    <a:pt x="1523" y="156"/>
                  </a:lnTo>
                  <a:lnTo>
                    <a:pt x="1516" y="158"/>
                  </a:lnTo>
                  <a:lnTo>
                    <a:pt x="1514" y="162"/>
                  </a:lnTo>
                  <a:lnTo>
                    <a:pt x="1510" y="162"/>
                  </a:lnTo>
                  <a:lnTo>
                    <a:pt x="1506" y="167"/>
                  </a:lnTo>
                  <a:lnTo>
                    <a:pt x="1502" y="169"/>
                  </a:lnTo>
                  <a:lnTo>
                    <a:pt x="1497" y="169"/>
                  </a:lnTo>
                  <a:lnTo>
                    <a:pt x="1493" y="171"/>
                  </a:lnTo>
                  <a:lnTo>
                    <a:pt x="1491" y="171"/>
                  </a:lnTo>
                  <a:lnTo>
                    <a:pt x="1487" y="173"/>
                  </a:lnTo>
                  <a:lnTo>
                    <a:pt x="1480" y="173"/>
                  </a:lnTo>
                  <a:lnTo>
                    <a:pt x="1478" y="179"/>
                  </a:lnTo>
                  <a:lnTo>
                    <a:pt x="1472" y="181"/>
                  </a:lnTo>
                  <a:lnTo>
                    <a:pt x="1468" y="183"/>
                  </a:lnTo>
                  <a:lnTo>
                    <a:pt x="1465" y="183"/>
                  </a:lnTo>
                  <a:lnTo>
                    <a:pt x="1459" y="183"/>
                  </a:lnTo>
                  <a:lnTo>
                    <a:pt x="1459" y="183"/>
                  </a:lnTo>
                  <a:lnTo>
                    <a:pt x="1457" y="186"/>
                  </a:lnTo>
                  <a:lnTo>
                    <a:pt x="1457" y="188"/>
                  </a:lnTo>
                  <a:lnTo>
                    <a:pt x="1453" y="192"/>
                  </a:lnTo>
                  <a:lnTo>
                    <a:pt x="1452" y="196"/>
                  </a:lnTo>
                  <a:lnTo>
                    <a:pt x="1444" y="196"/>
                  </a:lnTo>
                  <a:lnTo>
                    <a:pt x="1438" y="198"/>
                  </a:lnTo>
                  <a:lnTo>
                    <a:pt x="1438" y="196"/>
                  </a:lnTo>
                  <a:lnTo>
                    <a:pt x="1435" y="194"/>
                  </a:lnTo>
                  <a:lnTo>
                    <a:pt x="1438" y="192"/>
                  </a:lnTo>
                  <a:lnTo>
                    <a:pt x="1438" y="188"/>
                  </a:lnTo>
                  <a:lnTo>
                    <a:pt x="1435" y="186"/>
                  </a:lnTo>
                  <a:lnTo>
                    <a:pt x="1435" y="192"/>
                  </a:lnTo>
                  <a:lnTo>
                    <a:pt x="1435" y="194"/>
                  </a:lnTo>
                  <a:lnTo>
                    <a:pt x="1435" y="196"/>
                  </a:lnTo>
                  <a:lnTo>
                    <a:pt x="1438" y="199"/>
                  </a:lnTo>
                  <a:lnTo>
                    <a:pt x="1438" y="203"/>
                  </a:lnTo>
                  <a:lnTo>
                    <a:pt x="1435" y="207"/>
                  </a:lnTo>
                  <a:lnTo>
                    <a:pt x="1433" y="207"/>
                  </a:lnTo>
                  <a:lnTo>
                    <a:pt x="1429" y="203"/>
                  </a:lnTo>
                  <a:lnTo>
                    <a:pt x="1427" y="205"/>
                  </a:lnTo>
                  <a:lnTo>
                    <a:pt x="1420" y="203"/>
                  </a:lnTo>
                  <a:lnTo>
                    <a:pt x="1418" y="205"/>
                  </a:lnTo>
                  <a:lnTo>
                    <a:pt x="1416" y="205"/>
                  </a:lnTo>
                  <a:lnTo>
                    <a:pt x="1416" y="201"/>
                  </a:lnTo>
                  <a:lnTo>
                    <a:pt x="1414" y="199"/>
                  </a:lnTo>
                  <a:lnTo>
                    <a:pt x="1414" y="203"/>
                  </a:lnTo>
                  <a:lnTo>
                    <a:pt x="1410" y="203"/>
                  </a:lnTo>
                  <a:lnTo>
                    <a:pt x="1410" y="207"/>
                  </a:lnTo>
                  <a:lnTo>
                    <a:pt x="1416" y="207"/>
                  </a:lnTo>
                  <a:lnTo>
                    <a:pt x="1425" y="207"/>
                  </a:lnTo>
                  <a:lnTo>
                    <a:pt x="1429" y="211"/>
                  </a:lnTo>
                  <a:lnTo>
                    <a:pt x="1427" y="213"/>
                  </a:lnTo>
                  <a:lnTo>
                    <a:pt x="1423" y="216"/>
                  </a:lnTo>
                  <a:lnTo>
                    <a:pt x="1418" y="216"/>
                  </a:lnTo>
                  <a:lnTo>
                    <a:pt x="1414" y="216"/>
                  </a:lnTo>
                  <a:lnTo>
                    <a:pt x="1414" y="216"/>
                  </a:lnTo>
                  <a:lnTo>
                    <a:pt x="1414" y="218"/>
                  </a:lnTo>
                  <a:lnTo>
                    <a:pt x="1416" y="216"/>
                  </a:lnTo>
                  <a:lnTo>
                    <a:pt x="1418" y="218"/>
                  </a:lnTo>
                  <a:lnTo>
                    <a:pt x="1418" y="222"/>
                  </a:lnTo>
                  <a:lnTo>
                    <a:pt x="1414" y="228"/>
                  </a:lnTo>
                  <a:lnTo>
                    <a:pt x="1408" y="228"/>
                  </a:lnTo>
                  <a:lnTo>
                    <a:pt x="1397" y="228"/>
                  </a:lnTo>
                  <a:lnTo>
                    <a:pt x="1397" y="226"/>
                  </a:lnTo>
                  <a:lnTo>
                    <a:pt x="1393" y="226"/>
                  </a:lnTo>
                  <a:lnTo>
                    <a:pt x="1391" y="226"/>
                  </a:lnTo>
                  <a:lnTo>
                    <a:pt x="1391" y="216"/>
                  </a:lnTo>
                  <a:lnTo>
                    <a:pt x="1386" y="216"/>
                  </a:lnTo>
                  <a:lnTo>
                    <a:pt x="1386" y="216"/>
                  </a:lnTo>
                  <a:lnTo>
                    <a:pt x="1386" y="213"/>
                  </a:lnTo>
                  <a:lnTo>
                    <a:pt x="1384" y="211"/>
                  </a:lnTo>
                  <a:lnTo>
                    <a:pt x="1380" y="211"/>
                  </a:lnTo>
                  <a:lnTo>
                    <a:pt x="1378" y="211"/>
                  </a:lnTo>
                  <a:lnTo>
                    <a:pt x="1372" y="211"/>
                  </a:lnTo>
                  <a:lnTo>
                    <a:pt x="1371" y="213"/>
                  </a:lnTo>
                  <a:lnTo>
                    <a:pt x="1374" y="213"/>
                  </a:lnTo>
                  <a:lnTo>
                    <a:pt x="1376" y="213"/>
                  </a:lnTo>
                  <a:lnTo>
                    <a:pt x="1378" y="213"/>
                  </a:lnTo>
                  <a:lnTo>
                    <a:pt x="1386" y="220"/>
                  </a:lnTo>
                  <a:lnTo>
                    <a:pt x="1386" y="231"/>
                  </a:lnTo>
                  <a:lnTo>
                    <a:pt x="1386" y="233"/>
                  </a:lnTo>
                  <a:lnTo>
                    <a:pt x="1380" y="231"/>
                  </a:lnTo>
                  <a:lnTo>
                    <a:pt x="1378" y="230"/>
                  </a:lnTo>
                  <a:lnTo>
                    <a:pt x="1376" y="230"/>
                  </a:lnTo>
                  <a:lnTo>
                    <a:pt x="1376" y="233"/>
                  </a:lnTo>
                  <a:lnTo>
                    <a:pt x="1374" y="233"/>
                  </a:lnTo>
                  <a:lnTo>
                    <a:pt x="1371" y="230"/>
                  </a:lnTo>
                  <a:lnTo>
                    <a:pt x="1367" y="230"/>
                  </a:lnTo>
                  <a:lnTo>
                    <a:pt x="1365" y="233"/>
                  </a:lnTo>
                  <a:lnTo>
                    <a:pt x="1363" y="233"/>
                  </a:lnTo>
                  <a:lnTo>
                    <a:pt x="1361" y="230"/>
                  </a:lnTo>
                  <a:lnTo>
                    <a:pt x="1359" y="230"/>
                  </a:lnTo>
                  <a:lnTo>
                    <a:pt x="1356" y="226"/>
                  </a:lnTo>
                  <a:lnTo>
                    <a:pt x="1354" y="226"/>
                  </a:lnTo>
                  <a:lnTo>
                    <a:pt x="1354" y="222"/>
                  </a:lnTo>
                  <a:lnTo>
                    <a:pt x="1350" y="220"/>
                  </a:lnTo>
                  <a:lnTo>
                    <a:pt x="1344" y="220"/>
                  </a:lnTo>
                  <a:lnTo>
                    <a:pt x="1342" y="216"/>
                  </a:lnTo>
                  <a:lnTo>
                    <a:pt x="1340" y="218"/>
                  </a:lnTo>
                  <a:lnTo>
                    <a:pt x="1342" y="222"/>
                  </a:lnTo>
                  <a:lnTo>
                    <a:pt x="1346" y="226"/>
                  </a:lnTo>
                  <a:lnTo>
                    <a:pt x="1350" y="226"/>
                  </a:lnTo>
                  <a:lnTo>
                    <a:pt x="1356" y="231"/>
                  </a:lnTo>
                  <a:lnTo>
                    <a:pt x="1354" y="235"/>
                  </a:lnTo>
                  <a:lnTo>
                    <a:pt x="1342" y="231"/>
                  </a:lnTo>
                  <a:lnTo>
                    <a:pt x="1339" y="230"/>
                  </a:lnTo>
                  <a:lnTo>
                    <a:pt x="1339" y="226"/>
                  </a:lnTo>
                  <a:lnTo>
                    <a:pt x="1337" y="222"/>
                  </a:lnTo>
                  <a:lnTo>
                    <a:pt x="1335" y="226"/>
                  </a:lnTo>
                  <a:lnTo>
                    <a:pt x="1337" y="226"/>
                  </a:lnTo>
                  <a:lnTo>
                    <a:pt x="1335" y="230"/>
                  </a:lnTo>
                  <a:lnTo>
                    <a:pt x="1331" y="228"/>
                  </a:lnTo>
                  <a:lnTo>
                    <a:pt x="1331" y="226"/>
                  </a:lnTo>
                  <a:lnTo>
                    <a:pt x="1325" y="228"/>
                  </a:lnTo>
                  <a:lnTo>
                    <a:pt x="1325" y="230"/>
                  </a:lnTo>
                  <a:lnTo>
                    <a:pt x="1331" y="231"/>
                  </a:lnTo>
                  <a:lnTo>
                    <a:pt x="1331" y="235"/>
                  </a:lnTo>
                  <a:lnTo>
                    <a:pt x="1335" y="235"/>
                  </a:lnTo>
                  <a:lnTo>
                    <a:pt x="1335" y="233"/>
                  </a:lnTo>
                  <a:lnTo>
                    <a:pt x="1339" y="233"/>
                  </a:lnTo>
                  <a:lnTo>
                    <a:pt x="1340" y="237"/>
                  </a:lnTo>
                  <a:lnTo>
                    <a:pt x="1346" y="237"/>
                  </a:lnTo>
                  <a:lnTo>
                    <a:pt x="1348" y="241"/>
                  </a:lnTo>
                  <a:lnTo>
                    <a:pt x="1352" y="241"/>
                  </a:lnTo>
                  <a:lnTo>
                    <a:pt x="1354" y="241"/>
                  </a:lnTo>
                  <a:lnTo>
                    <a:pt x="1363" y="243"/>
                  </a:lnTo>
                  <a:lnTo>
                    <a:pt x="1365" y="243"/>
                  </a:lnTo>
                  <a:lnTo>
                    <a:pt x="1361" y="247"/>
                  </a:lnTo>
                  <a:lnTo>
                    <a:pt x="1363" y="250"/>
                  </a:lnTo>
                  <a:lnTo>
                    <a:pt x="1363" y="252"/>
                  </a:lnTo>
                  <a:lnTo>
                    <a:pt x="1363" y="256"/>
                  </a:lnTo>
                  <a:lnTo>
                    <a:pt x="1361" y="258"/>
                  </a:lnTo>
                  <a:lnTo>
                    <a:pt x="1359" y="258"/>
                  </a:lnTo>
                  <a:lnTo>
                    <a:pt x="1359" y="254"/>
                  </a:lnTo>
                  <a:lnTo>
                    <a:pt x="1354" y="254"/>
                  </a:lnTo>
                  <a:lnTo>
                    <a:pt x="1348" y="250"/>
                  </a:lnTo>
                  <a:lnTo>
                    <a:pt x="1346" y="247"/>
                  </a:lnTo>
                  <a:lnTo>
                    <a:pt x="1348" y="243"/>
                  </a:lnTo>
                  <a:lnTo>
                    <a:pt x="1346" y="241"/>
                  </a:lnTo>
                  <a:lnTo>
                    <a:pt x="1339" y="241"/>
                  </a:lnTo>
                  <a:lnTo>
                    <a:pt x="1331" y="237"/>
                  </a:lnTo>
                  <a:lnTo>
                    <a:pt x="1329" y="237"/>
                  </a:lnTo>
                  <a:lnTo>
                    <a:pt x="1325" y="237"/>
                  </a:lnTo>
                  <a:lnTo>
                    <a:pt x="1325" y="237"/>
                  </a:lnTo>
                  <a:lnTo>
                    <a:pt x="1329" y="241"/>
                  </a:lnTo>
                  <a:lnTo>
                    <a:pt x="1337" y="241"/>
                  </a:lnTo>
                  <a:lnTo>
                    <a:pt x="1344" y="243"/>
                  </a:lnTo>
                  <a:lnTo>
                    <a:pt x="1344" y="247"/>
                  </a:lnTo>
                  <a:lnTo>
                    <a:pt x="1342" y="247"/>
                  </a:lnTo>
                  <a:lnTo>
                    <a:pt x="1339" y="247"/>
                  </a:lnTo>
                  <a:lnTo>
                    <a:pt x="1331" y="247"/>
                  </a:lnTo>
                  <a:lnTo>
                    <a:pt x="1325" y="247"/>
                  </a:lnTo>
                  <a:lnTo>
                    <a:pt x="1325" y="243"/>
                  </a:lnTo>
                  <a:lnTo>
                    <a:pt x="1325" y="243"/>
                  </a:lnTo>
                  <a:lnTo>
                    <a:pt x="1318" y="243"/>
                  </a:lnTo>
                  <a:lnTo>
                    <a:pt x="1316" y="241"/>
                  </a:lnTo>
                  <a:lnTo>
                    <a:pt x="1316" y="243"/>
                  </a:lnTo>
                  <a:lnTo>
                    <a:pt x="1322" y="247"/>
                  </a:lnTo>
                  <a:lnTo>
                    <a:pt x="1322" y="247"/>
                  </a:lnTo>
                  <a:lnTo>
                    <a:pt x="1322" y="250"/>
                  </a:lnTo>
                  <a:lnTo>
                    <a:pt x="1325" y="250"/>
                  </a:lnTo>
                  <a:lnTo>
                    <a:pt x="1325" y="250"/>
                  </a:lnTo>
                  <a:lnTo>
                    <a:pt x="1325" y="250"/>
                  </a:lnTo>
                  <a:lnTo>
                    <a:pt x="1331" y="250"/>
                  </a:lnTo>
                  <a:lnTo>
                    <a:pt x="1331" y="247"/>
                  </a:lnTo>
                  <a:lnTo>
                    <a:pt x="1331" y="250"/>
                  </a:lnTo>
                  <a:lnTo>
                    <a:pt x="1335" y="247"/>
                  </a:lnTo>
                  <a:lnTo>
                    <a:pt x="1339" y="250"/>
                  </a:lnTo>
                  <a:lnTo>
                    <a:pt x="1344" y="254"/>
                  </a:lnTo>
                  <a:lnTo>
                    <a:pt x="1344" y="256"/>
                  </a:lnTo>
                  <a:lnTo>
                    <a:pt x="1339" y="256"/>
                  </a:lnTo>
                  <a:lnTo>
                    <a:pt x="1335" y="258"/>
                  </a:lnTo>
                  <a:lnTo>
                    <a:pt x="1335" y="260"/>
                  </a:lnTo>
                  <a:lnTo>
                    <a:pt x="1339" y="258"/>
                  </a:lnTo>
                  <a:lnTo>
                    <a:pt x="1342" y="258"/>
                  </a:lnTo>
                  <a:lnTo>
                    <a:pt x="1344" y="258"/>
                  </a:lnTo>
                  <a:lnTo>
                    <a:pt x="1348" y="262"/>
                  </a:lnTo>
                  <a:lnTo>
                    <a:pt x="1352" y="263"/>
                  </a:lnTo>
                  <a:lnTo>
                    <a:pt x="1352" y="267"/>
                  </a:lnTo>
                  <a:lnTo>
                    <a:pt x="1348" y="275"/>
                  </a:lnTo>
                  <a:lnTo>
                    <a:pt x="1346" y="280"/>
                  </a:lnTo>
                  <a:lnTo>
                    <a:pt x="1344" y="280"/>
                  </a:lnTo>
                  <a:lnTo>
                    <a:pt x="1339" y="282"/>
                  </a:lnTo>
                  <a:lnTo>
                    <a:pt x="1337" y="282"/>
                  </a:lnTo>
                  <a:lnTo>
                    <a:pt x="1335" y="282"/>
                  </a:lnTo>
                  <a:lnTo>
                    <a:pt x="1331" y="280"/>
                  </a:lnTo>
                  <a:lnTo>
                    <a:pt x="1331" y="280"/>
                  </a:lnTo>
                  <a:lnTo>
                    <a:pt x="1325" y="277"/>
                  </a:lnTo>
                  <a:lnTo>
                    <a:pt x="1322" y="277"/>
                  </a:lnTo>
                  <a:lnTo>
                    <a:pt x="1322" y="280"/>
                  </a:lnTo>
                  <a:lnTo>
                    <a:pt x="1329" y="280"/>
                  </a:lnTo>
                  <a:lnTo>
                    <a:pt x="1329" y="282"/>
                  </a:lnTo>
                  <a:lnTo>
                    <a:pt x="1331" y="282"/>
                  </a:lnTo>
                  <a:lnTo>
                    <a:pt x="1335" y="286"/>
                  </a:lnTo>
                  <a:lnTo>
                    <a:pt x="1335" y="292"/>
                  </a:lnTo>
                  <a:lnTo>
                    <a:pt x="1335" y="294"/>
                  </a:lnTo>
                  <a:lnTo>
                    <a:pt x="1331" y="294"/>
                  </a:lnTo>
                  <a:lnTo>
                    <a:pt x="1329" y="297"/>
                  </a:lnTo>
                  <a:lnTo>
                    <a:pt x="1325" y="297"/>
                  </a:lnTo>
                  <a:lnTo>
                    <a:pt x="1320" y="294"/>
                  </a:lnTo>
                  <a:lnTo>
                    <a:pt x="1316" y="294"/>
                  </a:lnTo>
                  <a:lnTo>
                    <a:pt x="1314" y="292"/>
                  </a:lnTo>
                  <a:lnTo>
                    <a:pt x="1310" y="292"/>
                  </a:lnTo>
                  <a:lnTo>
                    <a:pt x="1310" y="294"/>
                  </a:lnTo>
                  <a:lnTo>
                    <a:pt x="1310" y="296"/>
                  </a:lnTo>
                  <a:lnTo>
                    <a:pt x="1320" y="301"/>
                  </a:lnTo>
                  <a:lnTo>
                    <a:pt x="1325" y="301"/>
                  </a:lnTo>
                  <a:lnTo>
                    <a:pt x="1325" y="305"/>
                  </a:lnTo>
                  <a:lnTo>
                    <a:pt x="1322" y="305"/>
                  </a:lnTo>
                  <a:lnTo>
                    <a:pt x="1318" y="311"/>
                  </a:lnTo>
                  <a:lnTo>
                    <a:pt x="1316" y="311"/>
                  </a:lnTo>
                  <a:lnTo>
                    <a:pt x="1312" y="305"/>
                  </a:lnTo>
                  <a:lnTo>
                    <a:pt x="1310" y="305"/>
                  </a:lnTo>
                  <a:lnTo>
                    <a:pt x="1305" y="311"/>
                  </a:lnTo>
                  <a:lnTo>
                    <a:pt x="1301" y="311"/>
                  </a:lnTo>
                  <a:lnTo>
                    <a:pt x="1297" y="305"/>
                  </a:lnTo>
                  <a:lnTo>
                    <a:pt x="1292" y="305"/>
                  </a:lnTo>
                  <a:lnTo>
                    <a:pt x="1286" y="305"/>
                  </a:lnTo>
                  <a:lnTo>
                    <a:pt x="1284" y="312"/>
                  </a:lnTo>
                  <a:lnTo>
                    <a:pt x="1280" y="316"/>
                  </a:lnTo>
                  <a:lnTo>
                    <a:pt x="1284" y="314"/>
                  </a:lnTo>
                  <a:lnTo>
                    <a:pt x="1286" y="316"/>
                  </a:lnTo>
                  <a:lnTo>
                    <a:pt x="1286" y="320"/>
                  </a:lnTo>
                  <a:lnTo>
                    <a:pt x="1280" y="324"/>
                  </a:lnTo>
                  <a:lnTo>
                    <a:pt x="1280" y="328"/>
                  </a:lnTo>
                  <a:lnTo>
                    <a:pt x="1276" y="329"/>
                  </a:lnTo>
                  <a:lnTo>
                    <a:pt x="1276" y="328"/>
                  </a:lnTo>
                  <a:lnTo>
                    <a:pt x="1273" y="329"/>
                  </a:lnTo>
                  <a:lnTo>
                    <a:pt x="1273" y="331"/>
                  </a:lnTo>
                  <a:lnTo>
                    <a:pt x="1271" y="331"/>
                  </a:lnTo>
                  <a:lnTo>
                    <a:pt x="1267" y="331"/>
                  </a:lnTo>
                  <a:lnTo>
                    <a:pt x="1267" y="331"/>
                  </a:lnTo>
                  <a:lnTo>
                    <a:pt x="1267" y="331"/>
                  </a:lnTo>
                  <a:lnTo>
                    <a:pt x="1265" y="331"/>
                  </a:lnTo>
                  <a:lnTo>
                    <a:pt x="1263" y="337"/>
                  </a:lnTo>
                  <a:lnTo>
                    <a:pt x="1260" y="339"/>
                  </a:lnTo>
                  <a:lnTo>
                    <a:pt x="1252" y="335"/>
                  </a:lnTo>
                  <a:lnTo>
                    <a:pt x="1246" y="335"/>
                  </a:lnTo>
                  <a:lnTo>
                    <a:pt x="1246" y="335"/>
                  </a:lnTo>
                  <a:lnTo>
                    <a:pt x="1243" y="335"/>
                  </a:lnTo>
                  <a:lnTo>
                    <a:pt x="1233" y="326"/>
                  </a:lnTo>
                  <a:lnTo>
                    <a:pt x="1231" y="316"/>
                  </a:lnTo>
                  <a:lnTo>
                    <a:pt x="1235" y="314"/>
                  </a:lnTo>
                  <a:lnTo>
                    <a:pt x="1235" y="312"/>
                  </a:lnTo>
                  <a:lnTo>
                    <a:pt x="1233" y="311"/>
                  </a:lnTo>
                  <a:lnTo>
                    <a:pt x="1235" y="307"/>
                  </a:lnTo>
                  <a:lnTo>
                    <a:pt x="1231" y="311"/>
                  </a:lnTo>
                  <a:lnTo>
                    <a:pt x="1231" y="314"/>
                  </a:lnTo>
                  <a:lnTo>
                    <a:pt x="1229" y="320"/>
                  </a:lnTo>
                  <a:lnTo>
                    <a:pt x="1228" y="322"/>
                  </a:lnTo>
                  <a:lnTo>
                    <a:pt x="1231" y="328"/>
                  </a:lnTo>
                  <a:lnTo>
                    <a:pt x="1229" y="329"/>
                  </a:lnTo>
                  <a:lnTo>
                    <a:pt x="1228" y="329"/>
                  </a:lnTo>
                  <a:lnTo>
                    <a:pt x="1222" y="329"/>
                  </a:lnTo>
                  <a:lnTo>
                    <a:pt x="1222" y="329"/>
                  </a:lnTo>
                  <a:lnTo>
                    <a:pt x="1218" y="329"/>
                  </a:lnTo>
                  <a:lnTo>
                    <a:pt x="1222" y="331"/>
                  </a:lnTo>
                  <a:lnTo>
                    <a:pt x="1222" y="337"/>
                  </a:lnTo>
                  <a:lnTo>
                    <a:pt x="1222" y="337"/>
                  </a:lnTo>
                  <a:lnTo>
                    <a:pt x="1226" y="331"/>
                  </a:lnTo>
                  <a:lnTo>
                    <a:pt x="1229" y="331"/>
                  </a:lnTo>
                  <a:lnTo>
                    <a:pt x="1229" y="331"/>
                  </a:lnTo>
                  <a:lnTo>
                    <a:pt x="1233" y="331"/>
                  </a:lnTo>
                  <a:lnTo>
                    <a:pt x="1237" y="331"/>
                  </a:lnTo>
                  <a:lnTo>
                    <a:pt x="1241" y="337"/>
                  </a:lnTo>
                  <a:lnTo>
                    <a:pt x="1239" y="341"/>
                  </a:lnTo>
                  <a:lnTo>
                    <a:pt x="1243" y="337"/>
                  </a:lnTo>
                  <a:lnTo>
                    <a:pt x="1248" y="335"/>
                  </a:lnTo>
                  <a:lnTo>
                    <a:pt x="1254" y="337"/>
                  </a:lnTo>
                  <a:lnTo>
                    <a:pt x="1254" y="341"/>
                  </a:lnTo>
                  <a:lnTo>
                    <a:pt x="1252" y="344"/>
                  </a:lnTo>
                  <a:lnTo>
                    <a:pt x="1252" y="350"/>
                  </a:lnTo>
                  <a:lnTo>
                    <a:pt x="1248" y="350"/>
                  </a:lnTo>
                  <a:lnTo>
                    <a:pt x="1246" y="354"/>
                  </a:lnTo>
                  <a:lnTo>
                    <a:pt x="1248" y="354"/>
                  </a:lnTo>
                  <a:lnTo>
                    <a:pt x="1252" y="354"/>
                  </a:lnTo>
                  <a:lnTo>
                    <a:pt x="1252" y="356"/>
                  </a:lnTo>
                  <a:lnTo>
                    <a:pt x="1246" y="360"/>
                  </a:lnTo>
                  <a:lnTo>
                    <a:pt x="1252" y="360"/>
                  </a:lnTo>
                  <a:lnTo>
                    <a:pt x="1252" y="356"/>
                  </a:lnTo>
                  <a:lnTo>
                    <a:pt x="1258" y="354"/>
                  </a:lnTo>
                  <a:lnTo>
                    <a:pt x="1260" y="354"/>
                  </a:lnTo>
                  <a:lnTo>
                    <a:pt x="1261" y="354"/>
                  </a:lnTo>
                  <a:lnTo>
                    <a:pt x="1263" y="354"/>
                  </a:lnTo>
                  <a:lnTo>
                    <a:pt x="1263" y="356"/>
                  </a:lnTo>
                  <a:lnTo>
                    <a:pt x="1263" y="361"/>
                  </a:lnTo>
                  <a:lnTo>
                    <a:pt x="1263" y="365"/>
                  </a:lnTo>
                  <a:lnTo>
                    <a:pt x="1258" y="373"/>
                  </a:lnTo>
                  <a:lnTo>
                    <a:pt x="1254" y="373"/>
                  </a:lnTo>
                  <a:lnTo>
                    <a:pt x="1252" y="377"/>
                  </a:lnTo>
                  <a:lnTo>
                    <a:pt x="1248" y="380"/>
                  </a:lnTo>
                  <a:lnTo>
                    <a:pt x="1246" y="384"/>
                  </a:lnTo>
                  <a:lnTo>
                    <a:pt x="1243" y="382"/>
                  </a:lnTo>
                  <a:lnTo>
                    <a:pt x="1246" y="377"/>
                  </a:lnTo>
                  <a:lnTo>
                    <a:pt x="1246" y="373"/>
                  </a:lnTo>
                  <a:lnTo>
                    <a:pt x="1246" y="373"/>
                  </a:lnTo>
                  <a:lnTo>
                    <a:pt x="1243" y="373"/>
                  </a:lnTo>
                  <a:lnTo>
                    <a:pt x="1241" y="378"/>
                  </a:lnTo>
                  <a:lnTo>
                    <a:pt x="1237" y="380"/>
                  </a:lnTo>
                  <a:lnTo>
                    <a:pt x="1231" y="384"/>
                  </a:lnTo>
                  <a:lnTo>
                    <a:pt x="1231" y="384"/>
                  </a:lnTo>
                  <a:lnTo>
                    <a:pt x="1228" y="384"/>
                  </a:lnTo>
                  <a:lnTo>
                    <a:pt x="1222" y="388"/>
                  </a:lnTo>
                  <a:lnTo>
                    <a:pt x="1218" y="388"/>
                  </a:lnTo>
                  <a:lnTo>
                    <a:pt x="1216" y="390"/>
                  </a:lnTo>
                  <a:lnTo>
                    <a:pt x="1212" y="390"/>
                  </a:lnTo>
                  <a:lnTo>
                    <a:pt x="1212" y="386"/>
                  </a:lnTo>
                  <a:lnTo>
                    <a:pt x="1211" y="384"/>
                  </a:lnTo>
                  <a:lnTo>
                    <a:pt x="1214" y="382"/>
                  </a:lnTo>
                  <a:lnTo>
                    <a:pt x="1216" y="378"/>
                  </a:lnTo>
                  <a:lnTo>
                    <a:pt x="1216" y="375"/>
                  </a:lnTo>
                  <a:lnTo>
                    <a:pt x="1212" y="369"/>
                  </a:lnTo>
                  <a:lnTo>
                    <a:pt x="1209" y="373"/>
                  </a:lnTo>
                  <a:lnTo>
                    <a:pt x="1205" y="371"/>
                  </a:lnTo>
                  <a:lnTo>
                    <a:pt x="1203" y="369"/>
                  </a:lnTo>
                  <a:lnTo>
                    <a:pt x="1205" y="365"/>
                  </a:lnTo>
                  <a:lnTo>
                    <a:pt x="1209" y="363"/>
                  </a:lnTo>
                  <a:lnTo>
                    <a:pt x="1207" y="363"/>
                  </a:lnTo>
                  <a:lnTo>
                    <a:pt x="1203" y="361"/>
                  </a:lnTo>
                  <a:lnTo>
                    <a:pt x="1201" y="356"/>
                  </a:lnTo>
                  <a:lnTo>
                    <a:pt x="1203" y="354"/>
                  </a:lnTo>
                  <a:lnTo>
                    <a:pt x="1203" y="350"/>
                  </a:lnTo>
                  <a:lnTo>
                    <a:pt x="1201" y="346"/>
                  </a:lnTo>
                  <a:lnTo>
                    <a:pt x="1201" y="350"/>
                  </a:lnTo>
                  <a:lnTo>
                    <a:pt x="1197" y="356"/>
                  </a:lnTo>
                  <a:lnTo>
                    <a:pt x="1201" y="363"/>
                  </a:lnTo>
                  <a:lnTo>
                    <a:pt x="1201" y="365"/>
                  </a:lnTo>
                  <a:lnTo>
                    <a:pt x="1199" y="365"/>
                  </a:lnTo>
                  <a:lnTo>
                    <a:pt x="1199" y="371"/>
                  </a:lnTo>
                  <a:lnTo>
                    <a:pt x="1197" y="373"/>
                  </a:lnTo>
                  <a:lnTo>
                    <a:pt x="1194" y="371"/>
                  </a:lnTo>
                  <a:lnTo>
                    <a:pt x="1192" y="371"/>
                  </a:lnTo>
                  <a:lnTo>
                    <a:pt x="1188" y="369"/>
                  </a:lnTo>
                  <a:lnTo>
                    <a:pt x="1188" y="369"/>
                  </a:lnTo>
                  <a:lnTo>
                    <a:pt x="1192" y="361"/>
                  </a:lnTo>
                  <a:lnTo>
                    <a:pt x="1188" y="356"/>
                  </a:lnTo>
                  <a:lnTo>
                    <a:pt x="1192" y="354"/>
                  </a:lnTo>
                  <a:lnTo>
                    <a:pt x="1194" y="350"/>
                  </a:lnTo>
                  <a:lnTo>
                    <a:pt x="1188" y="350"/>
                  </a:lnTo>
                  <a:lnTo>
                    <a:pt x="1188" y="354"/>
                  </a:lnTo>
                  <a:lnTo>
                    <a:pt x="1188" y="360"/>
                  </a:lnTo>
                  <a:lnTo>
                    <a:pt x="1188" y="363"/>
                  </a:lnTo>
                  <a:lnTo>
                    <a:pt x="1184" y="369"/>
                  </a:lnTo>
                  <a:lnTo>
                    <a:pt x="1182" y="369"/>
                  </a:lnTo>
                  <a:lnTo>
                    <a:pt x="1179" y="365"/>
                  </a:lnTo>
                  <a:lnTo>
                    <a:pt x="1179" y="363"/>
                  </a:lnTo>
                  <a:lnTo>
                    <a:pt x="1177" y="363"/>
                  </a:lnTo>
                  <a:lnTo>
                    <a:pt x="1177" y="360"/>
                  </a:lnTo>
                  <a:lnTo>
                    <a:pt x="1179" y="356"/>
                  </a:lnTo>
                  <a:lnTo>
                    <a:pt x="1180" y="354"/>
                  </a:lnTo>
                  <a:lnTo>
                    <a:pt x="1179" y="350"/>
                  </a:lnTo>
                  <a:lnTo>
                    <a:pt x="1177" y="350"/>
                  </a:lnTo>
                  <a:lnTo>
                    <a:pt x="1177" y="352"/>
                  </a:lnTo>
                  <a:lnTo>
                    <a:pt x="1177" y="356"/>
                  </a:lnTo>
                  <a:lnTo>
                    <a:pt x="1175" y="356"/>
                  </a:lnTo>
                  <a:lnTo>
                    <a:pt x="1173" y="361"/>
                  </a:lnTo>
                  <a:lnTo>
                    <a:pt x="1173" y="363"/>
                  </a:lnTo>
                  <a:lnTo>
                    <a:pt x="1169" y="363"/>
                  </a:lnTo>
                  <a:lnTo>
                    <a:pt x="1169" y="363"/>
                  </a:lnTo>
                  <a:lnTo>
                    <a:pt x="1167" y="365"/>
                  </a:lnTo>
                  <a:lnTo>
                    <a:pt x="1167" y="365"/>
                  </a:lnTo>
                  <a:lnTo>
                    <a:pt x="1167" y="365"/>
                  </a:lnTo>
                  <a:lnTo>
                    <a:pt x="1167" y="365"/>
                  </a:lnTo>
                  <a:close/>
                  <a:moveTo>
                    <a:pt x="1267" y="913"/>
                  </a:moveTo>
                  <a:lnTo>
                    <a:pt x="1267" y="921"/>
                  </a:lnTo>
                  <a:lnTo>
                    <a:pt x="1265" y="925"/>
                  </a:lnTo>
                  <a:lnTo>
                    <a:pt x="1267" y="928"/>
                  </a:lnTo>
                  <a:lnTo>
                    <a:pt x="1267" y="927"/>
                  </a:lnTo>
                  <a:lnTo>
                    <a:pt x="1267" y="923"/>
                  </a:lnTo>
                  <a:lnTo>
                    <a:pt x="1267" y="919"/>
                  </a:lnTo>
                  <a:lnTo>
                    <a:pt x="1267" y="915"/>
                  </a:lnTo>
                  <a:lnTo>
                    <a:pt x="1267" y="913"/>
                  </a:lnTo>
                  <a:lnTo>
                    <a:pt x="1267" y="913"/>
                  </a:lnTo>
                  <a:lnTo>
                    <a:pt x="1267" y="913"/>
                  </a:lnTo>
                  <a:lnTo>
                    <a:pt x="1267" y="913"/>
                  </a:lnTo>
                  <a:close/>
                  <a:moveTo>
                    <a:pt x="1263" y="895"/>
                  </a:moveTo>
                  <a:lnTo>
                    <a:pt x="1261" y="893"/>
                  </a:lnTo>
                  <a:lnTo>
                    <a:pt x="1263" y="891"/>
                  </a:lnTo>
                  <a:lnTo>
                    <a:pt x="1265" y="893"/>
                  </a:lnTo>
                  <a:lnTo>
                    <a:pt x="1265" y="895"/>
                  </a:lnTo>
                  <a:lnTo>
                    <a:pt x="1263" y="895"/>
                  </a:lnTo>
                  <a:lnTo>
                    <a:pt x="1263" y="895"/>
                  </a:lnTo>
                  <a:lnTo>
                    <a:pt x="1263" y="895"/>
                  </a:lnTo>
                  <a:lnTo>
                    <a:pt x="1263" y="895"/>
                  </a:lnTo>
                  <a:close/>
                  <a:moveTo>
                    <a:pt x="1258" y="883"/>
                  </a:moveTo>
                  <a:lnTo>
                    <a:pt x="1260" y="879"/>
                  </a:lnTo>
                  <a:lnTo>
                    <a:pt x="1263" y="879"/>
                  </a:lnTo>
                  <a:lnTo>
                    <a:pt x="1263" y="879"/>
                  </a:lnTo>
                  <a:lnTo>
                    <a:pt x="1261" y="883"/>
                  </a:lnTo>
                  <a:lnTo>
                    <a:pt x="1260" y="883"/>
                  </a:lnTo>
                  <a:lnTo>
                    <a:pt x="1258" y="883"/>
                  </a:lnTo>
                  <a:lnTo>
                    <a:pt x="1258" y="883"/>
                  </a:lnTo>
                  <a:lnTo>
                    <a:pt x="1258" y="883"/>
                  </a:lnTo>
                  <a:lnTo>
                    <a:pt x="1258" y="883"/>
                  </a:lnTo>
                  <a:close/>
                  <a:moveTo>
                    <a:pt x="1228" y="606"/>
                  </a:moveTo>
                  <a:lnTo>
                    <a:pt x="1228" y="603"/>
                  </a:lnTo>
                  <a:lnTo>
                    <a:pt x="1229" y="603"/>
                  </a:lnTo>
                  <a:lnTo>
                    <a:pt x="1229" y="606"/>
                  </a:lnTo>
                  <a:lnTo>
                    <a:pt x="1228" y="606"/>
                  </a:lnTo>
                  <a:lnTo>
                    <a:pt x="1228" y="606"/>
                  </a:lnTo>
                  <a:lnTo>
                    <a:pt x="1228" y="606"/>
                  </a:lnTo>
                  <a:lnTo>
                    <a:pt x="1228" y="606"/>
                  </a:lnTo>
                  <a:close/>
                  <a:moveTo>
                    <a:pt x="1233" y="608"/>
                  </a:moveTo>
                  <a:lnTo>
                    <a:pt x="1233" y="606"/>
                  </a:lnTo>
                  <a:lnTo>
                    <a:pt x="1233" y="603"/>
                  </a:lnTo>
                  <a:lnTo>
                    <a:pt x="1235" y="603"/>
                  </a:lnTo>
                  <a:lnTo>
                    <a:pt x="1237" y="606"/>
                  </a:lnTo>
                  <a:lnTo>
                    <a:pt x="1235" y="608"/>
                  </a:lnTo>
                  <a:lnTo>
                    <a:pt x="1233" y="608"/>
                  </a:lnTo>
                  <a:lnTo>
                    <a:pt x="1233" y="608"/>
                  </a:lnTo>
                  <a:lnTo>
                    <a:pt x="1233" y="608"/>
                  </a:lnTo>
                  <a:lnTo>
                    <a:pt x="1233" y="608"/>
                  </a:lnTo>
                  <a:close/>
                  <a:moveTo>
                    <a:pt x="1228" y="618"/>
                  </a:moveTo>
                  <a:lnTo>
                    <a:pt x="1226" y="616"/>
                  </a:lnTo>
                  <a:lnTo>
                    <a:pt x="1226" y="614"/>
                  </a:lnTo>
                  <a:lnTo>
                    <a:pt x="1226" y="612"/>
                  </a:lnTo>
                  <a:lnTo>
                    <a:pt x="1228" y="608"/>
                  </a:lnTo>
                  <a:lnTo>
                    <a:pt x="1229" y="612"/>
                  </a:lnTo>
                  <a:lnTo>
                    <a:pt x="1231" y="612"/>
                  </a:lnTo>
                  <a:lnTo>
                    <a:pt x="1233" y="612"/>
                  </a:lnTo>
                  <a:lnTo>
                    <a:pt x="1229" y="614"/>
                  </a:lnTo>
                  <a:lnTo>
                    <a:pt x="1228" y="618"/>
                  </a:lnTo>
                  <a:lnTo>
                    <a:pt x="1228" y="618"/>
                  </a:lnTo>
                  <a:lnTo>
                    <a:pt x="1228" y="618"/>
                  </a:lnTo>
                  <a:lnTo>
                    <a:pt x="1228" y="618"/>
                  </a:lnTo>
                  <a:lnTo>
                    <a:pt x="1228" y="618"/>
                  </a:lnTo>
                  <a:close/>
                  <a:moveTo>
                    <a:pt x="1282" y="701"/>
                  </a:moveTo>
                  <a:lnTo>
                    <a:pt x="1284" y="701"/>
                  </a:lnTo>
                  <a:lnTo>
                    <a:pt x="1288" y="701"/>
                  </a:lnTo>
                  <a:lnTo>
                    <a:pt x="1286" y="701"/>
                  </a:lnTo>
                  <a:lnTo>
                    <a:pt x="1284" y="701"/>
                  </a:lnTo>
                  <a:lnTo>
                    <a:pt x="1282" y="701"/>
                  </a:lnTo>
                  <a:lnTo>
                    <a:pt x="1282" y="701"/>
                  </a:lnTo>
                  <a:lnTo>
                    <a:pt x="1282" y="701"/>
                  </a:lnTo>
                  <a:lnTo>
                    <a:pt x="1282" y="701"/>
                  </a:lnTo>
                  <a:close/>
                  <a:moveTo>
                    <a:pt x="1276" y="701"/>
                  </a:moveTo>
                  <a:lnTo>
                    <a:pt x="1276" y="697"/>
                  </a:lnTo>
                  <a:lnTo>
                    <a:pt x="1280" y="697"/>
                  </a:lnTo>
                  <a:lnTo>
                    <a:pt x="1280" y="697"/>
                  </a:lnTo>
                  <a:lnTo>
                    <a:pt x="1282" y="697"/>
                  </a:lnTo>
                  <a:lnTo>
                    <a:pt x="1280" y="701"/>
                  </a:lnTo>
                  <a:lnTo>
                    <a:pt x="1276" y="701"/>
                  </a:lnTo>
                  <a:lnTo>
                    <a:pt x="1276" y="701"/>
                  </a:lnTo>
                  <a:lnTo>
                    <a:pt x="1276" y="701"/>
                  </a:lnTo>
                  <a:lnTo>
                    <a:pt x="1276" y="701"/>
                  </a:lnTo>
                  <a:lnTo>
                    <a:pt x="1276" y="701"/>
                  </a:lnTo>
                  <a:close/>
                  <a:moveTo>
                    <a:pt x="1265" y="738"/>
                  </a:moveTo>
                  <a:lnTo>
                    <a:pt x="1267" y="740"/>
                  </a:lnTo>
                  <a:lnTo>
                    <a:pt x="1271" y="738"/>
                  </a:lnTo>
                  <a:lnTo>
                    <a:pt x="1267" y="738"/>
                  </a:lnTo>
                  <a:lnTo>
                    <a:pt x="1265" y="738"/>
                  </a:lnTo>
                  <a:lnTo>
                    <a:pt x="1265" y="738"/>
                  </a:lnTo>
                  <a:lnTo>
                    <a:pt x="1265" y="738"/>
                  </a:lnTo>
                  <a:lnTo>
                    <a:pt x="1265" y="738"/>
                  </a:lnTo>
                  <a:close/>
                  <a:moveTo>
                    <a:pt x="1280" y="755"/>
                  </a:moveTo>
                  <a:lnTo>
                    <a:pt x="1284" y="757"/>
                  </a:lnTo>
                  <a:lnTo>
                    <a:pt x="1286" y="755"/>
                  </a:lnTo>
                  <a:lnTo>
                    <a:pt x="1284" y="755"/>
                  </a:lnTo>
                  <a:lnTo>
                    <a:pt x="1282" y="755"/>
                  </a:lnTo>
                  <a:lnTo>
                    <a:pt x="1282" y="755"/>
                  </a:lnTo>
                  <a:lnTo>
                    <a:pt x="1280" y="755"/>
                  </a:lnTo>
                  <a:lnTo>
                    <a:pt x="1280" y="755"/>
                  </a:lnTo>
                  <a:lnTo>
                    <a:pt x="1280" y="755"/>
                  </a:lnTo>
                  <a:lnTo>
                    <a:pt x="1280" y="755"/>
                  </a:lnTo>
                  <a:close/>
                  <a:moveTo>
                    <a:pt x="1310" y="781"/>
                  </a:moveTo>
                  <a:lnTo>
                    <a:pt x="1310" y="780"/>
                  </a:lnTo>
                  <a:lnTo>
                    <a:pt x="1310" y="778"/>
                  </a:lnTo>
                  <a:lnTo>
                    <a:pt x="1312" y="780"/>
                  </a:lnTo>
                  <a:lnTo>
                    <a:pt x="1312" y="781"/>
                  </a:lnTo>
                  <a:lnTo>
                    <a:pt x="1310" y="781"/>
                  </a:lnTo>
                  <a:lnTo>
                    <a:pt x="1310" y="781"/>
                  </a:lnTo>
                  <a:lnTo>
                    <a:pt x="1310" y="781"/>
                  </a:lnTo>
                  <a:lnTo>
                    <a:pt x="1310" y="781"/>
                  </a:lnTo>
                  <a:lnTo>
                    <a:pt x="1310" y="781"/>
                  </a:lnTo>
                  <a:close/>
                  <a:moveTo>
                    <a:pt x="1322" y="800"/>
                  </a:moveTo>
                  <a:lnTo>
                    <a:pt x="1322" y="797"/>
                  </a:lnTo>
                  <a:lnTo>
                    <a:pt x="1325" y="795"/>
                  </a:lnTo>
                  <a:lnTo>
                    <a:pt x="1329" y="795"/>
                  </a:lnTo>
                  <a:lnTo>
                    <a:pt x="1331" y="795"/>
                  </a:lnTo>
                  <a:lnTo>
                    <a:pt x="1325" y="798"/>
                  </a:lnTo>
                  <a:lnTo>
                    <a:pt x="1325" y="800"/>
                  </a:lnTo>
                  <a:lnTo>
                    <a:pt x="1325" y="800"/>
                  </a:lnTo>
                  <a:lnTo>
                    <a:pt x="1322" y="800"/>
                  </a:lnTo>
                  <a:lnTo>
                    <a:pt x="1322" y="800"/>
                  </a:lnTo>
                  <a:lnTo>
                    <a:pt x="1322" y="800"/>
                  </a:lnTo>
                  <a:lnTo>
                    <a:pt x="1322" y="800"/>
                  </a:lnTo>
                  <a:close/>
                  <a:moveTo>
                    <a:pt x="1222" y="405"/>
                  </a:moveTo>
                  <a:lnTo>
                    <a:pt x="1222" y="399"/>
                  </a:lnTo>
                  <a:lnTo>
                    <a:pt x="1222" y="399"/>
                  </a:lnTo>
                  <a:lnTo>
                    <a:pt x="1226" y="395"/>
                  </a:lnTo>
                  <a:lnTo>
                    <a:pt x="1233" y="390"/>
                  </a:lnTo>
                  <a:lnTo>
                    <a:pt x="1237" y="390"/>
                  </a:lnTo>
                  <a:lnTo>
                    <a:pt x="1235" y="395"/>
                  </a:lnTo>
                  <a:lnTo>
                    <a:pt x="1229" y="399"/>
                  </a:lnTo>
                  <a:lnTo>
                    <a:pt x="1228" y="401"/>
                  </a:lnTo>
                  <a:lnTo>
                    <a:pt x="1229" y="403"/>
                  </a:lnTo>
                  <a:lnTo>
                    <a:pt x="1229" y="405"/>
                  </a:lnTo>
                  <a:lnTo>
                    <a:pt x="1228" y="405"/>
                  </a:lnTo>
                  <a:lnTo>
                    <a:pt x="1226" y="401"/>
                  </a:lnTo>
                  <a:lnTo>
                    <a:pt x="1224" y="403"/>
                  </a:lnTo>
                  <a:lnTo>
                    <a:pt x="1222" y="405"/>
                  </a:lnTo>
                  <a:lnTo>
                    <a:pt x="1222" y="405"/>
                  </a:lnTo>
                  <a:lnTo>
                    <a:pt x="1222" y="405"/>
                  </a:lnTo>
                  <a:lnTo>
                    <a:pt x="1222" y="405"/>
                  </a:lnTo>
                  <a:lnTo>
                    <a:pt x="1222" y="405"/>
                  </a:lnTo>
                  <a:close/>
                  <a:moveTo>
                    <a:pt x="1203" y="388"/>
                  </a:moveTo>
                  <a:lnTo>
                    <a:pt x="1203" y="388"/>
                  </a:lnTo>
                  <a:lnTo>
                    <a:pt x="1205" y="390"/>
                  </a:lnTo>
                  <a:lnTo>
                    <a:pt x="1207" y="390"/>
                  </a:lnTo>
                  <a:lnTo>
                    <a:pt x="1209" y="388"/>
                  </a:lnTo>
                  <a:lnTo>
                    <a:pt x="1207" y="386"/>
                  </a:lnTo>
                  <a:lnTo>
                    <a:pt x="1203" y="388"/>
                  </a:lnTo>
                  <a:lnTo>
                    <a:pt x="1203" y="388"/>
                  </a:lnTo>
                  <a:lnTo>
                    <a:pt x="1203" y="388"/>
                  </a:lnTo>
                  <a:lnTo>
                    <a:pt x="1203" y="388"/>
                  </a:lnTo>
                  <a:close/>
                  <a:moveTo>
                    <a:pt x="1105" y="344"/>
                  </a:moveTo>
                  <a:lnTo>
                    <a:pt x="1100" y="341"/>
                  </a:lnTo>
                  <a:lnTo>
                    <a:pt x="1100" y="337"/>
                  </a:lnTo>
                  <a:lnTo>
                    <a:pt x="1100" y="331"/>
                  </a:lnTo>
                  <a:lnTo>
                    <a:pt x="1098" y="329"/>
                  </a:lnTo>
                  <a:lnTo>
                    <a:pt x="1098" y="326"/>
                  </a:lnTo>
                  <a:lnTo>
                    <a:pt x="1098" y="324"/>
                  </a:lnTo>
                  <a:lnTo>
                    <a:pt x="1101" y="322"/>
                  </a:lnTo>
                  <a:lnTo>
                    <a:pt x="1105" y="326"/>
                  </a:lnTo>
                  <a:lnTo>
                    <a:pt x="1109" y="329"/>
                  </a:lnTo>
                  <a:lnTo>
                    <a:pt x="1105" y="335"/>
                  </a:lnTo>
                  <a:lnTo>
                    <a:pt x="1105" y="337"/>
                  </a:lnTo>
                  <a:lnTo>
                    <a:pt x="1105" y="339"/>
                  </a:lnTo>
                  <a:lnTo>
                    <a:pt x="1105" y="344"/>
                  </a:lnTo>
                  <a:lnTo>
                    <a:pt x="1105" y="344"/>
                  </a:lnTo>
                  <a:lnTo>
                    <a:pt x="1105" y="344"/>
                  </a:lnTo>
                  <a:lnTo>
                    <a:pt x="1105" y="344"/>
                  </a:lnTo>
                  <a:lnTo>
                    <a:pt x="1105" y="344"/>
                  </a:lnTo>
                  <a:close/>
                  <a:moveTo>
                    <a:pt x="1103" y="137"/>
                  </a:moveTo>
                  <a:lnTo>
                    <a:pt x="1105" y="134"/>
                  </a:lnTo>
                  <a:lnTo>
                    <a:pt x="1109" y="128"/>
                  </a:lnTo>
                  <a:lnTo>
                    <a:pt x="1109" y="124"/>
                  </a:lnTo>
                  <a:lnTo>
                    <a:pt x="1115" y="122"/>
                  </a:lnTo>
                  <a:lnTo>
                    <a:pt x="1118" y="118"/>
                  </a:lnTo>
                  <a:lnTo>
                    <a:pt x="1115" y="115"/>
                  </a:lnTo>
                  <a:lnTo>
                    <a:pt x="1111" y="115"/>
                  </a:lnTo>
                  <a:lnTo>
                    <a:pt x="1109" y="115"/>
                  </a:lnTo>
                  <a:lnTo>
                    <a:pt x="1109" y="111"/>
                  </a:lnTo>
                  <a:lnTo>
                    <a:pt x="1109" y="111"/>
                  </a:lnTo>
                  <a:lnTo>
                    <a:pt x="1105" y="115"/>
                  </a:lnTo>
                  <a:lnTo>
                    <a:pt x="1100" y="117"/>
                  </a:lnTo>
                  <a:lnTo>
                    <a:pt x="1098" y="118"/>
                  </a:lnTo>
                  <a:lnTo>
                    <a:pt x="1096" y="122"/>
                  </a:lnTo>
                  <a:lnTo>
                    <a:pt x="1096" y="122"/>
                  </a:lnTo>
                  <a:lnTo>
                    <a:pt x="1100" y="124"/>
                  </a:lnTo>
                  <a:lnTo>
                    <a:pt x="1103" y="122"/>
                  </a:lnTo>
                  <a:lnTo>
                    <a:pt x="1103" y="128"/>
                  </a:lnTo>
                  <a:lnTo>
                    <a:pt x="1100" y="132"/>
                  </a:lnTo>
                  <a:lnTo>
                    <a:pt x="1100" y="134"/>
                  </a:lnTo>
                  <a:lnTo>
                    <a:pt x="1101" y="134"/>
                  </a:lnTo>
                  <a:lnTo>
                    <a:pt x="1103" y="137"/>
                  </a:lnTo>
                  <a:lnTo>
                    <a:pt x="1103" y="137"/>
                  </a:lnTo>
                  <a:lnTo>
                    <a:pt x="1103" y="137"/>
                  </a:lnTo>
                  <a:lnTo>
                    <a:pt x="1103" y="137"/>
                  </a:lnTo>
                  <a:close/>
                  <a:moveTo>
                    <a:pt x="1056" y="250"/>
                  </a:moveTo>
                  <a:lnTo>
                    <a:pt x="1056" y="247"/>
                  </a:lnTo>
                  <a:lnTo>
                    <a:pt x="1056" y="243"/>
                  </a:lnTo>
                  <a:lnTo>
                    <a:pt x="1056" y="241"/>
                  </a:lnTo>
                  <a:lnTo>
                    <a:pt x="1056" y="235"/>
                  </a:lnTo>
                  <a:lnTo>
                    <a:pt x="1051" y="233"/>
                  </a:lnTo>
                  <a:lnTo>
                    <a:pt x="1054" y="231"/>
                  </a:lnTo>
                  <a:lnTo>
                    <a:pt x="1054" y="228"/>
                  </a:lnTo>
                  <a:lnTo>
                    <a:pt x="1060" y="230"/>
                  </a:lnTo>
                  <a:lnTo>
                    <a:pt x="1062" y="231"/>
                  </a:lnTo>
                  <a:lnTo>
                    <a:pt x="1064" y="233"/>
                  </a:lnTo>
                  <a:lnTo>
                    <a:pt x="1064" y="230"/>
                  </a:lnTo>
                  <a:lnTo>
                    <a:pt x="1060" y="226"/>
                  </a:lnTo>
                  <a:lnTo>
                    <a:pt x="1056" y="220"/>
                  </a:lnTo>
                  <a:lnTo>
                    <a:pt x="1056" y="218"/>
                  </a:lnTo>
                  <a:lnTo>
                    <a:pt x="1060" y="218"/>
                  </a:lnTo>
                  <a:lnTo>
                    <a:pt x="1056" y="216"/>
                  </a:lnTo>
                  <a:lnTo>
                    <a:pt x="1060" y="213"/>
                  </a:lnTo>
                  <a:lnTo>
                    <a:pt x="1060" y="207"/>
                  </a:lnTo>
                  <a:lnTo>
                    <a:pt x="1062" y="201"/>
                  </a:lnTo>
                  <a:lnTo>
                    <a:pt x="1064" y="201"/>
                  </a:lnTo>
                  <a:lnTo>
                    <a:pt x="1068" y="199"/>
                  </a:lnTo>
                  <a:lnTo>
                    <a:pt x="1068" y="194"/>
                  </a:lnTo>
                  <a:lnTo>
                    <a:pt x="1069" y="192"/>
                  </a:lnTo>
                  <a:lnTo>
                    <a:pt x="1075" y="188"/>
                  </a:lnTo>
                  <a:lnTo>
                    <a:pt x="1079" y="188"/>
                  </a:lnTo>
                  <a:lnTo>
                    <a:pt x="1081" y="194"/>
                  </a:lnTo>
                  <a:lnTo>
                    <a:pt x="1084" y="198"/>
                  </a:lnTo>
                  <a:lnTo>
                    <a:pt x="1084" y="201"/>
                  </a:lnTo>
                  <a:lnTo>
                    <a:pt x="1084" y="203"/>
                  </a:lnTo>
                  <a:lnTo>
                    <a:pt x="1086" y="205"/>
                  </a:lnTo>
                  <a:lnTo>
                    <a:pt x="1086" y="209"/>
                  </a:lnTo>
                  <a:lnTo>
                    <a:pt x="1088" y="211"/>
                  </a:lnTo>
                  <a:lnTo>
                    <a:pt x="1088" y="213"/>
                  </a:lnTo>
                  <a:lnTo>
                    <a:pt x="1090" y="216"/>
                  </a:lnTo>
                  <a:lnTo>
                    <a:pt x="1094" y="216"/>
                  </a:lnTo>
                  <a:lnTo>
                    <a:pt x="1094" y="216"/>
                  </a:lnTo>
                  <a:lnTo>
                    <a:pt x="1096" y="220"/>
                  </a:lnTo>
                  <a:lnTo>
                    <a:pt x="1098" y="228"/>
                  </a:lnTo>
                  <a:lnTo>
                    <a:pt x="1094" y="231"/>
                  </a:lnTo>
                  <a:lnTo>
                    <a:pt x="1092" y="233"/>
                  </a:lnTo>
                  <a:lnTo>
                    <a:pt x="1088" y="233"/>
                  </a:lnTo>
                  <a:lnTo>
                    <a:pt x="1086" y="233"/>
                  </a:lnTo>
                  <a:lnTo>
                    <a:pt x="1088" y="235"/>
                  </a:lnTo>
                  <a:lnTo>
                    <a:pt x="1090" y="235"/>
                  </a:lnTo>
                  <a:lnTo>
                    <a:pt x="1090" y="243"/>
                  </a:lnTo>
                  <a:lnTo>
                    <a:pt x="1090" y="247"/>
                  </a:lnTo>
                  <a:lnTo>
                    <a:pt x="1084" y="250"/>
                  </a:lnTo>
                  <a:lnTo>
                    <a:pt x="1081" y="250"/>
                  </a:lnTo>
                  <a:lnTo>
                    <a:pt x="1081" y="250"/>
                  </a:lnTo>
                  <a:lnTo>
                    <a:pt x="1081" y="247"/>
                  </a:lnTo>
                  <a:lnTo>
                    <a:pt x="1079" y="247"/>
                  </a:lnTo>
                  <a:lnTo>
                    <a:pt x="1075" y="250"/>
                  </a:lnTo>
                  <a:lnTo>
                    <a:pt x="1071" y="247"/>
                  </a:lnTo>
                  <a:lnTo>
                    <a:pt x="1066" y="250"/>
                  </a:lnTo>
                  <a:lnTo>
                    <a:pt x="1062" y="250"/>
                  </a:lnTo>
                  <a:lnTo>
                    <a:pt x="1062" y="247"/>
                  </a:lnTo>
                  <a:lnTo>
                    <a:pt x="1060" y="247"/>
                  </a:lnTo>
                  <a:lnTo>
                    <a:pt x="1060" y="247"/>
                  </a:lnTo>
                  <a:lnTo>
                    <a:pt x="1056" y="250"/>
                  </a:lnTo>
                  <a:lnTo>
                    <a:pt x="1056" y="250"/>
                  </a:lnTo>
                  <a:lnTo>
                    <a:pt x="1056" y="250"/>
                  </a:lnTo>
                  <a:lnTo>
                    <a:pt x="1056" y="250"/>
                  </a:lnTo>
                  <a:close/>
                  <a:moveTo>
                    <a:pt x="1098" y="243"/>
                  </a:moveTo>
                  <a:lnTo>
                    <a:pt x="1100" y="243"/>
                  </a:lnTo>
                  <a:lnTo>
                    <a:pt x="1100" y="241"/>
                  </a:lnTo>
                  <a:lnTo>
                    <a:pt x="1100" y="233"/>
                  </a:lnTo>
                  <a:lnTo>
                    <a:pt x="1098" y="233"/>
                  </a:lnTo>
                  <a:lnTo>
                    <a:pt x="1096" y="237"/>
                  </a:lnTo>
                  <a:lnTo>
                    <a:pt x="1096" y="241"/>
                  </a:lnTo>
                  <a:lnTo>
                    <a:pt x="1098" y="243"/>
                  </a:lnTo>
                  <a:lnTo>
                    <a:pt x="1098" y="243"/>
                  </a:lnTo>
                  <a:lnTo>
                    <a:pt x="1098" y="243"/>
                  </a:lnTo>
                  <a:lnTo>
                    <a:pt x="1098" y="243"/>
                  </a:lnTo>
                  <a:close/>
                  <a:moveTo>
                    <a:pt x="1111" y="299"/>
                  </a:moveTo>
                  <a:lnTo>
                    <a:pt x="1111" y="301"/>
                  </a:lnTo>
                  <a:lnTo>
                    <a:pt x="1115" y="305"/>
                  </a:lnTo>
                  <a:lnTo>
                    <a:pt x="1118" y="305"/>
                  </a:lnTo>
                  <a:lnTo>
                    <a:pt x="1122" y="305"/>
                  </a:lnTo>
                  <a:lnTo>
                    <a:pt x="1126" y="297"/>
                  </a:lnTo>
                  <a:lnTo>
                    <a:pt x="1126" y="296"/>
                  </a:lnTo>
                  <a:lnTo>
                    <a:pt x="1124" y="294"/>
                  </a:lnTo>
                  <a:lnTo>
                    <a:pt x="1126" y="292"/>
                  </a:lnTo>
                  <a:lnTo>
                    <a:pt x="1124" y="290"/>
                  </a:lnTo>
                  <a:lnTo>
                    <a:pt x="1120" y="290"/>
                  </a:lnTo>
                  <a:lnTo>
                    <a:pt x="1118" y="284"/>
                  </a:lnTo>
                  <a:lnTo>
                    <a:pt x="1115" y="284"/>
                  </a:lnTo>
                  <a:lnTo>
                    <a:pt x="1111" y="288"/>
                  </a:lnTo>
                  <a:lnTo>
                    <a:pt x="1111" y="292"/>
                  </a:lnTo>
                  <a:lnTo>
                    <a:pt x="1109" y="296"/>
                  </a:lnTo>
                  <a:lnTo>
                    <a:pt x="1111" y="299"/>
                  </a:lnTo>
                  <a:lnTo>
                    <a:pt x="1111" y="299"/>
                  </a:lnTo>
                  <a:lnTo>
                    <a:pt x="1111" y="299"/>
                  </a:lnTo>
                  <a:lnTo>
                    <a:pt x="1111" y="299"/>
                  </a:lnTo>
                  <a:close/>
                  <a:moveTo>
                    <a:pt x="1105" y="301"/>
                  </a:moveTo>
                  <a:lnTo>
                    <a:pt x="1105" y="301"/>
                  </a:lnTo>
                  <a:lnTo>
                    <a:pt x="1105" y="305"/>
                  </a:lnTo>
                  <a:lnTo>
                    <a:pt x="1109" y="307"/>
                  </a:lnTo>
                  <a:lnTo>
                    <a:pt x="1109" y="305"/>
                  </a:lnTo>
                  <a:lnTo>
                    <a:pt x="1109" y="305"/>
                  </a:lnTo>
                  <a:lnTo>
                    <a:pt x="1109" y="301"/>
                  </a:lnTo>
                  <a:lnTo>
                    <a:pt x="1109" y="301"/>
                  </a:lnTo>
                  <a:lnTo>
                    <a:pt x="1105" y="301"/>
                  </a:lnTo>
                  <a:lnTo>
                    <a:pt x="1105" y="301"/>
                  </a:lnTo>
                  <a:lnTo>
                    <a:pt x="1105" y="301"/>
                  </a:lnTo>
                  <a:lnTo>
                    <a:pt x="1105" y="301"/>
                  </a:lnTo>
                  <a:close/>
                  <a:moveTo>
                    <a:pt x="1051" y="271"/>
                  </a:moveTo>
                  <a:lnTo>
                    <a:pt x="1051" y="267"/>
                  </a:lnTo>
                  <a:lnTo>
                    <a:pt x="1054" y="262"/>
                  </a:lnTo>
                  <a:lnTo>
                    <a:pt x="1056" y="258"/>
                  </a:lnTo>
                  <a:lnTo>
                    <a:pt x="1060" y="258"/>
                  </a:lnTo>
                  <a:lnTo>
                    <a:pt x="1062" y="258"/>
                  </a:lnTo>
                  <a:lnTo>
                    <a:pt x="1066" y="258"/>
                  </a:lnTo>
                  <a:lnTo>
                    <a:pt x="1068" y="258"/>
                  </a:lnTo>
                  <a:lnTo>
                    <a:pt x="1071" y="258"/>
                  </a:lnTo>
                  <a:lnTo>
                    <a:pt x="1071" y="260"/>
                  </a:lnTo>
                  <a:lnTo>
                    <a:pt x="1075" y="262"/>
                  </a:lnTo>
                  <a:lnTo>
                    <a:pt x="1075" y="260"/>
                  </a:lnTo>
                  <a:lnTo>
                    <a:pt x="1079" y="262"/>
                  </a:lnTo>
                  <a:lnTo>
                    <a:pt x="1081" y="262"/>
                  </a:lnTo>
                  <a:lnTo>
                    <a:pt x="1084" y="267"/>
                  </a:lnTo>
                  <a:lnTo>
                    <a:pt x="1086" y="267"/>
                  </a:lnTo>
                  <a:lnTo>
                    <a:pt x="1084" y="269"/>
                  </a:lnTo>
                  <a:lnTo>
                    <a:pt x="1086" y="271"/>
                  </a:lnTo>
                  <a:lnTo>
                    <a:pt x="1088" y="271"/>
                  </a:lnTo>
                  <a:lnTo>
                    <a:pt x="1092" y="269"/>
                  </a:lnTo>
                  <a:lnTo>
                    <a:pt x="1094" y="271"/>
                  </a:lnTo>
                  <a:lnTo>
                    <a:pt x="1096" y="275"/>
                  </a:lnTo>
                  <a:lnTo>
                    <a:pt x="1096" y="277"/>
                  </a:lnTo>
                  <a:lnTo>
                    <a:pt x="1098" y="277"/>
                  </a:lnTo>
                  <a:lnTo>
                    <a:pt x="1096" y="280"/>
                  </a:lnTo>
                  <a:lnTo>
                    <a:pt x="1090" y="280"/>
                  </a:lnTo>
                  <a:lnTo>
                    <a:pt x="1086" y="282"/>
                  </a:lnTo>
                  <a:lnTo>
                    <a:pt x="1084" y="284"/>
                  </a:lnTo>
                  <a:lnTo>
                    <a:pt x="1079" y="280"/>
                  </a:lnTo>
                  <a:lnTo>
                    <a:pt x="1073" y="280"/>
                  </a:lnTo>
                  <a:lnTo>
                    <a:pt x="1068" y="277"/>
                  </a:lnTo>
                  <a:lnTo>
                    <a:pt x="1064" y="277"/>
                  </a:lnTo>
                  <a:lnTo>
                    <a:pt x="1060" y="277"/>
                  </a:lnTo>
                  <a:lnTo>
                    <a:pt x="1060" y="271"/>
                  </a:lnTo>
                  <a:lnTo>
                    <a:pt x="1056" y="271"/>
                  </a:lnTo>
                  <a:lnTo>
                    <a:pt x="1051" y="271"/>
                  </a:lnTo>
                  <a:lnTo>
                    <a:pt x="1051" y="271"/>
                  </a:lnTo>
                  <a:lnTo>
                    <a:pt x="1051" y="271"/>
                  </a:lnTo>
                  <a:lnTo>
                    <a:pt x="1051" y="271"/>
                  </a:lnTo>
                  <a:close/>
                  <a:moveTo>
                    <a:pt x="1007" y="211"/>
                  </a:moveTo>
                  <a:lnTo>
                    <a:pt x="1007" y="209"/>
                  </a:lnTo>
                  <a:lnTo>
                    <a:pt x="1009" y="209"/>
                  </a:lnTo>
                  <a:lnTo>
                    <a:pt x="1011" y="209"/>
                  </a:lnTo>
                  <a:lnTo>
                    <a:pt x="1009" y="213"/>
                  </a:lnTo>
                  <a:lnTo>
                    <a:pt x="1007" y="213"/>
                  </a:lnTo>
                  <a:lnTo>
                    <a:pt x="1007" y="211"/>
                  </a:lnTo>
                  <a:lnTo>
                    <a:pt x="1007" y="211"/>
                  </a:lnTo>
                  <a:lnTo>
                    <a:pt x="1007" y="211"/>
                  </a:lnTo>
                  <a:lnTo>
                    <a:pt x="1007" y="211"/>
                  </a:lnTo>
                  <a:close/>
                  <a:moveTo>
                    <a:pt x="1009" y="231"/>
                  </a:moveTo>
                  <a:lnTo>
                    <a:pt x="1011" y="237"/>
                  </a:lnTo>
                  <a:lnTo>
                    <a:pt x="1015" y="241"/>
                  </a:lnTo>
                  <a:lnTo>
                    <a:pt x="1017" y="241"/>
                  </a:lnTo>
                  <a:lnTo>
                    <a:pt x="1020" y="241"/>
                  </a:lnTo>
                  <a:lnTo>
                    <a:pt x="1022" y="243"/>
                  </a:lnTo>
                  <a:lnTo>
                    <a:pt x="1024" y="243"/>
                  </a:lnTo>
                  <a:lnTo>
                    <a:pt x="1030" y="237"/>
                  </a:lnTo>
                  <a:lnTo>
                    <a:pt x="1030" y="237"/>
                  </a:lnTo>
                  <a:lnTo>
                    <a:pt x="1032" y="235"/>
                  </a:lnTo>
                  <a:lnTo>
                    <a:pt x="1036" y="230"/>
                  </a:lnTo>
                  <a:lnTo>
                    <a:pt x="1036" y="226"/>
                  </a:lnTo>
                  <a:lnTo>
                    <a:pt x="1037" y="218"/>
                  </a:lnTo>
                  <a:lnTo>
                    <a:pt x="1039" y="216"/>
                  </a:lnTo>
                  <a:lnTo>
                    <a:pt x="1037" y="213"/>
                  </a:lnTo>
                  <a:lnTo>
                    <a:pt x="1037" y="213"/>
                  </a:lnTo>
                  <a:lnTo>
                    <a:pt x="1039" y="211"/>
                  </a:lnTo>
                  <a:lnTo>
                    <a:pt x="1043" y="205"/>
                  </a:lnTo>
                  <a:lnTo>
                    <a:pt x="1045" y="205"/>
                  </a:lnTo>
                  <a:lnTo>
                    <a:pt x="1049" y="201"/>
                  </a:lnTo>
                  <a:lnTo>
                    <a:pt x="1051" y="198"/>
                  </a:lnTo>
                  <a:lnTo>
                    <a:pt x="1051" y="194"/>
                  </a:lnTo>
                  <a:lnTo>
                    <a:pt x="1051" y="192"/>
                  </a:lnTo>
                  <a:lnTo>
                    <a:pt x="1056" y="188"/>
                  </a:lnTo>
                  <a:lnTo>
                    <a:pt x="1056" y="186"/>
                  </a:lnTo>
                  <a:lnTo>
                    <a:pt x="1054" y="183"/>
                  </a:lnTo>
                  <a:lnTo>
                    <a:pt x="1054" y="179"/>
                  </a:lnTo>
                  <a:lnTo>
                    <a:pt x="1051" y="179"/>
                  </a:lnTo>
                  <a:lnTo>
                    <a:pt x="1049" y="177"/>
                  </a:lnTo>
                  <a:lnTo>
                    <a:pt x="1045" y="177"/>
                  </a:lnTo>
                  <a:lnTo>
                    <a:pt x="1043" y="173"/>
                  </a:lnTo>
                  <a:lnTo>
                    <a:pt x="1045" y="171"/>
                  </a:lnTo>
                  <a:lnTo>
                    <a:pt x="1051" y="169"/>
                  </a:lnTo>
                  <a:lnTo>
                    <a:pt x="1051" y="167"/>
                  </a:lnTo>
                  <a:lnTo>
                    <a:pt x="1049" y="164"/>
                  </a:lnTo>
                  <a:lnTo>
                    <a:pt x="1049" y="162"/>
                  </a:lnTo>
                  <a:lnTo>
                    <a:pt x="1049" y="156"/>
                  </a:lnTo>
                  <a:lnTo>
                    <a:pt x="1045" y="152"/>
                  </a:lnTo>
                  <a:lnTo>
                    <a:pt x="1043" y="152"/>
                  </a:lnTo>
                  <a:lnTo>
                    <a:pt x="1039" y="156"/>
                  </a:lnTo>
                  <a:lnTo>
                    <a:pt x="1034" y="156"/>
                  </a:lnTo>
                  <a:lnTo>
                    <a:pt x="1032" y="162"/>
                  </a:lnTo>
                  <a:lnTo>
                    <a:pt x="1030" y="162"/>
                  </a:lnTo>
                  <a:lnTo>
                    <a:pt x="1026" y="162"/>
                  </a:lnTo>
                  <a:lnTo>
                    <a:pt x="1026" y="158"/>
                  </a:lnTo>
                  <a:lnTo>
                    <a:pt x="1030" y="156"/>
                  </a:lnTo>
                  <a:lnTo>
                    <a:pt x="1032" y="156"/>
                  </a:lnTo>
                  <a:lnTo>
                    <a:pt x="1032" y="149"/>
                  </a:lnTo>
                  <a:lnTo>
                    <a:pt x="1034" y="143"/>
                  </a:lnTo>
                  <a:lnTo>
                    <a:pt x="1032" y="139"/>
                  </a:lnTo>
                  <a:lnTo>
                    <a:pt x="1030" y="137"/>
                  </a:lnTo>
                  <a:lnTo>
                    <a:pt x="1030" y="134"/>
                  </a:lnTo>
                  <a:lnTo>
                    <a:pt x="1026" y="132"/>
                  </a:lnTo>
                  <a:lnTo>
                    <a:pt x="1022" y="132"/>
                  </a:lnTo>
                  <a:lnTo>
                    <a:pt x="1017" y="132"/>
                  </a:lnTo>
                  <a:lnTo>
                    <a:pt x="1013" y="135"/>
                  </a:lnTo>
                  <a:lnTo>
                    <a:pt x="1009" y="134"/>
                  </a:lnTo>
                  <a:lnTo>
                    <a:pt x="1009" y="128"/>
                  </a:lnTo>
                  <a:lnTo>
                    <a:pt x="1009" y="128"/>
                  </a:lnTo>
                  <a:lnTo>
                    <a:pt x="1005" y="132"/>
                  </a:lnTo>
                  <a:lnTo>
                    <a:pt x="1005" y="134"/>
                  </a:lnTo>
                  <a:lnTo>
                    <a:pt x="1002" y="135"/>
                  </a:lnTo>
                  <a:lnTo>
                    <a:pt x="998" y="139"/>
                  </a:lnTo>
                  <a:lnTo>
                    <a:pt x="996" y="145"/>
                  </a:lnTo>
                  <a:lnTo>
                    <a:pt x="996" y="149"/>
                  </a:lnTo>
                  <a:lnTo>
                    <a:pt x="998" y="149"/>
                  </a:lnTo>
                  <a:lnTo>
                    <a:pt x="1002" y="149"/>
                  </a:lnTo>
                  <a:lnTo>
                    <a:pt x="1005" y="147"/>
                  </a:lnTo>
                  <a:lnTo>
                    <a:pt x="1005" y="149"/>
                  </a:lnTo>
                  <a:lnTo>
                    <a:pt x="1002" y="152"/>
                  </a:lnTo>
                  <a:lnTo>
                    <a:pt x="998" y="156"/>
                  </a:lnTo>
                  <a:lnTo>
                    <a:pt x="992" y="162"/>
                  </a:lnTo>
                  <a:lnTo>
                    <a:pt x="992" y="162"/>
                  </a:lnTo>
                  <a:lnTo>
                    <a:pt x="998" y="158"/>
                  </a:lnTo>
                  <a:lnTo>
                    <a:pt x="1005" y="156"/>
                  </a:lnTo>
                  <a:lnTo>
                    <a:pt x="1005" y="156"/>
                  </a:lnTo>
                  <a:lnTo>
                    <a:pt x="1009" y="152"/>
                  </a:lnTo>
                  <a:lnTo>
                    <a:pt x="1011" y="156"/>
                  </a:lnTo>
                  <a:lnTo>
                    <a:pt x="1009" y="162"/>
                  </a:lnTo>
                  <a:lnTo>
                    <a:pt x="1007" y="162"/>
                  </a:lnTo>
                  <a:lnTo>
                    <a:pt x="1002" y="164"/>
                  </a:lnTo>
                  <a:lnTo>
                    <a:pt x="1002" y="167"/>
                  </a:lnTo>
                  <a:lnTo>
                    <a:pt x="1002" y="169"/>
                  </a:lnTo>
                  <a:lnTo>
                    <a:pt x="1007" y="167"/>
                  </a:lnTo>
                  <a:lnTo>
                    <a:pt x="1011" y="169"/>
                  </a:lnTo>
                  <a:lnTo>
                    <a:pt x="1007" y="173"/>
                  </a:lnTo>
                  <a:lnTo>
                    <a:pt x="1002" y="173"/>
                  </a:lnTo>
                  <a:lnTo>
                    <a:pt x="998" y="173"/>
                  </a:lnTo>
                  <a:lnTo>
                    <a:pt x="998" y="177"/>
                  </a:lnTo>
                  <a:lnTo>
                    <a:pt x="1002" y="177"/>
                  </a:lnTo>
                  <a:lnTo>
                    <a:pt x="1002" y="181"/>
                  </a:lnTo>
                  <a:lnTo>
                    <a:pt x="998" y="186"/>
                  </a:lnTo>
                  <a:lnTo>
                    <a:pt x="996" y="186"/>
                  </a:lnTo>
                  <a:lnTo>
                    <a:pt x="992" y="181"/>
                  </a:lnTo>
                  <a:lnTo>
                    <a:pt x="990" y="179"/>
                  </a:lnTo>
                  <a:lnTo>
                    <a:pt x="988" y="173"/>
                  </a:lnTo>
                  <a:lnTo>
                    <a:pt x="981" y="179"/>
                  </a:lnTo>
                  <a:lnTo>
                    <a:pt x="981" y="181"/>
                  </a:lnTo>
                  <a:lnTo>
                    <a:pt x="975" y="186"/>
                  </a:lnTo>
                  <a:lnTo>
                    <a:pt x="981" y="192"/>
                  </a:lnTo>
                  <a:lnTo>
                    <a:pt x="981" y="194"/>
                  </a:lnTo>
                  <a:lnTo>
                    <a:pt x="983" y="196"/>
                  </a:lnTo>
                  <a:lnTo>
                    <a:pt x="985" y="192"/>
                  </a:lnTo>
                  <a:lnTo>
                    <a:pt x="988" y="192"/>
                  </a:lnTo>
                  <a:lnTo>
                    <a:pt x="992" y="194"/>
                  </a:lnTo>
                  <a:lnTo>
                    <a:pt x="998" y="194"/>
                  </a:lnTo>
                  <a:lnTo>
                    <a:pt x="1002" y="196"/>
                  </a:lnTo>
                  <a:lnTo>
                    <a:pt x="1005" y="194"/>
                  </a:lnTo>
                  <a:lnTo>
                    <a:pt x="1005" y="198"/>
                  </a:lnTo>
                  <a:lnTo>
                    <a:pt x="1002" y="198"/>
                  </a:lnTo>
                  <a:lnTo>
                    <a:pt x="1002" y="199"/>
                  </a:lnTo>
                  <a:lnTo>
                    <a:pt x="1002" y="203"/>
                  </a:lnTo>
                  <a:lnTo>
                    <a:pt x="1007" y="203"/>
                  </a:lnTo>
                  <a:lnTo>
                    <a:pt x="1011" y="207"/>
                  </a:lnTo>
                  <a:lnTo>
                    <a:pt x="1013" y="213"/>
                  </a:lnTo>
                  <a:lnTo>
                    <a:pt x="1017" y="213"/>
                  </a:lnTo>
                  <a:lnTo>
                    <a:pt x="1019" y="213"/>
                  </a:lnTo>
                  <a:lnTo>
                    <a:pt x="1017" y="216"/>
                  </a:lnTo>
                  <a:lnTo>
                    <a:pt x="1017" y="220"/>
                  </a:lnTo>
                  <a:lnTo>
                    <a:pt x="1009" y="231"/>
                  </a:lnTo>
                  <a:lnTo>
                    <a:pt x="1009" y="231"/>
                  </a:lnTo>
                  <a:lnTo>
                    <a:pt x="1009" y="231"/>
                  </a:lnTo>
                  <a:lnTo>
                    <a:pt x="1009" y="231"/>
                  </a:lnTo>
                  <a:close/>
                  <a:moveTo>
                    <a:pt x="990" y="205"/>
                  </a:moveTo>
                  <a:lnTo>
                    <a:pt x="992" y="201"/>
                  </a:lnTo>
                  <a:lnTo>
                    <a:pt x="996" y="199"/>
                  </a:lnTo>
                  <a:lnTo>
                    <a:pt x="998" y="199"/>
                  </a:lnTo>
                  <a:lnTo>
                    <a:pt x="998" y="199"/>
                  </a:lnTo>
                  <a:lnTo>
                    <a:pt x="998" y="203"/>
                  </a:lnTo>
                  <a:lnTo>
                    <a:pt x="992" y="205"/>
                  </a:lnTo>
                  <a:lnTo>
                    <a:pt x="990" y="205"/>
                  </a:lnTo>
                  <a:lnTo>
                    <a:pt x="990" y="205"/>
                  </a:lnTo>
                  <a:lnTo>
                    <a:pt x="990" y="205"/>
                  </a:lnTo>
                  <a:lnTo>
                    <a:pt x="990" y="205"/>
                  </a:lnTo>
                  <a:close/>
                  <a:moveTo>
                    <a:pt x="983" y="226"/>
                  </a:moveTo>
                  <a:lnTo>
                    <a:pt x="985" y="220"/>
                  </a:lnTo>
                  <a:lnTo>
                    <a:pt x="992" y="220"/>
                  </a:lnTo>
                  <a:lnTo>
                    <a:pt x="996" y="222"/>
                  </a:lnTo>
                  <a:lnTo>
                    <a:pt x="1002" y="228"/>
                  </a:lnTo>
                  <a:lnTo>
                    <a:pt x="1002" y="231"/>
                  </a:lnTo>
                  <a:lnTo>
                    <a:pt x="1002" y="237"/>
                  </a:lnTo>
                  <a:lnTo>
                    <a:pt x="998" y="237"/>
                  </a:lnTo>
                  <a:lnTo>
                    <a:pt x="996" y="237"/>
                  </a:lnTo>
                  <a:lnTo>
                    <a:pt x="992" y="237"/>
                  </a:lnTo>
                  <a:lnTo>
                    <a:pt x="990" y="237"/>
                  </a:lnTo>
                  <a:lnTo>
                    <a:pt x="987" y="233"/>
                  </a:lnTo>
                  <a:lnTo>
                    <a:pt x="983" y="230"/>
                  </a:lnTo>
                  <a:lnTo>
                    <a:pt x="983" y="226"/>
                  </a:lnTo>
                  <a:lnTo>
                    <a:pt x="983" y="226"/>
                  </a:lnTo>
                  <a:lnTo>
                    <a:pt x="983" y="226"/>
                  </a:lnTo>
                  <a:lnTo>
                    <a:pt x="983" y="226"/>
                  </a:lnTo>
                  <a:close/>
                  <a:moveTo>
                    <a:pt x="938" y="256"/>
                  </a:moveTo>
                  <a:lnTo>
                    <a:pt x="940" y="254"/>
                  </a:lnTo>
                  <a:lnTo>
                    <a:pt x="943" y="254"/>
                  </a:lnTo>
                  <a:lnTo>
                    <a:pt x="943" y="256"/>
                  </a:lnTo>
                  <a:lnTo>
                    <a:pt x="940" y="258"/>
                  </a:lnTo>
                  <a:lnTo>
                    <a:pt x="938" y="256"/>
                  </a:lnTo>
                  <a:lnTo>
                    <a:pt x="938" y="256"/>
                  </a:lnTo>
                  <a:lnTo>
                    <a:pt x="938" y="256"/>
                  </a:lnTo>
                  <a:lnTo>
                    <a:pt x="938" y="256"/>
                  </a:lnTo>
                  <a:close/>
                  <a:moveTo>
                    <a:pt x="934" y="250"/>
                  </a:moveTo>
                  <a:lnTo>
                    <a:pt x="932" y="247"/>
                  </a:lnTo>
                  <a:lnTo>
                    <a:pt x="934" y="243"/>
                  </a:lnTo>
                  <a:lnTo>
                    <a:pt x="936" y="237"/>
                  </a:lnTo>
                  <a:lnTo>
                    <a:pt x="936" y="235"/>
                  </a:lnTo>
                  <a:lnTo>
                    <a:pt x="940" y="231"/>
                  </a:lnTo>
                  <a:lnTo>
                    <a:pt x="940" y="230"/>
                  </a:lnTo>
                  <a:lnTo>
                    <a:pt x="941" y="228"/>
                  </a:lnTo>
                  <a:lnTo>
                    <a:pt x="941" y="226"/>
                  </a:lnTo>
                  <a:lnTo>
                    <a:pt x="943" y="220"/>
                  </a:lnTo>
                  <a:lnTo>
                    <a:pt x="943" y="216"/>
                  </a:lnTo>
                  <a:lnTo>
                    <a:pt x="943" y="216"/>
                  </a:lnTo>
                  <a:lnTo>
                    <a:pt x="947" y="216"/>
                  </a:lnTo>
                  <a:lnTo>
                    <a:pt x="947" y="222"/>
                  </a:lnTo>
                  <a:lnTo>
                    <a:pt x="949" y="226"/>
                  </a:lnTo>
                  <a:lnTo>
                    <a:pt x="947" y="231"/>
                  </a:lnTo>
                  <a:lnTo>
                    <a:pt x="947" y="235"/>
                  </a:lnTo>
                  <a:lnTo>
                    <a:pt x="943" y="237"/>
                  </a:lnTo>
                  <a:lnTo>
                    <a:pt x="947" y="241"/>
                  </a:lnTo>
                  <a:lnTo>
                    <a:pt x="943" y="250"/>
                  </a:lnTo>
                  <a:lnTo>
                    <a:pt x="940" y="252"/>
                  </a:lnTo>
                  <a:lnTo>
                    <a:pt x="934" y="250"/>
                  </a:lnTo>
                  <a:lnTo>
                    <a:pt x="934" y="250"/>
                  </a:lnTo>
                  <a:lnTo>
                    <a:pt x="934" y="250"/>
                  </a:lnTo>
                  <a:lnTo>
                    <a:pt x="934" y="250"/>
                  </a:lnTo>
                  <a:close/>
                  <a:moveTo>
                    <a:pt x="892" y="166"/>
                  </a:moveTo>
                  <a:lnTo>
                    <a:pt x="889" y="162"/>
                  </a:lnTo>
                  <a:lnTo>
                    <a:pt x="889" y="158"/>
                  </a:lnTo>
                  <a:lnTo>
                    <a:pt x="892" y="156"/>
                  </a:lnTo>
                  <a:lnTo>
                    <a:pt x="889" y="156"/>
                  </a:lnTo>
                  <a:lnTo>
                    <a:pt x="885" y="156"/>
                  </a:lnTo>
                  <a:lnTo>
                    <a:pt x="883" y="152"/>
                  </a:lnTo>
                  <a:lnTo>
                    <a:pt x="881" y="156"/>
                  </a:lnTo>
                  <a:lnTo>
                    <a:pt x="876" y="156"/>
                  </a:lnTo>
                  <a:lnTo>
                    <a:pt x="872" y="156"/>
                  </a:lnTo>
                  <a:lnTo>
                    <a:pt x="872" y="152"/>
                  </a:lnTo>
                  <a:lnTo>
                    <a:pt x="876" y="149"/>
                  </a:lnTo>
                  <a:lnTo>
                    <a:pt x="877" y="147"/>
                  </a:lnTo>
                  <a:lnTo>
                    <a:pt x="881" y="147"/>
                  </a:lnTo>
                  <a:lnTo>
                    <a:pt x="885" y="147"/>
                  </a:lnTo>
                  <a:lnTo>
                    <a:pt x="894" y="143"/>
                  </a:lnTo>
                  <a:lnTo>
                    <a:pt x="898" y="145"/>
                  </a:lnTo>
                  <a:lnTo>
                    <a:pt x="902" y="147"/>
                  </a:lnTo>
                  <a:lnTo>
                    <a:pt x="904" y="147"/>
                  </a:lnTo>
                  <a:lnTo>
                    <a:pt x="908" y="147"/>
                  </a:lnTo>
                  <a:lnTo>
                    <a:pt x="913" y="143"/>
                  </a:lnTo>
                  <a:lnTo>
                    <a:pt x="917" y="143"/>
                  </a:lnTo>
                  <a:lnTo>
                    <a:pt x="919" y="143"/>
                  </a:lnTo>
                  <a:lnTo>
                    <a:pt x="923" y="141"/>
                  </a:lnTo>
                  <a:lnTo>
                    <a:pt x="924" y="143"/>
                  </a:lnTo>
                  <a:lnTo>
                    <a:pt x="924" y="145"/>
                  </a:lnTo>
                  <a:lnTo>
                    <a:pt x="926" y="149"/>
                  </a:lnTo>
                  <a:lnTo>
                    <a:pt x="926" y="152"/>
                  </a:lnTo>
                  <a:lnTo>
                    <a:pt x="923" y="156"/>
                  </a:lnTo>
                  <a:lnTo>
                    <a:pt x="926" y="162"/>
                  </a:lnTo>
                  <a:lnTo>
                    <a:pt x="923" y="169"/>
                  </a:lnTo>
                  <a:lnTo>
                    <a:pt x="919" y="171"/>
                  </a:lnTo>
                  <a:lnTo>
                    <a:pt x="917" y="173"/>
                  </a:lnTo>
                  <a:lnTo>
                    <a:pt x="913" y="173"/>
                  </a:lnTo>
                  <a:lnTo>
                    <a:pt x="909" y="173"/>
                  </a:lnTo>
                  <a:lnTo>
                    <a:pt x="908" y="171"/>
                  </a:lnTo>
                  <a:lnTo>
                    <a:pt x="904" y="173"/>
                  </a:lnTo>
                  <a:lnTo>
                    <a:pt x="900" y="167"/>
                  </a:lnTo>
                  <a:lnTo>
                    <a:pt x="900" y="162"/>
                  </a:lnTo>
                  <a:lnTo>
                    <a:pt x="896" y="158"/>
                  </a:lnTo>
                  <a:lnTo>
                    <a:pt x="894" y="162"/>
                  </a:lnTo>
                  <a:lnTo>
                    <a:pt x="894" y="164"/>
                  </a:lnTo>
                  <a:lnTo>
                    <a:pt x="892" y="166"/>
                  </a:lnTo>
                  <a:lnTo>
                    <a:pt x="892" y="166"/>
                  </a:lnTo>
                  <a:lnTo>
                    <a:pt x="892" y="166"/>
                  </a:lnTo>
                  <a:lnTo>
                    <a:pt x="892" y="166"/>
                  </a:lnTo>
                  <a:close/>
                  <a:moveTo>
                    <a:pt x="840" y="196"/>
                  </a:moveTo>
                  <a:lnTo>
                    <a:pt x="844" y="192"/>
                  </a:lnTo>
                  <a:lnTo>
                    <a:pt x="844" y="188"/>
                  </a:lnTo>
                  <a:lnTo>
                    <a:pt x="849" y="186"/>
                  </a:lnTo>
                  <a:lnTo>
                    <a:pt x="849" y="183"/>
                  </a:lnTo>
                  <a:lnTo>
                    <a:pt x="853" y="181"/>
                  </a:lnTo>
                  <a:lnTo>
                    <a:pt x="855" y="177"/>
                  </a:lnTo>
                  <a:lnTo>
                    <a:pt x="859" y="177"/>
                  </a:lnTo>
                  <a:lnTo>
                    <a:pt x="868" y="173"/>
                  </a:lnTo>
                  <a:lnTo>
                    <a:pt x="868" y="177"/>
                  </a:lnTo>
                  <a:lnTo>
                    <a:pt x="872" y="177"/>
                  </a:lnTo>
                  <a:lnTo>
                    <a:pt x="876" y="179"/>
                  </a:lnTo>
                  <a:lnTo>
                    <a:pt x="879" y="179"/>
                  </a:lnTo>
                  <a:lnTo>
                    <a:pt x="881" y="177"/>
                  </a:lnTo>
                  <a:lnTo>
                    <a:pt x="889" y="179"/>
                  </a:lnTo>
                  <a:lnTo>
                    <a:pt x="889" y="181"/>
                  </a:lnTo>
                  <a:lnTo>
                    <a:pt x="892" y="181"/>
                  </a:lnTo>
                  <a:lnTo>
                    <a:pt x="896" y="181"/>
                  </a:lnTo>
                  <a:lnTo>
                    <a:pt x="898" y="183"/>
                  </a:lnTo>
                  <a:lnTo>
                    <a:pt x="902" y="183"/>
                  </a:lnTo>
                  <a:lnTo>
                    <a:pt x="904" y="183"/>
                  </a:lnTo>
                  <a:lnTo>
                    <a:pt x="900" y="192"/>
                  </a:lnTo>
                  <a:lnTo>
                    <a:pt x="896" y="188"/>
                  </a:lnTo>
                  <a:lnTo>
                    <a:pt x="889" y="192"/>
                  </a:lnTo>
                  <a:lnTo>
                    <a:pt x="885" y="192"/>
                  </a:lnTo>
                  <a:lnTo>
                    <a:pt x="881" y="198"/>
                  </a:lnTo>
                  <a:lnTo>
                    <a:pt x="881" y="199"/>
                  </a:lnTo>
                  <a:lnTo>
                    <a:pt x="885" y="199"/>
                  </a:lnTo>
                  <a:lnTo>
                    <a:pt x="887" y="199"/>
                  </a:lnTo>
                  <a:lnTo>
                    <a:pt x="887" y="201"/>
                  </a:lnTo>
                  <a:lnTo>
                    <a:pt x="883" y="207"/>
                  </a:lnTo>
                  <a:lnTo>
                    <a:pt x="881" y="211"/>
                  </a:lnTo>
                  <a:lnTo>
                    <a:pt x="877" y="211"/>
                  </a:lnTo>
                  <a:lnTo>
                    <a:pt x="877" y="213"/>
                  </a:lnTo>
                  <a:lnTo>
                    <a:pt x="876" y="216"/>
                  </a:lnTo>
                  <a:lnTo>
                    <a:pt x="872" y="216"/>
                  </a:lnTo>
                  <a:lnTo>
                    <a:pt x="868" y="216"/>
                  </a:lnTo>
                  <a:lnTo>
                    <a:pt x="864" y="216"/>
                  </a:lnTo>
                  <a:lnTo>
                    <a:pt x="859" y="213"/>
                  </a:lnTo>
                  <a:lnTo>
                    <a:pt x="859" y="216"/>
                  </a:lnTo>
                  <a:lnTo>
                    <a:pt x="855" y="216"/>
                  </a:lnTo>
                  <a:lnTo>
                    <a:pt x="851" y="216"/>
                  </a:lnTo>
                  <a:lnTo>
                    <a:pt x="849" y="213"/>
                  </a:lnTo>
                  <a:lnTo>
                    <a:pt x="851" y="213"/>
                  </a:lnTo>
                  <a:lnTo>
                    <a:pt x="849" y="207"/>
                  </a:lnTo>
                  <a:lnTo>
                    <a:pt x="845" y="205"/>
                  </a:lnTo>
                  <a:lnTo>
                    <a:pt x="844" y="203"/>
                  </a:lnTo>
                  <a:lnTo>
                    <a:pt x="844" y="199"/>
                  </a:lnTo>
                  <a:lnTo>
                    <a:pt x="840" y="196"/>
                  </a:lnTo>
                  <a:lnTo>
                    <a:pt x="840" y="196"/>
                  </a:lnTo>
                  <a:lnTo>
                    <a:pt x="840" y="196"/>
                  </a:lnTo>
                  <a:lnTo>
                    <a:pt x="840" y="196"/>
                  </a:lnTo>
                  <a:close/>
                  <a:moveTo>
                    <a:pt x="836" y="183"/>
                  </a:moveTo>
                  <a:lnTo>
                    <a:pt x="838" y="183"/>
                  </a:lnTo>
                  <a:lnTo>
                    <a:pt x="844" y="183"/>
                  </a:lnTo>
                  <a:lnTo>
                    <a:pt x="847" y="179"/>
                  </a:lnTo>
                  <a:lnTo>
                    <a:pt x="847" y="173"/>
                  </a:lnTo>
                  <a:lnTo>
                    <a:pt x="847" y="171"/>
                  </a:lnTo>
                  <a:lnTo>
                    <a:pt x="847" y="167"/>
                  </a:lnTo>
                  <a:lnTo>
                    <a:pt x="849" y="164"/>
                  </a:lnTo>
                  <a:lnTo>
                    <a:pt x="845" y="164"/>
                  </a:lnTo>
                  <a:lnTo>
                    <a:pt x="844" y="164"/>
                  </a:lnTo>
                  <a:lnTo>
                    <a:pt x="840" y="162"/>
                  </a:lnTo>
                  <a:lnTo>
                    <a:pt x="838" y="166"/>
                  </a:lnTo>
                  <a:lnTo>
                    <a:pt x="834" y="166"/>
                  </a:lnTo>
                  <a:lnTo>
                    <a:pt x="834" y="169"/>
                  </a:lnTo>
                  <a:lnTo>
                    <a:pt x="834" y="173"/>
                  </a:lnTo>
                  <a:lnTo>
                    <a:pt x="834" y="177"/>
                  </a:lnTo>
                  <a:lnTo>
                    <a:pt x="836" y="183"/>
                  </a:lnTo>
                  <a:lnTo>
                    <a:pt x="836" y="183"/>
                  </a:lnTo>
                  <a:lnTo>
                    <a:pt x="836" y="183"/>
                  </a:lnTo>
                  <a:lnTo>
                    <a:pt x="836" y="183"/>
                  </a:lnTo>
                  <a:close/>
                  <a:moveTo>
                    <a:pt x="1147" y="454"/>
                  </a:moveTo>
                  <a:lnTo>
                    <a:pt x="1147" y="454"/>
                  </a:lnTo>
                  <a:lnTo>
                    <a:pt x="1152" y="458"/>
                  </a:lnTo>
                  <a:lnTo>
                    <a:pt x="1156" y="454"/>
                  </a:lnTo>
                  <a:lnTo>
                    <a:pt x="1156" y="459"/>
                  </a:lnTo>
                  <a:lnTo>
                    <a:pt x="1160" y="459"/>
                  </a:lnTo>
                  <a:lnTo>
                    <a:pt x="1160" y="459"/>
                  </a:lnTo>
                  <a:lnTo>
                    <a:pt x="1164" y="459"/>
                  </a:lnTo>
                  <a:lnTo>
                    <a:pt x="1169" y="458"/>
                  </a:lnTo>
                  <a:lnTo>
                    <a:pt x="1173" y="458"/>
                  </a:lnTo>
                  <a:lnTo>
                    <a:pt x="1179" y="459"/>
                  </a:lnTo>
                  <a:lnTo>
                    <a:pt x="1182" y="459"/>
                  </a:lnTo>
                  <a:lnTo>
                    <a:pt x="1184" y="459"/>
                  </a:lnTo>
                  <a:lnTo>
                    <a:pt x="1184" y="459"/>
                  </a:lnTo>
                  <a:lnTo>
                    <a:pt x="1184" y="454"/>
                  </a:lnTo>
                  <a:lnTo>
                    <a:pt x="1188" y="450"/>
                  </a:lnTo>
                  <a:lnTo>
                    <a:pt x="1192" y="450"/>
                  </a:lnTo>
                  <a:lnTo>
                    <a:pt x="1192" y="450"/>
                  </a:lnTo>
                  <a:lnTo>
                    <a:pt x="1188" y="444"/>
                  </a:lnTo>
                  <a:lnTo>
                    <a:pt x="1188" y="441"/>
                  </a:lnTo>
                  <a:lnTo>
                    <a:pt x="1192" y="442"/>
                  </a:lnTo>
                  <a:lnTo>
                    <a:pt x="1192" y="446"/>
                  </a:lnTo>
                  <a:lnTo>
                    <a:pt x="1194" y="450"/>
                  </a:lnTo>
                  <a:lnTo>
                    <a:pt x="1194" y="448"/>
                  </a:lnTo>
                  <a:lnTo>
                    <a:pt x="1197" y="448"/>
                  </a:lnTo>
                  <a:lnTo>
                    <a:pt x="1199" y="446"/>
                  </a:lnTo>
                  <a:lnTo>
                    <a:pt x="1201" y="448"/>
                  </a:lnTo>
                  <a:lnTo>
                    <a:pt x="1201" y="446"/>
                  </a:lnTo>
                  <a:lnTo>
                    <a:pt x="1201" y="442"/>
                  </a:lnTo>
                  <a:lnTo>
                    <a:pt x="1201" y="439"/>
                  </a:lnTo>
                  <a:lnTo>
                    <a:pt x="1199" y="437"/>
                  </a:lnTo>
                  <a:lnTo>
                    <a:pt x="1194" y="439"/>
                  </a:lnTo>
                  <a:lnTo>
                    <a:pt x="1192" y="439"/>
                  </a:lnTo>
                  <a:lnTo>
                    <a:pt x="1192" y="435"/>
                  </a:lnTo>
                  <a:lnTo>
                    <a:pt x="1194" y="435"/>
                  </a:lnTo>
                  <a:lnTo>
                    <a:pt x="1194" y="435"/>
                  </a:lnTo>
                  <a:lnTo>
                    <a:pt x="1197" y="435"/>
                  </a:lnTo>
                  <a:lnTo>
                    <a:pt x="1199" y="431"/>
                  </a:lnTo>
                  <a:lnTo>
                    <a:pt x="1201" y="433"/>
                  </a:lnTo>
                  <a:lnTo>
                    <a:pt x="1205" y="433"/>
                  </a:lnTo>
                  <a:lnTo>
                    <a:pt x="1207" y="429"/>
                  </a:lnTo>
                  <a:lnTo>
                    <a:pt x="1205" y="425"/>
                  </a:lnTo>
                  <a:lnTo>
                    <a:pt x="1207" y="424"/>
                  </a:lnTo>
                  <a:lnTo>
                    <a:pt x="1207" y="420"/>
                  </a:lnTo>
                  <a:lnTo>
                    <a:pt x="1209" y="420"/>
                  </a:lnTo>
                  <a:lnTo>
                    <a:pt x="1211" y="420"/>
                  </a:lnTo>
                  <a:lnTo>
                    <a:pt x="1205" y="418"/>
                  </a:lnTo>
                  <a:lnTo>
                    <a:pt x="1201" y="420"/>
                  </a:lnTo>
                  <a:lnTo>
                    <a:pt x="1203" y="416"/>
                  </a:lnTo>
                  <a:lnTo>
                    <a:pt x="1205" y="416"/>
                  </a:lnTo>
                  <a:lnTo>
                    <a:pt x="1205" y="412"/>
                  </a:lnTo>
                  <a:lnTo>
                    <a:pt x="1201" y="409"/>
                  </a:lnTo>
                  <a:lnTo>
                    <a:pt x="1194" y="409"/>
                  </a:lnTo>
                  <a:lnTo>
                    <a:pt x="1194" y="407"/>
                  </a:lnTo>
                  <a:lnTo>
                    <a:pt x="1194" y="405"/>
                  </a:lnTo>
                  <a:lnTo>
                    <a:pt x="1197" y="405"/>
                  </a:lnTo>
                  <a:lnTo>
                    <a:pt x="1194" y="401"/>
                  </a:lnTo>
                  <a:lnTo>
                    <a:pt x="1188" y="395"/>
                  </a:lnTo>
                  <a:lnTo>
                    <a:pt x="1184" y="395"/>
                  </a:lnTo>
                  <a:lnTo>
                    <a:pt x="1184" y="399"/>
                  </a:lnTo>
                  <a:lnTo>
                    <a:pt x="1179" y="399"/>
                  </a:lnTo>
                  <a:lnTo>
                    <a:pt x="1173" y="399"/>
                  </a:lnTo>
                  <a:lnTo>
                    <a:pt x="1167" y="395"/>
                  </a:lnTo>
                  <a:lnTo>
                    <a:pt x="1167" y="393"/>
                  </a:lnTo>
                  <a:lnTo>
                    <a:pt x="1164" y="390"/>
                  </a:lnTo>
                  <a:lnTo>
                    <a:pt x="1160" y="393"/>
                  </a:lnTo>
                  <a:lnTo>
                    <a:pt x="1158" y="393"/>
                  </a:lnTo>
                  <a:lnTo>
                    <a:pt x="1156" y="395"/>
                  </a:lnTo>
                  <a:lnTo>
                    <a:pt x="1152" y="395"/>
                  </a:lnTo>
                  <a:lnTo>
                    <a:pt x="1150" y="399"/>
                  </a:lnTo>
                  <a:lnTo>
                    <a:pt x="1148" y="395"/>
                  </a:lnTo>
                  <a:lnTo>
                    <a:pt x="1145" y="393"/>
                  </a:lnTo>
                  <a:lnTo>
                    <a:pt x="1143" y="395"/>
                  </a:lnTo>
                  <a:lnTo>
                    <a:pt x="1139" y="395"/>
                  </a:lnTo>
                  <a:lnTo>
                    <a:pt x="1139" y="399"/>
                  </a:lnTo>
                  <a:lnTo>
                    <a:pt x="1135" y="399"/>
                  </a:lnTo>
                  <a:lnTo>
                    <a:pt x="1135" y="395"/>
                  </a:lnTo>
                  <a:lnTo>
                    <a:pt x="1135" y="395"/>
                  </a:lnTo>
                  <a:lnTo>
                    <a:pt x="1130" y="395"/>
                  </a:lnTo>
                  <a:lnTo>
                    <a:pt x="1124" y="395"/>
                  </a:lnTo>
                  <a:lnTo>
                    <a:pt x="1122" y="395"/>
                  </a:lnTo>
                  <a:lnTo>
                    <a:pt x="1124" y="399"/>
                  </a:lnTo>
                  <a:lnTo>
                    <a:pt x="1124" y="401"/>
                  </a:lnTo>
                  <a:lnTo>
                    <a:pt x="1128" y="403"/>
                  </a:lnTo>
                  <a:lnTo>
                    <a:pt x="1124" y="403"/>
                  </a:lnTo>
                  <a:lnTo>
                    <a:pt x="1122" y="399"/>
                  </a:lnTo>
                  <a:lnTo>
                    <a:pt x="1120" y="399"/>
                  </a:lnTo>
                  <a:lnTo>
                    <a:pt x="1115" y="401"/>
                  </a:lnTo>
                  <a:lnTo>
                    <a:pt x="1115" y="399"/>
                  </a:lnTo>
                  <a:lnTo>
                    <a:pt x="1118" y="399"/>
                  </a:lnTo>
                  <a:lnTo>
                    <a:pt x="1118" y="395"/>
                  </a:lnTo>
                  <a:lnTo>
                    <a:pt x="1115" y="390"/>
                  </a:lnTo>
                  <a:lnTo>
                    <a:pt x="1115" y="390"/>
                  </a:lnTo>
                  <a:lnTo>
                    <a:pt x="1111" y="388"/>
                  </a:lnTo>
                  <a:lnTo>
                    <a:pt x="1109" y="390"/>
                  </a:lnTo>
                  <a:lnTo>
                    <a:pt x="1109" y="393"/>
                  </a:lnTo>
                  <a:lnTo>
                    <a:pt x="1109" y="395"/>
                  </a:lnTo>
                  <a:lnTo>
                    <a:pt x="1105" y="393"/>
                  </a:lnTo>
                  <a:lnTo>
                    <a:pt x="1105" y="390"/>
                  </a:lnTo>
                  <a:lnTo>
                    <a:pt x="1105" y="390"/>
                  </a:lnTo>
                  <a:lnTo>
                    <a:pt x="1103" y="388"/>
                  </a:lnTo>
                  <a:lnTo>
                    <a:pt x="1100" y="390"/>
                  </a:lnTo>
                  <a:lnTo>
                    <a:pt x="1098" y="390"/>
                  </a:lnTo>
                  <a:lnTo>
                    <a:pt x="1098" y="386"/>
                  </a:lnTo>
                  <a:lnTo>
                    <a:pt x="1098" y="384"/>
                  </a:lnTo>
                  <a:lnTo>
                    <a:pt x="1098" y="380"/>
                  </a:lnTo>
                  <a:lnTo>
                    <a:pt x="1094" y="382"/>
                  </a:lnTo>
                  <a:lnTo>
                    <a:pt x="1090" y="386"/>
                  </a:lnTo>
                  <a:lnTo>
                    <a:pt x="1090" y="390"/>
                  </a:lnTo>
                  <a:lnTo>
                    <a:pt x="1088" y="390"/>
                  </a:lnTo>
                  <a:lnTo>
                    <a:pt x="1086" y="388"/>
                  </a:lnTo>
                  <a:lnTo>
                    <a:pt x="1088" y="384"/>
                  </a:lnTo>
                  <a:lnTo>
                    <a:pt x="1088" y="382"/>
                  </a:lnTo>
                  <a:lnTo>
                    <a:pt x="1090" y="377"/>
                  </a:lnTo>
                  <a:lnTo>
                    <a:pt x="1086" y="373"/>
                  </a:lnTo>
                  <a:lnTo>
                    <a:pt x="1084" y="375"/>
                  </a:lnTo>
                  <a:lnTo>
                    <a:pt x="1084" y="373"/>
                  </a:lnTo>
                  <a:lnTo>
                    <a:pt x="1086" y="371"/>
                  </a:lnTo>
                  <a:lnTo>
                    <a:pt x="1088" y="369"/>
                  </a:lnTo>
                  <a:lnTo>
                    <a:pt x="1086" y="365"/>
                  </a:lnTo>
                  <a:lnTo>
                    <a:pt x="1084" y="365"/>
                  </a:lnTo>
                  <a:lnTo>
                    <a:pt x="1081" y="365"/>
                  </a:lnTo>
                  <a:lnTo>
                    <a:pt x="1081" y="365"/>
                  </a:lnTo>
                  <a:lnTo>
                    <a:pt x="1079" y="365"/>
                  </a:lnTo>
                  <a:lnTo>
                    <a:pt x="1081" y="365"/>
                  </a:lnTo>
                  <a:lnTo>
                    <a:pt x="1079" y="363"/>
                  </a:lnTo>
                  <a:lnTo>
                    <a:pt x="1077" y="363"/>
                  </a:lnTo>
                  <a:lnTo>
                    <a:pt x="1075" y="365"/>
                  </a:lnTo>
                  <a:lnTo>
                    <a:pt x="1069" y="365"/>
                  </a:lnTo>
                  <a:lnTo>
                    <a:pt x="1069" y="365"/>
                  </a:lnTo>
                  <a:lnTo>
                    <a:pt x="1071" y="363"/>
                  </a:lnTo>
                  <a:lnTo>
                    <a:pt x="1073" y="360"/>
                  </a:lnTo>
                  <a:lnTo>
                    <a:pt x="1075" y="356"/>
                  </a:lnTo>
                  <a:lnTo>
                    <a:pt x="1077" y="356"/>
                  </a:lnTo>
                  <a:lnTo>
                    <a:pt x="1081" y="361"/>
                  </a:lnTo>
                  <a:lnTo>
                    <a:pt x="1084" y="361"/>
                  </a:lnTo>
                  <a:lnTo>
                    <a:pt x="1084" y="360"/>
                  </a:lnTo>
                  <a:lnTo>
                    <a:pt x="1081" y="356"/>
                  </a:lnTo>
                  <a:lnTo>
                    <a:pt x="1079" y="354"/>
                  </a:lnTo>
                  <a:lnTo>
                    <a:pt x="1081" y="354"/>
                  </a:lnTo>
                  <a:lnTo>
                    <a:pt x="1075" y="348"/>
                  </a:lnTo>
                  <a:lnTo>
                    <a:pt x="1071" y="346"/>
                  </a:lnTo>
                  <a:lnTo>
                    <a:pt x="1073" y="346"/>
                  </a:lnTo>
                  <a:lnTo>
                    <a:pt x="1075" y="344"/>
                  </a:lnTo>
                  <a:lnTo>
                    <a:pt x="1077" y="344"/>
                  </a:lnTo>
                  <a:lnTo>
                    <a:pt x="1079" y="346"/>
                  </a:lnTo>
                  <a:lnTo>
                    <a:pt x="1081" y="350"/>
                  </a:lnTo>
                  <a:lnTo>
                    <a:pt x="1084" y="352"/>
                  </a:lnTo>
                  <a:lnTo>
                    <a:pt x="1088" y="356"/>
                  </a:lnTo>
                  <a:lnTo>
                    <a:pt x="1090" y="354"/>
                  </a:lnTo>
                  <a:lnTo>
                    <a:pt x="1092" y="356"/>
                  </a:lnTo>
                  <a:lnTo>
                    <a:pt x="1098" y="356"/>
                  </a:lnTo>
                  <a:lnTo>
                    <a:pt x="1103" y="356"/>
                  </a:lnTo>
                  <a:lnTo>
                    <a:pt x="1103" y="354"/>
                  </a:lnTo>
                  <a:lnTo>
                    <a:pt x="1103" y="350"/>
                  </a:lnTo>
                  <a:lnTo>
                    <a:pt x="1094" y="344"/>
                  </a:lnTo>
                  <a:lnTo>
                    <a:pt x="1092" y="341"/>
                  </a:lnTo>
                  <a:lnTo>
                    <a:pt x="1088" y="341"/>
                  </a:lnTo>
                  <a:lnTo>
                    <a:pt x="1088" y="337"/>
                  </a:lnTo>
                  <a:lnTo>
                    <a:pt x="1084" y="335"/>
                  </a:lnTo>
                  <a:lnTo>
                    <a:pt x="1084" y="335"/>
                  </a:lnTo>
                  <a:lnTo>
                    <a:pt x="1081" y="331"/>
                  </a:lnTo>
                  <a:lnTo>
                    <a:pt x="1084" y="331"/>
                  </a:lnTo>
                  <a:lnTo>
                    <a:pt x="1084" y="331"/>
                  </a:lnTo>
                  <a:lnTo>
                    <a:pt x="1088" y="335"/>
                  </a:lnTo>
                  <a:lnTo>
                    <a:pt x="1090" y="335"/>
                  </a:lnTo>
                  <a:lnTo>
                    <a:pt x="1092" y="337"/>
                  </a:lnTo>
                  <a:lnTo>
                    <a:pt x="1094" y="337"/>
                  </a:lnTo>
                  <a:lnTo>
                    <a:pt x="1096" y="335"/>
                  </a:lnTo>
                  <a:lnTo>
                    <a:pt x="1094" y="329"/>
                  </a:lnTo>
                  <a:lnTo>
                    <a:pt x="1088" y="324"/>
                  </a:lnTo>
                  <a:lnTo>
                    <a:pt x="1086" y="324"/>
                  </a:lnTo>
                  <a:lnTo>
                    <a:pt x="1084" y="324"/>
                  </a:lnTo>
                  <a:lnTo>
                    <a:pt x="1081" y="324"/>
                  </a:lnTo>
                  <a:lnTo>
                    <a:pt x="1079" y="326"/>
                  </a:lnTo>
                  <a:lnTo>
                    <a:pt x="1075" y="326"/>
                  </a:lnTo>
                  <a:lnTo>
                    <a:pt x="1071" y="324"/>
                  </a:lnTo>
                  <a:lnTo>
                    <a:pt x="1069" y="324"/>
                  </a:lnTo>
                  <a:lnTo>
                    <a:pt x="1066" y="322"/>
                  </a:lnTo>
                  <a:lnTo>
                    <a:pt x="1062" y="328"/>
                  </a:lnTo>
                  <a:lnTo>
                    <a:pt x="1056" y="329"/>
                  </a:lnTo>
                  <a:lnTo>
                    <a:pt x="1056" y="331"/>
                  </a:lnTo>
                  <a:lnTo>
                    <a:pt x="1054" y="335"/>
                  </a:lnTo>
                  <a:lnTo>
                    <a:pt x="1054" y="331"/>
                  </a:lnTo>
                  <a:lnTo>
                    <a:pt x="1056" y="328"/>
                  </a:lnTo>
                  <a:lnTo>
                    <a:pt x="1060" y="328"/>
                  </a:lnTo>
                  <a:lnTo>
                    <a:pt x="1066" y="320"/>
                  </a:lnTo>
                  <a:lnTo>
                    <a:pt x="1066" y="318"/>
                  </a:lnTo>
                  <a:lnTo>
                    <a:pt x="1064" y="314"/>
                  </a:lnTo>
                  <a:lnTo>
                    <a:pt x="1066" y="305"/>
                  </a:lnTo>
                  <a:lnTo>
                    <a:pt x="1066" y="305"/>
                  </a:lnTo>
                  <a:lnTo>
                    <a:pt x="1064" y="301"/>
                  </a:lnTo>
                  <a:lnTo>
                    <a:pt x="1062" y="305"/>
                  </a:lnTo>
                  <a:lnTo>
                    <a:pt x="1056" y="305"/>
                  </a:lnTo>
                  <a:lnTo>
                    <a:pt x="1056" y="301"/>
                  </a:lnTo>
                  <a:lnTo>
                    <a:pt x="1056" y="299"/>
                  </a:lnTo>
                  <a:lnTo>
                    <a:pt x="1056" y="296"/>
                  </a:lnTo>
                  <a:lnTo>
                    <a:pt x="1051" y="294"/>
                  </a:lnTo>
                  <a:lnTo>
                    <a:pt x="1047" y="290"/>
                  </a:lnTo>
                  <a:lnTo>
                    <a:pt x="1043" y="290"/>
                  </a:lnTo>
                  <a:lnTo>
                    <a:pt x="1039" y="288"/>
                  </a:lnTo>
                  <a:lnTo>
                    <a:pt x="1037" y="290"/>
                  </a:lnTo>
                  <a:lnTo>
                    <a:pt x="1030" y="292"/>
                  </a:lnTo>
                  <a:lnTo>
                    <a:pt x="1030" y="292"/>
                  </a:lnTo>
                  <a:lnTo>
                    <a:pt x="1026" y="292"/>
                  </a:lnTo>
                  <a:lnTo>
                    <a:pt x="1026" y="296"/>
                  </a:lnTo>
                  <a:lnTo>
                    <a:pt x="1030" y="299"/>
                  </a:lnTo>
                  <a:lnTo>
                    <a:pt x="1030" y="301"/>
                  </a:lnTo>
                  <a:lnTo>
                    <a:pt x="1026" y="301"/>
                  </a:lnTo>
                  <a:lnTo>
                    <a:pt x="1024" y="297"/>
                  </a:lnTo>
                  <a:lnTo>
                    <a:pt x="1024" y="301"/>
                  </a:lnTo>
                  <a:lnTo>
                    <a:pt x="1024" y="305"/>
                  </a:lnTo>
                  <a:lnTo>
                    <a:pt x="1026" y="305"/>
                  </a:lnTo>
                  <a:lnTo>
                    <a:pt x="1030" y="311"/>
                  </a:lnTo>
                  <a:lnTo>
                    <a:pt x="1034" y="311"/>
                  </a:lnTo>
                  <a:lnTo>
                    <a:pt x="1032" y="312"/>
                  </a:lnTo>
                  <a:lnTo>
                    <a:pt x="1030" y="312"/>
                  </a:lnTo>
                  <a:lnTo>
                    <a:pt x="1030" y="316"/>
                  </a:lnTo>
                  <a:lnTo>
                    <a:pt x="1034" y="324"/>
                  </a:lnTo>
                  <a:lnTo>
                    <a:pt x="1037" y="326"/>
                  </a:lnTo>
                  <a:lnTo>
                    <a:pt x="1037" y="328"/>
                  </a:lnTo>
                  <a:lnTo>
                    <a:pt x="1036" y="326"/>
                  </a:lnTo>
                  <a:lnTo>
                    <a:pt x="1030" y="326"/>
                  </a:lnTo>
                  <a:lnTo>
                    <a:pt x="1030" y="328"/>
                  </a:lnTo>
                  <a:lnTo>
                    <a:pt x="1026" y="329"/>
                  </a:lnTo>
                  <a:lnTo>
                    <a:pt x="1026" y="331"/>
                  </a:lnTo>
                  <a:lnTo>
                    <a:pt x="1032" y="329"/>
                  </a:lnTo>
                  <a:lnTo>
                    <a:pt x="1034" y="331"/>
                  </a:lnTo>
                  <a:lnTo>
                    <a:pt x="1039" y="329"/>
                  </a:lnTo>
                  <a:lnTo>
                    <a:pt x="1041" y="331"/>
                  </a:lnTo>
                  <a:lnTo>
                    <a:pt x="1045" y="331"/>
                  </a:lnTo>
                  <a:lnTo>
                    <a:pt x="1045" y="335"/>
                  </a:lnTo>
                  <a:lnTo>
                    <a:pt x="1051" y="339"/>
                  </a:lnTo>
                  <a:lnTo>
                    <a:pt x="1051" y="339"/>
                  </a:lnTo>
                  <a:lnTo>
                    <a:pt x="1051" y="335"/>
                  </a:lnTo>
                  <a:lnTo>
                    <a:pt x="1054" y="337"/>
                  </a:lnTo>
                  <a:lnTo>
                    <a:pt x="1056" y="335"/>
                  </a:lnTo>
                  <a:lnTo>
                    <a:pt x="1060" y="335"/>
                  </a:lnTo>
                  <a:lnTo>
                    <a:pt x="1060" y="339"/>
                  </a:lnTo>
                  <a:lnTo>
                    <a:pt x="1060" y="344"/>
                  </a:lnTo>
                  <a:lnTo>
                    <a:pt x="1060" y="348"/>
                  </a:lnTo>
                  <a:lnTo>
                    <a:pt x="1056" y="354"/>
                  </a:lnTo>
                  <a:lnTo>
                    <a:pt x="1056" y="356"/>
                  </a:lnTo>
                  <a:lnTo>
                    <a:pt x="1060" y="361"/>
                  </a:lnTo>
                  <a:lnTo>
                    <a:pt x="1060" y="365"/>
                  </a:lnTo>
                  <a:lnTo>
                    <a:pt x="1060" y="369"/>
                  </a:lnTo>
                  <a:lnTo>
                    <a:pt x="1056" y="371"/>
                  </a:lnTo>
                  <a:lnTo>
                    <a:pt x="1051" y="375"/>
                  </a:lnTo>
                  <a:lnTo>
                    <a:pt x="1049" y="377"/>
                  </a:lnTo>
                  <a:lnTo>
                    <a:pt x="1047" y="378"/>
                  </a:lnTo>
                  <a:lnTo>
                    <a:pt x="1043" y="384"/>
                  </a:lnTo>
                  <a:lnTo>
                    <a:pt x="1043" y="386"/>
                  </a:lnTo>
                  <a:lnTo>
                    <a:pt x="1039" y="390"/>
                  </a:lnTo>
                  <a:lnTo>
                    <a:pt x="1037" y="390"/>
                  </a:lnTo>
                  <a:lnTo>
                    <a:pt x="1037" y="395"/>
                  </a:lnTo>
                  <a:lnTo>
                    <a:pt x="1041" y="395"/>
                  </a:lnTo>
                  <a:lnTo>
                    <a:pt x="1041" y="399"/>
                  </a:lnTo>
                  <a:lnTo>
                    <a:pt x="1037" y="399"/>
                  </a:lnTo>
                  <a:lnTo>
                    <a:pt x="1036" y="403"/>
                  </a:lnTo>
                  <a:lnTo>
                    <a:pt x="1037" y="405"/>
                  </a:lnTo>
                  <a:lnTo>
                    <a:pt x="1036" y="409"/>
                  </a:lnTo>
                  <a:lnTo>
                    <a:pt x="1034" y="412"/>
                  </a:lnTo>
                  <a:lnTo>
                    <a:pt x="1036" y="416"/>
                  </a:lnTo>
                  <a:lnTo>
                    <a:pt x="1039" y="416"/>
                  </a:lnTo>
                  <a:lnTo>
                    <a:pt x="1039" y="420"/>
                  </a:lnTo>
                  <a:lnTo>
                    <a:pt x="1041" y="420"/>
                  </a:lnTo>
                  <a:lnTo>
                    <a:pt x="1043" y="420"/>
                  </a:lnTo>
                  <a:lnTo>
                    <a:pt x="1045" y="418"/>
                  </a:lnTo>
                  <a:lnTo>
                    <a:pt x="1045" y="416"/>
                  </a:lnTo>
                  <a:lnTo>
                    <a:pt x="1047" y="418"/>
                  </a:lnTo>
                  <a:lnTo>
                    <a:pt x="1049" y="418"/>
                  </a:lnTo>
                  <a:lnTo>
                    <a:pt x="1051" y="412"/>
                  </a:lnTo>
                  <a:lnTo>
                    <a:pt x="1054" y="414"/>
                  </a:lnTo>
                  <a:lnTo>
                    <a:pt x="1051" y="420"/>
                  </a:lnTo>
                  <a:lnTo>
                    <a:pt x="1049" y="420"/>
                  </a:lnTo>
                  <a:lnTo>
                    <a:pt x="1049" y="420"/>
                  </a:lnTo>
                  <a:lnTo>
                    <a:pt x="1049" y="424"/>
                  </a:lnTo>
                  <a:lnTo>
                    <a:pt x="1051" y="425"/>
                  </a:lnTo>
                  <a:lnTo>
                    <a:pt x="1051" y="429"/>
                  </a:lnTo>
                  <a:lnTo>
                    <a:pt x="1056" y="429"/>
                  </a:lnTo>
                  <a:lnTo>
                    <a:pt x="1056" y="429"/>
                  </a:lnTo>
                  <a:lnTo>
                    <a:pt x="1062" y="429"/>
                  </a:lnTo>
                  <a:lnTo>
                    <a:pt x="1064" y="429"/>
                  </a:lnTo>
                  <a:lnTo>
                    <a:pt x="1068" y="425"/>
                  </a:lnTo>
                  <a:lnTo>
                    <a:pt x="1068" y="424"/>
                  </a:lnTo>
                  <a:lnTo>
                    <a:pt x="1069" y="424"/>
                  </a:lnTo>
                  <a:lnTo>
                    <a:pt x="1071" y="420"/>
                  </a:lnTo>
                  <a:lnTo>
                    <a:pt x="1071" y="424"/>
                  </a:lnTo>
                  <a:lnTo>
                    <a:pt x="1071" y="425"/>
                  </a:lnTo>
                  <a:lnTo>
                    <a:pt x="1071" y="425"/>
                  </a:lnTo>
                  <a:lnTo>
                    <a:pt x="1073" y="425"/>
                  </a:lnTo>
                  <a:lnTo>
                    <a:pt x="1075" y="420"/>
                  </a:lnTo>
                  <a:lnTo>
                    <a:pt x="1079" y="420"/>
                  </a:lnTo>
                  <a:lnTo>
                    <a:pt x="1079" y="420"/>
                  </a:lnTo>
                  <a:lnTo>
                    <a:pt x="1079" y="425"/>
                  </a:lnTo>
                  <a:lnTo>
                    <a:pt x="1073" y="431"/>
                  </a:lnTo>
                  <a:lnTo>
                    <a:pt x="1071" y="433"/>
                  </a:lnTo>
                  <a:lnTo>
                    <a:pt x="1071" y="437"/>
                  </a:lnTo>
                  <a:lnTo>
                    <a:pt x="1075" y="439"/>
                  </a:lnTo>
                  <a:lnTo>
                    <a:pt x="1079" y="441"/>
                  </a:lnTo>
                  <a:lnTo>
                    <a:pt x="1081" y="441"/>
                  </a:lnTo>
                  <a:lnTo>
                    <a:pt x="1081" y="442"/>
                  </a:lnTo>
                  <a:lnTo>
                    <a:pt x="1084" y="442"/>
                  </a:lnTo>
                  <a:lnTo>
                    <a:pt x="1086" y="439"/>
                  </a:lnTo>
                  <a:lnTo>
                    <a:pt x="1090" y="439"/>
                  </a:lnTo>
                  <a:lnTo>
                    <a:pt x="1088" y="441"/>
                  </a:lnTo>
                  <a:lnTo>
                    <a:pt x="1090" y="444"/>
                  </a:lnTo>
                  <a:lnTo>
                    <a:pt x="1092" y="444"/>
                  </a:lnTo>
                  <a:lnTo>
                    <a:pt x="1096" y="446"/>
                  </a:lnTo>
                  <a:lnTo>
                    <a:pt x="1098" y="444"/>
                  </a:lnTo>
                  <a:lnTo>
                    <a:pt x="1096" y="442"/>
                  </a:lnTo>
                  <a:lnTo>
                    <a:pt x="1096" y="439"/>
                  </a:lnTo>
                  <a:lnTo>
                    <a:pt x="1100" y="437"/>
                  </a:lnTo>
                  <a:lnTo>
                    <a:pt x="1100" y="439"/>
                  </a:lnTo>
                  <a:lnTo>
                    <a:pt x="1100" y="442"/>
                  </a:lnTo>
                  <a:lnTo>
                    <a:pt x="1100" y="446"/>
                  </a:lnTo>
                  <a:lnTo>
                    <a:pt x="1101" y="446"/>
                  </a:lnTo>
                  <a:lnTo>
                    <a:pt x="1103" y="442"/>
                  </a:lnTo>
                  <a:lnTo>
                    <a:pt x="1105" y="441"/>
                  </a:lnTo>
                  <a:lnTo>
                    <a:pt x="1105" y="441"/>
                  </a:lnTo>
                  <a:lnTo>
                    <a:pt x="1105" y="442"/>
                  </a:lnTo>
                  <a:lnTo>
                    <a:pt x="1105" y="444"/>
                  </a:lnTo>
                  <a:lnTo>
                    <a:pt x="1105" y="446"/>
                  </a:lnTo>
                  <a:lnTo>
                    <a:pt x="1109" y="446"/>
                  </a:lnTo>
                  <a:lnTo>
                    <a:pt x="1111" y="444"/>
                  </a:lnTo>
                  <a:lnTo>
                    <a:pt x="1115" y="439"/>
                  </a:lnTo>
                  <a:lnTo>
                    <a:pt x="1115" y="442"/>
                  </a:lnTo>
                  <a:lnTo>
                    <a:pt x="1115" y="444"/>
                  </a:lnTo>
                  <a:lnTo>
                    <a:pt x="1115" y="446"/>
                  </a:lnTo>
                  <a:lnTo>
                    <a:pt x="1118" y="446"/>
                  </a:lnTo>
                  <a:lnTo>
                    <a:pt x="1120" y="441"/>
                  </a:lnTo>
                  <a:lnTo>
                    <a:pt x="1120" y="439"/>
                  </a:lnTo>
                  <a:lnTo>
                    <a:pt x="1120" y="446"/>
                  </a:lnTo>
                  <a:lnTo>
                    <a:pt x="1120" y="450"/>
                  </a:lnTo>
                  <a:lnTo>
                    <a:pt x="1124" y="450"/>
                  </a:lnTo>
                  <a:lnTo>
                    <a:pt x="1130" y="450"/>
                  </a:lnTo>
                  <a:lnTo>
                    <a:pt x="1133" y="450"/>
                  </a:lnTo>
                  <a:lnTo>
                    <a:pt x="1135" y="450"/>
                  </a:lnTo>
                  <a:lnTo>
                    <a:pt x="1135" y="454"/>
                  </a:lnTo>
                  <a:lnTo>
                    <a:pt x="1139" y="450"/>
                  </a:lnTo>
                  <a:lnTo>
                    <a:pt x="1143" y="450"/>
                  </a:lnTo>
                  <a:lnTo>
                    <a:pt x="1143" y="446"/>
                  </a:lnTo>
                  <a:lnTo>
                    <a:pt x="1147" y="442"/>
                  </a:lnTo>
                  <a:lnTo>
                    <a:pt x="1147" y="441"/>
                  </a:lnTo>
                  <a:lnTo>
                    <a:pt x="1145" y="437"/>
                  </a:lnTo>
                  <a:lnTo>
                    <a:pt x="1147" y="433"/>
                  </a:lnTo>
                  <a:lnTo>
                    <a:pt x="1148" y="433"/>
                  </a:lnTo>
                  <a:lnTo>
                    <a:pt x="1148" y="439"/>
                  </a:lnTo>
                  <a:lnTo>
                    <a:pt x="1150" y="439"/>
                  </a:lnTo>
                  <a:lnTo>
                    <a:pt x="1152" y="441"/>
                  </a:lnTo>
                  <a:lnTo>
                    <a:pt x="1148" y="442"/>
                  </a:lnTo>
                  <a:lnTo>
                    <a:pt x="1147" y="448"/>
                  </a:lnTo>
                  <a:lnTo>
                    <a:pt x="1147" y="454"/>
                  </a:lnTo>
                  <a:lnTo>
                    <a:pt x="1147" y="454"/>
                  </a:lnTo>
                  <a:lnTo>
                    <a:pt x="1147" y="454"/>
                  </a:lnTo>
                  <a:lnTo>
                    <a:pt x="1147" y="454"/>
                  </a:lnTo>
                  <a:close/>
                  <a:moveTo>
                    <a:pt x="1022" y="288"/>
                  </a:moveTo>
                  <a:lnTo>
                    <a:pt x="1024" y="286"/>
                  </a:lnTo>
                  <a:lnTo>
                    <a:pt x="1024" y="284"/>
                  </a:lnTo>
                  <a:lnTo>
                    <a:pt x="1022" y="284"/>
                  </a:lnTo>
                  <a:lnTo>
                    <a:pt x="1020" y="286"/>
                  </a:lnTo>
                  <a:lnTo>
                    <a:pt x="1022" y="288"/>
                  </a:lnTo>
                  <a:lnTo>
                    <a:pt x="1022" y="288"/>
                  </a:lnTo>
                  <a:lnTo>
                    <a:pt x="1022" y="288"/>
                  </a:lnTo>
                  <a:lnTo>
                    <a:pt x="1022" y="288"/>
                  </a:lnTo>
                  <a:close/>
                  <a:moveTo>
                    <a:pt x="1015" y="311"/>
                  </a:moveTo>
                  <a:lnTo>
                    <a:pt x="1017" y="307"/>
                  </a:lnTo>
                  <a:lnTo>
                    <a:pt x="1019" y="305"/>
                  </a:lnTo>
                  <a:lnTo>
                    <a:pt x="1019" y="307"/>
                  </a:lnTo>
                  <a:lnTo>
                    <a:pt x="1017" y="311"/>
                  </a:lnTo>
                  <a:lnTo>
                    <a:pt x="1015" y="311"/>
                  </a:lnTo>
                  <a:lnTo>
                    <a:pt x="1015" y="311"/>
                  </a:lnTo>
                  <a:lnTo>
                    <a:pt x="1015" y="311"/>
                  </a:lnTo>
                  <a:lnTo>
                    <a:pt x="1015" y="311"/>
                  </a:lnTo>
                  <a:close/>
                  <a:moveTo>
                    <a:pt x="926" y="344"/>
                  </a:moveTo>
                  <a:lnTo>
                    <a:pt x="924" y="344"/>
                  </a:lnTo>
                  <a:lnTo>
                    <a:pt x="926" y="344"/>
                  </a:lnTo>
                  <a:lnTo>
                    <a:pt x="926" y="344"/>
                  </a:lnTo>
                  <a:lnTo>
                    <a:pt x="926" y="344"/>
                  </a:lnTo>
                  <a:lnTo>
                    <a:pt x="926" y="344"/>
                  </a:lnTo>
                  <a:lnTo>
                    <a:pt x="926" y="344"/>
                  </a:lnTo>
                  <a:lnTo>
                    <a:pt x="926" y="344"/>
                  </a:lnTo>
                  <a:close/>
                  <a:moveTo>
                    <a:pt x="983" y="286"/>
                  </a:moveTo>
                  <a:lnTo>
                    <a:pt x="983" y="288"/>
                  </a:lnTo>
                  <a:lnTo>
                    <a:pt x="985" y="292"/>
                  </a:lnTo>
                  <a:lnTo>
                    <a:pt x="987" y="294"/>
                  </a:lnTo>
                  <a:lnTo>
                    <a:pt x="988" y="292"/>
                  </a:lnTo>
                  <a:lnTo>
                    <a:pt x="987" y="288"/>
                  </a:lnTo>
                  <a:lnTo>
                    <a:pt x="985" y="286"/>
                  </a:lnTo>
                  <a:lnTo>
                    <a:pt x="983" y="286"/>
                  </a:lnTo>
                  <a:lnTo>
                    <a:pt x="983" y="286"/>
                  </a:lnTo>
                  <a:lnTo>
                    <a:pt x="983" y="286"/>
                  </a:lnTo>
                  <a:lnTo>
                    <a:pt x="983" y="286"/>
                  </a:lnTo>
                  <a:close/>
                  <a:moveTo>
                    <a:pt x="956" y="288"/>
                  </a:moveTo>
                  <a:lnTo>
                    <a:pt x="956" y="290"/>
                  </a:lnTo>
                  <a:lnTo>
                    <a:pt x="958" y="292"/>
                  </a:lnTo>
                  <a:lnTo>
                    <a:pt x="960" y="290"/>
                  </a:lnTo>
                  <a:lnTo>
                    <a:pt x="964" y="288"/>
                  </a:lnTo>
                  <a:lnTo>
                    <a:pt x="968" y="290"/>
                  </a:lnTo>
                  <a:lnTo>
                    <a:pt x="972" y="286"/>
                  </a:lnTo>
                  <a:lnTo>
                    <a:pt x="973" y="286"/>
                  </a:lnTo>
                  <a:lnTo>
                    <a:pt x="977" y="284"/>
                  </a:lnTo>
                  <a:lnTo>
                    <a:pt x="975" y="282"/>
                  </a:lnTo>
                  <a:lnTo>
                    <a:pt x="972" y="282"/>
                  </a:lnTo>
                  <a:lnTo>
                    <a:pt x="968" y="284"/>
                  </a:lnTo>
                  <a:lnTo>
                    <a:pt x="968" y="284"/>
                  </a:lnTo>
                  <a:lnTo>
                    <a:pt x="964" y="286"/>
                  </a:lnTo>
                  <a:lnTo>
                    <a:pt x="964" y="286"/>
                  </a:lnTo>
                  <a:lnTo>
                    <a:pt x="962" y="284"/>
                  </a:lnTo>
                  <a:lnTo>
                    <a:pt x="958" y="286"/>
                  </a:lnTo>
                  <a:lnTo>
                    <a:pt x="956" y="288"/>
                  </a:lnTo>
                  <a:lnTo>
                    <a:pt x="956" y="288"/>
                  </a:lnTo>
                  <a:lnTo>
                    <a:pt x="956" y="288"/>
                  </a:lnTo>
                  <a:lnTo>
                    <a:pt x="956" y="288"/>
                  </a:lnTo>
                  <a:close/>
                  <a:moveTo>
                    <a:pt x="926" y="297"/>
                  </a:moveTo>
                  <a:lnTo>
                    <a:pt x="924" y="296"/>
                  </a:lnTo>
                  <a:lnTo>
                    <a:pt x="919" y="296"/>
                  </a:lnTo>
                  <a:lnTo>
                    <a:pt x="917" y="294"/>
                  </a:lnTo>
                  <a:lnTo>
                    <a:pt x="917" y="288"/>
                  </a:lnTo>
                  <a:lnTo>
                    <a:pt x="917" y="286"/>
                  </a:lnTo>
                  <a:lnTo>
                    <a:pt x="919" y="282"/>
                  </a:lnTo>
                  <a:lnTo>
                    <a:pt x="917" y="280"/>
                  </a:lnTo>
                  <a:lnTo>
                    <a:pt x="919" y="277"/>
                  </a:lnTo>
                  <a:lnTo>
                    <a:pt x="923" y="277"/>
                  </a:lnTo>
                  <a:lnTo>
                    <a:pt x="926" y="277"/>
                  </a:lnTo>
                  <a:lnTo>
                    <a:pt x="926" y="277"/>
                  </a:lnTo>
                  <a:lnTo>
                    <a:pt x="928" y="277"/>
                  </a:lnTo>
                  <a:lnTo>
                    <a:pt x="930" y="280"/>
                  </a:lnTo>
                  <a:lnTo>
                    <a:pt x="926" y="280"/>
                  </a:lnTo>
                  <a:lnTo>
                    <a:pt x="926" y="282"/>
                  </a:lnTo>
                  <a:lnTo>
                    <a:pt x="928" y="282"/>
                  </a:lnTo>
                  <a:lnTo>
                    <a:pt x="932" y="282"/>
                  </a:lnTo>
                  <a:lnTo>
                    <a:pt x="930" y="284"/>
                  </a:lnTo>
                  <a:lnTo>
                    <a:pt x="930" y="286"/>
                  </a:lnTo>
                  <a:lnTo>
                    <a:pt x="930" y="290"/>
                  </a:lnTo>
                  <a:lnTo>
                    <a:pt x="932" y="294"/>
                  </a:lnTo>
                  <a:lnTo>
                    <a:pt x="930" y="297"/>
                  </a:lnTo>
                  <a:lnTo>
                    <a:pt x="926" y="297"/>
                  </a:lnTo>
                  <a:lnTo>
                    <a:pt x="926" y="297"/>
                  </a:lnTo>
                  <a:lnTo>
                    <a:pt x="926" y="297"/>
                  </a:lnTo>
                  <a:lnTo>
                    <a:pt x="926" y="297"/>
                  </a:lnTo>
                  <a:close/>
                  <a:moveTo>
                    <a:pt x="923" y="311"/>
                  </a:moveTo>
                  <a:lnTo>
                    <a:pt x="930" y="311"/>
                  </a:lnTo>
                  <a:lnTo>
                    <a:pt x="932" y="311"/>
                  </a:lnTo>
                  <a:lnTo>
                    <a:pt x="936" y="305"/>
                  </a:lnTo>
                  <a:lnTo>
                    <a:pt x="932" y="301"/>
                  </a:lnTo>
                  <a:lnTo>
                    <a:pt x="928" y="301"/>
                  </a:lnTo>
                  <a:lnTo>
                    <a:pt x="924" y="299"/>
                  </a:lnTo>
                  <a:lnTo>
                    <a:pt x="919" y="299"/>
                  </a:lnTo>
                  <a:lnTo>
                    <a:pt x="917" y="299"/>
                  </a:lnTo>
                  <a:lnTo>
                    <a:pt x="913" y="299"/>
                  </a:lnTo>
                  <a:lnTo>
                    <a:pt x="913" y="301"/>
                  </a:lnTo>
                  <a:lnTo>
                    <a:pt x="911" y="301"/>
                  </a:lnTo>
                  <a:lnTo>
                    <a:pt x="909" y="305"/>
                  </a:lnTo>
                  <a:lnTo>
                    <a:pt x="911" y="305"/>
                  </a:lnTo>
                  <a:lnTo>
                    <a:pt x="911" y="305"/>
                  </a:lnTo>
                  <a:lnTo>
                    <a:pt x="913" y="307"/>
                  </a:lnTo>
                  <a:lnTo>
                    <a:pt x="917" y="311"/>
                  </a:lnTo>
                  <a:lnTo>
                    <a:pt x="917" y="311"/>
                  </a:lnTo>
                  <a:lnTo>
                    <a:pt x="923" y="311"/>
                  </a:lnTo>
                  <a:lnTo>
                    <a:pt x="923" y="311"/>
                  </a:lnTo>
                  <a:lnTo>
                    <a:pt x="923" y="311"/>
                  </a:lnTo>
                  <a:lnTo>
                    <a:pt x="923" y="311"/>
                  </a:lnTo>
                  <a:close/>
                  <a:moveTo>
                    <a:pt x="909" y="316"/>
                  </a:moveTo>
                  <a:lnTo>
                    <a:pt x="917" y="318"/>
                  </a:lnTo>
                  <a:lnTo>
                    <a:pt x="923" y="316"/>
                  </a:lnTo>
                  <a:lnTo>
                    <a:pt x="924" y="316"/>
                  </a:lnTo>
                  <a:lnTo>
                    <a:pt x="924" y="318"/>
                  </a:lnTo>
                  <a:lnTo>
                    <a:pt x="928" y="316"/>
                  </a:lnTo>
                  <a:lnTo>
                    <a:pt x="932" y="316"/>
                  </a:lnTo>
                  <a:lnTo>
                    <a:pt x="932" y="314"/>
                  </a:lnTo>
                  <a:lnTo>
                    <a:pt x="928" y="312"/>
                  </a:lnTo>
                  <a:lnTo>
                    <a:pt x="923" y="314"/>
                  </a:lnTo>
                  <a:lnTo>
                    <a:pt x="917" y="314"/>
                  </a:lnTo>
                  <a:lnTo>
                    <a:pt x="917" y="312"/>
                  </a:lnTo>
                  <a:lnTo>
                    <a:pt x="911" y="312"/>
                  </a:lnTo>
                  <a:lnTo>
                    <a:pt x="909" y="314"/>
                  </a:lnTo>
                  <a:lnTo>
                    <a:pt x="909" y="316"/>
                  </a:lnTo>
                  <a:lnTo>
                    <a:pt x="909" y="316"/>
                  </a:lnTo>
                  <a:lnTo>
                    <a:pt x="909" y="316"/>
                  </a:lnTo>
                  <a:lnTo>
                    <a:pt x="909" y="316"/>
                  </a:lnTo>
                  <a:close/>
                  <a:moveTo>
                    <a:pt x="908" y="326"/>
                  </a:moveTo>
                  <a:lnTo>
                    <a:pt x="911" y="326"/>
                  </a:lnTo>
                  <a:lnTo>
                    <a:pt x="913" y="324"/>
                  </a:lnTo>
                  <a:lnTo>
                    <a:pt x="917" y="322"/>
                  </a:lnTo>
                  <a:lnTo>
                    <a:pt x="924" y="320"/>
                  </a:lnTo>
                  <a:lnTo>
                    <a:pt x="926" y="320"/>
                  </a:lnTo>
                  <a:lnTo>
                    <a:pt x="928" y="320"/>
                  </a:lnTo>
                  <a:lnTo>
                    <a:pt x="932" y="320"/>
                  </a:lnTo>
                  <a:lnTo>
                    <a:pt x="932" y="322"/>
                  </a:lnTo>
                  <a:lnTo>
                    <a:pt x="928" y="324"/>
                  </a:lnTo>
                  <a:lnTo>
                    <a:pt x="926" y="324"/>
                  </a:lnTo>
                  <a:lnTo>
                    <a:pt x="923" y="326"/>
                  </a:lnTo>
                  <a:lnTo>
                    <a:pt x="923" y="328"/>
                  </a:lnTo>
                  <a:lnTo>
                    <a:pt x="917" y="329"/>
                  </a:lnTo>
                  <a:lnTo>
                    <a:pt x="913" y="328"/>
                  </a:lnTo>
                  <a:lnTo>
                    <a:pt x="911" y="328"/>
                  </a:lnTo>
                  <a:lnTo>
                    <a:pt x="909" y="328"/>
                  </a:lnTo>
                  <a:lnTo>
                    <a:pt x="908" y="328"/>
                  </a:lnTo>
                  <a:lnTo>
                    <a:pt x="908" y="326"/>
                  </a:lnTo>
                  <a:lnTo>
                    <a:pt x="908" y="326"/>
                  </a:lnTo>
                  <a:lnTo>
                    <a:pt x="908" y="326"/>
                  </a:lnTo>
                  <a:lnTo>
                    <a:pt x="908" y="326"/>
                  </a:lnTo>
                  <a:close/>
                  <a:moveTo>
                    <a:pt x="821" y="213"/>
                  </a:moveTo>
                  <a:lnTo>
                    <a:pt x="819" y="213"/>
                  </a:lnTo>
                  <a:lnTo>
                    <a:pt x="821" y="211"/>
                  </a:lnTo>
                  <a:lnTo>
                    <a:pt x="825" y="211"/>
                  </a:lnTo>
                  <a:lnTo>
                    <a:pt x="823" y="213"/>
                  </a:lnTo>
                  <a:lnTo>
                    <a:pt x="821" y="213"/>
                  </a:lnTo>
                  <a:lnTo>
                    <a:pt x="821" y="213"/>
                  </a:lnTo>
                  <a:lnTo>
                    <a:pt x="821" y="213"/>
                  </a:lnTo>
                  <a:lnTo>
                    <a:pt x="821" y="213"/>
                  </a:lnTo>
                  <a:close/>
                  <a:moveTo>
                    <a:pt x="796" y="226"/>
                  </a:moveTo>
                  <a:lnTo>
                    <a:pt x="800" y="226"/>
                  </a:lnTo>
                  <a:lnTo>
                    <a:pt x="800" y="222"/>
                  </a:lnTo>
                  <a:lnTo>
                    <a:pt x="806" y="226"/>
                  </a:lnTo>
                  <a:lnTo>
                    <a:pt x="810" y="226"/>
                  </a:lnTo>
                  <a:lnTo>
                    <a:pt x="812" y="226"/>
                  </a:lnTo>
                  <a:lnTo>
                    <a:pt x="812" y="228"/>
                  </a:lnTo>
                  <a:lnTo>
                    <a:pt x="813" y="230"/>
                  </a:lnTo>
                  <a:lnTo>
                    <a:pt x="812" y="233"/>
                  </a:lnTo>
                  <a:lnTo>
                    <a:pt x="810" y="235"/>
                  </a:lnTo>
                  <a:lnTo>
                    <a:pt x="806" y="233"/>
                  </a:lnTo>
                  <a:lnTo>
                    <a:pt x="804" y="233"/>
                  </a:lnTo>
                  <a:lnTo>
                    <a:pt x="800" y="230"/>
                  </a:lnTo>
                  <a:lnTo>
                    <a:pt x="800" y="226"/>
                  </a:lnTo>
                  <a:lnTo>
                    <a:pt x="796" y="226"/>
                  </a:lnTo>
                  <a:lnTo>
                    <a:pt x="796" y="226"/>
                  </a:lnTo>
                  <a:lnTo>
                    <a:pt x="796" y="226"/>
                  </a:lnTo>
                  <a:lnTo>
                    <a:pt x="796" y="226"/>
                  </a:lnTo>
                  <a:lnTo>
                    <a:pt x="796" y="226"/>
                  </a:lnTo>
                  <a:lnTo>
                    <a:pt x="796" y="226"/>
                  </a:lnTo>
                  <a:close/>
                  <a:moveTo>
                    <a:pt x="668" y="231"/>
                  </a:moveTo>
                  <a:lnTo>
                    <a:pt x="663" y="231"/>
                  </a:lnTo>
                  <a:lnTo>
                    <a:pt x="663" y="230"/>
                  </a:lnTo>
                  <a:lnTo>
                    <a:pt x="663" y="228"/>
                  </a:lnTo>
                  <a:lnTo>
                    <a:pt x="668" y="230"/>
                  </a:lnTo>
                  <a:lnTo>
                    <a:pt x="668" y="231"/>
                  </a:lnTo>
                  <a:lnTo>
                    <a:pt x="668" y="231"/>
                  </a:lnTo>
                  <a:lnTo>
                    <a:pt x="668" y="231"/>
                  </a:lnTo>
                  <a:lnTo>
                    <a:pt x="668" y="231"/>
                  </a:lnTo>
                  <a:lnTo>
                    <a:pt x="668" y="231"/>
                  </a:lnTo>
                  <a:close/>
                  <a:moveTo>
                    <a:pt x="680" y="250"/>
                  </a:moveTo>
                  <a:lnTo>
                    <a:pt x="685" y="247"/>
                  </a:lnTo>
                  <a:lnTo>
                    <a:pt x="685" y="250"/>
                  </a:lnTo>
                  <a:lnTo>
                    <a:pt x="680" y="250"/>
                  </a:lnTo>
                  <a:lnTo>
                    <a:pt x="680" y="250"/>
                  </a:lnTo>
                  <a:lnTo>
                    <a:pt x="680" y="250"/>
                  </a:lnTo>
                  <a:lnTo>
                    <a:pt x="680" y="250"/>
                  </a:lnTo>
                  <a:lnTo>
                    <a:pt x="680" y="250"/>
                  </a:lnTo>
                  <a:lnTo>
                    <a:pt x="680" y="250"/>
                  </a:lnTo>
                  <a:close/>
                  <a:moveTo>
                    <a:pt x="687" y="247"/>
                  </a:moveTo>
                  <a:lnTo>
                    <a:pt x="689" y="243"/>
                  </a:lnTo>
                  <a:lnTo>
                    <a:pt x="689" y="241"/>
                  </a:lnTo>
                  <a:lnTo>
                    <a:pt x="691" y="237"/>
                  </a:lnTo>
                  <a:lnTo>
                    <a:pt x="693" y="235"/>
                  </a:lnTo>
                  <a:lnTo>
                    <a:pt x="693" y="233"/>
                  </a:lnTo>
                  <a:lnTo>
                    <a:pt x="697" y="231"/>
                  </a:lnTo>
                  <a:lnTo>
                    <a:pt x="700" y="233"/>
                  </a:lnTo>
                  <a:lnTo>
                    <a:pt x="700" y="235"/>
                  </a:lnTo>
                  <a:lnTo>
                    <a:pt x="697" y="237"/>
                  </a:lnTo>
                  <a:lnTo>
                    <a:pt x="693" y="243"/>
                  </a:lnTo>
                  <a:lnTo>
                    <a:pt x="697" y="247"/>
                  </a:lnTo>
                  <a:lnTo>
                    <a:pt x="693" y="247"/>
                  </a:lnTo>
                  <a:lnTo>
                    <a:pt x="693" y="250"/>
                  </a:lnTo>
                  <a:lnTo>
                    <a:pt x="693" y="252"/>
                  </a:lnTo>
                  <a:lnTo>
                    <a:pt x="697" y="250"/>
                  </a:lnTo>
                  <a:lnTo>
                    <a:pt x="697" y="250"/>
                  </a:lnTo>
                  <a:lnTo>
                    <a:pt x="697" y="252"/>
                  </a:lnTo>
                  <a:lnTo>
                    <a:pt x="700" y="254"/>
                  </a:lnTo>
                  <a:lnTo>
                    <a:pt x="704" y="250"/>
                  </a:lnTo>
                  <a:lnTo>
                    <a:pt x="708" y="247"/>
                  </a:lnTo>
                  <a:lnTo>
                    <a:pt x="710" y="247"/>
                  </a:lnTo>
                  <a:lnTo>
                    <a:pt x="712" y="243"/>
                  </a:lnTo>
                  <a:lnTo>
                    <a:pt x="712" y="241"/>
                  </a:lnTo>
                  <a:lnTo>
                    <a:pt x="714" y="241"/>
                  </a:lnTo>
                  <a:lnTo>
                    <a:pt x="717" y="237"/>
                  </a:lnTo>
                  <a:lnTo>
                    <a:pt x="717" y="231"/>
                  </a:lnTo>
                  <a:lnTo>
                    <a:pt x="717" y="231"/>
                  </a:lnTo>
                  <a:lnTo>
                    <a:pt x="717" y="231"/>
                  </a:lnTo>
                  <a:lnTo>
                    <a:pt x="717" y="235"/>
                  </a:lnTo>
                  <a:lnTo>
                    <a:pt x="717" y="237"/>
                  </a:lnTo>
                  <a:lnTo>
                    <a:pt x="717" y="243"/>
                  </a:lnTo>
                  <a:lnTo>
                    <a:pt x="721" y="247"/>
                  </a:lnTo>
                  <a:lnTo>
                    <a:pt x="721" y="247"/>
                  </a:lnTo>
                  <a:lnTo>
                    <a:pt x="725" y="243"/>
                  </a:lnTo>
                  <a:lnTo>
                    <a:pt x="725" y="237"/>
                  </a:lnTo>
                  <a:lnTo>
                    <a:pt x="727" y="237"/>
                  </a:lnTo>
                  <a:lnTo>
                    <a:pt x="731" y="235"/>
                  </a:lnTo>
                  <a:lnTo>
                    <a:pt x="732" y="230"/>
                  </a:lnTo>
                  <a:lnTo>
                    <a:pt x="732" y="226"/>
                  </a:lnTo>
                  <a:lnTo>
                    <a:pt x="732" y="222"/>
                  </a:lnTo>
                  <a:lnTo>
                    <a:pt x="734" y="218"/>
                  </a:lnTo>
                  <a:lnTo>
                    <a:pt x="736" y="222"/>
                  </a:lnTo>
                  <a:lnTo>
                    <a:pt x="742" y="218"/>
                  </a:lnTo>
                  <a:lnTo>
                    <a:pt x="746" y="213"/>
                  </a:lnTo>
                  <a:lnTo>
                    <a:pt x="746" y="211"/>
                  </a:lnTo>
                  <a:lnTo>
                    <a:pt x="749" y="211"/>
                  </a:lnTo>
                  <a:lnTo>
                    <a:pt x="751" y="209"/>
                  </a:lnTo>
                  <a:lnTo>
                    <a:pt x="751" y="211"/>
                  </a:lnTo>
                  <a:lnTo>
                    <a:pt x="755" y="209"/>
                  </a:lnTo>
                  <a:lnTo>
                    <a:pt x="757" y="209"/>
                  </a:lnTo>
                  <a:lnTo>
                    <a:pt x="755" y="216"/>
                  </a:lnTo>
                  <a:lnTo>
                    <a:pt x="751" y="220"/>
                  </a:lnTo>
                  <a:lnTo>
                    <a:pt x="751" y="226"/>
                  </a:lnTo>
                  <a:lnTo>
                    <a:pt x="749" y="226"/>
                  </a:lnTo>
                  <a:lnTo>
                    <a:pt x="748" y="228"/>
                  </a:lnTo>
                  <a:lnTo>
                    <a:pt x="746" y="230"/>
                  </a:lnTo>
                  <a:lnTo>
                    <a:pt x="740" y="237"/>
                  </a:lnTo>
                  <a:lnTo>
                    <a:pt x="740" y="241"/>
                  </a:lnTo>
                  <a:lnTo>
                    <a:pt x="742" y="243"/>
                  </a:lnTo>
                  <a:lnTo>
                    <a:pt x="742" y="247"/>
                  </a:lnTo>
                  <a:lnTo>
                    <a:pt x="742" y="247"/>
                  </a:lnTo>
                  <a:lnTo>
                    <a:pt x="748" y="247"/>
                  </a:lnTo>
                  <a:lnTo>
                    <a:pt x="749" y="247"/>
                  </a:lnTo>
                  <a:lnTo>
                    <a:pt x="751" y="243"/>
                  </a:lnTo>
                  <a:lnTo>
                    <a:pt x="755" y="241"/>
                  </a:lnTo>
                  <a:lnTo>
                    <a:pt x="755" y="237"/>
                  </a:lnTo>
                  <a:lnTo>
                    <a:pt x="755" y="235"/>
                  </a:lnTo>
                  <a:lnTo>
                    <a:pt x="757" y="231"/>
                  </a:lnTo>
                  <a:lnTo>
                    <a:pt x="761" y="231"/>
                  </a:lnTo>
                  <a:lnTo>
                    <a:pt x="763" y="231"/>
                  </a:lnTo>
                  <a:lnTo>
                    <a:pt x="764" y="233"/>
                  </a:lnTo>
                  <a:lnTo>
                    <a:pt x="768" y="233"/>
                  </a:lnTo>
                  <a:lnTo>
                    <a:pt x="770" y="231"/>
                  </a:lnTo>
                  <a:lnTo>
                    <a:pt x="776" y="230"/>
                  </a:lnTo>
                  <a:lnTo>
                    <a:pt x="776" y="228"/>
                  </a:lnTo>
                  <a:lnTo>
                    <a:pt x="780" y="220"/>
                  </a:lnTo>
                  <a:lnTo>
                    <a:pt x="781" y="216"/>
                  </a:lnTo>
                  <a:lnTo>
                    <a:pt x="781" y="213"/>
                  </a:lnTo>
                  <a:lnTo>
                    <a:pt x="785" y="211"/>
                  </a:lnTo>
                  <a:lnTo>
                    <a:pt x="787" y="216"/>
                  </a:lnTo>
                  <a:lnTo>
                    <a:pt x="789" y="216"/>
                  </a:lnTo>
                  <a:lnTo>
                    <a:pt x="791" y="213"/>
                  </a:lnTo>
                  <a:lnTo>
                    <a:pt x="791" y="213"/>
                  </a:lnTo>
                  <a:lnTo>
                    <a:pt x="787" y="207"/>
                  </a:lnTo>
                  <a:lnTo>
                    <a:pt x="787" y="203"/>
                  </a:lnTo>
                  <a:lnTo>
                    <a:pt x="791" y="199"/>
                  </a:lnTo>
                  <a:lnTo>
                    <a:pt x="795" y="199"/>
                  </a:lnTo>
                  <a:lnTo>
                    <a:pt x="798" y="198"/>
                  </a:lnTo>
                  <a:lnTo>
                    <a:pt x="800" y="199"/>
                  </a:lnTo>
                  <a:lnTo>
                    <a:pt x="804" y="198"/>
                  </a:lnTo>
                  <a:lnTo>
                    <a:pt x="806" y="194"/>
                  </a:lnTo>
                  <a:lnTo>
                    <a:pt x="806" y="192"/>
                  </a:lnTo>
                  <a:lnTo>
                    <a:pt x="806" y="183"/>
                  </a:lnTo>
                  <a:lnTo>
                    <a:pt x="806" y="183"/>
                  </a:lnTo>
                  <a:lnTo>
                    <a:pt x="806" y="181"/>
                  </a:lnTo>
                  <a:lnTo>
                    <a:pt x="806" y="177"/>
                  </a:lnTo>
                  <a:lnTo>
                    <a:pt x="800" y="173"/>
                  </a:lnTo>
                  <a:lnTo>
                    <a:pt x="800" y="177"/>
                  </a:lnTo>
                  <a:lnTo>
                    <a:pt x="795" y="179"/>
                  </a:lnTo>
                  <a:lnTo>
                    <a:pt x="795" y="183"/>
                  </a:lnTo>
                  <a:lnTo>
                    <a:pt x="795" y="186"/>
                  </a:lnTo>
                  <a:lnTo>
                    <a:pt x="795" y="188"/>
                  </a:lnTo>
                  <a:lnTo>
                    <a:pt x="793" y="188"/>
                  </a:lnTo>
                  <a:lnTo>
                    <a:pt x="791" y="186"/>
                  </a:lnTo>
                  <a:lnTo>
                    <a:pt x="789" y="186"/>
                  </a:lnTo>
                  <a:lnTo>
                    <a:pt x="789" y="186"/>
                  </a:lnTo>
                  <a:lnTo>
                    <a:pt x="787" y="188"/>
                  </a:lnTo>
                  <a:lnTo>
                    <a:pt x="785" y="186"/>
                  </a:lnTo>
                  <a:lnTo>
                    <a:pt x="785" y="183"/>
                  </a:lnTo>
                  <a:lnTo>
                    <a:pt x="781" y="179"/>
                  </a:lnTo>
                  <a:lnTo>
                    <a:pt x="780" y="179"/>
                  </a:lnTo>
                  <a:lnTo>
                    <a:pt x="780" y="181"/>
                  </a:lnTo>
                  <a:lnTo>
                    <a:pt x="776" y="179"/>
                  </a:lnTo>
                  <a:lnTo>
                    <a:pt x="772" y="179"/>
                  </a:lnTo>
                  <a:lnTo>
                    <a:pt x="768" y="179"/>
                  </a:lnTo>
                  <a:lnTo>
                    <a:pt x="761" y="177"/>
                  </a:lnTo>
                  <a:lnTo>
                    <a:pt x="757" y="181"/>
                  </a:lnTo>
                  <a:lnTo>
                    <a:pt x="755" y="183"/>
                  </a:lnTo>
                  <a:lnTo>
                    <a:pt x="755" y="186"/>
                  </a:lnTo>
                  <a:lnTo>
                    <a:pt x="751" y="183"/>
                  </a:lnTo>
                  <a:lnTo>
                    <a:pt x="751" y="183"/>
                  </a:lnTo>
                  <a:lnTo>
                    <a:pt x="742" y="192"/>
                  </a:lnTo>
                  <a:lnTo>
                    <a:pt x="738" y="194"/>
                  </a:lnTo>
                  <a:lnTo>
                    <a:pt x="736" y="194"/>
                  </a:lnTo>
                  <a:lnTo>
                    <a:pt x="731" y="198"/>
                  </a:lnTo>
                  <a:lnTo>
                    <a:pt x="727" y="198"/>
                  </a:lnTo>
                  <a:lnTo>
                    <a:pt x="727" y="199"/>
                  </a:lnTo>
                  <a:lnTo>
                    <a:pt x="725" y="203"/>
                  </a:lnTo>
                  <a:lnTo>
                    <a:pt x="717" y="203"/>
                  </a:lnTo>
                  <a:lnTo>
                    <a:pt x="717" y="203"/>
                  </a:lnTo>
                  <a:lnTo>
                    <a:pt x="714" y="203"/>
                  </a:lnTo>
                  <a:lnTo>
                    <a:pt x="712" y="205"/>
                  </a:lnTo>
                  <a:lnTo>
                    <a:pt x="708" y="205"/>
                  </a:lnTo>
                  <a:lnTo>
                    <a:pt x="702" y="211"/>
                  </a:lnTo>
                  <a:lnTo>
                    <a:pt x="700" y="213"/>
                  </a:lnTo>
                  <a:lnTo>
                    <a:pt x="693" y="211"/>
                  </a:lnTo>
                  <a:lnTo>
                    <a:pt x="691" y="213"/>
                  </a:lnTo>
                  <a:lnTo>
                    <a:pt x="682" y="213"/>
                  </a:lnTo>
                  <a:lnTo>
                    <a:pt x="678" y="218"/>
                  </a:lnTo>
                  <a:lnTo>
                    <a:pt x="676" y="218"/>
                  </a:lnTo>
                  <a:lnTo>
                    <a:pt x="672" y="220"/>
                  </a:lnTo>
                  <a:lnTo>
                    <a:pt x="668" y="226"/>
                  </a:lnTo>
                  <a:lnTo>
                    <a:pt x="672" y="226"/>
                  </a:lnTo>
                  <a:lnTo>
                    <a:pt x="672" y="226"/>
                  </a:lnTo>
                  <a:lnTo>
                    <a:pt x="672" y="226"/>
                  </a:lnTo>
                  <a:lnTo>
                    <a:pt x="668" y="228"/>
                  </a:lnTo>
                  <a:lnTo>
                    <a:pt x="672" y="230"/>
                  </a:lnTo>
                  <a:lnTo>
                    <a:pt x="672" y="233"/>
                  </a:lnTo>
                  <a:lnTo>
                    <a:pt x="667" y="235"/>
                  </a:lnTo>
                  <a:lnTo>
                    <a:pt x="667" y="237"/>
                  </a:lnTo>
                  <a:lnTo>
                    <a:pt x="668" y="237"/>
                  </a:lnTo>
                  <a:lnTo>
                    <a:pt x="672" y="237"/>
                  </a:lnTo>
                  <a:lnTo>
                    <a:pt x="676" y="233"/>
                  </a:lnTo>
                  <a:lnTo>
                    <a:pt x="678" y="233"/>
                  </a:lnTo>
                  <a:lnTo>
                    <a:pt x="682" y="235"/>
                  </a:lnTo>
                  <a:lnTo>
                    <a:pt x="684" y="237"/>
                  </a:lnTo>
                  <a:lnTo>
                    <a:pt x="684" y="243"/>
                  </a:lnTo>
                  <a:lnTo>
                    <a:pt x="687" y="247"/>
                  </a:lnTo>
                  <a:lnTo>
                    <a:pt x="687" y="247"/>
                  </a:lnTo>
                  <a:lnTo>
                    <a:pt x="687" y="247"/>
                  </a:lnTo>
                  <a:lnTo>
                    <a:pt x="687" y="247"/>
                  </a:lnTo>
                  <a:close/>
                  <a:moveTo>
                    <a:pt x="1039" y="454"/>
                  </a:moveTo>
                  <a:lnTo>
                    <a:pt x="1039" y="450"/>
                  </a:lnTo>
                  <a:lnTo>
                    <a:pt x="1045" y="454"/>
                  </a:lnTo>
                  <a:lnTo>
                    <a:pt x="1045" y="454"/>
                  </a:lnTo>
                  <a:lnTo>
                    <a:pt x="1043" y="458"/>
                  </a:lnTo>
                  <a:lnTo>
                    <a:pt x="1041" y="454"/>
                  </a:lnTo>
                  <a:lnTo>
                    <a:pt x="1039" y="454"/>
                  </a:lnTo>
                  <a:lnTo>
                    <a:pt x="1039" y="454"/>
                  </a:lnTo>
                  <a:lnTo>
                    <a:pt x="1039" y="454"/>
                  </a:lnTo>
                  <a:lnTo>
                    <a:pt x="1039" y="454"/>
                  </a:lnTo>
                  <a:close/>
                  <a:moveTo>
                    <a:pt x="998" y="371"/>
                  </a:moveTo>
                  <a:lnTo>
                    <a:pt x="996" y="369"/>
                  </a:lnTo>
                  <a:lnTo>
                    <a:pt x="992" y="369"/>
                  </a:lnTo>
                  <a:lnTo>
                    <a:pt x="990" y="371"/>
                  </a:lnTo>
                  <a:lnTo>
                    <a:pt x="992" y="371"/>
                  </a:lnTo>
                  <a:lnTo>
                    <a:pt x="996" y="373"/>
                  </a:lnTo>
                  <a:lnTo>
                    <a:pt x="996" y="373"/>
                  </a:lnTo>
                  <a:lnTo>
                    <a:pt x="990" y="375"/>
                  </a:lnTo>
                  <a:lnTo>
                    <a:pt x="988" y="375"/>
                  </a:lnTo>
                  <a:lnTo>
                    <a:pt x="990" y="378"/>
                  </a:lnTo>
                  <a:lnTo>
                    <a:pt x="992" y="380"/>
                  </a:lnTo>
                  <a:lnTo>
                    <a:pt x="992" y="380"/>
                  </a:lnTo>
                  <a:lnTo>
                    <a:pt x="987" y="380"/>
                  </a:lnTo>
                  <a:lnTo>
                    <a:pt x="983" y="380"/>
                  </a:lnTo>
                  <a:lnTo>
                    <a:pt x="981" y="384"/>
                  </a:lnTo>
                  <a:lnTo>
                    <a:pt x="981" y="388"/>
                  </a:lnTo>
                  <a:lnTo>
                    <a:pt x="977" y="388"/>
                  </a:lnTo>
                  <a:lnTo>
                    <a:pt x="977" y="390"/>
                  </a:lnTo>
                  <a:lnTo>
                    <a:pt x="981" y="390"/>
                  </a:lnTo>
                  <a:lnTo>
                    <a:pt x="981" y="390"/>
                  </a:lnTo>
                  <a:lnTo>
                    <a:pt x="981" y="393"/>
                  </a:lnTo>
                  <a:lnTo>
                    <a:pt x="981" y="395"/>
                  </a:lnTo>
                  <a:lnTo>
                    <a:pt x="981" y="390"/>
                  </a:lnTo>
                  <a:lnTo>
                    <a:pt x="983" y="390"/>
                  </a:lnTo>
                  <a:lnTo>
                    <a:pt x="981" y="395"/>
                  </a:lnTo>
                  <a:lnTo>
                    <a:pt x="981" y="395"/>
                  </a:lnTo>
                  <a:lnTo>
                    <a:pt x="985" y="399"/>
                  </a:lnTo>
                  <a:lnTo>
                    <a:pt x="987" y="399"/>
                  </a:lnTo>
                  <a:lnTo>
                    <a:pt x="987" y="399"/>
                  </a:lnTo>
                  <a:lnTo>
                    <a:pt x="988" y="401"/>
                  </a:lnTo>
                  <a:lnTo>
                    <a:pt x="988" y="401"/>
                  </a:lnTo>
                  <a:lnTo>
                    <a:pt x="990" y="399"/>
                  </a:lnTo>
                  <a:lnTo>
                    <a:pt x="992" y="399"/>
                  </a:lnTo>
                  <a:lnTo>
                    <a:pt x="992" y="405"/>
                  </a:lnTo>
                  <a:lnTo>
                    <a:pt x="992" y="407"/>
                  </a:lnTo>
                  <a:lnTo>
                    <a:pt x="998" y="407"/>
                  </a:lnTo>
                  <a:lnTo>
                    <a:pt x="998" y="410"/>
                  </a:lnTo>
                  <a:lnTo>
                    <a:pt x="1002" y="410"/>
                  </a:lnTo>
                  <a:lnTo>
                    <a:pt x="1005" y="412"/>
                  </a:lnTo>
                  <a:lnTo>
                    <a:pt x="1007" y="412"/>
                  </a:lnTo>
                  <a:lnTo>
                    <a:pt x="1009" y="414"/>
                  </a:lnTo>
                  <a:lnTo>
                    <a:pt x="1011" y="412"/>
                  </a:lnTo>
                  <a:lnTo>
                    <a:pt x="1009" y="410"/>
                  </a:lnTo>
                  <a:lnTo>
                    <a:pt x="1013" y="409"/>
                  </a:lnTo>
                  <a:lnTo>
                    <a:pt x="1015" y="403"/>
                  </a:lnTo>
                  <a:lnTo>
                    <a:pt x="1013" y="399"/>
                  </a:lnTo>
                  <a:lnTo>
                    <a:pt x="1017" y="395"/>
                  </a:lnTo>
                  <a:lnTo>
                    <a:pt x="1019" y="395"/>
                  </a:lnTo>
                  <a:lnTo>
                    <a:pt x="1020" y="388"/>
                  </a:lnTo>
                  <a:lnTo>
                    <a:pt x="1020" y="382"/>
                  </a:lnTo>
                  <a:lnTo>
                    <a:pt x="1020" y="382"/>
                  </a:lnTo>
                  <a:lnTo>
                    <a:pt x="1020" y="378"/>
                  </a:lnTo>
                  <a:lnTo>
                    <a:pt x="1017" y="375"/>
                  </a:lnTo>
                  <a:lnTo>
                    <a:pt x="1017" y="371"/>
                  </a:lnTo>
                  <a:lnTo>
                    <a:pt x="1015" y="369"/>
                  </a:lnTo>
                  <a:lnTo>
                    <a:pt x="1015" y="365"/>
                  </a:lnTo>
                  <a:lnTo>
                    <a:pt x="1009" y="365"/>
                  </a:lnTo>
                  <a:lnTo>
                    <a:pt x="1005" y="365"/>
                  </a:lnTo>
                  <a:lnTo>
                    <a:pt x="1002" y="365"/>
                  </a:lnTo>
                  <a:lnTo>
                    <a:pt x="998" y="365"/>
                  </a:lnTo>
                  <a:lnTo>
                    <a:pt x="998" y="369"/>
                  </a:lnTo>
                  <a:lnTo>
                    <a:pt x="998" y="369"/>
                  </a:lnTo>
                  <a:lnTo>
                    <a:pt x="998" y="371"/>
                  </a:lnTo>
                  <a:lnTo>
                    <a:pt x="998" y="371"/>
                  </a:lnTo>
                  <a:lnTo>
                    <a:pt x="998" y="371"/>
                  </a:lnTo>
                  <a:lnTo>
                    <a:pt x="998" y="371"/>
                  </a:lnTo>
                  <a:lnTo>
                    <a:pt x="998" y="371"/>
                  </a:lnTo>
                  <a:close/>
                  <a:moveTo>
                    <a:pt x="1022" y="344"/>
                  </a:moveTo>
                  <a:lnTo>
                    <a:pt x="1020" y="341"/>
                  </a:lnTo>
                  <a:lnTo>
                    <a:pt x="1020" y="339"/>
                  </a:lnTo>
                  <a:lnTo>
                    <a:pt x="1024" y="339"/>
                  </a:lnTo>
                  <a:lnTo>
                    <a:pt x="1024" y="339"/>
                  </a:lnTo>
                  <a:lnTo>
                    <a:pt x="1022" y="344"/>
                  </a:lnTo>
                  <a:lnTo>
                    <a:pt x="1022" y="344"/>
                  </a:lnTo>
                  <a:lnTo>
                    <a:pt x="1022" y="344"/>
                  </a:lnTo>
                  <a:lnTo>
                    <a:pt x="1022" y="344"/>
                  </a:lnTo>
                  <a:close/>
                  <a:moveTo>
                    <a:pt x="1019" y="361"/>
                  </a:moveTo>
                  <a:lnTo>
                    <a:pt x="1017" y="360"/>
                  </a:lnTo>
                  <a:lnTo>
                    <a:pt x="1015" y="356"/>
                  </a:lnTo>
                  <a:lnTo>
                    <a:pt x="1017" y="356"/>
                  </a:lnTo>
                  <a:lnTo>
                    <a:pt x="1017" y="354"/>
                  </a:lnTo>
                  <a:lnTo>
                    <a:pt x="1017" y="350"/>
                  </a:lnTo>
                  <a:lnTo>
                    <a:pt x="1019" y="348"/>
                  </a:lnTo>
                  <a:lnTo>
                    <a:pt x="1024" y="348"/>
                  </a:lnTo>
                  <a:lnTo>
                    <a:pt x="1020" y="356"/>
                  </a:lnTo>
                  <a:lnTo>
                    <a:pt x="1019" y="361"/>
                  </a:lnTo>
                  <a:lnTo>
                    <a:pt x="1019" y="361"/>
                  </a:lnTo>
                  <a:lnTo>
                    <a:pt x="1019" y="361"/>
                  </a:lnTo>
                  <a:lnTo>
                    <a:pt x="1019" y="361"/>
                  </a:lnTo>
                  <a:lnTo>
                    <a:pt x="1019" y="361"/>
                  </a:lnTo>
                  <a:lnTo>
                    <a:pt x="1019" y="361"/>
                  </a:lnTo>
                  <a:close/>
                  <a:moveTo>
                    <a:pt x="992" y="354"/>
                  </a:moveTo>
                  <a:lnTo>
                    <a:pt x="990" y="352"/>
                  </a:lnTo>
                  <a:lnTo>
                    <a:pt x="992" y="350"/>
                  </a:lnTo>
                  <a:lnTo>
                    <a:pt x="996" y="348"/>
                  </a:lnTo>
                  <a:lnTo>
                    <a:pt x="998" y="350"/>
                  </a:lnTo>
                  <a:lnTo>
                    <a:pt x="996" y="352"/>
                  </a:lnTo>
                  <a:lnTo>
                    <a:pt x="992" y="352"/>
                  </a:lnTo>
                  <a:lnTo>
                    <a:pt x="992" y="354"/>
                  </a:lnTo>
                  <a:lnTo>
                    <a:pt x="992" y="354"/>
                  </a:lnTo>
                  <a:lnTo>
                    <a:pt x="992" y="354"/>
                  </a:lnTo>
                  <a:lnTo>
                    <a:pt x="992" y="354"/>
                  </a:lnTo>
                  <a:close/>
                  <a:moveTo>
                    <a:pt x="985" y="356"/>
                  </a:moveTo>
                  <a:lnTo>
                    <a:pt x="985" y="356"/>
                  </a:lnTo>
                  <a:lnTo>
                    <a:pt x="987" y="356"/>
                  </a:lnTo>
                  <a:lnTo>
                    <a:pt x="988" y="356"/>
                  </a:lnTo>
                  <a:lnTo>
                    <a:pt x="987" y="356"/>
                  </a:lnTo>
                  <a:lnTo>
                    <a:pt x="985" y="356"/>
                  </a:lnTo>
                  <a:lnTo>
                    <a:pt x="985" y="356"/>
                  </a:lnTo>
                  <a:lnTo>
                    <a:pt x="985" y="356"/>
                  </a:lnTo>
                  <a:lnTo>
                    <a:pt x="985" y="356"/>
                  </a:lnTo>
                  <a:close/>
                  <a:moveTo>
                    <a:pt x="990" y="365"/>
                  </a:moveTo>
                  <a:lnTo>
                    <a:pt x="992" y="365"/>
                  </a:lnTo>
                  <a:lnTo>
                    <a:pt x="990" y="363"/>
                  </a:lnTo>
                  <a:lnTo>
                    <a:pt x="990" y="360"/>
                  </a:lnTo>
                  <a:lnTo>
                    <a:pt x="992" y="360"/>
                  </a:lnTo>
                  <a:lnTo>
                    <a:pt x="992" y="361"/>
                  </a:lnTo>
                  <a:lnTo>
                    <a:pt x="996" y="363"/>
                  </a:lnTo>
                  <a:lnTo>
                    <a:pt x="992" y="365"/>
                  </a:lnTo>
                  <a:lnTo>
                    <a:pt x="990" y="365"/>
                  </a:lnTo>
                  <a:lnTo>
                    <a:pt x="990" y="365"/>
                  </a:lnTo>
                  <a:lnTo>
                    <a:pt x="990" y="365"/>
                  </a:lnTo>
                  <a:lnTo>
                    <a:pt x="990" y="365"/>
                  </a:lnTo>
                  <a:close/>
                  <a:moveTo>
                    <a:pt x="983" y="369"/>
                  </a:moveTo>
                  <a:lnTo>
                    <a:pt x="981" y="369"/>
                  </a:lnTo>
                  <a:lnTo>
                    <a:pt x="981" y="363"/>
                  </a:lnTo>
                  <a:lnTo>
                    <a:pt x="981" y="363"/>
                  </a:lnTo>
                  <a:lnTo>
                    <a:pt x="983" y="361"/>
                  </a:lnTo>
                  <a:lnTo>
                    <a:pt x="985" y="361"/>
                  </a:lnTo>
                  <a:lnTo>
                    <a:pt x="988" y="363"/>
                  </a:lnTo>
                  <a:lnTo>
                    <a:pt x="988" y="363"/>
                  </a:lnTo>
                  <a:lnTo>
                    <a:pt x="988" y="365"/>
                  </a:lnTo>
                  <a:lnTo>
                    <a:pt x="988" y="365"/>
                  </a:lnTo>
                  <a:lnTo>
                    <a:pt x="985" y="369"/>
                  </a:lnTo>
                  <a:lnTo>
                    <a:pt x="985" y="369"/>
                  </a:lnTo>
                  <a:lnTo>
                    <a:pt x="983" y="369"/>
                  </a:lnTo>
                  <a:lnTo>
                    <a:pt x="983" y="369"/>
                  </a:lnTo>
                  <a:lnTo>
                    <a:pt x="983" y="369"/>
                  </a:lnTo>
                  <a:lnTo>
                    <a:pt x="983" y="369"/>
                  </a:lnTo>
                  <a:close/>
                  <a:moveTo>
                    <a:pt x="973" y="371"/>
                  </a:moveTo>
                  <a:lnTo>
                    <a:pt x="972" y="369"/>
                  </a:lnTo>
                  <a:lnTo>
                    <a:pt x="973" y="369"/>
                  </a:lnTo>
                  <a:lnTo>
                    <a:pt x="975" y="369"/>
                  </a:lnTo>
                  <a:lnTo>
                    <a:pt x="973" y="371"/>
                  </a:lnTo>
                  <a:lnTo>
                    <a:pt x="973" y="371"/>
                  </a:lnTo>
                  <a:lnTo>
                    <a:pt x="973" y="371"/>
                  </a:lnTo>
                  <a:lnTo>
                    <a:pt x="973" y="371"/>
                  </a:lnTo>
                  <a:lnTo>
                    <a:pt x="973" y="371"/>
                  </a:lnTo>
                  <a:close/>
                  <a:moveTo>
                    <a:pt x="936" y="377"/>
                  </a:moveTo>
                  <a:lnTo>
                    <a:pt x="934" y="375"/>
                  </a:lnTo>
                  <a:lnTo>
                    <a:pt x="930" y="375"/>
                  </a:lnTo>
                  <a:lnTo>
                    <a:pt x="928" y="373"/>
                  </a:lnTo>
                  <a:lnTo>
                    <a:pt x="928" y="369"/>
                  </a:lnTo>
                  <a:lnTo>
                    <a:pt x="930" y="369"/>
                  </a:lnTo>
                  <a:lnTo>
                    <a:pt x="928" y="365"/>
                  </a:lnTo>
                  <a:lnTo>
                    <a:pt x="930" y="363"/>
                  </a:lnTo>
                  <a:lnTo>
                    <a:pt x="932" y="363"/>
                  </a:lnTo>
                  <a:lnTo>
                    <a:pt x="934" y="365"/>
                  </a:lnTo>
                  <a:lnTo>
                    <a:pt x="936" y="365"/>
                  </a:lnTo>
                  <a:lnTo>
                    <a:pt x="934" y="363"/>
                  </a:lnTo>
                  <a:lnTo>
                    <a:pt x="934" y="360"/>
                  </a:lnTo>
                  <a:lnTo>
                    <a:pt x="932" y="360"/>
                  </a:lnTo>
                  <a:lnTo>
                    <a:pt x="930" y="356"/>
                  </a:lnTo>
                  <a:lnTo>
                    <a:pt x="930" y="356"/>
                  </a:lnTo>
                  <a:lnTo>
                    <a:pt x="928" y="354"/>
                  </a:lnTo>
                  <a:lnTo>
                    <a:pt x="930" y="354"/>
                  </a:lnTo>
                  <a:lnTo>
                    <a:pt x="932" y="356"/>
                  </a:lnTo>
                  <a:lnTo>
                    <a:pt x="934" y="354"/>
                  </a:lnTo>
                  <a:lnTo>
                    <a:pt x="932" y="352"/>
                  </a:lnTo>
                  <a:lnTo>
                    <a:pt x="936" y="352"/>
                  </a:lnTo>
                  <a:lnTo>
                    <a:pt x="938" y="352"/>
                  </a:lnTo>
                  <a:lnTo>
                    <a:pt x="943" y="354"/>
                  </a:lnTo>
                  <a:lnTo>
                    <a:pt x="943" y="352"/>
                  </a:lnTo>
                  <a:lnTo>
                    <a:pt x="943" y="350"/>
                  </a:lnTo>
                  <a:lnTo>
                    <a:pt x="941" y="350"/>
                  </a:lnTo>
                  <a:lnTo>
                    <a:pt x="943" y="350"/>
                  </a:lnTo>
                  <a:lnTo>
                    <a:pt x="947" y="350"/>
                  </a:lnTo>
                  <a:lnTo>
                    <a:pt x="951" y="346"/>
                  </a:lnTo>
                  <a:lnTo>
                    <a:pt x="955" y="346"/>
                  </a:lnTo>
                  <a:lnTo>
                    <a:pt x="960" y="348"/>
                  </a:lnTo>
                  <a:lnTo>
                    <a:pt x="962" y="346"/>
                  </a:lnTo>
                  <a:lnTo>
                    <a:pt x="960" y="344"/>
                  </a:lnTo>
                  <a:lnTo>
                    <a:pt x="947" y="341"/>
                  </a:lnTo>
                  <a:lnTo>
                    <a:pt x="943" y="341"/>
                  </a:lnTo>
                  <a:lnTo>
                    <a:pt x="940" y="341"/>
                  </a:lnTo>
                  <a:lnTo>
                    <a:pt x="934" y="341"/>
                  </a:lnTo>
                  <a:lnTo>
                    <a:pt x="930" y="339"/>
                  </a:lnTo>
                  <a:lnTo>
                    <a:pt x="928" y="339"/>
                  </a:lnTo>
                  <a:lnTo>
                    <a:pt x="924" y="339"/>
                  </a:lnTo>
                  <a:lnTo>
                    <a:pt x="923" y="339"/>
                  </a:lnTo>
                  <a:lnTo>
                    <a:pt x="923" y="339"/>
                  </a:lnTo>
                  <a:lnTo>
                    <a:pt x="919" y="339"/>
                  </a:lnTo>
                  <a:lnTo>
                    <a:pt x="917" y="339"/>
                  </a:lnTo>
                  <a:lnTo>
                    <a:pt x="913" y="337"/>
                  </a:lnTo>
                  <a:lnTo>
                    <a:pt x="913" y="335"/>
                  </a:lnTo>
                  <a:lnTo>
                    <a:pt x="917" y="335"/>
                  </a:lnTo>
                  <a:lnTo>
                    <a:pt x="919" y="331"/>
                  </a:lnTo>
                  <a:lnTo>
                    <a:pt x="923" y="335"/>
                  </a:lnTo>
                  <a:lnTo>
                    <a:pt x="924" y="331"/>
                  </a:lnTo>
                  <a:lnTo>
                    <a:pt x="923" y="331"/>
                  </a:lnTo>
                  <a:lnTo>
                    <a:pt x="923" y="329"/>
                  </a:lnTo>
                  <a:lnTo>
                    <a:pt x="926" y="328"/>
                  </a:lnTo>
                  <a:lnTo>
                    <a:pt x="930" y="328"/>
                  </a:lnTo>
                  <a:lnTo>
                    <a:pt x="932" y="326"/>
                  </a:lnTo>
                  <a:lnTo>
                    <a:pt x="932" y="329"/>
                  </a:lnTo>
                  <a:lnTo>
                    <a:pt x="934" y="331"/>
                  </a:lnTo>
                  <a:lnTo>
                    <a:pt x="934" y="335"/>
                  </a:lnTo>
                  <a:lnTo>
                    <a:pt x="936" y="335"/>
                  </a:lnTo>
                  <a:lnTo>
                    <a:pt x="938" y="335"/>
                  </a:lnTo>
                  <a:lnTo>
                    <a:pt x="936" y="331"/>
                  </a:lnTo>
                  <a:lnTo>
                    <a:pt x="934" y="328"/>
                  </a:lnTo>
                  <a:lnTo>
                    <a:pt x="936" y="326"/>
                  </a:lnTo>
                  <a:lnTo>
                    <a:pt x="940" y="324"/>
                  </a:lnTo>
                  <a:lnTo>
                    <a:pt x="940" y="322"/>
                  </a:lnTo>
                  <a:lnTo>
                    <a:pt x="938" y="320"/>
                  </a:lnTo>
                  <a:lnTo>
                    <a:pt x="938" y="314"/>
                  </a:lnTo>
                  <a:lnTo>
                    <a:pt x="941" y="314"/>
                  </a:lnTo>
                  <a:lnTo>
                    <a:pt x="943" y="311"/>
                  </a:lnTo>
                  <a:lnTo>
                    <a:pt x="947" y="311"/>
                  </a:lnTo>
                  <a:lnTo>
                    <a:pt x="943" y="307"/>
                  </a:lnTo>
                  <a:lnTo>
                    <a:pt x="943" y="307"/>
                  </a:lnTo>
                  <a:lnTo>
                    <a:pt x="941" y="307"/>
                  </a:lnTo>
                  <a:lnTo>
                    <a:pt x="941" y="305"/>
                  </a:lnTo>
                  <a:lnTo>
                    <a:pt x="943" y="301"/>
                  </a:lnTo>
                  <a:lnTo>
                    <a:pt x="943" y="301"/>
                  </a:lnTo>
                  <a:lnTo>
                    <a:pt x="947" y="299"/>
                  </a:lnTo>
                  <a:lnTo>
                    <a:pt x="949" y="301"/>
                  </a:lnTo>
                  <a:lnTo>
                    <a:pt x="951" y="305"/>
                  </a:lnTo>
                  <a:lnTo>
                    <a:pt x="953" y="305"/>
                  </a:lnTo>
                  <a:lnTo>
                    <a:pt x="953" y="311"/>
                  </a:lnTo>
                  <a:lnTo>
                    <a:pt x="951" y="311"/>
                  </a:lnTo>
                  <a:lnTo>
                    <a:pt x="953" y="312"/>
                  </a:lnTo>
                  <a:lnTo>
                    <a:pt x="955" y="314"/>
                  </a:lnTo>
                  <a:lnTo>
                    <a:pt x="956" y="326"/>
                  </a:lnTo>
                  <a:lnTo>
                    <a:pt x="955" y="329"/>
                  </a:lnTo>
                  <a:lnTo>
                    <a:pt x="955" y="331"/>
                  </a:lnTo>
                  <a:lnTo>
                    <a:pt x="958" y="331"/>
                  </a:lnTo>
                  <a:lnTo>
                    <a:pt x="962" y="329"/>
                  </a:lnTo>
                  <a:lnTo>
                    <a:pt x="960" y="328"/>
                  </a:lnTo>
                  <a:lnTo>
                    <a:pt x="962" y="322"/>
                  </a:lnTo>
                  <a:lnTo>
                    <a:pt x="964" y="322"/>
                  </a:lnTo>
                  <a:lnTo>
                    <a:pt x="964" y="318"/>
                  </a:lnTo>
                  <a:lnTo>
                    <a:pt x="958" y="314"/>
                  </a:lnTo>
                  <a:lnTo>
                    <a:pt x="960" y="312"/>
                  </a:lnTo>
                  <a:lnTo>
                    <a:pt x="962" y="312"/>
                  </a:lnTo>
                  <a:lnTo>
                    <a:pt x="966" y="314"/>
                  </a:lnTo>
                  <a:lnTo>
                    <a:pt x="966" y="311"/>
                  </a:lnTo>
                  <a:lnTo>
                    <a:pt x="962" y="307"/>
                  </a:lnTo>
                  <a:lnTo>
                    <a:pt x="960" y="305"/>
                  </a:lnTo>
                  <a:lnTo>
                    <a:pt x="962" y="301"/>
                  </a:lnTo>
                  <a:lnTo>
                    <a:pt x="962" y="297"/>
                  </a:lnTo>
                  <a:lnTo>
                    <a:pt x="964" y="296"/>
                  </a:lnTo>
                  <a:lnTo>
                    <a:pt x="968" y="296"/>
                  </a:lnTo>
                  <a:lnTo>
                    <a:pt x="968" y="294"/>
                  </a:lnTo>
                  <a:lnTo>
                    <a:pt x="972" y="294"/>
                  </a:lnTo>
                  <a:lnTo>
                    <a:pt x="972" y="294"/>
                  </a:lnTo>
                  <a:lnTo>
                    <a:pt x="975" y="292"/>
                  </a:lnTo>
                  <a:lnTo>
                    <a:pt x="975" y="292"/>
                  </a:lnTo>
                  <a:lnTo>
                    <a:pt x="977" y="292"/>
                  </a:lnTo>
                  <a:lnTo>
                    <a:pt x="981" y="294"/>
                  </a:lnTo>
                  <a:lnTo>
                    <a:pt x="981" y="296"/>
                  </a:lnTo>
                  <a:lnTo>
                    <a:pt x="985" y="296"/>
                  </a:lnTo>
                  <a:lnTo>
                    <a:pt x="987" y="297"/>
                  </a:lnTo>
                  <a:lnTo>
                    <a:pt x="985" y="305"/>
                  </a:lnTo>
                  <a:lnTo>
                    <a:pt x="983" y="305"/>
                  </a:lnTo>
                  <a:lnTo>
                    <a:pt x="983" y="311"/>
                  </a:lnTo>
                  <a:lnTo>
                    <a:pt x="985" y="311"/>
                  </a:lnTo>
                  <a:lnTo>
                    <a:pt x="987" y="307"/>
                  </a:lnTo>
                  <a:lnTo>
                    <a:pt x="988" y="307"/>
                  </a:lnTo>
                  <a:lnTo>
                    <a:pt x="990" y="305"/>
                  </a:lnTo>
                  <a:lnTo>
                    <a:pt x="990" y="301"/>
                  </a:lnTo>
                  <a:lnTo>
                    <a:pt x="992" y="299"/>
                  </a:lnTo>
                  <a:lnTo>
                    <a:pt x="996" y="301"/>
                  </a:lnTo>
                  <a:lnTo>
                    <a:pt x="998" y="299"/>
                  </a:lnTo>
                  <a:lnTo>
                    <a:pt x="998" y="297"/>
                  </a:lnTo>
                  <a:lnTo>
                    <a:pt x="998" y="296"/>
                  </a:lnTo>
                  <a:lnTo>
                    <a:pt x="998" y="296"/>
                  </a:lnTo>
                  <a:lnTo>
                    <a:pt x="1002" y="297"/>
                  </a:lnTo>
                  <a:lnTo>
                    <a:pt x="1002" y="301"/>
                  </a:lnTo>
                  <a:lnTo>
                    <a:pt x="1002" y="301"/>
                  </a:lnTo>
                  <a:lnTo>
                    <a:pt x="1002" y="305"/>
                  </a:lnTo>
                  <a:lnTo>
                    <a:pt x="998" y="301"/>
                  </a:lnTo>
                  <a:lnTo>
                    <a:pt x="1002" y="305"/>
                  </a:lnTo>
                  <a:lnTo>
                    <a:pt x="1002" y="307"/>
                  </a:lnTo>
                  <a:lnTo>
                    <a:pt x="1005" y="311"/>
                  </a:lnTo>
                  <a:lnTo>
                    <a:pt x="1005" y="314"/>
                  </a:lnTo>
                  <a:lnTo>
                    <a:pt x="1002" y="316"/>
                  </a:lnTo>
                  <a:lnTo>
                    <a:pt x="998" y="322"/>
                  </a:lnTo>
                  <a:lnTo>
                    <a:pt x="998" y="328"/>
                  </a:lnTo>
                  <a:lnTo>
                    <a:pt x="998" y="329"/>
                  </a:lnTo>
                  <a:lnTo>
                    <a:pt x="992" y="331"/>
                  </a:lnTo>
                  <a:lnTo>
                    <a:pt x="990" y="335"/>
                  </a:lnTo>
                  <a:lnTo>
                    <a:pt x="988" y="337"/>
                  </a:lnTo>
                  <a:lnTo>
                    <a:pt x="985" y="341"/>
                  </a:lnTo>
                  <a:lnTo>
                    <a:pt x="985" y="344"/>
                  </a:lnTo>
                  <a:lnTo>
                    <a:pt x="983" y="346"/>
                  </a:lnTo>
                  <a:lnTo>
                    <a:pt x="981" y="346"/>
                  </a:lnTo>
                  <a:lnTo>
                    <a:pt x="981" y="346"/>
                  </a:lnTo>
                  <a:lnTo>
                    <a:pt x="977" y="346"/>
                  </a:lnTo>
                  <a:lnTo>
                    <a:pt x="977" y="348"/>
                  </a:lnTo>
                  <a:lnTo>
                    <a:pt x="981" y="352"/>
                  </a:lnTo>
                  <a:lnTo>
                    <a:pt x="981" y="354"/>
                  </a:lnTo>
                  <a:lnTo>
                    <a:pt x="977" y="360"/>
                  </a:lnTo>
                  <a:lnTo>
                    <a:pt x="975" y="361"/>
                  </a:lnTo>
                  <a:lnTo>
                    <a:pt x="975" y="360"/>
                  </a:lnTo>
                  <a:lnTo>
                    <a:pt x="975" y="356"/>
                  </a:lnTo>
                  <a:lnTo>
                    <a:pt x="972" y="356"/>
                  </a:lnTo>
                  <a:lnTo>
                    <a:pt x="972" y="356"/>
                  </a:lnTo>
                  <a:lnTo>
                    <a:pt x="972" y="360"/>
                  </a:lnTo>
                  <a:lnTo>
                    <a:pt x="968" y="361"/>
                  </a:lnTo>
                  <a:lnTo>
                    <a:pt x="968" y="363"/>
                  </a:lnTo>
                  <a:lnTo>
                    <a:pt x="964" y="365"/>
                  </a:lnTo>
                  <a:lnTo>
                    <a:pt x="962" y="369"/>
                  </a:lnTo>
                  <a:lnTo>
                    <a:pt x="964" y="369"/>
                  </a:lnTo>
                  <a:lnTo>
                    <a:pt x="968" y="369"/>
                  </a:lnTo>
                  <a:lnTo>
                    <a:pt x="968" y="369"/>
                  </a:lnTo>
                  <a:lnTo>
                    <a:pt x="966" y="371"/>
                  </a:lnTo>
                  <a:lnTo>
                    <a:pt x="966" y="373"/>
                  </a:lnTo>
                  <a:lnTo>
                    <a:pt x="966" y="377"/>
                  </a:lnTo>
                  <a:lnTo>
                    <a:pt x="964" y="378"/>
                  </a:lnTo>
                  <a:lnTo>
                    <a:pt x="962" y="375"/>
                  </a:lnTo>
                  <a:lnTo>
                    <a:pt x="962" y="371"/>
                  </a:lnTo>
                  <a:lnTo>
                    <a:pt x="960" y="369"/>
                  </a:lnTo>
                  <a:lnTo>
                    <a:pt x="960" y="371"/>
                  </a:lnTo>
                  <a:lnTo>
                    <a:pt x="958" y="373"/>
                  </a:lnTo>
                  <a:lnTo>
                    <a:pt x="960" y="377"/>
                  </a:lnTo>
                  <a:lnTo>
                    <a:pt x="956" y="380"/>
                  </a:lnTo>
                  <a:lnTo>
                    <a:pt x="947" y="378"/>
                  </a:lnTo>
                  <a:lnTo>
                    <a:pt x="947" y="377"/>
                  </a:lnTo>
                  <a:lnTo>
                    <a:pt x="947" y="375"/>
                  </a:lnTo>
                  <a:lnTo>
                    <a:pt x="943" y="377"/>
                  </a:lnTo>
                  <a:lnTo>
                    <a:pt x="941" y="377"/>
                  </a:lnTo>
                  <a:lnTo>
                    <a:pt x="941" y="375"/>
                  </a:lnTo>
                  <a:lnTo>
                    <a:pt x="943" y="371"/>
                  </a:lnTo>
                  <a:lnTo>
                    <a:pt x="940" y="373"/>
                  </a:lnTo>
                  <a:lnTo>
                    <a:pt x="938" y="375"/>
                  </a:lnTo>
                  <a:lnTo>
                    <a:pt x="936" y="377"/>
                  </a:lnTo>
                  <a:lnTo>
                    <a:pt x="936" y="377"/>
                  </a:lnTo>
                  <a:lnTo>
                    <a:pt x="936" y="377"/>
                  </a:lnTo>
                  <a:lnTo>
                    <a:pt x="936" y="377"/>
                  </a:lnTo>
                  <a:close/>
                  <a:moveTo>
                    <a:pt x="697" y="275"/>
                  </a:moveTo>
                  <a:lnTo>
                    <a:pt x="693" y="275"/>
                  </a:lnTo>
                  <a:lnTo>
                    <a:pt x="697" y="269"/>
                  </a:lnTo>
                  <a:lnTo>
                    <a:pt x="702" y="263"/>
                  </a:lnTo>
                  <a:lnTo>
                    <a:pt x="708" y="262"/>
                  </a:lnTo>
                  <a:lnTo>
                    <a:pt x="712" y="260"/>
                  </a:lnTo>
                  <a:lnTo>
                    <a:pt x="714" y="258"/>
                  </a:lnTo>
                  <a:lnTo>
                    <a:pt x="717" y="254"/>
                  </a:lnTo>
                  <a:lnTo>
                    <a:pt x="725" y="254"/>
                  </a:lnTo>
                  <a:lnTo>
                    <a:pt x="727" y="252"/>
                  </a:lnTo>
                  <a:lnTo>
                    <a:pt x="731" y="252"/>
                  </a:lnTo>
                  <a:lnTo>
                    <a:pt x="734" y="250"/>
                  </a:lnTo>
                  <a:lnTo>
                    <a:pt x="736" y="252"/>
                  </a:lnTo>
                  <a:lnTo>
                    <a:pt x="736" y="254"/>
                  </a:lnTo>
                  <a:lnTo>
                    <a:pt x="731" y="258"/>
                  </a:lnTo>
                  <a:lnTo>
                    <a:pt x="725" y="262"/>
                  </a:lnTo>
                  <a:lnTo>
                    <a:pt x="714" y="271"/>
                  </a:lnTo>
                  <a:lnTo>
                    <a:pt x="710" y="277"/>
                  </a:lnTo>
                  <a:lnTo>
                    <a:pt x="706" y="277"/>
                  </a:lnTo>
                  <a:lnTo>
                    <a:pt x="704" y="277"/>
                  </a:lnTo>
                  <a:lnTo>
                    <a:pt x="702" y="280"/>
                  </a:lnTo>
                  <a:lnTo>
                    <a:pt x="700" y="280"/>
                  </a:lnTo>
                  <a:lnTo>
                    <a:pt x="700" y="275"/>
                  </a:lnTo>
                  <a:lnTo>
                    <a:pt x="697" y="275"/>
                  </a:lnTo>
                  <a:lnTo>
                    <a:pt x="697" y="275"/>
                  </a:lnTo>
                  <a:lnTo>
                    <a:pt x="697" y="275"/>
                  </a:lnTo>
                  <a:lnTo>
                    <a:pt x="697" y="275"/>
                  </a:lnTo>
                  <a:lnTo>
                    <a:pt x="697" y="275"/>
                  </a:lnTo>
                  <a:close/>
                  <a:moveTo>
                    <a:pt x="874" y="350"/>
                  </a:moveTo>
                  <a:lnTo>
                    <a:pt x="872" y="348"/>
                  </a:lnTo>
                  <a:lnTo>
                    <a:pt x="874" y="348"/>
                  </a:lnTo>
                  <a:lnTo>
                    <a:pt x="877" y="346"/>
                  </a:lnTo>
                  <a:lnTo>
                    <a:pt x="879" y="344"/>
                  </a:lnTo>
                  <a:lnTo>
                    <a:pt x="879" y="341"/>
                  </a:lnTo>
                  <a:lnTo>
                    <a:pt x="885" y="339"/>
                  </a:lnTo>
                  <a:lnTo>
                    <a:pt x="885" y="337"/>
                  </a:lnTo>
                  <a:lnTo>
                    <a:pt x="889" y="337"/>
                  </a:lnTo>
                  <a:lnTo>
                    <a:pt x="889" y="341"/>
                  </a:lnTo>
                  <a:lnTo>
                    <a:pt x="889" y="344"/>
                  </a:lnTo>
                  <a:lnTo>
                    <a:pt x="889" y="348"/>
                  </a:lnTo>
                  <a:lnTo>
                    <a:pt x="889" y="352"/>
                  </a:lnTo>
                  <a:lnTo>
                    <a:pt x="885" y="354"/>
                  </a:lnTo>
                  <a:lnTo>
                    <a:pt x="883" y="354"/>
                  </a:lnTo>
                  <a:lnTo>
                    <a:pt x="881" y="356"/>
                  </a:lnTo>
                  <a:lnTo>
                    <a:pt x="877" y="356"/>
                  </a:lnTo>
                  <a:lnTo>
                    <a:pt x="876" y="352"/>
                  </a:lnTo>
                  <a:lnTo>
                    <a:pt x="874" y="350"/>
                  </a:lnTo>
                  <a:lnTo>
                    <a:pt x="874" y="350"/>
                  </a:lnTo>
                  <a:lnTo>
                    <a:pt x="874" y="350"/>
                  </a:lnTo>
                  <a:lnTo>
                    <a:pt x="874" y="350"/>
                  </a:lnTo>
                  <a:close/>
                  <a:moveTo>
                    <a:pt x="731" y="344"/>
                  </a:moveTo>
                  <a:lnTo>
                    <a:pt x="732" y="341"/>
                  </a:lnTo>
                  <a:lnTo>
                    <a:pt x="731" y="337"/>
                  </a:lnTo>
                  <a:lnTo>
                    <a:pt x="732" y="331"/>
                  </a:lnTo>
                  <a:lnTo>
                    <a:pt x="738" y="331"/>
                  </a:lnTo>
                  <a:lnTo>
                    <a:pt x="742" y="331"/>
                  </a:lnTo>
                  <a:lnTo>
                    <a:pt x="748" y="331"/>
                  </a:lnTo>
                  <a:lnTo>
                    <a:pt x="751" y="331"/>
                  </a:lnTo>
                  <a:lnTo>
                    <a:pt x="755" y="331"/>
                  </a:lnTo>
                  <a:lnTo>
                    <a:pt x="759" y="329"/>
                  </a:lnTo>
                  <a:lnTo>
                    <a:pt x="764" y="329"/>
                  </a:lnTo>
                  <a:lnTo>
                    <a:pt x="770" y="331"/>
                  </a:lnTo>
                  <a:lnTo>
                    <a:pt x="776" y="331"/>
                  </a:lnTo>
                  <a:lnTo>
                    <a:pt x="776" y="331"/>
                  </a:lnTo>
                  <a:lnTo>
                    <a:pt x="780" y="329"/>
                  </a:lnTo>
                  <a:lnTo>
                    <a:pt x="789" y="329"/>
                  </a:lnTo>
                  <a:lnTo>
                    <a:pt x="789" y="328"/>
                  </a:lnTo>
                  <a:lnTo>
                    <a:pt x="793" y="326"/>
                  </a:lnTo>
                  <a:lnTo>
                    <a:pt x="791" y="324"/>
                  </a:lnTo>
                  <a:lnTo>
                    <a:pt x="787" y="326"/>
                  </a:lnTo>
                  <a:lnTo>
                    <a:pt x="785" y="326"/>
                  </a:lnTo>
                  <a:lnTo>
                    <a:pt x="781" y="324"/>
                  </a:lnTo>
                  <a:lnTo>
                    <a:pt x="776" y="326"/>
                  </a:lnTo>
                  <a:lnTo>
                    <a:pt x="774" y="326"/>
                  </a:lnTo>
                  <a:lnTo>
                    <a:pt x="774" y="324"/>
                  </a:lnTo>
                  <a:lnTo>
                    <a:pt x="772" y="322"/>
                  </a:lnTo>
                  <a:lnTo>
                    <a:pt x="768" y="324"/>
                  </a:lnTo>
                  <a:lnTo>
                    <a:pt x="764" y="324"/>
                  </a:lnTo>
                  <a:lnTo>
                    <a:pt x="761" y="326"/>
                  </a:lnTo>
                  <a:lnTo>
                    <a:pt x="759" y="324"/>
                  </a:lnTo>
                  <a:lnTo>
                    <a:pt x="755" y="324"/>
                  </a:lnTo>
                  <a:lnTo>
                    <a:pt x="751" y="324"/>
                  </a:lnTo>
                  <a:lnTo>
                    <a:pt x="751" y="320"/>
                  </a:lnTo>
                  <a:lnTo>
                    <a:pt x="755" y="316"/>
                  </a:lnTo>
                  <a:lnTo>
                    <a:pt x="759" y="312"/>
                  </a:lnTo>
                  <a:lnTo>
                    <a:pt x="757" y="312"/>
                  </a:lnTo>
                  <a:lnTo>
                    <a:pt x="755" y="314"/>
                  </a:lnTo>
                  <a:lnTo>
                    <a:pt x="751" y="316"/>
                  </a:lnTo>
                  <a:lnTo>
                    <a:pt x="749" y="312"/>
                  </a:lnTo>
                  <a:lnTo>
                    <a:pt x="748" y="314"/>
                  </a:lnTo>
                  <a:lnTo>
                    <a:pt x="748" y="318"/>
                  </a:lnTo>
                  <a:lnTo>
                    <a:pt x="742" y="322"/>
                  </a:lnTo>
                  <a:lnTo>
                    <a:pt x="740" y="324"/>
                  </a:lnTo>
                  <a:lnTo>
                    <a:pt x="736" y="324"/>
                  </a:lnTo>
                  <a:lnTo>
                    <a:pt x="732" y="322"/>
                  </a:lnTo>
                  <a:lnTo>
                    <a:pt x="732" y="318"/>
                  </a:lnTo>
                  <a:lnTo>
                    <a:pt x="734" y="316"/>
                  </a:lnTo>
                  <a:lnTo>
                    <a:pt x="731" y="316"/>
                  </a:lnTo>
                  <a:lnTo>
                    <a:pt x="731" y="314"/>
                  </a:lnTo>
                  <a:lnTo>
                    <a:pt x="731" y="320"/>
                  </a:lnTo>
                  <a:lnTo>
                    <a:pt x="727" y="322"/>
                  </a:lnTo>
                  <a:lnTo>
                    <a:pt x="725" y="320"/>
                  </a:lnTo>
                  <a:lnTo>
                    <a:pt x="725" y="314"/>
                  </a:lnTo>
                  <a:lnTo>
                    <a:pt x="717" y="312"/>
                  </a:lnTo>
                  <a:lnTo>
                    <a:pt x="721" y="311"/>
                  </a:lnTo>
                  <a:lnTo>
                    <a:pt x="717" y="311"/>
                  </a:lnTo>
                  <a:lnTo>
                    <a:pt x="717" y="312"/>
                  </a:lnTo>
                  <a:lnTo>
                    <a:pt x="716" y="312"/>
                  </a:lnTo>
                  <a:lnTo>
                    <a:pt x="712" y="307"/>
                  </a:lnTo>
                  <a:lnTo>
                    <a:pt x="706" y="301"/>
                  </a:lnTo>
                  <a:lnTo>
                    <a:pt x="706" y="301"/>
                  </a:lnTo>
                  <a:lnTo>
                    <a:pt x="710" y="301"/>
                  </a:lnTo>
                  <a:lnTo>
                    <a:pt x="710" y="297"/>
                  </a:lnTo>
                  <a:lnTo>
                    <a:pt x="708" y="296"/>
                  </a:lnTo>
                  <a:lnTo>
                    <a:pt x="716" y="290"/>
                  </a:lnTo>
                  <a:lnTo>
                    <a:pt x="717" y="290"/>
                  </a:lnTo>
                  <a:lnTo>
                    <a:pt x="721" y="290"/>
                  </a:lnTo>
                  <a:lnTo>
                    <a:pt x="727" y="290"/>
                  </a:lnTo>
                  <a:lnTo>
                    <a:pt x="732" y="294"/>
                  </a:lnTo>
                  <a:lnTo>
                    <a:pt x="736" y="294"/>
                  </a:lnTo>
                  <a:lnTo>
                    <a:pt x="740" y="292"/>
                  </a:lnTo>
                  <a:lnTo>
                    <a:pt x="746" y="292"/>
                  </a:lnTo>
                  <a:lnTo>
                    <a:pt x="749" y="288"/>
                  </a:lnTo>
                  <a:lnTo>
                    <a:pt x="746" y="286"/>
                  </a:lnTo>
                  <a:lnTo>
                    <a:pt x="742" y="284"/>
                  </a:lnTo>
                  <a:lnTo>
                    <a:pt x="740" y="284"/>
                  </a:lnTo>
                  <a:lnTo>
                    <a:pt x="736" y="286"/>
                  </a:lnTo>
                  <a:lnTo>
                    <a:pt x="731" y="282"/>
                  </a:lnTo>
                  <a:lnTo>
                    <a:pt x="727" y="282"/>
                  </a:lnTo>
                  <a:lnTo>
                    <a:pt x="727" y="282"/>
                  </a:lnTo>
                  <a:lnTo>
                    <a:pt x="731" y="277"/>
                  </a:lnTo>
                  <a:lnTo>
                    <a:pt x="734" y="271"/>
                  </a:lnTo>
                  <a:lnTo>
                    <a:pt x="738" y="271"/>
                  </a:lnTo>
                  <a:lnTo>
                    <a:pt x="742" y="271"/>
                  </a:lnTo>
                  <a:lnTo>
                    <a:pt x="749" y="271"/>
                  </a:lnTo>
                  <a:lnTo>
                    <a:pt x="755" y="271"/>
                  </a:lnTo>
                  <a:lnTo>
                    <a:pt x="761" y="271"/>
                  </a:lnTo>
                  <a:lnTo>
                    <a:pt x="763" y="271"/>
                  </a:lnTo>
                  <a:lnTo>
                    <a:pt x="761" y="271"/>
                  </a:lnTo>
                  <a:lnTo>
                    <a:pt x="759" y="271"/>
                  </a:lnTo>
                  <a:lnTo>
                    <a:pt x="755" y="269"/>
                  </a:lnTo>
                  <a:lnTo>
                    <a:pt x="751" y="269"/>
                  </a:lnTo>
                  <a:lnTo>
                    <a:pt x="742" y="265"/>
                  </a:lnTo>
                  <a:lnTo>
                    <a:pt x="742" y="263"/>
                  </a:lnTo>
                  <a:lnTo>
                    <a:pt x="746" y="260"/>
                  </a:lnTo>
                  <a:lnTo>
                    <a:pt x="749" y="256"/>
                  </a:lnTo>
                  <a:lnTo>
                    <a:pt x="751" y="254"/>
                  </a:lnTo>
                  <a:lnTo>
                    <a:pt x="751" y="254"/>
                  </a:lnTo>
                  <a:lnTo>
                    <a:pt x="757" y="252"/>
                  </a:lnTo>
                  <a:lnTo>
                    <a:pt x="761" y="252"/>
                  </a:lnTo>
                  <a:lnTo>
                    <a:pt x="761" y="254"/>
                  </a:lnTo>
                  <a:lnTo>
                    <a:pt x="764" y="254"/>
                  </a:lnTo>
                  <a:lnTo>
                    <a:pt x="768" y="258"/>
                  </a:lnTo>
                  <a:lnTo>
                    <a:pt x="772" y="258"/>
                  </a:lnTo>
                  <a:lnTo>
                    <a:pt x="770" y="254"/>
                  </a:lnTo>
                  <a:lnTo>
                    <a:pt x="766" y="252"/>
                  </a:lnTo>
                  <a:lnTo>
                    <a:pt x="764" y="250"/>
                  </a:lnTo>
                  <a:lnTo>
                    <a:pt x="763" y="247"/>
                  </a:lnTo>
                  <a:lnTo>
                    <a:pt x="766" y="247"/>
                  </a:lnTo>
                  <a:lnTo>
                    <a:pt x="776" y="243"/>
                  </a:lnTo>
                  <a:lnTo>
                    <a:pt x="780" y="243"/>
                  </a:lnTo>
                  <a:lnTo>
                    <a:pt x="785" y="243"/>
                  </a:lnTo>
                  <a:lnTo>
                    <a:pt x="787" y="247"/>
                  </a:lnTo>
                  <a:lnTo>
                    <a:pt x="789" y="252"/>
                  </a:lnTo>
                  <a:lnTo>
                    <a:pt x="787" y="254"/>
                  </a:lnTo>
                  <a:lnTo>
                    <a:pt x="785" y="260"/>
                  </a:lnTo>
                  <a:lnTo>
                    <a:pt x="785" y="262"/>
                  </a:lnTo>
                  <a:lnTo>
                    <a:pt x="793" y="262"/>
                  </a:lnTo>
                  <a:lnTo>
                    <a:pt x="795" y="260"/>
                  </a:lnTo>
                  <a:lnTo>
                    <a:pt x="796" y="262"/>
                  </a:lnTo>
                  <a:lnTo>
                    <a:pt x="800" y="262"/>
                  </a:lnTo>
                  <a:lnTo>
                    <a:pt x="800" y="263"/>
                  </a:lnTo>
                  <a:lnTo>
                    <a:pt x="800" y="267"/>
                  </a:lnTo>
                  <a:lnTo>
                    <a:pt x="804" y="269"/>
                  </a:lnTo>
                  <a:lnTo>
                    <a:pt x="804" y="271"/>
                  </a:lnTo>
                  <a:lnTo>
                    <a:pt x="800" y="271"/>
                  </a:lnTo>
                  <a:lnTo>
                    <a:pt x="800" y="275"/>
                  </a:lnTo>
                  <a:lnTo>
                    <a:pt x="800" y="280"/>
                  </a:lnTo>
                  <a:lnTo>
                    <a:pt x="804" y="286"/>
                  </a:lnTo>
                  <a:lnTo>
                    <a:pt x="800" y="290"/>
                  </a:lnTo>
                  <a:lnTo>
                    <a:pt x="798" y="288"/>
                  </a:lnTo>
                  <a:lnTo>
                    <a:pt x="795" y="290"/>
                  </a:lnTo>
                  <a:lnTo>
                    <a:pt x="795" y="292"/>
                  </a:lnTo>
                  <a:lnTo>
                    <a:pt x="798" y="290"/>
                  </a:lnTo>
                  <a:lnTo>
                    <a:pt x="804" y="292"/>
                  </a:lnTo>
                  <a:lnTo>
                    <a:pt x="806" y="292"/>
                  </a:lnTo>
                  <a:lnTo>
                    <a:pt x="804" y="301"/>
                  </a:lnTo>
                  <a:lnTo>
                    <a:pt x="800" y="301"/>
                  </a:lnTo>
                  <a:lnTo>
                    <a:pt x="800" y="311"/>
                  </a:lnTo>
                  <a:lnTo>
                    <a:pt x="800" y="311"/>
                  </a:lnTo>
                  <a:lnTo>
                    <a:pt x="806" y="311"/>
                  </a:lnTo>
                  <a:lnTo>
                    <a:pt x="810" y="305"/>
                  </a:lnTo>
                  <a:lnTo>
                    <a:pt x="810" y="307"/>
                  </a:lnTo>
                  <a:lnTo>
                    <a:pt x="810" y="311"/>
                  </a:lnTo>
                  <a:lnTo>
                    <a:pt x="813" y="311"/>
                  </a:lnTo>
                  <a:lnTo>
                    <a:pt x="815" y="311"/>
                  </a:lnTo>
                  <a:lnTo>
                    <a:pt x="823" y="312"/>
                  </a:lnTo>
                  <a:lnTo>
                    <a:pt x="827" y="316"/>
                  </a:lnTo>
                  <a:lnTo>
                    <a:pt x="828" y="316"/>
                  </a:lnTo>
                  <a:lnTo>
                    <a:pt x="828" y="312"/>
                  </a:lnTo>
                  <a:lnTo>
                    <a:pt x="827" y="312"/>
                  </a:lnTo>
                  <a:lnTo>
                    <a:pt x="830" y="311"/>
                  </a:lnTo>
                  <a:lnTo>
                    <a:pt x="830" y="305"/>
                  </a:lnTo>
                  <a:lnTo>
                    <a:pt x="828" y="301"/>
                  </a:lnTo>
                  <a:lnTo>
                    <a:pt x="828" y="297"/>
                  </a:lnTo>
                  <a:lnTo>
                    <a:pt x="827" y="294"/>
                  </a:lnTo>
                  <a:lnTo>
                    <a:pt x="827" y="292"/>
                  </a:lnTo>
                  <a:lnTo>
                    <a:pt x="830" y="292"/>
                  </a:lnTo>
                  <a:lnTo>
                    <a:pt x="834" y="290"/>
                  </a:lnTo>
                  <a:lnTo>
                    <a:pt x="838" y="290"/>
                  </a:lnTo>
                  <a:lnTo>
                    <a:pt x="840" y="284"/>
                  </a:lnTo>
                  <a:lnTo>
                    <a:pt x="838" y="280"/>
                  </a:lnTo>
                  <a:lnTo>
                    <a:pt x="836" y="277"/>
                  </a:lnTo>
                  <a:lnTo>
                    <a:pt x="836" y="275"/>
                  </a:lnTo>
                  <a:lnTo>
                    <a:pt x="834" y="269"/>
                  </a:lnTo>
                  <a:lnTo>
                    <a:pt x="838" y="265"/>
                  </a:lnTo>
                  <a:lnTo>
                    <a:pt x="840" y="263"/>
                  </a:lnTo>
                  <a:lnTo>
                    <a:pt x="844" y="263"/>
                  </a:lnTo>
                  <a:lnTo>
                    <a:pt x="847" y="263"/>
                  </a:lnTo>
                  <a:lnTo>
                    <a:pt x="845" y="262"/>
                  </a:lnTo>
                  <a:lnTo>
                    <a:pt x="847" y="258"/>
                  </a:lnTo>
                  <a:lnTo>
                    <a:pt x="851" y="256"/>
                  </a:lnTo>
                  <a:lnTo>
                    <a:pt x="859" y="250"/>
                  </a:lnTo>
                  <a:lnTo>
                    <a:pt x="862" y="250"/>
                  </a:lnTo>
                  <a:lnTo>
                    <a:pt x="868" y="252"/>
                  </a:lnTo>
                  <a:lnTo>
                    <a:pt x="868" y="254"/>
                  </a:lnTo>
                  <a:lnTo>
                    <a:pt x="868" y="256"/>
                  </a:lnTo>
                  <a:lnTo>
                    <a:pt x="868" y="260"/>
                  </a:lnTo>
                  <a:lnTo>
                    <a:pt x="864" y="260"/>
                  </a:lnTo>
                  <a:lnTo>
                    <a:pt x="862" y="262"/>
                  </a:lnTo>
                  <a:lnTo>
                    <a:pt x="862" y="265"/>
                  </a:lnTo>
                  <a:lnTo>
                    <a:pt x="859" y="269"/>
                  </a:lnTo>
                  <a:lnTo>
                    <a:pt x="859" y="271"/>
                  </a:lnTo>
                  <a:lnTo>
                    <a:pt x="862" y="275"/>
                  </a:lnTo>
                  <a:lnTo>
                    <a:pt x="862" y="282"/>
                  </a:lnTo>
                  <a:lnTo>
                    <a:pt x="859" y="284"/>
                  </a:lnTo>
                  <a:lnTo>
                    <a:pt x="859" y="284"/>
                  </a:lnTo>
                  <a:lnTo>
                    <a:pt x="853" y="290"/>
                  </a:lnTo>
                  <a:lnTo>
                    <a:pt x="849" y="292"/>
                  </a:lnTo>
                  <a:lnTo>
                    <a:pt x="849" y="294"/>
                  </a:lnTo>
                  <a:lnTo>
                    <a:pt x="851" y="294"/>
                  </a:lnTo>
                  <a:lnTo>
                    <a:pt x="855" y="292"/>
                  </a:lnTo>
                  <a:lnTo>
                    <a:pt x="859" y="292"/>
                  </a:lnTo>
                  <a:lnTo>
                    <a:pt x="862" y="294"/>
                  </a:lnTo>
                  <a:lnTo>
                    <a:pt x="859" y="299"/>
                  </a:lnTo>
                  <a:lnTo>
                    <a:pt x="853" y="301"/>
                  </a:lnTo>
                  <a:lnTo>
                    <a:pt x="847" y="305"/>
                  </a:lnTo>
                  <a:lnTo>
                    <a:pt x="845" y="311"/>
                  </a:lnTo>
                  <a:lnTo>
                    <a:pt x="847" y="311"/>
                  </a:lnTo>
                  <a:lnTo>
                    <a:pt x="849" y="307"/>
                  </a:lnTo>
                  <a:lnTo>
                    <a:pt x="855" y="305"/>
                  </a:lnTo>
                  <a:lnTo>
                    <a:pt x="859" y="301"/>
                  </a:lnTo>
                  <a:lnTo>
                    <a:pt x="862" y="301"/>
                  </a:lnTo>
                  <a:lnTo>
                    <a:pt x="864" y="305"/>
                  </a:lnTo>
                  <a:lnTo>
                    <a:pt x="864" y="311"/>
                  </a:lnTo>
                  <a:lnTo>
                    <a:pt x="862" y="314"/>
                  </a:lnTo>
                  <a:lnTo>
                    <a:pt x="864" y="316"/>
                  </a:lnTo>
                  <a:lnTo>
                    <a:pt x="868" y="312"/>
                  </a:lnTo>
                  <a:lnTo>
                    <a:pt x="868" y="312"/>
                  </a:lnTo>
                  <a:lnTo>
                    <a:pt x="870" y="311"/>
                  </a:lnTo>
                  <a:lnTo>
                    <a:pt x="868" y="311"/>
                  </a:lnTo>
                  <a:lnTo>
                    <a:pt x="872" y="305"/>
                  </a:lnTo>
                  <a:lnTo>
                    <a:pt x="872" y="301"/>
                  </a:lnTo>
                  <a:lnTo>
                    <a:pt x="877" y="299"/>
                  </a:lnTo>
                  <a:lnTo>
                    <a:pt x="879" y="299"/>
                  </a:lnTo>
                  <a:lnTo>
                    <a:pt x="885" y="301"/>
                  </a:lnTo>
                  <a:lnTo>
                    <a:pt x="887" y="307"/>
                  </a:lnTo>
                  <a:lnTo>
                    <a:pt x="889" y="311"/>
                  </a:lnTo>
                  <a:lnTo>
                    <a:pt x="889" y="314"/>
                  </a:lnTo>
                  <a:lnTo>
                    <a:pt x="883" y="324"/>
                  </a:lnTo>
                  <a:lnTo>
                    <a:pt x="877" y="328"/>
                  </a:lnTo>
                  <a:lnTo>
                    <a:pt x="874" y="329"/>
                  </a:lnTo>
                  <a:lnTo>
                    <a:pt x="872" y="329"/>
                  </a:lnTo>
                  <a:lnTo>
                    <a:pt x="872" y="331"/>
                  </a:lnTo>
                  <a:lnTo>
                    <a:pt x="872" y="335"/>
                  </a:lnTo>
                  <a:lnTo>
                    <a:pt x="868" y="339"/>
                  </a:lnTo>
                  <a:lnTo>
                    <a:pt x="864" y="339"/>
                  </a:lnTo>
                  <a:lnTo>
                    <a:pt x="862" y="341"/>
                  </a:lnTo>
                  <a:lnTo>
                    <a:pt x="862" y="344"/>
                  </a:lnTo>
                  <a:lnTo>
                    <a:pt x="859" y="346"/>
                  </a:lnTo>
                  <a:lnTo>
                    <a:pt x="859" y="346"/>
                  </a:lnTo>
                  <a:lnTo>
                    <a:pt x="855" y="348"/>
                  </a:lnTo>
                  <a:lnTo>
                    <a:pt x="855" y="350"/>
                  </a:lnTo>
                  <a:lnTo>
                    <a:pt x="855" y="350"/>
                  </a:lnTo>
                  <a:lnTo>
                    <a:pt x="853" y="348"/>
                  </a:lnTo>
                  <a:lnTo>
                    <a:pt x="849" y="350"/>
                  </a:lnTo>
                  <a:lnTo>
                    <a:pt x="845" y="348"/>
                  </a:lnTo>
                  <a:lnTo>
                    <a:pt x="840" y="352"/>
                  </a:lnTo>
                  <a:lnTo>
                    <a:pt x="834" y="354"/>
                  </a:lnTo>
                  <a:lnTo>
                    <a:pt x="830" y="352"/>
                  </a:lnTo>
                  <a:lnTo>
                    <a:pt x="830" y="348"/>
                  </a:lnTo>
                  <a:lnTo>
                    <a:pt x="830" y="344"/>
                  </a:lnTo>
                  <a:lnTo>
                    <a:pt x="830" y="344"/>
                  </a:lnTo>
                  <a:lnTo>
                    <a:pt x="830" y="344"/>
                  </a:lnTo>
                  <a:lnTo>
                    <a:pt x="827" y="344"/>
                  </a:lnTo>
                  <a:lnTo>
                    <a:pt x="827" y="346"/>
                  </a:lnTo>
                  <a:lnTo>
                    <a:pt x="823" y="348"/>
                  </a:lnTo>
                  <a:lnTo>
                    <a:pt x="817" y="346"/>
                  </a:lnTo>
                  <a:lnTo>
                    <a:pt x="817" y="344"/>
                  </a:lnTo>
                  <a:lnTo>
                    <a:pt x="819" y="344"/>
                  </a:lnTo>
                  <a:lnTo>
                    <a:pt x="819" y="339"/>
                  </a:lnTo>
                  <a:lnTo>
                    <a:pt x="815" y="339"/>
                  </a:lnTo>
                  <a:lnTo>
                    <a:pt x="815" y="341"/>
                  </a:lnTo>
                  <a:lnTo>
                    <a:pt x="813" y="344"/>
                  </a:lnTo>
                  <a:lnTo>
                    <a:pt x="810" y="344"/>
                  </a:lnTo>
                  <a:lnTo>
                    <a:pt x="806" y="344"/>
                  </a:lnTo>
                  <a:lnTo>
                    <a:pt x="804" y="346"/>
                  </a:lnTo>
                  <a:lnTo>
                    <a:pt x="800" y="346"/>
                  </a:lnTo>
                  <a:lnTo>
                    <a:pt x="798" y="344"/>
                  </a:lnTo>
                  <a:lnTo>
                    <a:pt x="795" y="346"/>
                  </a:lnTo>
                  <a:lnTo>
                    <a:pt x="791" y="344"/>
                  </a:lnTo>
                  <a:lnTo>
                    <a:pt x="789" y="346"/>
                  </a:lnTo>
                  <a:lnTo>
                    <a:pt x="787" y="346"/>
                  </a:lnTo>
                  <a:lnTo>
                    <a:pt x="785" y="348"/>
                  </a:lnTo>
                  <a:lnTo>
                    <a:pt x="785" y="350"/>
                  </a:lnTo>
                  <a:lnTo>
                    <a:pt x="781" y="352"/>
                  </a:lnTo>
                  <a:lnTo>
                    <a:pt x="780" y="352"/>
                  </a:lnTo>
                  <a:lnTo>
                    <a:pt x="776" y="354"/>
                  </a:lnTo>
                  <a:lnTo>
                    <a:pt x="774" y="356"/>
                  </a:lnTo>
                  <a:lnTo>
                    <a:pt x="772" y="356"/>
                  </a:lnTo>
                  <a:lnTo>
                    <a:pt x="768" y="356"/>
                  </a:lnTo>
                  <a:lnTo>
                    <a:pt x="764" y="356"/>
                  </a:lnTo>
                  <a:lnTo>
                    <a:pt x="763" y="354"/>
                  </a:lnTo>
                  <a:lnTo>
                    <a:pt x="757" y="356"/>
                  </a:lnTo>
                  <a:lnTo>
                    <a:pt x="751" y="356"/>
                  </a:lnTo>
                  <a:lnTo>
                    <a:pt x="748" y="356"/>
                  </a:lnTo>
                  <a:lnTo>
                    <a:pt x="742" y="354"/>
                  </a:lnTo>
                  <a:lnTo>
                    <a:pt x="738" y="352"/>
                  </a:lnTo>
                  <a:lnTo>
                    <a:pt x="734" y="348"/>
                  </a:lnTo>
                  <a:lnTo>
                    <a:pt x="731" y="344"/>
                  </a:lnTo>
                  <a:lnTo>
                    <a:pt x="731" y="344"/>
                  </a:lnTo>
                  <a:lnTo>
                    <a:pt x="731" y="344"/>
                  </a:lnTo>
                  <a:lnTo>
                    <a:pt x="731" y="344"/>
                  </a:lnTo>
                  <a:close/>
                  <a:moveTo>
                    <a:pt x="514" y="463"/>
                  </a:moveTo>
                  <a:lnTo>
                    <a:pt x="514" y="454"/>
                  </a:lnTo>
                  <a:lnTo>
                    <a:pt x="514" y="448"/>
                  </a:lnTo>
                  <a:lnTo>
                    <a:pt x="514" y="444"/>
                  </a:lnTo>
                  <a:lnTo>
                    <a:pt x="514" y="439"/>
                  </a:lnTo>
                  <a:lnTo>
                    <a:pt x="514" y="433"/>
                  </a:lnTo>
                  <a:lnTo>
                    <a:pt x="514" y="431"/>
                  </a:lnTo>
                  <a:lnTo>
                    <a:pt x="508" y="424"/>
                  </a:lnTo>
                  <a:lnTo>
                    <a:pt x="514" y="424"/>
                  </a:lnTo>
                  <a:lnTo>
                    <a:pt x="514" y="420"/>
                  </a:lnTo>
                  <a:lnTo>
                    <a:pt x="507" y="420"/>
                  </a:lnTo>
                  <a:lnTo>
                    <a:pt x="501" y="418"/>
                  </a:lnTo>
                  <a:lnTo>
                    <a:pt x="501" y="416"/>
                  </a:lnTo>
                  <a:lnTo>
                    <a:pt x="505" y="416"/>
                  </a:lnTo>
                  <a:lnTo>
                    <a:pt x="507" y="414"/>
                  </a:lnTo>
                  <a:lnTo>
                    <a:pt x="514" y="410"/>
                  </a:lnTo>
                  <a:lnTo>
                    <a:pt x="514" y="409"/>
                  </a:lnTo>
                  <a:lnTo>
                    <a:pt x="516" y="409"/>
                  </a:lnTo>
                  <a:lnTo>
                    <a:pt x="518" y="405"/>
                  </a:lnTo>
                  <a:lnTo>
                    <a:pt x="522" y="403"/>
                  </a:lnTo>
                  <a:lnTo>
                    <a:pt x="524" y="399"/>
                  </a:lnTo>
                  <a:lnTo>
                    <a:pt x="529" y="395"/>
                  </a:lnTo>
                  <a:lnTo>
                    <a:pt x="529" y="395"/>
                  </a:lnTo>
                  <a:lnTo>
                    <a:pt x="535" y="395"/>
                  </a:lnTo>
                  <a:lnTo>
                    <a:pt x="539" y="390"/>
                  </a:lnTo>
                  <a:lnTo>
                    <a:pt x="539" y="384"/>
                  </a:lnTo>
                  <a:lnTo>
                    <a:pt x="539" y="386"/>
                  </a:lnTo>
                  <a:lnTo>
                    <a:pt x="548" y="388"/>
                  </a:lnTo>
                  <a:lnTo>
                    <a:pt x="548" y="382"/>
                  </a:lnTo>
                  <a:lnTo>
                    <a:pt x="546" y="377"/>
                  </a:lnTo>
                  <a:lnTo>
                    <a:pt x="546" y="373"/>
                  </a:lnTo>
                  <a:lnTo>
                    <a:pt x="550" y="371"/>
                  </a:lnTo>
                  <a:lnTo>
                    <a:pt x="559" y="365"/>
                  </a:lnTo>
                  <a:lnTo>
                    <a:pt x="563" y="361"/>
                  </a:lnTo>
                  <a:lnTo>
                    <a:pt x="569" y="360"/>
                  </a:lnTo>
                  <a:lnTo>
                    <a:pt x="571" y="356"/>
                  </a:lnTo>
                  <a:lnTo>
                    <a:pt x="576" y="350"/>
                  </a:lnTo>
                  <a:lnTo>
                    <a:pt x="580" y="350"/>
                  </a:lnTo>
                  <a:lnTo>
                    <a:pt x="584" y="346"/>
                  </a:lnTo>
                  <a:lnTo>
                    <a:pt x="580" y="344"/>
                  </a:lnTo>
                  <a:lnTo>
                    <a:pt x="582" y="335"/>
                  </a:lnTo>
                  <a:lnTo>
                    <a:pt x="582" y="331"/>
                  </a:lnTo>
                  <a:lnTo>
                    <a:pt x="584" y="328"/>
                  </a:lnTo>
                  <a:lnTo>
                    <a:pt x="582" y="326"/>
                  </a:lnTo>
                  <a:lnTo>
                    <a:pt x="584" y="324"/>
                  </a:lnTo>
                  <a:lnTo>
                    <a:pt x="588" y="322"/>
                  </a:lnTo>
                  <a:lnTo>
                    <a:pt x="593" y="322"/>
                  </a:lnTo>
                  <a:lnTo>
                    <a:pt x="603" y="322"/>
                  </a:lnTo>
                  <a:lnTo>
                    <a:pt x="604" y="322"/>
                  </a:lnTo>
                  <a:lnTo>
                    <a:pt x="618" y="322"/>
                  </a:lnTo>
                  <a:lnTo>
                    <a:pt x="625" y="318"/>
                  </a:lnTo>
                  <a:lnTo>
                    <a:pt x="636" y="322"/>
                  </a:lnTo>
                  <a:lnTo>
                    <a:pt x="635" y="326"/>
                  </a:lnTo>
                  <a:lnTo>
                    <a:pt x="638" y="328"/>
                  </a:lnTo>
                  <a:lnTo>
                    <a:pt x="638" y="331"/>
                  </a:lnTo>
                  <a:lnTo>
                    <a:pt x="648" y="337"/>
                  </a:lnTo>
                  <a:lnTo>
                    <a:pt x="650" y="339"/>
                  </a:lnTo>
                  <a:lnTo>
                    <a:pt x="646" y="344"/>
                  </a:lnTo>
                  <a:lnTo>
                    <a:pt x="650" y="341"/>
                  </a:lnTo>
                  <a:lnTo>
                    <a:pt x="653" y="339"/>
                  </a:lnTo>
                  <a:lnTo>
                    <a:pt x="657" y="344"/>
                  </a:lnTo>
                  <a:lnTo>
                    <a:pt x="655" y="346"/>
                  </a:lnTo>
                  <a:lnTo>
                    <a:pt x="650" y="352"/>
                  </a:lnTo>
                  <a:lnTo>
                    <a:pt x="652" y="354"/>
                  </a:lnTo>
                  <a:lnTo>
                    <a:pt x="659" y="350"/>
                  </a:lnTo>
                  <a:lnTo>
                    <a:pt x="659" y="346"/>
                  </a:lnTo>
                  <a:lnTo>
                    <a:pt x="661" y="344"/>
                  </a:lnTo>
                  <a:lnTo>
                    <a:pt x="667" y="344"/>
                  </a:lnTo>
                  <a:lnTo>
                    <a:pt x="672" y="344"/>
                  </a:lnTo>
                  <a:lnTo>
                    <a:pt x="672" y="344"/>
                  </a:lnTo>
                  <a:lnTo>
                    <a:pt x="676" y="346"/>
                  </a:lnTo>
                  <a:lnTo>
                    <a:pt x="680" y="354"/>
                  </a:lnTo>
                  <a:lnTo>
                    <a:pt x="682" y="363"/>
                  </a:lnTo>
                  <a:lnTo>
                    <a:pt x="680" y="365"/>
                  </a:lnTo>
                  <a:lnTo>
                    <a:pt x="684" y="373"/>
                  </a:lnTo>
                  <a:lnTo>
                    <a:pt x="682" y="378"/>
                  </a:lnTo>
                  <a:lnTo>
                    <a:pt x="682" y="380"/>
                  </a:lnTo>
                  <a:lnTo>
                    <a:pt x="684" y="382"/>
                  </a:lnTo>
                  <a:lnTo>
                    <a:pt x="684" y="386"/>
                  </a:lnTo>
                  <a:lnTo>
                    <a:pt x="684" y="390"/>
                  </a:lnTo>
                  <a:lnTo>
                    <a:pt x="680" y="395"/>
                  </a:lnTo>
                  <a:lnTo>
                    <a:pt x="672" y="395"/>
                  </a:lnTo>
                  <a:lnTo>
                    <a:pt x="672" y="399"/>
                  </a:lnTo>
                  <a:lnTo>
                    <a:pt x="663" y="399"/>
                  </a:lnTo>
                  <a:lnTo>
                    <a:pt x="657" y="399"/>
                  </a:lnTo>
                  <a:lnTo>
                    <a:pt x="648" y="401"/>
                  </a:lnTo>
                  <a:lnTo>
                    <a:pt x="642" y="403"/>
                  </a:lnTo>
                  <a:lnTo>
                    <a:pt x="633" y="407"/>
                  </a:lnTo>
                  <a:lnTo>
                    <a:pt x="631" y="407"/>
                  </a:lnTo>
                  <a:lnTo>
                    <a:pt x="625" y="409"/>
                  </a:lnTo>
                  <a:lnTo>
                    <a:pt x="620" y="409"/>
                  </a:lnTo>
                  <a:lnTo>
                    <a:pt x="618" y="410"/>
                  </a:lnTo>
                  <a:lnTo>
                    <a:pt x="614" y="409"/>
                  </a:lnTo>
                  <a:lnTo>
                    <a:pt x="614" y="410"/>
                  </a:lnTo>
                  <a:lnTo>
                    <a:pt x="606" y="412"/>
                  </a:lnTo>
                  <a:lnTo>
                    <a:pt x="604" y="416"/>
                  </a:lnTo>
                  <a:lnTo>
                    <a:pt x="601" y="420"/>
                  </a:lnTo>
                  <a:lnTo>
                    <a:pt x="599" y="420"/>
                  </a:lnTo>
                  <a:lnTo>
                    <a:pt x="597" y="425"/>
                  </a:lnTo>
                  <a:lnTo>
                    <a:pt x="593" y="425"/>
                  </a:lnTo>
                  <a:lnTo>
                    <a:pt x="588" y="429"/>
                  </a:lnTo>
                  <a:lnTo>
                    <a:pt x="584" y="429"/>
                  </a:lnTo>
                  <a:lnTo>
                    <a:pt x="582" y="425"/>
                  </a:lnTo>
                  <a:lnTo>
                    <a:pt x="580" y="429"/>
                  </a:lnTo>
                  <a:lnTo>
                    <a:pt x="578" y="433"/>
                  </a:lnTo>
                  <a:lnTo>
                    <a:pt x="574" y="435"/>
                  </a:lnTo>
                  <a:lnTo>
                    <a:pt x="569" y="441"/>
                  </a:lnTo>
                  <a:lnTo>
                    <a:pt x="569" y="442"/>
                  </a:lnTo>
                  <a:lnTo>
                    <a:pt x="563" y="448"/>
                  </a:lnTo>
                  <a:lnTo>
                    <a:pt x="565" y="450"/>
                  </a:lnTo>
                  <a:lnTo>
                    <a:pt x="559" y="454"/>
                  </a:lnTo>
                  <a:lnTo>
                    <a:pt x="556" y="459"/>
                  </a:lnTo>
                  <a:lnTo>
                    <a:pt x="552" y="459"/>
                  </a:lnTo>
                  <a:lnTo>
                    <a:pt x="546" y="459"/>
                  </a:lnTo>
                  <a:lnTo>
                    <a:pt x="542" y="459"/>
                  </a:lnTo>
                  <a:lnTo>
                    <a:pt x="540" y="459"/>
                  </a:lnTo>
                  <a:lnTo>
                    <a:pt x="544" y="454"/>
                  </a:lnTo>
                  <a:lnTo>
                    <a:pt x="542" y="450"/>
                  </a:lnTo>
                  <a:lnTo>
                    <a:pt x="540" y="450"/>
                  </a:lnTo>
                  <a:lnTo>
                    <a:pt x="539" y="450"/>
                  </a:lnTo>
                  <a:lnTo>
                    <a:pt x="539" y="454"/>
                  </a:lnTo>
                  <a:lnTo>
                    <a:pt x="535" y="454"/>
                  </a:lnTo>
                  <a:lnTo>
                    <a:pt x="529" y="459"/>
                  </a:lnTo>
                  <a:lnTo>
                    <a:pt x="525" y="459"/>
                  </a:lnTo>
                  <a:lnTo>
                    <a:pt x="524" y="459"/>
                  </a:lnTo>
                  <a:lnTo>
                    <a:pt x="520" y="459"/>
                  </a:lnTo>
                  <a:lnTo>
                    <a:pt x="516" y="463"/>
                  </a:lnTo>
                  <a:lnTo>
                    <a:pt x="514" y="463"/>
                  </a:lnTo>
                  <a:lnTo>
                    <a:pt x="510" y="463"/>
                  </a:lnTo>
                  <a:lnTo>
                    <a:pt x="514" y="463"/>
                  </a:lnTo>
                  <a:lnTo>
                    <a:pt x="514" y="463"/>
                  </a:lnTo>
                  <a:lnTo>
                    <a:pt x="514" y="463"/>
                  </a:lnTo>
                  <a:lnTo>
                    <a:pt x="514" y="463"/>
                  </a:lnTo>
                  <a:close/>
                  <a:moveTo>
                    <a:pt x="981" y="405"/>
                  </a:moveTo>
                  <a:lnTo>
                    <a:pt x="983" y="407"/>
                  </a:lnTo>
                  <a:lnTo>
                    <a:pt x="983" y="409"/>
                  </a:lnTo>
                  <a:lnTo>
                    <a:pt x="983" y="412"/>
                  </a:lnTo>
                  <a:lnTo>
                    <a:pt x="981" y="414"/>
                  </a:lnTo>
                  <a:lnTo>
                    <a:pt x="981" y="412"/>
                  </a:lnTo>
                  <a:lnTo>
                    <a:pt x="981" y="407"/>
                  </a:lnTo>
                  <a:lnTo>
                    <a:pt x="981" y="405"/>
                  </a:lnTo>
                  <a:lnTo>
                    <a:pt x="981" y="405"/>
                  </a:lnTo>
                  <a:lnTo>
                    <a:pt x="981" y="405"/>
                  </a:lnTo>
                  <a:lnTo>
                    <a:pt x="981" y="405"/>
                  </a:lnTo>
                  <a:close/>
                  <a:moveTo>
                    <a:pt x="943" y="407"/>
                  </a:moveTo>
                  <a:lnTo>
                    <a:pt x="947" y="401"/>
                  </a:lnTo>
                  <a:lnTo>
                    <a:pt x="951" y="399"/>
                  </a:lnTo>
                  <a:lnTo>
                    <a:pt x="953" y="401"/>
                  </a:lnTo>
                  <a:lnTo>
                    <a:pt x="953" y="405"/>
                  </a:lnTo>
                  <a:lnTo>
                    <a:pt x="949" y="405"/>
                  </a:lnTo>
                  <a:lnTo>
                    <a:pt x="947" y="407"/>
                  </a:lnTo>
                  <a:lnTo>
                    <a:pt x="943" y="407"/>
                  </a:lnTo>
                  <a:lnTo>
                    <a:pt x="943" y="407"/>
                  </a:lnTo>
                  <a:lnTo>
                    <a:pt x="943" y="407"/>
                  </a:lnTo>
                  <a:lnTo>
                    <a:pt x="943" y="407"/>
                  </a:lnTo>
                  <a:close/>
                  <a:moveTo>
                    <a:pt x="909" y="425"/>
                  </a:moveTo>
                  <a:lnTo>
                    <a:pt x="911" y="429"/>
                  </a:lnTo>
                  <a:lnTo>
                    <a:pt x="917" y="429"/>
                  </a:lnTo>
                  <a:lnTo>
                    <a:pt x="923" y="433"/>
                  </a:lnTo>
                  <a:lnTo>
                    <a:pt x="923" y="431"/>
                  </a:lnTo>
                  <a:lnTo>
                    <a:pt x="924" y="433"/>
                  </a:lnTo>
                  <a:lnTo>
                    <a:pt x="930" y="429"/>
                  </a:lnTo>
                  <a:lnTo>
                    <a:pt x="932" y="431"/>
                  </a:lnTo>
                  <a:lnTo>
                    <a:pt x="936" y="431"/>
                  </a:lnTo>
                  <a:lnTo>
                    <a:pt x="938" y="429"/>
                  </a:lnTo>
                  <a:lnTo>
                    <a:pt x="943" y="429"/>
                  </a:lnTo>
                  <a:lnTo>
                    <a:pt x="943" y="425"/>
                  </a:lnTo>
                  <a:lnTo>
                    <a:pt x="938" y="424"/>
                  </a:lnTo>
                  <a:lnTo>
                    <a:pt x="934" y="425"/>
                  </a:lnTo>
                  <a:lnTo>
                    <a:pt x="930" y="425"/>
                  </a:lnTo>
                  <a:lnTo>
                    <a:pt x="928" y="425"/>
                  </a:lnTo>
                  <a:lnTo>
                    <a:pt x="923" y="425"/>
                  </a:lnTo>
                  <a:lnTo>
                    <a:pt x="919" y="424"/>
                  </a:lnTo>
                  <a:lnTo>
                    <a:pt x="917" y="425"/>
                  </a:lnTo>
                  <a:lnTo>
                    <a:pt x="911" y="425"/>
                  </a:lnTo>
                  <a:lnTo>
                    <a:pt x="909" y="425"/>
                  </a:lnTo>
                  <a:lnTo>
                    <a:pt x="909" y="425"/>
                  </a:lnTo>
                  <a:lnTo>
                    <a:pt x="909" y="425"/>
                  </a:lnTo>
                  <a:lnTo>
                    <a:pt x="909" y="425"/>
                  </a:lnTo>
                  <a:close/>
                  <a:moveTo>
                    <a:pt x="889" y="555"/>
                  </a:moveTo>
                  <a:lnTo>
                    <a:pt x="889" y="554"/>
                  </a:lnTo>
                  <a:lnTo>
                    <a:pt x="889" y="552"/>
                  </a:lnTo>
                  <a:lnTo>
                    <a:pt x="889" y="552"/>
                  </a:lnTo>
                  <a:lnTo>
                    <a:pt x="889" y="555"/>
                  </a:lnTo>
                  <a:lnTo>
                    <a:pt x="889" y="555"/>
                  </a:lnTo>
                  <a:lnTo>
                    <a:pt x="889" y="555"/>
                  </a:lnTo>
                  <a:lnTo>
                    <a:pt x="889" y="555"/>
                  </a:lnTo>
                  <a:lnTo>
                    <a:pt x="889" y="555"/>
                  </a:lnTo>
                  <a:close/>
                  <a:moveTo>
                    <a:pt x="868" y="552"/>
                  </a:moveTo>
                  <a:lnTo>
                    <a:pt x="864" y="552"/>
                  </a:lnTo>
                  <a:lnTo>
                    <a:pt x="864" y="548"/>
                  </a:lnTo>
                  <a:lnTo>
                    <a:pt x="864" y="544"/>
                  </a:lnTo>
                  <a:lnTo>
                    <a:pt x="862" y="548"/>
                  </a:lnTo>
                  <a:lnTo>
                    <a:pt x="859" y="544"/>
                  </a:lnTo>
                  <a:lnTo>
                    <a:pt x="862" y="542"/>
                  </a:lnTo>
                  <a:lnTo>
                    <a:pt x="859" y="537"/>
                  </a:lnTo>
                  <a:lnTo>
                    <a:pt x="859" y="535"/>
                  </a:lnTo>
                  <a:lnTo>
                    <a:pt x="859" y="531"/>
                  </a:lnTo>
                  <a:lnTo>
                    <a:pt x="859" y="525"/>
                  </a:lnTo>
                  <a:lnTo>
                    <a:pt x="859" y="522"/>
                  </a:lnTo>
                  <a:lnTo>
                    <a:pt x="859" y="522"/>
                  </a:lnTo>
                  <a:lnTo>
                    <a:pt x="855" y="518"/>
                  </a:lnTo>
                  <a:lnTo>
                    <a:pt x="855" y="514"/>
                  </a:lnTo>
                  <a:lnTo>
                    <a:pt x="853" y="512"/>
                  </a:lnTo>
                  <a:lnTo>
                    <a:pt x="853" y="506"/>
                  </a:lnTo>
                  <a:lnTo>
                    <a:pt x="851" y="501"/>
                  </a:lnTo>
                  <a:lnTo>
                    <a:pt x="849" y="501"/>
                  </a:lnTo>
                  <a:lnTo>
                    <a:pt x="847" y="499"/>
                  </a:lnTo>
                  <a:lnTo>
                    <a:pt x="847" y="495"/>
                  </a:lnTo>
                  <a:lnTo>
                    <a:pt x="845" y="493"/>
                  </a:lnTo>
                  <a:lnTo>
                    <a:pt x="844" y="495"/>
                  </a:lnTo>
                  <a:lnTo>
                    <a:pt x="844" y="493"/>
                  </a:lnTo>
                  <a:lnTo>
                    <a:pt x="838" y="495"/>
                  </a:lnTo>
                  <a:lnTo>
                    <a:pt x="836" y="493"/>
                  </a:lnTo>
                  <a:lnTo>
                    <a:pt x="836" y="488"/>
                  </a:lnTo>
                  <a:lnTo>
                    <a:pt x="840" y="488"/>
                  </a:lnTo>
                  <a:lnTo>
                    <a:pt x="844" y="482"/>
                  </a:lnTo>
                  <a:lnTo>
                    <a:pt x="840" y="480"/>
                  </a:lnTo>
                  <a:lnTo>
                    <a:pt x="840" y="478"/>
                  </a:lnTo>
                  <a:lnTo>
                    <a:pt x="840" y="471"/>
                  </a:lnTo>
                  <a:lnTo>
                    <a:pt x="840" y="469"/>
                  </a:lnTo>
                  <a:lnTo>
                    <a:pt x="844" y="463"/>
                  </a:lnTo>
                  <a:lnTo>
                    <a:pt x="847" y="463"/>
                  </a:lnTo>
                  <a:lnTo>
                    <a:pt x="849" y="459"/>
                  </a:lnTo>
                  <a:lnTo>
                    <a:pt x="851" y="459"/>
                  </a:lnTo>
                  <a:lnTo>
                    <a:pt x="853" y="459"/>
                  </a:lnTo>
                  <a:lnTo>
                    <a:pt x="859" y="459"/>
                  </a:lnTo>
                  <a:lnTo>
                    <a:pt x="862" y="459"/>
                  </a:lnTo>
                  <a:lnTo>
                    <a:pt x="862" y="463"/>
                  </a:lnTo>
                  <a:lnTo>
                    <a:pt x="862" y="463"/>
                  </a:lnTo>
                  <a:lnTo>
                    <a:pt x="859" y="463"/>
                  </a:lnTo>
                  <a:lnTo>
                    <a:pt x="859" y="465"/>
                  </a:lnTo>
                  <a:lnTo>
                    <a:pt x="862" y="467"/>
                  </a:lnTo>
                  <a:lnTo>
                    <a:pt x="864" y="469"/>
                  </a:lnTo>
                  <a:lnTo>
                    <a:pt x="862" y="473"/>
                  </a:lnTo>
                  <a:lnTo>
                    <a:pt x="868" y="476"/>
                  </a:lnTo>
                  <a:lnTo>
                    <a:pt x="868" y="480"/>
                  </a:lnTo>
                  <a:lnTo>
                    <a:pt x="868" y="484"/>
                  </a:lnTo>
                  <a:lnTo>
                    <a:pt x="872" y="484"/>
                  </a:lnTo>
                  <a:lnTo>
                    <a:pt x="874" y="484"/>
                  </a:lnTo>
                  <a:lnTo>
                    <a:pt x="874" y="480"/>
                  </a:lnTo>
                  <a:lnTo>
                    <a:pt x="876" y="478"/>
                  </a:lnTo>
                  <a:lnTo>
                    <a:pt x="877" y="474"/>
                  </a:lnTo>
                  <a:lnTo>
                    <a:pt x="877" y="471"/>
                  </a:lnTo>
                  <a:lnTo>
                    <a:pt x="879" y="469"/>
                  </a:lnTo>
                  <a:lnTo>
                    <a:pt x="881" y="467"/>
                  </a:lnTo>
                  <a:lnTo>
                    <a:pt x="879" y="463"/>
                  </a:lnTo>
                  <a:lnTo>
                    <a:pt x="881" y="463"/>
                  </a:lnTo>
                  <a:lnTo>
                    <a:pt x="885" y="459"/>
                  </a:lnTo>
                  <a:lnTo>
                    <a:pt x="887" y="463"/>
                  </a:lnTo>
                  <a:lnTo>
                    <a:pt x="889" y="465"/>
                  </a:lnTo>
                  <a:lnTo>
                    <a:pt x="889" y="465"/>
                  </a:lnTo>
                  <a:lnTo>
                    <a:pt x="889" y="463"/>
                  </a:lnTo>
                  <a:lnTo>
                    <a:pt x="889" y="459"/>
                  </a:lnTo>
                  <a:lnTo>
                    <a:pt x="887" y="454"/>
                  </a:lnTo>
                  <a:lnTo>
                    <a:pt x="887" y="454"/>
                  </a:lnTo>
                  <a:lnTo>
                    <a:pt x="885" y="459"/>
                  </a:lnTo>
                  <a:lnTo>
                    <a:pt x="879" y="459"/>
                  </a:lnTo>
                  <a:lnTo>
                    <a:pt x="876" y="454"/>
                  </a:lnTo>
                  <a:lnTo>
                    <a:pt x="876" y="450"/>
                  </a:lnTo>
                  <a:lnTo>
                    <a:pt x="874" y="448"/>
                  </a:lnTo>
                  <a:lnTo>
                    <a:pt x="874" y="444"/>
                  </a:lnTo>
                  <a:lnTo>
                    <a:pt x="876" y="442"/>
                  </a:lnTo>
                  <a:lnTo>
                    <a:pt x="879" y="442"/>
                  </a:lnTo>
                  <a:lnTo>
                    <a:pt x="879" y="439"/>
                  </a:lnTo>
                  <a:lnTo>
                    <a:pt x="883" y="441"/>
                  </a:lnTo>
                  <a:lnTo>
                    <a:pt x="885" y="444"/>
                  </a:lnTo>
                  <a:lnTo>
                    <a:pt x="885" y="450"/>
                  </a:lnTo>
                  <a:lnTo>
                    <a:pt x="887" y="450"/>
                  </a:lnTo>
                  <a:lnTo>
                    <a:pt x="887" y="448"/>
                  </a:lnTo>
                  <a:lnTo>
                    <a:pt x="889" y="446"/>
                  </a:lnTo>
                  <a:lnTo>
                    <a:pt x="889" y="442"/>
                  </a:lnTo>
                  <a:lnTo>
                    <a:pt x="885" y="441"/>
                  </a:lnTo>
                  <a:lnTo>
                    <a:pt x="885" y="437"/>
                  </a:lnTo>
                  <a:lnTo>
                    <a:pt x="885" y="433"/>
                  </a:lnTo>
                  <a:lnTo>
                    <a:pt x="887" y="431"/>
                  </a:lnTo>
                  <a:lnTo>
                    <a:pt x="887" y="429"/>
                  </a:lnTo>
                  <a:lnTo>
                    <a:pt x="889" y="425"/>
                  </a:lnTo>
                  <a:lnTo>
                    <a:pt x="892" y="429"/>
                  </a:lnTo>
                  <a:lnTo>
                    <a:pt x="892" y="429"/>
                  </a:lnTo>
                  <a:lnTo>
                    <a:pt x="896" y="431"/>
                  </a:lnTo>
                  <a:lnTo>
                    <a:pt x="900" y="433"/>
                  </a:lnTo>
                  <a:lnTo>
                    <a:pt x="902" y="429"/>
                  </a:lnTo>
                  <a:lnTo>
                    <a:pt x="898" y="429"/>
                  </a:lnTo>
                  <a:lnTo>
                    <a:pt x="896" y="429"/>
                  </a:lnTo>
                  <a:lnTo>
                    <a:pt x="898" y="425"/>
                  </a:lnTo>
                  <a:lnTo>
                    <a:pt x="902" y="425"/>
                  </a:lnTo>
                  <a:lnTo>
                    <a:pt x="906" y="425"/>
                  </a:lnTo>
                  <a:lnTo>
                    <a:pt x="908" y="425"/>
                  </a:lnTo>
                  <a:lnTo>
                    <a:pt x="906" y="429"/>
                  </a:lnTo>
                  <a:lnTo>
                    <a:pt x="906" y="429"/>
                  </a:lnTo>
                  <a:lnTo>
                    <a:pt x="909" y="431"/>
                  </a:lnTo>
                  <a:lnTo>
                    <a:pt x="911" y="435"/>
                  </a:lnTo>
                  <a:lnTo>
                    <a:pt x="913" y="435"/>
                  </a:lnTo>
                  <a:lnTo>
                    <a:pt x="917" y="437"/>
                  </a:lnTo>
                  <a:lnTo>
                    <a:pt x="923" y="437"/>
                  </a:lnTo>
                  <a:lnTo>
                    <a:pt x="923" y="435"/>
                  </a:lnTo>
                  <a:lnTo>
                    <a:pt x="926" y="435"/>
                  </a:lnTo>
                  <a:lnTo>
                    <a:pt x="936" y="435"/>
                  </a:lnTo>
                  <a:lnTo>
                    <a:pt x="940" y="439"/>
                  </a:lnTo>
                  <a:lnTo>
                    <a:pt x="941" y="439"/>
                  </a:lnTo>
                  <a:lnTo>
                    <a:pt x="941" y="441"/>
                  </a:lnTo>
                  <a:lnTo>
                    <a:pt x="941" y="442"/>
                  </a:lnTo>
                  <a:lnTo>
                    <a:pt x="941" y="446"/>
                  </a:lnTo>
                  <a:lnTo>
                    <a:pt x="940" y="448"/>
                  </a:lnTo>
                  <a:lnTo>
                    <a:pt x="936" y="450"/>
                  </a:lnTo>
                  <a:lnTo>
                    <a:pt x="932" y="450"/>
                  </a:lnTo>
                  <a:lnTo>
                    <a:pt x="932" y="448"/>
                  </a:lnTo>
                  <a:lnTo>
                    <a:pt x="930" y="450"/>
                  </a:lnTo>
                  <a:lnTo>
                    <a:pt x="928" y="450"/>
                  </a:lnTo>
                  <a:lnTo>
                    <a:pt x="928" y="454"/>
                  </a:lnTo>
                  <a:lnTo>
                    <a:pt x="932" y="454"/>
                  </a:lnTo>
                  <a:lnTo>
                    <a:pt x="930" y="459"/>
                  </a:lnTo>
                  <a:lnTo>
                    <a:pt x="930" y="463"/>
                  </a:lnTo>
                  <a:lnTo>
                    <a:pt x="928" y="463"/>
                  </a:lnTo>
                  <a:lnTo>
                    <a:pt x="926" y="463"/>
                  </a:lnTo>
                  <a:lnTo>
                    <a:pt x="924" y="463"/>
                  </a:lnTo>
                  <a:lnTo>
                    <a:pt x="923" y="463"/>
                  </a:lnTo>
                  <a:lnTo>
                    <a:pt x="919" y="465"/>
                  </a:lnTo>
                  <a:lnTo>
                    <a:pt x="913" y="467"/>
                  </a:lnTo>
                  <a:lnTo>
                    <a:pt x="908" y="471"/>
                  </a:lnTo>
                  <a:lnTo>
                    <a:pt x="906" y="471"/>
                  </a:lnTo>
                  <a:lnTo>
                    <a:pt x="904" y="474"/>
                  </a:lnTo>
                  <a:lnTo>
                    <a:pt x="904" y="478"/>
                  </a:lnTo>
                  <a:lnTo>
                    <a:pt x="906" y="476"/>
                  </a:lnTo>
                  <a:lnTo>
                    <a:pt x="908" y="476"/>
                  </a:lnTo>
                  <a:lnTo>
                    <a:pt x="913" y="474"/>
                  </a:lnTo>
                  <a:lnTo>
                    <a:pt x="913" y="473"/>
                  </a:lnTo>
                  <a:lnTo>
                    <a:pt x="919" y="476"/>
                  </a:lnTo>
                  <a:lnTo>
                    <a:pt x="923" y="480"/>
                  </a:lnTo>
                  <a:lnTo>
                    <a:pt x="919" y="482"/>
                  </a:lnTo>
                  <a:lnTo>
                    <a:pt x="917" y="482"/>
                  </a:lnTo>
                  <a:lnTo>
                    <a:pt x="919" y="484"/>
                  </a:lnTo>
                  <a:lnTo>
                    <a:pt x="919" y="488"/>
                  </a:lnTo>
                  <a:lnTo>
                    <a:pt x="919" y="490"/>
                  </a:lnTo>
                  <a:lnTo>
                    <a:pt x="917" y="493"/>
                  </a:lnTo>
                  <a:lnTo>
                    <a:pt x="917" y="495"/>
                  </a:lnTo>
                  <a:lnTo>
                    <a:pt x="917" y="497"/>
                  </a:lnTo>
                  <a:lnTo>
                    <a:pt x="919" y="493"/>
                  </a:lnTo>
                  <a:lnTo>
                    <a:pt x="923" y="493"/>
                  </a:lnTo>
                  <a:lnTo>
                    <a:pt x="924" y="490"/>
                  </a:lnTo>
                  <a:lnTo>
                    <a:pt x="926" y="490"/>
                  </a:lnTo>
                  <a:lnTo>
                    <a:pt x="924" y="493"/>
                  </a:lnTo>
                  <a:lnTo>
                    <a:pt x="924" y="497"/>
                  </a:lnTo>
                  <a:lnTo>
                    <a:pt x="923" y="503"/>
                  </a:lnTo>
                  <a:lnTo>
                    <a:pt x="923" y="506"/>
                  </a:lnTo>
                  <a:lnTo>
                    <a:pt x="917" y="510"/>
                  </a:lnTo>
                  <a:lnTo>
                    <a:pt x="913" y="510"/>
                  </a:lnTo>
                  <a:lnTo>
                    <a:pt x="913" y="512"/>
                  </a:lnTo>
                  <a:lnTo>
                    <a:pt x="913" y="514"/>
                  </a:lnTo>
                  <a:lnTo>
                    <a:pt x="913" y="518"/>
                  </a:lnTo>
                  <a:lnTo>
                    <a:pt x="911" y="518"/>
                  </a:lnTo>
                  <a:lnTo>
                    <a:pt x="911" y="518"/>
                  </a:lnTo>
                  <a:lnTo>
                    <a:pt x="908" y="518"/>
                  </a:lnTo>
                  <a:lnTo>
                    <a:pt x="908" y="520"/>
                  </a:lnTo>
                  <a:lnTo>
                    <a:pt x="913" y="523"/>
                  </a:lnTo>
                  <a:lnTo>
                    <a:pt x="911" y="525"/>
                  </a:lnTo>
                  <a:lnTo>
                    <a:pt x="908" y="525"/>
                  </a:lnTo>
                  <a:lnTo>
                    <a:pt x="911" y="529"/>
                  </a:lnTo>
                  <a:lnTo>
                    <a:pt x="906" y="533"/>
                  </a:lnTo>
                  <a:lnTo>
                    <a:pt x="904" y="531"/>
                  </a:lnTo>
                  <a:lnTo>
                    <a:pt x="902" y="533"/>
                  </a:lnTo>
                  <a:lnTo>
                    <a:pt x="898" y="533"/>
                  </a:lnTo>
                  <a:lnTo>
                    <a:pt x="894" y="535"/>
                  </a:lnTo>
                  <a:lnTo>
                    <a:pt x="894" y="539"/>
                  </a:lnTo>
                  <a:lnTo>
                    <a:pt x="889" y="539"/>
                  </a:lnTo>
                  <a:lnTo>
                    <a:pt x="885" y="537"/>
                  </a:lnTo>
                  <a:lnTo>
                    <a:pt x="881" y="539"/>
                  </a:lnTo>
                  <a:lnTo>
                    <a:pt x="879" y="537"/>
                  </a:lnTo>
                  <a:lnTo>
                    <a:pt x="877" y="529"/>
                  </a:lnTo>
                  <a:lnTo>
                    <a:pt x="881" y="525"/>
                  </a:lnTo>
                  <a:lnTo>
                    <a:pt x="881" y="522"/>
                  </a:lnTo>
                  <a:lnTo>
                    <a:pt x="876" y="529"/>
                  </a:lnTo>
                  <a:lnTo>
                    <a:pt x="874" y="533"/>
                  </a:lnTo>
                  <a:lnTo>
                    <a:pt x="877" y="539"/>
                  </a:lnTo>
                  <a:lnTo>
                    <a:pt x="879" y="542"/>
                  </a:lnTo>
                  <a:lnTo>
                    <a:pt x="877" y="544"/>
                  </a:lnTo>
                  <a:lnTo>
                    <a:pt x="874" y="548"/>
                  </a:lnTo>
                  <a:lnTo>
                    <a:pt x="872" y="552"/>
                  </a:lnTo>
                  <a:lnTo>
                    <a:pt x="872" y="552"/>
                  </a:lnTo>
                  <a:lnTo>
                    <a:pt x="868" y="552"/>
                  </a:lnTo>
                  <a:lnTo>
                    <a:pt x="868" y="552"/>
                  </a:lnTo>
                  <a:lnTo>
                    <a:pt x="868" y="552"/>
                  </a:lnTo>
                  <a:lnTo>
                    <a:pt x="868" y="552"/>
                  </a:lnTo>
                  <a:close/>
                  <a:moveTo>
                    <a:pt x="928" y="465"/>
                  </a:moveTo>
                  <a:lnTo>
                    <a:pt x="928" y="467"/>
                  </a:lnTo>
                  <a:lnTo>
                    <a:pt x="930" y="467"/>
                  </a:lnTo>
                  <a:lnTo>
                    <a:pt x="932" y="465"/>
                  </a:lnTo>
                  <a:lnTo>
                    <a:pt x="928" y="465"/>
                  </a:lnTo>
                  <a:lnTo>
                    <a:pt x="928" y="465"/>
                  </a:lnTo>
                  <a:lnTo>
                    <a:pt x="928" y="465"/>
                  </a:lnTo>
                  <a:lnTo>
                    <a:pt x="928" y="465"/>
                  </a:lnTo>
                  <a:close/>
                  <a:moveTo>
                    <a:pt x="926" y="482"/>
                  </a:moveTo>
                  <a:lnTo>
                    <a:pt x="928" y="482"/>
                  </a:lnTo>
                  <a:lnTo>
                    <a:pt x="932" y="476"/>
                  </a:lnTo>
                  <a:lnTo>
                    <a:pt x="932" y="474"/>
                  </a:lnTo>
                  <a:lnTo>
                    <a:pt x="930" y="473"/>
                  </a:lnTo>
                  <a:lnTo>
                    <a:pt x="930" y="469"/>
                  </a:lnTo>
                  <a:lnTo>
                    <a:pt x="926" y="471"/>
                  </a:lnTo>
                  <a:lnTo>
                    <a:pt x="926" y="474"/>
                  </a:lnTo>
                  <a:lnTo>
                    <a:pt x="924" y="474"/>
                  </a:lnTo>
                  <a:lnTo>
                    <a:pt x="924" y="480"/>
                  </a:lnTo>
                  <a:lnTo>
                    <a:pt x="926" y="482"/>
                  </a:lnTo>
                  <a:lnTo>
                    <a:pt x="926" y="482"/>
                  </a:lnTo>
                  <a:lnTo>
                    <a:pt x="926" y="482"/>
                  </a:lnTo>
                  <a:lnTo>
                    <a:pt x="926" y="482"/>
                  </a:lnTo>
                  <a:close/>
                  <a:moveTo>
                    <a:pt x="924" y="488"/>
                  </a:moveTo>
                  <a:lnTo>
                    <a:pt x="926" y="488"/>
                  </a:lnTo>
                  <a:lnTo>
                    <a:pt x="926" y="484"/>
                  </a:lnTo>
                  <a:lnTo>
                    <a:pt x="924" y="484"/>
                  </a:lnTo>
                  <a:lnTo>
                    <a:pt x="923" y="484"/>
                  </a:lnTo>
                  <a:lnTo>
                    <a:pt x="923" y="488"/>
                  </a:lnTo>
                  <a:lnTo>
                    <a:pt x="924" y="488"/>
                  </a:lnTo>
                  <a:lnTo>
                    <a:pt x="924" y="488"/>
                  </a:lnTo>
                  <a:lnTo>
                    <a:pt x="924" y="488"/>
                  </a:lnTo>
                  <a:lnTo>
                    <a:pt x="924" y="488"/>
                  </a:lnTo>
                  <a:close/>
                  <a:moveTo>
                    <a:pt x="785" y="410"/>
                  </a:moveTo>
                  <a:lnTo>
                    <a:pt x="785" y="412"/>
                  </a:lnTo>
                  <a:lnTo>
                    <a:pt x="785" y="412"/>
                  </a:lnTo>
                  <a:lnTo>
                    <a:pt x="787" y="412"/>
                  </a:lnTo>
                  <a:lnTo>
                    <a:pt x="789" y="414"/>
                  </a:lnTo>
                  <a:lnTo>
                    <a:pt x="791" y="412"/>
                  </a:lnTo>
                  <a:lnTo>
                    <a:pt x="789" y="410"/>
                  </a:lnTo>
                  <a:lnTo>
                    <a:pt x="785" y="409"/>
                  </a:lnTo>
                  <a:lnTo>
                    <a:pt x="785" y="410"/>
                  </a:lnTo>
                  <a:lnTo>
                    <a:pt x="785" y="410"/>
                  </a:lnTo>
                  <a:lnTo>
                    <a:pt x="785" y="410"/>
                  </a:lnTo>
                  <a:lnTo>
                    <a:pt x="785" y="410"/>
                  </a:lnTo>
                  <a:close/>
                  <a:moveTo>
                    <a:pt x="806" y="458"/>
                  </a:moveTo>
                  <a:lnTo>
                    <a:pt x="806" y="454"/>
                  </a:lnTo>
                  <a:lnTo>
                    <a:pt x="804" y="446"/>
                  </a:lnTo>
                  <a:lnTo>
                    <a:pt x="800" y="441"/>
                  </a:lnTo>
                  <a:lnTo>
                    <a:pt x="800" y="439"/>
                  </a:lnTo>
                  <a:lnTo>
                    <a:pt x="804" y="437"/>
                  </a:lnTo>
                  <a:lnTo>
                    <a:pt x="800" y="431"/>
                  </a:lnTo>
                  <a:lnTo>
                    <a:pt x="800" y="429"/>
                  </a:lnTo>
                  <a:lnTo>
                    <a:pt x="798" y="424"/>
                  </a:lnTo>
                  <a:lnTo>
                    <a:pt x="795" y="420"/>
                  </a:lnTo>
                  <a:lnTo>
                    <a:pt x="796" y="420"/>
                  </a:lnTo>
                  <a:lnTo>
                    <a:pt x="800" y="414"/>
                  </a:lnTo>
                  <a:lnTo>
                    <a:pt x="804" y="412"/>
                  </a:lnTo>
                  <a:lnTo>
                    <a:pt x="806" y="410"/>
                  </a:lnTo>
                  <a:lnTo>
                    <a:pt x="812" y="409"/>
                  </a:lnTo>
                  <a:lnTo>
                    <a:pt x="815" y="412"/>
                  </a:lnTo>
                  <a:lnTo>
                    <a:pt x="817" y="412"/>
                  </a:lnTo>
                  <a:lnTo>
                    <a:pt x="821" y="414"/>
                  </a:lnTo>
                  <a:lnTo>
                    <a:pt x="823" y="412"/>
                  </a:lnTo>
                  <a:lnTo>
                    <a:pt x="827" y="414"/>
                  </a:lnTo>
                  <a:lnTo>
                    <a:pt x="828" y="414"/>
                  </a:lnTo>
                  <a:lnTo>
                    <a:pt x="830" y="414"/>
                  </a:lnTo>
                  <a:lnTo>
                    <a:pt x="834" y="420"/>
                  </a:lnTo>
                  <a:lnTo>
                    <a:pt x="834" y="420"/>
                  </a:lnTo>
                  <a:lnTo>
                    <a:pt x="834" y="424"/>
                  </a:lnTo>
                  <a:lnTo>
                    <a:pt x="834" y="425"/>
                  </a:lnTo>
                  <a:lnTo>
                    <a:pt x="834" y="429"/>
                  </a:lnTo>
                  <a:lnTo>
                    <a:pt x="834" y="429"/>
                  </a:lnTo>
                  <a:lnTo>
                    <a:pt x="834" y="433"/>
                  </a:lnTo>
                  <a:lnTo>
                    <a:pt x="830" y="437"/>
                  </a:lnTo>
                  <a:lnTo>
                    <a:pt x="828" y="437"/>
                  </a:lnTo>
                  <a:lnTo>
                    <a:pt x="823" y="442"/>
                  </a:lnTo>
                  <a:lnTo>
                    <a:pt x="817" y="446"/>
                  </a:lnTo>
                  <a:lnTo>
                    <a:pt x="813" y="450"/>
                  </a:lnTo>
                  <a:lnTo>
                    <a:pt x="810" y="450"/>
                  </a:lnTo>
                  <a:lnTo>
                    <a:pt x="810" y="454"/>
                  </a:lnTo>
                  <a:lnTo>
                    <a:pt x="810" y="454"/>
                  </a:lnTo>
                  <a:lnTo>
                    <a:pt x="806" y="458"/>
                  </a:lnTo>
                  <a:lnTo>
                    <a:pt x="806" y="458"/>
                  </a:lnTo>
                  <a:lnTo>
                    <a:pt x="806" y="458"/>
                  </a:lnTo>
                  <a:lnTo>
                    <a:pt x="806" y="458"/>
                  </a:lnTo>
                  <a:close/>
                  <a:moveTo>
                    <a:pt x="940" y="533"/>
                  </a:moveTo>
                  <a:lnTo>
                    <a:pt x="934" y="527"/>
                  </a:lnTo>
                  <a:lnTo>
                    <a:pt x="932" y="529"/>
                  </a:lnTo>
                  <a:lnTo>
                    <a:pt x="924" y="527"/>
                  </a:lnTo>
                  <a:lnTo>
                    <a:pt x="926" y="523"/>
                  </a:lnTo>
                  <a:lnTo>
                    <a:pt x="930" y="522"/>
                  </a:lnTo>
                  <a:lnTo>
                    <a:pt x="932" y="523"/>
                  </a:lnTo>
                  <a:lnTo>
                    <a:pt x="934" y="522"/>
                  </a:lnTo>
                  <a:lnTo>
                    <a:pt x="934" y="520"/>
                  </a:lnTo>
                  <a:lnTo>
                    <a:pt x="930" y="520"/>
                  </a:lnTo>
                  <a:lnTo>
                    <a:pt x="928" y="518"/>
                  </a:lnTo>
                  <a:lnTo>
                    <a:pt x="934" y="514"/>
                  </a:lnTo>
                  <a:lnTo>
                    <a:pt x="936" y="506"/>
                  </a:lnTo>
                  <a:lnTo>
                    <a:pt x="936" y="505"/>
                  </a:lnTo>
                  <a:lnTo>
                    <a:pt x="938" y="503"/>
                  </a:lnTo>
                  <a:lnTo>
                    <a:pt x="938" y="501"/>
                  </a:lnTo>
                  <a:lnTo>
                    <a:pt x="934" y="497"/>
                  </a:lnTo>
                  <a:lnTo>
                    <a:pt x="936" y="495"/>
                  </a:lnTo>
                  <a:lnTo>
                    <a:pt x="936" y="493"/>
                  </a:lnTo>
                  <a:lnTo>
                    <a:pt x="940" y="484"/>
                  </a:lnTo>
                  <a:lnTo>
                    <a:pt x="943" y="482"/>
                  </a:lnTo>
                  <a:lnTo>
                    <a:pt x="943" y="480"/>
                  </a:lnTo>
                  <a:lnTo>
                    <a:pt x="943" y="476"/>
                  </a:lnTo>
                  <a:lnTo>
                    <a:pt x="947" y="473"/>
                  </a:lnTo>
                  <a:lnTo>
                    <a:pt x="947" y="471"/>
                  </a:lnTo>
                  <a:lnTo>
                    <a:pt x="947" y="465"/>
                  </a:lnTo>
                  <a:lnTo>
                    <a:pt x="953" y="463"/>
                  </a:lnTo>
                  <a:lnTo>
                    <a:pt x="955" y="458"/>
                  </a:lnTo>
                  <a:lnTo>
                    <a:pt x="956" y="454"/>
                  </a:lnTo>
                  <a:lnTo>
                    <a:pt x="958" y="454"/>
                  </a:lnTo>
                  <a:lnTo>
                    <a:pt x="956" y="450"/>
                  </a:lnTo>
                  <a:lnTo>
                    <a:pt x="960" y="448"/>
                  </a:lnTo>
                  <a:lnTo>
                    <a:pt x="962" y="448"/>
                  </a:lnTo>
                  <a:lnTo>
                    <a:pt x="966" y="454"/>
                  </a:lnTo>
                  <a:lnTo>
                    <a:pt x="966" y="458"/>
                  </a:lnTo>
                  <a:lnTo>
                    <a:pt x="968" y="458"/>
                  </a:lnTo>
                  <a:lnTo>
                    <a:pt x="968" y="454"/>
                  </a:lnTo>
                  <a:lnTo>
                    <a:pt x="966" y="450"/>
                  </a:lnTo>
                  <a:lnTo>
                    <a:pt x="968" y="448"/>
                  </a:lnTo>
                  <a:lnTo>
                    <a:pt x="968" y="446"/>
                  </a:lnTo>
                  <a:lnTo>
                    <a:pt x="966" y="442"/>
                  </a:lnTo>
                  <a:lnTo>
                    <a:pt x="968" y="437"/>
                  </a:lnTo>
                  <a:lnTo>
                    <a:pt x="977" y="435"/>
                  </a:lnTo>
                  <a:lnTo>
                    <a:pt x="983" y="435"/>
                  </a:lnTo>
                  <a:lnTo>
                    <a:pt x="987" y="435"/>
                  </a:lnTo>
                  <a:lnTo>
                    <a:pt x="988" y="437"/>
                  </a:lnTo>
                  <a:lnTo>
                    <a:pt x="992" y="435"/>
                  </a:lnTo>
                  <a:lnTo>
                    <a:pt x="992" y="439"/>
                  </a:lnTo>
                  <a:lnTo>
                    <a:pt x="996" y="437"/>
                  </a:lnTo>
                  <a:lnTo>
                    <a:pt x="998" y="437"/>
                  </a:lnTo>
                  <a:lnTo>
                    <a:pt x="1002" y="441"/>
                  </a:lnTo>
                  <a:lnTo>
                    <a:pt x="1005" y="442"/>
                  </a:lnTo>
                  <a:lnTo>
                    <a:pt x="1005" y="442"/>
                  </a:lnTo>
                  <a:lnTo>
                    <a:pt x="1007" y="442"/>
                  </a:lnTo>
                  <a:lnTo>
                    <a:pt x="1009" y="446"/>
                  </a:lnTo>
                  <a:lnTo>
                    <a:pt x="1009" y="450"/>
                  </a:lnTo>
                  <a:lnTo>
                    <a:pt x="1011" y="450"/>
                  </a:lnTo>
                  <a:lnTo>
                    <a:pt x="1013" y="450"/>
                  </a:lnTo>
                  <a:lnTo>
                    <a:pt x="1019" y="450"/>
                  </a:lnTo>
                  <a:lnTo>
                    <a:pt x="1026" y="450"/>
                  </a:lnTo>
                  <a:lnTo>
                    <a:pt x="1032" y="454"/>
                  </a:lnTo>
                  <a:lnTo>
                    <a:pt x="1032" y="458"/>
                  </a:lnTo>
                  <a:lnTo>
                    <a:pt x="1034" y="459"/>
                  </a:lnTo>
                  <a:lnTo>
                    <a:pt x="1036" y="463"/>
                  </a:lnTo>
                  <a:lnTo>
                    <a:pt x="1034" y="459"/>
                  </a:lnTo>
                  <a:lnTo>
                    <a:pt x="1032" y="459"/>
                  </a:lnTo>
                  <a:lnTo>
                    <a:pt x="1030" y="465"/>
                  </a:lnTo>
                  <a:lnTo>
                    <a:pt x="1026" y="469"/>
                  </a:lnTo>
                  <a:lnTo>
                    <a:pt x="1022" y="474"/>
                  </a:lnTo>
                  <a:lnTo>
                    <a:pt x="1019" y="474"/>
                  </a:lnTo>
                  <a:lnTo>
                    <a:pt x="1019" y="476"/>
                  </a:lnTo>
                  <a:lnTo>
                    <a:pt x="1011" y="482"/>
                  </a:lnTo>
                  <a:lnTo>
                    <a:pt x="1007" y="488"/>
                  </a:lnTo>
                  <a:lnTo>
                    <a:pt x="1005" y="488"/>
                  </a:lnTo>
                  <a:lnTo>
                    <a:pt x="1002" y="488"/>
                  </a:lnTo>
                  <a:lnTo>
                    <a:pt x="1005" y="490"/>
                  </a:lnTo>
                  <a:lnTo>
                    <a:pt x="1002" y="493"/>
                  </a:lnTo>
                  <a:lnTo>
                    <a:pt x="998" y="497"/>
                  </a:lnTo>
                  <a:lnTo>
                    <a:pt x="992" y="501"/>
                  </a:lnTo>
                  <a:lnTo>
                    <a:pt x="985" y="506"/>
                  </a:lnTo>
                  <a:lnTo>
                    <a:pt x="981" y="508"/>
                  </a:lnTo>
                  <a:lnTo>
                    <a:pt x="981" y="506"/>
                  </a:lnTo>
                  <a:lnTo>
                    <a:pt x="977" y="506"/>
                  </a:lnTo>
                  <a:lnTo>
                    <a:pt x="975" y="506"/>
                  </a:lnTo>
                  <a:lnTo>
                    <a:pt x="972" y="501"/>
                  </a:lnTo>
                  <a:lnTo>
                    <a:pt x="972" y="499"/>
                  </a:lnTo>
                  <a:lnTo>
                    <a:pt x="968" y="497"/>
                  </a:lnTo>
                  <a:lnTo>
                    <a:pt x="966" y="499"/>
                  </a:lnTo>
                  <a:lnTo>
                    <a:pt x="962" y="497"/>
                  </a:lnTo>
                  <a:lnTo>
                    <a:pt x="958" y="497"/>
                  </a:lnTo>
                  <a:lnTo>
                    <a:pt x="956" y="497"/>
                  </a:lnTo>
                  <a:lnTo>
                    <a:pt x="953" y="497"/>
                  </a:lnTo>
                  <a:lnTo>
                    <a:pt x="953" y="499"/>
                  </a:lnTo>
                  <a:lnTo>
                    <a:pt x="955" y="501"/>
                  </a:lnTo>
                  <a:lnTo>
                    <a:pt x="962" y="501"/>
                  </a:lnTo>
                  <a:lnTo>
                    <a:pt x="960" y="503"/>
                  </a:lnTo>
                  <a:lnTo>
                    <a:pt x="958" y="506"/>
                  </a:lnTo>
                  <a:lnTo>
                    <a:pt x="960" y="508"/>
                  </a:lnTo>
                  <a:lnTo>
                    <a:pt x="960" y="512"/>
                  </a:lnTo>
                  <a:lnTo>
                    <a:pt x="958" y="514"/>
                  </a:lnTo>
                  <a:lnTo>
                    <a:pt x="956" y="518"/>
                  </a:lnTo>
                  <a:lnTo>
                    <a:pt x="953" y="520"/>
                  </a:lnTo>
                  <a:lnTo>
                    <a:pt x="949" y="518"/>
                  </a:lnTo>
                  <a:lnTo>
                    <a:pt x="947" y="522"/>
                  </a:lnTo>
                  <a:lnTo>
                    <a:pt x="947" y="525"/>
                  </a:lnTo>
                  <a:lnTo>
                    <a:pt x="943" y="527"/>
                  </a:lnTo>
                  <a:lnTo>
                    <a:pt x="941" y="527"/>
                  </a:lnTo>
                  <a:lnTo>
                    <a:pt x="941" y="531"/>
                  </a:lnTo>
                  <a:lnTo>
                    <a:pt x="941" y="531"/>
                  </a:lnTo>
                  <a:lnTo>
                    <a:pt x="940" y="533"/>
                  </a:lnTo>
                  <a:lnTo>
                    <a:pt x="940" y="533"/>
                  </a:lnTo>
                  <a:lnTo>
                    <a:pt x="940" y="533"/>
                  </a:lnTo>
                  <a:lnTo>
                    <a:pt x="940" y="533"/>
                  </a:lnTo>
                  <a:close/>
                  <a:moveTo>
                    <a:pt x="1167" y="548"/>
                  </a:moveTo>
                  <a:lnTo>
                    <a:pt x="1160" y="544"/>
                  </a:lnTo>
                  <a:lnTo>
                    <a:pt x="1158" y="544"/>
                  </a:lnTo>
                  <a:lnTo>
                    <a:pt x="1156" y="539"/>
                  </a:lnTo>
                  <a:lnTo>
                    <a:pt x="1154" y="539"/>
                  </a:lnTo>
                  <a:lnTo>
                    <a:pt x="1152" y="535"/>
                  </a:lnTo>
                  <a:lnTo>
                    <a:pt x="1154" y="531"/>
                  </a:lnTo>
                  <a:lnTo>
                    <a:pt x="1158" y="527"/>
                  </a:lnTo>
                  <a:lnTo>
                    <a:pt x="1158" y="525"/>
                  </a:lnTo>
                  <a:lnTo>
                    <a:pt x="1160" y="522"/>
                  </a:lnTo>
                  <a:lnTo>
                    <a:pt x="1158" y="520"/>
                  </a:lnTo>
                  <a:lnTo>
                    <a:pt x="1154" y="518"/>
                  </a:lnTo>
                  <a:lnTo>
                    <a:pt x="1152" y="518"/>
                  </a:lnTo>
                  <a:lnTo>
                    <a:pt x="1154" y="508"/>
                  </a:lnTo>
                  <a:lnTo>
                    <a:pt x="1158" y="510"/>
                  </a:lnTo>
                  <a:lnTo>
                    <a:pt x="1158" y="506"/>
                  </a:lnTo>
                  <a:lnTo>
                    <a:pt x="1158" y="503"/>
                  </a:lnTo>
                  <a:lnTo>
                    <a:pt x="1160" y="501"/>
                  </a:lnTo>
                  <a:lnTo>
                    <a:pt x="1160" y="495"/>
                  </a:lnTo>
                  <a:lnTo>
                    <a:pt x="1164" y="493"/>
                  </a:lnTo>
                  <a:lnTo>
                    <a:pt x="1167" y="497"/>
                  </a:lnTo>
                  <a:lnTo>
                    <a:pt x="1167" y="499"/>
                  </a:lnTo>
                  <a:lnTo>
                    <a:pt x="1175" y="503"/>
                  </a:lnTo>
                  <a:lnTo>
                    <a:pt x="1177" y="505"/>
                  </a:lnTo>
                  <a:lnTo>
                    <a:pt x="1180" y="506"/>
                  </a:lnTo>
                  <a:lnTo>
                    <a:pt x="1182" y="505"/>
                  </a:lnTo>
                  <a:lnTo>
                    <a:pt x="1188" y="506"/>
                  </a:lnTo>
                  <a:lnTo>
                    <a:pt x="1194" y="506"/>
                  </a:lnTo>
                  <a:lnTo>
                    <a:pt x="1197" y="508"/>
                  </a:lnTo>
                  <a:lnTo>
                    <a:pt x="1197" y="512"/>
                  </a:lnTo>
                  <a:lnTo>
                    <a:pt x="1203" y="514"/>
                  </a:lnTo>
                  <a:lnTo>
                    <a:pt x="1205" y="518"/>
                  </a:lnTo>
                  <a:lnTo>
                    <a:pt x="1203" y="522"/>
                  </a:lnTo>
                  <a:lnTo>
                    <a:pt x="1203" y="525"/>
                  </a:lnTo>
                  <a:lnTo>
                    <a:pt x="1207" y="527"/>
                  </a:lnTo>
                  <a:lnTo>
                    <a:pt x="1205" y="529"/>
                  </a:lnTo>
                  <a:lnTo>
                    <a:pt x="1207" y="533"/>
                  </a:lnTo>
                  <a:lnTo>
                    <a:pt x="1207" y="535"/>
                  </a:lnTo>
                  <a:lnTo>
                    <a:pt x="1209" y="539"/>
                  </a:lnTo>
                  <a:lnTo>
                    <a:pt x="1207" y="542"/>
                  </a:lnTo>
                  <a:lnTo>
                    <a:pt x="1205" y="544"/>
                  </a:lnTo>
                  <a:lnTo>
                    <a:pt x="1211" y="544"/>
                  </a:lnTo>
                  <a:lnTo>
                    <a:pt x="1211" y="548"/>
                  </a:lnTo>
                  <a:lnTo>
                    <a:pt x="1209" y="548"/>
                  </a:lnTo>
                  <a:lnTo>
                    <a:pt x="1207" y="552"/>
                  </a:lnTo>
                  <a:lnTo>
                    <a:pt x="1199" y="548"/>
                  </a:lnTo>
                  <a:lnTo>
                    <a:pt x="1197" y="548"/>
                  </a:lnTo>
                  <a:lnTo>
                    <a:pt x="1194" y="548"/>
                  </a:lnTo>
                  <a:lnTo>
                    <a:pt x="1188" y="544"/>
                  </a:lnTo>
                  <a:lnTo>
                    <a:pt x="1184" y="544"/>
                  </a:lnTo>
                  <a:lnTo>
                    <a:pt x="1184" y="544"/>
                  </a:lnTo>
                  <a:lnTo>
                    <a:pt x="1180" y="542"/>
                  </a:lnTo>
                  <a:lnTo>
                    <a:pt x="1175" y="544"/>
                  </a:lnTo>
                  <a:lnTo>
                    <a:pt x="1173" y="544"/>
                  </a:lnTo>
                  <a:lnTo>
                    <a:pt x="1167" y="548"/>
                  </a:lnTo>
                  <a:lnTo>
                    <a:pt x="1167" y="548"/>
                  </a:lnTo>
                  <a:lnTo>
                    <a:pt x="1167" y="548"/>
                  </a:lnTo>
                  <a:lnTo>
                    <a:pt x="1167" y="548"/>
                  </a:lnTo>
                  <a:lnTo>
                    <a:pt x="1167" y="548"/>
                  </a:lnTo>
                  <a:close/>
                  <a:moveTo>
                    <a:pt x="1145" y="554"/>
                  </a:moveTo>
                  <a:lnTo>
                    <a:pt x="1145" y="552"/>
                  </a:lnTo>
                  <a:lnTo>
                    <a:pt x="1147" y="548"/>
                  </a:lnTo>
                  <a:lnTo>
                    <a:pt x="1147" y="548"/>
                  </a:lnTo>
                  <a:lnTo>
                    <a:pt x="1147" y="552"/>
                  </a:lnTo>
                  <a:lnTo>
                    <a:pt x="1145" y="554"/>
                  </a:lnTo>
                  <a:lnTo>
                    <a:pt x="1145" y="554"/>
                  </a:lnTo>
                  <a:lnTo>
                    <a:pt x="1145" y="554"/>
                  </a:lnTo>
                  <a:lnTo>
                    <a:pt x="1145" y="554"/>
                  </a:lnTo>
                  <a:close/>
                  <a:moveTo>
                    <a:pt x="1150" y="557"/>
                  </a:moveTo>
                  <a:lnTo>
                    <a:pt x="1148" y="554"/>
                  </a:lnTo>
                  <a:lnTo>
                    <a:pt x="1150" y="552"/>
                  </a:lnTo>
                  <a:lnTo>
                    <a:pt x="1152" y="554"/>
                  </a:lnTo>
                  <a:lnTo>
                    <a:pt x="1152" y="555"/>
                  </a:lnTo>
                  <a:lnTo>
                    <a:pt x="1150" y="557"/>
                  </a:lnTo>
                  <a:lnTo>
                    <a:pt x="1150" y="557"/>
                  </a:lnTo>
                  <a:lnTo>
                    <a:pt x="1150" y="557"/>
                  </a:lnTo>
                  <a:lnTo>
                    <a:pt x="1150" y="557"/>
                  </a:lnTo>
                  <a:close/>
                  <a:moveTo>
                    <a:pt x="1160" y="557"/>
                  </a:moveTo>
                  <a:lnTo>
                    <a:pt x="1158" y="555"/>
                  </a:lnTo>
                  <a:lnTo>
                    <a:pt x="1158" y="554"/>
                  </a:lnTo>
                  <a:lnTo>
                    <a:pt x="1160" y="554"/>
                  </a:lnTo>
                  <a:lnTo>
                    <a:pt x="1160" y="555"/>
                  </a:lnTo>
                  <a:lnTo>
                    <a:pt x="1160" y="557"/>
                  </a:lnTo>
                  <a:lnTo>
                    <a:pt x="1160" y="557"/>
                  </a:lnTo>
                  <a:lnTo>
                    <a:pt x="1160" y="557"/>
                  </a:lnTo>
                  <a:lnTo>
                    <a:pt x="1160" y="557"/>
                  </a:lnTo>
                  <a:close/>
                  <a:moveTo>
                    <a:pt x="932" y="636"/>
                  </a:moveTo>
                  <a:lnTo>
                    <a:pt x="930" y="633"/>
                  </a:lnTo>
                  <a:lnTo>
                    <a:pt x="932" y="633"/>
                  </a:lnTo>
                  <a:lnTo>
                    <a:pt x="934" y="633"/>
                  </a:lnTo>
                  <a:lnTo>
                    <a:pt x="936" y="633"/>
                  </a:lnTo>
                  <a:lnTo>
                    <a:pt x="936" y="633"/>
                  </a:lnTo>
                  <a:lnTo>
                    <a:pt x="934" y="636"/>
                  </a:lnTo>
                  <a:lnTo>
                    <a:pt x="932" y="636"/>
                  </a:lnTo>
                  <a:lnTo>
                    <a:pt x="932" y="636"/>
                  </a:lnTo>
                  <a:lnTo>
                    <a:pt x="932" y="636"/>
                  </a:lnTo>
                  <a:lnTo>
                    <a:pt x="932" y="636"/>
                  </a:lnTo>
                  <a:close/>
                  <a:moveTo>
                    <a:pt x="943" y="653"/>
                  </a:moveTo>
                  <a:lnTo>
                    <a:pt x="943" y="659"/>
                  </a:lnTo>
                  <a:lnTo>
                    <a:pt x="943" y="657"/>
                  </a:lnTo>
                  <a:lnTo>
                    <a:pt x="947" y="657"/>
                  </a:lnTo>
                  <a:lnTo>
                    <a:pt x="947" y="653"/>
                  </a:lnTo>
                  <a:lnTo>
                    <a:pt x="943" y="652"/>
                  </a:lnTo>
                  <a:lnTo>
                    <a:pt x="943" y="653"/>
                  </a:lnTo>
                  <a:lnTo>
                    <a:pt x="943" y="653"/>
                  </a:lnTo>
                  <a:lnTo>
                    <a:pt x="943" y="653"/>
                  </a:lnTo>
                  <a:lnTo>
                    <a:pt x="943" y="653"/>
                  </a:lnTo>
                  <a:close/>
                  <a:moveTo>
                    <a:pt x="940" y="655"/>
                  </a:moveTo>
                  <a:lnTo>
                    <a:pt x="938" y="657"/>
                  </a:lnTo>
                  <a:lnTo>
                    <a:pt x="940" y="659"/>
                  </a:lnTo>
                  <a:lnTo>
                    <a:pt x="940" y="661"/>
                  </a:lnTo>
                  <a:lnTo>
                    <a:pt x="941" y="663"/>
                  </a:lnTo>
                  <a:lnTo>
                    <a:pt x="941" y="661"/>
                  </a:lnTo>
                  <a:lnTo>
                    <a:pt x="941" y="655"/>
                  </a:lnTo>
                  <a:lnTo>
                    <a:pt x="941" y="653"/>
                  </a:lnTo>
                  <a:lnTo>
                    <a:pt x="940" y="655"/>
                  </a:lnTo>
                  <a:lnTo>
                    <a:pt x="940" y="655"/>
                  </a:lnTo>
                  <a:lnTo>
                    <a:pt x="940" y="655"/>
                  </a:lnTo>
                  <a:lnTo>
                    <a:pt x="940" y="655"/>
                  </a:lnTo>
                  <a:close/>
                  <a:moveTo>
                    <a:pt x="1009" y="640"/>
                  </a:moveTo>
                  <a:lnTo>
                    <a:pt x="1009" y="638"/>
                  </a:lnTo>
                  <a:lnTo>
                    <a:pt x="1005" y="638"/>
                  </a:lnTo>
                  <a:lnTo>
                    <a:pt x="1005" y="636"/>
                  </a:lnTo>
                  <a:lnTo>
                    <a:pt x="1005" y="638"/>
                  </a:lnTo>
                  <a:lnTo>
                    <a:pt x="1002" y="638"/>
                  </a:lnTo>
                  <a:lnTo>
                    <a:pt x="1002" y="636"/>
                  </a:lnTo>
                  <a:lnTo>
                    <a:pt x="998" y="633"/>
                  </a:lnTo>
                  <a:lnTo>
                    <a:pt x="1005" y="633"/>
                  </a:lnTo>
                  <a:lnTo>
                    <a:pt x="1005" y="633"/>
                  </a:lnTo>
                  <a:lnTo>
                    <a:pt x="1007" y="633"/>
                  </a:lnTo>
                  <a:lnTo>
                    <a:pt x="1009" y="636"/>
                  </a:lnTo>
                  <a:lnTo>
                    <a:pt x="1013" y="636"/>
                  </a:lnTo>
                  <a:lnTo>
                    <a:pt x="1013" y="638"/>
                  </a:lnTo>
                  <a:lnTo>
                    <a:pt x="1013" y="640"/>
                  </a:lnTo>
                  <a:lnTo>
                    <a:pt x="1013" y="640"/>
                  </a:lnTo>
                  <a:lnTo>
                    <a:pt x="1009" y="640"/>
                  </a:lnTo>
                  <a:lnTo>
                    <a:pt x="1009" y="640"/>
                  </a:lnTo>
                  <a:lnTo>
                    <a:pt x="1009" y="640"/>
                  </a:lnTo>
                  <a:lnTo>
                    <a:pt x="1009" y="640"/>
                  </a:lnTo>
                  <a:close/>
                  <a:moveTo>
                    <a:pt x="1051" y="657"/>
                  </a:moveTo>
                  <a:lnTo>
                    <a:pt x="1049" y="657"/>
                  </a:lnTo>
                  <a:lnTo>
                    <a:pt x="1047" y="653"/>
                  </a:lnTo>
                  <a:lnTo>
                    <a:pt x="1049" y="655"/>
                  </a:lnTo>
                  <a:lnTo>
                    <a:pt x="1051" y="655"/>
                  </a:lnTo>
                  <a:lnTo>
                    <a:pt x="1051" y="657"/>
                  </a:lnTo>
                  <a:lnTo>
                    <a:pt x="1051" y="657"/>
                  </a:lnTo>
                  <a:lnTo>
                    <a:pt x="1051" y="657"/>
                  </a:lnTo>
                  <a:lnTo>
                    <a:pt x="1051" y="657"/>
                  </a:lnTo>
                  <a:lnTo>
                    <a:pt x="1051" y="657"/>
                  </a:lnTo>
                  <a:close/>
                  <a:moveTo>
                    <a:pt x="1056" y="659"/>
                  </a:moveTo>
                  <a:lnTo>
                    <a:pt x="1056" y="659"/>
                  </a:lnTo>
                  <a:lnTo>
                    <a:pt x="1056" y="657"/>
                  </a:lnTo>
                  <a:lnTo>
                    <a:pt x="1056" y="659"/>
                  </a:lnTo>
                  <a:lnTo>
                    <a:pt x="1056" y="659"/>
                  </a:lnTo>
                  <a:lnTo>
                    <a:pt x="1056" y="659"/>
                  </a:lnTo>
                  <a:lnTo>
                    <a:pt x="1056" y="659"/>
                  </a:lnTo>
                  <a:close/>
                  <a:moveTo>
                    <a:pt x="1060" y="661"/>
                  </a:moveTo>
                  <a:lnTo>
                    <a:pt x="1062" y="661"/>
                  </a:lnTo>
                  <a:lnTo>
                    <a:pt x="1064" y="663"/>
                  </a:lnTo>
                  <a:lnTo>
                    <a:pt x="1066" y="663"/>
                  </a:lnTo>
                  <a:lnTo>
                    <a:pt x="1066" y="661"/>
                  </a:lnTo>
                  <a:lnTo>
                    <a:pt x="1064" y="659"/>
                  </a:lnTo>
                  <a:lnTo>
                    <a:pt x="1062" y="657"/>
                  </a:lnTo>
                  <a:lnTo>
                    <a:pt x="1060" y="657"/>
                  </a:lnTo>
                  <a:lnTo>
                    <a:pt x="1060" y="659"/>
                  </a:lnTo>
                  <a:lnTo>
                    <a:pt x="1060" y="661"/>
                  </a:lnTo>
                  <a:lnTo>
                    <a:pt x="1060" y="661"/>
                  </a:lnTo>
                  <a:lnTo>
                    <a:pt x="1060" y="661"/>
                  </a:lnTo>
                  <a:lnTo>
                    <a:pt x="1060" y="661"/>
                  </a:lnTo>
                  <a:close/>
                  <a:moveTo>
                    <a:pt x="1103" y="717"/>
                  </a:moveTo>
                  <a:lnTo>
                    <a:pt x="1103" y="716"/>
                  </a:lnTo>
                  <a:lnTo>
                    <a:pt x="1105" y="714"/>
                  </a:lnTo>
                  <a:lnTo>
                    <a:pt x="1103" y="710"/>
                  </a:lnTo>
                  <a:lnTo>
                    <a:pt x="1105" y="712"/>
                  </a:lnTo>
                  <a:lnTo>
                    <a:pt x="1105" y="714"/>
                  </a:lnTo>
                  <a:lnTo>
                    <a:pt x="1105" y="716"/>
                  </a:lnTo>
                  <a:lnTo>
                    <a:pt x="1105" y="717"/>
                  </a:lnTo>
                  <a:lnTo>
                    <a:pt x="1103" y="717"/>
                  </a:lnTo>
                  <a:lnTo>
                    <a:pt x="1103" y="717"/>
                  </a:lnTo>
                  <a:lnTo>
                    <a:pt x="1103" y="717"/>
                  </a:lnTo>
                  <a:lnTo>
                    <a:pt x="1103" y="717"/>
                  </a:lnTo>
                  <a:close/>
                  <a:moveTo>
                    <a:pt x="1100" y="731"/>
                  </a:moveTo>
                  <a:lnTo>
                    <a:pt x="1098" y="725"/>
                  </a:lnTo>
                  <a:lnTo>
                    <a:pt x="1100" y="721"/>
                  </a:lnTo>
                  <a:lnTo>
                    <a:pt x="1101" y="721"/>
                  </a:lnTo>
                  <a:lnTo>
                    <a:pt x="1105" y="721"/>
                  </a:lnTo>
                  <a:lnTo>
                    <a:pt x="1105" y="727"/>
                  </a:lnTo>
                  <a:lnTo>
                    <a:pt x="1101" y="727"/>
                  </a:lnTo>
                  <a:lnTo>
                    <a:pt x="1101" y="727"/>
                  </a:lnTo>
                  <a:lnTo>
                    <a:pt x="1100" y="731"/>
                  </a:lnTo>
                  <a:lnTo>
                    <a:pt x="1100" y="731"/>
                  </a:lnTo>
                  <a:lnTo>
                    <a:pt x="1100" y="731"/>
                  </a:lnTo>
                  <a:lnTo>
                    <a:pt x="1100" y="731"/>
                  </a:lnTo>
                  <a:close/>
                  <a:moveTo>
                    <a:pt x="1075" y="672"/>
                  </a:moveTo>
                  <a:lnTo>
                    <a:pt x="1073" y="670"/>
                  </a:lnTo>
                  <a:lnTo>
                    <a:pt x="1075" y="670"/>
                  </a:lnTo>
                  <a:lnTo>
                    <a:pt x="1075" y="672"/>
                  </a:lnTo>
                  <a:lnTo>
                    <a:pt x="1075" y="672"/>
                  </a:lnTo>
                  <a:lnTo>
                    <a:pt x="1075" y="672"/>
                  </a:lnTo>
                  <a:lnTo>
                    <a:pt x="1075" y="672"/>
                  </a:lnTo>
                  <a:close/>
                  <a:moveTo>
                    <a:pt x="1069" y="676"/>
                  </a:moveTo>
                  <a:lnTo>
                    <a:pt x="1068" y="670"/>
                  </a:lnTo>
                  <a:lnTo>
                    <a:pt x="1069" y="670"/>
                  </a:lnTo>
                  <a:lnTo>
                    <a:pt x="1069" y="672"/>
                  </a:lnTo>
                  <a:lnTo>
                    <a:pt x="1069" y="676"/>
                  </a:lnTo>
                  <a:lnTo>
                    <a:pt x="1069" y="676"/>
                  </a:lnTo>
                  <a:lnTo>
                    <a:pt x="1069" y="676"/>
                  </a:lnTo>
                  <a:lnTo>
                    <a:pt x="1069" y="676"/>
                  </a:lnTo>
                  <a:close/>
                  <a:moveTo>
                    <a:pt x="1069" y="676"/>
                  </a:moveTo>
                  <a:lnTo>
                    <a:pt x="1071" y="678"/>
                  </a:lnTo>
                  <a:lnTo>
                    <a:pt x="1073" y="678"/>
                  </a:lnTo>
                  <a:lnTo>
                    <a:pt x="1075" y="678"/>
                  </a:lnTo>
                  <a:lnTo>
                    <a:pt x="1077" y="676"/>
                  </a:lnTo>
                  <a:lnTo>
                    <a:pt x="1073" y="676"/>
                  </a:lnTo>
                  <a:lnTo>
                    <a:pt x="1071" y="676"/>
                  </a:lnTo>
                  <a:lnTo>
                    <a:pt x="1069" y="676"/>
                  </a:lnTo>
                  <a:lnTo>
                    <a:pt x="1069" y="676"/>
                  </a:lnTo>
                  <a:lnTo>
                    <a:pt x="1069" y="676"/>
                  </a:lnTo>
                  <a:lnTo>
                    <a:pt x="1069" y="676"/>
                  </a:lnTo>
                  <a:close/>
                  <a:moveTo>
                    <a:pt x="1094" y="667"/>
                  </a:moveTo>
                  <a:lnTo>
                    <a:pt x="1096" y="667"/>
                  </a:lnTo>
                  <a:lnTo>
                    <a:pt x="1098" y="670"/>
                  </a:lnTo>
                  <a:lnTo>
                    <a:pt x="1098" y="670"/>
                  </a:lnTo>
                  <a:lnTo>
                    <a:pt x="1098" y="670"/>
                  </a:lnTo>
                  <a:lnTo>
                    <a:pt x="1100" y="672"/>
                  </a:lnTo>
                  <a:lnTo>
                    <a:pt x="1101" y="672"/>
                  </a:lnTo>
                  <a:lnTo>
                    <a:pt x="1101" y="670"/>
                  </a:lnTo>
                  <a:lnTo>
                    <a:pt x="1103" y="670"/>
                  </a:lnTo>
                  <a:lnTo>
                    <a:pt x="1105" y="670"/>
                  </a:lnTo>
                  <a:lnTo>
                    <a:pt x="1105" y="670"/>
                  </a:lnTo>
                  <a:lnTo>
                    <a:pt x="1109" y="670"/>
                  </a:lnTo>
                  <a:lnTo>
                    <a:pt x="1109" y="667"/>
                  </a:lnTo>
                  <a:lnTo>
                    <a:pt x="1103" y="667"/>
                  </a:lnTo>
                  <a:lnTo>
                    <a:pt x="1101" y="663"/>
                  </a:lnTo>
                  <a:lnTo>
                    <a:pt x="1098" y="663"/>
                  </a:lnTo>
                  <a:lnTo>
                    <a:pt x="1096" y="663"/>
                  </a:lnTo>
                  <a:lnTo>
                    <a:pt x="1096" y="663"/>
                  </a:lnTo>
                  <a:lnTo>
                    <a:pt x="1094" y="667"/>
                  </a:lnTo>
                  <a:lnTo>
                    <a:pt x="1094" y="667"/>
                  </a:lnTo>
                  <a:lnTo>
                    <a:pt x="1094" y="667"/>
                  </a:lnTo>
                  <a:lnTo>
                    <a:pt x="1094" y="667"/>
                  </a:lnTo>
                  <a:close/>
                  <a:moveTo>
                    <a:pt x="1135" y="663"/>
                  </a:moveTo>
                  <a:lnTo>
                    <a:pt x="1135" y="661"/>
                  </a:lnTo>
                  <a:lnTo>
                    <a:pt x="1139" y="661"/>
                  </a:lnTo>
                  <a:lnTo>
                    <a:pt x="1135" y="663"/>
                  </a:lnTo>
                  <a:lnTo>
                    <a:pt x="1135" y="663"/>
                  </a:lnTo>
                  <a:lnTo>
                    <a:pt x="1135" y="663"/>
                  </a:lnTo>
                  <a:lnTo>
                    <a:pt x="1135" y="663"/>
                  </a:lnTo>
                  <a:lnTo>
                    <a:pt x="1135" y="663"/>
                  </a:lnTo>
                  <a:close/>
                  <a:moveTo>
                    <a:pt x="1120" y="680"/>
                  </a:moveTo>
                  <a:lnTo>
                    <a:pt x="1124" y="678"/>
                  </a:lnTo>
                  <a:lnTo>
                    <a:pt x="1126" y="676"/>
                  </a:lnTo>
                  <a:lnTo>
                    <a:pt x="1128" y="676"/>
                  </a:lnTo>
                  <a:lnTo>
                    <a:pt x="1130" y="672"/>
                  </a:lnTo>
                  <a:lnTo>
                    <a:pt x="1130" y="672"/>
                  </a:lnTo>
                  <a:lnTo>
                    <a:pt x="1133" y="676"/>
                  </a:lnTo>
                  <a:lnTo>
                    <a:pt x="1130" y="676"/>
                  </a:lnTo>
                  <a:lnTo>
                    <a:pt x="1128" y="678"/>
                  </a:lnTo>
                  <a:lnTo>
                    <a:pt x="1126" y="680"/>
                  </a:lnTo>
                  <a:lnTo>
                    <a:pt x="1122" y="680"/>
                  </a:lnTo>
                  <a:lnTo>
                    <a:pt x="1120" y="680"/>
                  </a:lnTo>
                  <a:lnTo>
                    <a:pt x="1120" y="680"/>
                  </a:lnTo>
                  <a:lnTo>
                    <a:pt x="1120" y="680"/>
                  </a:lnTo>
                  <a:lnTo>
                    <a:pt x="1120" y="680"/>
                  </a:lnTo>
                  <a:close/>
                  <a:moveTo>
                    <a:pt x="1109" y="702"/>
                  </a:moveTo>
                  <a:lnTo>
                    <a:pt x="1115" y="697"/>
                  </a:lnTo>
                  <a:lnTo>
                    <a:pt x="1115" y="697"/>
                  </a:lnTo>
                  <a:lnTo>
                    <a:pt x="1118" y="697"/>
                  </a:lnTo>
                  <a:lnTo>
                    <a:pt x="1120" y="693"/>
                  </a:lnTo>
                  <a:lnTo>
                    <a:pt x="1124" y="687"/>
                  </a:lnTo>
                  <a:lnTo>
                    <a:pt x="1124" y="685"/>
                  </a:lnTo>
                  <a:lnTo>
                    <a:pt x="1122" y="685"/>
                  </a:lnTo>
                  <a:lnTo>
                    <a:pt x="1118" y="685"/>
                  </a:lnTo>
                  <a:lnTo>
                    <a:pt x="1118" y="687"/>
                  </a:lnTo>
                  <a:lnTo>
                    <a:pt x="1118" y="687"/>
                  </a:lnTo>
                  <a:lnTo>
                    <a:pt x="1115" y="693"/>
                  </a:lnTo>
                  <a:lnTo>
                    <a:pt x="1109" y="695"/>
                  </a:lnTo>
                  <a:lnTo>
                    <a:pt x="1105" y="695"/>
                  </a:lnTo>
                  <a:lnTo>
                    <a:pt x="1103" y="695"/>
                  </a:lnTo>
                  <a:lnTo>
                    <a:pt x="1101" y="697"/>
                  </a:lnTo>
                  <a:lnTo>
                    <a:pt x="1100" y="701"/>
                  </a:lnTo>
                  <a:lnTo>
                    <a:pt x="1100" y="702"/>
                  </a:lnTo>
                  <a:lnTo>
                    <a:pt x="1101" y="702"/>
                  </a:lnTo>
                  <a:lnTo>
                    <a:pt x="1105" y="702"/>
                  </a:lnTo>
                  <a:lnTo>
                    <a:pt x="1109" y="702"/>
                  </a:lnTo>
                  <a:lnTo>
                    <a:pt x="1109" y="702"/>
                  </a:lnTo>
                  <a:lnTo>
                    <a:pt x="1109" y="702"/>
                  </a:lnTo>
                  <a:lnTo>
                    <a:pt x="1109" y="702"/>
                  </a:lnTo>
                  <a:close/>
                  <a:moveTo>
                    <a:pt x="1135" y="701"/>
                  </a:moveTo>
                  <a:lnTo>
                    <a:pt x="1135" y="695"/>
                  </a:lnTo>
                  <a:lnTo>
                    <a:pt x="1139" y="693"/>
                  </a:lnTo>
                  <a:lnTo>
                    <a:pt x="1139" y="687"/>
                  </a:lnTo>
                  <a:lnTo>
                    <a:pt x="1143" y="687"/>
                  </a:lnTo>
                  <a:lnTo>
                    <a:pt x="1145" y="691"/>
                  </a:lnTo>
                  <a:lnTo>
                    <a:pt x="1145" y="695"/>
                  </a:lnTo>
                  <a:lnTo>
                    <a:pt x="1145" y="697"/>
                  </a:lnTo>
                  <a:lnTo>
                    <a:pt x="1143" y="697"/>
                  </a:lnTo>
                  <a:lnTo>
                    <a:pt x="1139" y="701"/>
                  </a:lnTo>
                  <a:lnTo>
                    <a:pt x="1135" y="701"/>
                  </a:lnTo>
                  <a:lnTo>
                    <a:pt x="1135" y="701"/>
                  </a:lnTo>
                  <a:lnTo>
                    <a:pt x="1135" y="701"/>
                  </a:lnTo>
                  <a:lnTo>
                    <a:pt x="1135" y="701"/>
                  </a:lnTo>
                  <a:close/>
                  <a:moveTo>
                    <a:pt x="1160" y="731"/>
                  </a:moveTo>
                  <a:lnTo>
                    <a:pt x="1160" y="725"/>
                  </a:lnTo>
                  <a:lnTo>
                    <a:pt x="1160" y="721"/>
                  </a:lnTo>
                  <a:lnTo>
                    <a:pt x="1160" y="717"/>
                  </a:lnTo>
                  <a:lnTo>
                    <a:pt x="1158" y="717"/>
                  </a:lnTo>
                  <a:lnTo>
                    <a:pt x="1158" y="721"/>
                  </a:lnTo>
                  <a:lnTo>
                    <a:pt x="1156" y="725"/>
                  </a:lnTo>
                  <a:lnTo>
                    <a:pt x="1156" y="727"/>
                  </a:lnTo>
                  <a:lnTo>
                    <a:pt x="1158" y="731"/>
                  </a:lnTo>
                  <a:lnTo>
                    <a:pt x="1158" y="733"/>
                  </a:lnTo>
                  <a:lnTo>
                    <a:pt x="1160" y="731"/>
                  </a:lnTo>
                  <a:lnTo>
                    <a:pt x="1160" y="731"/>
                  </a:lnTo>
                  <a:lnTo>
                    <a:pt x="1160" y="731"/>
                  </a:lnTo>
                  <a:lnTo>
                    <a:pt x="1160" y="731"/>
                  </a:lnTo>
                  <a:lnTo>
                    <a:pt x="1160" y="731"/>
                  </a:lnTo>
                  <a:close/>
                  <a:moveTo>
                    <a:pt x="1164" y="727"/>
                  </a:moveTo>
                  <a:lnTo>
                    <a:pt x="1164" y="725"/>
                  </a:lnTo>
                  <a:lnTo>
                    <a:pt x="1164" y="721"/>
                  </a:lnTo>
                  <a:lnTo>
                    <a:pt x="1164" y="725"/>
                  </a:lnTo>
                  <a:lnTo>
                    <a:pt x="1167" y="727"/>
                  </a:lnTo>
                  <a:lnTo>
                    <a:pt x="1164" y="727"/>
                  </a:lnTo>
                  <a:lnTo>
                    <a:pt x="1164" y="727"/>
                  </a:lnTo>
                  <a:lnTo>
                    <a:pt x="1164" y="727"/>
                  </a:lnTo>
                  <a:lnTo>
                    <a:pt x="1164" y="727"/>
                  </a:lnTo>
                  <a:lnTo>
                    <a:pt x="1164" y="727"/>
                  </a:lnTo>
                  <a:close/>
                  <a:moveTo>
                    <a:pt x="1169" y="734"/>
                  </a:moveTo>
                  <a:lnTo>
                    <a:pt x="1167" y="733"/>
                  </a:lnTo>
                  <a:lnTo>
                    <a:pt x="1167" y="731"/>
                  </a:lnTo>
                  <a:lnTo>
                    <a:pt x="1169" y="731"/>
                  </a:lnTo>
                  <a:lnTo>
                    <a:pt x="1169" y="734"/>
                  </a:lnTo>
                  <a:lnTo>
                    <a:pt x="1169" y="734"/>
                  </a:lnTo>
                  <a:lnTo>
                    <a:pt x="1169" y="734"/>
                  </a:lnTo>
                  <a:lnTo>
                    <a:pt x="1169" y="734"/>
                  </a:lnTo>
                  <a:lnTo>
                    <a:pt x="1169" y="734"/>
                  </a:lnTo>
                  <a:close/>
                  <a:moveTo>
                    <a:pt x="1158" y="742"/>
                  </a:moveTo>
                  <a:lnTo>
                    <a:pt x="1156" y="744"/>
                  </a:lnTo>
                  <a:lnTo>
                    <a:pt x="1158" y="748"/>
                  </a:lnTo>
                  <a:lnTo>
                    <a:pt x="1158" y="751"/>
                  </a:lnTo>
                  <a:lnTo>
                    <a:pt x="1160" y="751"/>
                  </a:lnTo>
                  <a:lnTo>
                    <a:pt x="1160" y="751"/>
                  </a:lnTo>
                  <a:lnTo>
                    <a:pt x="1164" y="751"/>
                  </a:lnTo>
                  <a:lnTo>
                    <a:pt x="1167" y="755"/>
                  </a:lnTo>
                  <a:lnTo>
                    <a:pt x="1169" y="755"/>
                  </a:lnTo>
                  <a:lnTo>
                    <a:pt x="1173" y="755"/>
                  </a:lnTo>
                  <a:lnTo>
                    <a:pt x="1173" y="751"/>
                  </a:lnTo>
                  <a:lnTo>
                    <a:pt x="1173" y="751"/>
                  </a:lnTo>
                  <a:lnTo>
                    <a:pt x="1173" y="746"/>
                  </a:lnTo>
                  <a:lnTo>
                    <a:pt x="1169" y="746"/>
                  </a:lnTo>
                  <a:lnTo>
                    <a:pt x="1167" y="744"/>
                  </a:lnTo>
                  <a:lnTo>
                    <a:pt x="1164" y="744"/>
                  </a:lnTo>
                  <a:lnTo>
                    <a:pt x="1164" y="744"/>
                  </a:lnTo>
                  <a:lnTo>
                    <a:pt x="1164" y="742"/>
                  </a:lnTo>
                  <a:lnTo>
                    <a:pt x="1164" y="740"/>
                  </a:lnTo>
                  <a:lnTo>
                    <a:pt x="1164" y="740"/>
                  </a:lnTo>
                  <a:lnTo>
                    <a:pt x="1160" y="742"/>
                  </a:lnTo>
                  <a:lnTo>
                    <a:pt x="1160" y="744"/>
                  </a:lnTo>
                  <a:lnTo>
                    <a:pt x="1158" y="742"/>
                  </a:lnTo>
                  <a:lnTo>
                    <a:pt x="1158" y="742"/>
                  </a:lnTo>
                  <a:lnTo>
                    <a:pt x="1158" y="742"/>
                  </a:lnTo>
                  <a:lnTo>
                    <a:pt x="1158" y="742"/>
                  </a:lnTo>
                  <a:close/>
                  <a:moveTo>
                    <a:pt x="1060" y="879"/>
                  </a:moveTo>
                  <a:lnTo>
                    <a:pt x="1064" y="879"/>
                  </a:lnTo>
                  <a:lnTo>
                    <a:pt x="1066" y="879"/>
                  </a:lnTo>
                  <a:lnTo>
                    <a:pt x="1064" y="876"/>
                  </a:lnTo>
                  <a:lnTo>
                    <a:pt x="1060" y="876"/>
                  </a:lnTo>
                  <a:lnTo>
                    <a:pt x="1060" y="879"/>
                  </a:lnTo>
                  <a:lnTo>
                    <a:pt x="1060" y="879"/>
                  </a:lnTo>
                  <a:lnTo>
                    <a:pt x="1060" y="879"/>
                  </a:lnTo>
                  <a:lnTo>
                    <a:pt x="1060" y="879"/>
                  </a:lnTo>
                  <a:close/>
                  <a:moveTo>
                    <a:pt x="1005" y="789"/>
                  </a:moveTo>
                  <a:lnTo>
                    <a:pt x="1009" y="791"/>
                  </a:lnTo>
                  <a:lnTo>
                    <a:pt x="1011" y="791"/>
                  </a:lnTo>
                  <a:lnTo>
                    <a:pt x="1011" y="789"/>
                  </a:lnTo>
                  <a:lnTo>
                    <a:pt x="1009" y="789"/>
                  </a:lnTo>
                  <a:lnTo>
                    <a:pt x="1007" y="789"/>
                  </a:lnTo>
                  <a:lnTo>
                    <a:pt x="1005" y="789"/>
                  </a:lnTo>
                  <a:lnTo>
                    <a:pt x="1005" y="789"/>
                  </a:lnTo>
                  <a:lnTo>
                    <a:pt x="1005" y="789"/>
                  </a:lnTo>
                  <a:lnTo>
                    <a:pt x="1005" y="789"/>
                  </a:lnTo>
                  <a:close/>
                  <a:moveTo>
                    <a:pt x="992" y="810"/>
                  </a:moveTo>
                  <a:lnTo>
                    <a:pt x="992" y="808"/>
                  </a:lnTo>
                  <a:lnTo>
                    <a:pt x="992" y="804"/>
                  </a:lnTo>
                  <a:lnTo>
                    <a:pt x="988" y="802"/>
                  </a:lnTo>
                  <a:lnTo>
                    <a:pt x="990" y="800"/>
                  </a:lnTo>
                  <a:lnTo>
                    <a:pt x="988" y="797"/>
                  </a:lnTo>
                  <a:lnTo>
                    <a:pt x="987" y="795"/>
                  </a:lnTo>
                  <a:lnTo>
                    <a:pt x="987" y="789"/>
                  </a:lnTo>
                  <a:lnTo>
                    <a:pt x="987" y="789"/>
                  </a:lnTo>
                  <a:lnTo>
                    <a:pt x="988" y="795"/>
                  </a:lnTo>
                  <a:lnTo>
                    <a:pt x="992" y="795"/>
                  </a:lnTo>
                  <a:lnTo>
                    <a:pt x="992" y="797"/>
                  </a:lnTo>
                  <a:lnTo>
                    <a:pt x="996" y="798"/>
                  </a:lnTo>
                  <a:lnTo>
                    <a:pt x="996" y="804"/>
                  </a:lnTo>
                  <a:lnTo>
                    <a:pt x="998" y="806"/>
                  </a:lnTo>
                  <a:lnTo>
                    <a:pt x="1002" y="806"/>
                  </a:lnTo>
                  <a:lnTo>
                    <a:pt x="1002" y="810"/>
                  </a:lnTo>
                  <a:lnTo>
                    <a:pt x="998" y="810"/>
                  </a:lnTo>
                  <a:lnTo>
                    <a:pt x="992" y="810"/>
                  </a:lnTo>
                  <a:lnTo>
                    <a:pt x="992" y="810"/>
                  </a:lnTo>
                  <a:lnTo>
                    <a:pt x="992" y="810"/>
                  </a:lnTo>
                  <a:lnTo>
                    <a:pt x="992" y="810"/>
                  </a:lnTo>
                  <a:close/>
                  <a:moveTo>
                    <a:pt x="972" y="808"/>
                  </a:moveTo>
                  <a:lnTo>
                    <a:pt x="972" y="804"/>
                  </a:lnTo>
                  <a:lnTo>
                    <a:pt x="972" y="802"/>
                  </a:lnTo>
                  <a:lnTo>
                    <a:pt x="972" y="800"/>
                  </a:lnTo>
                  <a:lnTo>
                    <a:pt x="972" y="795"/>
                  </a:lnTo>
                  <a:lnTo>
                    <a:pt x="973" y="791"/>
                  </a:lnTo>
                  <a:lnTo>
                    <a:pt x="975" y="795"/>
                  </a:lnTo>
                  <a:lnTo>
                    <a:pt x="977" y="795"/>
                  </a:lnTo>
                  <a:lnTo>
                    <a:pt x="975" y="797"/>
                  </a:lnTo>
                  <a:lnTo>
                    <a:pt x="975" y="798"/>
                  </a:lnTo>
                  <a:lnTo>
                    <a:pt x="977" y="802"/>
                  </a:lnTo>
                  <a:lnTo>
                    <a:pt x="973" y="808"/>
                  </a:lnTo>
                  <a:lnTo>
                    <a:pt x="972" y="808"/>
                  </a:lnTo>
                  <a:lnTo>
                    <a:pt x="972" y="808"/>
                  </a:lnTo>
                  <a:lnTo>
                    <a:pt x="972" y="808"/>
                  </a:lnTo>
                  <a:lnTo>
                    <a:pt x="972" y="808"/>
                  </a:lnTo>
                  <a:close/>
                  <a:moveTo>
                    <a:pt x="972" y="721"/>
                  </a:moveTo>
                  <a:lnTo>
                    <a:pt x="972" y="725"/>
                  </a:lnTo>
                  <a:lnTo>
                    <a:pt x="972" y="725"/>
                  </a:lnTo>
                  <a:lnTo>
                    <a:pt x="975" y="725"/>
                  </a:lnTo>
                  <a:lnTo>
                    <a:pt x="977" y="721"/>
                  </a:lnTo>
                  <a:lnTo>
                    <a:pt x="977" y="721"/>
                  </a:lnTo>
                  <a:lnTo>
                    <a:pt x="973" y="721"/>
                  </a:lnTo>
                  <a:lnTo>
                    <a:pt x="972" y="721"/>
                  </a:lnTo>
                  <a:lnTo>
                    <a:pt x="972" y="721"/>
                  </a:lnTo>
                  <a:lnTo>
                    <a:pt x="972" y="721"/>
                  </a:lnTo>
                  <a:lnTo>
                    <a:pt x="972" y="721"/>
                  </a:lnTo>
                  <a:close/>
                  <a:moveTo>
                    <a:pt x="972" y="719"/>
                  </a:moveTo>
                  <a:lnTo>
                    <a:pt x="973" y="716"/>
                  </a:lnTo>
                  <a:lnTo>
                    <a:pt x="973" y="712"/>
                  </a:lnTo>
                  <a:lnTo>
                    <a:pt x="977" y="708"/>
                  </a:lnTo>
                  <a:lnTo>
                    <a:pt x="981" y="706"/>
                  </a:lnTo>
                  <a:lnTo>
                    <a:pt x="981" y="706"/>
                  </a:lnTo>
                  <a:lnTo>
                    <a:pt x="981" y="710"/>
                  </a:lnTo>
                  <a:lnTo>
                    <a:pt x="981" y="716"/>
                  </a:lnTo>
                  <a:lnTo>
                    <a:pt x="981" y="717"/>
                  </a:lnTo>
                  <a:lnTo>
                    <a:pt x="975" y="719"/>
                  </a:lnTo>
                  <a:lnTo>
                    <a:pt x="972" y="719"/>
                  </a:lnTo>
                  <a:lnTo>
                    <a:pt x="972" y="719"/>
                  </a:lnTo>
                  <a:lnTo>
                    <a:pt x="972" y="719"/>
                  </a:lnTo>
                  <a:lnTo>
                    <a:pt x="972" y="719"/>
                  </a:lnTo>
                  <a:close/>
                  <a:moveTo>
                    <a:pt x="795" y="682"/>
                  </a:moveTo>
                  <a:lnTo>
                    <a:pt x="796" y="680"/>
                  </a:lnTo>
                  <a:lnTo>
                    <a:pt x="796" y="678"/>
                  </a:lnTo>
                  <a:lnTo>
                    <a:pt x="793" y="678"/>
                  </a:lnTo>
                  <a:lnTo>
                    <a:pt x="793" y="680"/>
                  </a:lnTo>
                  <a:lnTo>
                    <a:pt x="795" y="682"/>
                  </a:lnTo>
                  <a:lnTo>
                    <a:pt x="795" y="682"/>
                  </a:lnTo>
                  <a:lnTo>
                    <a:pt x="795" y="682"/>
                  </a:lnTo>
                  <a:lnTo>
                    <a:pt x="795" y="682"/>
                  </a:lnTo>
                  <a:close/>
                  <a:moveTo>
                    <a:pt x="644" y="638"/>
                  </a:moveTo>
                  <a:lnTo>
                    <a:pt x="644" y="636"/>
                  </a:lnTo>
                  <a:lnTo>
                    <a:pt x="648" y="636"/>
                  </a:lnTo>
                  <a:lnTo>
                    <a:pt x="646" y="638"/>
                  </a:lnTo>
                  <a:lnTo>
                    <a:pt x="646" y="638"/>
                  </a:lnTo>
                  <a:lnTo>
                    <a:pt x="644" y="638"/>
                  </a:lnTo>
                  <a:lnTo>
                    <a:pt x="644" y="638"/>
                  </a:lnTo>
                  <a:lnTo>
                    <a:pt x="644" y="638"/>
                  </a:lnTo>
                  <a:lnTo>
                    <a:pt x="644" y="638"/>
                  </a:lnTo>
                  <a:close/>
                  <a:moveTo>
                    <a:pt x="633" y="646"/>
                  </a:moveTo>
                  <a:lnTo>
                    <a:pt x="636" y="646"/>
                  </a:lnTo>
                  <a:lnTo>
                    <a:pt x="636" y="642"/>
                  </a:lnTo>
                  <a:lnTo>
                    <a:pt x="633" y="642"/>
                  </a:lnTo>
                  <a:lnTo>
                    <a:pt x="633" y="646"/>
                  </a:lnTo>
                  <a:lnTo>
                    <a:pt x="633" y="646"/>
                  </a:lnTo>
                  <a:lnTo>
                    <a:pt x="633" y="646"/>
                  </a:lnTo>
                  <a:lnTo>
                    <a:pt x="633" y="646"/>
                  </a:lnTo>
                  <a:close/>
                  <a:moveTo>
                    <a:pt x="638" y="659"/>
                  </a:moveTo>
                  <a:lnTo>
                    <a:pt x="636" y="657"/>
                  </a:lnTo>
                  <a:lnTo>
                    <a:pt x="638" y="655"/>
                  </a:lnTo>
                  <a:lnTo>
                    <a:pt x="638" y="659"/>
                  </a:lnTo>
                  <a:lnTo>
                    <a:pt x="638" y="659"/>
                  </a:lnTo>
                  <a:lnTo>
                    <a:pt x="638" y="659"/>
                  </a:lnTo>
                  <a:lnTo>
                    <a:pt x="638" y="659"/>
                  </a:lnTo>
                  <a:lnTo>
                    <a:pt x="638" y="659"/>
                  </a:lnTo>
                  <a:close/>
                  <a:moveTo>
                    <a:pt x="638" y="661"/>
                  </a:moveTo>
                  <a:lnTo>
                    <a:pt x="635" y="655"/>
                  </a:lnTo>
                  <a:lnTo>
                    <a:pt x="635" y="657"/>
                  </a:lnTo>
                  <a:lnTo>
                    <a:pt x="636" y="659"/>
                  </a:lnTo>
                  <a:lnTo>
                    <a:pt x="638" y="661"/>
                  </a:lnTo>
                  <a:lnTo>
                    <a:pt x="638" y="661"/>
                  </a:lnTo>
                  <a:lnTo>
                    <a:pt x="638" y="661"/>
                  </a:lnTo>
                  <a:lnTo>
                    <a:pt x="638" y="661"/>
                  </a:lnTo>
                  <a:close/>
                  <a:moveTo>
                    <a:pt x="642" y="667"/>
                  </a:moveTo>
                  <a:lnTo>
                    <a:pt x="644" y="672"/>
                  </a:lnTo>
                  <a:lnTo>
                    <a:pt x="646" y="672"/>
                  </a:lnTo>
                  <a:lnTo>
                    <a:pt x="648" y="670"/>
                  </a:lnTo>
                  <a:lnTo>
                    <a:pt x="648" y="670"/>
                  </a:lnTo>
                  <a:lnTo>
                    <a:pt x="650" y="667"/>
                  </a:lnTo>
                  <a:lnTo>
                    <a:pt x="646" y="667"/>
                  </a:lnTo>
                  <a:lnTo>
                    <a:pt x="646" y="670"/>
                  </a:lnTo>
                  <a:lnTo>
                    <a:pt x="644" y="667"/>
                  </a:lnTo>
                  <a:lnTo>
                    <a:pt x="642" y="667"/>
                  </a:lnTo>
                  <a:lnTo>
                    <a:pt x="642" y="667"/>
                  </a:lnTo>
                  <a:lnTo>
                    <a:pt x="642" y="667"/>
                  </a:lnTo>
                  <a:lnTo>
                    <a:pt x="642" y="667"/>
                  </a:lnTo>
                  <a:close/>
                  <a:moveTo>
                    <a:pt x="638" y="691"/>
                  </a:moveTo>
                  <a:lnTo>
                    <a:pt x="638" y="685"/>
                  </a:lnTo>
                  <a:lnTo>
                    <a:pt x="638" y="684"/>
                  </a:lnTo>
                  <a:lnTo>
                    <a:pt x="638" y="680"/>
                  </a:lnTo>
                  <a:lnTo>
                    <a:pt x="642" y="676"/>
                  </a:lnTo>
                  <a:lnTo>
                    <a:pt x="642" y="678"/>
                  </a:lnTo>
                  <a:lnTo>
                    <a:pt x="642" y="680"/>
                  </a:lnTo>
                  <a:lnTo>
                    <a:pt x="642" y="682"/>
                  </a:lnTo>
                  <a:lnTo>
                    <a:pt x="642" y="684"/>
                  </a:lnTo>
                  <a:lnTo>
                    <a:pt x="642" y="685"/>
                  </a:lnTo>
                  <a:lnTo>
                    <a:pt x="642" y="687"/>
                  </a:lnTo>
                  <a:lnTo>
                    <a:pt x="638" y="687"/>
                  </a:lnTo>
                  <a:lnTo>
                    <a:pt x="638" y="691"/>
                  </a:lnTo>
                  <a:lnTo>
                    <a:pt x="638" y="691"/>
                  </a:lnTo>
                  <a:lnTo>
                    <a:pt x="638" y="691"/>
                  </a:lnTo>
                  <a:lnTo>
                    <a:pt x="638" y="691"/>
                  </a:lnTo>
                  <a:close/>
                  <a:moveTo>
                    <a:pt x="776" y="606"/>
                  </a:moveTo>
                  <a:lnTo>
                    <a:pt x="776" y="603"/>
                  </a:lnTo>
                  <a:lnTo>
                    <a:pt x="776" y="603"/>
                  </a:lnTo>
                  <a:lnTo>
                    <a:pt x="776" y="603"/>
                  </a:lnTo>
                  <a:lnTo>
                    <a:pt x="776" y="606"/>
                  </a:lnTo>
                  <a:lnTo>
                    <a:pt x="776" y="606"/>
                  </a:lnTo>
                  <a:lnTo>
                    <a:pt x="776" y="606"/>
                  </a:lnTo>
                  <a:lnTo>
                    <a:pt x="776" y="606"/>
                  </a:lnTo>
                  <a:lnTo>
                    <a:pt x="776" y="606"/>
                  </a:lnTo>
                  <a:close/>
                  <a:moveTo>
                    <a:pt x="821" y="578"/>
                  </a:moveTo>
                  <a:lnTo>
                    <a:pt x="819" y="572"/>
                  </a:lnTo>
                  <a:lnTo>
                    <a:pt x="819" y="572"/>
                  </a:lnTo>
                  <a:lnTo>
                    <a:pt x="819" y="569"/>
                  </a:lnTo>
                  <a:lnTo>
                    <a:pt x="821" y="567"/>
                  </a:lnTo>
                  <a:lnTo>
                    <a:pt x="823" y="569"/>
                  </a:lnTo>
                  <a:lnTo>
                    <a:pt x="823" y="569"/>
                  </a:lnTo>
                  <a:lnTo>
                    <a:pt x="825" y="572"/>
                  </a:lnTo>
                  <a:lnTo>
                    <a:pt x="823" y="572"/>
                  </a:lnTo>
                  <a:lnTo>
                    <a:pt x="823" y="578"/>
                  </a:lnTo>
                  <a:lnTo>
                    <a:pt x="821" y="578"/>
                  </a:lnTo>
                  <a:lnTo>
                    <a:pt x="821" y="578"/>
                  </a:lnTo>
                  <a:lnTo>
                    <a:pt x="821" y="578"/>
                  </a:lnTo>
                  <a:lnTo>
                    <a:pt x="821" y="578"/>
                  </a:lnTo>
                  <a:close/>
                  <a:moveTo>
                    <a:pt x="770" y="633"/>
                  </a:moveTo>
                  <a:lnTo>
                    <a:pt x="770" y="633"/>
                  </a:lnTo>
                  <a:lnTo>
                    <a:pt x="770" y="631"/>
                  </a:lnTo>
                  <a:lnTo>
                    <a:pt x="772" y="629"/>
                  </a:lnTo>
                  <a:lnTo>
                    <a:pt x="772" y="627"/>
                  </a:lnTo>
                  <a:lnTo>
                    <a:pt x="774" y="625"/>
                  </a:lnTo>
                  <a:lnTo>
                    <a:pt x="774" y="621"/>
                  </a:lnTo>
                  <a:lnTo>
                    <a:pt x="770" y="621"/>
                  </a:lnTo>
                  <a:lnTo>
                    <a:pt x="770" y="620"/>
                  </a:lnTo>
                  <a:lnTo>
                    <a:pt x="770" y="616"/>
                  </a:lnTo>
                  <a:lnTo>
                    <a:pt x="774" y="616"/>
                  </a:lnTo>
                  <a:lnTo>
                    <a:pt x="774" y="612"/>
                  </a:lnTo>
                  <a:lnTo>
                    <a:pt x="770" y="612"/>
                  </a:lnTo>
                  <a:lnTo>
                    <a:pt x="768" y="612"/>
                  </a:lnTo>
                  <a:lnTo>
                    <a:pt x="768" y="612"/>
                  </a:lnTo>
                  <a:lnTo>
                    <a:pt x="766" y="614"/>
                  </a:lnTo>
                  <a:lnTo>
                    <a:pt x="764" y="612"/>
                  </a:lnTo>
                  <a:lnTo>
                    <a:pt x="759" y="612"/>
                  </a:lnTo>
                  <a:lnTo>
                    <a:pt x="755" y="618"/>
                  </a:lnTo>
                  <a:lnTo>
                    <a:pt x="751" y="620"/>
                  </a:lnTo>
                  <a:lnTo>
                    <a:pt x="751" y="618"/>
                  </a:lnTo>
                  <a:lnTo>
                    <a:pt x="755" y="616"/>
                  </a:lnTo>
                  <a:lnTo>
                    <a:pt x="757" y="612"/>
                  </a:lnTo>
                  <a:lnTo>
                    <a:pt x="757" y="608"/>
                  </a:lnTo>
                  <a:lnTo>
                    <a:pt x="755" y="612"/>
                  </a:lnTo>
                  <a:lnTo>
                    <a:pt x="755" y="612"/>
                  </a:lnTo>
                  <a:lnTo>
                    <a:pt x="755" y="606"/>
                  </a:lnTo>
                  <a:lnTo>
                    <a:pt x="757" y="606"/>
                  </a:lnTo>
                  <a:lnTo>
                    <a:pt x="755" y="603"/>
                  </a:lnTo>
                  <a:lnTo>
                    <a:pt x="757" y="599"/>
                  </a:lnTo>
                  <a:lnTo>
                    <a:pt x="759" y="599"/>
                  </a:lnTo>
                  <a:lnTo>
                    <a:pt x="759" y="601"/>
                  </a:lnTo>
                  <a:lnTo>
                    <a:pt x="761" y="606"/>
                  </a:lnTo>
                  <a:lnTo>
                    <a:pt x="763" y="606"/>
                  </a:lnTo>
                  <a:lnTo>
                    <a:pt x="764" y="606"/>
                  </a:lnTo>
                  <a:lnTo>
                    <a:pt x="768" y="606"/>
                  </a:lnTo>
                  <a:lnTo>
                    <a:pt x="770" y="603"/>
                  </a:lnTo>
                  <a:lnTo>
                    <a:pt x="768" y="603"/>
                  </a:lnTo>
                  <a:lnTo>
                    <a:pt x="768" y="601"/>
                  </a:lnTo>
                  <a:lnTo>
                    <a:pt x="772" y="601"/>
                  </a:lnTo>
                  <a:lnTo>
                    <a:pt x="772" y="601"/>
                  </a:lnTo>
                  <a:lnTo>
                    <a:pt x="774" y="601"/>
                  </a:lnTo>
                  <a:lnTo>
                    <a:pt x="776" y="597"/>
                  </a:lnTo>
                  <a:lnTo>
                    <a:pt x="780" y="593"/>
                  </a:lnTo>
                  <a:lnTo>
                    <a:pt x="780" y="597"/>
                  </a:lnTo>
                  <a:lnTo>
                    <a:pt x="780" y="597"/>
                  </a:lnTo>
                  <a:lnTo>
                    <a:pt x="785" y="595"/>
                  </a:lnTo>
                  <a:lnTo>
                    <a:pt x="780" y="601"/>
                  </a:lnTo>
                  <a:lnTo>
                    <a:pt x="780" y="606"/>
                  </a:lnTo>
                  <a:lnTo>
                    <a:pt x="781" y="603"/>
                  </a:lnTo>
                  <a:lnTo>
                    <a:pt x="785" y="606"/>
                  </a:lnTo>
                  <a:lnTo>
                    <a:pt x="781" y="606"/>
                  </a:lnTo>
                  <a:lnTo>
                    <a:pt x="785" y="606"/>
                  </a:lnTo>
                  <a:lnTo>
                    <a:pt x="785" y="603"/>
                  </a:lnTo>
                  <a:lnTo>
                    <a:pt x="787" y="603"/>
                  </a:lnTo>
                  <a:lnTo>
                    <a:pt x="791" y="597"/>
                  </a:lnTo>
                  <a:lnTo>
                    <a:pt x="793" y="597"/>
                  </a:lnTo>
                  <a:lnTo>
                    <a:pt x="793" y="601"/>
                  </a:lnTo>
                  <a:lnTo>
                    <a:pt x="789" y="603"/>
                  </a:lnTo>
                  <a:lnTo>
                    <a:pt x="789" y="608"/>
                  </a:lnTo>
                  <a:lnTo>
                    <a:pt x="793" y="608"/>
                  </a:lnTo>
                  <a:lnTo>
                    <a:pt x="795" y="612"/>
                  </a:lnTo>
                  <a:lnTo>
                    <a:pt x="796" y="608"/>
                  </a:lnTo>
                  <a:lnTo>
                    <a:pt x="800" y="603"/>
                  </a:lnTo>
                  <a:lnTo>
                    <a:pt x="800" y="599"/>
                  </a:lnTo>
                  <a:lnTo>
                    <a:pt x="804" y="595"/>
                  </a:lnTo>
                  <a:lnTo>
                    <a:pt x="804" y="591"/>
                  </a:lnTo>
                  <a:lnTo>
                    <a:pt x="804" y="589"/>
                  </a:lnTo>
                  <a:lnTo>
                    <a:pt x="804" y="587"/>
                  </a:lnTo>
                  <a:lnTo>
                    <a:pt x="800" y="587"/>
                  </a:lnTo>
                  <a:lnTo>
                    <a:pt x="800" y="587"/>
                  </a:lnTo>
                  <a:lnTo>
                    <a:pt x="798" y="589"/>
                  </a:lnTo>
                  <a:lnTo>
                    <a:pt x="798" y="584"/>
                  </a:lnTo>
                  <a:lnTo>
                    <a:pt x="800" y="584"/>
                  </a:lnTo>
                  <a:lnTo>
                    <a:pt x="798" y="582"/>
                  </a:lnTo>
                  <a:lnTo>
                    <a:pt x="795" y="582"/>
                  </a:lnTo>
                  <a:lnTo>
                    <a:pt x="795" y="582"/>
                  </a:lnTo>
                  <a:lnTo>
                    <a:pt x="791" y="578"/>
                  </a:lnTo>
                  <a:lnTo>
                    <a:pt x="791" y="576"/>
                  </a:lnTo>
                  <a:lnTo>
                    <a:pt x="787" y="569"/>
                  </a:lnTo>
                  <a:lnTo>
                    <a:pt x="787" y="565"/>
                  </a:lnTo>
                  <a:lnTo>
                    <a:pt x="789" y="561"/>
                  </a:lnTo>
                  <a:lnTo>
                    <a:pt x="787" y="555"/>
                  </a:lnTo>
                  <a:lnTo>
                    <a:pt x="785" y="559"/>
                  </a:lnTo>
                  <a:lnTo>
                    <a:pt x="785" y="563"/>
                  </a:lnTo>
                  <a:lnTo>
                    <a:pt x="781" y="559"/>
                  </a:lnTo>
                  <a:lnTo>
                    <a:pt x="780" y="557"/>
                  </a:lnTo>
                  <a:lnTo>
                    <a:pt x="780" y="552"/>
                  </a:lnTo>
                  <a:lnTo>
                    <a:pt x="776" y="548"/>
                  </a:lnTo>
                  <a:lnTo>
                    <a:pt x="776" y="542"/>
                  </a:lnTo>
                  <a:lnTo>
                    <a:pt x="774" y="539"/>
                  </a:lnTo>
                  <a:lnTo>
                    <a:pt x="772" y="537"/>
                  </a:lnTo>
                  <a:lnTo>
                    <a:pt x="772" y="533"/>
                  </a:lnTo>
                  <a:lnTo>
                    <a:pt x="772" y="531"/>
                  </a:lnTo>
                  <a:lnTo>
                    <a:pt x="776" y="531"/>
                  </a:lnTo>
                  <a:lnTo>
                    <a:pt x="776" y="525"/>
                  </a:lnTo>
                  <a:lnTo>
                    <a:pt x="780" y="525"/>
                  </a:lnTo>
                  <a:lnTo>
                    <a:pt x="780" y="527"/>
                  </a:lnTo>
                  <a:lnTo>
                    <a:pt x="781" y="525"/>
                  </a:lnTo>
                  <a:lnTo>
                    <a:pt x="781" y="522"/>
                  </a:lnTo>
                  <a:lnTo>
                    <a:pt x="785" y="514"/>
                  </a:lnTo>
                  <a:lnTo>
                    <a:pt x="785" y="510"/>
                  </a:lnTo>
                  <a:lnTo>
                    <a:pt x="785" y="508"/>
                  </a:lnTo>
                  <a:lnTo>
                    <a:pt x="781" y="503"/>
                  </a:lnTo>
                  <a:lnTo>
                    <a:pt x="785" y="499"/>
                  </a:lnTo>
                  <a:lnTo>
                    <a:pt x="787" y="497"/>
                  </a:lnTo>
                  <a:lnTo>
                    <a:pt x="787" y="493"/>
                  </a:lnTo>
                  <a:lnTo>
                    <a:pt x="791" y="488"/>
                  </a:lnTo>
                  <a:lnTo>
                    <a:pt x="791" y="484"/>
                  </a:lnTo>
                  <a:lnTo>
                    <a:pt x="793" y="482"/>
                  </a:lnTo>
                  <a:lnTo>
                    <a:pt x="793" y="474"/>
                  </a:lnTo>
                  <a:lnTo>
                    <a:pt x="795" y="474"/>
                  </a:lnTo>
                  <a:lnTo>
                    <a:pt x="795" y="471"/>
                  </a:lnTo>
                  <a:lnTo>
                    <a:pt x="800" y="465"/>
                  </a:lnTo>
                  <a:lnTo>
                    <a:pt x="798" y="463"/>
                  </a:lnTo>
                  <a:lnTo>
                    <a:pt x="800" y="459"/>
                  </a:lnTo>
                  <a:lnTo>
                    <a:pt x="800" y="459"/>
                  </a:lnTo>
                  <a:lnTo>
                    <a:pt x="800" y="454"/>
                  </a:lnTo>
                  <a:lnTo>
                    <a:pt x="800" y="450"/>
                  </a:lnTo>
                  <a:lnTo>
                    <a:pt x="800" y="450"/>
                  </a:lnTo>
                  <a:lnTo>
                    <a:pt x="800" y="446"/>
                  </a:lnTo>
                  <a:lnTo>
                    <a:pt x="798" y="444"/>
                  </a:lnTo>
                  <a:lnTo>
                    <a:pt x="796" y="439"/>
                  </a:lnTo>
                  <a:lnTo>
                    <a:pt x="796" y="437"/>
                  </a:lnTo>
                  <a:lnTo>
                    <a:pt x="795" y="431"/>
                  </a:lnTo>
                  <a:lnTo>
                    <a:pt x="791" y="429"/>
                  </a:lnTo>
                  <a:lnTo>
                    <a:pt x="789" y="429"/>
                  </a:lnTo>
                  <a:lnTo>
                    <a:pt x="787" y="429"/>
                  </a:lnTo>
                  <a:lnTo>
                    <a:pt x="787" y="433"/>
                  </a:lnTo>
                  <a:lnTo>
                    <a:pt x="785" y="433"/>
                  </a:lnTo>
                  <a:lnTo>
                    <a:pt x="781" y="425"/>
                  </a:lnTo>
                  <a:lnTo>
                    <a:pt x="780" y="425"/>
                  </a:lnTo>
                  <a:lnTo>
                    <a:pt x="776" y="424"/>
                  </a:lnTo>
                  <a:lnTo>
                    <a:pt x="776" y="425"/>
                  </a:lnTo>
                  <a:lnTo>
                    <a:pt x="776" y="429"/>
                  </a:lnTo>
                  <a:lnTo>
                    <a:pt x="774" y="429"/>
                  </a:lnTo>
                  <a:lnTo>
                    <a:pt x="772" y="429"/>
                  </a:lnTo>
                  <a:lnTo>
                    <a:pt x="770" y="433"/>
                  </a:lnTo>
                  <a:lnTo>
                    <a:pt x="770" y="437"/>
                  </a:lnTo>
                  <a:lnTo>
                    <a:pt x="768" y="437"/>
                  </a:lnTo>
                  <a:lnTo>
                    <a:pt x="764" y="446"/>
                  </a:lnTo>
                  <a:lnTo>
                    <a:pt x="764" y="450"/>
                  </a:lnTo>
                  <a:lnTo>
                    <a:pt x="763" y="454"/>
                  </a:lnTo>
                  <a:lnTo>
                    <a:pt x="763" y="459"/>
                  </a:lnTo>
                  <a:lnTo>
                    <a:pt x="761" y="459"/>
                  </a:lnTo>
                  <a:lnTo>
                    <a:pt x="761" y="463"/>
                  </a:lnTo>
                  <a:lnTo>
                    <a:pt x="757" y="463"/>
                  </a:lnTo>
                  <a:lnTo>
                    <a:pt x="757" y="471"/>
                  </a:lnTo>
                  <a:lnTo>
                    <a:pt x="755" y="473"/>
                  </a:lnTo>
                  <a:lnTo>
                    <a:pt x="755" y="473"/>
                  </a:lnTo>
                  <a:lnTo>
                    <a:pt x="751" y="478"/>
                  </a:lnTo>
                  <a:lnTo>
                    <a:pt x="751" y="480"/>
                  </a:lnTo>
                  <a:lnTo>
                    <a:pt x="751" y="484"/>
                  </a:lnTo>
                  <a:lnTo>
                    <a:pt x="751" y="488"/>
                  </a:lnTo>
                  <a:lnTo>
                    <a:pt x="748" y="490"/>
                  </a:lnTo>
                  <a:lnTo>
                    <a:pt x="751" y="493"/>
                  </a:lnTo>
                  <a:lnTo>
                    <a:pt x="749" y="497"/>
                  </a:lnTo>
                  <a:lnTo>
                    <a:pt x="746" y="497"/>
                  </a:lnTo>
                  <a:lnTo>
                    <a:pt x="748" y="499"/>
                  </a:lnTo>
                  <a:lnTo>
                    <a:pt x="751" y="499"/>
                  </a:lnTo>
                  <a:lnTo>
                    <a:pt x="751" y="503"/>
                  </a:lnTo>
                  <a:lnTo>
                    <a:pt x="748" y="503"/>
                  </a:lnTo>
                  <a:lnTo>
                    <a:pt x="746" y="503"/>
                  </a:lnTo>
                  <a:lnTo>
                    <a:pt x="742" y="505"/>
                  </a:lnTo>
                  <a:lnTo>
                    <a:pt x="740" y="505"/>
                  </a:lnTo>
                  <a:lnTo>
                    <a:pt x="738" y="506"/>
                  </a:lnTo>
                  <a:lnTo>
                    <a:pt x="738" y="510"/>
                  </a:lnTo>
                  <a:lnTo>
                    <a:pt x="736" y="510"/>
                  </a:lnTo>
                  <a:lnTo>
                    <a:pt x="734" y="510"/>
                  </a:lnTo>
                  <a:lnTo>
                    <a:pt x="734" y="506"/>
                  </a:lnTo>
                  <a:lnTo>
                    <a:pt x="734" y="503"/>
                  </a:lnTo>
                  <a:lnTo>
                    <a:pt x="732" y="501"/>
                  </a:lnTo>
                  <a:lnTo>
                    <a:pt x="732" y="493"/>
                  </a:lnTo>
                  <a:lnTo>
                    <a:pt x="736" y="488"/>
                  </a:lnTo>
                  <a:lnTo>
                    <a:pt x="736" y="484"/>
                  </a:lnTo>
                  <a:lnTo>
                    <a:pt x="740" y="484"/>
                  </a:lnTo>
                  <a:lnTo>
                    <a:pt x="740" y="480"/>
                  </a:lnTo>
                  <a:lnTo>
                    <a:pt x="740" y="476"/>
                  </a:lnTo>
                  <a:lnTo>
                    <a:pt x="742" y="469"/>
                  </a:lnTo>
                  <a:lnTo>
                    <a:pt x="748" y="467"/>
                  </a:lnTo>
                  <a:lnTo>
                    <a:pt x="748" y="463"/>
                  </a:lnTo>
                  <a:lnTo>
                    <a:pt x="746" y="463"/>
                  </a:lnTo>
                  <a:lnTo>
                    <a:pt x="742" y="463"/>
                  </a:lnTo>
                  <a:lnTo>
                    <a:pt x="742" y="459"/>
                  </a:lnTo>
                  <a:lnTo>
                    <a:pt x="746" y="458"/>
                  </a:lnTo>
                  <a:lnTo>
                    <a:pt x="746" y="450"/>
                  </a:lnTo>
                  <a:lnTo>
                    <a:pt x="742" y="448"/>
                  </a:lnTo>
                  <a:lnTo>
                    <a:pt x="742" y="444"/>
                  </a:lnTo>
                  <a:lnTo>
                    <a:pt x="742" y="442"/>
                  </a:lnTo>
                  <a:lnTo>
                    <a:pt x="742" y="437"/>
                  </a:lnTo>
                  <a:lnTo>
                    <a:pt x="742" y="437"/>
                  </a:lnTo>
                  <a:lnTo>
                    <a:pt x="738" y="433"/>
                  </a:lnTo>
                  <a:lnTo>
                    <a:pt x="732" y="435"/>
                  </a:lnTo>
                  <a:lnTo>
                    <a:pt x="731" y="439"/>
                  </a:lnTo>
                  <a:lnTo>
                    <a:pt x="734" y="441"/>
                  </a:lnTo>
                  <a:lnTo>
                    <a:pt x="734" y="444"/>
                  </a:lnTo>
                  <a:lnTo>
                    <a:pt x="736" y="446"/>
                  </a:lnTo>
                  <a:lnTo>
                    <a:pt x="736" y="450"/>
                  </a:lnTo>
                  <a:lnTo>
                    <a:pt x="734" y="450"/>
                  </a:lnTo>
                  <a:lnTo>
                    <a:pt x="732" y="446"/>
                  </a:lnTo>
                  <a:lnTo>
                    <a:pt x="731" y="446"/>
                  </a:lnTo>
                  <a:lnTo>
                    <a:pt x="731" y="450"/>
                  </a:lnTo>
                  <a:lnTo>
                    <a:pt x="731" y="450"/>
                  </a:lnTo>
                  <a:lnTo>
                    <a:pt x="732" y="454"/>
                  </a:lnTo>
                  <a:lnTo>
                    <a:pt x="732" y="459"/>
                  </a:lnTo>
                  <a:lnTo>
                    <a:pt x="731" y="459"/>
                  </a:lnTo>
                  <a:lnTo>
                    <a:pt x="731" y="459"/>
                  </a:lnTo>
                  <a:lnTo>
                    <a:pt x="731" y="458"/>
                  </a:lnTo>
                  <a:lnTo>
                    <a:pt x="731" y="463"/>
                  </a:lnTo>
                  <a:lnTo>
                    <a:pt x="727" y="459"/>
                  </a:lnTo>
                  <a:lnTo>
                    <a:pt x="727" y="454"/>
                  </a:lnTo>
                  <a:lnTo>
                    <a:pt x="725" y="458"/>
                  </a:lnTo>
                  <a:lnTo>
                    <a:pt x="721" y="459"/>
                  </a:lnTo>
                  <a:lnTo>
                    <a:pt x="721" y="459"/>
                  </a:lnTo>
                  <a:lnTo>
                    <a:pt x="721" y="454"/>
                  </a:lnTo>
                  <a:lnTo>
                    <a:pt x="721" y="454"/>
                  </a:lnTo>
                  <a:lnTo>
                    <a:pt x="721" y="450"/>
                  </a:lnTo>
                  <a:lnTo>
                    <a:pt x="717" y="454"/>
                  </a:lnTo>
                  <a:lnTo>
                    <a:pt x="712" y="459"/>
                  </a:lnTo>
                  <a:lnTo>
                    <a:pt x="710" y="454"/>
                  </a:lnTo>
                  <a:lnTo>
                    <a:pt x="706" y="454"/>
                  </a:lnTo>
                  <a:lnTo>
                    <a:pt x="704" y="458"/>
                  </a:lnTo>
                  <a:lnTo>
                    <a:pt x="700" y="458"/>
                  </a:lnTo>
                  <a:lnTo>
                    <a:pt x="700" y="454"/>
                  </a:lnTo>
                  <a:lnTo>
                    <a:pt x="697" y="454"/>
                  </a:lnTo>
                  <a:lnTo>
                    <a:pt x="693" y="454"/>
                  </a:lnTo>
                  <a:lnTo>
                    <a:pt x="697" y="450"/>
                  </a:lnTo>
                  <a:lnTo>
                    <a:pt x="700" y="450"/>
                  </a:lnTo>
                  <a:lnTo>
                    <a:pt x="704" y="450"/>
                  </a:lnTo>
                  <a:lnTo>
                    <a:pt x="708" y="450"/>
                  </a:lnTo>
                  <a:lnTo>
                    <a:pt x="708" y="448"/>
                  </a:lnTo>
                  <a:lnTo>
                    <a:pt x="710" y="446"/>
                  </a:lnTo>
                  <a:lnTo>
                    <a:pt x="714" y="448"/>
                  </a:lnTo>
                  <a:lnTo>
                    <a:pt x="717" y="444"/>
                  </a:lnTo>
                  <a:lnTo>
                    <a:pt x="717" y="441"/>
                  </a:lnTo>
                  <a:lnTo>
                    <a:pt x="717" y="439"/>
                  </a:lnTo>
                  <a:lnTo>
                    <a:pt x="716" y="437"/>
                  </a:lnTo>
                  <a:lnTo>
                    <a:pt x="712" y="429"/>
                  </a:lnTo>
                  <a:lnTo>
                    <a:pt x="708" y="429"/>
                  </a:lnTo>
                  <a:lnTo>
                    <a:pt x="708" y="425"/>
                  </a:lnTo>
                  <a:lnTo>
                    <a:pt x="700" y="420"/>
                  </a:lnTo>
                  <a:lnTo>
                    <a:pt x="700" y="420"/>
                  </a:lnTo>
                  <a:lnTo>
                    <a:pt x="697" y="420"/>
                  </a:lnTo>
                  <a:lnTo>
                    <a:pt x="693" y="424"/>
                  </a:lnTo>
                  <a:lnTo>
                    <a:pt x="693" y="424"/>
                  </a:lnTo>
                  <a:lnTo>
                    <a:pt x="685" y="429"/>
                  </a:lnTo>
                  <a:lnTo>
                    <a:pt x="687" y="429"/>
                  </a:lnTo>
                  <a:lnTo>
                    <a:pt x="687" y="433"/>
                  </a:lnTo>
                  <a:lnTo>
                    <a:pt x="685" y="433"/>
                  </a:lnTo>
                  <a:lnTo>
                    <a:pt x="682" y="435"/>
                  </a:lnTo>
                  <a:lnTo>
                    <a:pt x="682" y="433"/>
                  </a:lnTo>
                  <a:lnTo>
                    <a:pt x="680" y="433"/>
                  </a:lnTo>
                  <a:lnTo>
                    <a:pt x="676" y="431"/>
                  </a:lnTo>
                  <a:lnTo>
                    <a:pt x="672" y="431"/>
                  </a:lnTo>
                  <a:lnTo>
                    <a:pt x="672" y="433"/>
                  </a:lnTo>
                  <a:lnTo>
                    <a:pt x="668" y="433"/>
                  </a:lnTo>
                  <a:lnTo>
                    <a:pt x="667" y="431"/>
                  </a:lnTo>
                  <a:lnTo>
                    <a:pt x="668" y="429"/>
                  </a:lnTo>
                  <a:lnTo>
                    <a:pt x="672" y="429"/>
                  </a:lnTo>
                  <a:lnTo>
                    <a:pt x="676" y="425"/>
                  </a:lnTo>
                  <a:lnTo>
                    <a:pt x="678" y="425"/>
                  </a:lnTo>
                  <a:lnTo>
                    <a:pt x="680" y="425"/>
                  </a:lnTo>
                  <a:lnTo>
                    <a:pt x="682" y="420"/>
                  </a:lnTo>
                  <a:lnTo>
                    <a:pt x="684" y="418"/>
                  </a:lnTo>
                  <a:lnTo>
                    <a:pt x="684" y="416"/>
                  </a:lnTo>
                  <a:lnTo>
                    <a:pt x="687" y="416"/>
                  </a:lnTo>
                  <a:lnTo>
                    <a:pt x="691" y="410"/>
                  </a:lnTo>
                  <a:lnTo>
                    <a:pt x="689" y="405"/>
                  </a:lnTo>
                  <a:lnTo>
                    <a:pt x="691" y="401"/>
                  </a:lnTo>
                  <a:lnTo>
                    <a:pt x="689" y="399"/>
                  </a:lnTo>
                  <a:lnTo>
                    <a:pt x="685" y="399"/>
                  </a:lnTo>
                  <a:lnTo>
                    <a:pt x="680" y="399"/>
                  </a:lnTo>
                  <a:lnTo>
                    <a:pt x="672" y="401"/>
                  </a:lnTo>
                  <a:lnTo>
                    <a:pt x="667" y="405"/>
                  </a:lnTo>
                  <a:lnTo>
                    <a:pt x="653" y="407"/>
                  </a:lnTo>
                  <a:lnTo>
                    <a:pt x="638" y="412"/>
                  </a:lnTo>
                  <a:lnTo>
                    <a:pt x="633" y="418"/>
                  </a:lnTo>
                  <a:lnTo>
                    <a:pt x="621" y="420"/>
                  </a:lnTo>
                  <a:lnTo>
                    <a:pt x="610" y="425"/>
                  </a:lnTo>
                  <a:lnTo>
                    <a:pt x="604" y="429"/>
                  </a:lnTo>
                  <a:lnTo>
                    <a:pt x="604" y="433"/>
                  </a:lnTo>
                  <a:lnTo>
                    <a:pt x="608" y="433"/>
                  </a:lnTo>
                  <a:lnTo>
                    <a:pt x="610" y="433"/>
                  </a:lnTo>
                  <a:lnTo>
                    <a:pt x="606" y="437"/>
                  </a:lnTo>
                  <a:lnTo>
                    <a:pt x="603" y="437"/>
                  </a:lnTo>
                  <a:lnTo>
                    <a:pt x="595" y="442"/>
                  </a:lnTo>
                  <a:lnTo>
                    <a:pt x="589" y="442"/>
                  </a:lnTo>
                  <a:lnTo>
                    <a:pt x="588" y="444"/>
                  </a:lnTo>
                  <a:lnTo>
                    <a:pt x="588" y="448"/>
                  </a:lnTo>
                  <a:lnTo>
                    <a:pt x="584" y="450"/>
                  </a:lnTo>
                  <a:lnTo>
                    <a:pt x="580" y="454"/>
                  </a:lnTo>
                  <a:lnTo>
                    <a:pt x="580" y="459"/>
                  </a:lnTo>
                  <a:lnTo>
                    <a:pt x="584" y="459"/>
                  </a:lnTo>
                  <a:lnTo>
                    <a:pt x="584" y="459"/>
                  </a:lnTo>
                  <a:lnTo>
                    <a:pt x="584" y="463"/>
                  </a:lnTo>
                  <a:lnTo>
                    <a:pt x="584" y="463"/>
                  </a:lnTo>
                  <a:lnTo>
                    <a:pt x="588" y="463"/>
                  </a:lnTo>
                  <a:lnTo>
                    <a:pt x="589" y="459"/>
                  </a:lnTo>
                  <a:lnTo>
                    <a:pt x="593" y="463"/>
                  </a:lnTo>
                  <a:lnTo>
                    <a:pt x="597" y="463"/>
                  </a:lnTo>
                  <a:lnTo>
                    <a:pt x="595" y="465"/>
                  </a:lnTo>
                  <a:lnTo>
                    <a:pt x="593" y="467"/>
                  </a:lnTo>
                  <a:lnTo>
                    <a:pt x="588" y="465"/>
                  </a:lnTo>
                  <a:lnTo>
                    <a:pt x="584" y="467"/>
                  </a:lnTo>
                  <a:lnTo>
                    <a:pt x="584" y="471"/>
                  </a:lnTo>
                  <a:lnTo>
                    <a:pt x="593" y="474"/>
                  </a:lnTo>
                  <a:lnTo>
                    <a:pt x="593" y="473"/>
                  </a:lnTo>
                  <a:lnTo>
                    <a:pt x="593" y="469"/>
                  </a:lnTo>
                  <a:lnTo>
                    <a:pt x="597" y="469"/>
                  </a:lnTo>
                  <a:lnTo>
                    <a:pt x="597" y="471"/>
                  </a:lnTo>
                  <a:lnTo>
                    <a:pt x="597" y="474"/>
                  </a:lnTo>
                  <a:lnTo>
                    <a:pt x="599" y="474"/>
                  </a:lnTo>
                  <a:lnTo>
                    <a:pt x="606" y="474"/>
                  </a:lnTo>
                  <a:lnTo>
                    <a:pt x="612" y="473"/>
                  </a:lnTo>
                  <a:lnTo>
                    <a:pt x="614" y="473"/>
                  </a:lnTo>
                  <a:lnTo>
                    <a:pt x="620" y="476"/>
                  </a:lnTo>
                  <a:lnTo>
                    <a:pt x="623" y="474"/>
                  </a:lnTo>
                  <a:lnTo>
                    <a:pt x="627" y="476"/>
                  </a:lnTo>
                  <a:lnTo>
                    <a:pt x="629" y="480"/>
                  </a:lnTo>
                  <a:lnTo>
                    <a:pt x="633" y="480"/>
                  </a:lnTo>
                  <a:lnTo>
                    <a:pt x="631" y="482"/>
                  </a:lnTo>
                  <a:lnTo>
                    <a:pt x="629" y="482"/>
                  </a:lnTo>
                  <a:lnTo>
                    <a:pt x="623" y="478"/>
                  </a:lnTo>
                  <a:lnTo>
                    <a:pt x="618" y="478"/>
                  </a:lnTo>
                  <a:lnTo>
                    <a:pt x="614" y="480"/>
                  </a:lnTo>
                  <a:lnTo>
                    <a:pt x="620" y="482"/>
                  </a:lnTo>
                  <a:lnTo>
                    <a:pt x="620" y="484"/>
                  </a:lnTo>
                  <a:lnTo>
                    <a:pt x="614" y="484"/>
                  </a:lnTo>
                  <a:lnTo>
                    <a:pt x="612" y="482"/>
                  </a:lnTo>
                  <a:lnTo>
                    <a:pt x="604" y="482"/>
                  </a:lnTo>
                  <a:lnTo>
                    <a:pt x="603" y="484"/>
                  </a:lnTo>
                  <a:lnTo>
                    <a:pt x="599" y="482"/>
                  </a:lnTo>
                  <a:lnTo>
                    <a:pt x="597" y="482"/>
                  </a:lnTo>
                  <a:lnTo>
                    <a:pt x="593" y="484"/>
                  </a:lnTo>
                  <a:lnTo>
                    <a:pt x="593" y="484"/>
                  </a:lnTo>
                  <a:lnTo>
                    <a:pt x="584" y="484"/>
                  </a:lnTo>
                  <a:lnTo>
                    <a:pt x="582" y="484"/>
                  </a:lnTo>
                  <a:lnTo>
                    <a:pt x="574" y="484"/>
                  </a:lnTo>
                  <a:lnTo>
                    <a:pt x="572" y="490"/>
                  </a:lnTo>
                  <a:lnTo>
                    <a:pt x="574" y="499"/>
                  </a:lnTo>
                  <a:lnTo>
                    <a:pt x="576" y="501"/>
                  </a:lnTo>
                  <a:lnTo>
                    <a:pt x="574" y="506"/>
                  </a:lnTo>
                  <a:lnTo>
                    <a:pt x="574" y="506"/>
                  </a:lnTo>
                  <a:lnTo>
                    <a:pt x="574" y="510"/>
                  </a:lnTo>
                  <a:lnTo>
                    <a:pt x="576" y="512"/>
                  </a:lnTo>
                  <a:lnTo>
                    <a:pt x="580" y="510"/>
                  </a:lnTo>
                  <a:lnTo>
                    <a:pt x="582" y="510"/>
                  </a:lnTo>
                  <a:lnTo>
                    <a:pt x="584" y="512"/>
                  </a:lnTo>
                  <a:lnTo>
                    <a:pt x="588" y="512"/>
                  </a:lnTo>
                  <a:lnTo>
                    <a:pt x="588" y="510"/>
                  </a:lnTo>
                  <a:lnTo>
                    <a:pt x="588" y="510"/>
                  </a:lnTo>
                  <a:lnTo>
                    <a:pt x="589" y="512"/>
                  </a:lnTo>
                  <a:lnTo>
                    <a:pt x="593" y="514"/>
                  </a:lnTo>
                  <a:lnTo>
                    <a:pt x="593" y="512"/>
                  </a:lnTo>
                  <a:lnTo>
                    <a:pt x="595" y="514"/>
                  </a:lnTo>
                  <a:lnTo>
                    <a:pt x="595" y="514"/>
                  </a:lnTo>
                  <a:lnTo>
                    <a:pt x="599" y="518"/>
                  </a:lnTo>
                  <a:lnTo>
                    <a:pt x="601" y="514"/>
                  </a:lnTo>
                  <a:lnTo>
                    <a:pt x="603" y="514"/>
                  </a:lnTo>
                  <a:lnTo>
                    <a:pt x="604" y="518"/>
                  </a:lnTo>
                  <a:lnTo>
                    <a:pt x="610" y="518"/>
                  </a:lnTo>
                  <a:lnTo>
                    <a:pt x="612" y="518"/>
                  </a:lnTo>
                  <a:lnTo>
                    <a:pt x="614" y="518"/>
                  </a:lnTo>
                  <a:lnTo>
                    <a:pt x="618" y="518"/>
                  </a:lnTo>
                  <a:lnTo>
                    <a:pt x="620" y="518"/>
                  </a:lnTo>
                  <a:lnTo>
                    <a:pt x="623" y="518"/>
                  </a:lnTo>
                  <a:lnTo>
                    <a:pt x="627" y="518"/>
                  </a:lnTo>
                  <a:lnTo>
                    <a:pt x="631" y="518"/>
                  </a:lnTo>
                  <a:lnTo>
                    <a:pt x="633" y="520"/>
                  </a:lnTo>
                  <a:lnTo>
                    <a:pt x="635" y="520"/>
                  </a:lnTo>
                  <a:lnTo>
                    <a:pt x="635" y="522"/>
                  </a:lnTo>
                  <a:lnTo>
                    <a:pt x="638" y="525"/>
                  </a:lnTo>
                  <a:lnTo>
                    <a:pt x="638" y="527"/>
                  </a:lnTo>
                  <a:lnTo>
                    <a:pt x="638" y="529"/>
                  </a:lnTo>
                  <a:lnTo>
                    <a:pt x="642" y="529"/>
                  </a:lnTo>
                  <a:lnTo>
                    <a:pt x="644" y="529"/>
                  </a:lnTo>
                  <a:lnTo>
                    <a:pt x="646" y="533"/>
                  </a:lnTo>
                  <a:lnTo>
                    <a:pt x="648" y="533"/>
                  </a:lnTo>
                  <a:lnTo>
                    <a:pt x="650" y="535"/>
                  </a:lnTo>
                  <a:lnTo>
                    <a:pt x="650" y="537"/>
                  </a:lnTo>
                  <a:lnTo>
                    <a:pt x="648" y="539"/>
                  </a:lnTo>
                  <a:lnTo>
                    <a:pt x="652" y="542"/>
                  </a:lnTo>
                  <a:lnTo>
                    <a:pt x="657" y="544"/>
                  </a:lnTo>
                  <a:lnTo>
                    <a:pt x="657" y="548"/>
                  </a:lnTo>
                  <a:lnTo>
                    <a:pt x="655" y="548"/>
                  </a:lnTo>
                  <a:lnTo>
                    <a:pt x="657" y="552"/>
                  </a:lnTo>
                  <a:lnTo>
                    <a:pt x="655" y="548"/>
                  </a:lnTo>
                  <a:lnTo>
                    <a:pt x="648" y="548"/>
                  </a:lnTo>
                  <a:lnTo>
                    <a:pt x="642" y="548"/>
                  </a:lnTo>
                  <a:lnTo>
                    <a:pt x="642" y="548"/>
                  </a:lnTo>
                  <a:lnTo>
                    <a:pt x="638" y="548"/>
                  </a:lnTo>
                  <a:lnTo>
                    <a:pt x="638" y="548"/>
                  </a:lnTo>
                  <a:lnTo>
                    <a:pt x="635" y="548"/>
                  </a:lnTo>
                  <a:lnTo>
                    <a:pt x="633" y="544"/>
                  </a:lnTo>
                  <a:lnTo>
                    <a:pt x="629" y="544"/>
                  </a:lnTo>
                  <a:lnTo>
                    <a:pt x="627" y="542"/>
                  </a:lnTo>
                  <a:lnTo>
                    <a:pt x="625" y="539"/>
                  </a:lnTo>
                  <a:lnTo>
                    <a:pt x="621" y="542"/>
                  </a:lnTo>
                  <a:lnTo>
                    <a:pt x="620" y="539"/>
                  </a:lnTo>
                  <a:lnTo>
                    <a:pt x="618" y="539"/>
                  </a:lnTo>
                  <a:lnTo>
                    <a:pt x="614" y="537"/>
                  </a:lnTo>
                  <a:lnTo>
                    <a:pt x="614" y="535"/>
                  </a:lnTo>
                  <a:lnTo>
                    <a:pt x="614" y="535"/>
                  </a:lnTo>
                  <a:lnTo>
                    <a:pt x="610" y="533"/>
                  </a:lnTo>
                  <a:lnTo>
                    <a:pt x="606" y="535"/>
                  </a:lnTo>
                  <a:lnTo>
                    <a:pt x="604" y="533"/>
                  </a:lnTo>
                  <a:lnTo>
                    <a:pt x="597" y="533"/>
                  </a:lnTo>
                  <a:lnTo>
                    <a:pt x="593" y="533"/>
                  </a:lnTo>
                  <a:lnTo>
                    <a:pt x="588" y="531"/>
                  </a:lnTo>
                  <a:lnTo>
                    <a:pt x="574" y="531"/>
                  </a:lnTo>
                  <a:lnTo>
                    <a:pt x="571" y="533"/>
                  </a:lnTo>
                  <a:lnTo>
                    <a:pt x="567" y="533"/>
                  </a:lnTo>
                  <a:lnTo>
                    <a:pt x="565" y="537"/>
                  </a:lnTo>
                  <a:lnTo>
                    <a:pt x="563" y="542"/>
                  </a:lnTo>
                  <a:lnTo>
                    <a:pt x="563" y="548"/>
                  </a:lnTo>
                  <a:lnTo>
                    <a:pt x="563" y="552"/>
                  </a:lnTo>
                  <a:lnTo>
                    <a:pt x="563" y="554"/>
                  </a:lnTo>
                  <a:lnTo>
                    <a:pt x="563" y="557"/>
                  </a:lnTo>
                  <a:lnTo>
                    <a:pt x="563" y="557"/>
                  </a:lnTo>
                  <a:lnTo>
                    <a:pt x="563" y="559"/>
                  </a:lnTo>
                  <a:lnTo>
                    <a:pt x="563" y="561"/>
                  </a:lnTo>
                  <a:lnTo>
                    <a:pt x="565" y="569"/>
                  </a:lnTo>
                  <a:lnTo>
                    <a:pt x="567" y="569"/>
                  </a:lnTo>
                  <a:lnTo>
                    <a:pt x="569" y="572"/>
                  </a:lnTo>
                  <a:lnTo>
                    <a:pt x="574" y="576"/>
                  </a:lnTo>
                  <a:lnTo>
                    <a:pt x="576" y="578"/>
                  </a:lnTo>
                  <a:lnTo>
                    <a:pt x="578" y="578"/>
                  </a:lnTo>
                  <a:lnTo>
                    <a:pt x="580" y="578"/>
                  </a:lnTo>
                  <a:lnTo>
                    <a:pt x="584" y="578"/>
                  </a:lnTo>
                  <a:lnTo>
                    <a:pt x="588" y="578"/>
                  </a:lnTo>
                  <a:lnTo>
                    <a:pt x="588" y="578"/>
                  </a:lnTo>
                  <a:lnTo>
                    <a:pt x="593" y="582"/>
                  </a:lnTo>
                  <a:lnTo>
                    <a:pt x="595" y="582"/>
                  </a:lnTo>
                  <a:lnTo>
                    <a:pt x="597" y="584"/>
                  </a:lnTo>
                  <a:lnTo>
                    <a:pt x="601" y="586"/>
                  </a:lnTo>
                  <a:lnTo>
                    <a:pt x="601" y="587"/>
                  </a:lnTo>
                  <a:lnTo>
                    <a:pt x="597" y="589"/>
                  </a:lnTo>
                  <a:lnTo>
                    <a:pt x="597" y="591"/>
                  </a:lnTo>
                  <a:lnTo>
                    <a:pt x="595" y="593"/>
                  </a:lnTo>
                  <a:lnTo>
                    <a:pt x="595" y="595"/>
                  </a:lnTo>
                  <a:lnTo>
                    <a:pt x="593" y="597"/>
                  </a:lnTo>
                  <a:lnTo>
                    <a:pt x="589" y="601"/>
                  </a:lnTo>
                  <a:lnTo>
                    <a:pt x="589" y="603"/>
                  </a:lnTo>
                  <a:lnTo>
                    <a:pt x="588" y="603"/>
                  </a:lnTo>
                  <a:lnTo>
                    <a:pt x="593" y="606"/>
                  </a:lnTo>
                  <a:lnTo>
                    <a:pt x="593" y="608"/>
                  </a:lnTo>
                  <a:lnTo>
                    <a:pt x="593" y="614"/>
                  </a:lnTo>
                  <a:lnTo>
                    <a:pt x="593" y="616"/>
                  </a:lnTo>
                  <a:lnTo>
                    <a:pt x="588" y="618"/>
                  </a:lnTo>
                  <a:lnTo>
                    <a:pt x="589" y="620"/>
                  </a:lnTo>
                  <a:lnTo>
                    <a:pt x="595" y="620"/>
                  </a:lnTo>
                  <a:lnTo>
                    <a:pt x="599" y="620"/>
                  </a:lnTo>
                  <a:lnTo>
                    <a:pt x="601" y="620"/>
                  </a:lnTo>
                  <a:lnTo>
                    <a:pt x="601" y="621"/>
                  </a:lnTo>
                  <a:lnTo>
                    <a:pt x="603" y="620"/>
                  </a:lnTo>
                  <a:lnTo>
                    <a:pt x="604" y="618"/>
                  </a:lnTo>
                  <a:lnTo>
                    <a:pt x="606" y="620"/>
                  </a:lnTo>
                  <a:lnTo>
                    <a:pt x="612" y="620"/>
                  </a:lnTo>
                  <a:lnTo>
                    <a:pt x="618" y="621"/>
                  </a:lnTo>
                  <a:lnTo>
                    <a:pt x="618" y="620"/>
                  </a:lnTo>
                  <a:lnTo>
                    <a:pt x="623" y="620"/>
                  </a:lnTo>
                  <a:lnTo>
                    <a:pt x="625" y="621"/>
                  </a:lnTo>
                  <a:lnTo>
                    <a:pt x="625" y="621"/>
                  </a:lnTo>
                  <a:lnTo>
                    <a:pt x="627" y="621"/>
                  </a:lnTo>
                  <a:lnTo>
                    <a:pt x="629" y="620"/>
                  </a:lnTo>
                  <a:lnTo>
                    <a:pt x="631" y="621"/>
                  </a:lnTo>
                  <a:lnTo>
                    <a:pt x="633" y="623"/>
                  </a:lnTo>
                  <a:lnTo>
                    <a:pt x="635" y="623"/>
                  </a:lnTo>
                  <a:lnTo>
                    <a:pt x="636" y="621"/>
                  </a:lnTo>
                  <a:lnTo>
                    <a:pt x="638" y="623"/>
                  </a:lnTo>
                  <a:lnTo>
                    <a:pt x="638" y="625"/>
                  </a:lnTo>
                  <a:lnTo>
                    <a:pt x="638" y="625"/>
                  </a:lnTo>
                  <a:lnTo>
                    <a:pt x="642" y="623"/>
                  </a:lnTo>
                  <a:lnTo>
                    <a:pt x="644" y="623"/>
                  </a:lnTo>
                  <a:lnTo>
                    <a:pt x="648" y="621"/>
                  </a:lnTo>
                  <a:lnTo>
                    <a:pt x="650" y="620"/>
                  </a:lnTo>
                  <a:lnTo>
                    <a:pt x="653" y="620"/>
                  </a:lnTo>
                  <a:lnTo>
                    <a:pt x="657" y="616"/>
                  </a:lnTo>
                  <a:lnTo>
                    <a:pt x="661" y="614"/>
                  </a:lnTo>
                  <a:lnTo>
                    <a:pt x="663" y="614"/>
                  </a:lnTo>
                  <a:lnTo>
                    <a:pt x="667" y="612"/>
                  </a:lnTo>
                  <a:lnTo>
                    <a:pt x="668" y="612"/>
                  </a:lnTo>
                  <a:lnTo>
                    <a:pt x="672" y="612"/>
                  </a:lnTo>
                  <a:lnTo>
                    <a:pt x="676" y="612"/>
                  </a:lnTo>
                  <a:lnTo>
                    <a:pt x="676" y="614"/>
                  </a:lnTo>
                  <a:lnTo>
                    <a:pt x="684" y="614"/>
                  </a:lnTo>
                  <a:lnTo>
                    <a:pt x="691" y="608"/>
                  </a:lnTo>
                  <a:lnTo>
                    <a:pt x="693" y="606"/>
                  </a:lnTo>
                  <a:lnTo>
                    <a:pt x="693" y="606"/>
                  </a:lnTo>
                  <a:lnTo>
                    <a:pt x="693" y="606"/>
                  </a:lnTo>
                  <a:lnTo>
                    <a:pt x="697" y="606"/>
                  </a:lnTo>
                  <a:lnTo>
                    <a:pt x="697" y="603"/>
                  </a:lnTo>
                  <a:lnTo>
                    <a:pt x="697" y="603"/>
                  </a:lnTo>
                  <a:lnTo>
                    <a:pt x="700" y="601"/>
                  </a:lnTo>
                  <a:lnTo>
                    <a:pt x="700" y="603"/>
                  </a:lnTo>
                  <a:lnTo>
                    <a:pt x="702" y="601"/>
                  </a:lnTo>
                  <a:lnTo>
                    <a:pt x="704" y="599"/>
                  </a:lnTo>
                  <a:lnTo>
                    <a:pt x="704" y="597"/>
                  </a:lnTo>
                  <a:lnTo>
                    <a:pt x="706" y="599"/>
                  </a:lnTo>
                  <a:lnTo>
                    <a:pt x="706" y="597"/>
                  </a:lnTo>
                  <a:lnTo>
                    <a:pt x="708" y="601"/>
                  </a:lnTo>
                  <a:lnTo>
                    <a:pt x="708" y="603"/>
                  </a:lnTo>
                  <a:lnTo>
                    <a:pt x="710" y="603"/>
                  </a:lnTo>
                  <a:lnTo>
                    <a:pt x="706" y="606"/>
                  </a:lnTo>
                  <a:lnTo>
                    <a:pt x="706" y="606"/>
                  </a:lnTo>
                  <a:lnTo>
                    <a:pt x="704" y="608"/>
                  </a:lnTo>
                  <a:lnTo>
                    <a:pt x="702" y="612"/>
                  </a:lnTo>
                  <a:lnTo>
                    <a:pt x="704" y="612"/>
                  </a:lnTo>
                  <a:lnTo>
                    <a:pt x="706" y="612"/>
                  </a:lnTo>
                  <a:lnTo>
                    <a:pt x="710" y="614"/>
                  </a:lnTo>
                  <a:lnTo>
                    <a:pt x="710" y="614"/>
                  </a:lnTo>
                  <a:lnTo>
                    <a:pt x="712" y="614"/>
                  </a:lnTo>
                  <a:lnTo>
                    <a:pt x="716" y="614"/>
                  </a:lnTo>
                  <a:lnTo>
                    <a:pt x="717" y="618"/>
                  </a:lnTo>
                  <a:lnTo>
                    <a:pt x="717" y="620"/>
                  </a:lnTo>
                  <a:lnTo>
                    <a:pt x="717" y="618"/>
                  </a:lnTo>
                  <a:lnTo>
                    <a:pt x="717" y="618"/>
                  </a:lnTo>
                  <a:lnTo>
                    <a:pt x="721" y="618"/>
                  </a:lnTo>
                  <a:lnTo>
                    <a:pt x="721" y="620"/>
                  </a:lnTo>
                  <a:lnTo>
                    <a:pt x="717" y="623"/>
                  </a:lnTo>
                  <a:lnTo>
                    <a:pt x="717" y="623"/>
                  </a:lnTo>
                  <a:lnTo>
                    <a:pt x="716" y="625"/>
                  </a:lnTo>
                  <a:lnTo>
                    <a:pt x="716" y="627"/>
                  </a:lnTo>
                  <a:lnTo>
                    <a:pt x="717" y="627"/>
                  </a:lnTo>
                  <a:lnTo>
                    <a:pt x="717" y="627"/>
                  </a:lnTo>
                  <a:lnTo>
                    <a:pt x="721" y="631"/>
                  </a:lnTo>
                  <a:lnTo>
                    <a:pt x="725" y="629"/>
                  </a:lnTo>
                  <a:lnTo>
                    <a:pt x="727" y="625"/>
                  </a:lnTo>
                  <a:lnTo>
                    <a:pt x="727" y="625"/>
                  </a:lnTo>
                  <a:lnTo>
                    <a:pt x="727" y="629"/>
                  </a:lnTo>
                  <a:lnTo>
                    <a:pt x="731" y="633"/>
                  </a:lnTo>
                  <a:lnTo>
                    <a:pt x="732" y="633"/>
                  </a:lnTo>
                  <a:lnTo>
                    <a:pt x="734" y="633"/>
                  </a:lnTo>
                  <a:lnTo>
                    <a:pt x="736" y="633"/>
                  </a:lnTo>
                  <a:lnTo>
                    <a:pt x="738" y="633"/>
                  </a:lnTo>
                  <a:lnTo>
                    <a:pt x="742" y="633"/>
                  </a:lnTo>
                  <a:lnTo>
                    <a:pt x="742" y="636"/>
                  </a:lnTo>
                  <a:lnTo>
                    <a:pt x="742" y="636"/>
                  </a:lnTo>
                  <a:lnTo>
                    <a:pt x="742" y="633"/>
                  </a:lnTo>
                  <a:lnTo>
                    <a:pt x="746" y="633"/>
                  </a:lnTo>
                  <a:lnTo>
                    <a:pt x="749" y="633"/>
                  </a:lnTo>
                  <a:lnTo>
                    <a:pt x="751" y="633"/>
                  </a:lnTo>
                  <a:lnTo>
                    <a:pt x="751" y="636"/>
                  </a:lnTo>
                  <a:lnTo>
                    <a:pt x="751" y="636"/>
                  </a:lnTo>
                  <a:lnTo>
                    <a:pt x="755" y="636"/>
                  </a:lnTo>
                  <a:lnTo>
                    <a:pt x="755" y="633"/>
                  </a:lnTo>
                  <a:lnTo>
                    <a:pt x="757" y="633"/>
                  </a:lnTo>
                  <a:lnTo>
                    <a:pt x="757" y="636"/>
                  </a:lnTo>
                  <a:lnTo>
                    <a:pt x="759" y="636"/>
                  </a:lnTo>
                  <a:lnTo>
                    <a:pt x="761" y="636"/>
                  </a:lnTo>
                  <a:lnTo>
                    <a:pt x="761" y="633"/>
                  </a:lnTo>
                  <a:lnTo>
                    <a:pt x="763" y="633"/>
                  </a:lnTo>
                  <a:lnTo>
                    <a:pt x="766" y="633"/>
                  </a:lnTo>
                  <a:lnTo>
                    <a:pt x="766" y="633"/>
                  </a:lnTo>
                  <a:lnTo>
                    <a:pt x="768" y="633"/>
                  </a:lnTo>
                  <a:lnTo>
                    <a:pt x="770" y="633"/>
                  </a:lnTo>
                  <a:lnTo>
                    <a:pt x="770" y="633"/>
                  </a:lnTo>
                  <a:lnTo>
                    <a:pt x="770" y="633"/>
                  </a:lnTo>
                  <a:lnTo>
                    <a:pt x="770" y="633"/>
                  </a:lnTo>
                  <a:close/>
                  <a:moveTo>
                    <a:pt x="1115" y="765"/>
                  </a:moveTo>
                  <a:lnTo>
                    <a:pt x="1115" y="761"/>
                  </a:lnTo>
                  <a:lnTo>
                    <a:pt x="1115" y="761"/>
                  </a:lnTo>
                  <a:lnTo>
                    <a:pt x="1115" y="755"/>
                  </a:lnTo>
                  <a:lnTo>
                    <a:pt x="1115" y="751"/>
                  </a:lnTo>
                  <a:lnTo>
                    <a:pt x="1118" y="746"/>
                  </a:lnTo>
                  <a:lnTo>
                    <a:pt x="1120" y="742"/>
                  </a:lnTo>
                  <a:lnTo>
                    <a:pt x="1124" y="740"/>
                  </a:lnTo>
                  <a:lnTo>
                    <a:pt x="1130" y="731"/>
                  </a:lnTo>
                  <a:lnTo>
                    <a:pt x="1133" y="731"/>
                  </a:lnTo>
                  <a:lnTo>
                    <a:pt x="1135" y="731"/>
                  </a:lnTo>
                  <a:lnTo>
                    <a:pt x="1135" y="727"/>
                  </a:lnTo>
                  <a:lnTo>
                    <a:pt x="1139" y="731"/>
                  </a:lnTo>
                  <a:lnTo>
                    <a:pt x="1143" y="727"/>
                  </a:lnTo>
                  <a:lnTo>
                    <a:pt x="1145" y="731"/>
                  </a:lnTo>
                  <a:lnTo>
                    <a:pt x="1147" y="731"/>
                  </a:lnTo>
                  <a:lnTo>
                    <a:pt x="1148" y="731"/>
                  </a:lnTo>
                  <a:lnTo>
                    <a:pt x="1152" y="733"/>
                  </a:lnTo>
                  <a:lnTo>
                    <a:pt x="1154" y="738"/>
                  </a:lnTo>
                  <a:lnTo>
                    <a:pt x="1154" y="740"/>
                  </a:lnTo>
                  <a:lnTo>
                    <a:pt x="1150" y="744"/>
                  </a:lnTo>
                  <a:lnTo>
                    <a:pt x="1148" y="748"/>
                  </a:lnTo>
                  <a:lnTo>
                    <a:pt x="1148" y="751"/>
                  </a:lnTo>
                  <a:lnTo>
                    <a:pt x="1143" y="757"/>
                  </a:lnTo>
                  <a:lnTo>
                    <a:pt x="1143" y="761"/>
                  </a:lnTo>
                  <a:lnTo>
                    <a:pt x="1139" y="761"/>
                  </a:lnTo>
                  <a:lnTo>
                    <a:pt x="1135" y="765"/>
                  </a:lnTo>
                  <a:lnTo>
                    <a:pt x="1133" y="765"/>
                  </a:lnTo>
                  <a:lnTo>
                    <a:pt x="1130" y="765"/>
                  </a:lnTo>
                  <a:lnTo>
                    <a:pt x="1126" y="766"/>
                  </a:lnTo>
                  <a:lnTo>
                    <a:pt x="1124" y="765"/>
                  </a:lnTo>
                  <a:lnTo>
                    <a:pt x="1118" y="766"/>
                  </a:lnTo>
                  <a:lnTo>
                    <a:pt x="1118" y="765"/>
                  </a:lnTo>
                  <a:lnTo>
                    <a:pt x="1115" y="765"/>
                  </a:lnTo>
                  <a:lnTo>
                    <a:pt x="1115" y="765"/>
                  </a:lnTo>
                  <a:lnTo>
                    <a:pt x="1115" y="765"/>
                  </a:lnTo>
                  <a:lnTo>
                    <a:pt x="1115" y="765"/>
                  </a:lnTo>
                  <a:lnTo>
                    <a:pt x="1115" y="765"/>
                  </a:lnTo>
                  <a:close/>
                  <a:moveTo>
                    <a:pt x="787" y="621"/>
                  </a:moveTo>
                  <a:lnTo>
                    <a:pt x="785" y="620"/>
                  </a:lnTo>
                  <a:lnTo>
                    <a:pt x="787" y="618"/>
                  </a:lnTo>
                  <a:lnTo>
                    <a:pt x="789" y="618"/>
                  </a:lnTo>
                  <a:lnTo>
                    <a:pt x="787" y="614"/>
                  </a:lnTo>
                  <a:lnTo>
                    <a:pt x="789" y="612"/>
                  </a:lnTo>
                  <a:lnTo>
                    <a:pt x="791" y="612"/>
                  </a:lnTo>
                  <a:lnTo>
                    <a:pt x="791" y="614"/>
                  </a:lnTo>
                  <a:lnTo>
                    <a:pt x="793" y="616"/>
                  </a:lnTo>
                  <a:lnTo>
                    <a:pt x="793" y="618"/>
                  </a:lnTo>
                  <a:lnTo>
                    <a:pt x="791" y="621"/>
                  </a:lnTo>
                  <a:lnTo>
                    <a:pt x="789" y="620"/>
                  </a:lnTo>
                  <a:lnTo>
                    <a:pt x="787" y="623"/>
                  </a:lnTo>
                  <a:lnTo>
                    <a:pt x="787" y="621"/>
                  </a:lnTo>
                  <a:lnTo>
                    <a:pt x="787" y="621"/>
                  </a:lnTo>
                  <a:lnTo>
                    <a:pt x="787" y="621"/>
                  </a:lnTo>
                  <a:lnTo>
                    <a:pt x="787" y="621"/>
                  </a:lnTo>
                  <a:close/>
                  <a:moveTo>
                    <a:pt x="755" y="652"/>
                  </a:moveTo>
                  <a:lnTo>
                    <a:pt x="757" y="650"/>
                  </a:lnTo>
                  <a:lnTo>
                    <a:pt x="759" y="648"/>
                  </a:lnTo>
                  <a:lnTo>
                    <a:pt x="759" y="646"/>
                  </a:lnTo>
                  <a:lnTo>
                    <a:pt x="759" y="642"/>
                  </a:lnTo>
                  <a:lnTo>
                    <a:pt x="759" y="642"/>
                  </a:lnTo>
                  <a:lnTo>
                    <a:pt x="755" y="646"/>
                  </a:lnTo>
                  <a:lnTo>
                    <a:pt x="755" y="646"/>
                  </a:lnTo>
                  <a:lnTo>
                    <a:pt x="751" y="646"/>
                  </a:lnTo>
                  <a:lnTo>
                    <a:pt x="751" y="646"/>
                  </a:lnTo>
                  <a:lnTo>
                    <a:pt x="755" y="650"/>
                  </a:lnTo>
                  <a:lnTo>
                    <a:pt x="755" y="652"/>
                  </a:lnTo>
                  <a:lnTo>
                    <a:pt x="755" y="652"/>
                  </a:lnTo>
                  <a:lnTo>
                    <a:pt x="755" y="652"/>
                  </a:lnTo>
                  <a:lnTo>
                    <a:pt x="755" y="652"/>
                  </a:lnTo>
                  <a:close/>
                  <a:moveTo>
                    <a:pt x="793" y="646"/>
                  </a:moveTo>
                  <a:lnTo>
                    <a:pt x="789" y="646"/>
                  </a:lnTo>
                  <a:lnTo>
                    <a:pt x="787" y="648"/>
                  </a:lnTo>
                  <a:lnTo>
                    <a:pt x="787" y="650"/>
                  </a:lnTo>
                  <a:lnTo>
                    <a:pt x="785" y="646"/>
                  </a:lnTo>
                  <a:lnTo>
                    <a:pt x="785" y="646"/>
                  </a:lnTo>
                  <a:lnTo>
                    <a:pt x="787" y="638"/>
                  </a:lnTo>
                  <a:lnTo>
                    <a:pt x="787" y="636"/>
                  </a:lnTo>
                  <a:lnTo>
                    <a:pt x="789" y="636"/>
                  </a:lnTo>
                  <a:lnTo>
                    <a:pt x="791" y="636"/>
                  </a:lnTo>
                  <a:lnTo>
                    <a:pt x="791" y="636"/>
                  </a:lnTo>
                  <a:lnTo>
                    <a:pt x="795" y="640"/>
                  </a:lnTo>
                  <a:lnTo>
                    <a:pt x="793" y="646"/>
                  </a:lnTo>
                  <a:lnTo>
                    <a:pt x="793" y="646"/>
                  </a:lnTo>
                  <a:lnTo>
                    <a:pt x="793" y="646"/>
                  </a:lnTo>
                  <a:lnTo>
                    <a:pt x="793" y="646"/>
                  </a:lnTo>
                  <a:close/>
                  <a:moveTo>
                    <a:pt x="796" y="638"/>
                  </a:moveTo>
                  <a:lnTo>
                    <a:pt x="796" y="636"/>
                  </a:lnTo>
                  <a:lnTo>
                    <a:pt x="795" y="636"/>
                  </a:lnTo>
                  <a:lnTo>
                    <a:pt x="798" y="631"/>
                  </a:lnTo>
                  <a:lnTo>
                    <a:pt x="798" y="631"/>
                  </a:lnTo>
                  <a:lnTo>
                    <a:pt x="800" y="633"/>
                  </a:lnTo>
                  <a:lnTo>
                    <a:pt x="800" y="636"/>
                  </a:lnTo>
                  <a:lnTo>
                    <a:pt x="798" y="638"/>
                  </a:lnTo>
                  <a:lnTo>
                    <a:pt x="798" y="638"/>
                  </a:lnTo>
                  <a:lnTo>
                    <a:pt x="796" y="638"/>
                  </a:lnTo>
                  <a:lnTo>
                    <a:pt x="796" y="638"/>
                  </a:lnTo>
                  <a:lnTo>
                    <a:pt x="796" y="638"/>
                  </a:lnTo>
                  <a:lnTo>
                    <a:pt x="796" y="638"/>
                  </a:lnTo>
                  <a:close/>
                  <a:moveTo>
                    <a:pt x="864" y="640"/>
                  </a:moveTo>
                  <a:lnTo>
                    <a:pt x="868" y="636"/>
                  </a:lnTo>
                  <a:lnTo>
                    <a:pt x="870" y="631"/>
                  </a:lnTo>
                  <a:lnTo>
                    <a:pt x="874" y="633"/>
                  </a:lnTo>
                  <a:lnTo>
                    <a:pt x="874" y="636"/>
                  </a:lnTo>
                  <a:lnTo>
                    <a:pt x="870" y="642"/>
                  </a:lnTo>
                  <a:lnTo>
                    <a:pt x="868" y="642"/>
                  </a:lnTo>
                  <a:lnTo>
                    <a:pt x="868" y="640"/>
                  </a:lnTo>
                  <a:lnTo>
                    <a:pt x="868" y="636"/>
                  </a:lnTo>
                  <a:lnTo>
                    <a:pt x="868" y="638"/>
                  </a:lnTo>
                  <a:lnTo>
                    <a:pt x="868" y="640"/>
                  </a:lnTo>
                  <a:lnTo>
                    <a:pt x="868" y="640"/>
                  </a:lnTo>
                  <a:lnTo>
                    <a:pt x="864" y="640"/>
                  </a:lnTo>
                  <a:lnTo>
                    <a:pt x="864" y="640"/>
                  </a:lnTo>
                  <a:lnTo>
                    <a:pt x="864" y="640"/>
                  </a:lnTo>
                  <a:lnTo>
                    <a:pt x="864" y="640"/>
                  </a:lnTo>
                  <a:close/>
                  <a:moveTo>
                    <a:pt x="862" y="636"/>
                  </a:moveTo>
                  <a:lnTo>
                    <a:pt x="864" y="636"/>
                  </a:lnTo>
                  <a:lnTo>
                    <a:pt x="864" y="633"/>
                  </a:lnTo>
                  <a:lnTo>
                    <a:pt x="864" y="629"/>
                  </a:lnTo>
                  <a:lnTo>
                    <a:pt x="862" y="631"/>
                  </a:lnTo>
                  <a:lnTo>
                    <a:pt x="862" y="636"/>
                  </a:lnTo>
                  <a:lnTo>
                    <a:pt x="862" y="636"/>
                  </a:lnTo>
                  <a:lnTo>
                    <a:pt x="862" y="636"/>
                  </a:lnTo>
                  <a:lnTo>
                    <a:pt x="862" y="636"/>
                  </a:lnTo>
                  <a:close/>
                  <a:moveTo>
                    <a:pt x="859" y="670"/>
                  </a:moveTo>
                  <a:lnTo>
                    <a:pt x="862" y="667"/>
                  </a:lnTo>
                  <a:lnTo>
                    <a:pt x="868" y="663"/>
                  </a:lnTo>
                  <a:lnTo>
                    <a:pt x="868" y="661"/>
                  </a:lnTo>
                  <a:lnTo>
                    <a:pt x="862" y="663"/>
                  </a:lnTo>
                  <a:lnTo>
                    <a:pt x="859" y="659"/>
                  </a:lnTo>
                  <a:lnTo>
                    <a:pt x="864" y="652"/>
                  </a:lnTo>
                  <a:lnTo>
                    <a:pt x="864" y="648"/>
                  </a:lnTo>
                  <a:lnTo>
                    <a:pt x="862" y="650"/>
                  </a:lnTo>
                  <a:lnTo>
                    <a:pt x="859" y="655"/>
                  </a:lnTo>
                  <a:lnTo>
                    <a:pt x="859" y="652"/>
                  </a:lnTo>
                  <a:lnTo>
                    <a:pt x="862" y="642"/>
                  </a:lnTo>
                  <a:lnTo>
                    <a:pt x="859" y="633"/>
                  </a:lnTo>
                  <a:lnTo>
                    <a:pt x="855" y="629"/>
                  </a:lnTo>
                  <a:lnTo>
                    <a:pt x="855" y="623"/>
                  </a:lnTo>
                  <a:lnTo>
                    <a:pt x="851" y="623"/>
                  </a:lnTo>
                  <a:lnTo>
                    <a:pt x="847" y="627"/>
                  </a:lnTo>
                  <a:lnTo>
                    <a:pt x="847" y="623"/>
                  </a:lnTo>
                  <a:lnTo>
                    <a:pt x="851" y="621"/>
                  </a:lnTo>
                  <a:lnTo>
                    <a:pt x="849" y="618"/>
                  </a:lnTo>
                  <a:lnTo>
                    <a:pt x="849" y="614"/>
                  </a:lnTo>
                  <a:lnTo>
                    <a:pt x="849" y="612"/>
                  </a:lnTo>
                  <a:lnTo>
                    <a:pt x="844" y="612"/>
                  </a:lnTo>
                  <a:lnTo>
                    <a:pt x="838" y="616"/>
                  </a:lnTo>
                  <a:lnTo>
                    <a:pt x="836" y="623"/>
                  </a:lnTo>
                  <a:lnTo>
                    <a:pt x="838" y="629"/>
                  </a:lnTo>
                  <a:lnTo>
                    <a:pt x="834" y="627"/>
                  </a:lnTo>
                  <a:lnTo>
                    <a:pt x="834" y="623"/>
                  </a:lnTo>
                  <a:lnTo>
                    <a:pt x="830" y="621"/>
                  </a:lnTo>
                  <a:lnTo>
                    <a:pt x="830" y="627"/>
                  </a:lnTo>
                  <a:lnTo>
                    <a:pt x="830" y="627"/>
                  </a:lnTo>
                  <a:lnTo>
                    <a:pt x="830" y="631"/>
                  </a:lnTo>
                  <a:lnTo>
                    <a:pt x="828" y="633"/>
                  </a:lnTo>
                  <a:lnTo>
                    <a:pt x="827" y="633"/>
                  </a:lnTo>
                  <a:lnTo>
                    <a:pt x="825" y="636"/>
                  </a:lnTo>
                  <a:lnTo>
                    <a:pt x="817" y="636"/>
                  </a:lnTo>
                  <a:lnTo>
                    <a:pt x="815" y="636"/>
                  </a:lnTo>
                  <a:lnTo>
                    <a:pt x="813" y="636"/>
                  </a:lnTo>
                  <a:lnTo>
                    <a:pt x="806" y="640"/>
                  </a:lnTo>
                  <a:lnTo>
                    <a:pt x="806" y="646"/>
                  </a:lnTo>
                  <a:lnTo>
                    <a:pt x="810" y="650"/>
                  </a:lnTo>
                  <a:lnTo>
                    <a:pt x="812" y="648"/>
                  </a:lnTo>
                  <a:lnTo>
                    <a:pt x="812" y="646"/>
                  </a:lnTo>
                  <a:lnTo>
                    <a:pt x="812" y="642"/>
                  </a:lnTo>
                  <a:lnTo>
                    <a:pt x="815" y="646"/>
                  </a:lnTo>
                  <a:lnTo>
                    <a:pt x="815" y="652"/>
                  </a:lnTo>
                  <a:lnTo>
                    <a:pt x="819" y="655"/>
                  </a:lnTo>
                  <a:lnTo>
                    <a:pt x="821" y="652"/>
                  </a:lnTo>
                  <a:lnTo>
                    <a:pt x="823" y="653"/>
                  </a:lnTo>
                  <a:lnTo>
                    <a:pt x="821" y="657"/>
                  </a:lnTo>
                  <a:lnTo>
                    <a:pt x="825" y="663"/>
                  </a:lnTo>
                  <a:lnTo>
                    <a:pt x="828" y="663"/>
                  </a:lnTo>
                  <a:lnTo>
                    <a:pt x="830" y="667"/>
                  </a:lnTo>
                  <a:lnTo>
                    <a:pt x="834" y="670"/>
                  </a:lnTo>
                  <a:lnTo>
                    <a:pt x="836" y="667"/>
                  </a:lnTo>
                  <a:lnTo>
                    <a:pt x="836" y="670"/>
                  </a:lnTo>
                  <a:lnTo>
                    <a:pt x="840" y="672"/>
                  </a:lnTo>
                  <a:lnTo>
                    <a:pt x="844" y="672"/>
                  </a:lnTo>
                  <a:lnTo>
                    <a:pt x="847" y="672"/>
                  </a:lnTo>
                  <a:lnTo>
                    <a:pt x="851" y="670"/>
                  </a:lnTo>
                  <a:lnTo>
                    <a:pt x="853" y="670"/>
                  </a:lnTo>
                  <a:lnTo>
                    <a:pt x="859" y="667"/>
                  </a:lnTo>
                  <a:lnTo>
                    <a:pt x="859" y="670"/>
                  </a:lnTo>
                  <a:lnTo>
                    <a:pt x="859" y="670"/>
                  </a:lnTo>
                  <a:lnTo>
                    <a:pt x="859" y="670"/>
                  </a:lnTo>
                  <a:lnTo>
                    <a:pt x="859" y="670"/>
                  </a:lnTo>
                  <a:close/>
                  <a:moveTo>
                    <a:pt x="1237" y="642"/>
                  </a:moveTo>
                  <a:lnTo>
                    <a:pt x="1237" y="638"/>
                  </a:lnTo>
                  <a:lnTo>
                    <a:pt x="1235" y="636"/>
                  </a:lnTo>
                  <a:lnTo>
                    <a:pt x="1237" y="636"/>
                  </a:lnTo>
                  <a:lnTo>
                    <a:pt x="1241" y="633"/>
                  </a:lnTo>
                  <a:lnTo>
                    <a:pt x="1243" y="633"/>
                  </a:lnTo>
                  <a:lnTo>
                    <a:pt x="1243" y="636"/>
                  </a:lnTo>
                  <a:lnTo>
                    <a:pt x="1246" y="636"/>
                  </a:lnTo>
                  <a:lnTo>
                    <a:pt x="1246" y="636"/>
                  </a:lnTo>
                  <a:lnTo>
                    <a:pt x="1246" y="640"/>
                  </a:lnTo>
                  <a:lnTo>
                    <a:pt x="1243" y="640"/>
                  </a:lnTo>
                  <a:lnTo>
                    <a:pt x="1241" y="640"/>
                  </a:lnTo>
                  <a:lnTo>
                    <a:pt x="1239" y="640"/>
                  </a:lnTo>
                  <a:lnTo>
                    <a:pt x="1237" y="642"/>
                  </a:lnTo>
                  <a:lnTo>
                    <a:pt x="1237" y="642"/>
                  </a:lnTo>
                  <a:lnTo>
                    <a:pt x="1237" y="642"/>
                  </a:lnTo>
                  <a:lnTo>
                    <a:pt x="1237" y="642"/>
                  </a:lnTo>
                  <a:lnTo>
                    <a:pt x="1237" y="642"/>
                  </a:lnTo>
                  <a:lnTo>
                    <a:pt x="1237" y="642"/>
                  </a:lnTo>
                  <a:close/>
                  <a:moveTo>
                    <a:pt x="1228" y="968"/>
                  </a:moveTo>
                  <a:lnTo>
                    <a:pt x="1224" y="968"/>
                  </a:lnTo>
                  <a:lnTo>
                    <a:pt x="1222" y="964"/>
                  </a:lnTo>
                  <a:lnTo>
                    <a:pt x="1216" y="964"/>
                  </a:lnTo>
                  <a:lnTo>
                    <a:pt x="1214" y="962"/>
                  </a:lnTo>
                  <a:lnTo>
                    <a:pt x="1211" y="962"/>
                  </a:lnTo>
                  <a:lnTo>
                    <a:pt x="1205" y="957"/>
                  </a:lnTo>
                  <a:lnTo>
                    <a:pt x="1205" y="955"/>
                  </a:lnTo>
                  <a:lnTo>
                    <a:pt x="1201" y="953"/>
                  </a:lnTo>
                  <a:lnTo>
                    <a:pt x="1199" y="955"/>
                  </a:lnTo>
                  <a:lnTo>
                    <a:pt x="1197" y="953"/>
                  </a:lnTo>
                  <a:lnTo>
                    <a:pt x="1197" y="955"/>
                  </a:lnTo>
                  <a:lnTo>
                    <a:pt x="1192" y="951"/>
                  </a:lnTo>
                  <a:lnTo>
                    <a:pt x="1192" y="949"/>
                  </a:lnTo>
                  <a:lnTo>
                    <a:pt x="1188" y="947"/>
                  </a:lnTo>
                  <a:lnTo>
                    <a:pt x="1184" y="947"/>
                  </a:lnTo>
                  <a:lnTo>
                    <a:pt x="1182" y="943"/>
                  </a:lnTo>
                  <a:lnTo>
                    <a:pt x="1182" y="940"/>
                  </a:lnTo>
                  <a:lnTo>
                    <a:pt x="1180" y="940"/>
                  </a:lnTo>
                  <a:lnTo>
                    <a:pt x="1179" y="940"/>
                  </a:lnTo>
                  <a:lnTo>
                    <a:pt x="1177" y="938"/>
                  </a:lnTo>
                  <a:lnTo>
                    <a:pt x="1179" y="934"/>
                  </a:lnTo>
                  <a:lnTo>
                    <a:pt x="1180" y="934"/>
                  </a:lnTo>
                  <a:lnTo>
                    <a:pt x="1177" y="934"/>
                  </a:lnTo>
                  <a:lnTo>
                    <a:pt x="1175" y="934"/>
                  </a:lnTo>
                  <a:lnTo>
                    <a:pt x="1175" y="934"/>
                  </a:lnTo>
                  <a:lnTo>
                    <a:pt x="1173" y="934"/>
                  </a:lnTo>
                  <a:lnTo>
                    <a:pt x="1173" y="932"/>
                  </a:lnTo>
                  <a:lnTo>
                    <a:pt x="1169" y="932"/>
                  </a:lnTo>
                  <a:lnTo>
                    <a:pt x="1164" y="928"/>
                  </a:lnTo>
                  <a:lnTo>
                    <a:pt x="1160" y="928"/>
                  </a:lnTo>
                  <a:lnTo>
                    <a:pt x="1160" y="927"/>
                  </a:lnTo>
                  <a:lnTo>
                    <a:pt x="1156" y="923"/>
                  </a:lnTo>
                  <a:lnTo>
                    <a:pt x="1158" y="921"/>
                  </a:lnTo>
                  <a:lnTo>
                    <a:pt x="1154" y="921"/>
                  </a:lnTo>
                  <a:lnTo>
                    <a:pt x="1152" y="919"/>
                  </a:lnTo>
                  <a:lnTo>
                    <a:pt x="1150" y="915"/>
                  </a:lnTo>
                  <a:lnTo>
                    <a:pt x="1150" y="910"/>
                  </a:lnTo>
                  <a:lnTo>
                    <a:pt x="1147" y="910"/>
                  </a:lnTo>
                  <a:lnTo>
                    <a:pt x="1147" y="910"/>
                  </a:lnTo>
                  <a:lnTo>
                    <a:pt x="1152" y="910"/>
                  </a:lnTo>
                  <a:lnTo>
                    <a:pt x="1160" y="904"/>
                  </a:lnTo>
                  <a:lnTo>
                    <a:pt x="1160" y="902"/>
                  </a:lnTo>
                  <a:lnTo>
                    <a:pt x="1156" y="904"/>
                  </a:lnTo>
                  <a:lnTo>
                    <a:pt x="1152" y="898"/>
                  </a:lnTo>
                  <a:lnTo>
                    <a:pt x="1152" y="895"/>
                  </a:lnTo>
                  <a:lnTo>
                    <a:pt x="1152" y="893"/>
                  </a:lnTo>
                  <a:lnTo>
                    <a:pt x="1150" y="895"/>
                  </a:lnTo>
                  <a:lnTo>
                    <a:pt x="1148" y="898"/>
                  </a:lnTo>
                  <a:lnTo>
                    <a:pt x="1148" y="900"/>
                  </a:lnTo>
                  <a:lnTo>
                    <a:pt x="1145" y="896"/>
                  </a:lnTo>
                  <a:lnTo>
                    <a:pt x="1147" y="895"/>
                  </a:lnTo>
                  <a:lnTo>
                    <a:pt x="1147" y="889"/>
                  </a:lnTo>
                  <a:lnTo>
                    <a:pt x="1145" y="893"/>
                  </a:lnTo>
                  <a:lnTo>
                    <a:pt x="1143" y="891"/>
                  </a:lnTo>
                  <a:lnTo>
                    <a:pt x="1143" y="887"/>
                  </a:lnTo>
                  <a:lnTo>
                    <a:pt x="1143" y="887"/>
                  </a:lnTo>
                  <a:lnTo>
                    <a:pt x="1139" y="883"/>
                  </a:lnTo>
                  <a:lnTo>
                    <a:pt x="1139" y="883"/>
                  </a:lnTo>
                  <a:lnTo>
                    <a:pt x="1139" y="876"/>
                  </a:lnTo>
                  <a:lnTo>
                    <a:pt x="1135" y="876"/>
                  </a:lnTo>
                  <a:lnTo>
                    <a:pt x="1135" y="870"/>
                  </a:lnTo>
                  <a:lnTo>
                    <a:pt x="1139" y="868"/>
                  </a:lnTo>
                  <a:lnTo>
                    <a:pt x="1139" y="866"/>
                  </a:lnTo>
                  <a:lnTo>
                    <a:pt x="1133" y="870"/>
                  </a:lnTo>
                  <a:lnTo>
                    <a:pt x="1133" y="876"/>
                  </a:lnTo>
                  <a:lnTo>
                    <a:pt x="1130" y="874"/>
                  </a:lnTo>
                  <a:lnTo>
                    <a:pt x="1133" y="868"/>
                  </a:lnTo>
                  <a:lnTo>
                    <a:pt x="1130" y="868"/>
                  </a:lnTo>
                  <a:lnTo>
                    <a:pt x="1130" y="868"/>
                  </a:lnTo>
                  <a:lnTo>
                    <a:pt x="1128" y="868"/>
                  </a:lnTo>
                  <a:lnTo>
                    <a:pt x="1126" y="874"/>
                  </a:lnTo>
                  <a:lnTo>
                    <a:pt x="1122" y="876"/>
                  </a:lnTo>
                  <a:lnTo>
                    <a:pt x="1122" y="870"/>
                  </a:lnTo>
                  <a:lnTo>
                    <a:pt x="1126" y="868"/>
                  </a:lnTo>
                  <a:lnTo>
                    <a:pt x="1126" y="864"/>
                  </a:lnTo>
                  <a:lnTo>
                    <a:pt x="1126" y="862"/>
                  </a:lnTo>
                  <a:lnTo>
                    <a:pt x="1122" y="864"/>
                  </a:lnTo>
                  <a:lnTo>
                    <a:pt x="1120" y="866"/>
                  </a:lnTo>
                  <a:lnTo>
                    <a:pt x="1118" y="866"/>
                  </a:lnTo>
                  <a:lnTo>
                    <a:pt x="1115" y="870"/>
                  </a:lnTo>
                  <a:lnTo>
                    <a:pt x="1115" y="870"/>
                  </a:lnTo>
                  <a:lnTo>
                    <a:pt x="1109" y="870"/>
                  </a:lnTo>
                  <a:lnTo>
                    <a:pt x="1109" y="868"/>
                  </a:lnTo>
                  <a:lnTo>
                    <a:pt x="1105" y="868"/>
                  </a:lnTo>
                  <a:lnTo>
                    <a:pt x="1101" y="862"/>
                  </a:lnTo>
                  <a:lnTo>
                    <a:pt x="1101" y="862"/>
                  </a:lnTo>
                  <a:lnTo>
                    <a:pt x="1100" y="864"/>
                  </a:lnTo>
                  <a:lnTo>
                    <a:pt x="1100" y="868"/>
                  </a:lnTo>
                  <a:lnTo>
                    <a:pt x="1098" y="870"/>
                  </a:lnTo>
                  <a:lnTo>
                    <a:pt x="1094" y="870"/>
                  </a:lnTo>
                  <a:lnTo>
                    <a:pt x="1092" y="870"/>
                  </a:lnTo>
                  <a:lnTo>
                    <a:pt x="1088" y="870"/>
                  </a:lnTo>
                  <a:lnTo>
                    <a:pt x="1086" y="870"/>
                  </a:lnTo>
                  <a:lnTo>
                    <a:pt x="1084" y="870"/>
                  </a:lnTo>
                  <a:lnTo>
                    <a:pt x="1081" y="874"/>
                  </a:lnTo>
                  <a:lnTo>
                    <a:pt x="1079" y="870"/>
                  </a:lnTo>
                  <a:lnTo>
                    <a:pt x="1073" y="870"/>
                  </a:lnTo>
                  <a:lnTo>
                    <a:pt x="1075" y="870"/>
                  </a:lnTo>
                  <a:lnTo>
                    <a:pt x="1071" y="864"/>
                  </a:lnTo>
                  <a:lnTo>
                    <a:pt x="1069" y="866"/>
                  </a:lnTo>
                  <a:lnTo>
                    <a:pt x="1066" y="862"/>
                  </a:lnTo>
                  <a:lnTo>
                    <a:pt x="1062" y="855"/>
                  </a:lnTo>
                  <a:lnTo>
                    <a:pt x="1064" y="851"/>
                  </a:lnTo>
                  <a:lnTo>
                    <a:pt x="1068" y="849"/>
                  </a:lnTo>
                  <a:lnTo>
                    <a:pt x="1068" y="846"/>
                  </a:lnTo>
                  <a:lnTo>
                    <a:pt x="1069" y="844"/>
                  </a:lnTo>
                  <a:lnTo>
                    <a:pt x="1073" y="844"/>
                  </a:lnTo>
                  <a:lnTo>
                    <a:pt x="1077" y="840"/>
                  </a:lnTo>
                  <a:lnTo>
                    <a:pt x="1081" y="840"/>
                  </a:lnTo>
                  <a:lnTo>
                    <a:pt x="1081" y="840"/>
                  </a:lnTo>
                  <a:lnTo>
                    <a:pt x="1081" y="838"/>
                  </a:lnTo>
                  <a:lnTo>
                    <a:pt x="1081" y="836"/>
                  </a:lnTo>
                  <a:lnTo>
                    <a:pt x="1081" y="832"/>
                  </a:lnTo>
                  <a:lnTo>
                    <a:pt x="1081" y="832"/>
                  </a:lnTo>
                  <a:lnTo>
                    <a:pt x="1081" y="832"/>
                  </a:lnTo>
                  <a:lnTo>
                    <a:pt x="1084" y="830"/>
                  </a:lnTo>
                  <a:lnTo>
                    <a:pt x="1084" y="829"/>
                  </a:lnTo>
                  <a:lnTo>
                    <a:pt x="1084" y="827"/>
                  </a:lnTo>
                  <a:lnTo>
                    <a:pt x="1086" y="834"/>
                  </a:lnTo>
                  <a:lnTo>
                    <a:pt x="1092" y="834"/>
                  </a:lnTo>
                  <a:lnTo>
                    <a:pt x="1096" y="838"/>
                  </a:lnTo>
                  <a:lnTo>
                    <a:pt x="1098" y="840"/>
                  </a:lnTo>
                  <a:lnTo>
                    <a:pt x="1100" y="840"/>
                  </a:lnTo>
                  <a:lnTo>
                    <a:pt x="1105" y="844"/>
                  </a:lnTo>
                  <a:lnTo>
                    <a:pt x="1105" y="840"/>
                  </a:lnTo>
                  <a:lnTo>
                    <a:pt x="1109" y="840"/>
                  </a:lnTo>
                  <a:lnTo>
                    <a:pt x="1109" y="844"/>
                  </a:lnTo>
                  <a:lnTo>
                    <a:pt x="1115" y="844"/>
                  </a:lnTo>
                  <a:lnTo>
                    <a:pt x="1118" y="844"/>
                  </a:lnTo>
                  <a:lnTo>
                    <a:pt x="1118" y="840"/>
                  </a:lnTo>
                  <a:lnTo>
                    <a:pt x="1120" y="838"/>
                  </a:lnTo>
                  <a:lnTo>
                    <a:pt x="1126" y="838"/>
                  </a:lnTo>
                  <a:lnTo>
                    <a:pt x="1126" y="838"/>
                  </a:lnTo>
                  <a:lnTo>
                    <a:pt x="1124" y="840"/>
                  </a:lnTo>
                  <a:lnTo>
                    <a:pt x="1128" y="840"/>
                  </a:lnTo>
                  <a:lnTo>
                    <a:pt x="1130" y="838"/>
                  </a:lnTo>
                  <a:lnTo>
                    <a:pt x="1133" y="836"/>
                  </a:lnTo>
                  <a:lnTo>
                    <a:pt x="1135" y="832"/>
                  </a:lnTo>
                  <a:lnTo>
                    <a:pt x="1139" y="836"/>
                  </a:lnTo>
                  <a:lnTo>
                    <a:pt x="1139" y="840"/>
                  </a:lnTo>
                  <a:lnTo>
                    <a:pt x="1139" y="844"/>
                  </a:lnTo>
                  <a:lnTo>
                    <a:pt x="1139" y="840"/>
                  </a:lnTo>
                  <a:lnTo>
                    <a:pt x="1143" y="838"/>
                  </a:lnTo>
                  <a:lnTo>
                    <a:pt x="1143" y="840"/>
                  </a:lnTo>
                  <a:lnTo>
                    <a:pt x="1145" y="838"/>
                  </a:lnTo>
                  <a:lnTo>
                    <a:pt x="1143" y="829"/>
                  </a:lnTo>
                  <a:lnTo>
                    <a:pt x="1139" y="823"/>
                  </a:lnTo>
                  <a:lnTo>
                    <a:pt x="1139" y="819"/>
                  </a:lnTo>
                  <a:lnTo>
                    <a:pt x="1139" y="815"/>
                  </a:lnTo>
                  <a:lnTo>
                    <a:pt x="1139" y="814"/>
                  </a:lnTo>
                  <a:lnTo>
                    <a:pt x="1139" y="812"/>
                  </a:lnTo>
                  <a:lnTo>
                    <a:pt x="1143" y="812"/>
                  </a:lnTo>
                  <a:lnTo>
                    <a:pt x="1147" y="806"/>
                  </a:lnTo>
                  <a:lnTo>
                    <a:pt x="1154" y="802"/>
                  </a:lnTo>
                  <a:lnTo>
                    <a:pt x="1158" y="800"/>
                  </a:lnTo>
                  <a:lnTo>
                    <a:pt x="1160" y="797"/>
                  </a:lnTo>
                  <a:lnTo>
                    <a:pt x="1164" y="797"/>
                  </a:lnTo>
                  <a:lnTo>
                    <a:pt x="1164" y="798"/>
                  </a:lnTo>
                  <a:lnTo>
                    <a:pt x="1167" y="797"/>
                  </a:lnTo>
                  <a:lnTo>
                    <a:pt x="1169" y="797"/>
                  </a:lnTo>
                  <a:lnTo>
                    <a:pt x="1164" y="795"/>
                  </a:lnTo>
                  <a:lnTo>
                    <a:pt x="1164" y="791"/>
                  </a:lnTo>
                  <a:lnTo>
                    <a:pt x="1173" y="785"/>
                  </a:lnTo>
                  <a:lnTo>
                    <a:pt x="1173" y="785"/>
                  </a:lnTo>
                  <a:lnTo>
                    <a:pt x="1173" y="781"/>
                  </a:lnTo>
                  <a:lnTo>
                    <a:pt x="1179" y="785"/>
                  </a:lnTo>
                  <a:lnTo>
                    <a:pt x="1184" y="781"/>
                  </a:lnTo>
                  <a:lnTo>
                    <a:pt x="1184" y="780"/>
                  </a:lnTo>
                  <a:lnTo>
                    <a:pt x="1184" y="776"/>
                  </a:lnTo>
                  <a:lnTo>
                    <a:pt x="1184" y="774"/>
                  </a:lnTo>
                  <a:lnTo>
                    <a:pt x="1184" y="766"/>
                  </a:lnTo>
                  <a:lnTo>
                    <a:pt x="1184" y="765"/>
                  </a:lnTo>
                  <a:lnTo>
                    <a:pt x="1184" y="765"/>
                  </a:lnTo>
                  <a:lnTo>
                    <a:pt x="1184" y="761"/>
                  </a:lnTo>
                  <a:lnTo>
                    <a:pt x="1188" y="757"/>
                  </a:lnTo>
                  <a:lnTo>
                    <a:pt x="1188" y="755"/>
                  </a:lnTo>
                  <a:lnTo>
                    <a:pt x="1184" y="755"/>
                  </a:lnTo>
                  <a:lnTo>
                    <a:pt x="1184" y="751"/>
                  </a:lnTo>
                  <a:lnTo>
                    <a:pt x="1188" y="748"/>
                  </a:lnTo>
                  <a:lnTo>
                    <a:pt x="1188" y="748"/>
                  </a:lnTo>
                  <a:lnTo>
                    <a:pt x="1188" y="744"/>
                  </a:lnTo>
                  <a:lnTo>
                    <a:pt x="1192" y="740"/>
                  </a:lnTo>
                  <a:lnTo>
                    <a:pt x="1192" y="738"/>
                  </a:lnTo>
                  <a:lnTo>
                    <a:pt x="1188" y="738"/>
                  </a:lnTo>
                  <a:lnTo>
                    <a:pt x="1188" y="742"/>
                  </a:lnTo>
                  <a:lnTo>
                    <a:pt x="1188" y="744"/>
                  </a:lnTo>
                  <a:lnTo>
                    <a:pt x="1184" y="744"/>
                  </a:lnTo>
                  <a:lnTo>
                    <a:pt x="1184" y="742"/>
                  </a:lnTo>
                  <a:lnTo>
                    <a:pt x="1184" y="738"/>
                  </a:lnTo>
                  <a:lnTo>
                    <a:pt x="1184" y="736"/>
                  </a:lnTo>
                  <a:lnTo>
                    <a:pt x="1177" y="736"/>
                  </a:lnTo>
                  <a:lnTo>
                    <a:pt x="1175" y="734"/>
                  </a:lnTo>
                  <a:lnTo>
                    <a:pt x="1175" y="733"/>
                  </a:lnTo>
                  <a:lnTo>
                    <a:pt x="1180" y="731"/>
                  </a:lnTo>
                  <a:lnTo>
                    <a:pt x="1180" y="731"/>
                  </a:lnTo>
                  <a:lnTo>
                    <a:pt x="1177" y="727"/>
                  </a:lnTo>
                  <a:lnTo>
                    <a:pt x="1179" y="725"/>
                  </a:lnTo>
                  <a:lnTo>
                    <a:pt x="1179" y="721"/>
                  </a:lnTo>
                  <a:lnTo>
                    <a:pt x="1175" y="719"/>
                  </a:lnTo>
                  <a:lnTo>
                    <a:pt x="1173" y="719"/>
                  </a:lnTo>
                  <a:lnTo>
                    <a:pt x="1173" y="721"/>
                  </a:lnTo>
                  <a:lnTo>
                    <a:pt x="1175" y="725"/>
                  </a:lnTo>
                  <a:lnTo>
                    <a:pt x="1173" y="727"/>
                  </a:lnTo>
                  <a:lnTo>
                    <a:pt x="1169" y="727"/>
                  </a:lnTo>
                  <a:lnTo>
                    <a:pt x="1167" y="725"/>
                  </a:lnTo>
                  <a:lnTo>
                    <a:pt x="1167" y="725"/>
                  </a:lnTo>
                  <a:lnTo>
                    <a:pt x="1167" y="719"/>
                  </a:lnTo>
                  <a:lnTo>
                    <a:pt x="1167" y="716"/>
                  </a:lnTo>
                  <a:lnTo>
                    <a:pt x="1167" y="714"/>
                  </a:lnTo>
                  <a:lnTo>
                    <a:pt x="1164" y="714"/>
                  </a:lnTo>
                  <a:lnTo>
                    <a:pt x="1164" y="714"/>
                  </a:lnTo>
                  <a:lnTo>
                    <a:pt x="1167" y="712"/>
                  </a:lnTo>
                  <a:lnTo>
                    <a:pt x="1167" y="710"/>
                  </a:lnTo>
                  <a:lnTo>
                    <a:pt x="1167" y="710"/>
                  </a:lnTo>
                  <a:lnTo>
                    <a:pt x="1167" y="708"/>
                  </a:lnTo>
                  <a:lnTo>
                    <a:pt x="1169" y="706"/>
                  </a:lnTo>
                  <a:lnTo>
                    <a:pt x="1169" y="704"/>
                  </a:lnTo>
                  <a:lnTo>
                    <a:pt x="1167" y="702"/>
                  </a:lnTo>
                  <a:lnTo>
                    <a:pt x="1164" y="706"/>
                  </a:lnTo>
                  <a:lnTo>
                    <a:pt x="1164" y="710"/>
                  </a:lnTo>
                  <a:lnTo>
                    <a:pt x="1160" y="712"/>
                  </a:lnTo>
                  <a:lnTo>
                    <a:pt x="1160" y="710"/>
                  </a:lnTo>
                  <a:lnTo>
                    <a:pt x="1160" y="706"/>
                  </a:lnTo>
                  <a:lnTo>
                    <a:pt x="1158" y="708"/>
                  </a:lnTo>
                  <a:lnTo>
                    <a:pt x="1156" y="710"/>
                  </a:lnTo>
                  <a:lnTo>
                    <a:pt x="1152" y="710"/>
                  </a:lnTo>
                  <a:lnTo>
                    <a:pt x="1150" y="712"/>
                  </a:lnTo>
                  <a:lnTo>
                    <a:pt x="1147" y="712"/>
                  </a:lnTo>
                  <a:lnTo>
                    <a:pt x="1143" y="714"/>
                  </a:lnTo>
                  <a:lnTo>
                    <a:pt x="1143" y="716"/>
                  </a:lnTo>
                  <a:lnTo>
                    <a:pt x="1143" y="716"/>
                  </a:lnTo>
                  <a:lnTo>
                    <a:pt x="1143" y="712"/>
                  </a:lnTo>
                  <a:lnTo>
                    <a:pt x="1143" y="710"/>
                  </a:lnTo>
                  <a:lnTo>
                    <a:pt x="1143" y="708"/>
                  </a:lnTo>
                  <a:lnTo>
                    <a:pt x="1143" y="708"/>
                  </a:lnTo>
                  <a:lnTo>
                    <a:pt x="1143" y="704"/>
                  </a:lnTo>
                  <a:lnTo>
                    <a:pt x="1145" y="702"/>
                  </a:lnTo>
                  <a:lnTo>
                    <a:pt x="1148" y="704"/>
                  </a:lnTo>
                  <a:lnTo>
                    <a:pt x="1150" y="704"/>
                  </a:lnTo>
                  <a:lnTo>
                    <a:pt x="1152" y="704"/>
                  </a:lnTo>
                  <a:lnTo>
                    <a:pt x="1154" y="704"/>
                  </a:lnTo>
                  <a:lnTo>
                    <a:pt x="1158" y="701"/>
                  </a:lnTo>
                  <a:lnTo>
                    <a:pt x="1158" y="697"/>
                  </a:lnTo>
                  <a:lnTo>
                    <a:pt x="1158" y="697"/>
                  </a:lnTo>
                  <a:lnTo>
                    <a:pt x="1154" y="695"/>
                  </a:lnTo>
                  <a:lnTo>
                    <a:pt x="1150" y="693"/>
                  </a:lnTo>
                  <a:lnTo>
                    <a:pt x="1150" y="691"/>
                  </a:lnTo>
                  <a:lnTo>
                    <a:pt x="1148" y="687"/>
                  </a:lnTo>
                  <a:lnTo>
                    <a:pt x="1148" y="687"/>
                  </a:lnTo>
                  <a:lnTo>
                    <a:pt x="1148" y="684"/>
                  </a:lnTo>
                  <a:lnTo>
                    <a:pt x="1145" y="684"/>
                  </a:lnTo>
                  <a:lnTo>
                    <a:pt x="1145" y="684"/>
                  </a:lnTo>
                  <a:lnTo>
                    <a:pt x="1143" y="682"/>
                  </a:lnTo>
                  <a:lnTo>
                    <a:pt x="1143" y="680"/>
                  </a:lnTo>
                  <a:lnTo>
                    <a:pt x="1145" y="678"/>
                  </a:lnTo>
                  <a:lnTo>
                    <a:pt x="1145" y="680"/>
                  </a:lnTo>
                  <a:lnTo>
                    <a:pt x="1147" y="678"/>
                  </a:lnTo>
                  <a:lnTo>
                    <a:pt x="1147" y="676"/>
                  </a:lnTo>
                  <a:lnTo>
                    <a:pt x="1150" y="676"/>
                  </a:lnTo>
                  <a:lnTo>
                    <a:pt x="1147" y="676"/>
                  </a:lnTo>
                  <a:lnTo>
                    <a:pt x="1143" y="670"/>
                  </a:lnTo>
                  <a:lnTo>
                    <a:pt x="1143" y="670"/>
                  </a:lnTo>
                  <a:lnTo>
                    <a:pt x="1143" y="670"/>
                  </a:lnTo>
                  <a:lnTo>
                    <a:pt x="1139" y="670"/>
                  </a:lnTo>
                  <a:lnTo>
                    <a:pt x="1135" y="672"/>
                  </a:lnTo>
                  <a:lnTo>
                    <a:pt x="1135" y="672"/>
                  </a:lnTo>
                  <a:lnTo>
                    <a:pt x="1135" y="670"/>
                  </a:lnTo>
                  <a:lnTo>
                    <a:pt x="1139" y="667"/>
                  </a:lnTo>
                  <a:lnTo>
                    <a:pt x="1143" y="661"/>
                  </a:lnTo>
                  <a:lnTo>
                    <a:pt x="1143" y="659"/>
                  </a:lnTo>
                  <a:lnTo>
                    <a:pt x="1143" y="655"/>
                  </a:lnTo>
                  <a:lnTo>
                    <a:pt x="1143" y="652"/>
                  </a:lnTo>
                  <a:lnTo>
                    <a:pt x="1145" y="648"/>
                  </a:lnTo>
                  <a:lnTo>
                    <a:pt x="1143" y="646"/>
                  </a:lnTo>
                  <a:lnTo>
                    <a:pt x="1139" y="648"/>
                  </a:lnTo>
                  <a:lnTo>
                    <a:pt x="1139" y="648"/>
                  </a:lnTo>
                  <a:lnTo>
                    <a:pt x="1139" y="648"/>
                  </a:lnTo>
                  <a:lnTo>
                    <a:pt x="1135" y="650"/>
                  </a:lnTo>
                  <a:lnTo>
                    <a:pt x="1135" y="650"/>
                  </a:lnTo>
                  <a:lnTo>
                    <a:pt x="1130" y="646"/>
                  </a:lnTo>
                  <a:lnTo>
                    <a:pt x="1130" y="642"/>
                  </a:lnTo>
                  <a:lnTo>
                    <a:pt x="1130" y="638"/>
                  </a:lnTo>
                  <a:lnTo>
                    <a:pt x="1128" y="638"/>
                  </a:lnTo>
                  <a:lnTo>
                    <a:pt x="1128" y="636"/>
                  </a:lnTo>
                  <a:lnTo>
                    <a:pt x="1130" y="633"/>
                  </a:lnTo>
                  <a:lnTo>
                    <a:pt x="1130" y="633"/>
                  </a:lnTo>
                  <a:lnTo>
                    <a:pt x="1130" y="631"/>
                  </a:lnTo>
                  <a:lnTo>
                    <a:pt x="1130" y="627"/>
                  </a:lnTo>
                  <a:lnTo>
                    <a:pt x="1130" y="627"/>
                  </a:lnTo>
                  <a:lnTo>
                    <a:pt x="1126" y="629"/>
                  </a:lnTo>
                  <a:lnTo>
                    <a:pt x="1126" y="633"/>
                  </a:lnTo>
                  <a:lnTo>
                    <a:pt x="1124" y="636"/>
                  </a:lnTo>
                  <a:lnTo>
                    <a:pt x="1124" y="633"/>
                  </a:lnTo>
                  <a:lnTo>
                    <a:pt x="1122" y="633"/>
                  </a:lnTo>
                  <a:lnTo>
                    <a:pt x="1120" y="633"/>
                  </a:lnTo>
                  <a:lnTo>
                    <a:pt x="1120" y="636"/>
                  </a:lnTo>
                  <a:lnTo>
                    <a:pt x="1118" y="636"/>
                  </a:lnTo>
                  <a:lnTo>
                    <a:pt x="1118" y="638"/>
                  </a:lnTo>
                  <a:lnTo>
                    <a:pt x="1120" y="646"/>
                  </a:lnTo>
                  <a:lnTo>
                    <a:pt x="1124" y="642"/>
                  </a:lnTo>
                  <a:lnTo>
                    <a:pt x="1126" y="650"/>
                  </a:lnTo>
                  <a:lnTo>
                    <a:pt x="1128" y="652"/>
                  </a:lnTo>
                  <a:lnTo>
                    <a:pt x="1128" y="655"/>
                  </a:lnTo>
                  <a:lnTo>
                    <a:pt x="1126" y="659"/>
                  </a:lnTo>
                  <a:lnTo>
                    <a:pt x="1124" y="663"/>
                  </a:lnTo>
                  <a:lnTo>
                    <a:pt x="1122" y="663"/>
                  </a:lnTo>
                  <a:lnTo>
                    <a:pt x="1115" y="663"/>
                  </a:lnTo>
                  <a:lnTo>
                    <a:pt x="1111" y="663"/>
                  </a:lnTo>
                  <a:lnTo>
                    <a:pt x="1109" y="663"/>
                  </a:lnTo>
                  <a:lnTo>
                    <a:pt x="1105" y="661"/>
                  </a:lnTo>
                  <a:lnTo>
                    <a:pt x="1105" y="661"/>
                  </a:lnTo>
                  <a:lnTo>
                    <a:pt x="1105" y="657"/>
                  </a:lnTo>
                  <a:lnTo>
                    <a:pt x="1101" y="657"/>
                  </a:lnTo>
                  <a:lnTo>
                    <a:pt x="1094" y="653"/>
                  </a:lnTo>
                  <a:lnTo>
                    <a:pt x="1088" y="653"/>
                  </a:lnTo>
                  <a:lnTo>
                    <a:pt x="1092" y="659"/>
                  </a:lnTo>
                  <a:lnTo>
                    <a:pt x="1094" y="663"/>
                  </a:lnTo>
                  <a:lnTo>
                    <a:pt x="1092" y="663"/>
                  </a:lnTo>
                  <a:lnTo>
                    <a:pt x="1090" y="663"/>
                  </a:lnTo>
                  <a:lnTo>
                    <a:pt x="1088" y="661"/>
                  </a:lnTo>
                  <a:lnTo>
                    <a:pt x="1084" y="657"/>
                  </a:lnTo>
                  <a:lnTo>
                    <a:pt x="1084" y="657"/>
                  </a:lnTo>
                  <a:lnTo>
                    <a:pt x="1084" y="653"/>
                  </a:lnTo>
                  <a:lnTo>
                    <a:pt x="1081" y="650"/>
                  </a:lnTo>
                  <a:lnTo>
                    <a:pt x="1077" y="646"/>
                  </a:lnTo>
                  <a:lnTo>
                    <a:pt x="1077" y="646"/>
                  </a:lnTo>
                  <a:lnTo>
                    <a:pt x="1073" y="646"/>
                  </a:lnTo>
                  <a:lnTo>
                    <a:pt x="1071" y="640"/>
                  </a:lnTo>
                  <a:lnTo>
                    <a:pt x="1068" y="638"/>
                  </a:lnTo>
                  <a:lnTo>
                    <a:pt x="1068" y="638"/>
                  </a:lnTo>
                  <a:lnTo>
                    <a:pt x="1064" y="636"/>
                  </a:lnTo>
                  <a:lnTo>
                    <a:pt x="1066" y="638"/>
                  </a:lnTo>
                  <a:lnTo>
                    <a:pt x="1073" y="646"/>
                  </a:lnTo>
                  <a:lnTo>
                    <a:pt x="1073" y="648"/>
                  </a:lnTo>
                  <a:lnTo>
                    <a:pt x="1077" y="652"/>
                  </a:lnTo>
                  <a:lnTo>
                    <a:pt x="1079" y="653"/>
                  </a:lnTo>
                  <a:lnTo>
                    <a:pt x="1081" y="655"/>
                  </a:lnTo>
                  <a:lnTo>
                    <a:pt x="1079" y="659"/>
                  </a:lnTo>
                  <a:lnTo>
                    <a:pt x="1077" y="657"/>
                  </a:lnTo>
                  <a:lnTo>
                    <a:pt x="1075" y="659"/>
                  </a:lnTo>
                  <a:lnTo>
                    <a:pt x="1069" y="655"/>
                  </a:lnTo>
                  <a:lnTo>
                    <a:pt x="1068" y="655"/>
                  </a:lnTo>
                  <a:lnTo>
                    <a:pt x="1066" y="653"/>
                  </a:lnTo>
                  <a:lnTo>
                    <a:pt x="1062" y="652"/>
                  </a:lnTo>
                  <a:lnTo>
                    <a:pt x="1062" y="648"/>
                  </a:lnTo>
                  <a:lnTo>
                    <a:pt x="1056" y="650"/>
                  </a:lnTo>
                  <a:lnTo>
                    <a:pt x="1051" y="652"/>
                  </a:lnTo>
                  <a:lnTo>
                    <a:pt x="1051" y="650"/>
                  </a:lnTo>
                  <a:lnTo>
                    <a:pt x="1047" y="648"/>
                  </a:lnTo>
                  <a:lnTo>
                    <a:pt x="1043" y="648"/>
                  </a:lnTo>
                  <a:lnTo>
                    <a:pt x="1041" y="646"/>
                  </a:lnTo>
                  <a:lnTo>
                    <a:pt x="1036" y="642"/>
                  </a:lnTo>
                  <a:lnTo>
                    <a:pt x="1036" y="640"/>
                  </a:lnTo>
                  <a:lnTo>
                    <a:pt x="1041" y="636"/>
                  </a:lnTo>
                  <a:lnTo>
                    <a:pt x="1043" y="636"/>
                  </a:lnTo>
                  <a:lnTo>
                    <a:pt x="1043" y="633"/>
                  </a:lnTo>
                  <a:lnTo>
                    <a:pt x="1041" y="633"/>
                  </a:lnTo>
                  <a:lnTo>
                    <a:pt x="1037" y="636"/>
                  </a:lnTo>
                  <a:lnTo>
                    <a:pt x="1036" y="638"/>
                  </a:lnTo>
                  <a:lnTo>
                    <a:pt x="1034" y="640"/>
                  </a:lnTo>
                  <a:lnTo>
                    <a:pt x="1030" y="636"/>
                  </a:lnTo>
                  <a:lnTo>
                    <a:pt x="1026" y="636"/>
                  </a:lnTo>
                  <a:lnTo>
                    <a:pt x="1026" y="636"/>
                  </a:lnTo>
                  <a:lnTo>
                    <a:pt x="1030" y="640"/>
                  </a:lnTo>
                  <a:lnTo>
                    <a:pt x="1026" y="640"/>
                  </a:lnTo>
                  <a:lnTo>
                    <a:pt x="1022" y="640"/>
                  </a:lnTo>
                  <a:lnTo>
                    <a:pt x="1019" y="636"/>
                  </a:lnTo>
                  <a:lnTo>
                    <a:pt x="1017" y="633"/>
                  </a:lnTo>
                  <a:lnTo>
                    <a:pt x="1013" y="631"/>
                  </a:lnTo>
                  <a:lnTo>
                    <a:pt x="1015" y="627"/>
                  </a:lnTo>
                  <a:lnTo>
                    <a:pt x="1020" y="623"/>
                  </a:lnTo>
                  <a:lnTo>
                    <a:pt x="1022" y="621"/>
                  </a:lnTo>
                  <a:lnTo>
                    <a:pt x="1020" y="621"/>
                  </a:lnTo>
                  <a:lnTo>
                    <a:pt x="1019" y="623"/>
                  </a:lnTo>
                  <a:lnTo>
                    <a:pt x="1013" y="623"/>
                  </a:lnTo>
                  <a:lnTo>
                    <a:pt x="1011" y="627"/>
                  </a:lnTo>
                  <a:lnTo>
                    <a:pt x="1009" y="629"/>
                  </a:lnTo>
                  <a:lnTo>
                    <a:pt x="1009" y="625"/>
                  </a:lnTo>
                  <a:lnTo>
                    <a:pt x="1009" y="621"/>
                  </a:lnTo>
                  <a:lnTo>
                    <a:pt x="1009" y="621"/>
                  </a:lnTo>
                  <a:lnTo>
                    <a:pt x="1007" y="621"/>
                  </a:lnTo>
                  <a:lnTo>
                    <a:pt x="1005" y="623"/>
                  </a:lnTo>
                  <a:lnTo>
                    <a:pt x="1007" y="625"/>
                  </a:lnTo>
                  <a:lnTo>
                    <a:pt x="1005" y="627"/>
                  </a:lnTo>
                  <a:lnTo>
                    <a:pt x="1005" y="627"/>
                  </a:lnTo>
                  <a:lnTo>
                    <a:pt x="1002" y="625"/>
                  </a:lnTo>
                  <a:lnTo>
                    <a:pt x="998" y="623"/>
                  </a:lnTo>
                  <a:lnTo>
                    <a:pt x="996" y="625"/>
                  </a:lnTo>
                  <a:lnTo>
                    <a:pt x="996" y="627"/>
                  </a:lnTo>
                  <a:lnTo>
                    <a:pt x="992" y="627"/>
                  </a:lnTo>
                  <a:lnTo>
                    <a:pt x="992" y="623"/>
                  </a:lnTo>
                  <a:lnTo>
                    <a:pt x="990" y="621"/>
                  </a:lnTo>
                  <a:lnTo>
                    <a:pt x="992" y="621"/>
                  </a:lnTo>
                  <a:lnTo>
                    <a:pt x="992" y="621"/>
                  </a:lnTo>
                  <a:lnTo>
                    <a:pt x="992" y="621"/>
                  </a:lnTo>
                  <a:lnTo>
                    <a:pt x="990" y="618"/>
                  </a:lnTo>
                  <a:lnTo>
                    <a:pt x="985" y="614"/>
                  </a:lnTo>
                  <a:lnTo>
                    <a:pt x="985" y="612"/>
                  </a:lnTo>
                  <a:lnTo>
                    <a:pt x="985" y="606"/>
                  </a:lnTo>
                  <a:lnTo>
                    <a:pt x="985" y="603"/>
                  </a:lnTo>
                  <a:lnTo>
                    <a:pt x="983" y="599"/>
                  </a:lnTo>
                  <a:lnTo>
                    <a:pt x="985" y="595"/>
                  </a:lnTo>
                  <a:lnTo>
                    <a:pt x="987" y="595"/>
                  </a:lnTo>
                  <a:lnTo>
                    <a:pt x="987" y="593"/>
                  </a:lnTo>
                  <a:lnTo>
                    <a:pt x="985" y="589"/>
                  </a:lnTo>
                  <a:lnTo>
                    <a:pt x="985" y="587"/>
                  </a:lnTo>
                  <a:lnTo>
                    <a:pt x="988" y="587"/>
                  </a:lnTo>
                  <a:lnTo>
                    <a:pt x="990" y="589"/>
                  </a:lnTo>
                  <a:lnTo>
                    <a:pt x="998" y="589"/>
                  </a:lnTo>
                  <a:lnTo>
                    <a:pt x="998" y="593"/>
                  </a:lnTo>
                  <a:lnTo>
                    <a:pt x="1002" y="597"/>
                  </a:lnTo>
                  <a:lnTo>
                    <a:pt x="1007" y="599"/>
                  </a:lnTo>
                  <a:lnTo>
                    <a:pt x="1013" y="599"/>
                  </a:lnTo>
                  <a:lnTo>
                    <a:pt x="1015" y="599"/>
                  </a:lnTo>
                  <a:lnTo>
                    <a:pt x="1020" y="599"/>
                  </a:lnTo>
                  <a:lnTo>
                    <a:pt x="1019" y="597"/>
                  </a:lnTo>
                  <a:lnTo>
                    <a:pt x="1017" y="593"/>
                  </a:lnTo>
                  <a:lnTo>
                    <a:pt x="1013" y="591"/>
                  </a:lnTo>
                  <a:lnTo>
                    <a:pt x="1011" y="586"/>
                  </a:lnTo>
                  <a:lnTo>
                    <a:pt x="1007" y="586"/>
                  </a:lnTo>
                  <a:lnTo>
                    <a:pt x="1002" y="582"/>
                  </a:lnTo>
                  <a:lnTo>
                    <a:pt x="1002" y="582"/>
                  </a:lnTo>
                  <a:lnTo>
                    <a:pt x="996" y="582"/>
                  </a:lnTo>
                  <a:lnTo>
                    <a:pt x="992" y="582"/>
                  </a:lnTo>
                  <a:lnTo>
                    <a:pt x="987" y="578"/>
                  </a:lnTo>
                  <a:lnTo>
                    <a:pt x="985" y="572"/>
                  </a:lnTo>
                  <a:lnTo>
                    <a:pt x="985" y="567"/>
                  </a:lnTo>
                  <a:lnTo>
                    <a:pt x="988" y="565"/>
                  </a:lnTo>
                  <a:lnTo>
                    <a:pt x="988" y="563"/>
                  </a:lnTo>
                  <a:lnTo>
                    <a:pt x="990" y="557"/>
                  </a:lnTo>
                  <a:lnTo>
                    <a:pt x="992" y="557"/>
                  </a:lnTo>
                  <a:lnTo>
                    <a:pt x="992" y="554"/>
                  </a:lnTo>
                  <a:lnTo>
                    <a:pt x="992" y="548"/>
                  </a:lnTo>
                  <a:lnTo>
                    <a:pt x="996" y="544"/>
                  </a:lnTo>
                  <a:lnTo>
                    <a:pt x="998" y="544"/>
                  </a:lnTo>
                  <a:lnTo>
                    <a:pt x="998" y="542"/>
                  </a:lnTo>
                  <a:lnTo>
                    <a:pt x="1005" y="539"/>
                  </a:lnTo>
                  <a:lnTo>
                    <a:pt x="1005" y="539"/>
                  </a:lnTo>
                  <a:lnTo>
                    <a:pt x="1007" y="537"/>
                  </a:lnTo>
                  <a:lnTo>
                    <a:pt x="1005" y="537"/>
                  </a:lnTo>
                  <a:lnTo>
                    <a:pt x="1005" y="537"/>
                  </a:lnTo>
                  <a:lnTo>
                    <a:pt x="1005" y="535"/>
                  </a:lnTo>
                  <a:lnTo>
                    <a:pt x="1007" y="527"/>
                  </a:lnTo>
                  <a:lnTo>
                    <a:pt x="1011" y="522"/>
                  </a:lnTo>
                  <a:lnTo>
                    <a:pt x="1011" y="522"/>
                  </a:lnTo>
                  <a:lnTo>
                    <a:pt x="1015" y="518"/>
                  </a:lnTo>
                  <a:lnTo>
                    <a:pt x="1019" y="518"/>
                  </a:lnTo>
                  <a:lnTo>
                    <a:pt x="1019" y="518"/>
                  </a:lnTo>
                  <a:lnTo>
                    <a:pt x="1020" y="514"/>
                  </a:lnTo>
                  <a:lnTo>
                    <a:pt x="1022" y="514"/>
                  </a:lnTo>
                  <a:lnTo>
                    <a:pt x="1024" y="514"/>
                  </a:lnTo>
                  <a:lnTo>
                    <a:pt x="1026" y="514"/>
                  </a:lnTo>
                  <a:lnTo>
                    <a:pt x="1024" y="512"/>
                  </a:lnTo>
                  <a:lnTo>
                    <a:pt x="1030" y="505"/>
                  </a:lnTo>
                  <a:lnTo>
                    <a:pt x="1030" y="505"/>
                  </a:lnTo>
                  <a:lnTo>
                    <a:pt x="1030" y="501"/>
                  </a:lnTo>
                  <a:lnTo>
                    <a:pt x="1034" y="497"/>
                  </a:lnTo>
                  <a:lnTo>
                    <a:pt x="1037" y="497"/>
                  </a:lnTo>
                  <a:lnTo>
                    <a:pt x="1039" y="493"/>
                  </a:lnTo>
                  <a:lnTo>
                    <a:pt x="1043" y="493"/>
                  </a:lnTo>
                  <a:lnTo>
                    <a:pt x="1045" y="493"/>
                  </a:lnTo>
                  <a:lnTo>
                    <a:pt x="1045" y="493"/>
                  </a:lnTo>
                  <a:lnTo>
                    <a:pt x="1045" y="488"/>
                  </a:lnTo>
                  <a:lnTo>
                    <a:pt x="1051" y="484"/>
                  </a:lnTo>
                  <a:lnTo>
                    <a:pt x="1056" y="480"/>
                  </a:lnTo>
                  <a:lnTo>
                    <a:pt x="1068" y="476"/>
                  </a:lnTo>
                  <a:lnTo>
                    <a:pt x="1075" y="476"/>
                  </a:lnTo>
                  <a:lnTo>
                    <a:pt x="1077" y="474"/>
                  </a:lnTo>
                  <a:lnTo>
                    <a:pt x="1081" y="476"/>
                  </a:lnTo>
                  <a:lnTo>
                    <a:pt x="1084" y="474"/>
                  </a:lnTo>
                  <a:lnTo>
                    <a:pt x="1086" y="476"/>
                  </a:lnTo>
                  <a:lnTo>
                    <a:pt x="1092" y="476"/>
                  </a:lnTo>
                  <a:lnTo>
                    <a:pt x="1096" y="478"/>
                  </a:lnTo>
                  <a:lnTo>
                    <a:pt x="1105" y="482"/>
                  </a:lnTo>
                  <a:lnTo>
                    <a:pt x="1105" y="484"/>
                  </a:lnTo>
                  <a:lnTo>
                    <a:pt x="1103" y="488"/>
                  </a:lnTo>
                  <a:lnTo>
                    <a:pt x="1100" y="488"/>
                  </a:lnTo>
                  <a:lnTo>
                    <a:pt x="1092" y="493"/>
                  </a:lnTo>
                  <a:lnTo>
                    <a:pt x="1088" y="493"/>
                  </a:lnTo>
                  <a:lnTo>
                    <a:pt x="1086" y="493"/>
                  </a:lnTo>
                  <a:lnTo>
                    <a:pt x="1084" y="497"/>
                  </a:lnTo>
                  <a:lnTo>
                    <a:pt x="1081" y="499"/>
                  </a:lnTo>
                  <a:lnTo>
                    <a:pt x="1075" y="506"/>
                  </a:lnTo>
                  <a:lnTo>
                    <a:pt x="1068" y="514"/>
                  </a:lnTo>
                  <a:lnTo>
                    <a:pt x="1062" y="518"/>
                  </a:lnTo>
                  <a:lnTo>
                    <a:pt x="1060" y="518"/>
                  </a:lnTo>
                  <a:lnTo>
                    <a:pt x="1056" y="525"/>
                  </a:lnTo>
                  <a:lnTo>
                    <a:pt x="1056" y="529"/>
                  </a:lnTo>
                  <a:lnTo>
                    <a:pt x="1056" y="533"/>
                  </a:lnTo>
                  <a:lnTo>
                    <a:pt x="1060" y="537"/>
                  </a:lnTo>
                  <a:lnTo>
                    <a:pt x="1060" y="539"/>
                  </a:lnTo>
                  <a:lnTo>
                    <a:pt x="1056" y="542"/>
                  </a:lnTo>
                  <a:lnTo>
                    <a:pt x="1054" y="544"/>
                  </a:lnTo>
                  <a:lnTo>
                    <a:pt x="1051" y="548"/>
                  </a:lnTo>
                  <a:lnTo>
                    <a:pt x="1051" y="552"/>
                  </a:lnTo>
                  <a:lnTo>
                    <a:pt x="1049" y="555"/>
                  </a:lnTo>
                  <a:lnTo>
                    <a:pt x="1047" y="557"/>
                  </a:lnTo>
                  <a:lnTo>
                    <a:pt x="1045" y="561"/>
                  </a:lnTo>
                  <a:lnTo>
                    <a:pt x="1047" y="565"/>
                  </a:lnTo>
                  <a:lnTo>
                    <a:pt x="1049" y="569"/>
                  </a:lnTo>
                  <a:lnTo>
                    <a:pt x="1051" y="572"/>
                  </a:lnTo>
                  <a:lnTo>
                    <a:pt x="1051" y="578"/>
                  </a:lnTo>
                  <a:lnTo>
                    <a:pt x="1051" y="582"/>
                  </a:lnTo>
                  <a:lnTo>
                    <a:pt x="1054" y="582"/>
                  </a:lnTo>
                  <a:lnTo>
                    <a:pt x="1056" y="584"/>
                  </a:lnTo>
                  <a:lnTo>
                    <a:pt x="1056" y="587"/>
                  </a:lnTo>
                  <a:lnTo>
                    <a:pt x="1056" y="591"/>
                  </a:lnTo>
                  <a:lnTo>
                    <a:pt x="1054" y="589"/>
                  </a:lnTo>
                  <a:lnTo>
                    <a:pt x="1051" y="589"/>
                  </a:lnTo>
                  <a:lnTo>
                    <a:pt x="1051" y="591"/>
                  </a:lnTo>
                  <a:lnTo>
                    <a:pt x="1051" y="591"/>
                  </a:lnTo>
                  <a:lnTo>
                    <a:pt x="1047" y="591"/>
                  </a:lnTo>
                  <a:lnTo>
                    <a:pt x="1045" y="593"/>
                  </a:lnTo>
                  <a:lnTo>
                    <a:pt x="1047" y="593"/>
                  </a:lnTo>
                  <a:lnTo>
                    <a:pt x="1051" y="597"/>
                  </a:lnTo>
                  <a:lnTo>
                    <a:pt x="1051" y="597"/>
                  </a:lnTo>
                  <a:lnTo>
                    <a:pt x="1051" y="595"/>
                  </a:lnTo>
                  <a:lnTo>
                    <a:pt x="1054" y="597"/>
                  </a:lnTo>
                  <a:lnTo>
                    <a:pt x="1051" y="599"/>
                  </a:lnTo>
                  <a:lnTo>
                    <a:pt x="1051" y="603"/>
                  </a:lnTo>
                  <a:lnTo>
                    <a:pt x="1051" y="606"/>
                  </a:lnTo>
                  <a:lnTo>
                    <a:pt x="1049" y="612"/>
                  </a:lnTo>
                  <a:lnTo>
                    <a:pt x="1054" y="606"/>
                  </a:lnTo>
                  <a:lnTo>
                    <a:pt x="1054" y="603"/>
                  </a:lnTo>
                  <a:lnTo>
                    <a:pt x="1056" y="597"/>
                  </a:lnTo>
                  <a:lnTo>
                    <a:pt x="1060" y="595"/>
                  </a:lnTo>
                  <a:lnTo>
                    <a:pt x="1060" y="587"/>
                  </a:lnTo>
                  <a:lnTo>
                    <a:pt x="1060" y="586"/>
                  </a:lnTo>
                  <a:lnTo>
                    <a:pt x="1064" y="582"/>
                  </a:lnTo>
                  <a:lnTo>
                    <a:pt x="1064" y="582"/>
                  </a:lnTo>
                  <a:lnTo>
                    <a:pt x="1064" y="578"/>
                  </a:lnTo>
                  <a:lnTo>
                    <a:pt x="1064" y="576"/>
                  </a:lnTo>
                  <a:lnTo>
                    <a:pt x="1062" y="572"/>
                  </a:lnTo>
                  <a:lnTo>
                    <a:pt x="1060" y="572"/>
                  </a:lnTo>
                  <a:lnTo>
                    <a:pt x="1060" y="569"/>
                  </a:lnTo>
                  <a:lnTo>
                    <a:pt x="1060" y="567"/>
                  </a:lnTo>
                  <a:lnTo>
                    <a:pt x="1060" y="563"/>
                  </a:lnTo>
                  <a:lnTo>
                    <a:pt x="1056" y="559"/>
                  </a:lnTo>
                  <a:lnTo>
                    <a:pt x="1056" y="555"/>
                  </a:lnTo>
                  <a:lnTo>
                    <a:pt x="1056" y="554"/>
                  </a:lnTo>
                  <a:lnTo>
                    <a:pt x="1060" y="557"/>
                  </a:lnTo>
                  <a:lnTo>
                    <a:pt x="1060" y="555"/>
                  </a:lnTo>
                  <a:lnTo>
                    <a:pt x="1064" y="554"/>
                  </a:lnTo>
                  <a:lnTo>
                    <a:pt x="1066" y="552"/>
                  </a:lnTo>
                  <a:lnTo>
                    <a:pt x="1066" y="548"/>
                  </a:lnTo>
                  <a:lnTo>
                    <a:pt x="1068" y="548"/>
                  </a:lnTo>
                  <a:lnTo>
                    <a:pt x="1069" y="548"/>
                  </a:lnTo>
                  <a:lnTo>
                    <a:pt x="1073" y="552"/>
                  </a:lnTo>
                  <a:lnTo>
                    <a:pt x="1071" y="554"/>
                  </a:lnTo>
                  <a:lnTo>
                    <a:pt x="1073" y="555"/>
                  </a:lnTo>
                  <a:lnTo>
                    <a:pt x="1075" y="552"/>
                  </a:lnTo>
                  <a:lnTo>
                    <a:pt x="1075" y="548"/>
                  </a:lnTo>
                  <a:lnTo>
                    <a:pt x="1079" y="548"/>
                  </a:lnTo>
                  <a:lnTo>
                    <a:pt x="1081" y="548"/>
                  </a:lnTo>
                  <a:lnTo>
                    <a:pt x="1081" y="544"/>
                  </a:lnTo>
                  <a:lnTo>
                    <a:pt x="1081" y="544"/>
                  </a:lnTo>
                  <a:lnTo>
                    <a:pt x="1084" y="542"/>
                  </a:lnTo>
                  <a:lnTo>
                    <a:pt x="1084" y="539"/>
                  </a:lnTo>
                  <a:lnTo>
                    <a:pt x="1081" y="539"/>
                  </a:lnTo>
                  <a:lnTo>
                    <a:pt x="1075" y="544"/>
                  </a:lnTo>
                  <a:lnTo>
                    <a:pt x="1073" y="544"/>
                  </a:lnTo>
                  <a:lnTo>
                    <a:pt x="1071" y="539"/>
                  </a:lnTo>
                  <a:lnTo>
                    <a:pt x="1069" y="539"/>
                  </a:lnTo>
                  <a:lnTo>
                    <a:pt x="1069" y="537"/>
                  </a:lnTo>
                  <a:lnTo>
                    <a:pt x="1073" y="535"/>
                  </a:lnTo>
                  <a:lnTo>
                    <a:pt x="1071" y="531"/>
                  </a:lnTo>
                  <a:lnTo>
                    <a:pt x="1073" y="525"/>
                  </a:lnTo>
                  <a:lnTo>
                    <a:pt x="1075" y="522"/>
                  </a:lnTo>
                  <a:lnTo>
                    <a:pt x="1077" y="518"/>
                  </a:lnTo>
                  <a:lnTo>
                    <a:pt x="1079" y="514"/>
                  </a:lnTo>
                  <a:lnTo>
                    <a:pt x="1084" y="518"/>
                  </a:lnTo>
                  <a:lnTo>
                    <a:pt x="1084" y="520"/>
                  </a:lnTo>
                  <a:lnTo>
                    <a:pt x="1086" y="522"/>
                  </a:lnTo>
                  <a:lnTo>
                    <a:pt x="1090" y="523"/>
                  </a:lnTo>
                  <a:lnTo>
                    <a:pt x="1094" y="527"/>
                  </a:lnTo>
                  <a:lnTo>
                    <a:pt x="1098" y="527"/>
                  </a:lnTo>
                  <a:lnTo>
                    <a:pt x="1094" y="525"/>
                  </a:lnTo>
                  <a:lnTo>
                    <a:pt x="1094" y="523"/>
                  </a:lnTo>
                  <a:lnTo>
                    <a:pt x="1088" y="520"/>
                  </a:lnTo>
                  <a:lnTo>
                    <a:pt x="1086" y="518"/>
                  </a:lnTo>
                  <a:lnTo>
                    <a:pt x="1086" y="514"/>
                  </a:lnTo>
                  <a:lnTo>
                    <a:pt x="1084" y="514"/>
                  </a:lnTo>
                  <a:lnTo>
                    <a:pt x="1081" y="514"/>
                  </a:lnTo>
                  <a:lnTo>
                    <a:pt x="1081" y="512"/>
                  </a:lnTo>
                  <a:lnTo>
                    <a:pt x="1088" y="512"/>
                  </a:lnTo>
                  <a:lnTo>
                    <a:pt x="1088" y="510"/>
                  </a:lnTo>
                  <a:lnTo>
                    <a:pt x="1090" y="510"/>
                  </a:lnTo>
                  <a:lnTo>
                    <a:pt x="1098" y="518"/>
                  </a:lnTo>
                  <a:lnTo>
                    <a:pt x="1101" y="518"/>
                  </a:lnTo>
                  <a:lnTo>
                    <a:pt x="1103" y="518"/>
                  </a:lnTo>
                  <a:lnTo>
                    <a:pt x="1100" y="518"/>
                  </a:lnTo>
                  <a:lnTo>
                    <a:pt x="1096" y="512"/>
                  </a:lnTo>
                  <a:lnTo>
                    <a:pt x="1092" y="508"/>
                  </a:lnTo>
                  <a:lnTo>
                    <a:pt x="1090" y="506"/>
                  </a:lnTo>
                  <a:lnTo>
                    <a:pt x="1092" y="503"/>
                  </a:lnTo>
                  <a:lnTo>
                    <a:pt x="1098" y="501"/>
                  </a:lnTo>
                  <a:lnTo>
                    <a:pt x="1100" y="501"/>
                  </a:lnTo>
                  <a:lnTo>
                    <a:pt x="1100" y="505"/>
                  </a:lnTo>
                  <a:lnTo>
                    <a:pt x="1100" y="508"/>
                  </a:lnTo>
                  <a:lnTo>
                    <a:pt x="1101" y="506"/>
                  </a:lnTo>
                  <a:lnTo>
                    <a:pt x="1101" y="503"/>
                  </a:lnTo>
                  <a:lnTo>
                    <a:pt x="1103" y="501"/>
                  </a:lnTo>
                  <a:lnTo>
                    <a:pt x="1109" y="501"/>
                  </a:lnTo>
                  <a:lnTo>
                    <a:pt x="1109" y="505"/>
                  </a:lnTo>
                  <a:lnTo>
                    <a:pt x="1111" y="506"/>
                  </a:lnTo>
                  <a:lnTo>
                    <a:pt x="1115" y="512"/>
                  </a:lnTo>
                  <a:lnTo>
                    <a:pt x="1115" y="508"/>
                  </a:lnTo>
                  <a:lnTo>
                    <a:pt x="1115" y="506"/>
                  </a:lnTo>
                  <a:lnTo>
                    <a:pt x="1111" y="501"/>
                  </a:lnTo>
                  <a:lnTo>
                    <a:pt x="1111" y="499"/>
                  </a:lnTo>
                  <a:lnTo>
                    <a:pt x="1120" y="497"/>
                  </a:lnTo>
                  <a:lnTo>
                    <a:pt x="1126" y="495"/>
                  </a:lnTo>
                  <a:lnTo>
                    <a:pt x="1130" y="493"/>
                  </a:lnTo>
                  <a:lnTo>
                    <a:pt x="1135" y="493"/>
                  </a:lnTo>
                  <a:lnTo>
                    <a:pt x="1139" y="493"/>
                  </a:lnTo>
                  <a:lnTo>
                    <a:pt x="1147" y="493"/>
                  </a:lnTo>
                  <a:lnTo>
                    <a:pt x="1152" y="495"/>
                  </a:lnTo>
                  <a:lnTo>
                    <a:pt x="1152" y="497"/>
                  </a:lnTo>
                  <a:lnTo>
                    <a:pt x="1152" y="499"/>
                  </a:lnTo>
                  <a:lnTo>
                    <a:pt x="1150" y="506"/>
                  </a:lnTo>
                  <a:lnTo>
                    <a:pt x="1150" y="510"/>
                  </a:lnTo>
                  <a:lnTo>
                    <a:pt x="1147" y="512"/>
                  </a:lnTo>
                  <a:lnTo>
                    <a:pt x="1145" y="518"/>
                  </a:lnTo>
                  <a:lnTo>
                    <a:pt x="1145" y="518"/>
                  </a:lnTo>
                  <a:lnTo>
                    <a:pt x="1148" y="520"/>
                  </a:lnTo>
                  <a:lnTo>
                    <a:pt x="1150" y="522"/>
                  </a:lnTo>
                  <a:lnTo>
                    <a:pt x="1150" y="525"/>
                  </a:lnTo>
                  <a:lnTo>
                    <a:pt x="1145" y="531"/>
                  </a:lnTo>
                  <a:lnTo>
                    <a:pt x="1143" y="533"/>
                  </a:lnTo>
                  <a:lnTo>
                    <a:pt x="1143" y="537"/>
                  </a:lnTo>
                  <a:lnTo>
                    <a:pt x="1147" y="539"/>
                  </a:lnTo>
                  <a:lnTo>
                    <a:pt x="1147" y="542"/>
                  </a:lnTo>
                  <a:lnTo>
                    <a:pt x="1143" y="544"/>
                  </a:lnTo>
                  <a:lnTo>
                    <a:pt x="1143" y="544"/>
                  </a:lnTo>
                  <a:lnTo>
                    <a:pt x="1139" y="548"/>
                  </a:lnTo>
                  <a:lnTo>
                    <a:pt x="1135" y="548"/>
                  </a:lnTo>
                  <a:lnTo>
                    <a:pt x="1133" y="552"/>
                  </a:lnTo>
                  <a:lnTo>
                    <a:pt x="1130" y="554"/>
                  </a:lnTo>
                  <a:lnTo>
                    <a:pt x="1128" y="557"/>
                  </a:lnTo>
                  <a:lnTo>
                    <a:pt x="1130" y="557"/>
                  </a:lnTo>
                  <a:lnTo>
                    <a:pt x="1135" y="552"/>
                  </a:lnTo>
                  <a:lnTo>
                    <a:pt x="1139" y="548"/>
                  </a:lnTo>
                  <a:lnTo>
                    <a:pt x="1143" y="548"/>
                  </a:lnTo>
                  <a:lnTo>
                    <a:pt x="1143" y="548"/>
                  </a:lnTo>
                  <a:lnTo>
                    <a:pt x="1139" y="552"/>
                  </a:lnTo>
                  <a:lnTo>
                    <a:pt x="1139" y="554"/>
                  </a:lnTo>
                  <a:lnTo>
                    <a:pt x="1135" y="559"/>
                  </a:lnTo>
                  <a:lnTo>
                    <a:pt x="1130" y="561"/>
                  </a:lnTo>
                  <a:lnTo>
                    <a:pt x="1130" y="563"/>
                  </a:lnTo>
                  <a:lnTo>
                    <a:pt x="1130" y="565"/>
                  </a:lnTo>
                  <a:lnTo>
                    <a:pt x="1130" y="567"/>
                  </a:lnTo>
                  <a:lnTo>
                    <a:pt x="1128" y="565"/>
                  </a:lnTo>
                  <a:lnTo>
                    <a:pt x="1126" y="565"/>
                  </a:lnTo>
                  <a:lnTo>
                    <a:pt x="1126" y="569"/>
                  </a:lnTo>
                  <a:lnTo>
                    <a:pt x="1128" y="569"/>
                  </a:lnTo>
                  <a:lnTo>
                    <a:pt x="1130" y="569"/>
                  </a:lnTo>
                  <a:lnTo>
                    <a:pt x="1130" y="572"/>
                  </a:lnTo>
                  <a:lnTo>
                    <a:pt x="1126" y="572"/>
                  </a:lnTo>
                  <a:lnTo>
                    <a:pt x="1130" y="572"/>
                  </a:lnTo>
                  <a:lnTo>
                    <a:pt x="1130" y="572"/>
                  </a:lnTo>
                  <a:lnTo>
                    <a:pt x="1133" y="572"/>
                  </a:lnTo>
                  <a:lnTo>
                    <a:pt x="1135" y="569"/>
                  </a:lnTo>
                  <a:lnTo>
                    <a:pt x="1135" y="565"/>
                  </a:lnTo>
                  <a:lnTo>
                    <a:pt x="1139" y="563"/>
                  </a:lnTo>
                  <a:lnTo>
                    <a:pt x="1139" y="561"/>
                  </a:lnTo>
                  <a:lnTo>
                    <a:pt x="1143" y="561"/>
                  </a:lnTo>
                  <a:lnTo>
                    <a:pt x="1143" y="567"/>
                  </a:lnTo>
                  <a:lnTo>
                    <a:pt x="1143" y="569"/>
                  </a:lnTo>
                  <a:lnTo>
                    <a:pt x="1143" y="563"/>
                  </a:lnTo>
                  <a:lnTo>
                    <a:pt x="1143" y="559"/>
                  </a:lnTo>
                  <a:lnTo>
                    <a:pt x="1143" y="557"/>
                  </a:lnTo>
                  <a:lnTo>
                    <a:pt x="1145" y="555"/>
                  </a:lnTo>
                  <a:lnTo>
                    <a:pt x="1148" y="555"/>
                  </a:lnTo>
                  <a:lnTo>
                    <a:pt x="1148" y="561"/>
                  </a:lnTo>
                  <a:lnTo>
                    <a:pt x="1148" y="563"/>
                  </a:lnTo>
                  <a:lnTo>
                    <a:pt x="1150" y="561"/>
                  </a:lnTo>
                  <a:lnTo>
                    <a:pt x="1154" y="557"/>
                  </a:lnTo>
                  <a:lnTo>
                    <a:pt x="1156" y="559"/>
                  </a:lnTo>
                  <a:lnTo>
                    <a:pt x="1158" y="563"/>
                  </a:lnTo>
                  <a:lnTo>
                    <a:pt x="1158" y="567"/>
                  </a:lnTo>
                  <a:lnTo>
                    <a:pt x="1152" y="572"/>
                  </a:lnTo>
                  <a:lnTo>
                    <a:pt x="1148" y="576"/>
                  </a:lnTo>
                  <a:lnTo>
                    <a:pt x="1147" y="578"/>
                  </a:lnTo>
                  <a:lnTo>
                    <a:pt x="1150" y="578"/>
                  </a:lnTo>
                  <a:lnTo>
                    <a:pt x="1154" y="582"/>
                  </a:lnTo>
                  <a:lnTo>
                    <a:pt x="1156" y="578"/>
                  </a:lnTo>
                  <a:lnTo>
                    <a:pt x="1154" y="576"/>
                  </a:lnTo>
                  <a:lnTo>
                    <a:pt x="1156" y="572"/>
                  </a:lnTo>
                  <a:lnTo>
                    <a:pt x="1160" y="569"/>
                  </a:lnTo>
                  <a:lnTo>
                    <a:pt x="1160" y="572"/>
                  </a:lnTo>
                  <a:lnTo>
                    <a:pt x="1160" y="578"/>
                  </a:lnTo>
                  <a:lnTo>
                    <a:pt x="1164" y="576"/>
                  </a:lnTo>
                  <a:lnTo>
                    <a:pt x="1160" y="569"/>
                  </a:lnTo>
                  <a:lnTo>
                    <a:pt x="1160" y="567"/>
                  </a:lnTo>
                  <a:lnTo>
                    <a:pt x="1160" y="559"/>
                  </a:lnTo>
                  <a:lnTo>
                    <a:pt x="1160" y="559"/>
                  </a:lnTo>
                  <a:lnTo>
                    <a:pt x="1164" y="561"/>
                  </a:lnTo>
                  <a:lnTo>
                    <a:pt x="1164" y="565"/>
                  </a:lnTo>
                  <a:lnTo>
                    <a:pt x="1164" y="567"/>
                  </a:lnTo>
                  <a:lnTo>
                    <a:pt x="1164" y="567"/>
                  </a:lnTo>
                  <a:lnTo>
                    <a:pt x="1167" y="565"/>
                  </a:lnTo>
                  <a:lnTo>
                    <a:pt x="1173" y="572"/>
                  </a:lnTo>
                  <a:lnTo>
                    <a:pt x="1173" y="572"/>
                  </a:lnTo>
                  <a:lnTo>
                    <a:pt x="1179" y="572"/>
                  </a:lnTo>
                  <a:lnTo>
                    <a:pt x="1180" y="576"/>
                  </a:lnTo>
                  <a:lnTo>
                    <a:pt x="1182" y="576"/>
                  </a:lnTo>
                  <a:lnTo>
                    <a:pt x="1180" y="572"/>
                  </a:lnTo>
                  <a:lnTo>
                    <a:pt x="1179" y="569"/>
                  </a:lnTo>
                  <a:lnTo>
                    <a:pt x="1177" y="569"/>
                  </a:lnTo>
                  <a:lnTo>
                    <a:pt x="1169" y="563"/>
                  </a:lnTo>
                  <a:lnTo>
                    <a:pt x="1167" y="563"/>
                  </a:lnTo>
                  <a:lnTo>
                    <a:pt x="1167" y="561"/>
                  </a:lnTo>
                  <a:lnTo>
                    <a:pt x="1169" y="555"/>
                  </a:lnTo>
                  <a:lnTo>
                    <a:pt x="1175" y="555"/>
                  </a:lnTo>
                  <a:lnTo>
                    <a:pt x="1179" y="552"/>
                  </a:lnTo>
                  <a:lnTo>
                    <a:pt x="1184" y="552"/>
                  </a:lnTo>
                  <a:lnTo>
                    <a:pt x="1188" y="552"/>
                  </a:lnTo>
                  <a:lnTo>
                    <a:pt x="1188" y="552"/>
                  </a:lnTo>
                  <a:lnTo>
                    <a:pt x="1192" y="552"/>
                  </a:lnTo>
                  <a:lnTo>
                    <a:pt x="1197" y="555"/>
                  </a:lnTo>
                  <a:lnTo>
                    <a:pt x="1197" y="557"/>
                  </a:lnTo>
                  <a:lnTo>
                    <a:pt x="1199" y="559"/>
                  </a:lnTo>
                  <a:lnTo>
                    <a:pt x="1201" y="561"/>
                  </a:lnTo>
                  <a:lnTo>
                    <a:pt x="1201" y="563"/>
                  </a:lnTo>
                  <a:lnTo>
                    <a:pt x="1205" y="563"/>
                  </a:lnTo>
                  <a:lnTo>
                    <a:pt x="1205" y="563"/>
                  </a:lnTo>
                  <a:lnTo>
                    <a:pt x="1209" y="563"/>
                  </a:lnTo>
                  <a:lnTo>
                    <a:pt x="1209" y="567"/>
                  </a:lnTo>
                  <a:lnTo>
                    <a:pt x="1214" y="569"/>
                  </a:lnTo>
                  <a:lnTo>
                    <a:pt x="1214" y="569"/>
                  </a:lnTo>
                  <a:lnTo>
                    <a:pt x="1214" y="572"/>
                  </a:lnTo>
                  <a:lnTo>
                    <a:pt x="1214" y="572"/>
                  </a:lnTo>
                  <a:lnTo>
                    <a:pt x="1214" y="578"/>
                  </a:lnTo>
                  <a:lnTo>
                    <a:pt x="1212" y="582"/>
                  </a:lnTo>
                  <a:lnTo>
                    <a:pt x="1209" y="582"/>
                  </a:lnTo>
                  <a:lnTo>
                    <a:pt x="1205" y="578"/>
                  </a:lnTo>
                  <a:lnTo>
                    <a:pt x="1199" y="582"/>
                  </a:lnTo>
                  <a:lnTo>
                    <a:pt x="1194" y="586"/>
                  </a:lnTo>
                  <a:lnTo>
                    <a:pt x="1199" y="582"/>
                  </a:lnTo>
                  <a:lnTo>
                    <a:pt x="1207" y="582"/>
                  </a:lnTo>
                  <a:lnTo>
                    <a:pt x="1207" y="582"/>
                  </a:lnTo>
                  <a:lnTo>
                    <a:pt x="1205" y="586"/>
                  </a:lnTo>
                  <a:lnTo>
                    <a:pt x="1201" y="587"/>
                  </a:lnTo>
                  <a:lnTo>
                    <a:pt x="1197" y="595"/>
                  </a:lnTo>
                  <a:lnTo>
                    <a:pt x="1194" y="597"/>
                  </a:lnTo>
                  <a:lnTo>
                    <a:pt x="1194" y="597"/>
                  </a:lnTo>
                  <a:lnTo>
                    <a:pt x="1192" y="601"/>
                  </a:lnTo>
                  <a:lnTo>
                    <a:pt x="1194" y="601"/>
                  </a:lnTo>
                  <a:lnTo>
                    <a:pt x="1199" y="593"/>
                  </a:lnTo>
                  <a:lnTo>
                    <a:pt x="1203" y="589"/>
                  </a:lnTo>
                  <a:lnTo>
                    <a:pt x="1207" y="587"/>
                  </a:lnTo>
                  <a:lnTo>
                    <a:pt x="1212" y="582"/>
                  </a:lnTo>
                  <a:lnTo>
                    <a:pt x="1216" y="584"/>
                  </a:lnTo>
                  <a:lnTo>
                    <a:pt x="1218" y="586"/>
                  </a:lnTo>
                  <a:lnTo>
                    <a:pt x="1218" y="586"/>
                  </a:lnTo>
                  <a:lnTo>
                    <a:pt x="1218" y="589"/>
                  </a:lnTo>
                  <a:lnTo>
                    <a:pt x="1218" y="591"/>
                  </a:lnTo>
                  <a:lnTo>
                    <a:pt x="1218" y="595"/>
                  </a:lnTo>
                  <a:lnTo>
                    <a:pt x="1214" y="597"/>
                  </a:lnTo>
                  <a:lnTo>
                    <a:pt x="1212" y="601"/>
                  </a:lnTo>
                  <a:lnTo>
                    <a:pt x="1209" y="601"/>
                  </a:lnTo>
                  <a:lnTo>
                    <a:pt x="1207" y="599"/>
                  </a:lnTo>
                  <a:lnTo>
                    <a:pt x="1203" y="599"/>
                  </a:lnTo>
                  <a:lnTo>
                    <a:pt x="1201" y="601"/>
                  </a:lnTo>
                  <a:lnTo>
                    <a:pt x="1205" y="601"/>
                  </a:lnTo>
                  <a:lnTo>
                    <a:pt x="1207" y="603"/>
                  </a:lnTo>
                  <a:lnTo>
                    <a:pt x="1199" y="606"/>
                  </a:lnTo>
                  <a:lnTo>
                    <a:pt x="1201" y="606"/>
                  </a:lnTo>
                  <a:lnTo>
                    <a:pt x="1205" y="606"/>
                  </a:lnTo>
                  <a:lnTo>
                    <a:pt x="1209" y="603"/>
                  </a:lnTo>
                  <a:lnTo>
                    <a:pt x="1211" y="603"/>
                  </a:lnTo>
                  <a:lnTo>
                    <a:pt x="1211" y="603"/>
                  </a:lnTo>
                  <a:lnTo>
                    <a:pt x="1209" y="606"/>
                  </a:lnTo>
                  <a:lnTo>
                    <a:pt x="1205" y="606"/>
                  </a:lnTo>
                  <a:lnTo>
                    <a:pt x="1201" y="608"/>
                  </a:lnTo>
                  <a:lnTo>
                    <a:pt x="1205" y="608"/>
                  </a:lnTo>
                  <a:lnTo>
                    <a:pt x="1205" y="612"/>
                  </a:lnTo>
                  <a:lnTo>
                    <a:pt x="1203" y="612"/>
                  </a:lnTo>
                  <a:lnTo>
                    <a:pt x="1199" y="616"/>
                  </a:lnTo>
                  <a:lnTo>
                    <a:pt x="1197" y="620"/>
                  </a:lnTo>
                  <a:lnTo>
                    <a:pt x="1199" y="620"/>
                  </a:lnTo>
                  <a:lnTo>
                    <a:pt x="1203" y="616"/>
                  </a:lnTo>
                  <a:lnTo>
                    <a:pt x="1207" y="612"/>
                  </a:lnTo>
                  <a:lnTo>
                    <a:pt x="1209" y="606"/>
                  </a:lnTo>
                  <a:lnTo>
                    <a:pt x="1216" y="603"/>
                  </a:lnTo>
                  <a:lnTo>
                    <a:pt x="1216" y="606"/>
                  </a:lnTo>
                  <a:lnTo>
                    <a:pt x="1216" y="606"/>
                  </a:lnTo>
                  <a:lnTo>
                    <a:pt x="1218" y="606"/>
                  </a:lnTo>
                  <a:lnTo>
                    <a:pt x="1218" y="603"/>
                  </a:lnTo>
                  <a:lnTo>
                    <a:pt x="1224" y="601"/>
                  </a:lnTo>
                  <a:lnTo>
                    <a:pt x="1226" y="601"/>
                  </a:lnTo>
                  <a:lnTo>
                    <a:pt x="1226" y="603"/>
                  </a:lnTo>
                  <a:lnTo>
                    <a:pt x="1222" y="606"/>
                  </a:lnTo>
                  <a:lnTo>
                    <a:pt x="1214" y="612"/>
                  </a:lnTo>
                  <a:lnTo>
                    <a:pt x="1212" y="612"/>
                  </a:lnTo>
                  <a:lnTo>
                    <a:pt x="1212" y="614"/>
                  </a:lnTo>
                  <a:lnTo>
                    <a:pt x="1214" y="614"/>
                  </a:lnTo>
                  <a:lnTo>
                    <a:pt x="1212" y="618"/>
                  </a:lnTo>
                  <a:lnTo>
                    <a:pt x="1211" y="621"/>
                  </a:lnTo>
                  <a:lnTo>
                    <a:pt x="1212" y="621"/>
                  </a:lnTo>
                  <a:lnTo>
                    <a:pt x="1214" y="618"/>
                  </a:lnTo>
                  <a:lnTo>
                    <a:pt x="1214" y="616"/>
                  </a:lnTo>
                  <a:lnTo>
                    <a:pt x="1218" y="612"/>
                  </a:lnTo>
                  <a:lnTo>
                    <a:pt x="1222" y="608"/>
                  </a:lnTo>
                  <a:lnTo>
                    <a:pt x="1222" y="612"/>
                  </a:lnTo>
                  <a:lnTo>
                    <a:pt x="1224" y="612"/>
                  </a:lnTo>
                  <a:lnTo>
                    <a:pt x="1222" y="616"/>
                  </a:lnTo>
                  <a:lnTo>
                    <a:pt x="1218" y="620"/>
                  </a:lnTo>
                  <a:lnTo>
                    <a:pt x="1218" y="621"/>
                  </a:lnTo>
                  <a:lnTo>
                    <a:pt x="1214" y="627"/>
                  </a:lnTo>
                  <a:lnTo>
                    <a:pt x="1212" y="629"/>
                  </a:lnTo>
                  <a:lnTo>
                    <a:pt x="1212" y="631"/>
                  </a:lnTo>
                  <a:lnTo>
                    <a:pt x="1216" y="629"/>
                  </a:lnTo>
                  <a:lnTo>
                    <a:pt x="1218" y="627"/>
                  </a:lnTo>
                  <a:lnTo>
                    <a:pt x="1222" y="620"/>
                  </a:lnTo>
                  <a:lnTo>
                    <a:pt x="1224" y="618"/>
                  </a:lnTo>
                  <a:lnTo>
                    <a:pt x="1226" y="621"/>
                  </a:lnTo>
                  <a:lnTo>
                    <a:pt x="1226" y="621"/>
                  </a:lnTo>
                  <a:lnTo>
                    <a:pt x="1226" y="623"/>
                  </a:lnTo>
                  <a:lnTo>
                    <a:pt x="1224" y="625"/>
                  </a:lnTo>
                  <a:lnTo>
                    <a:pt x="1222" y="631"/>
                  </a:lnTo>
                  <a:lnTo>
                    <a:pt x="1222" y="633"/>
                  </a:lnTo>
                  <a:lnTo>
                    <a:pt x="1222" y="633"/>
                  </a:lnTo>
                  <a:lnTo>
                    <a:pt x="1222" y="633"/>
                  </a:lnTo>
                  <a:lnTo>
                    <a:pt x="1224" y="629"/>
                  </a:lnTo>
                  <a:lnTo>
                    <a:pt x="1226" y="625"/>
                  </a:lnTo>
                  <a:lnTo>
                    <a:pt x="1229" y="623"/>
                  </a:lnTo>
                  <a:lnTo>
                    <a:pt x="1229" y="620"/>
                  </a:lnTo>
                  <a:lnTo>
                    <a:pt x="1231" y="618"/>
                  </a:lnTo>
                  <a:lnTo>
                    <a:pt x="1235" y="616"/>
                  </a:lnTo>
                  <a:lnTo>
                    <a:pt x="1235" y="612"/>
                  </a:lnTo>
                  <a:lnTo>
                    <a:pt x="1235" y="612"/>
                  </a:lnTo>
                  <a:lnTo>
                    <a:pt x="1237" y="612"/>
                  </a:lnTo>
                  <a:lnTo>
                    <a:pt x="1239" y="608"/>
                  </a:lnTo>
                  <a:lnTo>
                    <a:pt x="1239" y="606"/>
                  </a:lnTo>
                  <a:lnTo>
                    <a:pt x="1241" y="606"/>
                  </a:lnTo>
                  <a:lnTo>
                    <a:pt x="1243" y="612"/>
                  </a:lnTo>
                  <a:lnTo>
                    <a:pt x="1246" y="612"/>
                  </a:lnTo>
                  <a:lnTo>
                    <a:pt x="1248" y="616"/>
                  </a:lnTo>
                  <a:lnTo>
                    <a:pt x="1248" y="618"/>
                  </a:lnTo>
                  <a:lnTo>
                    <a:pt x="1252" y="621"/>
                  </a:lnTo>
                  <a:lnTo>
                    <a:pt x="1254" y="627"/>
                  </a:lnTo>
                  <a:lnTo>
                    <a:pt x="1254" y="629"/>
                  </a:lnTo>
                  <a:lnTo>
                    <a:pt x="1252" y="631"/>
                  </a:lnTo>
                  <a:lnTo>
                    <a:pt x="1248" y="633"/>
                  </a:lnTo>
                  <a:lnTo>
                    <a:pt x="1246" y="633"/>
                  </a:lnTo>
                  <a:lnTo>
                    <a:pt x="1243" y="633"/>
                  </a:lnTo>
                  <a:lnTo>
                    <a:pt x="1241" y="631"/>
                  </a:lnTo>
                  <a:lnTo>
                    <a:pt x="1239" y="631"/>
                  </a:lnTo>
                  <a:lnTo>
                    <a:pt x="1237" y="633"/>
                  </a:lnTo>
                  <a:lnTo>
                    <a:pt x="1235" y="633"/>
                  </a:lnTo>
                  <a:lnTo>
                    <a:pt x="1233" y="636"/>
                  </a:lnTo>
                  <a:lnTo>
                    <a:pt x="1231" y="636"/>
                  </a:lnTo>
                  <a:lnTo>
                    <a:pt x="1228" y="636"/>
                  </a:lnTo>
                  <a:lnTo>
                    <a:pt x="1226" y="638"/>
                  </a:lnTo>
                  <a:lnTo>
                    <a:pt x="1231" y="638"/>
                  </a:lnTo>
                  <a:lnTo>
                    <a:pt x="1233" y="638"/>
                  </a:lnTo>
                  <a:lnTo>
                    <a:pt x="1233" y="640"/>
                  </a:lnTo>
                  <a:lnTo>
                    <a:pt x="1231" y="646"/>
                  </a:lnTo>
                  <a:lnTo>
                    <a:pt x="1228" y="646"/>
                  </a:lnTo>
                  <a:lnTo>
                    <a:pt x="1224" y="648"/>
                  </a:lnTo>
                  <a:lnTo>
                    <a:pt x="1229" y="648"/>
                  </a:lnTo>
                  <a:lnTo>
                    <a:pt x="1231" y="646"/>
                  </a:lnTo>
                  <a:lnTo>
                    <a:pt x="1237" y="646"/>
                  </a:lnTo>
                  <a:lnTo>
                    <a:pt x="1239" y="646"/>
                  </a:lnTo>
                  <a:lnTo>
                    <a:pt x="1243" y="642"/>
                  </a:lnTo>
                  <a:lnTo>
                    <a:pt x="1246" y="642"/>
                  </a:lnTo>
                  <a:lnTo>
                    <a:pt x="1246" y="646"/>
                  </a:lnTo>
                  <a:lnTo>
                    <a:pt x="1246" y="646"/>
                  </a:lnTo>
                  <a:lnTo>
                    <a:pt x="1246" y="648"/>
                  </a:lnTo>
                  <a:lnTo>
                    <a:pt x="1248" y="646"/>
                  </a:lnTo>
                  <a:lnTo>
                    <a:pt x="1248" y="642"/>
                  </a:lnTo>
                  <a:lnTo>
                    <a:pt x="1248" y="638"/>
                  </a:lnTo>
                  <a:lnTo>
                    <a:pt x="1252" y="636"/>
                  </a:lnTo>
                  <a:lnTo>
                    <a:pt x="1256" y="633"/>
                  </a:lnTo>
                  <a:lnTo>
                    <a:pt x="1258" y="636"/>
                  </a:lnTo>
                  <a:lnTo>
                    <a:pt x="1256" y="636"/>
                  </a:lnTo>
                  <a:lnTo>
                    <a:pt x="1258" y="640"/>
                  </a:lnTo>
                  <a:lnTo>
                    <a:pt x="1256" y="646"/>
                  </a:lnTo>
                  <a:lnTo>
                    <a:pt x="1252" y="648"/>
                  </a:lnTo>
                  <a:lnTo>
                    <a:pt x="1248" y="650"/>
                  </a:lnTo>
                  <a:lnTo>
                    <a:pt x="1246" y="652"/>
                  </a:lnTo>
                  <a:lnTo>
                    <a:pt x="1246" y="653"/>
                  </a:lnTo>
                  <a:lnTo>
                    <a:pt x="1243" y="653"/>
                  </a:lnTo>
                  <a:lnTo>
                    <a:pt x="1241" y="653"/>
                  </a:lnTo>
                  <a:lnTo>
                    <a:pt x="1239" y="653"/>
                  </a:lnTo>
                  <a:lnTo>
                    <a:pt x="1237" y="655"/>
                  </a:lnTo>
                  <a:lnTo>
                    <a:pt x="1237" y="657"/>
                  </a:lnTo>
                  <a:lnTo>
                    <a:pt x="1233" y="661"/>
                  </a:lnTo>
                  <a:lnTo>
                    <a:pt x="1233" y="663"/>
                  </a:lnTo>
                  <a:lnTo>
                    <a:pt x="1231" y="667"/>
                  </a:lnTo>
                  <a:lnTo>
                    <a:pt x="1233" y="663"/>
                  </a:lnTo>
                  <a:lnTo>
                    <a:pt x="1237" y="661"/>
                  </a:lnTo>
                  <a:lnTo>
                    <a:pt x="1241" y="655"/>
                  </a:lnTo>
                  <a:lnTo>
                    <a:pt x="1243" y="655"/>
                  </a:lnTo>
                  <a:lnTo>
                    <a:pt x="1243" y="655"/>
                  </a:lnTo>
                  <a:lnTo>
                    <a:pt x="1243" y="655"/>
                  </a:lnTo>
                  <a:lnTo>
                    <a:pt x="1246" y="657"/>
                  </a:lnTo>
                  <a:lnTo>
                    <a:pt x="1243" y="659"/>
                  </a:lnTo>
                  <a:lnTo>
                    <a:pt x="1241" y="663"/>
                  </a:lnTo>
                  <a:lnTo>
                    <a:pt x="1237" y="667"/>
                  </a:lnTo>
                  <a:lnTo>
                    <a:pt x="1233" y="670"/>
                  </a:lnTo>
                  <a:lnTo>
                    <a:pt x="1233" y="670"/>
                  </a:lnTo>
                  <a:lnTo>
                    <a:pt x="1241" y="670"/>
                  </a:lnTo>
                  <a:lnTo>
                    <a:pt x="1246" y="663"/>
                  </a:lnTo>
                  <a:lnTo>
                    <a:pt x="1246" y="655"/>
                  </a:lnTo>
                  <a:lnTo>
                    <a:pt x="1248" y="653"/>
                  </a:lnTo>
                  <a:lnTo>
                    <a:pt x="1252" y="652"/>
                  </a:lnTo>
                  <a:lnTo>
                    <a:pt x="1252" y="652"/>
                  </a:lnTo>
                  <a:lnTo>
                    <a:pt x="1258" y="648"/>
                  </a:lnTo>
                  <a:lnTo>
                    <a:pt x="1261" y="646"/>
                  </a:lnTo>
                  <a:lnTo>
                    <a:pt x="1265" y="646"/>
                  </a:lnTo>
                  <a:lnTo>
                    <a:pt x="1265" y="646"/>
                  </a:lnTo>
                  <a:lnTo>
                    <a:pt x="1263" y="648"/>
                  </a:lnTo>
                  <a:lnTo>
                    <a:pt x="1260" y="652"/>
                  </a:lnTo>
                  <a:lnTo>
                    <a:pt x="1256" y="652"/>
                  </a:lnTo>
                  <a:lnTo>
                    <a:pt x="1254" y="655"/>
                  </a:lnTo>
                  <a:lnTo>
                    <a:pt x="1254" y="657"/>
                  </a:lnTo>
                  <a:lnTo>
                    <a:pt x="1254" y="659"/>
                  </a:lnTo>
                  <a:lnTo>
                    <a:pt x="1256" y="655"/>
                  </a:lnTo>
                  <a:lnTo>
                    <a:pt x="1261" y="655"/>
                  </a:lnTo>
                  <a:lnTo>
                    <a:pt x="1263" y="652"/>
                  </a:lnTo>
                  <a:lnTo>
                    <a:pt x="1267" y="652"/>
                  </a:lnTo>
                  <a:lnTo>
                    <a:pt x="1267" y="650"/>
                  </a:lnTo>
                  <a:lnTo>
                    <a:pt x="1271" y="648"/>
                  </a:lnTo>
                  <a:lnTo>
                    <a:pt x="1273" y="648"/>
                  </a:lnTo>
                  <a:lnTo>
                    <a:pt x="1276" y="652"/>
                  </a:lnTo>
                  <a:lnTo>
                    <a:pt x="1280" y="657"/>
                  </a:lnTo>
                  <a:lnTo>
                    <a:pt x="1280" y="659"/>
                  </a:lnTo>
                  <a:lnTo>
                    <a:pt x="1284" y="661"/>
                  </a:lnTo>
                  <a:lnTo>
                    <a:pt x="1284" y="663"/>
                  </a:lnTo>
                  <a:lnTo>
                    <a:pt x="1284" y="667"/>
                  </a:lnTo>
                  <a:lnTo>
                    <a:pt x="1280" y="670"/>
                  </a:lnTo>
                  <a:lnTo>
                    <a:pt x="1280" y="670"/>
                  </a:lnTo>
                  <a:lnTo>
                    <a:pt x="1280" y="667"/>
                  </a:lnTo>
                  <a:lnTo>
                    <a:pt x="1276" y="667"/>
                  </a:lnTo>
                  <a:lnTo>
                    <a:pt x="1276" y="667"/>
                  </a:lnTo>
                  <a:lnTo>
                    <a:pt x="1276" y="670"/>
                  </a:lnTo>
                  <a:lnTo>
                    <a:pt x="1273" y="670"/>
                  </a:lnTo>
                  <a:lnTo>
                    <a:pt x="1267" y="672"/>
                  </a:lnTo>
                  <a:lnTo>
                    <a:pt x="1263" y="672"/>
                  </a:lnTo>
                  <a:lnTo>
                    <a:pt x="1260" y="672"/>
                  </a:lnTo>
                  <a:lnTo>
                    <a:pt x="1254" y="676"/>
                  </a:lnTo>
                  <a:lnTo>
                    <a:pt x="1252" y="676"/>
                  </a:lnTo>
                  <a:lnTo>
                    <a:pt x="1246" y="680"/>
                  </a:lnTo>
                  <a:lnTo>
                    <a:pt x="1252" y="680"/>
                  </a:lnTo>
                  <a:lnTo>
                    <a:pt x="1252" y="680"/>
                  </a:lnTo>
                  <a:lnTo>
                    <a:pt x="1252" y="682"/>
                  </a:lnTo>
                  <a:lnTo>
                    <a:pt x="1246" y="684"/>
                  </a:lnTo>
                  <a:lnTo>
                    <a:pt x="1246" y="685"/>
                  </a:lnTo>
                  <a:lnTo>
                    <a:pt x="1252" y="684"/>
                  </a:lnTo>
                  <a:lnTo>
                    <a:pt x="1254" y="680"/>
                  </a:lnTo>
                  <a:lnTo>
                    <a:pt x="1260" y="676"/>
                  </a:lnTo>
                  <a:lnTo>
                    <a:pt x="1265" y="676"/>
                  </a:lnTo>
                  <a:lnTo>
                    <a:pt x="1267" y="676"/>
                  </a:lnTo>
                  <a:lnTo>
                    <a:pt x="1271" y="676"/>
                  </a:lnTo>
                  <a:lnTo>
                    <a:pt x="1273" y="676"/>
                  </a:lnTo>
                  <a:lnTo>
                    <a:pt x="1273" y="676"/>
                  </a:lnTo>
                  <a:lnTo>
                    <a:pt x="1273" y="680"/>
                  </a:lnTo>
                  <a:lnTo>
                    <a:pt x="1267" y="682"/>
                  </a:lnTo>
                  <a:lnTo>
                    <a:pt x="1267" y="684"/>
                  </a:lnTo>
                  <a:lnTo>
                    <a:pt x="1263" y="684"/>
                  </a:lnTo>
                  <a:lnTo>
                    <a:pt x="1261" y="685"/>
                  </a:lnTo>
                  <a:lnTo>
                    <a:pt x="1260" y="687"/>
                  </a:lnTo>
                  <a:lnTo>
                    <a:pt x="1256" y="691"/>
                  </a:lnTo>
                  <a:lnTo>
                    <a:pt x="1252" y="687"/>
                  </a:lnTo>
                  <a:lnTo>
                    <a:pt x="1252" y="687"/>
                  </a:lnTo>
                  <a:lnTo>
                    <a:pt x="1248" y="693"/>
                  </a:lnTo>
                  <a:lnTo>
                    <a:pt x="1252" y="693"/>
                  </a:lnTo>
                  <a:lnTo>
                    <a:pt x="1252" y="691"/>
                  </a:lnTo>
                  <a:lnTo>
                    <a:pt x="1256" y="691"/>
                  </a:lnTo>
                  <a:lnTo>
                    <a:pt x="1258" y="693"/>
                  </a:lnTo>
                  <a:lnTo>
                    <a:pt x="1261" y="687"/>
                  </a:lnTo>
                  <a:lnTo>
                    <a:pt x="1263" y="685"/>
                  </a:lnTo>
                  <a:lnTo>
                    <a:pt x="1267" y="685"/>
                  </a:lnTo>
                  <a:lnTo>
                    <a:pt x="1267" y="685"/>
                  </a:lnTo>
                  <a:lnTo>
                    <a:pt x="1273" y="687"/>
                  </a:lnTo>
                  <a:lnTo>
                    <a:pt x="1276" y="684"/>
                  </a:lnTo>
                  <a:lnTo>
                    <a:pt x="1280" y="682"/>
                  </a:lnTo>
                  <a:lnTo>
                    <a:pt x="1280" y="682"/>
                  </a:lnTo>
                  <a:lnTo>
                    <a:pt x="1280" y="678"/>
                  </a:lnTo>
                  <a:lnTo>
                    <a:pt x="1280" y="678"/>
                  </a:lnTo>
                  <a:lnTo>
                    <a:pt x="1280" y="676"/>
                  </a:lnTo>
                  <a:lnTo>
                    <a:pt x="1280" y="672"/>
                  </a:lnTo>
                  <a:lnTo>
                    <a:pt x="1282" y="672"/>
                  </a:lnTo>
                  <a:lnTo>
                    <a:pt x="1284" y="672"/>
                  </a:lnTo>
                  <a:lnTo>
                    <a:pt x="1284" y="672"/>
                  </a:lnTo>
                  <a:lnTo>
                    <a:pt x="1286" y="676"/>
                  </a:lnTo>
                  <a:lnTo>
                    <a:pt x="1290" y="684"/>
                  </a:lnTo>
                  <a:lnTo>
                    <a:pt x="1290" y="687"/>
                  </a:lnTo>
                  <a:lnTo>
                    <a:pt x="1293" y="691"/>
                  </a:lnTo>
                  <a:lnTo>
                    <a:pt x="1292" y="695"/>
                  </a:lnTo>
                  <a:lnTo>
                    <a:pt x="1290" y="697"/>
                  </a:lnTo>
                  <a:lnTo>
                    <a:pt x="1286" y="697"/>
                  </a:lnTo>
                  <a:lnTo>
                    <a:pt x="1284" y="695"/>
                  </a:lnTo>
                  <a:lnTo>
                    <a:pt x="1280" y="695"/>
                  </a:lnTo>
                  <a:lnTo>
                    <a:pt x="1276" y="697"/>
                  </a:lnTo>
                  <a:lnTo>
                    <a:pt x="1273" y="697"/>
                  </a:lnTo>
                  <a:lnTo>
                    <a:pt x="1271" y="697"/>
                  </a:lnTo>
                  <a:lnTo>
                    <a:pt x="1271" y="697"/>
                  </a:lnTo>
                  <a:lnTo>
                    <a:pt x="1267" y="697"/>
                  </a:lnTo>
                  <a:lnTo>
                    <a:pt x="1265" y="701"/>
                  </a:lnTo>
                  <a:lnTo>
                    <a:pt x="1260" y="701"/>
                  </a:lnTo>
                  <a:lnTo>
                    <a:pt x="1261" y="701"/>
                  </a:lnTo>
                  <a:lnTo>
                    <a:pt x="1267" y="701"/>
                  </a:lnTo>
                  <a:lnTo>
                    <a:pt x="1273" y="701"/>
                  </a:lnTo>
                  <a:lnTo>
                    <a:pt x="1276" y="704"/>
                  </a:lnTo>
                  <a:lnTo>
                    <a:pt x="1280" y="706"/>
                  </a:lnTo>
                  <a:lnTo>
                    <a:pt x="1280" y="704"/>
                  </a:lnTo>
                  <a:lnTo>
                    <a:pt x="1282" y="704"/>
                  </a:lnTo>
                  <a:lnTo>
                    <a:pt x="1284" y="706"/>
                  </a:lnTo>
                  <a:lnTo>
                    <a:pt x="1288" y="708"/>
                  </a:lnTo>
                  <a:lnTo>
                    <a:pt x="1292" y="710"/>
                  </a:lnTo>
                  <a:lnTo>
                    <a:pt x="1292" y="712"/>
                  </a:lnTo>
                  <a:lnTo>
                    <a:pt x="1293" y="716"/>
                  </a:lnTo>
                  <a:lnTo>
                    <a:pt x="1293" y="719"/>
                  </a:lnTo>
                  <a:lnTo>
                    <a:pt x="1292" y="721"/>
                  </a:lnTo>
                  <a:lnTo>
                    <a:pt x="1290" y="721"/>
                  </a:lnTo>
                  <a:lnTo>
                    <a:pt x="1288" y="717"/>
                  </a:lnTo>
                  <a:lnTo>
                    <a:pt x="1286" y="717"/>
                  </a:lnTo>
                  <a:lnTo>
                    <a:pt x="1284" y="719"/>
                  </a:lnTo>
                  <a:lnTo>
                    <a:pt x="1282" y="719"/>
                  </a:lnTo>
                  <a:lnTo>
                    <a:pt x="1282" y="717"/>
                  </a:lnTo>
                  <a:lnTo>
                    <a:pt x="1280" y="717"/>
                  </a:lnTo>
                  <a:lnTo>
                    <a:pt x="1276" y="717"/>
                  </a:lnTo>
                  <a:lnTo>
                    <a:pt x="1273" y="712"/>
                  </a:lnTo>
                  <a:lnTo>
                    <a:pt x="1273" y="712"/>
                  </a:lnTo>
                  <a:lnTo>
                    <a:pt x="1271" y="712"/>
                  </a:lnTo>
                  <a:lnTo>
                    <a:pt x="1267" y="712"/>
                  </a:lnTo>
                  <a:lnTo>
                    <a:pt x="1263" y="710"/>
                  </a:lnTo>
                  <a:lnTo>
                    <a:pt x="1265" y="712"/>
                  </a:lnTo>
                  <a:lnTo>
                    <a:pt x="1267" y="714"/>
                  </a:lnTo>
                  <a:lnTo>
                    <a:pt x="1273" y="714"/>
                  </a:lnTo>
                  <a:lnTo>
                    <a:pt x="1271" y="716"/>
                  </a:lnTo>
                  <a:lnTo>
                    <a:pt x="1265" y="716"/>
                  </a:lnTo>
                  <a:lnTo>
                    <a:pt x="1263" y="717"/>
                  </a:lnTo>
                  <a:lnTo>
                    <a:pt x="1260" y="717"/>
                  </a:lnTo>
                  <a:lnTo>
                    <a:pt x="1256" y="719"/>
                  </a:lnTo>
                  <a:lnTo>
                    <a:pt x="1258" y="721"/>
                  </a:lnTo>
                  <a:lnTo>
                    <a:pt x="1260" y="721"/>
                  </a:lnTo>
                  <a:lnTo>
                    <a:pt x="1260" y="719"/>
                  </a:lnTo>
                  <a:lnTo>
                    <a:pt x="1265" y="719"/>
                  </a:lnTo>
                  <a:lnTo>
                    <a:pt x="1267" y="717"/>
                  </a:lnTo>
                  <a:lnTo>
                    <a:pt x="1271" y="717"/>
                  </a:lnTo>
                  <a:lnTo>
                    <a:pt x="1273" y="721"/>
                  </a:lnTo>
                  <a:lnTo>
                    <a:pt x="1273" y="721"/>
                  </a:lnTo>
                  <a:lnTo>
                    <a:pt x="1273" y="721"/>
                  </a:lnTo>
                  <a:lnTo>
                    <a:pt x="1276" y="725"/>
                  </a:lnTo>
                  <a:lnTo>
                    <a:pt x="1273" y="725"/>
                  </a:lnTo>
                  <a:lnTo>
                    <a:pt x="1271" y="725"/>
                  </a:lnTo>
                  <a:lnTo>
                    <a:pt x="1267" y="727"/>
                  </a:lnTo>
                  <a:lnTo>
                    <a:pt x="1267" y="725"/>
                  </a:lnTo>
                  <a:lnTo>
                    <a:pt x="1267" y="721"/>
                  </a:lnTo>
                  <a:lnTo>
                    <a:pt x="1265" y="721"/>
                  </a:lnTo>
                  <a:lnTo>
                    <a:pt x="1263" y="725"/>
                  </a:lnTo>
                  <a:lnTo>
                    <a:pt x="1267" y="727"/>
                  </a:lnTo>
                  <a:lnTo>
                    <a:pt x="1267" y="727"/>
                  </a:lnTo>
                  <a:lnTo>
                    <a:pt x="1271" y="727"/>
                  </a:lnTo>
                  <a:lnTo>
                    <a:pt x="1271" y="731"/>
                  </a:lnTo>
                  <a:lnTo>
                    <a:pt x="1273" y="733"/>
                  </a:lnTo>
                  <a:lnTo>
                    <a:pt x="1267" y="733"/>
                  </a:lnTo>
                  <a:lnTo>
                    <a:pt x="1261" y="731"/>
                  </a:lnTo>
                  <a:lnTo>
                    <a:pt x="1258" y="731"/>
                  </a:lnTo>
                  <a:lnTo>
                    <a:pt x="1252" y="727"/>
                  </a:lnTo>
                  <a:lnTo>
                    <a:pt x="1248" y="727"/>
                  </a:lnTo>
                  <a:lnTo>
                    <a:pt x="1248" y="731"/>
                  </a:lnTo>
                  <a:lnTo>
                    <a:pt x="1252" y="731"/>
                  </a:lnTo>
                  <a:lnTo>
                    <a:pt x="1263" y="734"/>
                  </a:lnTo>
                  <a:lnTo>
                    <a:pt x="1263" y="736"/>
                  </a:lnTo>
                  <a:lnTo>
                    <a:pt x="1261" y="738"/>
                  </a:lnTo>
                  <a:lnTo>
                    <a:pt x="1256" y="734"/>
                  </a:lnTo>
                  <a:lnTo>
                    <a:pt x="1254" y="734"/>
                  </a:lnTo>
                  <a:lnTo>
                    <a:pt x="1252" y="738"/>
                  </a:lnTo>
                  <a:lnTo>
                    <a:pt x="1254" y="736"/>
                  </a:lnTo>
                  <a:lnTo>
                    <a:pt x="1256" y="738"/>
                  </a:lnTo>
                  <a:lnTo>
                    <a:pt x="1258" y="740"/>
                  </a:lnTo>
                  <a:lnTo>
                    <a:pt x="1260" y="740"/>
                  </a:lnTo>
                  <a:lnTo>
                    <a:pt x="1261" y="740"/>
                  </a:lnTo>
                  <a:lnTo>
                    <a:pt x="1261" y="742"/>
                  </a:lnTo>
                  <a:lnTo>
                    <a:pt x="1263" y="746"/>
                  </a:lnTo>
                  <a:lnTo>
                    <a:pt x="1263" y="744"/>
                  </a:lnTo>
                  <a:lnTo>
                    <a:pt x="1265" y="742"/>
                  </a:lnTo>
                  <a:lnTo>
                    <a:pt x="1267" y="742"/>
                  </a:lnTo>
                  <a:lnTo>
                    <a:pt x="1267" y="744"/>
                  </a:lnTo>
                  <a:lnTo>
                    <a:pt x="1267" y="746"/>
                  </a:lnTo>
                  <a:lnTo>
                    <a:pt x="1267" y="748"/>
                  </a:lnTo>
                  <a:lnTo>
                    <a:pt x="1267" y="748"/>
                  </a:lnTo>
                  <a:lnTo>
                    <a:pt x="1267" y="744"/>
                  </a:lnTo>
                  <a:lnTo>
                    <a:pt x="1271" y="744"/>
                  </a:lnTo>
                  <a:lnTo>
                    <a:pt x="1273" y="746"/>
                  </a:lnTo>
                  <a:lnTo>
                    <a:pt x="1276" y="746"/>
                  </a:lnTo>
                  <a:lnTo>
                    <a:pt x="1280" y="746"/>
                  </a:lnTo>
                  <a:lnTo>
                    <a:pt x="1280" y="749"/>
                  </a:lnTo>
                  <a:lnTo>
                    <a:pt x="1280" y="751"/>
                  </a:lnTo>
                  <a:lnTo>
                    <a:pt x="1276" y="749"/>
                  </a:lnTo>
                  <a:lnTo>
                    <a:pt x="1273" y="748"/>
                  </a:lnTo>
                  <a:lnTo>
                    <a:pt x="1267" y="749"/>
                  </a:lnTo>
                  <a:lnTo>
                    <a:pt x="1263" y="751"/>
                  </a:lnTo>
                  <a:lnTo>
                    <a:pt x="1263" y="755"/>
                  </a:lnTo>
                  <a:lnTo>
                    <a:pt x="1267" y="751"/>
                  </a:lnTo>
                  <a:lnTo>
                    <a:pt x="1271" y="751"/>
                  </a:lnTo>
                  <a:lnTo>
                    <a:pt x="1273" y="751"/>
                  </a:lnTo>
                  <a:lnTo>
                    <a:pt x="1271" y="751"/>
                  </a:lnTo>
                  <a:lnTo>
                    <a:pt x="1271" y="755"/>
                  </a:lnTo>
                  <a:lnTo>
                    <a:pt x="1273" y="755"/>
                  </a:lnTo>
                  <a:lnTo>
                    <a:pt x="1276" y="755"/>
                  </a:lnTo>
                  <a:lnTo>
                    <a:pt x="1276" y="755"/>
                  </a:lnTo>
                  <a:lnTo>
                    <a:pt x="1276" y="757"/>
                  </a:lnTo>
                  <a:lnTo>
                    <a:pt x="1280" y="757"/>
                  </a:lnTo>
                  <a:lnTo>
                    <a:pt x="1280" y="761"/>
                  </a:lnTo>
                  <a:lnTo>
                    <a:pt x="1280" y="765"/>
                  </a:lnTo>
                  <a:lnTo>
                    <a:pt x="1280" y="766"/>
                  </a:lnTo>
                  <a:lnTo>
                    <a:pt x="1280" y="768"/>
                  </a:lnTo>
                  <a:lnTo>
                    <a:pt x="1280" y="768"/>
                  </a:lnTo>
                  <a:lnTo>
                    <a:pt x="1280" y="765"/>
                  </a:lnTo>
                  <a:lnTo>
                    <a:pt x="1282" y="765"/>
                  </a:lnTo>
                  <a:lnTo>
                    <a:pt x="1286" y="765"/>
                  </a:lnTo>
                  <a:lnTo>
                    <a:pt x="1286" y="765"/>
                  </a:lnTo>
                  <a:lnTo>
                    <a:pt x="1284" y="766"/>
                  </a:lnTo>
                  <a:lnTo>
                    <a:pt x="1280" y="774"/>
                  </a:lnTo>
                  <a:lnTo>
                    <a:pt x="1280" y="776"/>
                  </a:lnTo>
                  <a:lnTo>
                    <a:pt x="1280" y="780"/>
                  </a:lnTo>
                  <a:lnTo>
                    <a:pt x="1280" y="778"/>
                  </a:lnTo>
                  <a:lnTo>
                    <a:pt x="1284" y="774"/>
                  </a:lnTo>
                  <a:lnTo>
                    <a:pt x="1284" y="772"/>
                  </a:lnTo>
                  <a:lnTo>
                    <a:pt x="1286" y="768"/>
                  </a:lnTo>
                  <a:lnTo>
                    <a:pt x="1290" y="766"/>
                  </a:lnTo>
                  <a:lnTo>
                    <a:pt x="1290" y="766"/>
                  </a:lnTo>
                  <a:lnTo>
                    <a:pt x="1290" y="765"/>
                  </a:lnTo>
                  <a:lnTo>
                    <a:pt x="1293" y="761"/>
                  </a:lnTo>
                  <a:lnTo>
                    <a:pt x="1293" y="765"/>
                  </a:lnTo>
                  <a:lnTo>
                    <a:pt x="1293" y="765"/>
                  </a:lnTo>
                  <a:lnTo>
                    <a:pt x="1290" y="770"/>
                  </a:lnTo>
                  <a:lnTo>
                    <a:pt x="1288" y="772"/>
                  </a:lnTo>
                  <a:lnTo>
                    <a:pt x="1288" y="776"/>
                  </a:lnTo>
                  <a:lnTo>
                    <a:pt x="1288" y="780"/>
                  </a:lnTo>
                  <a:lnTo>
                    <a:pt x="1290" y="780"/>
                  </a:lnTo>
                  <a:lnTo>
                    <a:pt x="1290" y="776"/>
                  </a:lnTo>
                  <a:lnTo>
                    <a:pt x="1290" y="772"/>
                  </a:lnTo>
                  <a:lnTo>
                    <a:pt x="1292" y="770"/>
                  </a:lnTo>
                  <a:lnTo>
                    <a:pt x="1293" y="768"/>
                  </a:lnTo>
                  <a:lnTo>
                    <a:pt x="1297" y="765"/>
                  </a:lnTo>
                  <a:lnTo>
                    <a:pt x="1301" y="765"/>
                  </a:lnTo>
                  <a:lnTo>
                    <a:pt x="1301" y="765"/>
                  </a:lnTo>
                  <a:lnTo>
                    <a:pt x="1301" y="768"/>
                  </a:lnTo>
                  <a:lnTo>
                    <a:pt x="1301" y="770"/>
                  </a:lnTo>
                  <a:lnTo>
                    <a:pt x="1297" y="770"/>
                  </a:lnTo>
                  <a:lnTo>
                    <a:pt x="1295" y="774"/>
                  </a:lnTo>
                  <a:lnTo>
                    <a:pt x="1295" y="776"/>
                  </a:lnTo>
                  <a:lnTo>
                    <a:pt x="1295" y="778"/>
                  </a:lnTo>
                  <a:lnTo>
                    <a:pt x="1297" y="776"/>
                  </a:lnTo>
                  <a:lnTo>
                    <a:pt x="1297" y="778"/>
                  </a:lnTo>
                  <a:lnTo>
                    <a:pt x="1301" y="776"/>
                  </a:lnTo>
                  <a:lnTo>
                    <a:pt x="1305" y="774"/>
                  </a:lnTo>
                  <a:lnTo>
                    <a:pt x="1305" y="776"/>
                  </a:lnTo>
                  <a:lnTo>
                    <a:pt x="1305" y="781"/>
                  </a:lnTo>
                  <a:lnTo>
                    <a:pt x="1305" y="781"/>
                  </a:lnTo>
                  <a:lnTo>
                    <a:pt x="1305" y="785"/>
                  </a:lnTo>
                  <a:lnTo>
                    <a:pt x="1305" y="785"/>
                  </a:lnTo>
                  <a:lnTo>
                    <a:pt x="1305" y="785"/>
                  </a:lnTo>
                  <a:lnTo>
                    <a:pt x="1307" y="789"/>
                  </a:lnTo>
                  <a:lnTo>
                    <a:pt x="1305" y="789"/>
                  </a:lnTo>
                  <a:lnTo>
                    <a:pt x="1301" y="789"/>
                  </a:lnTo>
                  <a:lnTo>
                    <a:pt x="1305" y="789"/>
                  </a:lnTo>
                  <a:lnTo>
                    <a:pt x="1307" y="791"/>
                  </a:lnTo>
                  <a:lnTo>
                    <a:pt x="1301" y="795"/>
                  </a:lnTo>
                  <a:lnTo>
                    <a:pt x="1297" y="795"/>
                  </a:lnTo>
                  <a:lnTo>
                    <a:pt x="1297" y="795"/>
                  </a:lnTo>
                  <a:lnTo>
                    <a:pt x="1301" y="795"/>
                  </a:lnTo>
                  <a:lnTo>
                    <a:pt x="1307" y="795"/>
                  </a:lnTo>
                  <a:lnTo>
                    <a:pt x="1310" y="795"/>
                  </a:lnTo>
                  <a:lnTo>
                    <a:pt x="1312" y="795"/>
                  </a:lnTo>
                  <a:lnTo>
                    <a:pt x="1312" y="795"/>
                  </a:lnTo>
                  <a:lnTo>
                    <a:pt x="1310" y="797"/>
                  </a:lnTo>
                  <a:lnTo>
                    <a:pt x="1310" y="800"/>
                  </a:lnTo>
                  <a:lnTo>
                    <a:pt x="1310" y="797"/>
                  </a:lnTo>
                  <a:lnTo>
                    <a:pt x="1314" y="797"/>
                  </a:lnTo>
                  <a:lnTo>
                    <a:pt x="1316" y="795"/>
                  </a:lnTo>
                  <a:lnTo>
                    <a:pt x="1320" y="791"/>
                  </a:lnTo>
                  <a:lnTo>
                    <a:pt x="1322" y="795"/>
                  </a:lnTo>
                  <a:lnTo>
                    <a:pt x="1322" y="795"/>
                  </a:lnTo>
                  <a:lnTo>
                    <a:pt x="1320" y="797"/>
                  </a:lnTo>
                  <a:lnTo>
                    <a:pt x="1318" y="797"/>
                  </a:lnTo>
                  <a:lnTo>
                    <a:pt x="1316" y="800"/>
                  </a:lnTo>
                  <a:lnTo>
                    <a:pt x="1314" y="804"/>
                  </a:lnTo>
                  <a:lnTo>
                    <a:pt x="1310" y="806"/>
                  </a:lnTo>
                  <a:lnTo>
                    <a:pt x="1310" y="808"/>
                  </a:lnTo>
                  <a:lnTo>
                    <a:pt x="1310" y="812"/>
                  </a:lnTo>
                  <a:lnTo>
                    <a:pt x="1310" y="812"/>
                  </a:lnTo>
                  <a:lnTo>
                    <a:pt x="1314" y="808"/>
                  </a:lnTo>
                  <a:lnTo>
                    <a:pt x="1314" y="806"/>
                  </a:lnTo>
                  <a:lnTo>
                    <a:pt x="1318" y="802"/>
                  </a:lnTo>
                  <a:lnTo>
                    <a:pt x="1322" y="800"/>
                  </a:lnTo>
                  <a:lnTo>
                    <a:pt x="1322" y="804"/>
                  </a:lnTo>
                  <a:lnTo>
                    <a:pt x="1318" y="808"/>
                  </a:lnTo>
                  <a:lnTo>
                    <a:pt x="1318" y="812"/>
                  </a:lnTo>
                  <a:lnTo>
                    <a:pt x="1316" y="815"/>
                  </a:lnTo>
                  <a:lnTo>
                    <a:pt x="1320" y="814"/>
                  </a:lnTo>
                  <a:lnTo>
                    <a:pt x="1322" y="808"/>
                  </a:lnTo>
                  <a:lnTo>
                    <a:pt x="1322" y="806"/>
                  </a:lnTo>
                  <a:lnTo>
                    <a:pt x="1322" y="804"/>
                  </a:lnTo>
                  <a:lnTo>
                    <a:pt x="1322" y="806"/>
                  </a:lnTo>
                  <a:lnTo>
                    <a:pt x="1325" y="812"/>
                  </a:lnTo>
                  <a:lnTo>
                    <a:pt x="1325" y="814"/>
                  </a:lnTo>
                  <a:lnTo>
                    <a:pt x="1325" y="814"/>
                  </a:lnTo>
                  <a:lnTo>
                    <a:pt x="1325" y="808"/>
                  </a:lnTo>
                  <a:lnTo>
                    <a:pt x="1329" y="806"/>
                  </a:lnTo>
                  <a:lnTo>
                    <a:pt x="1331" y="804"/>
                  </a:lnTo>
                  <a:lnTo>
                    <a:pt x="1335" y="804"/>
                  </a:lnTo>
                  <a:lnTo>
                    <a:pt x="1331" y="808"/>
                  </a:lnTo>
                  <a:lnTo>
                    <a:pt x="1335" y="808"/>
                  </a:lnTo>
                  <a:lnTo>
                    <a:pt x="1335" y="808"/>
                  </a:lnTo>
                  <a:lnTo>
                    <a:pt x="1337" y="810"/>
                  </a:lnTo>
                  <a:lnTo>
                    <a:pt x="1337" y="814"/>
                  </a:lnTo>
                  <a:lnTo>
                    <a:pt x="1339" y="814"/>
                  </a:lnTo>
                  <a:lnTo>
                    <a:pt x="1340" y="815"/>
                  </a:lnTo>
                  <a:lnTo>
                    <a:pt x="1340" y="815"/>
                  </a:lnTo>
                  <a:lnTo>
                    <a:pt x="1342" y="819"/>
                  </a:lnTo>
                  <a:lnTo>
                    <a:pt x="1344" y="821"/>
                  </a:lnTo>
                  <a:lnTo>
                    <a:pt x="1342" y="821"/>
                  </a:lnTo>
                  <a:lnTo>
                    <a:pt x="1340" y="823"/>
                  </a:lnTo>
                  <a:lnTo>
                    <a:pt x="1337" y="823"/>
                  </a:lnTo>
                  <a:lnTo>
                    <a:pt x="1337" y="821"/>
                  </a:lnTo>
                  <a:lnTo>
                    <a:pt x="1335" y="819"/>
                  </a:lnTo>
                  <a:lnTo>
                    <a:pt x="1335" y="819"/>
                  </a:lnTo>
                  <a:lnTo>
                    <a:pt x="1335" y="815"/>
                  </a:lnTo>
                  <a:lnTo>
                    <a:pt x="1331" y="819"/>
                  </a:lnTo>
                  <a:lnTo>
                    <a:pt x="1331" y="819"/>
                  </a:lnTo>
                  <a:lnTo>
                    <a:pt x="1331" y="819"/>
                  </a:lnTo>
                  <a:lnTo>
                    <a:pt x="1335" y="819"/>
                  </a:lnTo>
                  <a:lnTo>
                    <a:pt x="1335" y="821"/>
                  </a:lnTo>
                  <a:lnTo>
                    <a:pt x="1335" y="821"/>
                  </a:lnTo>
                  <a:lnTo>
                    <a:pt x="1335" y="823"/>
                  </a:lnTo>
                  <a:lnTo>
                    <a:pt x="1335" y="825"/>
                  </a:lnTo>
                  <a:lnTo>
                    <a:pt x="1335" y="825"/>
                  </a:lnTo>
                  <a:lnTo>
                    <a:pt x="1331" y="825"/>
                  </a:lnTo>
                  <a:lnTo>
                    <a:pt x="1331" y="827"/>
                  </a:lnTo>
                  <a:lnTo>
                    <a:pt x="1331" y="827"/>
                  </a:lnTo>
                  <a:lnTo>
                    <a:pt x="1335" y="827"/>
                  </a:lnTo>
                  <a:lnTo>
                    <a:pt x="1337" y="827"/>
                  </a:lnTo>
                  <a:lnTo>
                    <a:pt x="1337" y="829"/>
                  </a:lnTo>
                  <a:lnTo>
                    <a:pt x="1335" y="830"/>
                  </a:lnTo>
                  <a:lnTo>
                    <a:pt x="1335" y="830"/>
                  </a:lnTo>
                  <a:lnTo>
                    <a:pt x="1331" y="832"/>
                  </a:lnTo>
                  <a:lnTo>
                    <a:pt x="1325" y="830"/>
                  </a:lnTo>
                  <a:lnTo>
                    <a:pt x="1322" y="830"/>
                  </a:lnTo>
                  <a:lnTo>
                    <a:pt x="1325" y="827"/>
                  </a:lnTo>
                  <a:lnTo>
                    <a:pt x="1325" y="827"/>
                  </a:lnTo>
                  <a:lnTo>
                    <a:pt x="1322" y="825"/>
                  </a:lnTo>
                  <a:lnTo>
                    <a:pt x="1322" y="823"/>
                  </a:lnTo>
                  <a:lnTo>
                    <a:pt x="1320" y="823"/>
                  </a:lnTo>
                  <a:lnTo>
                    <a:pt x="1320" y="825"/>
                  </a:lnTo>
                  <a:lnTo>
                    <a:pt x="1322" y="827"/>
                  </a:lnTo>
                  <a:lnTo>
                    <a:pt x="1322" y="830"/>
                  </a:lnTo>
                  <a:lnTo>
                    <a:pt x="1322" y="832"/>
                  </a:lnTo>
                  <a:lnTo>
                    <a:pt x="1320" y="832"/>
                  </a:lnTo>
                  <a:lnTo>
                    <a:pt x="1316" y="830"/>
                  </a:lnTo>
                  <a:lnTo>
                    <a:pt x="1316" y="829"/>
                  </a:lnTo>
                  <a:lnTo>
                    <a:pt x="1316" y="832"/>
                  </a:lnTo>
                  <a:lnTo>
                    <a:pt x="1318" y="834"/>
                  </a:lnTo>
                  <a:lnTo>
                    <a:pt x="1322" y="834"/>
                  </a:lnTo>
                  <a:lnTo>
                    <a:pt x="1322" y="836"/>
                  </a:lnTo>
                  <a:lnTo>
                    <a:pt x="1325" y="836"/>
                  </a:lnTo>
                  <a:lnTo>
                    <a:pt x="1325" y="838"/>
                  </a:lnTo>
                  <a:lnTo>
                    <a:pt x="1325" y="840"/>
                  </a:lnTo>
                  <a:lnTo>
                    <a:pt x="1320" y="840"/>
                  </a:lnTo>
                  <a:lnTo>
                    <a:pt x="1318" y="838"/>
                  </a:lnTo>
                  <a:lnTo>
                    <a:pt x="1314" y="836"/>
                  </a:lnTo>
                  <a:lnTo>
                    <a:pt x="1312" y="834"/>
                  </a:lnTo>
                  <a:lnTo>
                    <a:pt x="1312" y="834"/>
                  </a:lnTo>
                  <a:lnTo>
                    <a:pt x="1312" y="836"/>
                  </a:lnTo>
                  <a:lnTo>
                    <a:pt x="1316" y="840"/>
                  </a:lnTo>
                  <a:lnTo>
                    <a:pt x="1318" y="840"/>
                  </a:lnTo>
                  <a:lnTo>
                    <a:pt x="1318" y="846"/>
                  </a:lnTo>
                  <a:lnTo>
                    <a:pt x="1316" y="849"/>
                  </a:lnTo>
                  <a:lnTo>
                    <a:pt x="1314" y="846"/>
                  </a:lnTo>
                  <a:lnTo>
                    <a:pt x="1314" y="846"/>
                  </a:lnTo>
                  <a:lnTo>
                    <a:pt x="1312" y="844"/>
                  </a:lnTo>
                  <a:lnTo>
                    <a:pt x="1310" y="840"/>
                  </a:lnTo>
                  <a:lnTo>
                    <a:pt x="1310" y="844"/>
                  </a:lnTo>
                  <a:lnTo>
                    <a:pt x="1310" y="846"/>
                  </a:lnTo>
                  <a:lnTo>
                    <a:pt x="1310" y="849"/>
                  </a:lnTo>
                  <a:lnTo>
                    <a:pt x="1310" y="851"/>
                  </a:lnTo>
                  <a:lnTo>
                    <a:pt x="1310" y="851"/>
                  </a:lnTo>
                  <a:lnTo>
                    <a:pt x="1310" y="851"/>
                  </a:lnTo>
                  <a:lnTo>
                    <a:pt x="1307" y="851"/>
                  </a:lnTo>
                  <a:lnTo>
                    <a:pt x="1307" y="849"/>
                  </a:lnTo>
                  <a:lnTo>
                    <a:pt x="1305" y="849"/>
                  </a:lnTo>
                  <a:lnTo>
                    <a:pt x="1305" y="849"/>
                  </a:lnTo>
                  <a:lnTo>
                    <a:pt x="1305" y="851"/>
                  </a:lnTo>
                  <a:lnTo>
                    <a:pt x="1301" y="849"/>
                  </a:lnTo>
                  <a:lnTo>
                    <a:pt x="1301" y="849"/>
                  </a:lnTo>
                  <a:lnTo>
                    <a:pt x="1301" y="846"/>
                  </a:lnTo>
                  <a:lnTo>
                    <a:pt x="1301" y="844"/>
                  </a:lnTo>
                  <a:lnTo>
                    <a:pt x="1301" y="840"/>
                  </a:lnTo>
                  <a:lnTo>
                    <a:pt x="1297" y="844"/>
                  </a:lnTo>
                  <a:lnTo>
                    <a:pt x="1297" y="849"/>
                  </a:lnTo>
                  <a:lnTo>
                    <a:pt x="1297" y="849"/>
                  </a:lnTo>
                  <a:lnTo>
                    <a:pt x="1295" y="849"/>
                  </a:lnTo>
                  <a:lnTo>
                    <a:pt x="1297" y="849"/>
                  </a:lnTo>
                  <a:lnTo>
                    <a:pt x="1297" y="851"/>
                  </a:lnTo>
                  <a:lnTo>
                    <a:pt x="1297" y="851"/>
                  </a:lnTo>
                  <a:lnTo>
                    <a:pt x="1297" y="853"/>
                  </a:lnTo>
                  <a:lnTo>
                    <a:pt x="1295" y="853"/>
                  </a:lnTo>
                  <a:lnTo>
                    <a:pt x="1293" y="853"/>
                  </a:lnTo>
                  <a:lnTo>
                    <a:pt x="1293" y="853"/>
                  </a:lnTo>
                  <a:lnTo>
                    <a:pt x="1295" y="855"/>
                  </a:lnTo>
                  <a:lnTo>
                    <a:pt x="1297" y="855"/>
                  </a:lnTo>
                  <a:lnTo>
                    <a:pt x="1297" y="857"/>
                  </a:lnTo>
                  <a:lnTo>
                    <a:pt x="1297" y="859"/>
                  </a:lnTo>
                  <a:lnTo>
                    <a:pt x="1295" y="861"/>
                  </a:lnTo>
                  <a:lnTo>
                    <a:pt x="1295" y="862"/>
                  </a:lnTo>
                  <a:lnTo>
                    <a:pt x="1297" y="864"/>
                  </a:lnTo>
                  <a:lnTo>
                    <a:pt x="1297" y="866"/>
                  </a:lnTo>
                  <a:lnTo>
                    <a:pt x="1295" y="866"/>
                  </a:lnTo>
                  <a:lnTo>
                    <a:pt x="1293" y="866"/>
                  </a:lnTo>
                  <a:lnTo>
                    <a:pt x="1293" y="866"/>
                  </a:lnTo>
                  <a:lnTo>
                    <a:pt x="1295" y="868"/>
                  </a:lnTo>
                  <a:lnTo>
                    <a:pt x="1297" y="870"/>
                  </a:lnTo>
                  <a:lnTo>
                    <a:pt x="1295" y="874"/>
                  </a:lnTo>
                  <a:lnTo>
                    <a:pt x="1292" y="876"/>
                  </a:lnTo>
                  <a:lnTo>
                    <a:pt x="1292" y="876"/>
                  </a:lnTo>
                  <a:lnTo>
                    <a:pt x="1290" y="876"/>
                  </a:lnTo>
                  <a:lnTo>
                    <a:pt x="1290" y="874"/>
                  </a:lnTo>
                  <a:lnTo>
                    <a:pt x="1288" y="874"/>
                  </a:lnTo>
                  <a:lnTo>
                    <a:pt x="1288" y="870"/>
                  </a:lnTo>
                  <a:lnTo>
                    <a:pt x="1286" y="870"/>
                  </a:lnTo>
                  <a:lnTo>
                    <a:pt x="1286" y="870"/>
                  </a:lnTo>
                  <a:lnTo>
                    <a:pt x="1288" y="868"/>
                  </a:lnTo>
                  <a:lnTo>
                    <a:pt x="1288" y="866"/>
                  </a:lnTo>
                  <a:lnTo>
                    <a:pt x="1286" y="866"/>
                  </a:lnTo>
                  <a:lnTo>
                    <a:pt x="1284" y="868"/>
                  </a:lnTo>
                  <a:lnTo>
                    <a:pt x="1282" y="870"/>
                  </a:lnTo>
                  <a:lnTo>
                    <a:pt x="1282" y="870"/>
                  </a:lnTo>
                  <a:lnTo>
                    <a:pt x="1280" y="868"/>
                  </a:lnTo>
                  <a:lnTo>
                    <a:pt x="1280" y="866"/>
                  </a:lnTo>
                  <a:lnTo>
                    <a:pt x="1280" y="864"/>
                  </a:lnTo>
                  <a:lnTo>
                    <a:pt x="1280" y="862"/>
                  </a:lnTo>
                  <a:lnTo>
                    <a:pt x="1280" y="861"/>
                  </a:lnTo>
                  <a:lnTo>
                    <a:pt x="1280" y="861"/>
                  </a:lnTo>
                  <a:lnTo>
                    <a:pt x="1282" y="859"/>
                  </a:lnTo>
                  <a:lnTo>
                    <a:pt x="1280" y="857"/>
                  </a:lnTo>
                  <a:lnTo>
                    <a:pt x="1280" y="861"/>
                  </a:lnTo>
                  <a:lnTo>
                    <a:pt x="1276" y="862"/>
                  </a:lnTo>
                  <a:lnTo>
                    <a:pt x="1276" y="866"/>
                  </a:lnTo>
                  <a:lnTo>
                    <a:pt x="1276" y="864"/>
                  </a:lnTo>
                  <a:lnTo>
                    <a:pt x="1276" y="862"/>
                  </a:lnTo>
                  <a:lnTo>
                    <a:pt x="1273" y="861"/>
                  </a:lnTo>
                  <a:lnTo>
                    <a:pt x="1273" y="859"/>
                  </a:lnTo>
                  <a:lnTo>
                    <a:pt x="1273" y="857"/>
                  </a:lnTo>
                  <a:lnTo>
                    <a:pt x="1276" y="855"/>
                  </a:lnTo>
                  <a:lnTo>
                    <a:pt x="1276" y="855"/>
                  </a:lnTo>
                  <a:lnTo>
                    <a:pt x="1280" y="853"/>
                  </a:lnTo>
                  <a:lnTo>
                    <a:pt x="1280" y="853"/>
                  </a:lnTo>
                  <a:lnTo>
                    <a:pt x="1276" y="853"/>
                  </a:lnTo>
                  <a:lnTo>
                    <a:pt x="1273" y="853"/>
                  </a:lnTo>
                  <a:lnTo>
                    <a:pt x="1273" y="853"/>
                  </a:lnTo>
                  <a:lnTo>
                    <a:pt x="1273" y="851"/>
                  </a:lnTo>
                  <a:lnTo>
                    <a:pt x="1273" y="849"/>
                  </a:lnTo>
                  <a:lnTo>
                    <a:pt x="1276" y="849"/>
                  </a:lnTo>
                  <a:lnTo>
                    <a:pt x="1276" y="846"/>
                  </a:lnTo>
                  <a:lnTo>
                    <a:pt x="1276" y="846"/>
                  </a:lnTo>
                  <a:lnTo>
                    <a:pt x="1273" y="849"/>
                  </a:lnTo>
                  <a:lnTo>
                    <a:pt x="1273" y="846"/>
                  </a:lnTo>
                  <a:lnTo>
                    <a:pt x="1273" y="846"/>
                  </a:lnTo>
                  <a:lnTo>
                    <a:pt x="1273" y="846"/>
                  </a:lnTo>
                  <a:lnTo>
                    <a:pt x="1276" y="844"/>
                  </a:lnTo>
                  <a:lnTo>
                    <a:pt x="1280" y="844"/>
                  </a:lnTo>
                  <a:lnTo>
                    <a:pt x="1276" y="840"/>
                  </a:lnTo>
                  <a:lnTo>
                    <a:pt x="1273" y="840"/>
                  </a:lnTo>
                  <a:lnTo>
                    <a:pt x="1273" y="844"/>
                  </a:lnTo>
                  <a:lnTo>
                    <a:pt x="1271" y="840"/>
                  </a:lnTo>
                  <a:lnTo>
                    <a:pt x="1271" y="840"/>
                  </a:lnTo>
                  <a:lnTo>
                    <a:pt x="1273" y="836"/>
                  </a:lnTo>
                  <a:lnTo>
                    <a:pt x="1276" y="836"/>
                  </a:lnTo>
                  <a:lnTo>
                    <a:pt x="1280" y="836"/>
                  </a:lnTo>
                  <a:lnTo>
                    <a:pt x="1282" y="832"/>
                  </a:lnTo>
                  <a:lnTo>
                    <a:pt x="1284" y="830"/>
                  </a:lnTo>
                  <a:lnTo>
                    <a:pt x="1286" y="829"/>
                  </a:lnTo>
                  <a:lnTo>
                    <a:pt x="1288" y="825"/>
                  </a:lnTo>
                  <a:lnTo>
                    <a:pt x="1290" y="825"/>
                  </a:lnTo>
                  <a:lnTo>
                    <a:pt x="1290" y="823"/>
                  </a:lnTo>
                  <a:lnTo>
                    <a:pt x="1288" y="823"/>
                  </a:lnTo>
                  <a:lnTo>
                    <a:pt x="1284" y="825"/>
                  </a:lnTo>
                  <a:lnTo>
                    <a:pt x="1282" y="827"/>
                  </a:lnTo>
                  <a:lnTo>
                    <a:pt x="1280" y="830"/>
                  </a:lnTo>
                  <a:lnTo>
                    <a:pt x="1276" y="832"/>
                  </a:lnTo>
                  <a:lnTo>
                    <a:pt x="1273" y="832"/>
                  </a:lnTo>
                  <a:lnTo>
                    <a:pt x="1271" y="836"/>
                  </a:lnTo>
                  <a:lnTo>
                    <a:pt x="1267" y="836"/>
                  </a:lnTo>
                  <a:lnTo>
                    <a:pt x="1265" y="834"/>
                  </a:lnTo>
                  <a:lnTo>
                    <a:pt x="1265" y="834"/>
                  </a:lnTo>
                  <a:lnTo>
                    <a:pt x="1267" y="829"/>
                  </a:lnTo>
                  <a:lnTo>
                    <a:pt x="1273" y="825"/>
                  </a:lnTo>
                  <a:lnTo>
                    <a:pt x="1273" y="825"/>
                  </a:lnTo>
                  <a:lnTo>
                    <a:pt x="1276" y="823"/>
                  </a:lnTo>
                  <a:lnTo>
                    <a:pt x="1276" y="819"/>
                  </a:lnTo>
                  <a:lnTo>
                    <a:pt x="1273" y="823"/>
                  </a:lnTo>
                  <a:lnTo>
                    <a:pt x="1265" y="829"/>
                  </a:lnTo>
                  <a:lnTo>
                    <a:pt x="1263" y="829"/>
                  </a:lnTo>
                  <a:lnTo>
                    <a:pt x="1261" y="829"/>
                  </a:lnTo>
                  <a:lnTo>
                    <a:pt x="1261" y="827"/>
                  </a:lnTo>
                  <a:lnTo>
                    <a:pt x="1261" y="825"/>
                  </a:lnTo>
                  <a:lnTo>
                    <a:pt x="1260" y="823"/>
                  </a:lnTo>
                  <a:lnTo>
                    <a:pt x="1258" y="825"/>
                  </a:lnTo>
                  <a:lnTo>
                    <a:pt x="1256" y="823"/>
                  </a:lnTo>
                  <a:lnTo>
                    <a:pt x="1258" y="821"/>
                  </a:lnTo>
                  <a:lnTo>
                    <a:pt x="1260" y="821"/>
                  </a:lnTo>
                  <a:lnTo>
                    <a:pt x="1260" y="819"/>
                  </a:lnTo>
                  <a:lnTo>
                    <a:pt x="1258" y="819"/>
                  </a:lnTo>
                  <a:lnTo>
                    <a:pt x="1256" y="819"/>
                  </a:lnTo>
                  <a:lnTo>
                    <a:pt x="1256" y="819"/>
                  </a:lnTo>
                  <a:lnTo>
                    <a:pt x="1256" y="815"/>
                  </a:lnTo>
                  <a:lnTo>
                    <a:pt x="1258" y="814"/>
                  </a:lnTo>
                  <a:lnTo>
                    <a:pt x="1258" y="812"/>
                  </a:lnTo>
                  <a:lnTo>
                    <a:pt x="1256" y="812"/>
                  </a:lnTo>
                  <a:lnTo>
                    <a:pt x="1254" y="810"/>
                  </a:lnTo>
                  <a:lnTo>
                    <a:pt x="1252" y="810"/>
                  </a:lnTo>
                  <a:lnTo>
                    <a:pt x="1252" y="812"/>
                  </a:lnTo>
                  <a:lnTo>
                    <a:pt x="1254" y="814"/>
                  </a:lnTo>
                  <a:lnTo>
                    <a:pt x="1252" y="815"/>
                  </a:lnTo>
                  <a:lnTo>
                    <a:pt x="1248" y="814"/>
                  </a:lnTo>
                  <a:lnTo>
                    <a:pt x="1246" y="812"/>
                  </a:lnTo>
                  <a:lnTo>
                    <a:pt x="1243" y="812"/>
                  </a:lnTo>
                  <a:lnTo>
                    <a:pt x="1246" y="814"/>
                  </a:lnTo>
                  <a:lnTo>
                    <a:pt x="1248" y="815"/>
                  </a:lnTo>
                  <a:lnTo>
                    <a:pt x="1252" y="819"/>
                  </a:lnTo>
                  <a:lnTo>
                    <a:pt x="1246" y="819"/>
                  </a:lnTo>
                  <a:lnTo>
                    <a:pt x="1246" y="819"/>
                  </a:lnTo>
                  <a:lnTo>
                    <a:pt x="1246" y="821"/>
                  </a:lnTo>
                  <a:lnTo>
                    <a:pt x="1246" y="821"/>
                  </a:lnTo>
                  <a:lnTo>
                    <a:pt x="1243" y="819"/>
                  </a:lnTo>
                  <a:lnTo>
                    <a:pt x="1243" y="815"/>
                  </a:lnTo>
                  <a:lnTo>
                    <a:pt x="1243" y="815"/>
                  </a:lnTo>
                  <a:lnTo>
                    <a:pt x="1241" y="815"/>
                  </a:lnTo>
                  <a:lnTo>
                    <a:pt x="1243" y="819"/>
                  </a:lnTo>
                  <a:lnTo>
                    <a:pt x="1243" y="819"/>
                  </a:lnTo>
                  <a:lnTo>
                    <a:pt x="1243" y="823"/>
                  </a:lnTo>
                  <a:lnTo>
                    <a:pt x="1243" y="823"/>
                  </a:lnTo>
                  <a:lnTo>
                    <a:pt x="1246" y="825"/>
                  </a:lnTo>
                  <a:lnTo>
                    <a:pt x="1246" y="829"/>
                  </a:lnTo>
                  <a:lnTo>
                    <a:pt x="1246" y="830"/>
                  </a:lnTo>
                  <a:lnTo>
                    <a:pt x="1246" y="832"/>
                  </a:lnTo>
                  <a:lnTo>
                    <a:pt x="1246" y="834"/>
                  </a:lnTo>
                  <a:lnTo>
                    <a:pt x="1246" y="834"/>
                  </a:lnTo>
                  <a:lnTo>
                    <a:pt x="1243" y="834"/>
                  </a:lnTo>
                  <a:lnTo>
                    <a:pt x="1241" y="832"/>
                  </a:lnTo>
                  <a:lnTo>
                    <a:pt x="1241" y="834"/>
                  </a:lnTo>
                  <a:lnTo>
                    <a:pt x="1239" y="834"/>
                  </a:lnTo>
                  <a:lnTo>
                    <a:pt x="1235" y="830"/>
                  </a:lnTo>
                  <a:lnTo>
                    <a:pt x="1235" y="829"/>
                  </a:lnTo>
                  <a:lnTo>
                    <a:pt x="1235" y="827"/>
                  </a:lnTo>
                  <a:lnTo>
                    <a:pt x="1235" y="823"/>
                  </a:lnTo>
                  <a:lnTo>
                    <a:pt x="1231" y="821"/>
                  </a:lnTo>
                  <a:lnTo>
                    <a:pt x="1229" y="821"/>
                  </a:lnTo>
                  <a:lnTo>
                    <a:pt x="1228" y="819"/>
                  </a:lnTo>
                  <a:lnTo>
                    <a:pt x="1228" y="819"/>
                  </a:lnTo>
                  <a:lnTo>
                    <a:pt x="1226" y="819"/>
                  </a:lnTo>
                  <a:lnTo>
                    <a:pt x="1222" y="819"/>
                  </a:lnTo>
                  <a:lnTo>
                    <a:pt x="1218" y="819"/>
                  </a:lnTo>
                  <a:lnTo>
                    <a:pt x="1218" y="821"/>
                  </a:lnTo>
                  <a:lnTo>
                    <a:pt x="1224" y="821"/>
                  </a:lnTo>
                  <a:lnTo>
                    <a:pt x="1226" y="823"/>
                  </a:lnTo>
                  <a:lnTo>
                    <a:pt x="1231" y="825"/>
                  </a:lnTo>
                  <a:lnTo>
                    <a:pt x="1231" y="829"/>
                  </a:lnTo>
                  <a:lnTo>
                    <a:pt x="1228" y="830"/>
                  </a:lnTo>
                  <a:lnTo>
                    <a:pt x="1228" y="832"/>
                  </a:lnTo>
                  <a:lnTo>
                    <a:pt x="1231" y="832"/>
                  </a:lnTo>
                  <a:lnTo>
                    <a:pt x="1231" y="834"/>
                  </a:lnTo>
                  <a:lnTo>
                    <a:pt x="1231" y="836"/>
                  </a:lnTo>
                  <a:lnTo>
                    <a:pt x="1231" y="836"/>
                  </a:lnTo>
                  <a:lnTo>
                    <a:pt x="1235" y="836"/>
                  </a:lnTo>
                  <a:lnTo>
                    <a:pt x="1235" y="838"/>
                  </a:lnTo>
                  <a:lnTo>
                    <a:pt x="1233" y="840"/>
                  </a:lnTo>
                  <a:lnTo>
                    <a:pt x="1228" y="846"/>
                  </a:lnTo>
                  <a:lnTo>
                    <a:pt x="1226" y="849"/>
                  </a:lnTo>
                  <a:lnTo>
                    <a:pt x="1231" y="846"/>
                  </a:lnTo>
                  <a:lnTo>
                    <a:pt x="1233" y="846"/>
                  </a:lnTo>
                  <a:lnTo>
                    <a:pt x="1235" y="844"/>
                  </a:lnTo>
                  <a:lnTo>
                    <a:pt x="1241" y="844"/>
                  </a:lnTo>
                  <a:lnTo>
                    <a:pt x="1243" y="846"/>
                  </a:lnTo>
                  <a:lnTo>
                    <a:pt x="1243" y="846"/>
                  </a:lnTo>
                  <a:lnTo>
                    <a:pt x="1239" y="849"/>
                  </a:lnTo>
                  <a:lnTo>
                    <a:pt x="1237" y="849"/>
                  </a:lnTo>
                  <a:lnTo>
                    <a:pt x="1239" y="849"/>
                  </a:lnTo>
                  <a:lnTo>
                    <a:pt x="1241" y="851"/>
                  </a:lnTo>
                  <a:lnTo>
                    <a:pt x="1243" y="853"/>
                  </a:lnTo>
                  <a:lnTo>
                    <a:pt x="1243" y="853"/>
                  </a:lnTo>
                  <a:lnTo>
                    <a:pt x="1239" y="855"/>
                  </a:lnTo>
                  <a:lnTo>
                    <a:pt x="1237" y="855"/>
                  </a:lnTo>
                  <a:lnTo>
                    <a:pt x="1239" y="857"/>
                  </a:lnTo>
                  <a:lnTo>
                    <a:pt x="1239" y="859"/>
                  </a:lnTo>
                  <a:lnTo>
                    <a:pt x="1239" y="859"/>
                  </a:lnTo>
                  <a:lnTo>
                    <a:pt x="1239" y="861"/>
                  </a:lnTo>
                  <a:lnTo>
                    <a:pt x="1241" y="861"/>
                  </a:lnTo>
                  <a:lnTo>
                    <a:pt x="1241" y="864"/>
                  </a:lnTo>
                  <a:lnTo>
                    <a:pt x="1243" y="864"/>
                  </a:lnTo>
                  <a:lnTo>
                    <a:pt x="1243" y="866"/>
                  </a:lnTo>
                  <a:lnTo>
                    <a:pt x="1243" y="870"/>
                  </a:lnTo>
                  <a:lnTo>
                    <a:pt x="1243" y="870"/>
                  </a:lnTo>
                  <a:lnTo>
                    <a:pt x="1243" y="870"/>
                  </a:lnTo>
                  <a:lnTo>
                    <a:pt x="1243" y="866"/>
                  </a:lnTo>
                  <a:lnTo>
                    <a:pt x="1246" y="864"/>
                  </a:lnTo>
                  <a:lnTo>
                    <a:pt x="1248" y="866"/>
                  </a:lnTo>
                  <a:lnTo>
                    <a:pt x="1248" y="870"/>
                  </a:lnTo>
                  <a:lnTo>
                    <a:pt x="1252" y="874"/>
                  </a:lnTo>
                  <a:lnTo>
                    <a:pt x="1248" y="874"/>
                  </a:lnTo>
                  <a:lnTo>
                    <a:pt x="1246" y="876"/>
                  </a:lnTo>
                  <a:lnTo>
                    <a:pt x="1246" y="876"/>
                  </a:lnTo>
                  <a:lnTo>
                    <a:pt x="1252" y="876"/>
                  </a:lnTo>
                  <a:lnTo>
                    <a:pt x="1252" y="876"/>
                  </a:lnTo>
                  <a:lnTo>
                    <a:pt x="1252" y="876"/>
                  </a:lnTo>
                  <a:lnTo>
                    <a:pt x="1254" y="876"/>
                  </a:lnTo>
                  <a:lnTo>
                    <a:pt x="1254" y="874"/>
                  </a:lnTo>
                  <a:lnTo>
                    <a:pt x="1256" y="874"/>
                  </a:lnTo>
                  <a:lnTo>
                    <a:pt x="1258" y="876"/>
                  </a:lnTo>
                  <a:lnTo>
                    <a:pt x="1258" y="879"/>
                  </a:lnTo>
                  <a:lnTo>
                    <a:pt x="1256" y="883"/>
                  </a:lnTo>
                  <a:lnTo>
                    <a:pt x="1254" y="883"/>
                  </a:lnTo>
                  <a:lnTo>
                    <a:pt x="1254" y="885"/>
                  </a:lnTo>
                  <a:lnTo>
                    <a:pt x="1256" y="885"/>
                  </a:lnTo>
                  <a:lnTo>
                    <a:pt x="1260" y="885"/>
                  </a:lnTo>
                  <a:lnTo>
                    <a:pt x="1263" y="885"/>
                  </a:lnTo>
                  <a:lnTo>
                    <a:pt x="1263" y="885"/>
                  </a:lnTo>
                  <a:lnTo>
                    <a:pt x="1261" y="889"/>
                  </a:lnTo>
                  <a:lnTo>
                    <a:pt x="1260" y="889"/>
                  </a:lnTo>
                  <a:lnTo>
                    <a:pt x="1256" y="891"/>
                  </a:lnTo>
                  <a:lnTo>
                    <a:pt x="1258" y="893"/>
                  </a:lnTo>
                  <a:lnTo>
                    <a:pt x="1261" y="896"/>
                  </a:lnTo>
                  <a:lnTo>
                    <a:pt x="1260" y="900"/>
                  </a:lnTo>
                  <a:lnTo>
                    <a:pt x="1261" y="900"/>
                  </a:lnTo>
                  <a:lnTo>
                    <a:pt x="1261" y="904"/>
                  </a:lnTo>
                  <a:lnTo>
                    <a:pt x="1267" y="910"/>
                  </a:lnTo>
                  <a:lnTo>
                    <a:pt x="1267" y="913"/>
                  </a:lnTo>
                  <a:lnTo>
                    <a:pt x="1265" y="913"/>
                  </a:lnTo>
                  <a:lnTo>
                    <a:pt x="1265" y="917"/>
                  </a:lnTo>
                  <a:lnTo>
                    <a:pt x="1263" y="923"/>
                  </a:lnTo>
                  <a:lnTo>
                    <a:pt x="1263" y="927"/>
                  </a:lnTo>
                  <a:lnTo>
                    <a:pt x="1263" y="927"/>
                  </a:lnTo>
                  <a:lnTo>
                    <a:pt x="1258" y="921"/>
                  </a:lnTo>
                  <a:lnTo>
                    <a:pt x="1256" y="917"/>
                  </a:lnTo>
                  <a:lnTo>
                    <a:pt x="1258" y="913"/>
                  </a:lnTo>
                  <a:lnTo>
                    <a:pt x="1256" y="910"/>
                  </a:lnTo>
                  <a:lnTo>
                    <a:pt x="1256" y="913"/>
                  </a:lnTo>
                  <a:lnTo>
                    <a:pt x="1254" y="919"/>
                  </a:lnTo>
                  <a:lnTo>
                    <a:pt x="1258" y="925"/>
                  </a:lnTo>
                  <a:lnTo>
                    <a:pt x="1258" y="930"/>
                  </a:lnTo>
                  <a:lnTo>
                    <a:pt x="1256" y="934"/>
                  </a:lnTo>
                  <a:lnTo>
                    <a:pt x="1258" y="938"/>
                  </a:lnTo>
                  <a:lnTo>
                    <a:pt x="1256" y="938"/>
                  </a:lnTo>
                  <a:lnTo>
                    <a:pt x="1254" y="938"/>
                  </a:lnTo>
                  <a:lnTo>
                    <a:pt x="1252" y="934"/>
                  </a:lnTo>
                  <a:lnTo>
                    <a:pt x="1248" y="934"/>
                  </a:lnTo>
                  <a:lnTo>
                    <a:pt x="1252" y="943"/>
                  </a:lnTo>
                  <a:lnTo>
                    <a:pt x="1252" y="945"/>
                  </a:lnTo>
                  <a:lnTo>
                    <a:pt x="1252" y="947"/>
                  </a:lnTo>
                  <a:lnTo>
                    <a:pt x="1252" y="949"/>
                  </a:lnTo>
                  <a:lnTo>
                    <a:pt x="1248" y="949"/>
                  </a:lnTo>
                  <a:lnTo>
                    <a:pt x="1246" y="947"/>
                  </a:lnTo>
                  <a:lnTo>
                    <a:pt x="1246" y="940"/>
                  </a:lnTo>
                  <a:lnTo>
                    <a:pt x="1246" y="938"/>
                  </a:lnTo>
                  <a:lnTo>
                    <a:pt x="1246" y="934"/>
                  </a:lnTo>
                  <a:lnTo>
                    <a:pt x="1246" y="938"/>
                  </a:lnTo>
                  <a:lnTo>
                    <a:pt x="1243" y="938"/>
                  </a:lnTo>
                  <a:lnTo>
                    <a:pt x="1241" y="934"/>
                  </a:lnTo>
                  <a:lnTo>
                    <a:pt x="1241" y="930"/>
                  </a:lnTo>
                  <a:lnTo>
                    <a:pt x="1239" y="932"/>
                  </a:lnTo>
                  <a:lnTo>
                    <a:pt x="1239" y="934"/>
                  </a:lnTo>
                  <a:lnTo>
                    <a:pt x="1239" y="934"/>
                  </a:lnTo>
                  <a:lnTo>
                    <a:pt x="1239" y="932"/>
                  </a:lnTo>
                  <a:lnTo>
                    <a:pt x="1237" y="928"/>
                  </a:lnTo>
                  <a:lnTo>
                    <a:pt x="1235" y="927"/>
                  </a:lnTo>
                  <a:lnTo>
                    <a:pt x="1235" y="928"/>
                  </a:lnTo>
                  <a:lnTo>
                    <a:pt x="1235" y="930"/>
                  </a:lnTo>
                  <a:lnTo>
                    <a:pt x="1235" y="932"/>
                  </a:lnTo>
                  <a:lnTo>
                    <a:pt x="1233" y="932"/>
                  </a:lnTo>
                  <a:lnTo>
                    <a:pt x="1231" y="930"/>
                  </a:lnTo>
                  <a:lnTo>
                    <a:pt x="1229" y="928"/>
                  </a:lnTo>
                  <a:lnTo>
                    <a:pt x="1231" y="925"/>
                  </a:lnTo>
                  <a:lnTo>
                    <a:pt x="1228" y="919"/>
                  </a:lnTo>
                  <a:lnTo>
                    <a:pt x="1228" y="915"/>
                  </a:lnTo>
                  <a:lnTo>
                    <a:pt x="1228" y="919"/>
                  </a:lnTo>
                  <a:lnTo>
                    <a:pt x="1228" y="925"/>
                  </a:lnTo>
                  <a:lnTo>
                    <a:pt x="1229" y="928"/>
                  </a:lnTo>
                  <a:lnTo>
                    <a:pt x="1226" y="930"/>
                  </a:lnTo>
                  <a:lnTo>
                    <a:pt x="1224" y="925"/>
                  </a:lnTo>
                  <a:lnTo>
                    <a:pt x="1222" y="923"/>
                  </a:lnTo>
                  <a:lnTo>
                    <a:pt x="1222" y="921"/>
                  </a:lnTo>
                  <a:lnTo>
                    <a:pt x="1218" y="919"/>
                  </a:lnTo>
                  <a:lnTo>
                    <a:pt x="1218" y="913"/>
                  </a:lnTo>
                  <a:lnTo>
                    <a:pt x="1216" y="913"/>
                  </a:lnTo>
                  <a:lnTo>
                    <a:pt x="1216" y="910"/>
                  </a:lnTo>
                  <a:lnTo>
                    <a:pt x="1214" y="910"/>
                  </a:lnTo>
                  <a:lnTo>
                    <a:pt x="1212" y="910"/>
                  </a:lnTo>
                  <a:lnTo>
                    <a:pt x="1212" y="910"/>
                  </a:lnTo>
                  <a:lnTo>
                    <a:pt x="1214" y="915"/>
                  </a:lnTo>
                  <a:lnTo>
                    <a:pt x="1214" y="917"/>
                  </a:lnTo>
                  <a:lnTo>
                    <a:pt x="1212" y="915"/>
                  </a:lnTo>
                  <a:lnTo>
                    <a:pt x="1212" y="913"/>
                  </a:lnTo>
                  <a:lnTo>
                    <a:pt x="1211" y="913"/>
                  </a:lnTo>
                  <a:lnTo>
                    <a:pt x="1207" y="910"/>
                  </a:lnTo>
                  <a:lnTo>
                    <a:pt x="1205" y="904"/>
                  </a:lnTo>
                  <a:lnTo>
                    <a:pt x="1203" y="902"/>
                  </a:lnTo>
                  <a:lnTo>
                    <a:pt x="1199" y="902"/>
                  </a:lnTo>
                  <a:lnTo>
                    <a:pt x="1197" y="904"/>
                  </a:lnTo>
                  <a:lnTo>
                    <a:pt x="1197" y="902"/>
                  </a:lnTo>
                  <a:lnTo>
                    <a:pt x="1197" y="904"/>
                  </a:lnTo>
                  <a:lnTo>
                    <a:pt x="1197" y="910"/>
                  </a:lnTo>
                  <a:lnTo>
                    <a:pt x="1201" y="913"/>
                  </a:lnTo>
                  <a:lnTo>
                    <a:pt x="1201" y="915"/>
                  </a:lnTo>
                  <a:lnTo>
                    <a:pt x="1203" y="919"/>
                  </a:lnTo>
                  <a:lnTo>
                    <a:pt x="1203" y="923"/>
                  </a:lnTo>
                  <a:lnTo>
                    <a:pt x="1205" y="923"/>
                  </a:lnTo>
                  <a:lnTo>
                    <a:pt x="1209" y="923"/>
                  </a:lnTo>
                  <a:lnTo>
                    <a:pt x="1211" y="927"/>
                  </a:lnTo>
                  <a:lnTo>
                    <a:pt x="1211" y="928"/>
                  </a:lnTo>
                  <a:lnTo>
                    <a:pt x="1212" y="928"/>
                  </a:lnTo>
                  <a:lnTo>
                    <a:pt x="1214" y="928"/>
                  </a:lnTo>
                  <a:lnTo>
                    <a:pt x="1212" y="932"/>
                  </a:lnTo>
                  <a:lnTo>
                    <a:pt x="1216" y="932"/>
                  </a:lnTo>
                  <a:lnTo>
                    <a:pt x="1218" y="934"/>
                  </a:lnTo>
                  <a:lnTo>
                    <a:pt x="1218" y="938"/>
                  </a:lnTo>
                  <a:lnTo>
                    <a:pt x="1218" y="940"/>
                  </a:lnTo>
                  <a:lnTo>
                    <a:pt x="1222" y="940"/>
                  </a:lnTo>
                  <a:lnTo>
                    <a:pt x="1222" y="940"/>
                  </a:lnTo>
                  <a:lnTo>
                    <a:pt x="1222" y="945"/>
                  </a:lnTo>
                  <a:lnTo>
                    <a:pt x="1222" y="949"/>
                  </a:lnTo>
                  <a:lnTo>
                    <a:pt x="1222" y="947"/>
                  </a:lnTo>
                  <a:lnTo>
                    <a:pt x="1222" y="951"/>
                  </a:lnTo>
                  <a:lnTo>
                    <a:pt x="1222" y="953"/>
                  </a:lnTo>
                  <a:lnTo>
                    <a:pt x="1226" y="949"/>
                  </a:lnTo>
                  <a:lnTo>
                    <a:pt x="1228" y="951"/>
                  </a:lnTo>
                  <a:lnTo>
                    <a:pt x="1226" y="955"/>
                  </a:lnTo>
                  <a:lnTo>
                    <a:pt x="1228" y="957"/>
                  </a:lnTo>
                  <a:lnTo>
                    <a:pt x="1229" y="955"/>
                  </a:lnTo>
                  <a:lnTo>
                    <a:pt x="1231" y="957"/>
                  </a:lnTo>
                  <a:lnTo>
                    <a:pt x="1229" y="960"/>
                  </a:lnTo>
                  <a:lnTo>
                    <a:pt x="1226" y="959"/>
                  </a:lnTo>
                  <a:lnTo>
                    <a:pt x="1226" y="960"/>
                  </a:lnTo>
                  <a:lnTo>
                    <a:pt x="1226" y="962"/>
                  </a:lnTo>
                  <a:lnTo>
                    <a:pt x="1229" y="964"/>
                  </a:lnTo>
                  <a:lnTo>
                    <a:pt x="1229" y="968"/>
                  </a:lnTo>
                  <a:lnTo>
                    <a:pt x="1228" y="968"/>
                  </a:lnTo>
                  <a:lnTo>
                    <a:pt x="1228" y="968"/>
                  </a:lnTo>
                  <a:lnTo>
                    <a:pt x="1228" y="968"/>
                  </a:lnTo>
                  <a:lnTo>
                    <a:pt x="1228" y="968"/>
                  </a:lnTo>
                  <a:close/>
                  <a:moveTo>
                    <a:pt x="919" y="876"/>
                  </a:moveTo>
                  <a:lnTo>
                    <a:pt x="919" y="876"/>
                  </a:lnTo>
                  <a:lnTo>
                    <a:pt x="923" y="876"/>
                  </a:lnTo>
                  <a:lnTo>
                    <a:pt x="923" y="874"/>
                  </a:lnTo>
                  <a:lnTo>
                    <a:pt x="924" y="874"/>
                  </a:lnTo>
                  <a:lnTo>
                    <a:pt x="924" y="874"/>
                  </a:lnTo>
                  <a:lnTo>
                    <a:pt x="928" y="876"/>
                  </a:lnTo>
                  <a:lnTo>
                    <a:pt x="930" y="876"/>
                  </a:lnTo>
                  <a:lnTo>
                    <a:pt x="932" y="874"/>
                  </a:lnTo>
                  <a:lnTo>
                    <a:pt x="934" y="874"/>
                  </a:lnTo>
                  <a:lnTo>
                    <a:pt x="936" y="876"/>
                  </a:lnTo>
                  <a:lnTo>
                    <a:pt x="936" y="876"/>
                  </a:lnTo>
                  <a:lnTo>
                    <a:pt x="934" y="879"/>
                  </a:lnTo>
                  <a:lnTo>
                    <a:pt x="934" y="883"/>
                  </a:lnTo>
                  <a:lnTo>
                    <a:pt x="932" y="887"/>
                  </a:lnTo>
                  <a:lnTo>
                    <a:pt x="932" y="893"/>
                  </a:lnTo>
                  <a:lnTo>
                    <a:pt x="932" y="893"/>
                  </a:lnTo>
                  <a:lnTo>
                    <a:pt x="936" y="893"/>
                  </a:lnTo>
                  <a:lnTo>
                    <a:pt x="936" y="893"/>
                  </a:lnTo>
                  <a:lnTo>
                    <a:pt x="940" y="895"/>
                  </a:lnTo>
                  <a:lnTo>
                    <a:pt x="941" y="893"/>
                  </a:lnTo>
                  <a:lnTo>
                    <a:pt x="943" y="893"/>
                  </a:lnTo>
                  <a:lnTo>
                    <a:pt x="943" y="891"/>
                  </a:lnTo>
                  <a:lnTo>
                    <a:pt x="947" y="889"/>
                  </a:lnTo>
                  <a:lnTo>
                    <a:pt x="949" y="889"/>
                  </a:lnTo>
                  <a:lnTo>
                    <a:pt x="953" y="887"/>
                  </a:lnTo>
                  <a:lnTo>
                    <a:pt x="953" y="883"/>
                  </a:lnTo>
                  <a:lnTo>
                    <a:pt x="956" y="879"/>
                  </a:lnTo>
                  <a:lnTo>
                    <a:pt x="958" y="879"/>
                  </a:lnTo>
                  <a:lnTo>
                    <a:pt x="960" y="876"/>
                  </a:lnTo>
                  <a:lnTo>
                    <a:pt x="962" y="879"/>
                  </a:lnTo>
                  <a:lnTo>
                    <a:pt x="964" y="876"/>
                  </a:lnTo>
                  <a:lnTo>
                    <a:pt x="966" y="876"/>
                  </a:lnTo>
                  <a:lnTo>
                    <a:pt x="968" y="876"/>
                  </a:lnTo>
                  <a:lnTo>
                    <a:pt x="968" y="870"/>
                  </a:lnTo>
                  <a:lnTo>
                    <a:pt x="968" y="868"/>
                  </a:lnTo>
                  <a:lnTo>
                    <a:pt x="972" y="864"/>
                  </a:lnTo>
                  <a:lnTo>
                    <a:pt x="972" y="862"/>
                  </a:lnTo>
                  <a:lnTo>
                    <a:pt x="975" y="862"/>
                  </a:lnTo>
                  <a:lnTo>
                    <a:pt x="977" y="864"/>
                  </a:lnTo>
                  <a:lnTo>
                    <a:pt x="981" y="862"/>
                  </a:lnTo>
                  <a:lnTo>
                    <a:pt x="981" y="861"/>
                  </a:lnTo>
                  <a:lnTo>
                    <a:pt x="983" y="862"/>
                  </a:lnTo>
                  <a:lnTo>
                    <a:pt x="983" y="866"/>
                  </a:lnTo>
                  <a:lnTo>
                    <a:pt x="981" y="868"/>
                  </a:lnTo>
                  <a:lnTo>
                    <a:pt x="981" y="870"/>
                  </a:lnTo>
                  <a:lnTo>
                    <a:pt x="983" y="870"/>
                  </a:lnTo>
                  <a:lnTo>
                    <a:pt x="987" y="870"/>
                  </a:lnTo>
                  <a:lnTo>
                    <a:pt x="990" y="870"/>
                  </a:lnTo>
                  <a:lnTo>
                    <a:pt x="990" y="876"/>
                  </a:lnTo>
                  <a:lnTo>
                    <a:pt x="988" y="879"/>
                  </a:lnTo>
                  <a:lnTo>
                    <a:pt x="987" y="879"/>
                  </a:lnTo>
                  <a:lnTo>
                    <a:pt x="987" y="883"/>
                  </a:lnTo>
                  <a:lnTo>
                    <a:pt x="988" y="883"/>
                  </a:lnTo>
                  <a:lnTo>
                    <a:pt x="990" y="883"/>
                  </a:lnTo>
                  <a:lnTo>
                    <a:pt x="992" y="883"/>
                  </a:lnTo>
                  <a:lnTo>
                    <a:pt x="992" y="883"/>
                  </a:lnTo>
                  <a:lnTo>
                    <a:pt x="996" y="883"/>
                  </a:lnTo>
                  <a:lnTo>
                    <a:pt x="998" y="885"/>
                  </a:lnTo>
                  <a:lnTo>
                    <a:pt x="1002" y="885"/>
                  </a:lnTo>
                  <a:lnTo>
                    <a:pt x="1002" y="887"/>
                  </a:lnTo>
                  <a:lnTo>
                    <a:pt x="1005" y="887"/>
                  </a:lnTo>
                  <a:lnTo>
                    <a:pt x="1007" y="891"/>
                  </a:lnTo>
                  <a:lnTo>
                    <a:pt x="1009" y="889"/>
                  </a:lnTo>
                  <a:lnTo>
                    <a:pt x="1011" y="885"/>
                  </a:lnTo>
                  <a:lnTo>
                    <a:pt x="1015" y="885"/>
                  </a:lnTo>
                  <a:lnTo>
                    <a:pt x="1017" y="883"/>
                  </a:lnTo>
                  <a:lnTo>
                    <a:pt x="1020" y="883"/>
                  </a:lnTo>
                  <a:lnTo>
                    <a:pt x="1020" y="879"/>
                  </a:lnTo>
                  <a:lnTo>
                    <a:pt x="1019" y="879"/>
                  </a:lnTo>
                  <a:lnTo>
                    <a:pt x="1017" y="876"/>
                  </a:lnTo>
                  <a:lnTo>
                    <a:pt x="1019" y="876"/>
                  </a:lnTo>
                  <a:lnTo>
                    <a:pt x="1020" y="874"/>
                  </a:lnTo>
                  <a:lnTo>
                    <a:pt x="1019" y="874"/>
                  </a:lnTo>
                  <a:lnTo>
                    <a:pt x="1017" y="870"/>
                  </a:lnTo>
                  <a:lnTo>
                    <a:pt x="1015" y="870"/>
                  </a:lnTo>
                  <a:lnTo>
                    <a:pt x="1015" y="874"/>
                  </a:lnTo>
                  <a:lnTo>
                    <a:pt x="1013" y="874"/>
                  </a:lnTo>
                  <a:lnTo>
                    <a:pt x="1013" y="874"/>
                  </a:lnTo>
                  <a:lnTo>
                    <a:pt x="1009" y="870"/>
                  </a:lnTo>
                  <a:lnTo>
                    <a:pt x="1009" y="870"/>
                  </a:lnTo>
                  <a:lnTo>
                    <a:pt x="1007" y="870"/>
                  </a:lnTo>
                  <a:lnTo>
                    <a:pt x="1005" y="870"/>
                  </a:lnTo>
                  <a:lnTo>
                    <a:pt x="998" y="870"/>
                  </a:lnTo>
                  <a:lnTo>
                    <a:pt x="998" y="870"/>
                  </a:lnTo>
                  <a:lnTo>
                    <a:pt x="1002" y="868"/>
                  </a:lnTo>
                  <a:lnTo>
                    <a:pt x="1002" y="868"/>
                  </a:lnTo>
                  <a:lnTo>
                    <a:pt x="1005" y="866"/>
                  </a:lnTo>
                  <a:lnTo>
                    <a:pt x="1005" y="864"/>
                  </a:lnTo>
                  <a:lnTo>
                    <a:pt x="1005" y="862"/>
                  </a:lnTo>
                  <a:lnTo>
                    <a:pt x="1005" y="859"/>
                  </a:lnTo>
                  <a:lnTo>
                    <a:pt x="1005" y="857"/>
                  </a:lnTo>
                  <a:lnTo>
                    <a:pt x="1005" y="853"/>
                  </a:lnTo>
                  <a:lnTo>
                    <a:pt x="1005" y="851"/>
                  </a:lnTo>
                  <a:lnTo>
                    <a:pt x="1005" y="849"/>
                  </a:lnTo>
                  <a:lnTo>
                    <a:pt x="998" y="846"/>
                  </a:lnTo>
                  <a:lnTo>
                    <a:pt x="992" y="844"/>
                  </a:lnTo>
                  <a:lnTo>
                    <a:pt x="992" y="840"/>
                  </a:lnTo>
                  <a:lnTo>
                    <a:pt x="992" y="838"/>
                  </a:lnTo>
                  <a:lnTo>
                    <a:pt x="990" y="838"/>
                  </a:lnTo>
                  <a:lnTo>
                    <a:pt x="988" y="834"/>
                  </a:lnTo>
                  <a:lnTo>
                    <a:pt x="990" y="830"/>
                  </a:lnTo>
                  <a:lnTo>
                    <a:pt x="988" y="827"/>
                  </a:lnTo>
                  <a:lnTo>
                    <a:pt x="983" y="827"/>
                  </a:lnTo>
                  <a:lnTo>
                    <a:pt x="977" y="825"/>
                  </a:lnTo>
                  <a:lnTo>
                    <a:pt x="975" y="821"/>
                  </a:lnTo>
                  <a:lnTo>
                    <a:pt x="977" y="819"/>
                  </a:lnTo>
                  <a:lnTo>
                    <a:pt x="977" y="819"/>
                  </a:lnTo>
                  <a:lnTo>
                    <a:pt x="973" y="815"/>
                  </a:lnTo>
                  <a:lnTo>
                    <a:pt x="973" y="814"/>
                  </a:lnTo>
                  <a:lnTo>
                    <a:pt x="972" y="814"/>
                  </a:lnTo>
                  <a:lnTo>
                    <a:pt x="968" y="815"/>
                  </a:lnTo>
                  <a:lnTo>
                    <a:pt x="968" y="819"/>
                  </a:lnTo>
                  <a:lnTo>
                    <a:pt x="968" y="821"/>
                  </a:lnTo>
                  <a:lnTo>
                    <a:pt x="966" y="819"/>
                  </a:lnTo>
                  <a:lnTo>
                    <a:pt x="966" y="815"/>
                  </a:lnTo>
                  <a:lnTo>
                    <a:pt x="964" y="814"/>
                  </a:lnTo>
                  <a:lnTo>
                    <a:pt x="966" y="812"/>
                  </a:lnTo>
                  <a:lnTo>
                    <a:pt x="968" y="812"/>
                  </a:lnTo>
                  <a:lnTo>
                    <a:pt x="968" y="812"/>
                  </a:lnTo>
                  <a:lnTo>
                    <a:pt x="968" y="808"/>
                  </a:lnTo>
                  <a:lnTo>
                    <a:pt x="968" y="806"/>
                  </a:lnTo>
                  <a:lnTo>
                    <a:pt x="968" y="802"/>
                  </a:lnTo>
                  <a:lnTo>
                    <a:pt x="966" y="802"/>
                  </a:lnTo>
                  <a:lnTo>
                    <a:pt x="966" y="800"/>
                  </a:lnTo>
                  <a:lnTo>
                    <a:pt x="968" y="797"/>
                  </a:lnTo>
                  <a:lnTo>
                    <a:pt x="966" y="797"/>
                  </a:lnTo>
                  <a:lnTo>
                    <a:pt x="958" y="798"/>
                  </a:lnTo>
                  <a:lnTo>
                    <a:pt x="955" y="802"/>
                  </a:lnTo>
                  <a:lnTo>
                    <a:pt x="953" y="810"/>
                  </a:lnTo>
                  <a:lnTo>
                    <a:pt x="949" y="815"/>
                  </a:lnTo>
                  <a:lnTo>
                    <a:pt x="949" y="815"/>
                  </a:lnTo>
                  <a:lnTo>
                    <a:pt x="947" y="819"/>
                  </a:lnTo>
                  <a:lnTo>
                    <a:pt x="947" y="821"/>
                  </a:lnTo>
                  <a:lnTo>
                    <a:pt x="943" y="829"/>
                  </a:lnTo>
                  <a:lnTo>
                    <a:pt x="943" y="830"/>
                  </a:lnTo>
                  <a:lnTo>
                    <a:pt x="943" y="832"/>
                  </a:lnTo>
                  <a:lnTo>
                    <a:pt x="941" y="836"/>
                  </a:lnTo>
                  <a:lnTo>
                    <a:pt x="941" y="838"/>
                  </a:lnTo>
                  <a:lnTo>
                    <a:pt x="936" y="844"/>
                  </a:lnTo>
                  <a:lnTo>
                    <a:pt x="936" y="846"/>
                  </a:lnTo>
                  <a:lnTo>
                    <a:pt x="936" y="849"/>
                  </a:lnTo>
                  <a:lnTo>
                    <a:pt x="934" y="851"/>
                  </a:lnTo>
                  <a:lnTo>
                    <a:pt x="934" y="857"/>
                  </a:lnTo>
                  <a:lnTo>
                    <a:pt x="932" y="861"/>
                  </a:lnTo>
                  <a:lnTo>
                    <a:pt x="926" y="861"/>
                  </a:lnTo>
                  <a:lnTo>
                    <a:pt x="923" y="862"/>
                  </a:lnTo>
                  <a:lnTo>
                    <a:pt x="923" y="866"/>
                  </a:lnTo>
                  <a:lnTo>
                    <a:pt x="919" y="874"/>
                  </a:lnTo>
                  <a:lnTo>
                    <a:pt x="919" y="876"/>
                  </a:lnTo>
                  <a:lnTo>
                    <a:pt x="919" y="876"/>
                  </a:lnTo>
                  <a:lnTo>
                    <a:pt x="919" y="876"/>
                  </a:lnTo>
                  <a:lnTo>
                    <a:pt x="919" y="876"/>
                  </a:lnTo>
                  <a:close/>
                  <a:moveTo>
                    <a:pt x="949" y="930"/>
                  </a:moveTo>
                  <a:lnTo>
                    <a:pt x="949" y="930"/>
                  </a:lnTo>
                  <a:lnTo>
                    <a:pt x="951" y="932"/>
                  </a:lnTo>
                  <a:lnTo>
                    <a:pt x="951" y="930"/>
                  </a:lnTo>
                  <a:lnTo>
                    <a:pt x="955" y="927"/>
                  </a:lnTo>
                  <a:lnTo>
                    <a:pt x="958" y="927"/>
                  </a:lnTo>
                  <a:lnTo>
                    <a:pt x="960" y="927"/>
                  </a:lnTo>
                  <a:lnTo>
                    <a:pt x="960" y="928"/>
                  </a:lnTo>
                  <a:lnTo>
                    <a:pt x="962" y="928"/>
                  </a:lnTo>
                  <a:lnTo>
                    <a:pt x="968" y="925"/>
                  </a:lnTo>
                  <a:lnTo>
                    <a:pt x="972" y="925"/>
                  </a:lnTo>
                  <a:lnTo>
                    <a:pt x="973" y="921"/>
                  </a:lnTo>
                  <a:lnTo>
                    <a:pt x="975" y="917"/>
                  </a:lnTo>
                  <a:lnTo>
                    <a:pt x="981" y="917"/>
                  </a:lnTo>
                  <a:lnTo>
                    <a:pt x="983" y="913"/>
                  </a:lnTo>
                  <a:lnTo>
                    <a:pt x="983" y="913"/>
                  </a:lnTo>
                  <a:lnTo>
                    <a:pt x="987" y="910"/>
                  </a:lnTo>
                  <a:lnTo>
                    <a:pt x="985" y="908"/>
                  </a:lnTo>
                  <a:lnTo>
                    <a:pt x="983" y="908"/>
                  </a:lnTo>
                  <a:lnTo>
                    <a:pt x="981" y="908"/>
                  </a:lnTo>
                  <a:lnTo>
                    <a:pt x="977" y="908"/>
                  </a:lnTo>
                  <a:lnTo>
                    <a:pt x="975" y="908"/>
                  </a:lnTo>
                  <a:lnTo>
                    <a:pt x="973" y="908"/>
                  </a:lnTo>
                  <a:lnTo>
                    <a:pt x="972" y="908"/>
                  </a:lnTo>
                  <a:lnTo>
                    <a:pt x="968" y="910"/>
                  </a:lnTo>
                  <a:lnTo>
                    <a:pt x="968" y="910"/>
                  </a:lnTo>
                  <a:lnTo>
                    <a:pt x="966" y="904"/>
                  </a:lnTo>
                  <a:lnTo>
                    <a:pt x="964" y="904"/>
                  </a:lnTo>
                  <a:lnTo>
                    <a:pt x="962" y="908"/>
                  </a:lnTo>
                  <a:lnTo>
                    <a:pt x="956" y="913"/>
                  </a:lnTo>
                  <a:lnTo>
                    <a:pt x="956" y="913"/>
                  </a:lnTo>
                  <a:lnTo>
                    <a:pt x="955" y="915"/>
                  </a:lnTo>
                  <a:lnTo>
                    <a:pt x="949" y="917"/>
                  </a:lnTo>
                  <a:lnTo>
                    <a:pt x="947" y="919"/>
                  </a:lnTo>
                  <a:lnTo>
                    <a:pt x="949" y="921"/>
                  </a:lnTo>
                  <a:lnTo>
                    <a:pt x="951" y="925"/>
                  </a:lnTo>
                  <a:lnTo>
                    <a:pt x="949" y="927"/>
                  </a:lnTo>
                  <a:lnTo>
                    <a:pt x="949" y="930"/>
                  </a:lnTo>
                  <a:lnTo>
                    <a:pt x="949" y="930"/>
                  </a:lnTo>
                  <a:lnTo>
                    <a:pt x="949" y="930"/>
                  </a:lnTo>
                  <a:lnTo>
                    <a:pt x="949" y="930"/>
                  </a:lnTo>
                  <a:close/>
                  <a:moveTo>
                    <a:pt x="1246" y="955"/>
                  </a:moveTo>
                  <a:lnTo>
                    <a:pt x="1246" y="955"/>
                  </a:lnTo>
                  <a:lnTo>
                    <a:pt x="1252" y="955"/>
                  </a:lnTo>
                  <a:lnTo>
                    <a:pt x="1254" y="959"/>
                  </a:lnTo>
                  <a:lnTo>
                    <a:pt x="1256" y="957"/>
                  </a:lnTo>
                  <a:lnTo>
                    <a:pt x="1256" y="955"/>
                  </a:lnTo>
                  <a:lnTo>
                    <a:pt x="1258" y="953"/>
                  </a:lnTo>
                  <a:lnTo>
                    <a:pt x="1258" y="951"/>
                  </a:lnTo>
                  <a:lnTo>
                    <a:pt x="1256" y="951"/>
                  </a:lnTo>
                  <a:lnTo>
                    <a:pt x="1252" y="951"/>
                  </a:lnTo>
                  <a:lnTo>
                    <a:pt x="1248" y="953"/>
                  </a:lnTo>
                  <a:lnTo>
                    <a:pt x="1246" y="955"/>
                  </a:lnTo>
                  <a:lnTo>
                    <a:pt x="1246" y="955"/>
                  </a:lnTo>
                  <a:lnTo>
                    <a:pt x="1246" y="955"/>
                  </a:lnTo>
                  <a:lnTo>
                    <a:pt x="1246" y="955"/>
                  </a:lnTo>
                  <a:close/>
                  <a:moveTo>
                    <a:pt x="1154" y="930"/>
                  </a:moveTo>
                  <a:lnTo>
                    <a:pt x="1156" y="930"/>
                  </a:lnTo>
                  <a:lnTo>
                    <a:pt x="1160" y="932"/>
                  </a:lnTo>
                  <a:lnTo>
                    <a:pt x="1160" y="934"/>
                  </a:lnTo>
                  <a:lnTo>
                    <a:pt x="1160" y="934"/>
                  </a:lnTo>
                  <a:lnTo>
                    <a:pt x="1160" y="938"/>
                  </a:lnTo>
                  <a:lnTo>
                    <a:pt x="1164" y="938"/>
                  </a:lnTo>
                  <a:lnTo>
                    <a:pt x="1164" y="938"/>
                  </a:lnTo>
                  <a:lnTo>
                    <a:pt x="1167" y="938"/>
                  </a:lnTo>
                  <a:lnTo>
                    <a:pt x="1167" y="938"/>
                  </a:lnTo>
                  <a:lnTo>
                    <a:pt x="1167" y="938"/>
                  </a:lnTo>
                  <a:lnTo>
                    <a:pt x="1167" y="934"/>
                  </a:lnTo>
                  <a:lnTo>
                    <a:pt x="1164" y="934"/>
                  </a:lnTo>
                  <a:lnTo>
                    <a:pt x="1164" y="932"/>
                  </a:lnTo>
                  <a:lnTo>
                    <a:pt x="1160" y="932"/>
                  </a:lnTo>
                  <a:lnTo>
                    <a:pt x="1158" y="930"/>
                  </a:lnTo>
                  <a:lnTo>
                    <a:pt x="1156" y="930"/>
                  </a:lnTo>
                  <a:lnTo>
                    <a:pt x="1154" y="930"/>
                  </a:lnTo>
                  <a:lnTo>
                    <a:pt x="1154" y="930"/>
                  </a:lnTo>
                  <a:lnTo>
                    <a:pt x="1154" y="930"/>
                  </a:lnTo>
                  <a:lnTo>
                    <a:pt x="1154" y="930"/>
                  </a:lnTo>
                  <a:close/>
                  <a:moveTo>
                    <a:pt x="1243" y="977"/>
                  </a:moveTo>
                  <a:lnTo>
                    <a:pt x="1241" y="977"/>
                  </a:lnTo>
                  <a:lnTo>
                    <a:pt x="1241" y="974"/>
                  </a:lnTo>
                  <a:lnTo>
                    <a:pt x="1239" y="972"/>
                  </a:lnTo>
                  <a:lnTo>
                    <a:pt x="1239" y="972"/>
                  </a:lnTo>
                  <a:lnTo>
                    <a:pt x="1241" y="968"/>
                  </a:lnTo>
                  <a:lnTo>
                    <a:pt x="1243" y="972"/>
                  </a:lnTo>
                  <a:lnTo>
                    <a:pt x="1243" y="972"/>
                  </a:lnTo>
                  <a:lnTo>
                    <a:pt x="1243" y="974"/>
                  </a:lnTo>
                  <a:lnTo>
                    <a:pt x="1243" y="977"/>
                  </a:lnTo>
                  <a:lnTo>
                    <a:pt x="1243" y="977"/>
                  </a:lnTo>
                  <a:lnTo>
                    <a:pt x="1243" y="977"/>
                  </a:lnTo>
                  <a:lnTo>
                    <a:pt x="1243" y="977"/>
                  </a:lnTo>
                  <a:lnTo>
                    <a:pt x="1243" y="977"/>
                  </a:lnTo>
                  <a:close/>
                  <a:moveTo>
                    <a:pt x="1241" y="989"/>
                  </a:moveTo>
                  <a:lnTo>
                    <a:pt x="1239" y="989"/>
                  </a:lnTo>
                  <a:lnTo>
                    <a:pt x="1239" y="987"/>
                  </a:lnTo>
                  <a:lnTo>
                    <a:pt x="1237" y="985"/>
                  </a:lnTo>
                  <a:lnTo>
                    <a:pt x="1235" y="985"/>
                  </a:lnTo>
                  <a:lnTo>
                    <a:pt x="1233" y="981"/>
                  </a:lnTo>
                  <a:lnTo>
                    <a:pt x="1233" y="979"/>
                  </a:lnTo>
                  <a:lnTo>
                    <a:pt x="1235" y="979"/>
                  </a:lnTo>
                  <a:lnTo>
                    <a:pt x="1237" y="977"/>
                  </a:lnTo>
                  <a:lnTo>
                    <a:pt x="1243" y="979"/>
                  </a:lnTo>
                  <a:lnTo>
                    <a:pt x="1246" y="981"/>
                  </a:lnTo>
                  <a:lnTo>
                    <a:pt x="1246" y="983"/>
                  </a:lnTo>
                  <a:lnTo>
                    <a:pt x="1243" y="985"/>
                  </a:lnTo>
                  <a:lnTo>
                    <a:pt x="1243" y="987"/>
                  </a:lnTo>
                  <a:lnTo>
                    <a:pt x="1243" y="987"/>
                  </a:lnTo>
                  <a:lnTo>
                    <a:pt x="1241" y="989"/>
                  </a:lnTo>
                  <a:lnTo>
                    <a:pt x="1241" y="989"/>
                  </a:lnTo>
                  <a:lnTo>
                    <a:pt x="1241" y="989"/>
                  </a:lnTo>
                  <a:lnTo>
                    <a:pt x="1241" y="989"/>
                  </a:lnTo>
                  <a:lnTo>
                    <a:pt x="1241" y="989"/>
                  </a:lnTo>
                  <a:close/>
                  <a:moveTo>
                    <a:pt x="1148" y="1045"/>
                  </a:moveTo>
                  <a:lnTo>
                    <a:pt x="1148" y="1047"/>
                  </a:lnTo>
                  <a:lnTo>
                    <a:pt x="1148" y="1047"/>
                  </a:lnTo>
                  <a:lnTo>
                    <a:pt x="1148" y="1045"/>
                  </a:lnTo>
                  <a:lnTo>
                    <a:pt x="1148" y="1045"/>
                  </a:lnTo>
                  <a:lnTo>
                    <a:pt x="1148" y="1045"/>
                  </a:lnTo>
                  <a:lnTo>
                    <a:pt x="1148" y="1045"/>
                  </a:lnTo>
                  <a:close/>
                  <a:moveTo>
                    <a:pt x="1150" y="1045"/>
                  </a:moveTo>
                  <a:lnTo>
                    <a:pt x="1150" y="1049"/>
                  </a:lnTo>
                  <a:lnTo>
                    <a:pt x="1150" y="1049"/>
                  </a:lnTo>
                  <a:lnTo>
                    <a:pt x="1150" y="1045"/>
                  </a:lnTo>
                  <a:lnTo>
                    <a:pt x="1150" y="1045"/>
                  </a:lnTo>
                  <a:lnTo>
                    <a:pt x="1150" y="1045"/>
                  </a:lnTo>
                  <a:lnTo>
                    <a:pt x="1150" y="1045"/>
                  </a:lnTo>
                  <a:close/>
                  <a:moveTo>
                    <a:pt x="1152" y="1045"/>
                  </a:moveTo>
                  <a:lnTo>
                    <a:pt x="1152" y="1047"/>
                  </a:lnTo>
                  <a:lnTo>
                    <a:pt x="1152" y="1051"/>
                  </a:lnTo>
                  <a:lnTo>
                    <a:pt x="1152" y="1053"/>
                  </a:lnTo>
                  <a:lnTo>
                    <a:pt x="1154" y="1053"/>
                  </a:lnTo>
                  <a:lnTo>
                    <a:pt x="1154" y="1049"/>
                  </a:lnTo>
                  <a:lnTo>
                    <a:pt x="1152" y="1045"/>
                  </a:lnTo>
                  <a:lnTo>
                    <a:pt x="1152" y="1045"/>
                  </a:lnTo>
                  <a:lnTo>
                    <a:pt x="1152" y="1045"/>
                  </a:lnTo>
                  <a:lnTo>
                    <a:pt x="1152" y="1045"/>
                  </a:lnTo>
                  <a:close/>
                  <a:moveTo>
                    <a:pt x="1177" y="1019"/>
                  </a:moveTo>
                  <a:lnTo>
                    <a:pt x="1177" y="1015"/>
                  </a:lnTo>
                  <a:lnTo>
                    <a:pt x="1177" y="1013"/>
                  </a:lnTo>
                  <a:lnTo>
                    <a:pt x="1179" y="1011"/>
                  </a:lnTo>
                  <a:lnTo>
                    <a:pt x="1179" y="1009"/>
                  </a:lnTo>
                  <a:lnTo>
                    <a:pt x="1184" y="1006"/>
                  </a:lnTo>
                  <a:lnTo>
                    <a:pt x="1188" y="1006"/>
                  </a:lnTo>
                  <a:lnTo>
                    <a:pt x="1188" y="1006"/>
                  </a:lnTo>
                  <a:lnTo>
                    <a:pt x="1188" y="1008"/>
                  </a:lnTo>
                  <a:lnTo>
                    <a:pt x="1188" y="1009"/>
                  </a:lnTo>
                  <a:lnTo>
                    <a:pt x="1188" y="1011"/>
                  </a:lnTo>
                  <a:lnTo>
                    <a:pt x="1184" y="1013"/>
                  </a:lnTo>
                  <a:lnTo>
                    <a:pt x="1184" y="1015"/>
                  </a:lnTo>
                  <a:lnTo>
                    <a:pt x="1182" y="1015"/>
                  </a:lnTo>
                  <a:lnTo>
                    <a:pt x="1179" y="1019"/>
                  </a:lnTo>
                  <a:lnTo>
                    <a:pt x="1177" y="1019"/>
                  </a:lnTo>
                  <a:lnTo>
                    <a:pt x="1177" y="1019"/>
                  </a:lnTo>
                  <a:lnTo>
                    <a:pt x="1177" y="1019"/>
                  </a:lnTo>
                  <a:lnTo>
                    <a:pt x="1177" y="1019"/>
                  </a:lnTo>
                  <a:close/>
                  <a:moveTo>
                    <a:pt x="1096" y="927"/>
                  </a:moveTo>
                  <a:lnTo>
                    <a:pt x="1100" y="928"/>
                  </a:lnTo>
                  <a:lnTo>
                    <a:pt x="1101" y="930"/>
                  </a:lnTo>
                  <a:lnTo>
                    <a:pt x="1105" y="932"/>
                  </a:lnTo>
                  <a:lnTo>
                    <a:pt x="1109" y="932"/>
                  </a:lnTo>
                  <a:lnTo>
                    <a:pt x="1105" y="932"/>
                  </a:lnTo>
                  <a:lnTo>
                    <a:pt x="1105" y="930"/>
                  </a:lnTo>
                  <a:lnTo>
                    <a:pt x="1100" y="927"/>
                  </a:lnTo>
                  <a:lnTo>
                    <a:pt x="1098" y="927"/>
                  </a:lnTo>
                  <a:lnTo>
                    <a:pt x="1096" y="927"/>
                  </a:lnTo>
                  <a:lnTo>
                    <a:pt x="1096" y="927"/>
                  </a:lnTo>
                  <a:lnTo>
                    <a:pt x="1096" y="927"/>
                  </a:lnTo>
                  <a:lnTo>
                    <a:pt x="1096" y="927"/>
                  </a:lnTo>
                  <a:close/>
                  <a:moveTo>
                    <a:pt x="1069" y="902"/>
                  </a:moveTo>
                  <a:lnTo>
                    <a:pt x="1069" y="902"/>
                  </a:lnTo>
                  <a:lnTo>
                    <a:pt x="1071" y="902"/>
                  </a:lnTo>
                  <a:lnTo>
                    <a:pt x="1073" y="904"/>
                  </a:lnTo>
                  <a:lnTo>
                    <a:pt x="1075" y="902"/>
                  </a:lnTo>
                  <a:lnTo>
                    <a:pt x="1075" y="902"/>
                  </a:lnTo>
                  <a:lnTo>
                    <a:pt x="1077" y="902"/>
                  </a:lnTo>
                  <a:lnTo>
                    <a:pt x="1077" y="900"/>
                  </a:lnTo>
                  <a:lnTo>
                    <a:pt x="1075" y="898"/>
                  </a:lnTo>
                  <a:lnTo>
                    <a:pt x="1077" y="896"/>
                  </a:lnTo>
                  <a:lnTo>
                    <a:pt x="1077" y="896"/>
                  </a:lnTo>
                  <a:lnTo>
                    <a:pt x="1073" y="893"/>
                  </a:lnTo>
                  <a:lnTo>
                    <a:pt x="1071" y="893"/>
                  </a:lnTo>
                  <a:lnTo>
                    <a:pt x="1069" y="891"/>
                  </a:lnTo>
                  <a:lnTo>
                    <a:pt x="1069" y="891"/>
                  </a:lnTo>
                  <a:lnTo>
                    <a:pt x="1068" y="891"/>
                  </a:lnTo>
                  <a:lnTo>
                    <a:pt x="1066" y="889"/>
                  </a:lnTo>
                  <a:lnTo>
                    <a:pt x="1064" y="891"/>
                  </a:lnTo>
                  <a:lnTo>
                    <a:pt x="1062" y="891"/>
                  </a:lnTo>
                  <a:lnTo>
                    <a:pt x="1064" y="895"/>
                  </a:lnTo>
                  <a:lnTo>
                    <a:pt x="1064" y="895"/>
                  </a:lnTo>
                  <a:lnTo>
                    <a:pt x="1066" y="895"/>
                  </a:lnTo>
                  <a:lnTo>
                    <a:pt x="1068" y="896"/>
                  </a:lnTo>
                  <a:lnTo>
                    <a:pt x="1069" y="898"/>
                  </a:lnTo>
                  <a:lnTo>
                    <a:pt x="1069" y="902"/>
                  </a:lnTo>
                  <a:lnTo>
                    <a:pt x="1069" y="902"/>
                  </a:lnTo>
                  <a:lnTo>
                    <a:pt x="1069" y="902"/>
                  </a:lnTo>
                  <a:lnTo>
                    <a:pt x="1069" y="902"/>
                  </a:lnTo>
                  <a:close/>
                  <a:moveTo>
                    <a:pt x="1051" y="910"/>
                  </a:moveTo>
                  <a:lnTo>
                    <a:pt x="1054" y="910"/>
                  </a:lnTo>
                  <a:lnTo>
                    <a:pt x="1056" y="910"/>
                  </a:lnTo>
                  <a:lnTo>
                    <a:pt x="1056" y="910"/>
                  </a:lnTo>
                  <a:lnTo>
                    <a:pt x="1060" y="908"/>
                  </a:lnTo>
                  <a:lnTo>
                    <a:pt x="1060" y="904"/>
                  </a:lnTo>
                  <a:lnTo>
                    <a:pt x="1060" y="904"/>
                  </a:lnTo>
                  <a:lnTo>
                    <a:pt x="1060" y="900"/>
                  </a:lnTo>
                  <a:lnTo>
                    <a:pt x="1056" y="898"/>
                  </a:lnTo>
                  <a:lnTo>
                    <a:pt x="1051" y="898"/>
                  </a:lnTo>
                  <a:lnTo>
                    <a:pt x="1051" y="896"/>
                  </a:lnTo>
                  <a:lnTo>
                    <a:pt x="1049" y="895"/>
                  </a:lnTo>
                  <a:lnTo>
                    <a:pt x="1047" y="895"/>
                  </a:lnTo>
                  <a:lnTo>
                    <a:pt x="1045" y="895"/>
                  </a:lnTo>
                  <a:lnTo>
                    <a:pt x="1043" y="895"/>
                  </a:lnTo>
                  <a:lnTo>
                    <a:pt x="1041" y="896"/>
                  </a:lnTo>
                  <a:lnTo>
                    <a:pt x="1043" y="900"/>
                  </a:lnTo>
                  <a:lnTo>
                    <a:pt x="1045" y="902"/>
                  </a:lnTo>
                  <a:lnTo>
                    <a:pt x="1047" y="904"/>
                  </a:lnTo>
                  <a:lnTo>
                    <a:pt x="1049" y="908"/>
                  </a:lnTo>
                  <a:lnTo>
                    <a:pt x="1049" y="910"/>
                  </a:lnTo>
                  <a:lnTo>
                    <a:pt x="1051" y="910"/>
                  </a:lnTo>
                  <a:lnTo>
                    <a:pt x="1051" y="910"/>
                  </a:lnTo>
                  <a:lnTo>
                    <a:pt x="1051" y="910"/>
                  </a:lnTo>
                  <a:lnTo>
                    <a:pt x="1051" y="910"/>
                  </a:lnTo>
                  <a:close/>
                  <a:moveTo>
                    <a:pt x="1047" y="927"/>
                  </a:moveTo>
                  <a:lnTo>
                    <a:pt x="1047" y="927"/>
                  </a:lnTo>
                  <a:lnTo>
                    <a:pt x="1049" y="925"/>
                  </a:lnTo>
                  <a:lnTo>
                    <a:pt x="1043" y="925"/>
                  </a:lnTo>
                  <a:lnTo>
                    <a:pt x="1043" y="925"/>
                  </a:lnTo>
                  <a:lnTo>
                    <a:pt x="1043" y="927"/>
                  </a:lnTo>
                  <a:lnTo>
                    <a:pt x="1047" y="927"/>
                  </a:lnTo>
                  <a:lnTo>
                    <a:pt x="1047" y="927"/>
                  </a:lnTo>
                  <a:lnTo>
                    <a:pt x="1047" y="927"/>
                  </a:lnTo>
                  <a:lnTo>
                    <a:pt x="1047" y="927"/>
                  </a:lnTo>
                  <a:close/>
                  <a:moveTo>
                    <a:pt x="1005" y="955"/>
                  </a:moveTo>
                  <a:lnTo>
                    <a:pt x="1005" y="955"/>
                  </a:lnTo>
                  <a:lnTo>
                    <a:pt x="1007" y="953"/>
                  </a:lnTo>
                  <a:lnTo>
                    <a:pt x="1007" y="951"/>
                  </a:lnTo>
                  <a:lnTo>
                    <a:pt x="1009" y="949"/>
                  </a:lnTo>
                  <a:lnTo>
                    <a:pt x="1009" y="949"/>
                  </a:lnTo>
                  <a:lnTo>
                    <a:pt x="1009" y="947"/>
                  </a:lnTo>
                  <a:lnTo>
                    <a:pt x="1009" y="945"/>
                  </a:lnTo>
                  <a:lnTo>
                    <a:pt x="1013" y="943"/>
                  </a:lnTo>
                  <a:lnTo>
                    <a:pt x="1015" y="940"/>
                  </a:lnTo>
                  <a:lnTo>
                    <a:pt x="1017" y="940"/>
                  </a:lnTo>
                  <a:lnTo>
                    <a:pt x="1019" y="938"/>
                  </a:lnTo>
                  <a:lnTo>
                    <a:pt x="1017" y="938"/>
                  </a:lnTo>
                  <a:lnTo>
                    <a:pt x="1017" y="934"/>
                  </a:lnTo>
                  <a:lnTo>
                    <a:pt x="1019" y="934"/>
                  </a:lnTo>
                  <a:lnTo>
                    <a:pt x="1020" y="932"/>
                  </a:lnTo>
                  <a:lnTo>
                    <a:pt x="1020" y="930"/>
                  </a:lnTo>
                  <a:lnTo>
                    <a:pt x="1020" y="928"/>
                  </a:lnTo>
                  <a:lnTo>
                    <a:pt x="1019" y="927"/>
                  </a:lnTo>
                  <a:lnTo>
                    <a:pt x="1017" y="927"/>
                  </a:lnTo>
                  <a:lnTo>
                    <a:pt x="1015" y="927"/>
                  </a:lnTo>
                  <a:lnTo>
                    <a:pt x="1013" y="925"/>
                  </a:lnTo>
                  <a:lnTo>
                    <a:pt x="1011" y="925"/>
                  </a:lnTo>
                  <a:lnTo>
                    <a:pt x="1011" y="927"/>
                  </a:lnTo>
                  <a:lnTo>
                    <a:pt x="1007" y="930"/>
                  </a:lnTo>
                  <a:lnTo>
                    <a:pt x="1005" y="930"/>
                  </a:lnTo>
                  <a:lnTo>
                    <a:pt x="1005" y="932"/>
                  </a:lnTo>
                  <a:lnTo>
                    <a:pt x="1002" y="934"/>
                  </a:lnTo>
                  <a:lnTo>
                    <a:pt x="1005" y="938"/>
                  </a:lnTo>
                  <a:lnTo>
                    <a:pt x="1002" y="938"/>
                  </a:lnTo>
                  <a:lnTo>
                    <a:pt x="1002" y="943"/>
                  </a:lnTo>
                  <a:lnTo>
                    <a:pt x="1002" y="943"/>
                  </a:lnTo>
                  <a:lnTo>
                    <a:pt x="998" y="947"/>
                  </a:lnTo>
                  <a:lnTo>
                    <a:pt x="1002" y="947"/>
                  </a:lnTo>
                  <a:lnTo>
                    <a:pt x="1002" y="949"/>
                  </a:lnTo>
                  <a:lnTo>
                    <a:pt x="1005" y="951"/>
                  </a:lnTo>
                  <a:lnTo>
                    <a:pt x="1005" y="951"/>
                  </a:lnTo>
                  <a:lnTo>
                    <a:pt x="1005" y="955"/>
                  </a:lnTo>
                  <a:lnTo>
                    <a:pt x="1005" y="955"/>
                  </a:lnTo>
                  <a:lnTo>
                    <a:pt x="1005" y="955"/>
                  </a:lnTo>
                  <a:lnTo>
                    <a:pt x="1005" y="955"/>
                  </a:lnTo>
                  <a:close/>
                  <a:moveTo>
                    <a:pt x="968" y="1111"/>
                  </a:moveTo>
                  <a:lnTo>
                    <a:pt x="968" y="1111"/>
                  </a:lnTo>
                  <a:lnTo>
                    <a:pt x="972" y="1111"/>
                  </a:lnTo>
                  <a:lnTo>
                    <a:pt x="972" y="1109"/>
                  </a:lnTo>
                  <a:lnTo>
                    <a:pt x="968" y="1111"/>
                  </a:lnTo>
                  <a:lnTo>
                    <a:pt x="968" y="1111"/>
                  </a:lnTo>
                  <a:lnTo>
                    <a:pt x="968" y="1111"/>
                  </a:lnTo>
                  <a:lnTo>
                    <a:pt x="968" y="1111"/>
                  </a:lnTo>
                  <a:close/>
                  <a:moveTo>
                    <a:pt x="972" y="1126"/>
                  </a:moveTo>
                  <a:lnTo>
                    <a:pt x="973" y="1122"/>
                  </a:lnTo>
                  <a:lnTo>
                    <a:pt x="973" y="1121"/>
                  </a:lnTo>
                  <a:lnTo>
                    <a:pt x="975" y="1121"/>
                  </a:lnTo>
                  <a:lnTo>
                    <a:pt x="975" y="1122"/>
                  </a:lnTo>
                  <a:lnTo>
                    <a:pt x="972" y="1126"/>
                  </a:lnTo>
                  <a:lnTo>
                    <a:pt x="972" y="1126"/>
                  </a:lnTo>
                  <a:lnTo>
                    <a:pt x="972" y="1126"/>
                  </a:lnTo>
                  <a:lnTo>
                    <a:pt x="972" y="1126"/>
                  </a:lnTo>
                  <a:lnTo>
                    <a:pt x="972" y="1126"/>
                  </a:lnTo>
                  <a:lnTo>
                    <a:pt x="972" y="1126"/>
                  </a:lnTo>
                  <a:close/>
                  <a:moveTo>
                    <a:pt x="949" y="1121"/>
                  </a:moveTo>
                  <a:lnTo>
                    <a:pt x="951" y="1117"/>
                  </a:lnTo>
                  <a:lnTo>
                    <a:pt x="953" y="1117"/>
                  </a:lnTo>
                  <a:lnTo>
                    <a:pt x="955" y="1117"/>
                  </a:lnTo>
                  <a:lnTo>
                    <a:pt x="956" y="1117"/>
                  </a:lnTo>
                  <a:lnTo>
                    <a:pt x="958" y="1115"/>
                  </a:lnTo>
                  <a:lnTo>
                    <a:pt x="960" y="1113"/>
                  </a:lnTo>
                  <a:lnTo>
                    <a:pt x="958" y="1117"/>
                  </a:lnTo>
                  <a:lnTo>
                    <a:pt x="953" y="1121"/>
                  </a:lnTo>
                  <a:lnTo>
                    <a:pt x="949" y="1121"/>
                  </a:lnTo>
                  <a:lnTo>
                    <a:pt x="949" y="1121"/>
                  </a:lnTo>
                  <a:lnTo>
                    <a:pt x="949" y="1121"/>
                  </a:lnTo>
                  <a:lnTo>
                    <a:pt x="949" y="1121"/>
                  </a:lnTo>
                  <a:lnTo>
                    <a:pt x="949" y="1121"/>
                  </a:lnTo>
                  <a:close/>
                  <a:moveTo>
                    <a:pt x="964" y="1128"/>
                  </a:moveTo>
                  <a:lnTo>
                    <a:pt x="968" y="1121"/>
                  </a:lnTo>
                  <a:lnTo>
                    <a:pt x="968" y="1121"/>
                  </a:lnTo>
                  <a:lnTo>
                    <a:pt x="972" y="1121"/>
                  </a:lnTo>
                  <a:lnTo>
                    <a:pt x="972" y="1121"/>
                  </a:lnTo>
                  <a:lnTo>
                    <a:pt x="966" y="1126"/>
                  </a:lnTo>
                  <a:lnTo>
                    <a:pt x="966" y="1130"/>
                  </a:lnTo>
                  <a:lnTo>
                    <a:pt x="968" y="1128"/>
                  </a:lnTo>
                  <a:lnTo>
                    <a:pt x="972" y="1122"/>
                  </a:lnTo>
                  <a:lnTo>
                    <a:pt x="972" y="1121"/>
                  </a:lnTo>
                  <a:lnTo>
                    <a:pt x="972" y="1117"/>
                  </a:lnTo>
                  <a:lnTo>
                    <a:pt x="972" y="1117"/>
                  </a:lnTo>
                  <a:lnTo>
                    <a:pt x="972" y="1117"/>
                  </a:lnTo>
                  <a:lnTo>
                    <a:pt x="972" y="1115"/>
                  </a:lnTo>
                  <a:lnTo>
                    <a:pt x="968" y="1113"/>
                  </a:lnTo>
                  <a:lnTo>
                    <a:pt x="968" y="1115"/>
                  </a:lnTo>
                  <a:lnTo>
                    <a:pt x="966" y="1121"/>
                  </a:lnTo>
                  <a:lnTo>
                    <a:pt x="962" y="1121"/>
                  </a:lnTo>
                  <a:lnTo>
                    <a:pt x="960" y="1122"/>
                  </a:lnTo>
                  <a:lnTo>
                    <a:pt x="960" y="1121"/>
                  </a:lnTo>
                  <a:lnTo>
                    <a:pt x="964" y="1117"/>
                  </a:lnTo>
                  <a:lnTo>
                    <a:pt x="964" y="1115"/>
                  </a:lnTo>
                  <a:lnTo>
                    <a:pt x="964" y="1115"/>
                  </a:lnTo>
                  <a:lnTo>
                    <a:pt x="962" y="1117"/>
                  </a:lnTo>
                  <a:lnTo>
                    <a:pt x="958" y="1121"/>
                  </a:lnTo>
                  <a:lnTo>
                    <a:pt x="955" y="1126"/>
                  </a:lnTo>
                  <a:lnTo>
                    <a:pt x="955" y="1126"/>
                  </a:lnTo>
                  <a:lnTo>
                    <a:pt x="951" y="1130"/>
                  </a:lnTo>
                  <a:lnTo>
                    <a:pt x="953" y="1132"/>
                  </a:lnTo>
                  <a:lnTo>
                    <a:pt x="953" y="1132"/>
                  </a:lnTo>
                  <a:lnTo>
                    <a:pt x="956" y="1126"/>
                  </a:lnTo>
                  <a:lnTo>
                    <a:pt x="960" y="1126"/>
                  </a:lnTo>
                  <a:lnTo>
                    <a:pt x="958" y="1128"/>
                  </a:lnTo>
                  <a:lnTo>
                    <a:pt x="956" y="1132"/>
                  </a:lnTo>
                  <a:lnTo>
                    <a:pt x="956" y="1132"/>
                  </a:lnTo>
                  <a:lnTo>
                    <a:pt x="960" y="1130"/>
                  </a:lnTo>
                  <a:lnTo>
                    <a:pt x="962" y="1130"/>
                  </a:lnTo>
                  <a:lnTo>
                    <a:pt x="962" y="1130"/>
                  </a:lnTo>
                  <a:lnTo>
                    <a:pt x="964" y="1128"/>
                  </a:lnTo>
                  <a:lnTo>
                    <a:pt x="964" y="1128"/>
                  </a:lnTo>
                  <a:lnTo>
                    <a:pt x="964" y="1128"/>
                  </a:lnTo>
                  <a:lnTo>
                    <a:pt x="964" y="1128"/>
                  </a:lnTo>
                  <a:close/>
                  <a:moveTo>
                    <a:pt x="960" y="1128"/>
                  </a:moveTo>
                  <a:lnTo>
                    <a:pt x="962" y="1126"/>
                  </a:lnTo>
                  <a:lnTo>
                    <a:pt x="966" y="1121"/>
                  </a:lnTo>
                  <a:lnTo>
                    <a:pt x="964" y="1126"/>
                  </a:lnTo>
                  <a:lnTo>
                    <a:pt x="962" y="1126"/>
                  </a:lnTo>
                  <a:lnTo>
                    <a:pt x="960" y="1128"/>
                  </a:lnTo>
                  <a:lnTo>
                    <a:pt x="960" y="1128"/>
                  </a:lnTo>
                  <a:lnTo>
                    <a:pt x="960" y="1128"/>
                  </a:lnTo>
                  <a:lnTo>
                    <a:pt x="960" y="1128"/>
                  </a:lnTo>
                  <a:close/>
                  <a:moveTo>
                    <a:pt x="1209" y="1382"/>
                  </a:moveTo>
                  <a:lnTo>
                    <a:pt x="1209" y="1382"/>
                  </a:lnTo>
                  <a:lnTo>
                    <a:pt x="1207" y="1380"/>
                  </a:lnTo>
                  <a:lnTo>
                    <a:pt x="1209" y="1380"/>
                  </a:lnTo>
                  <a:lnTo>
                    <a:pt x="1209" y="1377"/>
                  </a:lnTo>
                  <a:lnTo>
                    <a:pt x="1212" y="1375"/>
                  </a:lnTo>
                  <a:lnTo>
                    <a:pt x="1212" y="1375"/>
                  </a:lnTo>
                  <a:lnTo>
                    <a:pt x="1212" y="1375"/>
                  </a:lnTo>
                  <a:lnTo>
                    <a:pt x="1212" y="1375"/>
                  </a:lnTo>
                  <a:lnTo>
                    <a:pt x="1209" y="1377"/>
                  </a:lnTo>
                  <a:lnTo>
                    <a:pt x="1207" y="1380"/>
                  </a:lnTo>
                  <a:lnTo>
                    <a:pt x="1207" y="1382"/>
                  </a:lnTo>
                  <a:lnTo>
                    <a:pt x="1209" y="1382"/>
                  </a:lnTo>
                  <a:lnTo>
                    <a:pt x="1209" y="1382"/>
                  </a:lnTo>
                  <a:lnTo>
                    <a:pt x="1209" y="1382"/>
                  </a:lnTo>
                  <a:lnTo>
                    <a:pt x="1209" y="1382"/>
                  </a:lnTo>
                  <a:lnTo>
                    <a:pt x="1209" y="1382"/>
                  </a:lnTo>
                  <a:close/>
                  <a:moveTo>
                    <a:pt x="1301" y="1397"/>
                  </a:moveTo>
                  <a:lnTo>
                    <a:pt x="1301" y="1397"/>
                  </a:lnTo>
                  <a:lnTo>
                    <a:pt x="1301" y="1394"/>
                  </a:lnTo>
                  <a:lnTo>
                    <a:pt x="1301" y="1390"/>
                  </a:lnTo>
                  <a:lnTo>
                    <a:pt x="1297" y="1388"/>
                  </a:lnTo>
                  <a:lnTo>
                    <a:pt x="1301" y="1388"/>
                  </a:lnTo>
                  <a:lnTo>
                    <a:pt x="1301" y="1384"/>
                  </a:lnTo>
                  <a:lnTo>
                    <a:pt x="1301" y="1388"/>
                  </a:lnTo>
                  <a:lnTo>
                    <a:pt x="1301" y="1388"/>
                  </a:lnTo>
                  <a:lnTo>
                    <a:pt x="1301" y="1390"/>
                  </a:lnTo>
                  <a:lnTo>
                    <a:pt x="1301" y="1394"/>
                  </a:lnTo>
                  <a:lnTo>
                    <a:pt x="1301" y="1394"/>
                  </a:lnTo>
                  <a:lnTo>
                    <a:pt x="1301" y="1394"/>
                  </a:lnTo>
                  <a:lnTo>
                    <a:pt x="1301" y="1397"/>
                  </a:lnTo>
                  <a:lnTo>
                    <a:pt x="1301" y="1397"/>
                  </a:lnTo>
                  <a:lnTo>
                    <a:pt x="1301" y="1397"/>
                  </a:lnTo>
                  <a:lnTo>
                    <a:pt x="1301" y="1397"/>
                  </a:lnTo>
                  <a:lnTo>
                    <a:pt x="1301" y="1397"/>
                  </a:lnTo>
                  <a:lnTo>
                    <a:pt x="1301" y="1397"/>
                  </a:lnTo>
                  <a:close/>
                  <a:moveTo>
                    <a:pt x="1305" y="1399"/>
                  </a:moveTo>
                  <a:lnTo>
                    <a:pt x="1305" y="1397"/>
                  </a:lnTo>
                  <a:lnTo>
                    <a:pt x="1305" y="1397"/>
                  </a:lnTo>
                  <a:lnTo>
                    <a:pt x="1305" y="1399"/>
                  </a:lnTo>
                  <a:lnTo>
                    <a:pt x="1305" y="1401"/>
                  </a:lnTo>
                  <a:lnTo>
                    <a:pt x="1305" y="1399"/>
                  </a:lnTo>
                  <a:lnTo>
                    <a:pt x="1305" y="1399"/>
                  </a:lnTo>
                  <a:lnTo>
                    <a:pt x="1305" y="1399"/>
                  </a:lnTo>
                  <a:lnTo>
                    <a:pt x="1305" y="1399"/>
                  </a:lnTo>
                  <a:close/>
                  <a:moveTo>
                    <a:pt x="1339" y="1269"/>
                  </a:moveTo>
                  <a:lnTo>
                    <a:pt x="1340" y="1266"/>
                  </a:lnTo>
                  <a:lnTo>
                    <a:pt x="1342" y="1266"/>
                  </a:lnTo>
                  <a:lnTo>
                    <a:pt x="1342" y="1266"/>
                  </a:lnTo>
                  <a:lnTo>
                    <a:pt x="1342" y="1269"/>
                  </a:lnTo>
                  <a:lnTo>
                    <a:pt x="1340" y="1269"/>
                  </a:lnTo>
                  <a:lnTo>
                    <a:pt x="1340" y="1269"/>
                  </a:lnTo>
                  <a:lnTo>
                    <a:pt x="1339" y="1269"/>
                  </a:lnTo>
                  <a:lnTo>
                    <a:pt x="1339" y="1269"/>
                  </a:lnTo>
                  <a:lnTo>
                    <a:pt x="1339" y="1269"/>
                  </a:lnTo>
                  <a:lnTo>
                    <a:pt x="1339" y="1269"/>
                  </a:lnTo>
                  <a:close/>
                  <a:moveTo>
                    <a:pt x="1329" y="1296"/>
                  </a:moveTo>
                  <a:lnTo>
                    <a:pt x="1329" y="1300"/>
                  </a:lnTo>
                  <a:lnTo>
                    <a:pt x="1331" y="1300"/>
                  </a:lnTo>
                  <a:lnTo>
                    <a:pt x="1331" y="1300"/>
                  </a:lnTo>
                  <a:lnTo>
                    <a:pt x="1331" y="1300"/>
                  </a:lnTo>
                  <a:lnTo>
                    <a:pt x="1331" y="1296"/>
                  </a:lnTo>
                  <a:lnTo>
                    <a:pt x="1331" y="1296"/>
                  </a:lnTo>
                  <a:lnTo>
                    <a:pt x="1329" y="1296"/>
                  </a:lnTo>
                  <a:lnTo>
                    <a:pt x="1329" y="1296"/>
                  </a:lnTo>
                  <a:lnTo>
                    <a:pt x="1329" y="1296"/>
                  </a:lnTo>
                  <a:lnTo>
                    <a:pt x="1329" y="1296"/>
                  </a:lnTo>
                  <a:close/>
                  <a:moveTo>
                    <a:pt x="1348" y="1330"/>
                  </a:moveTo>
                  <a:lnTo>
                    <a:pt x="1346" y="1324"/>
                  </a:lnTo>
                  <a:lnTo>
                    <a:pt x="1346" y="1324"/>
                  </a:lnTo>
                  <a:lnTo>
                    <a:pt x="1348" y="1324"/>
                  </a:lnTo>
                  <a:lnTo>
                    <a:pt x="1350" y="1324"/>
                  </a:lnTo>
                  <a:lnTo>
                    <a:pt x="1350" y="1324"/>
                  </a:lnTo>
                  <a:lnTo>
                    <a:pt x="1352" y="1324"/>
                  </a:lnTo>
                  <a:lnTo>
                    <a:pt x="1352" y="1328"/>
                  </a:lnTo>
                  <a:lnTo>
                    <a:pt x="1350" y="1330"/>
                  </a:lnTo>
                  <a:lnTo>
                    <a:pt x="1350" y="1330"/>
                  </a:lnTo>
                  <a:lnTo>
                    <a:pt x="1348" y="1330"/>
                  </a:lnTo>
                  <a:lnTo>
                    <a:pt x="1348" y="1330"/>
                  </a:lnTo>
                  <a:lnTo>
                    <a:pt x="1348" y="1330"/>
                  </a:lnTo>
                  <a:lnTo>
                    <a:pt x="1348" y="1330"/>
                  </a:lnTo>
                  <a:close/>
                  <a:moveTo>
                    <a:pt x="1339" y="1328"/>
                  </a:moveTo>
                  <a:lnTo>
                    <a:pt x="1340" y="1330"/>
                  </a:lnTo>
                  <a:lnTo>
                    <a:pt x="1342" y="1328"/>
                  </a:lnTo>
                  <a:lnTo>
                    <a:pt x="1342" y="1324"/>
                  </a:lnTo>
                  <a:lnTo>
                    <a:pt x="1342" y="1324"/>
                  </a:lnTo>
                  <a:lnTo>
                    <a:pt x="1342" y="1324"/>
                  </a:lnTo>
                  <a:lnTo>
                    <a:pt x="1344" y="1328"/>
                  </a:lnTo>
                  <a:lnTo>
                    <a:pt x="1342" y="1330"/>
                  </a:lnTo>
                  <a:lnTo>
                    <a:pt x="1339" y="1330"/>
                  </a:lnTo>
                  <a:lnTo>
                    <a:pt x="1337" y="1330"/>
                  </a:lnTo>
                  <a:lnTo>
                    <a:pt x="1337" y="1330"/>
                  </a:lnTo>
                  <a:lnTo>
                    <a:pt x="1339" y="1328"/>
                  </a:lnTo>
                  <a:lnTo>
                    <a:pt x="1339" y="1328"/>
                  </a:lnTo>
                  <a:lnTo>
                    <a:pt x="1339" y="1328"/>
                  </a:lnTo>
                  <a:lnTo>
                    <a:pt x="1339" y="1328"/>
                  </a:lnTo>
                  <a:close/>
                  <a:moveTo>
                    <a:pt x="1310" y="1375"/>
                  </a:moveTo>
                  <a:lnTo>
                    <a:pt x="1310" y="1373"/>
                  </a:lnTo>
                  <a:lnTo>
                    <a:pt x="1310" y="1375"/>
                  </a:lnTo>
                  <a:lnTo>
                    <a:pt x="1310" y="1375"/>
                  </a:lnTo>
                  <a:lnTo>
                    <a:pt x="1310" y="1375"/>
                  </a:lnTo>
                  <a:lnTo>
                    <a:pt x="1310" y="1375"/>
                  </a:lnTo>
                  <a:lnTo>
                    <a:pt x="1310" y="1375"/>
                  </a:lnTo>
                  <a:lnTo>
                    <a:pt x="1310" y="1375"/>
                  </a:lnTo>
                  <a:close/>
                  <a:moveTo>
                    <a:pt x="1348" y="1364"/>
                  </a:moveTo>
                  <a:lnTo>
                    <a:pt x="1348" y="1365"/>
                  </a:lnTo>
                  <a:lnTo>
                    <a:pt x="1350" y="1365"/>
                  </a:lnTo>
                  <a:lnTo>
                    <a:pt x="1354" y="1365"/>
                  </a:lnTo>
                  <a:lnTo>
                    <a:pt x="1354" y="1365"/>
                  </a:lnTo>
                  <a:lnTo>
                    <a:pt x="1350" y="1364"/>
                  </a:lnTo>
                  <a:lnTo>
                    <a:pt x="1348" y="1364"/>
                  </a:lnTo>
                  <a:lnTo>
                    <a:pt x="1348" y="1364"/>
                  </a:lnTo>
                  <a:lnTo>
                    <a:pt x="1348" y="1364"/>
                  </a:lnTo>
                  <a:lnTo>
                    <a:pt x="1348" y="1364"/>
                  </a:lnTo>
                  <a:close/>
                  <a:moveTo>
                    <a:pt x="1307" y="1294"/>
                  </a:moveTo>
                  <a:lnTo>
                    <a:pt x="1305" y="1296"/>
                  </a:lnTo>
                  <a:lnTo>
                    <a:pt x="1301" y="1300"/>
                  </a:lnTo>
                  <a:lnTo>
                    <a:pt x="1301" y="1300"/>
                  </a:lnTo>
                  <a:lnTo>
                    <a:pt x="1301" y="1300"/>
                  </a:lnTo>
                  <a:lnTo>
                    <a:pt x="1301" y="1303"/>
                  </a:lnTo>
                  <a:lnTo>
                    <a:pt x="1297" y="1303"/>
                  </a:lnTo>
                  <a:lnTo>
                    <a:pt x="1297" y="1303"/>
                  </a:lnTo>
                  <a:lnTo>
                    <a:pt x="1297" y="1303"/>
                  </a:lnTo>
                  <a:lnTo>
                    <a:pt x="1297" y="1305"/>
                  </a:lnTo>
                  <a:lnTo>
                    <a:pt x="1295" y="1305"/>
                  </a:lnTo>
                  <a:lnTo>
                    <a:pt x="1293" y="1307"/>
                  </a:lnTo>
                  <a:lnTo>
                    <a:pt x="1293" y="1309"/>
                  </a:lnTo>
                  <a:lnTo>
                    <a:pt x="1295" y="1309"/>
                  </a:lnTo>
                  <a:lnTo>
                    <a:pt x="1295" y="1311"/>
                  </a:lnTo>
                  <a:lnTo>
                    <a:pt x="1293" y="1311"/>
                  </a:lnTo>
                  <a:lnTo>
                    <a:pt x="1292" y="1311"/>
                  </a:lnTo>
                  <a:lnTo>
                    <a:pt x="1290" y="1315"/>
                  </a:lnTo>
                  <a:lnTo>
                    <a:pt x="1290" y="1316"/>
                  </a:lnTo>
                  <a:lnTo>
                    <a:pt x="1286" y="1324"/>
                  </a:lnTo>
                  <a:lnTo>
                    <a:pt x="1286" y="1324"/>
                  </a:lnTo>
                  <a:lnTo>
                    <a:pt x="1286" y="1324"/>
                  </a:lnTo>
                  <a:lnTo>
                    <a:pt x="1286" y="1328"/>
                  </a:lnTo>
                  <a:lnTo>
                    <a:pt x="1286" y="1330"/>
                  </a:lnTo>
                  <a:lnTo>
                    <a:pt x="1284" y="1328"/>
                  </a:lnTo>
                  <a:lnTo>
                    <a:pt x="1284" y="1328"/>
                  </a:lnTo>
                  <a:lnTo>
                    <a:pt x="1280" y="1330"/>
                  </a:lnTo>
                  <a:lnTo>
                    <a:pt x="1280" y="1330"/>
                  </a:lnTo>
                  <a:lnTo>
                    <a:pt x="1280" y="1333"/>
                  </a:lnTo>
                  <a:lnTo>
                    <a:pt x="1280" y="1333"/>
                  </a:lnTo>
                  <a:lnTo>
                    <a:pt x="1282" y="1333"/>
                  </a:lnTo>
                  <a:lnTo>
                    <a:pt x="1280" y="1335"/>
                  </a:lnTo>
                  <a:lnTo>
                    <a:pt x="1280" y="1337"/>
                  </a:lnTo>
                  <a:lnTo>
                    <a:pt x="1280" y="1339"/>
                  </a:lnTo>
                  <a:lnTo>
                    <a:pt x="1276" y="1337"/>
                  </a:lnTo>
                  <a:lnTo>
                    <a:pt x="1273" y="1339"/>
                  </a:lnTo>
                  <a:lnTo>
                    <a:pt x="1273" y="1341"/>
                  </a:lnTo>
                  <a:lnTo>
                    <a:pt x="1273" y="1343"/>
                  </a:lnTo>
                  <a:lnTo>
                    <a:pt x="1271" y="1347"/>
                  </a:lnTo>
                  <a:lnTo>
                    <a:pt x="1267" y="1348"/>
                  </a:lnTo>
                  <a:lnTo>
                    <a:pt x="1267" y="1348"/>
                  </a:lnTo>
                  <a:lnTo>
                    <a:pt x="1267" y="1347"/>
                  </a:lnTo>
                  <a:lnTo>
                    <a:pt x="1265" y="1348"/>
                  </a:lnTo>
                  <a:lnTo>
                    <a:pt x="1265" y="1347"/>
                  </a:lnTo>
                  <a:lnTo>
                    <a:pt x="1265" y="1345"/>
                  </a:lnTo>
                  <a:lnTo>
                    <a:pt x="1267" y="1343"/>
                  </a:lnTo>
                  <a:lnTo>
                    <a:pt x="1267" y="1341"/>
                  </a:lnTo>
                  <a:lnTo>
                    <a:pt x="1267" y="1343"/>
                  </a:lnTo>
                  <a:lnTo>
                    <a:pt x="1265" y="1345"/>
                  </a:lnTo>
                  <a:lnTo>
                    <a:pt x="1260" y="1347"/>
                  </a:lnTo>
                  <a:lnTo>
                    <a:pt x="1258" y="1352"/>
                  </a:lnTo>
                  <a:lnTo>
                    <a:pt x="1260" y="1352"/>
                  </a:lnTo>
                  <a:lnTo>
                    <a:pt x="1261" y="1350"/>
                  </a:lnTo>
                  <a:lnTo>
                    <a:pt x="1267" y="1350"/>
                  </a:lnTo>
                  <a:lnTo>
                    <a:pt x="1273" y="1350"/>
                  </a:lnTo>
                  <a:lnTo>
                    <a:pt x="1267" y="1352"/>
                  </a:lnTo>
                  <a:lnTo>
                    <a:pt x="1265" y="1358"/>
                  </a:lnTo>
                  <a:lnTo>
                    <a:pt x="1263" y="1360"/>
                  </a:lnTo>
                  <a:lnTo>
                    <a:pt x="1260" y="1364"/>
                  </a:lnTo>
                  <a:lnTo>
                    <a:pt x="1256" y="1365"/>
                  </a:lnTo>
                  <a:lnTo>
                    <a:pt x="1252" y="1365"/>
                  </a:lnTo>
                  <a:lnTo>
                    <a:pt x="1252" y="1367"/>
                  </a:lnTo>
                  <a:lnTo>
                    <a:pt x="1252" y="1369"/>
                  </a:lnTo>
                  <a:lnTo>
                    <a:pt x="1252" y="1371"/>
                  </a:lnTo>
                  <a:lnTo>
                    <a:pt x="1252" y="1373"/>
                  </a:lnTo>
                  <a:lnTo>
                    <a:pt x="1256" y="1373"/>
                  </a:lnTo>
                  <a:lnTo>
                    <a:pt x="1260" y="1375"/>
                  </a:lnTo>
                  <a:lnTo>
                    <a:pt x="1263" y="1375"/>
                  </a:lnTo>
                  <a:lnTo>
                    <a:pt x="1265" y="1373"/>
                  </a:lnTo>
                  <a:lnTo>
                    <a:pt x="1267" y="1371"/>
                  </a:lnTo>
                  <a:lnTo>
                    <a:pt x="1271" y="1369"/>
                  </a:lnTo>
                  <a:lnTo>
                    <a:pt x="1273" y="1367"/>
                  </a:lnTo>
                  <a:lnTo>
                    <a:pt x="1273" y="1369"/>
                  </a:lnTo>
                  <a:lnTo>
                    <a:pt x="1271" y="1371"/>
                  </a:lnTo>
                  <a:lnTo>
                    <a:pt x="1273" y="1373"/>
                  </a:lnTo>
                  <a:lnTo>
                    <a:pt x="1276" y="1371"/>
                  </a:lnTo>
                  <a:lnTo>
                    <a:pt x="1276" y="1373"/>
                  </a:lnTo>
                  <a:lnTo>
                    <a:pt x="1282" y="1373"/>
                  </a:lnTo>
                  <a:lnTo>
                    <a:pt x="1286" y="1373"/>
                  </a:lnTo>
                  <a:lnTo>
                    <a:pt x="1286" y="1375"/>
                  </a:lnTo>
                  <a:lnTo>
                    <a:pt x="1288" y="1377"/>
                  </a:lnTo>
                  <a:lnTo>
                    <a:pt x="1292" y="1377"/>
                  </a:lnTo>
                  <a:lnTo>
                    <a:pt x="1292" y="1375"/>
                  </a:lnTo>
                  <a:lnTo>
                    <a:pt x="1293" y="1377"/>
                  </a:lnTo>
                  <a:lnTo>
                    <a:pt x="1295" y="1377"/>
                  </a:lnTo>
                  <a:lnTo>
                    <a:pt x="1297" y="1375"/>
                  </a:lnTo>
                  <a:lnTo>
                    <a:pt x="1297" y="1375"/>
                  </a:lnTo>
                  <a:lnTo>
                    <a:pt x="1297" y="1375"/>
                  </a:lnTo>
                  <a:lnTo>
                    <a:pt x="1301" y="1375"/>
                  </a:lnTo>
                  <a:lnTo>
                    <a:pt x="1301" y="1375"/>
                  </a:lnTo>
                  <a:lnTo>
                    <a:pt x="1305" y="1373"/>
                  </a:lnTo>
                  <a:lnTo>
                    <a:pt x="1305" y="1373"/>
                  </a:lnTo>
                  <a:lnTo>
                    <a:pt x="1307" y="1375"/>
                  </a:lnTo>
                  <a:lnTo>
                    <a:pt x="1307" y="1373"/>
                  </a:lnTo>
                  <a:lnTo>
                    <a:pt x="1307" y="1371"/>
                  </a:lnTo>
                  <a:lnTo>
                    <a:pt x="1307" y="1369"/>
                  </a:lnTo>
                  <a:lnTo>
                    <a:pt x="1307" y="1369"/>
                  </a:lnTo>
                  <a:lnTo>
                    <a:pt x="1310" y="1367"/>
                  </a:lnTo>
                  <a:lnTo>
                    <a:pt x="1310" y="1367"/>
                  </a:lnTo>
                  <a:lnTo>
                    <a:pt x="1310" y="1367"/>
                  </a:lnTo>
                  <a:lnTo>
                    <a:pt x="1310" y="1371"/>
                  </a:lnTo>
                  <a:lnTo>
                    <a:pt x="1310" y="1373"/>
                  </a:lnTo>
                  <a:lnTo>
                    <a:pt x="1310" y="1371"/>
                  </a:lnTo>
                  <a:lnTo>
                    <a:pt x="1312" y="1369"/>
                  </a:lnTo>
                  <a:lnTo>
                    <a:pt x="1312" y="1367"/>
                  </a:lnTo>
                  <a:lnTo>
                    <a:pt x="1312" y="1371"/>
                  </a:lnTo>
                  <a:lnTo>
                    <a:pt x="1312" y="1373"/>
                  </a:lnTo>
                  <a:lnTo>
                    <a:pt x="1312" y="1375"/>
                  </a:lnTo>
                  <a:lnTo>
                    <a:pt x="1314" y="1373"/>
                  </a:lnTo>
                  <a:lnTo>
                    <a:pt x="1314" y="1373"/>
                  </a:lnTo>
                  <a:lnTo>
                    <a:pt x="1314" y="1375"/>
                  </a:lnTo>
                  <a:lnTo>
                    <a:pt x="1310" y="1377"/>
                  </a:lnTo>
                  <a:lnTo>
                    <a:pt x="1307" y="1379"/>
                  </a:lnTo>
                  <a:lnTo>
                    <a:pt x="1310" y="1379"/>
                  </a:lnTo>
                  <a:lnTo>
                    <a:pt x="1310" y="1379"/>
                  </a:lnTo>
                  <a:lnTo>
                    <a:pt x="1312" y="1379"/>
                  </a:lnTo>
                  <a:lnTo>
                    <a:pt x="1312" y="1379"/>
                  </a:lnTo>
                  <a:lnTo>
                    <a:pt x="1314" y="1379"/>
                  </a:lnTo>
                  <a:lnTo>
                    <a:pt x="1316" y="1380"/>
                  </a:lnTo>
                  <a:lnTo>
                    <a:pt x="1316" y="1379"/>
                  </a:lnTo>
                  <a:lnTo>
                    <a:pt x="1320" y="1379"/>
                  </a:lnTo>
                  <a:lnTo>
                    <a:pt x="1320" y="1377"/>
                  </a:lnTo>
                  <a:lnTo>
                    <a:pt x="1320" y="1373"/>
                  </a:lnTo>
                  <a:lnTo>
                    <a:pt x="1322" y="1375"/>
                  </a:lnTo>
                  <a:lnTo>
                    <a:pt x="1325" y="1375"/>
                  </a:lnTo>
                  <a:lnTo>
                    <a:pt x="1325" y="1377"/>
                  </a:lnTo>
                  <a:lnTo>
                    <a:pt x="1325" y="1377"/>
                  </a:lnTo>
                  <a:lnTo>
                    <a:pt x="1329" y="1375"/>
                  </a:lnTo>
                  <a:lnTo>
                    <a:pt x="1331" y="1377"/>
                  </a:lnTo>
                  <a:lnTo>
                    <a:pt x="1331" y="1377"/>
                  </a:lnTo>
                  <a:lnTo>
                    <a:pt x="1331" y="1379"/>
                  </a:lnTo>
                  <a:lnTo>
                    <a:pt x="1325" y="1380"/>
                  </a:lnTo>
                  <a:lnTo>
                    <a:pt x="1322" y="1380"/>
                  </a:lnTo>
                  <a:lnTo>
                    <a:pt x="1322" y="1382"/>
                  </a:lnTo>
                  <a:lnTo>
                    <a:pt x="1322" y="1384"/>
                  </a:lnTo>
                  <a:lnTo>
                    <a:pt x="1320" y="1384"/>
                  </a:lnTo>
                  <a:lnTo>
                    <a:pt x="1320" y="1384"/>
                  </a:lnTo>
                  <a:lnTo>
                    <a:pt x="1318" y="1384"/>
                  </a:lnTo>
                  <a:lnTo>
                    <a:pt x="1316" y="1384"/>
                  </a:lnTo>
                  <a:lnTo>
                    <a:pt x="1316" y="1388"/>
                  </a:lnTo>
                  <a:lnTo>
                    <a:pt x="1314" y="1388"/>
                  </a:lnTo>
                  <a:lnTo>
                    <a:pt x="1310" y="1388"/>
                  </a:lnTo>
                  <a:lnTo>
                    <a:pt x="1310" y="1390"/>
                  </a:lnTo>
                  <a:lnTo>
                    <a:pt x="1307" y="1394"/>
                  </a:lnTo>
                  <a:lnTo>
                    <a:pt x="1310" y="1394"/>
                  </a:lnTo>
                  <a:lnTo>
                    <a:pt x="1310" y="1394"/>
                  </a:lnTo>
                  <a:lnTo>
                    <a:pt x="1312" y="1394"/>
                  </a:lnTo>
                  <a:lnTo>
                    <a:pt x="1312" y="1394"/>
                  </a:lnTo>
                  <a:lnTo>
                    <a:pt x="1314" y="1394"/>
                  </a:lnTo>
                  <a:lnTo>
                    <a:pt x="1316" y="1394"/>
                  </a:lnTo>
                  <a:lnTo>
                    <a:pt x="1316" y="1394"/>
                  </a:lnTo>
                  <a:lnTo>
                    <a:pt x="1316" y="1394"/>
                  </a:lnTo>
                  <a:lnTo>
                    <a:pt x="1320" y="1394"/>
                  </a:lnTo>
                  <a:lnTo>
                    <a:pt x="1322" y="1394"/>
                  </a:lnTo>
                  <a:lnTo>
                    <a:pt x="1322" y="1390"/>
                  </a:lnTo>
                  <a:lnTo>
                    <a:pt x="1322" y="1390"/>
                  </a:lnTo>
                  <a:lnTo>
                    <a:pt x="1322" y="1388"/>
                  </a:lnTo>
                  <a:lnTo>
                    <a:pt x="1322" y="1384"/>
                  </a:lnTo>
                  <a:lnTo>
                    <a:pt x="1325" y="1384"/>
                  </a:lnTo>
                  <a:lnTo>
                    <a:pt x="1329" y="1382"/>
                  </a:lnTo>
                  <a:lnTo>
                    <a:pt x="1331" y="1380"/>
                  </a:lnTo>
                  <a:lnTo>
                    <a:pt x="1331" y="1382"/>
                  </a:lnTo>
                  <a:lnTo>
                    <a:pt x="1335" y="1382"/>
                  </a:lnTo>
                  <a:lnTo>
                    <a:pt x="1331" y="1384"/>
                  </a:lnTo>
                  <a:lnTo>
                    <a:pt x="1335" y="1384"/>
                  </a:lnTo>
                  <a:lnTo>
                    <a:pt x="1335" y="1382"/>
                  </a:lnTo>
                  <a:lnTo>
                    <a:pt x="1337" y="1379"/>
                  </a:lnTo>
                  <a:lnTo>
                    <a:pt x="1339" y="1375"/>
                  </a:lnTo>
                  <a:lnTo>
                    <a:pt x="1339" y="1371"/>
                  </a:lnTo>
                  <a:lnTo>
                    <a:pt x="1339" y="1369"/>
                  </a:lnTo>
                  <a:lnTo>
                    <a:pt x="1340" y="1369"/>
                  </a:lnTo>
                  <a:lnTo>
                    <a:pt x="1340" y="1371"/>
                  </a:lnTo>
                  <a:lnTo>
                    <a:pt x="1342" y="1371"/>
                  </a:lnTo>
                  <a:lnTo>
                    <a:pt x="1344" y="1373"/>
                  </a:lnTo>
                  <a:lnTo>
                    <a:pt x="1344" y="1377"/>
                  </a:lnTo>
                  <a:lnTo>
                    <a:pt x="1344" y="1379"/>
                  </a:lnTo>
                  <a:lnTo>
                    <a:pt x="1344" y="1380"/>
                  </a:lnTo>
                  <a:lnTo>
                    <a:pt x="1344" y="1382"/>
                  </a:lnTo>
                  <a:lnTo>
                    <a:pt x="1344" y="1384"/>
                  </a:lnTo>
                  <a:lnTo>
                    <a:pt x="1340" y="1388"/>
                  </a:lnTo>
                  <a:lnTo>
                    <a:pt x="1339" y="1394"/>
                  </a:lnTo>
                  <a:lnTo>
                    <a:pt x="1339" y="1394"/>
                  </a:lnTo>
                  <a:lnTo>
                    <a:pt x="1337" y="1397"/>
                  </a:lnTo>
                  <a:lnTo>
                    <a:pt x="1337" y="1397"/>
                  </a:lnTo>
                  <a:lnTo>
                    <a:pt x="1339" y="1397"/>
                  </a:lnTo>
                  <a:lnTo>
                    <a:pt x="1342" y="1397"/>
                  </a:lnTo>
                  <a:lnTo>
                    <a:pt x="1344" y="1394"/>
                  </a:lnTo>
                  <a:lnTo>
                    <a:pt x="1346" y="1394"/>
                  </a:lnTo>
                  <a:lnTo>
                    <a:pt x="1348" y="1388"/>
                  </a:lnTo>
                  <a:lnTo>
                    <a:pt x="1350" y="1388"/>
                  </a:lnTo>
                  <a:lnTo>
                    <a:pt x="1350" y="1388"/>
                  </a:lnTo>
                  <a:lnTo>
                    <a:pt x="1354" y="1388"/>
                  </a:lnTo>
                  <a:lnTo>
                    <a:pt x="1354" y="1388"/>
                  </a:lnTo>
                  <a:lnTo>
                    <a:pt x="1352" y="1388"/>
                  </a:lnTo>
                  <a:lnTo>
                    <a:pt x="1348" y="1394"/>
                  </a:lnTo>
                  <a:lnTo>
                    <a:pt x="1348" y="1394"/>
                  </a:lnTo>
                  <a:lnTo>
                    <a:pt x="1348" y="1397"/>
                  </a:lnTo>
                  <a:lnTo>
                    <a:pt x="1348" y="1397"/>
                  </a:lnTo>
                  <a:lnTo>
                    <a:pt x="1348" y="1401"/>
                  </a:lnTo>
                  <a:lnTo>
                    <a:pt x="1350" y="1403"/>
                  </a:lnTo>
                  <a:lnTo>
                    <a:pt x="1352" y="1401"/>
                  </a:lnTo>
                  <a:lnTo>
                    <a:pt x="1354" y="1399"/>
                  </a:lnTo>
                  <a:lnTo>
                    <a:pt x="1354" y="1399"/>
                  </a:lnTo>
                  <a:lnTo>
                    <a:pt x="1356" y="1399"/>
                  </a:lnTo>
                  <a:lnTo>
                    <a:pt x="1356" y="1399"/>
                  </a:lnTo>
                  <a:lnTo>
                    <a:pt x="1356" y="1401"/>
                  </a:lnTo>
                  <a:lnTo>
                    <a:pt x="1356" y="1401"/>
                  </a:lnTo>
                  <a:lnTo>
                    <a:pt x="1359" y="1401"/>
                  </a:lnTo>
                  <a:lnTo>
                    <a:pt x="1359" y="1399"/>
                  </a:lnTo>
                  <a:lnTo>
                    <a:pt x="1359" y="1397"/>
                  </a:lnTo>
                  <a:lnTo>
                    <a:pt x="1361" y="1397"/>
                  </a:lnTo>
                  <a:lnTo>
                    <a:pt x="1361" y="1394"/>
                  </a:lnTo>
                  <a:lnTo>
                    <a:pt x="1361" y="1394"/>
                  </a:lnTo>
                  <a:lnTo>
                    <a:pt x="1361" y="1394"/>
                  </a:lnTo>
                  <a:lnTo>
                    <a:pt x="1361" y="1390"/>
                  </a:lnTo>
                  <a:lnTo>
                    <a:pt x="1361" y="1388"/>
                  </a:lnTo>
                  <a:lnTo>
                    <a:pt x="1365" y="1384"/>
                  </a:lnTo>
                  <a:lnTo>
                    <a:pt x="1367" y="1380"/>
                  </a:lnTo>
                  <a:lnTo>
                    <a:pt x="1367" y="1375"/>
                  </a:lnTo>
                  <a:lnTo>
                    <a:pt x="1367" y="1373"/>
                  </a:lnTo>
                  <a:lnTo>
                    <a:pt x="1365" y="1373"/>
                  </a:lnTo>
                  <a:lnTo>
                    <a:pt x="1365" y="1375"/>
                  </a:lnTo>
                  <a:lnTo>
                    <a:pt x="1365" y="1377"/>
                  </a:lnTo>
                  <a:lnTo>
                    <a:pt x="1361" y="1379"/>
                  </a:lnTo>
                  <a:lnTo>
                    <a:pt x="1359" y="1382"/>
                  </a:lnTo>
                  <a:lnTo>
                    <a:pt x="1359" y="1382"/>
                  </a:lnTo>
                  <a:lnTo>
                    <a:pt x="1356" y="1380"/>
                  </a:lnTo>
                  <a:lnTo>
                    <a:pt x="1359" y="1377"/>
                  </a:lnTo>
                  <a:lnTo>
                    <a:pt x="1359" y="1375"/>
                  </a:lnTo>
                  <a:lnTo>
                    <a:pt x="1359" y="1371"/>
                  </a:lnTo>
                  <a:lnTo>
                    <a:pt x="1361" y="1371"/>
                  </a:lnTo>
                  <a:lnTo>
                    <a:pt x="1363" y="1367"/>
                  </a:lnTo>
                  <a:lnTo>
                    <a:pt x="1365" y="1367"/>
                  </a:lnTo>
                  <a:lnTo>
                    <a:pt x="1367" y="1367"/>
                  </a:lnTo>
                  <a:lnTo>
                    <a:pt x="1365" y="1365"/>
                  </a:lnTo>
                  <a:lnTo>
                    <a:pt x="1363" y="1367"/>
                  </a:lnTo>
                  <a:lnTo>
                    <a:pt x="1363" y="1367"/>
                  </a:lnTo>
                  <a:lnTo>
                    <a:pt x="1359" y="1367"/>
                  </a:lnTo>
                  <a:lnTo>
                    <a:pt x="1359" y="1369"/>
                  </a:lnTo>
                  <a:lnTo>
                    <a:pt x="1356" y="1371"/>
                  </a:lnTo>
                  <a:lnTo>
                    <a:pt x="1356" y="1373"/>
                  </a:lnTo>
                  <a:lnTo>
                    <a:pt x="1352" y="1375"/>
                  </a:lnTo>
                  <a:lnTo>
                    <a:pt x="1352" y="1377"/>
                  </a:lnTo>
                  <a:lnTo>
                    <a:pt x="1350" y="1379"/>
                  </a:lnTo>
                  <a:lnTo>
                    <a:pt x="1348" y="1377"/>
                  </a:lnTo>
                  <a:lnTo>
                    <a:pt x="1348" y="1375"/>
                  </a:lnTo>
                  <a:lnTo>
                    <a:pt x="1346" y="1371"/>
                  </a:lnTo>
                  <a:lnTo>
                    <a:pt x="1346" y="1369"/>
                  </a:lnTo>
                  <a:lnTo>
                    <a:pt x="1348" y="1371"/>
                  </a:lnTo>
                  <a:lnTo>
                    <a:pt x="1348" y="1371"/>
                  </a:lnTo>
                  <a:lnTo>
                    <a:pt x="1352" y="1367"/>
                  </a:lnTo>
                  <a:lnTo>
                    <a:pt x="1350" y="1369"/>
                  </a:lnTo>
                  <a:lnTo>
                    <a:pt x="1346" y="1367"/>
                  </a:lnTo>
                  <a:lnTo>
                    <a:pt x="1348" y="1367"/>
                  </a:lnTo>
                  <a:lnTo>
                    <a:pt x="1352" y="1367"/>
                  </a:lnTo>
                  <a:lnTo>
                    <a:pt x="1348" y="1367"/>
                  </a:lnTo>
                  <a:lnTo>
                    <a:pt x="1348" y="1365"/>
                  </a:lnTo>
                  <a:lnTo>
                    <a:pt x="1348" y="1364"/>
                  </a:lnTo>
                  <a:lnTo>
                    <a:pt x="1348" y="1364"/>
                  </a:lnTo>
                  <a:lnTo>
                    <a:pt x="1352" y="1364"/>
                  </a:lnTo>
                  <a:lnTo>
                    <a:pt x="1352" y="1364"/>
                  </a:lnTo>
                  <a:lnTo>
                    <a:pt x="1356" y="1360"/>
                  </a:lnTo>
                  <a:lnTo>
                    <a:pt x="1356" y="1358"/>
                  </a:lnTo>
                  <a:lnTo>
                    <a:pt x="1359" y="1358"/>
                  </a:lnTo>
                  <a:lnTo>
                    <a:pt x="1359" y="1360"/>
                  </a:lnTo>
                  <a:lnTo>
                    <a:pt x="1363" y="1354"/>
                  </a:lnTo>
                  <a:lnTo>
                    <a:pt x="1363" y="1354"/>
                  </a:lnTo>
                  <a:lnTo>
                    <a:pt x="1363" y="1352"/>
                  </a:lnTo>
                  <a:lnTo>
                    <a:pt x="1363" y="1348"/>
                  </a:lnTo>
                  <a:lnTo>
                    <a:pt x="1359" y="1352"/>
                  </a:lnTo>
                  <a:lnTo>
                    <a:pt x="1359" y="1354"/>
                  </a:lnTo>
                  <a:lnTo>
                    <a:pt x="1359" y="1352"/>
                  </a:lnTo>
                  <a:lnTo>
                    <a:pt x="1356" y="1352"/>
                  </a:lnTo>
                  <a:lnTo>
                    <a:pt x="1356" y="1354"/>
                  </a:lnTo>
                  <a:lnTo>
                    <a:pt x="1356" y="1354"/>
                  </a:lnTo>
                  <a:lnTo>
                    <a:pt x="1356" y="1354"/>
                  </a:lnTo>
                  <a:lnTo>
                    <a:pt x="1354" y="1354"/>
                  </a:lnTo>
                  <a:lnTo>
                    <a:pt x="1352" y="1358"/>
                  </a:lnTo>
                  <a:lnTo>
                    <a:pt x="1350" y="1360"/>
                  </a:lnTo>
                  <a:lnTo>
                    <a:pt x="1350" y="1360"/>
                  </a:lnTo>
                  <a:lnTo>
                    <a:pt x="1348" y="1360"/>
                  </a:lnTo>
                  <a:lnTo>
                    <a:pt x="1348" y="1360"/>
                  </a:lnTo>
                  <a:lnTo>
                    <a:pt x="1348" y="1358"/>
                  </a:lnTo>
                  <a:lnTo>
                    <a:pt x="1348" y="1360"/>
                  </a:lnTo>
                  <a:lnTo>
                    <a:pt x="1346" y="1360"/>
                  </a:lnTo>
                  <a:lnTo>
                    <a:pt x="1348" y="1358"/>
                  </a:lnTo>
                  <a:lnTo>
                    <a:pt x="1350" y="1354"/>
                  </a:lnTo>
                  <a:lnTo>
                    <a:pt x="1350" y="1354"/>
                  </a:lnTo>
                  <a:lnTo>
                    <a:pt x="1348" y="1354"/>
                  </a:lnTo>
                  <a:lnTo>
                    <a:pt x="1350" y="1352"/>
                  </a:lnTo>
                  <a:lnTo>
                    <a:pt x="1352" y="1350"/>
                  </a:lnTo>
                  <a:lnTo>
                    <a:pt x="1350" y="1348"/>
                  </a:lnTo>
                  <a:lnTo>
                    <a:pt x="1348" y="1350"/>
                  </a:lnTo>
                  <a:lnTo>
                    <a:pt x="1350" y="1348"/>
                  </a:lnTo>
                  <a:lnTo>
                    <a:pt x="1350" y="1347"/>
                  </a:lnTo>
                  <a:lnTo>
                    <a:pt x="1348" y="1347"/>
                  </a:lnTo>
                  <a:lnTo>
                    <a:pt x="1346" y="1347"/>
                  </a:lnTo>
                  <a:lnTo>
                    <a:pt x="1342" y="1347"/>
                  </a:lnTo>
                  <a:lnTo>
                    <a:pt x="1346" y="1347"/>
                  </a:lnTo>
                  <a:lnTo>
                    <a:pt x="1348" y="1347"/>
                  </a:lnTo>
                  <a:lnTo>
                    <a:pt x="1350" y="1345"/>
                  </a:lnTo>
                  <a:lnTo>
                    <a:pt x="1354" y="1345"/>
                  </a:lnTo>
                  <a:lnTo>
                    <a:pt x="1354" y="1343"/>
                  </a:lnTo>
                  <a:lnTo>
                    <a:pt x="1356" y="1343"/>
                  </a:lnTo>
                  <a:lnTo>
                    <a:pt x="1356" y="1341"/>
                  </a:lnTo>
                  <a:lnTo>
                    <a:pt x="1356" y="1339"/>
                  </a:lnTo>
                  <a:lnTo>
                    <a:pt x="1359" y="1337"/>
                  </a:lnTo>
                  <a:lnTo>
                    <a:pt x="1359" y="1335"/>
                  </a:lnTo>
                  <a:lnTo>
                    <a:pt x="1356" y="1333"/>
                  </a:lnTo>
                  <a:lnTo>
                    <a:pt x="1354" y="1330"/>
                  </a:lnTo>
                  <a:lnTo>
                    <a:pt x="1352" y="1330"/>
                  </a:lnTo>
                  <a:lnTo>
                    <a:pt x="1348" y="1333"/>
                  </a:lnTo>
                  <a:lnTo>
                    <a:pt x="1346" y="1333"/>
                  </a:lnTo>
                  <a:lnTo>
                    <a:pt x="1346" y="1333"/>
                  </a:lnTo>
                  <a:lnTo>
                    <a:pt x="1344" y="1335"/>
                  </a:lnTo>
                  <a:lnTo>
                    <a:pt x="1344" y="1339"/>
                  </a:lnTo>
                  <a:lnTo>
                    <a:pt x="1342" y="1341"/>
                  </a:lnTo>
                  <a:lnTo>
                    <a:pt x="1342" y="1339"/>
                  </a:lnTo>
                  <a:lnTo>
                    <a:pt x="1344" y="1335"/>
                  </a:lnTo>
                  <a:lnTo>
                    <a:pt x="1342" y="1333"/>
                  </a:lnTo>
                  <a:lnTo>
                    <a:pt x="1344" y="1333"/>
                  </a:lnTo>
                  <a:lnTo>
                    <a:pt x="1344" y="1330"/>
                  </a:lnTo>
                  <a:lnTo>
                    <a:pt x="1344" y="1330"/>
                  </a:lnTo>
                  <a:lnTo>
                    <a:pt x="1340" y="1333"/>
                  </a:lnTo>
                  <a:lnTo>
                    <a:pt x="1340" y="1333"/>
                  </a:lnTo>
                  <a:lnTo>
                    <a:pt x="1339" y="1335"/>
                  </a:lnTo>
                  <a:lnTo>
                    <a:pt x="1337" y="1333"/>
                  </a:lnTo>
                  <a:lnTo>
                    <a:pt x="1335" y="1335"/>
                  </a:lnTo>
                  <a:lnTo>
                    <a:pt x="1335" y="1335"/>
                  </a:lnTo>
                  <a:lnTo>
                    <a:pt x="1335" y="1333"/>
                  </a:lnTo>
                  <a:lnTo>
                    <a:pt x="1331" y="1335"/>
                  </a:lnTo>
                  <a:lnTo>
                    <a:pt x="1331" y="1339"/>
                  </a:lnTo>
                  <a:lnTo>
                    <a:pt x="1329" y="1341"/>
                  </a:lnTo>
                  <a:lnTo>
                    <a:pt x="1331" y="1339"/>
                  </a:lnTo>
                  <a:lnTo>
                    <a:pt x="1331" y="1335"/>
                  </a:lnTo>
                  <a:lnTo>
                    <a:pt x="1331" y="1333"/>
                  </a:lnTo>
                  <a:lnTo>
                    <a:pt x="1331" y="1333"/>
                  </a:lnTo>
                  <a:lnTo>
                    <a:pt x="1331" y="1333"/>
                  </a:lnTo>
                  <a:lnTo>
                    <a:pt x="1329" y="1333"/>
                  </a:lnTo>
                  <a:lnTo>
                    <a:pt x="1325" y="1335"/>
                  </a:lnTo>
                  <a:lnTo>
                    <a:pt x="1325" y="1335"/>
                  </a:lnTo>
                  <a:lnTo>
                    <a:pt x="1325" y="1333"/>
                  </a:lnTo>
                  <a:lnTo>
                    <a:pt x="1329" y="1333"/>
                  </a:lnTo>
                  <a:lnTo>
                    <a:pt x="1325" y="1330"/>
                  </a:lnTo>
                  <a:lnTo>
                    <a:pt x="1325" y="1333"/>
                  </a:lnTo>
                  <a:lnTo>
                    <a:pt x="1322" y="1333"/>
                  </a:lnTo>
                  <a:lnTo>
                    <a:pt x="1322" y="1333"/>
                  </a:lnTo>
                  <a:lnTo>
                    <a:pt x="1320" y="1330"/>
                  </a:lnTo>
                  <a:lnTo>
                    <a:pt x="1320" y="1330"/>
                  </a:lnTo>
                  <a:lnTo>
                    <a:pt x="1316" y="1333"/>
                  </a:lnTo>
                  <a:lnTo>
                    <a:pt x="1314" y="1333"/>
                  </a:lnTo>
                  <a:lnTo>
                    <a:pt x="1314" y="1333"/>
                  </a:lnTo>
                  <a:lnTo>
                    <a:pt x="1318" y="1330"/>
                  </a:lnTo>
                  <a:lnTo>
                    <a:pt x="1320" y="1328"/>
                  </a:lnTo>
                  <a:lnTo>
                    <a:pt x="1320" y="1324"/>
                  </a:lnTo>
                  <a:lnTo>
                    <a:pt x="1320" y="1324"/>
                  </a:lnTo>
                  <a:lnTo>
                    <a:pt x="1318" y="1324"/>
                  </a:lnTo>
                  <a:lnTo>
                    <a:pt x="1314" y="1328"/>
                  </a:lnTo>
                  <a:lnTo>
                    <a:pt x="1316" y="1324"/>
                  </a:lnTo>
                  <a:lnTo>
                    <a:pt x="1320" y="1322"/>
                  </a:lnTo>
                  <a:lnTo>
                    <a:pt x="1322" y="1322"/>
                  </a:lnTo>
                  <a:lnTo>
                    <a:pt x="1322" y="1322"/>
                  </a:lnTo>
                  <a:lnTo>
                    <a:pt x="1325" y="1320"/>
                  </a:lnTo>
                  <a:lnTo>
                    <a:pt x="1329" y="1318"/>
                  </a:lnTo>
                  <a:lnTo>
                    <a:pt x="1329" y="1316"/>
                  </a:lnTo>
                  <a:lnTo>
                    <a:pt x="1325" y="1318"/>
                  </a:lnTo>
                  <a:lnTo>
                    <a:pt x="1322" y="1318"/>
                  </a:lnTo>
                  <a:lnTo>
                    <a:pt x="1322" y="1318"/>
                  </a:lnTo>
                  <a:lnTo>
                    <a:pt x="1320" y="1316"/>
                  </a:lnTo>
                  <a:lnTo>
                    <a:pt x="1318" y="1316"/>
                  </a:lnTo>
                  <a:lnTo>
                    <a:pt x="1316" y="1318"/>
                  </a:lnTo>
                  <a:lnTo>
                    <a:pt x="1318" y="1315"/>
                  </a:lnTo>
                  <a:lnTo>
                    <a:pt x="1320" y="1313"/>
                  </a:lnTo>
                  <a:lnTo>
                    <a:pt x="1318" y="1313"/>
                  </a:lnTo>
                  <a:lnTo>
                    <a:pt x="1316" y="1313"/>
                  </a:lnTo>
                  <a:lnTo>
                    <a:pt x="1314" y="1315"/>
                  </a:lnTo>
                  <a:lnTo>
                    <a:pt x="1312" y="1316"/>
                  </a:lnTo>
                  <a:lnTo>
                    <a:pt x="1310" y="1320"/>
                  </a:lnTo>
                  <a:lnTo>
                    <a:pt x="1310" y="1320"/>
                  </a:lnTo>
                  <a:lnTo>
                    <a:pt x="1310" y="1322"/>
                  </a:lnTo>
                  <a:lnTo>
                    <a:pt x="1305" y="1324"/>
                  </a:lnTo>
                  <a:lnTo>
                    <a:pt x="1305" y="1328"/>
                  </a:lnTo>
                  <a:lnTo>
                    <a:pt x="1305" y="1324"/>
                  </a:lnTo>
                  <a:lnTo>
                    <a:pt x="1305" y="1322"/>
                  </a:lnTo>
                  <a:lnTo>
                    <a:pt x="1305" y="1318"/>
                  </a:lnTo>
                  <a:lnTo>
                    <a:pt x="1305" y="1316"/>
                  </a:lnTo>
                  <a:lnTo>
                    <a:pt x="1307" y="1313"/>
                  </a:lnTo>
                  <a:lnTo>
                    <a:pt x="1310" y="1311"/>
                  </a:lnTo>
                  <a:lnTo>
                    <a:pt x="1310" y="1309"/>
                  </a:lnTo>
                  <a:lnTo>
                    <a:pt x="1310" y="1307"/>
                  </a:lnTo>
                  <a:lnTo>
                    <a:pt x="1312" y="1307"/>
                  </a:lnTo>
                  <a:lnTo>
                    <a:pt x="1314" y="1303"/>
                  </a:lnTo>
                  <a:lnTo>
                    <a:pt x="1316" y="1303"/>
                  </a:lnTo>
                  <a:lnTo>
                    <a:pt x="1318" y="1300"/>
                  </a:lnTo>
                  <a:lnTo>
                    <a:pt x="1320" y="1300"/>
                  </a:lnTo>
                  <a:lnTo>
                    <a:pt x="1320" y="1300"/>
                  </a:lnTo>
                  <a:lnTo>
                    <a:pt x="1320" y="1296"/>
                  </a:lnTo>
                  <a:lnTo>
                    <a:pt x="1322" y="1296"/>
                  </a:lnTo>
                  <a:lnTo>
                    <a:pt x="1322" y="1294"/>
                  </a:lnTo>
                  <a:lnTo>
                    <a:pt x="1322" y="1296"/>
                  </a:lnTo>
                  <a:lnTo>
                    <a:pt x="1322" y="1296"/>
                  </a:lnTo>
                  <a:lnTo>
                    <a:pt x="1322" y="1300"/>
                  </a:lnTo>
                  <a:lnTo>
                    <a:pt x="1325" y="1296"/>
                  </a:lnTo>
                  <a:lnTo>
                    <a:pt x="1329" y="1290"/>
                  </a:lnTo>
                  <a:lnTo>
                    <a:pt x="1329" y="1290"/>
                  </a:lnTo>
                  <a:lnTo>
                    <a:pt x="1329" y="1288"/>
                  </a:lnTo>
                  <a:lnTo>
                    <a:pt x="1325" y="1288"/>
                  </a:lnTo>
                  <a:lnTo>
                    <a:pt x="1325" y="1288"/>
                  </a:lnTo>
                  <a:lnTo>
                    <a:pt x="1325" y="1286"/>
                  </a:lnTo>
                  <a:lnTo>
                    <a:pt x="1322" y="1284"/>
                  </a:lnTo>
                  <a:lnTo>
                    <a:pt x="1325" y="1283"/>
                  </a:lnTo>
                  <a:lnTo>
                    <a:pt x="1325" y="1283"/>
                  </a:lnTo>
                  <a:lnTo>
                    <a:pt x="1329" y="1283"/>
                  </a:lnTo>
                  <a:lnTo>
                    <a:pt x="1331" y="1284"/>
                  </a:lnTo>
                  <a:lnTo>
                    <a:pt x="1331" y="1284"/>
                  </a:lnTo>
                  <a:lnTo>
                    <a:pt x="1335" y="1283"/>
                  </a:lnTo>
                  <a:lnTo>
                    <a:pt x="1335" y="1279"/>
                  </a:lnTo>
                  <a:lnTo>
                    <a:pt x="1331" y="1279"/>
                  </a:lnTo>
                  <a:lnTo>
                    <a:pt x="1331" y="1279"/>
                  </a:lnTo>
                  <a:lnTo>
                    <a:pt x="1331" y="1279"/>
                  </a:lnTo>
                  <a:lnTo>
                    <a:pt x="1329" y="1279"/>
                  </a:lnTo>
                  <a:lnTo>
                    <a:pt x="1329" y="1279"/>
                  </a:lnTo>
                  <a:lnTo>
                    <a:pt x="1329" y="1279"/>
                  </a:lnTo>
                  <a:lnTo>
                    <a:pt x="1325" y="1279"/>
                  </a:lnTo>
                  <a:lnTo>
                    <a:pt x="1325" y="1279"/>
                  </a:lnTo>
                  <a:lnTo>
                    <a:pt x="1322" y="1279"/>
                  </a:lnTo>
                  <a:lnTo>
                    <a:pt x="1322" y="1281"/>
                  </a:lnTo>
                  <a:lnTo>
                    <a:pt x="1320" y="1283"/>
                  </a:lnTo>
                  <a:lnTo>
                    <a:pt x="1316" y="1283"/>
                  </a:lnTo>
                  <a:lnTo>
                    <a:pt x="1312" y="1284"/>
                  </a:lnTo>
                  <a:lnTo>
                    <a:pt x="1310" y="1288"/>
                  </a:lnTo>
                  <a:lnTo>
                    <a:pt x="1310" y="1290"/>
                  </a:lnTo>
                  <a:lnTo>
                    <a:pt x="1307" y="1290"/>
                  </a:lnTo>
                  <a:lnTo>
                    <a:pt x="1305" y="1290"/>
                  </a:lnTo>
                  <a:lnTo>
                    <a:pt x="1305" y="1290"/>
                  </a:lnTo>
                  <a:lnTo>
                    <a:pt x="1307" y="1290"/>
                  </a:lnTo>
                  <a:lnTo>
                    <a:pt x="1307" y="1294"/>
                  </a:lnTo>
                  <a:lnTo>
                    <a:pt x="1307" y="1294"/>
                  </a:lnTo>
                  <a:lnTo>
                    <a:pt x="1307" y="1294"/>
                  </a:lnTo>
                  <a:lnTo>
                    <a:pt x="1307" y="1294"/>
                  </a:lnTo>
                  <a:close/>
                  <a:moveTo>
                    <a:pt x="1188" y="1328"/>
                  </a:moveTo>
                  <a:lnTo>
                    <a:pt x="1192" y="1330"/>
                  </a:lnTo>
                  <a:lnTo>
                    <a:pt x="1197" y="1333"/>
                  </a:lnTo>
                  <a:lnTo>
                    <a:pt x="1201" y="1333"/>
                  </a:lnTo>
                  <a:lnTo>
                    <a:pt x="1207" y="1333"/>
                  </a:lnTo>
                  <a:lnTo>
                    <a:pt x="1209" y="1335"/>
                  </a:lnTo>
                  <a:lnTo>
                    <a:pt x="1212" y="1335"/>
                  </a:lnTo>
                  <a:lnTo>
                    <a:pt x="1214" y="1337"/>
                  </a:lnTo>
                  <a:lnTo>
                    <a:pt x="1218" y="1335"/>
                  </a:lnTo>
                  <a:lnTo>
                    <a:pt x="1218" y="1333"/>
                  </a:lnTo>
                  <a:lnTo>
                    <a:pt x="1218" y="1333"/>
                  </a:lnTo>
                  <a:lnTo>
                    <a:pt x="1216" y="1330"/>
                  </a:lnTo>
                  <a:lnTo>
                    <a:pt x="1214" y="1330"/>
                  </a:lnTo>
                  <a:lnTo>
                    <a:pt x="1212" y="1330"/>
                  </a:lnTo>
                  <a:lnTo>
                    <a:pt x="1209" y="1324"/>
                  </a:lnTo>
                  <a:lnTo>
                    <a:pt x="1205" y="1322"/>
                  </a:lnTo>
                  <a:lnTo>
                    <a:pt x="1203" y="1322"/>
                  </a:lnTo>
                  <a:lnTo>
                    <a:pt x="1199" y="1318"/>
                  </a:lnTo>
                  <a:lnTo>
                    <a:pt x="1197" y="1316"/>
                  </a:lnTo>
                  <a:lnTo>
                    <a:pt x="1192" y="1316"/>
                  </a:lnTo>
                  <a:lnTo>
                    <a:pt x="1182" y="1313"/>
                  </a:lnTo>
                  <a:lnTo>
                    <a:pt x="1179" y="1311"/>
                  </a:lnTo>
                  <a:lnTo>
                    <a:pt x="1175" y="1313"/>
                  </a:lnTo>
                  <a:lnTo>
                    <a:pt x="1177" y="1316"/>
                  </a:lnTo>
                  <a:lnTo>
                    <a:pt x="1180" y="1318"/>
                  </a:lnTo>
                  <a:lnTo>
                    <a:pt x="1184" y="1324"/>
                  </a:lnTo>
                  <a:lnTo>
                    <a:pt x="1188" y="1328"/>
                  </a:lnTo>
                  <a:lnTo>
                    <a:pt x="1188" y="1328"/>
                  </a:lnTo>
                  <a:lnTo>
                    <a:pt x="1188" y="1328"/>
                  </a:lnTo>
                  <a:lnTo>
                    <a:pt x="1188" y="1328"/>
                  </a:lnTo>
                  <a:lnTo>
                    <a:pt x="1188" y="1328"/>
                  </a:lnTo>
                  <a:close/>
                  <a:moveTo>
                    <a:pt x="1188" y="1413"/>
                  </a:moveTo>
                  <a:lnTo>
                    <a:pt x="1184" y="1411"/>
                  </a:lnTo>
                  <a:lnTo>
                    <a:pt x="1184" y="1407"/>
                  </a:lnTo>
                  <a:lnTo>
                    <a:pt x="1175" y="1405"/>
                  </a:lnTo>
                  <a:lnTo>
                    <a:pt x="1173" y="1405"/>
                  </a:lnTo>
                  <a:lnTo>
                    <a:pt x="1173" y="1401"/>
                  </a:lnTo>
                  <a:lnTo>
                    <a:pt x="1173" y="1399"/>
                  </a:lnTo>
                  <a:lnTo>
                    <a:pt x="1169" y="1399"/>
                  </a:lnTo>
                  <a:lnTo>
                    <a:pt x="1167" y="1397"/>
                  </a:lnTo>
                  <a:lnTo>
                    <a:pt x="1167" y="1397"/>
                  </a:lnTo>
                  <a:lnTo>
                    <a:pt x="1167" y="1394"/>
                  </a:lnTo>
                  <a:lnTo>
                    <a:pt x="1164" y="1394"/>
                  </a:lnTo>
                  <a:lnTo>
                    <a:pt x="1164" y="1394"/>
                  </a:lnTo>
                  <a:lnTo>
                    <a:pt x="1164" y="1394"/>
                  </a:lnTo>
                  <a:lnTo>
                    <a:pt x="1164" y="1388"/>
                  </a:lnTo>
                  <a:lnTo>
                    <a:pt x="1169" y="1384"/>
                  </a:lnTo>
                  <a:lnTo>
                    <a:pt x="1173" y="1388"/>
                  </a:lnTo>
                  <a:lnTo>
                    <a:pt x="1167" y="1388"/>
                  </a:lnTo>
                  <a:lnTo>
                    <a:pt x="1167" y="1390"/>
                  </a:lnTo>
                  <a:lnTo>
                    <a:pt x="1169" y="1394"/>
                  </a:lnTo>
                  <a:lnTo>
                    <a:pt x="1169" y="1397"/>
                  </a:lnTo>
                  <a:lnTo>
                    <a:pt x="1173" y="1397"/>
                  </a:lnTo>
                  <a:lnTo>
                    <a:pt x="1173" y="1397"/>
                  </a:lnTo>
                  <a:lnTo>
                    <a:pt x="1177" y="1397"/>
                  </a:lnTo>
                  <a:lnTo>
                    <a:pt x="1180" y="1399"/>
                  </a:lnTo>
                  <a:lnTo>
                    <a:pt x="1182" y="1399"/>
                  </a:lnTo>
                  <a:lnTo>
                    <a:pt x="1184" y="1401"/>
                  </a:lnTo>
                  <a:lnTo>
                    <a:pt x="1188" y="1401"/>
                  </a:lnTo>
                  <a:lnTo>
                    <a:pt x="1192" y="1399"/>
                  </a:lnTo>
                  <a:lnTo>
                    <a:pt x="1194" y="1399"/>
                  </a:lnTo>
                  <a:lnTo>
                    <a:pt x="1199" y="1399"/>
                  </a:lnTo>
                  <a:lnTo>
                    <a:pt x="1197" y="1401"/>
                  </a:lnTo>
                  <a:lnTo>
                    <a:pt x="1194" y="1401"/>
                  </a:lnTo>
                  <a:lnTo>
                    <a:pt x="1194" y="1405"/>
                  </a:lnTo>
                  <a:lnTo>
                    <a:pt x="1194" y="1409"/>
                  </a:lnTo>
                  <a:lnTo>
                    <a:pt x="1194" y="1413"/>
                  </a:lnTo>
                  <a:lnTo>
                    <a:pt x="1188" y="1413"/>
                  </a:lnTo>
                  <a:lnTo>
                    <a:pt x="1188" y="1413"/>
                  </a:lnTo>
                  <a:lnTo>
                    <a:pt x="1188" y="1413"/>
                  </a:lnTo>
                  <a:lnTo>
                    <a:pt x="1188" y="1413"/>
                  </a:lnTo>
                  <a:close/>
                  <a:moveTo>
                    <a:pt x="1216" y="1424"/>
                  </a:moveTo>
                  <a:lnTo>
                    <a:pt x="1216" y="1422"/>
                  </a:lnTo>
                  <a:lnTo>
                    <a:pt x="1209" y="1418"/>
                  </a:lnTo>
                  <a:lnTo>
                    <a:pt x="1209" y="1414"/>
                  </a:lnTo>
                  <a:lnTo>
                    <a:pt x="1207" y="1413"/>
                  </a:lnTo>
                  <a:lnTo>
                    <a:pt x="1209" y="1409"/>
                  </a:lnTo>
                  <a:lnTo>
                    <a:pt x="1214" y="1407"/>
                  </a:lnTo>
                  <a:lnTo>
                    <a:pt x="1218" y="1401"/>
                  </a:lnTo>
                  <a:lnTo>
                    <a:pt x="1218" y="1399"/>
                  </a:lnTo>
                  <a:lnTo>
                    <a:pt x="1222" y="1394"/>
                  </a:lnTo>
                  <a:lnTo>
                    <a:pt x="1226" y="1390"/>
                  </a:lnTo>
                  <a:lnTo>
                    <a:pt x="1228" y="1388"/>
                  </a:lnTo>
                  <a:lnTo>
                    <a:pt x="1229" y="1388"/>
                  </a:lnTo>
                  <a:lnTo>
                    <a:pt x="1229" y="1388"/>
                  </a:lnTo>
                  <a:lnTo>
                    <a:pt x="1229" y="1394"/>
                  </a:lnTo>
                  <a:lnTo>
                    <a:pt x="1231" y="1394"/>
                  </a:lnTo>
                  <a:lnTo>
                    <a:pt x="1231" y="1394"/>
                  </a:lnTo>
                  <a:lnTo>
                    <a:pt x="1228" y="1401"/>
                  </a:lnTo>
                  <a:lnTo>
                    <a:pt x="1226" y="1405"/>
                  </a:lnTo>
                  <a:lnTo>
                    <a:pt x="1229" y="1405"/>
                  </a:lnTo>
                  <a:lnTo>
                    <a:pt x="1231" y="1409"/>
                  </a:lnTo>
                  <a:lnTo>
                    <a:pt x="1229" y="1411"/>
                  </a:lnTo>
                  <a:lnTo>
                    <a:pt x="1229" y="1413"/>
                  </a:lnTo>
                  <a:lnTo>
                    <a:pt x="1233" y="1411"/>
                  </a:lnTo>
                  <a:lnTo>
                    <a:pt x="1233" y="1409"/>
                  </a:lnTo>
                  <a:lnTo>
                    <a:pt x="1235" y="1407"/>
                  </a:lnTo>
                  <a:lnTo>
                    <a:pt x="1239" y="1409"/>
                  </a:lnTo>
                  <a:lnTo>
                    <a:pt x="1239" y="1413"/>
                  </a:lnTo>
                  <a:lnTo>
                    <a:pt x="1241" y="1414"/>
                  </a:lnTo>
                  <a:lnTo>
                    <a:pt x="1237" y="1416"/>
                  </a:lnTo>
                  <a:lnTo>
                    <a:pt x="1235" y="1418"/>
                  </a:lnTo>
                  <a:lnTo>
                    <a:pt x="1229" y="1418"/>
                  </a:lnTo>
                  <a:lnTo>
                    <a:pt x="1224" y="1422"/>
                  </a:lnTo>
                  <a:lnTo>
                    <a:pt x="1222" y="1422"/>
                  </a:lnTo>
                  <a:lnTo>
                    <a:pt x="1218" y="1422"/>
                  </a:lnTo>
                  <a:lnTo>
                    <a:pt x="1218" y="1422"/>
                  </a:lnTo>
                  <a:lnTo>
                    <a:pt x="1218" y="1424"/>
                  </a:lnTo>
                  <a:lnTo>
                    <a:pt x="1216" y="1424"/>
                  </a:lnTo>
                  <a:lnTo>
                    <a:pt x="1216" y="1424"/>
                  </a:lnTo>
                  <a:lnTo>
                    <a:pt x="1216" y="1424"/>
                  </a:lnTo>
                  <a:lnTo>
                    <a:pt x="1216" y="1424"/>
                  </a:lnTo>
                  <a:close/>
                  <a:moveTo>
                    <a:pt x="930" y="1202"/>
                  </a:moveTo>
                  <a:lnTo>
                    <a:pt x="930" y="1205"/>
                  </a:lnTo>
                  <a:lnTo>
                    <a:pt x="932" y="1205"/>
                  </a:lnTo>
                  <a:lnTo>
                    <a:pt x="932" y="1205"/>
                  </a:lnTo>
                  <a:lnTo>
                    <a:pt x="932" y="1200"/>
                  </a:lnTo>
                  <a:lnTo>
                    <a:pt x="932" y="1202"/>
                  </a:lnTo>
                  <a:lnTo>
                    <a:pt x="930" y="1202"/>
                  </a:lnTo>
                  <a:lnTo>
                    <a:pt x="930" y="1202"/>
                  </a:lnTo>
                  <a:lnTo>
                    <a:pt x="930" y="1202"/>
                  </a:lnTo>
                  <a:lnTo>
                    <a:pt x="930" y="1202"/>
                  </a:lnTo>
                  <a:close/>
                  <a:moveTo>
                    <a:pt x="930" y="1241"/>
                  </a:moveTo>
                  <a:lnTo>
                    <a:pt x="932" y="1239"/>
                  </a:lnTo>
                  <a:lnTo>
                    <a:pt x="934" y="1239"/>
                  </a:lnTo>
                  <a:lnTo>
                    <a:pt x="936" y="1239"/>
                  </a:lnTo>
                  <a:lnTo>
                    <a:pt x="936" y="1239"/>
                  </a:lnTo>
                  <a:lnTo>
                    <a:pt x="932" y="1245"/>
                  </a:lnTo>
                  <a:lnTo>
                    <a:pt x="930" y="1241"/>
                  </a:lnTo>
                  <a:lnTo>
                    <a:pt x="930" y="1241"/>
                  </a:lnTo>
                  <a:lnTo>
                    <a:pt x="930" y="1241"/>
                  </a:lnTo>
                  <a:lnTo>
                    <a:pt x="930" y="1241"/>
                  </a:lnTo>
                  <a:close/>
                  <a:moveTo>
                    <a:pt x="896" y="1215"/>
                  </a:moveTo>
                  <a:lnTo>
                    <a:pt x="900" y="1209"/>
                  </a:lnTo>
                  <a:lnTo>
                    <a:pt x="902" y="1209"/>
                  </a:lnTo>
                  <a:lnTo>
                    <a:pt x="902" y="1205"/>
                  </a:lnTo>
                  <a:lnTo>
                    <a:pt x="904" y="1205"/>
                  </a:lnTo>
                  <a:lnTo>
                    <a:pt x="908" y="1205"/>
                  </a:lnTo>
                  <a:lnTo>
                    <a:pt x="909" y="1205"/>
                  </a:lnTo>
                  <a:lnTo>
                    <a:pt x="913" y="1205"/>
                  </a:lnTo>
                  <a:lnTo>
                    <a:pt x="917" y="1211"/>
                  </a:lnTo>
                  <a:lnTo>
                    <a:pt x="917" y="1215"/>
                  </a:lnTo>
                  <a:lnTo>
                    <a:pt x="917" y="1215"/>
                  </a:lnTo>
                  <a:lnTo>
                    <a:pt x="917" y="1219"/>
                  </a:lnTo>
                  <a:lnTo>
                    <a:pt x="909" y="1217"/>
                  </a:lnTo>
                  <a:lnTo>
                    <a:pt x="906" y="1215"/>
                  </a:lnTo>
                  <a:lnTo>
                    <a:pt x="902" y="1215"/>
                  </a:lnTo>
                  <a:lnTo>
                    <a:pt x="902" y="1217"/>
                  </a:lnTo>
                  <a:lnTo>
                    <a:pt x="902" y="1217"/>
                  </a:lnTo>
                  <a:lnTo>
                    <a:pt x="900" y="1215"/>
                  </a:lnTo>
                  <a:lnTo>
                    <a:pt x="900" y="1215"/>
                  </a:lnTo>
                  <a:lnTo>
                    <a:pt x="896" y="1215"/>
                  </a:lnTo>
                  <a:lnTo>
                    <a:pt x="896" y="1215"/>
                  </a:lnTo>
                  <a:lnTo>
                    <a:pt x="896" y="1215"/>
                  </a:lnTo>
                  <a:lnTo>
                    <a:pt x="896" y="1215"/>
                  </a:lnTo>
                  <a:lnTo>
                    <a:pt x="896" y="1215"/>
                  </a:lnTo>
                  <a:close/>
                  <a:moveTo>
                    <a:pt x="141" y="1228"/>
                  </a:moveTo>
                  <a:lnTo>
                    <a:pt x="145" y="1232"/>
                  </a:lnTo>
                  <a:lnTo>
                    <a:pt x="147" y="1235"/>
                  </a:lnTo>
                  <a:lnTo>
                    <a:pt x="147" y="1239"/>
                  </a:lnTo>
                  <a:lnTo>
                    <a:pt x="141" y="1234"/>
                  </a:lnTo>
                  <a:lnTo>
                    <a:pt x="141" y="1228"/>
                  </a:lnTo>
                  <a:lnTo>
                    <a:pt x="141" y="1228"/>
                  </a:lnTo>
                  <a:lnTo>
                    <a:pt x="141" y="1228"/>
                  </a:lnTo>
                  <a:lnTo>
                    <a:pt x="141" y="1228"/>
                  </a:lnTo>
                  <a:close/>
                  <a:moveTo>
                    <a:pt x="134" y="1219"/>
                  </a:moveTo>
                  <a:lnTo>
                    <a:pt x="134" y="1215"/>
                  </a:lnTo>
                  <a:lnTo>
                    <a:pt x="136" y="1215"/>
                  </a:lnTo>
                  <a:lnTo>
                    <a:pt x="134" y="1219"/>
                  </a:lnTo>
                  <a:lnTo>
                    <a:pt x="134" y="1219"/>
                  </a:lnTo>
                  <a:lnTo>
                    <a:pt x="134" y="1219"/>
                  </a:lnTo>
                  <a:lnTo>
                    <a:pt x="134" y="1219"/>
                  </a:lnTo>
                  <a:close/>
                  <a:moveTo>
                    <a:pt x="113" y="1202"/>
                  </a:moveTo>
                  <a:lnTo>
                    <a:pt x="121" y="1205"/>
                  </a:lnTo>
                  <a:lnTo>
                    <a:pt x="121" y="1202"/>
                  </a:lnTo>
                  <a:lnTo>
                    <a:pt x="113" y="1202"/>
                  </a:lnTo>
                  <a:lnTo>
                    <a:pt x="113" y="1202"/>
                  </a:lnTo>
                  <a:lnTo>
                    <a:pt x="113" y="1202"/>
                  </a:lnTo>
                  <a:lnTo>
                    <a:pt x="113" y="1202"/>
                  </a:lnTo>
                  <a:close/>
                  <a:moveTo>
                    <a:pt x="83" y="1188"/>
                  </a:moveTo>
                  <a:lnTo>
                    <a:pt x="83" y="1194"/>
                  </a:lnTo>
                  <a:lnTo>
                    <a:pt x="87" y="1194"/>
                  </a:lnTo>
                  <a:lnTo>
                    <a:pt x="89" y="1198"/>
                  </a:lnTo>
                  <a:lnTo>
                    <a:pt x="96" y="1200"/>
                  </a:lnTo>
                  <a:lnTo>
                    <a:pt x="93" y="1202"/>
                  </a:lnTo>
                  <a:lnTo>
                    <a:pt x="89" y="1202"/>
                  </a:lnTo>
                  <a:lnTo>
                    <a:pt x="87" y="1205"/>
                  </a:lnTo>
                  <a:lnTo>
                    <a:pt x="89" y="1205"/>
                  </a:lnTo>
                  <a:lnTo>
                    <a:pt x="87" y="1211"/>
                  </a:lnTo>
                  <a:lnTo>
                    <a:pt x="89" y="1211"/>
                  </a:lnTo>
                  <a:lnTo>
                    <a:pt x="93" y="1211"/>
                  </a:lnTo>
                  <a:lnTo>
                    <a:pt x="93" y="1215"/>
                  </a:lnTo>
                  <a:lnTo>
                    <a:pt x="96" y="1215"/>
                  </a:lnTo>
                  <a:lnTo>
                    <a:pt x="96" y="1217"/>
                  </a:lnTo>
                  <a:lnTo>
                    <a:pt x="100" y="1220"/>
                  </a:lnTo>
                  <a:lnTo>
                    <a:pt x="104" y="1219"/>
                  </a:lnTo>
                  <a:lnTo>
                    <a:pt x="98" y="1224"/>
                  </a:lnTo>
                  <a:lnTo>
                    <a:pt x="102" y="1228"/>
                  </a:lnTo>
                  <a:lnTo>
                    <a:pt x="104" y="1228"/>
                  </a:lnTo>
                  <a:lnTo>
                    <a:pt x="104" y="1224"/>
                  </a:lnTo>
                  <a:lnTo>
                    <a:pt x="109" y="1222"/>
                  </a:lnTo>
                  <a:lnTo>
                    <a:pt x="108" y="1228"/>
                  </a:lnTo>
                  <a:lnTo>
                    <a:pt x="106" y="1230"/>
                  </a:lnTo>
                  <a:lnTo>
                    <a:pt x="106" y="1234"/>
                  </a:lnTo>
                  <a:lnTo>
                    <a:pt x="108" y="1234"/>
                  </a:lnTo>
                  <a:lnTo>
                    <a:pt x="108" y="1235"/>
                  </a:lnTo>
                  <a:lnTo>
                    <a:pt x="113" y="1235"/>
                  </a:lnTo>
                  <a:lnTo>
                    <a:pt x="113" y="1239"/>
                  </a:lnTo>
                  <a:lnTo>
                    <a:pt x="117" y="1239"/>
                  </a:lnTo>
                  <a:lnTo>
                    <a:pt x="117" y="1245"/>
                  </a:lnTo>
                  <a:lnTo>
                    <a:pt x="117" y="1247"/>
                  </a:lnTo>
                  <a:lnTo>
                    <a:pt x="121" y="1251"/>
                  </a:lnTo>
                  <a:lnTo>
                    <a:pt x="123" y="1247"/>
                  </a:lnTo>
                  <a:lnTo>
                    <a:pt x="126" y="1249"/>
                  </a:lnTo>
                  <a:lnTo>
                    <a:pt x="128" y="1249"/>
                  </a:lnTo>
                  <a:lnTo>
                    <a:pt x="123" y="1254"/>
                  </a:lnTo>
                  <a:lnTo>
                    <a:pt x="130" y="1262"/>
                  </a:lnTo>
                  <a:lnTo>
                    <a:pt x="132" y="1264"/>
                  </a:lnTo>
                  <a:lnTo>
                    <a:pt x="134" y="1266"/>
                  </a:lnTo>
                  <a:lnTo>
                    <a:pt x="147" y="1271"/>
                  </a:lnTo>
                  <a:lnTo>
                    <a:pt x="147" y="1269"/>
                  </a:lnTo>
                  <a:lnTo>
                    <a:pt x="151" y="1269"/>
                  </a:lnTo>
                  <a:lnTo>
                    <a:pt x="147" y="1262"/>
                  </a:lnTo>
                  <a:lnTo>
                    <a:pt x="147" y="1256"/>
                  </a:lnTo>
                  <a:lnTo>
                    <a:pt x="147" y="1254"/>
                  </a:lnTo>
                  <a:lnTo>
                    <a:pt x="147" y="1247"/>
                  </a:lnTo>
                  <a:lnTo>
                    <a:pt x="145" y="1241"/>
                  </a:lnTo>
                  <a:lnTo>
                    <a:pt x="138" y="1235"/>
                  </a:lnTo>
                  <a:lnTo>
                    <a:pt x="136" y="1226"/>
                  </a:lnTo>
                  <a:lnTo>
                    <a:pt x="132" y="1219"/>
                  </a:lnTo>
                  <a:lnTo>
                    <a:pt x="132" y="1215"/>
                  </a:lnTo>
                  <a:lnTo>
                    <a:pt x="128" y="1211"/>
                  </a:lnTo>
                  <a:lnTo>
                    <a:pt x="126" y="1211"/>
                  </a:lnTo>
                  <a:lnTo>
                    <a:pt x="121" y="1205"/>
                  </a:lnTo>
                  <a:lnTo>
                    <a:pt x="117" y="1205"/>
                  </a:lnTo>
                  <a:lnTo>
                    <a:pt x="111" y="1205"/>
                  </a:lnTo>
                  <a:lnTo>
                    <a:pt x="109" y="1202"/>
                  </a:lnTo>
                  <a:lnTo>
                    <a:pt x="104" y="1200"/>
                  </a:lnTo>
                  <a:lnTo>
                    <a:pt x="100" y="1196"/>
                  </a:lnTo>
                  <a:lnTo>
                    <a:pt x="100" y="1192"/>
                  </a:lnTo>
                  <a:lnTo>
                    <a:pt x="96" y="1192"/>
                  </a:lnTo>
                  <a:lnTo>
                    <a:pt x="93" y="1188"/>
                  </a:lnTo>
                  <a:lnTo>
                    <a:pt x="89" y="1186"/>
                  </a:lnTo>
                  <a:lnTo>
                    <a:pt x="89" y="1188"/>
                  </a:lnTo>
                  <a:lnTo>
                    <a:pt x="83" y="1188"/>
                  </a:lnTo>
                  <a:lnTo>
                    <a:pt x="83" y="1188"/>
                  </a:lnTo>
                  <a:lnTo>
                    <a:pt x="83" y="1188"/>
                  </a:lnTo>
                  <a:lnTo>
                    <a:pt x="83" y="1188"/>
                  </a:lnTo>
                  <a:close/>
                  <a:moveTo>
                    <a:pt x="117" y="1196"/>
                  </a:moveTo>
                  <a:lnTo>
                    <a:pt x="121" y="1196"/>
                  </a:lnTo>
                  <a:lnTo>
                    <a:pt x="121" y="1194"/>
                  </a:lnTo>
                  <a:lnTo>
                    <a:pt x="123" y="1196"/>
                  </a:lnTo>
                  <a:lnTo>
                    <a:pt x="121" y="1200"/>
                  </a:lnTo>
                  <a:lnTo>
                    <a:pt x="117" y="1200"/>
                  </a:lnTo>
                  <a:lnTo>
                    <a:pt x="117" y="1196"/>
                  </a:lnTo>
                  <a:lnTo>
                    <a:pt x="117" y="1196"/>
                  </a:lnTo>
                  <a:lnTo>
                    <a:pt x="117" y="1196"/>
                  </a:lnTo>
                  <a:lnTo>
                    <a:pt x="117" y="1196"/>
                  </a:lnTo>
                  <a:close/>
                  <a:moveTo>
                    <a:pt x="113" y="1194"/>
                  </a:moveTo>
                  <a:lnTo>
                    <a:pt x="117" y="1190"/>
                  </a:lnTo>
                  <a:lnTo>
                    <a:pt x="117" y="1194"/>
                  </a:lnTo>
                  <a:lnTo>
                    <a:pt x="113" y="1194"/>
                  </a:lnTo>
                  <a:lnTo>
                    <a:pt x="113" y="1194"/>
                  </a:lnTo>
                  <a:lnTo>
                    <a:pt x="113" y="1194"/>
                  </a:lnTo>
                  <a:lnTo>
                    <a:pt x="113" y="1194"/>
                  </a:lnTo>
                  <a:close/>
                  <a:moveTo>
                    <a:pt x="93" y="1113"/>
                  </a:moveTo>
                  <a:lnTo>
                    <a:pt x="93" y="1117"/>
                  </a:lnTo>
                  <a:lnTo>
                    <a:pt x="96" y="1115"/>
                  </a:lnTo>
                  <a:lnTo>
                    <a:pt x="93" y="1113"/>
                  </a:lnTo>
                  <a:lnTo>
                    <a:pt x="93" y="1113"/>
                  </a:lnTo>
                  <a:lnTo>
                    <a:pt x="93" y="1113"/>
                  </a:lnTo>
                  <a:lnTo>
                    <a:pt x="93" y="1113"/>
                  </a:lnTo>
                  <a:close/>
                  <a:moveTo>
                    <a:pt x="102" y="1151"/>
                  </a:moveTo>
                  <a:lnTo>
                    <a:pt x="102" y="1147"/>
                  </a:lnTo>
                  <a:lnTo>
                    <a:pt x="104" y="1147"/>
                  </a:lnTo>
                  <a:lnTo>
                    <a:pt x="104" y="1147"/>
                  </a:lnTo>
                  <a:lnTo>
                    <a:pt x="104" y="1151"/>
                  </a:lnTo>
                  <a:lnTo>
                    <a:pt x="102" y="1151"/>
                  </a:lnTo>
                  <a:lnTo>
                    <a:pt x="102" y="1151"/>
                  </a:lnTo>
                  <a:lnTo>
                    <a:pt x="102" y="1151"/>
                  </a:lnTo>
                  <a:lnTo>
                    <a:pt x="102" y="1151"/>
                  </a:lnTo>
                  <a:close/>
                  <a:moveTo>
                    <a:pt x="100" y="1162"/>
                  </a:moveTo>
                  <a:lnTo>
                    <a:pt x="98" y="1164"/>
                  </a:lnTo>
                  <a:lnTo>
                    <a:pt x="98" y="1168"/>
                  </a:lnTo>
                  <a:lnTo>
                    <a:pt x="100" y="1170"/>
                  </a:lnTo>
                  <a:lnTo>
                    <a:pt x="102" y="1164"/>
                  </a:lnTo>
                  <a:lnTo>
                    <a:pt x="100" y="1162"/>
                  </a:lnTo>
                  <a:lnTo>
                    <a:pt x="100" y="1162"/>
                  </a:lnTo>
                  <a:lnTo>
                    <a:pt x="100" y="1162"/>
                  </a:lnTo>
                  <a:lnTo>
                    <a:pt x="100" y="1162"/>
                  </a:lnTo>
                  <a:close/>
                  <a:moveTo>
                    <a:pt x="104" y="1156"/>
                  </a:moveTo>
                  <a:lnTo>
                    <a:pt x="108" y="1153"/>
                  </a:lnTo>
                  <a:lnTo>
                    <a:pt x="106" y="1151"/>
                  </a:lnTo>
                  <a:lnTo>
                    <a:pt x="100" y="1153"/>
                  </a:lnTo>
                  <a:lnTo>
                    <a:pt x="100" y="1156"/>
                  </a:lnTo>
                  <a:lnTo>
                    <a:pt x="102" y="1156"/>
                  </a:lnTo>
                  <a:lnTo>
                    <a:pt x="102" y="1156"/>
                  </a:lnTo>
                  <a:lnTo>
                    <a:pt x="104" y="1156"/>
                  </a:lnTo>
                  <a:lnTo>
                    <a:pt x="104" y="1156"/>
                  </a:lnTo>
                  <a:lnTo>
                    <a:pt x="104" y="1156"/>
                  </a:lnTo>
                  <a:lnTo>
                    <a:pt x="104" y="1156"/>
                  </a:lnTo>
                  <a:close/>
                  <a:moveTo>
                    <a:pt x="108" y="1153"/>
                  </a:moveTo>
                  <a:lnTo>
                    <a:pt x="113" y="1147"/>
                  </a:lnTo>
                  <a:lnTo>
                    <a:pt x="113" y="1147"/>
                  </a:lnTo>
                  <a:lnTo>
                    <a:pt x="117" y="1145"/>
                  </a:lnTo>
                  <a:lnTo>
                    <a:pt x="123" y="1143"/>
                  </a:lnTo>
                  <a:lnTo>
                    <a:pt x="121" y="1145"/>
                  </a:lnTo>
                  <a:lnTo>
                    <a:pt x="117" y="1151"/>
                  </a:lnTo>
                  <a:lnTo>
                    <a:pt x="113" y="1151"/>
                  </a:lnTo>
                  <a:lnTo>
                    <a:pt x="109" y="1153"/>
                  </a:lnTo>
                  <a:lnTo>
                    <a:pt x="108" y="1153"/>
                  </a:lnTo>
                  <a:lnTo>
                    <a:pt x="108" y="1153"/>
                  </a:lnTo>
                  <a:lnTo>
                    <a:pt x="108" y="1153"/>
                  </a:lnTo>
                  <a:lnTo>
                    <a:pt x="108" y="1153"/>
                  </a:lnTo>
                  <a:close/>
                  <a:moveTo>
                    <a:pt x="106" y="1134"/>
                  </a:moveTo>
                  <a:lnTo>
                    <a:pt x="106" y="1130"/>
                  </a:lnTo>
                  <a:lnTo>
                    <a:pt x="108" y="1126"/>
                  </a:lnTo>
                  <a:lnTo>
                    <a:pt x="109" y="1130"/>
                  </a:lnTo>
                  <a:lnTo>
                    <a:pt x="106" y="1132"/>
                  </a:lnTo>
                  <a:lnTo>
                    <a:pt x="106" y="1132"/>
                  </a:lnTo>
                  <a:lnTo>
                    <a:pt x="106" y="1134"/>
                  </a:lnTo>
                  <a:lnTo>
                    <a:pt x="106" y="1134"/>
                  </a:lnTo>
                  <a:lnTo>
                    <a:pt x="106" y="1134"/>
                  </a:lnTo>
                  <a:lnTo>
                    <a:pt x="106" y="1134"/>
                  </a:lnTo>
                  <a:close/>
                  <a:moveTo>
                    <a:pt x="96" y="1132"/>
                  </a:moveTo>
                  <a:lnTo>
                    <a:pt x="102" y="1134"/>
                  </a:lnTo>
                  <a:lnTo>
                    <a:pt x="102" y="1132"/>
                  </a:lnTo>
                  <a:lnTo>
                    <a:pt x="102" y="1130"/>
                  </a:lnTo>
                  <a:lnTo>
                    <a:pt x="96" y="1132"/>
                  </a:lnTo>
                  <a:lnTo>
                    <a:pt x="96" y="1132"/>
                  </a:lnTo>
                  <a:lnTo>
                    <a:pt x="96" y="1132"/>
                  </a:lnTo>
                  <a:lnTo>
                    <a:pt x="96" y="1132"/>
                  </a:lnTo>
                  <a:close/>
                  <a:moveTo>
                    <a:pt x="93" y="1121"/>
                  </a:moveTo>
                  <a:lnTo>
                    <a:pt x="93" y="1128"/>
                  </a:lnTo>
                  <a:lnTo>
                    <a:pt x="93" y="1130"/>
                  </a:lnTo>
                  <a:lnTo>
                    <a:pt x="93" y="1132"/>
                  </a:lnTo>
                  <a:lnTo>
                    <a:pt x="96" y="1128"/>
                  </a:lnTo>
                  <a:lnTo>
                    <a:pt x="96" y="1126"/>
                  </a:lnTo>
                  <a:lnTo>
                    <a:pt x="93" y="1121"/>
                  </a:lnTo>
                  <a:lnTo>
                    <a:pt x="93" y="1121"/>
                  </a:lnTo>
                  <a:lnTo>
                    <a:pt x="93" y="1121"/>
                  </a:lnTo>
                  <a:lnTo>
                    <a:pt x="93" y="1121"/>
                  </a:lnTo>
                  <a:close/>
                  <a:moveTo>
                    <a:pt x="96" y="1117"/>
                  </a:moveTo>
                  <a:lnTo>
                    <a:pt x="96" y="1121"/>
                  </a:lnTo>
                  <a:lnTo>
                    <a:pt x="96" y="1121"/>
                  </a:lnTo>
                  <a:lnTo>
                    <a:pt x="96" y="1122"/>
                  </a:lnTo>
                  <a:lnTo>
                    <a:pt x="100" y="1126"/>
                  </a:lnTo>
                  <a:lnTo>
                    <a:pt x="104" y="1121"/>
                  </a:lnTo>
                  <a:lnTo>
                    <a:pt x="102" y="1126"/>
                  </a:lnTo>
                  <a:lnTo>
                    <a:pt x="102" y="1128"/>
                  </a:lnTo>
                  <a:lnTo>
                    <a:pt x="106" y="1126"/>
                  </a:lnTo>
                  <a:lnTo>
                    <a:pt x="106" y="1117"/>
                  </a:lnTo>
                  <a:lnTo>
                    <a:pt x="102" y="1115"/>
                  </a:lnTo>
                  <a:lnTo>
                    <a:pt x="98" y="1115"/>
                  </a:lnTo>
                  <a:lnTo>
                    <a:pt x="96" y="1117"/>
                  </a:lnTo>
                  <a:lnTo>
                    <a:pt x="96" y="1117"/>
                  </a:lnTo>
                  <a:lnTo>
                    <a:pt x="96" y="1117"/>
                  </a:lnTo>
                  <a:lnTo>
                    <a:pt x="96" y="1117"/>
                  </a:lnTo>
                  <a:close/>
                  <a:moveTo>
                    <a:pt x="96" y="1111"/>
                  </a:moveTo>
                  <a:lnTo>
                    <a:pt x="96" y="1113"/>
                  </a:lnTo>
                  <a:lnTo>
                    <a:pt x="98" y="1111"/>
                  </a:lnTo>
                  <a:lnTo>
                    <a:pt x="96" y="1109"/>
                  </a:lnTo>
                  <a:lnTo>
                    <a:pt x="96" y="1111"/>
                  </a:lnTo>
                  <a:lnTo>
                    <a:pt x="96" y="1111"/>
                  </a:lnTo>
                  <a:lnTo>
                    <a:pt x="96" y="1111"/>
                  </a:lnTo>
                  <a:lnTo>
                    <a:pt x="96" y="1111"/>
                  </a:lnTo>
                  <a:close/>
                  <a:moveTo>
                    <a:pt x="102" y="1104"/>
                  </a:moveTo>
                  <a:lnTo>
                    <a:pt x="102" y="1100"/>
                  </a:lnTo>
                  <a:lnTo>
                    <a:pt x="108" y="1098"/>
                  </a:lnTo>
                  <a:lnTo>
                    <a:pt x="109" y="1098"/>
                  </a:lnTo>
                  <a:lnTo>
                    <a:pt x="108" y="1100"/>
                  </a:lnTo>
                  <a:lnTo>
                    <a:pt x="104" y="1102"/>
                  </a:lnTo>
                  <a:lnTo>
                    <a:pt x="102" y="1104"/>
                  </a:lnTo>
                  <a:lnTo>
                    <a:pt x="102" y="1104"/>
                  </a:lnTo>
                  <a:lnTo>
                    <a:pt x="102" y="1104"/>
                  </a:lnTo>
                  <a:lnTo>
                    <a:pt x="102" y="1104"/>
                  </a:lnTo>
                  <a:close/>
                  <a:moveTo>
                    <a:pt x="79" y="1092"/>
                  </a:moveTo>
                  <a:lnTo>
                    <a:pt x="87" y="1102"/>
                  </a:lnTo>
                  <a:lnTo>
                    <a:pt x="89" y="1107"/>
                  </a:lnTo>
                  <a:lnTo>
                    <a:pt x="89" y="1111"/>
                  </a:lnTo>
                  <a:lnTo>
                    <a:pt x="83" y="1109"/>
                  </a:lnTo>
                  <a:lnTo>
                    <a:pt x="83" y="1105"/>
                  </a:lnTo>
                  <a:lnTo>
                    <a:pt x="79" y="1100"/>
                  </a:lnTo>
                  <a:lnTo>
                    <a:pt x="77" y="1096"/>
                  </a:lnTo>
                  <a:lnTo>
                    <a:pt x="77" y="1096"/>
                  </a:lnTo>
                  <a:lnTo>
                    <a:pt x="79" y="1092"/>
                  </a:lnTo>
                  <a:lnTo>
                    <a:pt x="79" y="1092"/>
                  </a:lnTo>
                  <a:lnTo>
                    <a:pt x="79" y="1092"/>
                  </a:lnTo>
                  <a:lnTo>
                    <a:pt x="79" y="1092"/>
                  </a:lnTo>
                  <a:close/>
                  <a:moveTo>
                    <a:pt x="87" y="1090"/>
                  </a:moveTo>
                  <a:lnTo>
                    <a:pt x="87" y="1096"/>
                  </a:lnTo>
                  <a:lnTo>
                    <a:pt x="89" y="1098"/>
                  </a:lnTo>
                  <a:lnTo>
                    <a:pt x="89" y="1104"/>
                  </a:lnTo>
                  <a:lnTo>
                    <a:pt x="93" y="1107"/>
                  </a:lnTo>
                  <a:lnTo>
                    <a:pt x="96" y="1102"/>
                  </a:lnTo>
                  <a:lnTo>
                    <a:pt x="93" y="1092"/>
                  </a:lnTo>
                  <a:lnTo>
                    <a:pt x="89" y="1090"/>
                  </a:lnTo>
                  <a:lnTo>
                    <a:pt x="89" y="1087"/>
                  </a:lnTo>
                  <a:lnTo>
                    <a:pt x="87" y="1090"/>
                  </a:lnTo>
                  <a:lnTo>
                    <a:pt x="87" y="1090"/>
                  </a:lnTo>
                  <a:lnTo>
                    <a:pt x="87" y="1090"/>
                  </a:lnTo>
                  <a:lnTo>
                    <a:pt x="87" y="1090"/>
                  </a:lnTo>
                  <a:close/>
                  <a:moveTo>
                    <a:pt x="79" y="1083"/>
                  </a:moveTo>
                  <a:lnTo>
                    <a:pt x="83" y="1083"/>
                  </a:lnTo>
                  <a:lnTo>
                    <a:pt x="83" y="1087"/>
                  </a:lnTo>
                  <a:lnTo>
                    <a:pt x="89" y="1087"/>
                  </a:lnTo>
                  <a:lnTo>
                    <a:pt x="89" y="1083"/>
                  </a:lnTo>
                  <a:lnTo>
                    <a:pt x="87" y="1079"/>
                  </a:lnTo>
                  <a:lnTo>
                    <a:pt x="83" y="1083"/>
                  </a:lnTo>
                  <a:lnTo>
                    <a:pt x="79" y="1083"/>
                  </a:lnTo>
                  <a:lnTo>
                    <a:pt x="79" y="1083"/>
                  </a:lnTo>
                  <a:lnTo>
                    <a:pt x="79" y="1083"/>
                  </a:lnTo>
                  <a:lnTo>
                    <a:pt x="79" y="1083"/>
                  </a:lnTo>
                  <a:close/>
                  <a:moveTo>
                    <a:pt x="40" y="1087"/>
                  </a:moveTo>
                  <a:lnTo>
                    <a:pt x="40" y="1081"/>
                  </a:lnTo>
                  <a:lnTo>
                    <a:pt x="45" y="1070"/>
                  </a:lnTo>
                  <a:lnTo>
                    <a:pt x="51" y="1072"/>
                  </a:lnTo>
                  <a:lnTo>
                    <a:pt x="51" y="1077"/>
                  </a:lnTo>
                  <a:lnTo>
                    <a:pt x="53" y="1075"/>
                  </a:lnTo>
                  <a:lnTo>
                    <a:pt x="55" y="1073"/>
                  </a:lnTo>
                  <a:lnTo>
                    <a:pt x="59" y="1075"/>
                  </a:lnTo>
                  <a:lnTo>
                    <a:pt x="59" y="1077"/>
                  </a:lnTo>
                  <a:lnTo>
                    <a:pt x="59" y="1083"/>
                  </a:lnTo>
                  <a:lnTo>
                    <a:pt x="55" y="1083"/>
                  </a:lnTo>
                  <a:lnTo>
                    <a:pt x="47" y="1087"/>
                  </a:lnTo>
                  <a:lnTo>
                    <a:pt x="49" y="1090"/>
                  </a:lnTo>
                  <a:lnTo>
                    <a:pt x="49" y="1090"/>
                  </a:lnTo>
                  <a:lnTo>
                    <a:pt x="55" y="1090"/>
                  </a:lnTo>
                  <a:lnTo>
                    <a:pt x="57" y="1083"/>
                  </a:lnTo>
                  <a:lnTo>
                    <a:pt x="62" y="1079"/>
                  </a:lnTo>
                  <a:lnTo>
                    <a:pt x="68" y="1077"/>
                  </a:lnTo>
                  <a:lnTo>
                    <a:pt x="68" y="1077"/>
                  </a:lnTo>
                  <a:lnTo>
                    <a:pt x="62" y="1083"/>
                  </a:lnTo>
                  <a:lnTo>
                    <a:pt x="59" y="1090"/>
                  </a:lnTo>
                  <a:lnTo>
                    <a:pt x="57" y="1092"/>
                  </a:lnTo>
                  <a:lnTo>
                    <a:pt x="57" y="1100"/>
                  </a:lnTo>
                  <a:lnTo>
                    <a:pt x="53" y="1104"/>
                  </a:lnTo>
                  <a:lnTo>
                    <a:pt x="49" y="1104"/>
                  </a:lnTo>
                  <a:lnTo>
                    <a:pt x="47" y="1107"/>
                  </a:lnTo>
                  <a:lnTo>
                    <a:pt x="49" y="1107"/>
                  </a:lnTo>
                  <a:lnTo>
                    <a:pt x="53" y="1105"/>
                  </a:lnTo>
                  <a:lnTo>
                    <a:pt x="57" y="1105"/>
                  </a:lnTo>
                  <a:lnTo>
                    <a:pt x="57" y="1111"/>
                  </a:lnTo>
                  <a:lnTo>
                    <a:pt x="51" y="1111"/>
                  </a:lnTo>
                  <a:lnTo>
                    <a:pt x="49" y="1115"/>
                  </a:lnTo>
                  <a:lnTo>
                    <a:pt x="51" y="1117"/>
                  </a:lnTo>
                  <a:lnTo>
                    <a:pt x="49" y="1122"/>
                  </a:lnTo>
                  <a:lnTo>
                    <a:pt x="51" y="1130"/>
                  </a:lnTo>
                  <a:lnTo>
                    <a:pt x="53" y="1134"/>
                  </a:lnTo>
                  <a:lnTo>
                    <a:pt x="57" y="1134"/>
                  </a:lnTo>
                  <a:lnTo>
                    <a:pt x="57" y="1138"/>
                  </a:lnTo>
                  <a:lnTo>
                    <a:pt x="55" y="1139"/>
                  </a:lnTo>
                  <a:lnTo>
                    <a:pt x="51" y="1139"/>
                  </a:lnTo>
                  <a:lnTo>
                    <a:pt x="44" y="1126"/>
                  </a:lnTo>
                  <a:lnTo>
                    <a:pt x="44" y="1121"/>
                  </a:lnTo>
                  <a:lnTo>
                    <a:pt x="45" y="1121"/>
                  </a:lnTo>
                  <a:lnTo>
                    <a:pt x="40" y="1117"/>
                  </a:lnTo>
                  <a:lnTo>
                    <a:pt x="40" y="1115"/>
                  </a:lnTo>
                  <a:lnTo>
                    <a:pt x="42" y="1113"/>
                  </a:lnTo>
                  <a:lnTo>
                    <a:pt x="45" y="1113"/>
                  </a:lnTo>
                  <a:lnTo>
                    <a:pt x="42" y="1109"/>
                  </a:lnTo>
                  <a:lnTo>
                    <a:pt x="40" y="1109"/>
                  </a:lnTo>
                  <a:lnTo>
                    <a:pt x="42" y="1104"/>
                  </a:lnTo>
                  <a:lnTo>
                    <a:pt x="38" y="1102"/>
                  </a:lnTo>
                  <a:lnTo>
                    <a:pt x="40" y="1098"/>
                  </a:lnTo>
                  <a:lnTo>
                    <a:pt x="42" y="1100"/>
                  </a:lnTo>
                  <a:lnTo>
                    <a:pt x="44" y="1100"/>
                  </a:lnTo>
                  <a:lnTo>
                    <a:pt x="44" y="1096"/>
                  </a:lnTo>
                  <a:lnTo>
                    <a:pt x="42" y="1096"/>
                  </a:lnTo>
                  <a:lnTo>
                    <a:pt x="38" y="1092"/>
                  </a:lnTo>
                  <a:lnTo>
                    <a:pt x="38" y="1090"/>
                  </a:lnTo>
                  <a:lnTo>
                    <a:pt x="40" y="1087"/>
                  </a:lnTo>
                  <a:lnTo>
                    <a:pt x="40" y="1087"/>
                  </a:lnTo>
                  <a:lnTo>
                    <a:pt x="40" y="1087"/>
                  </a:lnTo>
                  <a:lnTo>
                    <a:pt x="40" y="1087"/>
                  </a:lnTo>
                  <a:close/>
                  <a:moveTo>
                    <a:pt x="87" y="1068"/>
                  </a:moveTo>
                  <a:lnTo>
                    <a:pt x="83" y="1062"/>
                  </a:lnTo>
                  <a:lnTo>
                    <a:pt x="89" y="1062"/>
                  </a:lnTo>
                  <a:lnTo>
                    <a:pt x="89" y="1066"/>
                  </a:lnTo>
                  <a:lnTo>
                    <a:pt x="87" y="1068"/>
                  </a:lnTo>
                  <a:lnTo>
                    <a:pt x="87" y="1068"/>
                  </a:lnTo>
                  <a:lnTo>
                    <a:pt x="87" y="1068"/>
                  </a:lnTo>
                  <a:lnTo>
                    <a:pt x="87" y="1068"/>
                  </a:lnTo>
                  <a:close/>
                  <a:moveTo>
                    <a:pt x="461" y="501"/>
                  </a:moveTo>
                  <a:lnTo>
                    <a:pt x="463" y="505"/>
                  </a:lnTo>
                  <a:lnTo>
                    <a:pt x="465" y="503"/>
                  </a:lnTo>
                  <a:lnTo>
                    <a:pt x="465" y="501"/>
                  </a:lnTo>
                  <a:lnTo>
                    <a:pt x="467" y="501"/>
                  </a:lnTo>
                  <a:lnTo>
                    <a:pt x="463" y="499"/>
                  </a:lnTo>
                  <a:lnTo>
                    <a:pt x="461" y="501"/>
                  </a:lnTo>
                  <a:lnTo>
                    <a:pt x="461" y="501"/>
                  </a:lnTo>
                  <a:lnTo>
                    <a:pt x="461" y="501"/>
                  </a:lnTo>
                  <a:lnTo>
                    <a:pt x="461" y="501"/>
                  </a:lnTo>
                  <a:close/>
                  <a:moveTo>
                    <a:pt x="426" y="465"/>
                  </a:moveTo>
                  <a:lnTo>
                    <a:pt x="428" y="467"/>
                  </a:lnTo>
                  <a:lnTo>
                    <a:pt x="431" y="465"/>
                  </a:lnTo>
                  <a:lnTo>
                    <a:pt x="431" y="463"/>
                  </a:lnTo>
                  <a:lnTo>
                    <a:pt x="428" y="463"/>
                  </a:lnTo>
                  <a:lnTo>
                    <a:pt x="426" y="465"/>
                  </a:lnTo>
                  <a:lnTo>
                    <a:pt x="426" y="465"/>
                  </a:lnTo>
                  <a:lnTo>
                    <a:pt x="426" y="465"/>
                  </a:lnTo>
                  <a:lnTo>
                    <a:pt x="426" y="465"/>
                  </a:lnTo>
                  <a:close/>
                  <a:moveTo>
                    <a:pt x="296" y="478"/>
                  </a:moveTo>
                  <a:lnTo>
                    <a:pt x="298" y="478"/>
                  </a:lnTo>
                  <a:lnTo>
                    <a:pt x="300" y="476"/>
                  </a:lnTo>
                  <a:lnTo>
                    <a:pt x="298" y="474"/>
                  </a:lnTo>
                  <a:lnTo>
                    <a:pt x="298" y="474"/>
                  </a:lnTo>
                  <a:lnTo>
                    <a:pt x="296" y="478"/>
                  </a:lnTo>
                  <a:lnTo>
                    <a:pt x="296" y="478"/>
                  </a:lnTo>
                  <a:lnTo>
                    <a:pt x="296" y="478"/>
                  </a:lnTo>
                  <a:lnTo>
                    <a:pt x="296" y="478"/>
                  </a:lnTo>
                  <a:close/>
                  <a:moveTo>
                    <a:pt x="296" y="484"/>
                  </a:moveTo>
                  <a:lnTo>
                    <a:pt x="294" y="482"/>
                  </a:lnTo>
                  <a:lnTo>
                    <a:pt x="296" y="482"/>
                  </a:lnTo>
                  <a:lnTo>
                    <a:pt x="298" y="484"/>
                  </a:lnTo>
                  <a:lnTo>
                    <a:pt x="296" y="484"/>
                  </a:lnTo>
                  <a:lnTo>
                    <a:pt x="296" y="484"/>
                  </a:lnTo>
                  <a:lnTo>
                    <a:pt x="296" y="484"/>
                  </a:lnTo>
                  <a:lnTo>
                    <a:pt x="296" y="484"/>
                  </a:lnTo>
                  <a:close/>
                  <a:moveTo>
                    <a:pt x="288" y="495"/>
                  </a:moveTo>
                  <a:lnTo>
                    <a:pt x="288" y="501"/>
                  </a:lnTo>
                  <a:lnTo>
                    <a:pt x="288" y="505"/>
                  </a:lnTo>
                  <a:lnTo>
                    <a:pt x="288" y="506"/>
                  </a:lnTo>
                  <a:lnTo>
                    <a:pt x="290" y="508"/>
                  </a:lnTo>
                  <a:lnTo>
                    <a:pt x="294" y="505"/>
                  </a:lnTo>
                  <a:lnTo>
                    <a:pt x="296" y="505"/>
                  </a:lnTo>
                  <a:lnTo>
                    <a:pt x="309" y="493"/>
                  </a:lnTo>
                  <a:lnTo>
                    <a:pt x="315" y="493"/>
                  </a:lnTo>
                  <a:lnTo>
                    <a:pt x="318" y="488"/>
                  </a:lnTo>
                  <a:lnTo>
                    <a:pt x="315" y="488"/>
                  </a:lnTo>
                  <a:lnTo>
                    <a:pt x="313" y="488"/>
                  </a:lnTo>
                  <a:lnTo>
                    <a:pt x="313" y="480"/>
                  </a:lnTo>
                  <a:lnTo>
                    <a:pt x="309" y="482"/>
                  </a:lnTo>
                  <a:lnTo>
                    <a:pt x="307" y="484"/>
                  </a:lnTo>
                  <a:lnTo>
                    <a:pt x="303" y="488"/>
                  </a:lnTo>
                  <a:lnTo>
                    <a:pt x="305" y="490"/>
                  </a:lnTo>
                  <a:lnTo>
                    <a:pt x="301" y="488"/>
                  </a:lnTo>
                  <a:lnTo>
                    <a:pt x="300" y="490"/>
                  </a:lnTo>
                  <a:lnTo>
                    <a:pt x="298" y="493"/>
                  </a:lnTo>
                  <a:lnTo>
                    <a:pt x="296" y="490"/>
                  </a:lnTo>
                  <a:lnTo>
                    <a:pt x="298" y="488"/>
                  </a:lnTo>
                  <a:lnTo>
                    <a:pt x="296" y="488"/>
                  </a:lnTo>
                  <a:lnTo>
                    <a:pt x="294" y="488"/>
                  </a:lnTo>
                  <a:lnTo>
                    <a:pt x="292" y="488"/>
                  </a:lnTo>
                  <a:lnTo>
                    <a:pt x="290" y="493"/>
                  </a:lnTo>
                  <a:lnTo>
                    <a:pt x="288" y="495"/>
                  </a:lnTo>
                  <a:lnTo>
                    <a:pt x="288" y="495"/>
                  </a:lnTo>
                  <a:lnTo>
                    <a:pt x="288" y="495"/>
                  </a:lnTo>
                  <a:lnTo>
                    <a:pt x="288" y="495"/>
                  </a:lnTo>
                  <a:close/>
                  <a:moveTo>
                    <a:pt x="275" y="506"/>
                  </a:moveTo>
                  <a:lnTo>
                    <a:pt x="275" y="503"/>
                  </a:lnTo>
                  <a:lnTo>
                    <a:pt x="275" y="495"/>
                  </a:lnTo>
                  <a:lnTo>
                    <a:pt x="273" y="499"/>
                  </a:lnTo>
                  <a:lnTo>
                    <a:pt x="271" y="503"/>
                  </a:lnTo>
                  <a:lnTo>
                    <a:pt x="271" y="503"/>
                  </a:lnTo>
                  <a:lnTo>
                    <a:pt x="271" y="505"/>
                  </a:lnTo>
                  <a:lnTo>
                    <a:pt x="271" y="505"/>
                  </a:lnTo>
                  <a:lnTo>
                    <a:pt x="275" y="506"/>
                  </a:lnTo>
                  <a:lnTo>
                    <a:pt x="275" y="506"/>
                  </a:lnTo>
                  <a:lnTo>
                    <a:pt x="275" y="506"/>
                  </a:lnTo>
                  <a:lnTo>
                    <a:pt x="275" y="506"/>
                  </a:lnTo>
                  <a:close/>
                  <a:moveTo>
                    <a:pt x="275" y="508"/>
                  </a:moveTo>
                  <a:lnTo>
                    <a:pt x="279" y="508"/>
                  </a:lnTo>
                  <a:lnTo>
                    <a:pt x="281" y="505"/>
                  </a:lnTo>
                  <a:lnTo>
                    <a:pt x="279" y="501"/>
                  </a:lnTo>
                  <a:lnTo>
                    <a:pt x="279" y="493"/>
                  </a:lnTo>
                  <a:lnTo>
                    <a:pt x="281" y="493"/>
                  </a:lnTo>
                  <a:lnTo>
                    <a:pt x="283" y="493"/>
                  </a:lnTo>
                  <a:lnTo>
                    <a:pt x="284" y="490"/>
                  </a:lnTo>
                  <a:lnTo>
                    <a:pt x="284" y="490"/>
                  </a:lnTo>
                  <a:lnTo>
                    <a:pt x="288" y="493"/>
                  </a:lnTo>
                  <a:lnTo>
                    <a:pt x="284" y="503"/>
                  </a:lnTo>
                  <a:lnTo>
                    <a:pt x="284" y="506"/>
                  </a:lnTo>
                  <a:lnTo>
                    <a:pt x="284" y="508"/>
                  </a:lnTo>
                  <a:lnTo>
                    <a:pt x="281" y="512"/>
                  </a:lnTo>
                  <a:lnTo>
                    <a:pt x="275" y="508"/>
                  </a:lnTo>
                  <a:lnTo>
                    <a:pt x="275" y="508"/>
                  </a:lnTo>
                  <a:lnTo>
                    <a:pt x="275" y="508"/>
                  </a:lnTo>
                  <a:lnTo>
                    <a:pt x="275" y="508"/>
                  </a:lnTo>
                  <a:close/>
                  <a:moveTo>
                    <a:pt x="283" y="527"/>
                  </a:moveTo>
                  <a:lnTo>
                    <a:pt x="284" y="523"/>
                  </a:lnTo>
                  <a:lnTo>
                    <a:pt x="283" y="518"/>
                  </a:lnTo>
                  <a:lnTo>
                    <a:pt x="283" y="514"/>
                  </a:lnTo>
                  <a:lnTo>
                    <a:pt x="279" y="514"/>
                  </a:lnTo>
                  <a:lnTo>
                    <a:pt x="273" y="508"/>
                  </a:lnTo>
                  <a:lnTo>
                    <a:pt x="271" y="508"/>
                  </a:lnTo>
                  <a:lnTo>
                    <a:pt x="271" y="512"/>
                  </a:lnTo>
                  <a:lnTo>
                    <a:pt x="279" y="518"/>
                  </a:lnTo>
                  <a:lnTo>
                    <a:pt x="273" y="514"/>
                  </a:lnTo>
                  <a:lnTo>
                    <a:pt x="273" y="518"/>
                  </a:lnTo>
                  <a:lnTo>
                    <a:pt x="275" y="520"/>
                  </a:lnTo>
                  <a:lnTo>
                    <a:pt x="283" y="527"/>
                  </a:lnTo>
                  <a:lnTo>
                    <a:pt x="283" y="527"/>
                  </a:lnTo>
                  <a:lnTo>
                    <a:pt x="283" y="527"/>
                  </a:lnTo>
                  <a:lnTo>
                    <a:pt x="283" y="527"/>
                  </a:lnTo>
                  <a:close/>
                  <a:moveTo>
                    <a:pt x="241" y="459"/>
                  </a:moveTo>
                  <a:lnTo>
                    <a:pt x="243" y="465"/>
                  </a:lnTo>
                  <a:lnTo>
                    <a:pt x="245" y="463"/>
                  </a:lnTo>
                  <a:lnTo>
                    <a:pt x="249" y="465"/>
                  </a:lnTo>
                  <a:lnTo>
                    <a:pt x="251" y="465"/>
                  </a:lnTo>
                  <a:lnTo>
                    <a:pt x="247" y="459"/>
                  </a:lnTo>
                  <a:lnTo>
                    <a:pt x="243" y="459"/>
                  </a:lnTo>
                  <a:lnTo>
                    <a:pt x="241" y="459"/>
                  </a:lnTo>
                  <a:lnTo>
                    <a:pt x="241" y="459"/>
                  </a:lnTo>
                  <a:lnTo>
                    <a:pt x="241" y="459"/>
                  </a:lnTo>
                  <a:lnTo>
                    <a:pt x="241" y="459"/>
                  </a:lnTo>
                  <a:close/>
                  <a:moveTo>
                    <a:pt x="164" y="1252"/>
                  </a:moveTo>
                  <a:lnTo>
                    <a:pt x="164" y="1252"/>
                  </a:lnTo>
                  <a:lnTo>
                    <a:pt x="160" y="1252"/>
                  </a:lnTo>
                  <a:lnTo>
                    <a:pt x="160" y="1245"/>
                  </a:lnTo>
                  <a:lnTo>
                    <a:pt x="164" y="1239"/>
                  </a:lnTo>
                  <a:lnTo>
                    <a:pt x="164" y="1234"/>
                  </a:lnTo>
                  <a:lnTo>
                    <a:pt x="162" y="1235"/>
                  </a:lnTo>
                  <a:lnTo>
                    <a:pt x="158" y="1239"/>
                  </a:lnTo>
                  <a:lnTo>
                    <a:pt x="153" y="1239"/>
                  </a:lnTo>
                  <a:lnTo>
                    <a:pt x="151" y="1235"/>
                  </a:lnTo>
                  <a:lnTo>
                    <a:pt x="151" y="1232"/>
                  </a:lnTo>
                  <a:lnTo>
                    <a:pt x="151" y="1232"/>
                  </a:lnTo>
                  <a:lnTo>
                    <a:pt x="153" y="1235"/>
                  </a:lnTo>
                  <a:lnTo>
                    <a:pt x="155" y="1235"/>
                  </a:lnTo>
                  <a:lnTo>
                    <a:pt x="155" y="1234"/>
                  </a:lnTo>
                  <a:lnTo>
                    <a:pt x="153" y="1230"/>
                  </a:lnTo>
                  <a:lnTo>
                    <a:pt x="153" y="1228"/>
                  </a:lnTo>
                  <a:lnTo>
                    <a:pt x="151" y="1228"/>
                  </a:lnTo>
                  <a:lnTo>
                    <a:pt x="147" y="1230"/>
                  </a:lnTo>
                  <a:lnTo>
                    <a:pt x="145" y="1226"/>
                  </a:lnTo>
                  <a:lnTo>
                    <a:pt x="141" y="1222"/>
                  </a:lnTo>
                  <a:lnTo>
                    <a:pt x="141" y="1220"/>
                  </a:lnTo>
                  <a:lnTo>
                    <a:pt x="147" y="1217"/>
                  </a:lnTo>
                  <a:lnTo>
                    <a:pt x="147" y="1211"/>
                  </a:lnTo>
                  <a:lnTo>
                    <a:pt x="151" y="1211"/>
                  </a:lnTo>
                  <a:lnTo>
                    <a:pt x="151" y="1211"/>
                  </a:lnTo>
                  <a:lnTo>
                    <a:pt x="147" y="1211"/>
                  </a:lnTo>
                  <a:lnTo>
                    <a:pt x="141" y="1211"/>
                  </a:lnTo>
                  <a:lnTo>
                    <a:pt x="141" y="1209"/>
                  </a:lnTo>
                  <a:lnTo>
                    <a:pt x="141" y="1205"/>
                  </a:lnTo>
                  <a:lnTo>
                    <a:pt x="147" y="1202"/>
                  </a:lnTo>
                  <a:lnTo>
                    <a:pt x="147" y="1196"/>
                  </a:lnTo>
                  <a:lnTo>
                    <a:pt x="147" y="1194"/>
                  </a:lnTo>
                  <a:lnTo>
                    <a:pt x="147" y="1192"/>
                  </a:lnTo>
                  <a:lnTo>
                    <a:pt x="147" y="1192"/>
                  </a:lnTo>
                  <a:lnTo>
                    <a:pt x="145" y="1196"/>
                  </a:lnTo>
                  <a:lnTo>
                    <a:pt x="145" y="1202"/>
                  </a:lnTo>
                  <a:lnTo>
                    <a:pt x="141" y="1209"/>
                  </a:lnTo>
                  <a:lnTo>
                    <a:pt x="138" y="1209"/>
                  </a:lnTo>
                  <a:lnTo>
                    <a:pt x="136" y="1205"/>
                  </a:lnTo>
                  <a:lnTo>
                    <a:pt x="134" y="1205"/>
                  </a:lnTo>
                  <a:lnTo>
                    <a:pt x="134" y="1202"/>
                  </a:lnTo>
                  <a:lnTo>
                    <a:pt x="136" y="1202"/>
                  </a:lnTo>
                  <a:lnTo>
                    <a:pt x="136" y="1202"/>
                  </a:lnTo>
                  <a:lnTo>
                    <a:pt x="132" y="1202"/>
                  </a:lnTo>
                  <a:lnTo>
                    <a:pt x="130" y="1205"/>
                  </a:lnTo>
                  <a:lnTo>
                    <a:pt x="128" y="1205"/>
                  </a:lnTo>
                  <a:lnTo>
                    <a:pt x="128" y="1202"/>
                  </a:lnTo>
                  <a:lnTo>
                    <a:pt x="126" y="1202"/>
                  </a:lnTo>
                  <a:lnTo>
                    <a:pt x="126" y="1205"/>
                  </a:lnTo>
                  <a:lnTo>
                    <a:pt x="121" y="1202"/>
                  </a:lnTo>
                  <a:lnTo>
                    <a:pt x="121" y="1202"/>
                  </a:lnTo>
                  <a:lnTo>
                    <a:pt x="126" y="1200"/>
                  </a:lnTo>
                  <a:lnTo>
                    <a:pt x="126" y="1200"/>
                  </a:lnTo>
                  <a:lnTo>
                    <a:pt x="132" y="1198"/>
                  </a:lnTo>
                  <a:lnTo>
                    <a:pt x="136" y="1194"/>
                  </a:lnTo>
                  <a:lnTo>
                    <a:pt x="138" y="1190"/>
                  </a:lnTo>
                  <a:lnTo>
                    <a:pt x="138" y="1186"/>
                  </a:lnTo>
                  <a:lnTo>
                    <a:pt x="138" y="1190"/>
                  </a:lnTo>
                  <a:lnTo>
                    <a:pt x="134" y="1192"/>
                  </a:lnTo>
                  <a:lnTo>
                    <a:pt x="132" y="1196"/>
                  </a:lnTo>
                  <a:lnTo>
                    <a:pt x="130" y="1198"/>
                  </a:lnTo>
                  <a:lnTo>
                    <a:pt x="126" y="1196"/>
                  </a:lnTo>
                  <a:lnTo>
                    <a:pt x="123" y="1194"/>
                  </a:lnTo>
                  <a:lnTo>
                    <a:pt x="121" y="1192"/>
                  </a:lnTo>
                  <a:lnTo>
                    <a:pt x="121" y="1192"/>
                  </a:lnTo>
                  <a:lnTo>
                    <a:pt x="123" y="1190"/>
                  </a:lnTo>
                  <a:lnTo>
                    <a:pt x="121" y="1188"/>
                  </a:lnTo>
                  <a:lnTo>
                    <a:pt x="117" y="1190"/>
                  </a:lnTo>
                  <a:lnTo>
                    <a:pt x="113" y="1188"/>
                  </a:lnTo>
                  <a:lnTo>
                    <a:pt x="111" y="1188"/>
                  </a:lnTo>
                  <a:lnTo>
                    <a:pt x="111" y="1192"/>
                  </a:lnTo>
                  <a:lnTo>
                    <a:pt x="108" y="1188"/>
                  </a:lnTo>
                  <a:lnTo>
                    <a:pt x="106" y="1185"/>
                  </a:lnTo>
                  <a:lnTo>
                    <a:pt x="106" y="1185"/>
                  </a:lnTo>
                  <a:lnTo>
                    <a:pt x="109" y="1185"/>
                  </a:lnTo>
                  <a:lnTo>
                    <a:pt x="113" y="1186"/>
                  </a:lnTo>
                  <a:lnTo>
                    <a:pt x="117" y="1185"/>
                  </a:lnTo>
                  <a:lnTo>
                    <a:pt x="117" y="1185"/>
                  </a:lnTo>
                  <a:lnTo>
                    <a:pt x="117" y="1185"/>
                  </a:lnTo>
                  <a:lnTo>
                    <a:pt x="111" y="1185"/>
                  </a:lnTo>
                  <a:lnTo>
                    <a:pt x="109" y="1185"/>
                  </a:lnTo>
                  <a:lnTo>
                    <a:pt x="109" y="1181"/>
                  </a:lnTo>
                  <a:lnTo>
                    <a:pt x="113" y="1185"/>
                  </a:lnTo>
                  <a:lnTo>
                    <a:pt x="117" y="1181"/>
                  </a:lnTo>
                  <a:lnTo>
                    <a:pt x="117" y="1181"/>
                  </a:lnTo>
                  <a:lnTo>
                    <a:pt x="113" y="1181"/>
                  </a:lnTo>
                  <a:lnTo>
                    <a:pt x="111" y="1181"/>
                  </a:lnTo>
                  <a:lnTo>
                    <a:pt x="106" y="1181"/>
                  </a:lnTo>
                  <a:lnTo>
                    <a:pt x="104" y="1181"/>
                  </a:lnTo>
                  <a:lnTo>
                    <a:pt x="102" y="1177"/>
                  </a:lnTo>
                  <a:lnTo>
                    <a:pt x="102" y="1177"/>
                  </a:lnTo>
                  <a:lnTo>
                    <a:pt x="106" y="1175"/>
                  </a:lnTo>
                  <a:lnTo>
                    <a:pt x="109" y="1177"/>
                  </a:lnTo>
                  <a:lnTo>
                    <a:pt x="113" y="1177"/>
                  </a:lnTo>
                  <a:lnTo>
                    <a:pt x="113" y="1175"/>
                  </a:lnTo>
                  <a:lnTo>
                    <a:pt x="111" y="1175"/>
                  </a:lnTo>
                  <a:lnTo>
                    <a:pt x="108" y="1171"/>
                  </a:lnTo>
                  <a:lnTo>
                    <a:pt x="104" y="1171"/>
                  </a:lnTo>
                  <a:lnTo>
                    <a:pt x="104" y="1171"/>
                  </a:lnTo>
                  <a:lnTo>
                    <a:pt x="109" y="1171"/>
                  </a:lnTo>
                  <a:lnTo>
                    <a:pt x="111" y="1171"/>
                  </a:lnTo>
                  <a:lnTo>
                    <a:pt x="113" y="1171"/>
                  </a:lnTo>
                  <a:lnTo>
                    <a:pt x="113" y="1170"/>
                  </a:lnTo>
                  <a:lnTo>
                    <a:pt x="113" y="1168"/>
                  </a:lnTo>
                  <a:lnTo>
                    <a:pt x="113" y="1166"/>
                  </a:lnTo>
                  <a:lnTo>
                    <a:pt x="121" y="1166"/>
                  </a:lnTo>
                  <a:lnTo>
                    <a:pt x="123" y="1166"/>
                  </a:lnTo>
                  <a:lnTo>
                    <a:pt x="123" y="1164"/>
                  </a:lnTo>
                  <a:lnTo>
                    <a:pt x="117" y="1164"/>
                  </a:lnTo>
                  <a:lnTo>
                    <a:pt x="117" y="1162"/>
                  </a:lnTo>
                  <a:lnTo>
                    <a:pt x="113" y="1162"/>
                  </a:lnTo>
                  <a:lnTo>
                    <a:pt x="113" y="1164"/>
                  </a:lnTo>
                  <a:lnTo>
                    <a:pt x="109" y="1166"/>
                  </a:lnTo>
                  <a:lnTo>
                    <a:pt x="108" y="1168"/>
                  </a:lnTo>
                  <a:lnTo>
                    <a:pt x="106" y="1166"/>
                  </a:lnTo>
                  <a:lnTo>
                    <a:pt x="106" y="1164"/>
                  </a:lnTo>
                  <a:lnTo>
                    <a:pt x="106" y="1160"/>
                  </a:lnTo>
                  <a:lnTo>
                    <a:pt x="108" y="1160"/>
                  </a:lnTo>
                  <a:lnTo>
                    <a:pt x="111" y="1156"/>
                  </a:lnTo>
                  <a:lnTo>
                    <a:pt x="113" y="1153"/>
                  </a:lnTo>
                  <a:lnTo>
                    <a:pt x="121" y="1147"/>
                  </a:lnTo>
                  <a:lnTo>
                    <a:pt x="126" y="1147"/>
                  </a:lnTo>
                  <a:lnTo>
                    <a:pt x="126" y="1147"/>
                  </a:lnTo>
                  <a:lnTo>
                    <a:pt x="126" y="1153"/>
                  </a:lnTo>
                  <a:lnTo>
                    <a:pt x="128" y="1156"/>
                  </a:lnTo>
                  <a:lnTo>
                    <a:pt x="128" y="1154"/>
                  </a:lnTo>
                  <a:lnTo>
                    <a:pt x="128" y="1151"/>
                  </a:lnTo>
                  <a:lnTo>
                    <a:pt x="128" y="1145"/>
                  </a:lnTo>
                  <a:lnTo>
                    <a:pt x="132" y="1145"/>
                  </a:lnTo>
                  <a:lnTo>
                    <a:pt x="136" y="1145"/>
                  </a:lnTo>
                  <a:lnTo>
                    <a:pt x="132" y="1143"/>
                  </a:lnTo>
                  <a:lnTo>
                    <a:pt x="128" y="1143"/>
                  </a:lnTo>
                  <a:lnTo>
                    <a:pt x="126" y="1145"/>
                  </a:lnTo>
                  <a:lnTo>
                    <a:pt x="123" y="1141"/>
                  </a:lnTo>
                  <a:lnTo>
                    <a:pt x="126" y="1139"/>
                  </a:lnTo>
                  <a:lnTo>
                    <a:pt x="128" y="1138"/>
                  </a:lnTo>
                  <a:lnTo>
                    <a:pt x="132" y="1136"/>
                  </a:lnTo>
                  <a:lnTo>
                    <a:pt x="136" y="1130"/>
                  </a:lnTo>
                  <a:lnTo>
                    <a:pt x="134" y="1126"/>
                  </a:lnTo>
                  <a:lnTo>
                    <a:pt x="134" y="1128"/>
                  </a:lnTo>
                  <a:lnTo>
                    <a:pt x="132" y="1132"/>
                  </a:lnTo>
                  <a:lnTo>
                    <a:pt x="128" y="1134"/>
                  </a:lnTo>
                  <a:lnTo>
                    <a:pt x="126" y="1134"/>
                  </a:lnTo>
                  <a:lnTo>
                    <a:pt x="121" y="1139"/>
                  </a:lnTo>
                  <a:lnTo>
                    <a:pt x="117" y="1143"/>
                  </a:lnTo>
                  <a:lnTo>
                    <a:pt x="111" y="1145"/>
                  </a:lnTo>
                  <a:lnTo>
                    <a:pt x="109" y="1141"/>
                  </a:lnTo>
                  <a:lnTo>
                    <a:pt x="109" y="1139"/>
                  </a:lnTo>
                  <a:lnTo>
                    <a:pt x="113" y="1139"/>
                  </a:lnTo>
                  <a:lnTo>
                    <a:pt x="109" y="1139"/>
                  </a:lnTo>
                  <a:lnTo>
                    <a:pt x="104" y="1141"/>
                  </a:lnTo>
                  <a:lnTo>
                    <a:pt x="102" y="1139"/>
                  </a:lnTo>
                  <a:lnTo>
                    <a:pt x="104" y="1138"/>
                  </a:lnTo>
                  <a:lnTo>
                    <a:pt x="108" y="1134"/>
                  </a:lnTo>
                  <a:lnTo>
                    <a:pt x="111" y="1132"/>
                  </a:lnTo>
                  <a:lnTo>
                    <a:pt x="113" y="1132"/>
                  </a:lnTo>
                  <a:lnTo>
                    <a:pt x="117" y="1132"/>
                  </a:lnTo>
                  <a:lnTo>
                    <a:pt x="117" y="1130"/>
                  </a:lnTo>
                  <a:lnTo>
                    <a:pt x="113" y="1128"/>
                  </a:lnTo>
                  <a:lnTo>
                    <a:pt x="113" y="1126"/>
                  </a:lnTo>
                  <a:lnTo>
                    <a:pt x="117" y="1126"/>
                  </a:lnTo>
                  <a:lnTo>
                    <a:pt x="113" y="1122"/>
                  </a:lnTo>
                  <a:lnTo>
                    <a:pt x="111" y="1126"/>
                  </a:lnTo>
                  <a:lnTo>
                    <a:pt x="109" y="1126"/>
                  </a:lnTo>
                  <a:lnTo>
                    <a:pt x="109" y="1121"/>
                  </a:lnTo>
                  <a:lnTo>
                    <a:pt x="108" y="1115"/>
                  </a:lnTo>
                  <a:lnTo>
                    <a:pt x="106" y="1113"/>
                  </a:lnTo>
                  <a:lnTo>
                    <a:pt x="106" y="1109"/>
                  </a:lnTo>
                  <a:lnTo>
                    <a:pt x="108" y="1105"/>
                  </a:lnTo>
                  <a:lnTo>
                    <a:pt x="113" y="1107"/>
                  </a:lnTo>
                  <a:lnTo>
                    <a:pt x="117" y="1109"/>
                  </a:lnTo>
                  <a:lnTo>
                    <a:pt x="121" y="1107"/>
                  </a:lnTo>
                  <a:lnTo>
                    <a:pt x="123" y="1111"/>
                  </a:lnTo>
                  <a:lnTo>
                    <a:pt x="123" y="1107"/>
                  </a:lnTo>
                  <a:lnTo>
                    <a:pt x="121" y="1107"/>
                  </a:lnTo>
                  <a:lnTo>
                    <a:pt x="117" y="1107"/>
                  </a:lnTo>
                  <a:lnTo>
                    <a:pt x="113" y="1104"/>
                  </a:lnTo>
                  <a:lnTo>
                    <a:pt x="111" y="1102"/>
                  </a:lnTo>
                  <a:lnTo>
                    <a:pt x="111" y="1100"/>
                  </a:lnTo>
                  <a:lnTo>
                    <a:pt x="113" y="1096"/>
                  </a:lnTo>
                  <a:lnTo>
                    <a:pt x="113" y="1096"/>
                  </a:lnTo>
                  <a:lnTo>
                    <a:pt x="117" y="1092"/>
                  </a:lnTo>
                  <a:lnTo>
                    <a:pt x="117" y="1087"/>
                  </a:lnTo>
                  <a:lnTo>
                    <a:pt x="113" y="1090"/>
                  </a:lnTo>
                  <a:lnTo>
                    <a:pt x="111" y="1092"/>
                  </a:lnTo>
                  <a:lnTo>
                    <a:pt x="108" y="1096"/>
                  </a:lnTo>
                  <a:lnTo>
                    <a:pt x="102" y="1096"/>
                  </a:lnTo>
                  <a:lnTo>
                    <a:pt x="100" y="1100"/>
                  </a:lnTo>
                  <a:lnTo>
                    <a:pt x="98" y="1102"/>
                  </a:lnTo>
                  <a:lnTo>
                    <a:pt x="96" y="1102"/>
                  </a:lnTo>
                  <a:lnTo>
                    <a:pt x="96" y="1096"/>
                  </a:lnTo>
                  <a:lnTo>
                    <a:pt x="93" y="1090"/>
                  </a:lnTo>
                  <a:lnTo>
                    <a:pt x="93" y="1083"/>
                  </a:lnTo>
                  <a:lnTo>
                    <a:pt x="96" y="1075"/>
                  </a:lnTo>
                  <a:lnTo>
                    <a:pt x="96" y="1073"/>
                  </a:lnTo>
                  <a:lnTo>
                    <a:pt x="93" y="1073"/>
                  </a:lnTo>
                  <a:lnTo>
                    <a:pt x="93" y="1068"/>
                  </a:lnTo>
                  <a:lnTo>
                    <a:pt x="93" y="1066"/>
                  </a:lnTo>
                  <a:lnTo>
                    <a:pt x="96" y="1068"/>
                  </a:lnTo>
                  <a:lnTo>
                    <a:pt x="96" y="1068"/>
                  </a:lnTo>
                  <a:lnTo>
                    <a:pt x="96" y="1066"/>
                  </a:lnTo>
                  <a:lnTo>
                    <a:pt x="100" y="1062"/>
                  </a:lnTo>
                  <a:lnTo>
                    <a:pt x="102" y="1057"/>
                  </a:lnTo>
                  <a:lnTo>
                    <a:pt x="106" y="1057"/>
                  </a:lnTo>
                  <a:lnTo>
                    <a:pt x="109" y="1057"/>
                  </a:lnTo>
                  <a:lnTo>
                    <a:pt x="111" y="1057"/>
                  </a:lnTo>
                  <a:lnTo>
                    <a:pt x="109" y="1053"/>
                  </a:lnTo>
                  <a:lnTo>
                    <a:pt x="108" y="1053"/>
                  </a:lnTo>
                  <a:lnTo>
                    <a:pt x="113" y="1047"/>
                  </a:lnTo>
                  <a:lnTo>
                    <a:pt x="113" y="1045"/>
                  </a:lnTo>
                  <a:lnTo>
                    <a:pt x="121" y="1041"/>
                  </a:lnTo>
                  <a:lnTo>
                    <a:pt x="121" y="1040"/>
                  </a:lnTo>
                  <a:lnTo>
                    <a:pt x="117" y="1040"/>
                  </a:lnTo>
                  <a:lnTo>
                    <a:pt x="117" y="1038"/>
                  </a:lnTo>
                  <a:lnTo>
                    <a:pt x="113" y="1041"/>
                  </a:lnTo>
                  <a:lnTo>
                    <a:pt x="113" y="1045"/>
                  </a:lnTo>
                  <a:lnTo>
                    <a:pt x="106" y="1053"/>
                  </a:lnTo>
                  <a:lnTo>
                    <a:pt x="106" y="1053"/>
                  </a:lnTo>
                  <a:lnTo>
                    <a:pt x="106" y="1049"/>
                  </a:lnTo>
                  <a:lnTo>
                    <a:pt x="109" y="1045"/>
                  </a:lnTo>
                  <a:lnTo>
                    <a:pt x="109" y="1038"/>
                  </a:lnTo>
                  <a:lnTo>
                    <a:pt x="113" y="1028"/>
                  </a:lnTo>
                  <a:lnTo>
                    <a:pt x="117" y="1026"/>
                  </a:lnTo>
                  <a:lnTo>
                    <a:pt x="117" y="1023"/>
                  </a:lnTo>
                  <a:lnTo>
                    <a:pt x="117" y="1023"/>
                  </a:lnTo>
                  <a:lnTo>
                    <a:pt x="117" y="1021"/>
                  </a:lnTo>
                  <a:lnTo>
                    <a:pt x="117" y="1021"/>
                  </a:lnTo>
                  <a:lnTo>
                    <a:pt x="117" y="1019"/>
                  </a:lnTo>
                  <a:lnTo>
                    <a:pt x="117" y="1017"/>
                  </a:lnTo>
                  <a:lnTo>
                    <a:pt x="117" y="1015"/>
                  </a:lnTo>
                  <a:lnTo>
                    <a:pt x="113" y="1013"/>
                  </a:lnTo>
                  <a:lnTo>
                    <a:pt x="113" y="1009"/>
                  </a:lnTo>
                  <a:lnTo>
                    <a:pt x="113" y="1006"/>
                  </a:lnTo>
                  <a:lnTo>
                    <a:pt x="109" y="1004"/>
                  </a:lnTo>
                  <a:lnTo>
                    <a:pt x="108" y="1002"/>
                  </a:lnTo>
                  <a:lnTo>
                    <a:pt x="106" y="998"/>
                  </a:lnTo>
                  <a:lnTo>
                    <a:pt x="102" y="996"/>
                  </a:lnTo>
                  <a:lnTo>
                    <a:pt x="100" y="994"/>
                  </a:lnTo>
                  <a:lnTo>
                    <a:pt x="96" y="994"/>
                  </a:lnTo>
                  <a:lnTo>
                    <a:pt x="96" y="992"/>
                  </a:lnTo>
                  <a:lnTo>
                    <a:pt x="98" y="989"/>
                  </a:lnTo>
                  <a:lnTo>
                    <a:pt x="96" y="989"/>
                  </a:lnTo>
                  <a:lnTo>
                    <a:pt x="96" y="987"/>
                  </a:lnTo>
                  <a:lnTo>
                    <a:pt x="96" y="985"/>
                  </a:lnTo>
                  <a:lnTo>
                    <a:pt x="96" y="983"/>
                  </a:lnTo>
                  <a:lnTo>
                    <a:pt x="98" y="981"/>
                  </a:lnTo>
                  <a:lnTo>
                    <a:pt x="96" y="979"/>
                  </a:lnTo>
                  <a:lnTo>
                    <a:pt x="96" y="979"/>
                  </a:lnTo>
                  <a:lnTo>
                    <a:pt x="93" y="979"/>
                  </a:lnTo>
                  <a:lnTo>
                    <a:pt x="93" y="977"/>
                  </a:lnTo>
                  <a:lnTo>
                    <a:pt x="96" y="974"/>
                  </a:lnTo>
                  <a:lnTo>
                    <a:pt x="96" y="962"/>
                  </a:lnTo>
                  <a:lnTo>
                    <a:pt x="96" y="947"/>
                  </a:lnTo>
                  <a:lnTo>
                    <a:pt x="96" y="938"/>
                  </a:lnTo>
                  <a:lnTo>
                    <a:pt x="96" y="934"/>
                  </a:lnTo>
                  <a:lnTo>
                    <a:pt x="96" y="930"/>
                  </a:lnTo>
                  <a:lnTo>
                    <a:pt x="96" y="928"/>
                  </a:lnTo>
                  <a:lnTo>
                    <a:pt x="96" y="925"/>
                  </a:lnTo>
                  <a:lnTo>
                    <a:pt x="96" y="921"/>
                  </a:lnTo>
                  <a:lnTo>
                    <a:pt x="96" y="913"/>
                  </a:lnTo>
                  <a:lnTo>
                    <a:pt x="89" y="910"/>
                  </a:lnTo>
                  <a:lnTo>
                    <a:pt x="89" y="904"/>
                  </a:lnTo>
                  <a:lnTo>
                    <a:pt x="89" y="900"/>
                  </a:lnTo>
                  <a:lnTo>
                    <a:pt x="87" y="889"/>
                  </a:lnTo>
                  <a:lnTo>
                    <a:pt x="89" y="885"/>
                  </a:lnTo>
                  <a:lnTo>
                    <a:pt x="89" y="883"/>
                  </a:lnTo>
                  <a:lnTo>
                    <a:pt x="89" y="879"/>
                  </a:lnTo>
                  <a:lnTo>
                    <a:pt x="89" y="876"/>
                  </a:lnTo>
                  <a:lnTo>
                    <a:pt x="83" y="870"/>
                  </a:lnTo>
                  <a:lnTo>
                    <a:pt x="79" y="874"/>
                  </a:lnTo>
                  <a:lnTo>
                    <a:pt x="74" y="876"/>
                  </a:lnTo>
                  <a:lnTo>
                    <a:pt x="72" y="876"/>
                  </a:lnTo>
                  <a:lnTo>
                    <a:pt x="64" y="876"/>
                  </a:lnTo>
                  <a:lnTo>
                    <a:pt x="62" y="883"/>
                  </a:lnTo>
                  <a:lnTo>
                    <a:pt x="57" y="889"/>
                  </a:lnTo>
                  <a:lnTo>
                    <a:pt x="51" y="891"/>
                  </a:lnTo>
                  <a:lnTo>
                    <a:pt x="45" y="893"/>
                  </a:lnTo>
                  <a:lnTo>
                    <a:pt x="38" y="895"/>
                  </a:lnTo>
                  <a:lnTo>
                    <a:pt x="38" y="895"/>
                  </a:lnTo>
                  <a:lnTo>
                    <a:pt x="38" y="891"/>
                  </a:lnTo>
                  <a:lnTo>
                    <a:pt x="40" y="885"/>
                  </a:lnTo>
                  <a:lnTo>
                    <a:pt x="38" y="883"/>
                  </a:lnTo>
                  <a:lnTo>
                    <a:pt x="34" y="861"/>
                  </a:lnTo>
                  <a:lnTo>
                    <a:pt x="30" y="849"/>
                  </a:lnTo>
                  <a:lnTo>
                    <a:pt x="29" y="846"/>
                  </a:lnTo>
                  <a:lnTo>
                    <a:pt x="32" y="838"/>
                  </a:lnTo>
                  <a:lnTo>
                    <a:pt x="23" y="836"/>
                  </a:lnTo>
                  <a:lnTo>
                    <a:pt x="15" y="840"/>
                  </a:lnTo>
                  <a:lnTo>
                    <a:pt x="13" y="838"/>
                  </a:lnTo>
                  <a:lnTo>
                    <a:pt x="0" y="838"/>
                  </a:lnTo>
                  <a:lnTo>
                    <a:pt x="213" y="446"/>
                  </a:lnTo>
                  <a:lnTo>
                    <a:pt x="215" y="448"/>
                  </a:lnTo>
                  <a:lnTo>
                    <a:pt x="217" y="448"/>
                  </a:lnTo>
                  <a:lnTo>
                    <a:pt x="226" y="458"/>
                  </a:lnTo>
                  <a:lnTo>
                    <a:pt x="230" y="458"/>
                  </a:lnTo>
                  <a:lnTo>
                    <a:pt x="234" y="459"/>
                  </a:lnTo>
                  <a:lnTo>
                    <a:pt x="234" y="463"/>
                  </a:lnTo>
                  <a:lnTo>
                    <a:pt x="236" y="463"/>
                  </a:lnTo>
                  <a:lnTo>
                    <a:pt x="239" y="463"/>
                  </a:lnTo>
                  <a:lnTo>
                    <a:pt x="239" y="467"/>
                  </a:lnTo>
                  <a:lnTo>
                    <a:pt x="245" y="473"/>
                  </a:lnTo>
                  <a:lnTo>
                    <a:pt x="243" y="474"/>
                  </a:lnTo>
                  <a:lnTo>
                    <a:pt x="243" y="476"/>
                  </a:lnTo>
                  <a:lnTo>
                    <a:pt x="241" y="480"/>
                  </a:lnTo>
                  <a:lnTo>
                    <a:pt x="243" y="484"/>
                  </a:lnTo>
                  <a:lnTo>
                    <a:pt x="245" y="484"/>
                  </a:lnTo>
                  <a:lnTo>
                    <a:pt x="247" y="484"/>
                  </a:lnTo>
                  <a:lnTo>
                    <a:pt x="249" y="484"/>
                  </a:lnTo>
                  <a:lnTo>
                    <a:pt x="249" y="488"/>
                  </a:lnTo>
                  <a:lnTo>
                    <a:pt x="249" y="493"/>
                  </a:lnTo>
                  <a:lnTo>
                    <a:pt x="254" y="501"/>
                  </a:lnTo>
                  <a:lnTo>
                    <a:pt x="260" y="503"/>
                  </a:lnTo>
                  <a:lnTo>
                    <a:pt x="260" y="503"/>
                  </a:lnTo>
                  <a:lnTo>
                    <a:pt x="264" y="505"/>
                  </a:lnTo>
                  <a:lnTo>
                    <a:pt x="264" y="506"/>
                  </a:lnTo>
                  <a:lnTo>
                    <a:pt x="264" y="508"/>
                  </a:lnTo>
                  <a:lnTo>
                    <a:pt x="266" y="508"/>
                  </a:lnTo>
                  <a:lnTo>
                    <a:pt x="269" y="514"/>
                  </a:lnTo>
                  <a:lnTo>
                    <a:pt x="269" y="518"/>
                  </a:lnTo>
                  <a:lnTo>
                    <a:pt x="273" y="518"/>
                  </a:lnTo>
                  <a:lnTo>
                    <a:pt x="275" y="522"/>
                  </a:lnTo>
                  <a:lnTo>
                    <a:pt x="275" y="522"/>
                  </a:lnTo>
                  <a:lnTo>
                    <a:pt x="281" y="527"/>
                  </a:lnTo>
                  <a:lnTo>
                    <a:pt x="281" y="531"/>
                  </a:lnTo>
                  <a:lnTo>
                    <a:pt x="283" y="531"/>
                  </a:lnTo>
                  <a:lnTo>
                    <a:pt x="283" y="535"/>
                  </a:lnTo>
                  <a:lnTo>
                    <a:pt x="279" y="539"/>
                  </a:lnTo>
                  <a:lnTo>
                    <a:pt x="275" y="542"/>
                  </a:lnTo>
                  <a:lnTo>
                    <a:pt x="284" y="535"/>
                  </a:lnTo>
                  <a:lnTo>
                    <a:pt x="288" y="533"/>
                  </a:lnTo>
                  <a:lnTo>
                    <a:pt x="288" y="535"/>
                  </a:lnTo>
                  <a:lnTo>
                    <a:pt x="288" y="529"/>
                  </a:lnTo>
                  <a:lnTo>
                    <a:pt x="288" y="518"/>
                  </a:lnTo>
                  <a:lnTo>
                    <a:pt x="288" y="514"/>
                  </a:lnTo>
                  <a:lnTo>
                    <a:pt x="290" y="510"/>
                  </a:lnTo>
                  <a:lnTo>
                    <a:pt x="298" y="508"/>
                  </a:lnTo>
                  <a:lnTo>
                    <a:pt x="301" y="505"/>
                  </a:lnTo>
                  <a:lnTo>
                    <a:pt x="305" y="503"/>
                  </a:lnTo>
                  <a:lnTo>
                    <a:pt x="309" y="501"/>
                  </a:lnTo>
                  <a:lnTo>
                    <a:pt x="309" y="499"/>
                  </a:lnTo>
                  <a:lnTo>
                    <a:pt x="313" y="499"/>
                  </a:lnTo>
                  <a:lnTo>
                    <a:pt x="315" y="497"/>
                  </a:lnTo>
                  <a:lnTo>
                    <a:pt x="318" y="497"/>
                  </a:lnTo>
                  <a:lnTo>
                    <a:pt x="320" y="497"/>
                  </a:lnTo>
                  <a:lnTo>
                    <a:pt x="324" y="497"/>
                  </a:lnTo>
                  <a:lnTo>
                    <a:pt x="326" y="499"/>
                  </a:lnTo>
                  <a:lnTo>
                    <a:pt x="332" y="493"/>
                  </a:lnTo>
                  <a:lnTo>
                    <a:pt x="332" y="490"/>
                  </a:lnTo>
                  <a:lnTo>
                    <a:pt x="333" y="488"/>
                  </a:lnTo>
                  <a:lnTo>
                    <a:pt x="339" y="490"/>
                  </a:lnTo>
                  <a:lnTo>
                    <a:pt x="339" y="488"/>
                  </a:lnTo>
                  <a:lnTo>
                    <a:pt x="339" y="488"/>
                  </a:lnTo>
                  <a:lnTo>
                    <a:pt x="343" y="488"/>
                  </a:lnTo>
                  <a:lnTo>
                    <a:pt x="343" y="488"/>
                  </a:lnTo>
                  <a:lnTo>
                    <a:pt x="354" y="488"/>
                  </a:lnTo>
                  <a:lnTo>
                    <a:pt x="364" y="484"/>
                  </a:lnTo>
                  <a:lnTo>
                    <a:pt x="367" y="484"/>
                  </a:lnTo>
                  <a:lnTo>
                    <a:pt x="367" y="484"/>
                  </a:lnTo>
                  <a:lnTo>
                    <a:pt x="369" y="488"/>
                  </a:lnTo>
                  <a:lnTo>
                    <a:pt x="371" y="484"/>
                  </a:lnTo>
                  <a:lnTo>
                    <a:pt x="373" y="482"/>
                  </a:lnTo>
                  <a:lnTo>
                    <a:pt x="379" y="478"/>
                  </a:lnTo>
                  <a:lnTo>
                    <a:pt x="382" y="478"/>
                  </a:lnTo>
                  <a:lnTo>
                    <a:pt x="384" y="480"/>
                  </a:lnTo>
                  <a:lnTo>
                    <a:pt x="386" y="480"/>
                  </a:lnTo>
                  <a:lnTo>
                    <a:pt x="388" y="482"/>
                  </a:lnTo>
                  <a:lnTo>
                    <a:pt x="388" y="482"/>
                  </a:lnTo>
                  <a:lnTo>
                    <a:pt x="388" y="478"/>
                  </a:lnTo>
                  <a:lnTo>
                    <a:pt x="392" y="476"/>
                  </a:lnTo>
                  <a:lnTo>
                    <a:pt x="394" y="478"/>
                  </a:lnTo>
                  <a:lnTo>
                    <a:pt x="394" y="482"/>
                  </a:lnTo>
                  <a:lnTo>
                    <a:pt x="397" y="484"/>
                  </a:lnTo>
                  <a:lnTo>
                    <a:pt x="394" y="484"/>
                  </a:lnTo>
                  <a:lnTo>
                    <a:pt x="392" y="484"/>
                  </a:lnTo>
                  <a:lnTo>
                    <a:pt x="392" y="488"/>
                  </a:lnTo>
                  <a:lnTo>
                    <a:pt x="384" y="490"/>
                  </a:lnTo>
                  <a:lnTo>
                    <a:pt x="377" y="493"/>
                  </a:lnTo>
                  <a:lnTo>
                    <a:pt x="373" y="495"/>
                  </a:lnTo>
                  <a:lnTo>
                    <a:pt x="369" y="497"/>
                  </a:lnTo>
                  <a:lnTo>
                    <a:pt x="367" y="497"/>
                  </a:lnTo>
                  <a:lnTo>
                    <a:pt x="364" y="499"/>
                  </a:lnTo>
                  <a:lnTo>
                    <a:pt x="364" y="499"/>
                  </a:lnTo>
                  <a:lnTo>
                    <a:pt x="362" y="497"/>
                  </a:lnTo>
                  <a:lnTo>
                    <a:pt x="356" y="499"/>
                  </a:lnTo>
                  <a:lnTo>
                    <a:pt x="348" y="499"/>
                  </a:lnTo>
                  <a:lnTo>
                    <a:pt x="348" y="501"/>
                  </a:lnTo>
                  <a:lnTo>
                    <a:pt x="343" y="499"/>
                  </a:lnTo>
                  <a:lnTo>
                    <a:pt x="339" y="501"/>
                  </a:lnTo>
                  <a:lnTo>
                    <a:pt x="333" y="506"/>
                  </a:lnTo>
                  <a:lnTo>
                    <a:pt x="326" y="510"/>
                  </a:lnTo>
                  <a:lnTo>
                    <a:pt x="326" y="508"/>
                  </a:lnTo>
                  <a:lnTo>
                    <a:pt x="322" y="512"/>
                  </a:lnTo>
                  <a:lnTo>
                    <a:pt x="320" y="514"/>
                  </a:lnTo>
                  <a:lnTo>
                    <a:pt x="318" y="514"/>
                  </a:lnTo>
                  <a:lnTo>
                    <a:pt x="318" y="514"/>
                  </a:lnTo>
                  <a:lnTo>
                    <a:pt x="313" y="518"/>
                  </a:lnTo>
                  <a:lnTo>
                    <a:pt x="309" y="520"/>
                  </a:lnTo>
                  <a:lnTo>
                    <a:pt x="309" y="520"/>
                  </a:lnTo>
                  <a:lnTo>
                    <a:pt x="307" y="522"/>
                  </a:lnTo>
                  <a:lnTo>
                    <a:pt x="309" y="527"/>
                  </a:lnTo>
                  <a:lnTo>
                    <a:pt x="313" y="529"/>
                  </a:lnTo>
                  <a:lnTo>
                    <a:pt x="309" y="523"/>
                  </a:lnTo>
                  <a:lnTo>
                    <a:pt x="309" y="523"/>
                  </a:lnTo>
                  <a:lnTo>
                    <a:pt x="313" y="523"/>
                  </a:lnTo>
                  <a:lnTo>
                    <a:pt x="315" y="522"/>
                  </a:lnTo>
                  <a:lnTo>
                    <a:pt x="318" y="523"/>
                  </a:lnTo>
                  <a:lnTo>
                    <a:pt x="318" y="520"/>
                  </a:lnTo>
                  <a:lnTo>
                    <a:pt x="322" y="518"/>
                  </a:lnTo>
                  <a:lnTo>
                    <a:pt x="328" y="514"/>
                  </a:lnTo>
                  <a:lnTo>
                    <a:pt x="332" y="514"/>
                  </a:lnTo>
                  <a:lnTo>
                    <a:pt x="339" y="508"/>
                  </a:lnTo>
                  <a:lnTo>
                    <a:pt x="343" y="505"/>
                  </a:lnTo>
                  <a:lnTo>
                    <a:pt x="345" y="505"/>
                  </a:lnTo>
                  <a:lnTo>
                    <a:pt x="347" y="508"/>
                  </a:lnTo>
                  <a:lnTo>
                    <a:pt x="348" y="505"/>
                  </a:lnTo>
                  <a:lnTo>
                    <a:pt x="352" y="505"/>
                  </a:lnTo>
                  <a:lnTo>
                    <a:pt x="352" y="506"/>
                  </a:lnTo>
                  <a:lnTo>
                    <a:pt x="358" y="503"/>
                  </a:lnTo>
                  <a:lnTo>
                    <a:pt x="360" y="505"/>
                  </a:lnTo>
                  <a:lnTo>
                    <a:pt x="354" y="512"/>
                  </a:lnTo>
                  <a:lnTo>
                    <a:pt x="356" y="514"/>
                  </a:lnTo>
                  <a:lnTo>
                    <a:pt x="360" y="508"/>
                  </a:lnTo>
                  <a:lnTo>
                    <a:pt x="364" y="506"/>
                  </a:lnTo>
                  <a:lnTo>
                    <a:pt x="377" y="497"/>
                  </a:lnTo>
                  <a:lnTo>
                    <a:pt x="382" y="497"/>
                  </a:lnTo>
                  <a:lnTo>
                    <a:pt x="386" y="495"/>
                  </a:lnTo>
                  <a:lnTo>
                    <a:pt x="392" y="495"/>
                  </a:lnTo>
                  <a:lnTo>
                    <a:pt x="397" y="493"/>
                  </a:lnTo>
                  <a:lnTo>
                    <a:pt x="397" y="493"/>
                  </a:lnTo>
                  <a:lnTo>
                    <a:pt x="397" y="497"/>
                  </a:lnTo>
                  <a:lnTo>
                    <a:pt x="392" y="499"/>
                  </a:lnTo>
                  <a:lnTo>
                    <a:pt x="392" y="501"/>
                  </a:lnTo>
                  <a:lnTo>
                    <a:pt x="397" y="503"/>
                  </a:lnTo>
                  <a:lnTo>
                    <a:pt x="401" y="499"/>
                  </a:lnTo>
                  <a:lnTo>
                    <a:pt x="409" y="493"/>
                  </a:lnTo>
                  <a:lnTo>
                    <a:pt x="411" y="493"/>
                  </a:lnTo>
                  <a:lnTo>
                    <a:pt x="411" y="493"/>
                  </a:lnTo>
                  <a:lnTo>
                    <a:pt x="412" y="490"/>
                  </a:lnTo>
                  <a:lnTo>
                    <a:pt x="418" y="490"/>
                  </a:lnTo>
                  <a:lnTo>
                    <a:pt x="418" y="488"/>
                  </a:lnTo>
                  <a:lnTo>
                    <a:pt x="418" y="484"/>
                  </a:lnTo>
                  <a:lnTo>
                    <a:pt x="422" y="488"/>
                  </a:lnTo>
                  <a:lnTo>
                    <a:pt x="422" y="488"/>
                  </a:lnTo>
                  <a:lnTo>
                    <a:pt x="426" y="484"/>
                  </a:lnTo>
                  <a:lnTo>
                    <a:pt x="422" y="480"/>
                  </a:lnTo>
                  <a:lnTo>
                    <a:pt x="426" y="478"/>
                  </a:lnTo>
                  <a:lnTo>
                    <a:pt x="422" y="474"/>
                  </a:lnTo>
                  <a:lnTo>
                    <a:pt x="426" y="471"/>
                  </a:lnTo>
                  <a:lnTo>
                    <a:pt x="431" y="467"/>
                  </a:lnTo>
                  <a:lnTo>
                    <a:pt x="431" y="473"/>
                  </a:lnTo>
                  <a:lnTo>
                    <a:pt x="431" y="488"/>
                  </a:lnTo>
                  <a:lnTo>
                    <a:pt x="429" y="490"/>
                  </a:lnTo>
                  <a:lnTo>
                    <a:pt x="429" y="503"/>
                  </a:lnTo>
                  <a:lnTo>
                    <a:pt x="428" y="510"/>
                  </a:lnTo>
                  <a:lnTo>
                    <a:pt x="426" y="525"/>
                  </a:lnTo>
                  <a:lnTo>
                    <a:pt x="428" y="531"/>
                  </a:lnTo>
                  <a:lnTo>
                    <a:pt x="433" y="531"/>
                  </a:lnTo>
                  <a:lnTo>
                    <a:pt x="435" y="537"/>
                  </a:lnTo>
                  <a:lnTo>
                    <a:pt x="441" y="533"/>
                  </a:lnTo>
                  <a:lnTo>
                    <a:pt x="439" y="531"/>
                  </a:lnTo>
                  <a:lnTo>
                    <a:pt x="435" y="531"/>
                  </a:lnTo>
                  <a:lnTo>
                    <a:pt x="435" y="529"/>
                  </a:lnTo>
                  <a:lnTo>
                    <a:pt x="439" y="525"/>
                  </a:lnTo>
                  <a:lnTo>
                    <a:pt x="443" y="527"/>
                  </a:lnTo>
                  <a:lnTo>
                    <a:pt x="443" y="523"/>
                  </a:lnTo>
                  <a:lnTo>
                    <a:pt x="441" y="522"/>
                  </a:lnTo>
                  <a:lnTo>
                    <a:pt x="444" y="520"/>
                  </a:lnTo>
                  <a:lnTo>
                    <a:pt x="450" y="520"/>
                  </a:lnTo>
                  <a:lnTo>
                    <a:pt x="450" y="522"/>
                  </a:lnTo>
                  <a:lnTo>
                    <a:pt x="452" y="520"/>
                  </a:lnTo>
                  <a:lnTo>
                    <a:pt x="450" y="514"/>
                  </a:lnTo>
                  <a:lnTo>
                    <a:pt x="452" y="514"/>
                  </a:lnTo>
                  <a:lnTo>
                    <a:pt x="460" y="510"/>
                  </a:lnTo>
                  <a:lnTo>
                    <a:pt x="460" y="506"/>
                  </a:lnTo>
                  <a:lnTo>
                    <a:pt x="463" y="506"/>
                  </a:lnTo>
                  <a:lnTo>
                    <a:pt x="463" y="510"/>
                  </a:lnTo>
                  <a:lnTo>
                    <a:pt x="463" y="514"/>
                  </a:lnTo>
                  <a:lnTo>
                    <a:pt x="460" y="514"/>
                  </a:lnTo>
                  <a:lnTo>
                    <a:pt x="461" y="518"/>
                  </a:lnTo>
                  <a:lnTo>
                    <a:pt x="458" y="520"/>
                  </a:lnTo>
                  <a:lnTo>
                    <a:pt x="456" y="523"/>
                  </a:lnTo>
                  <a:lnTo>
                    <a:pt x="458" y="523"/>
                  </a:lnTo>
                  <a:lnTo>
                    <a:pt x="461" y="523"/>
                  </a:lnTo>
                  <a:lnTo>
                    <a:pt x="461" y="525"/>
                  </a:lnTo>
                  <a:lnTo>
                    <a:pt x="461" y="527"/>
                  </a:lnTo>
                  <a:lnTo>
                    <a:pt x="458" y="529"/>
                  </a:lnTo>
                  <a:lnTo>
                    <a:pt x="456" y="533"/>
                  </a:lnTo>
                  <a:lnTo>
                    <a:pt x="452" y="531"/>
                  </a:lnTo>
                  <a:lnTo>
                    <a:pt x="450" y="533"/>
                  </a:lnTo>
                  <a:lnTo>
                    <a:pt x="450" y="537"/>
                  </a:lnTo>
                  <a:lnTo>
                    <a:pt x="450" y="539"/>
                  </a:lnTo>
                  <a:lnTo>
                    <a:pt x="456" y="539"/>
                  </a:lnTo>
                  <a:lnTo>
                    <a:pt x="460" y="542"/>
                  </a:lnTo>
                  <a:lnTo>
                    <a:pt x="463" y="542"/>
                  </a:lnTo>
                  <a:lnTo>
                    <a:pt x="465" y="539"/>
                  </a:lnTo>
                  <a:lnTo>
                    <a:pt x="471" y="539"/>
                  </a:lnTo>
                  <a:lnTo>
                    <a:pt x="475" y="531"/>
                  </a:lnTo>
                  <a:lnTo>
                    <a:pt x="476" y="527"/>
                  </a:lnTo>
                  <a:lnTo>
                    <a:pt x="480" y="525"/>
                  </a:lnTo>
                  <a:lnTo>
                    <a:pt x="484" y="527"/>
                  </a:lnTo>
                  <a:lnTo>
                    <a:pt x="488" y="527"/>
                  </a:lnTo>
                  <a:lnTo>
                    <a:pt x="490" y="531"/>
                  </a:lnTo>
                  <a:lnTo>
                    <a:pt x="493" y="531"/>
                  </a:lnTo>
                  <a:lnTo>
                    <a:pt x="499" y="535"/>
                  </a:lnTo>
                  <a:lnTo>
                    <a:pt x="501" y="535"/>
                  </a:lnTo>
                  <a:lnTo>
                    <a:pt x="501" y="539"/>
                  </a:lnTo>
                  <a:lnTo>
                    <a:pt x="505" y="548"/>
                  </a:lnTo>
                  <a:lnTo>
                    <a:pt x="505" y="552"/>
                  </a:lnTo>
                  <a:lnTo>
                    <a:pt x="508" y="557"/>
                  </a:lnTo>
                  <a:lnTo>
                    <a:pt x="524" y="569"/>
                  </a:lnTo>
                  <a:lnTo>
                    <a:pt x="525" y="569"/>
                  </a:lnTo>
                  <a:lnTo>
                    <a:pt x="529" y="572"/>
                  </a:lnTo>
                  <a:lnTo>
                    <a:pt x="535" y="578"/>
                  </a:lnTo>
                  <a:lnTo>
                    <a:pt x="539" y="578"/>
                  </a:lnTo>
                  <a:lnTo>
                    <a:pt x="540" y="582"/>
                  </a:lnTo>
                  <a:lnTo>
                    <a:pt x="542" y="584"/>
                  </a:lnTo>
                  <a:lnTo>
                    <a:pt x="544" y="586"/>
                  </a:lnTo>
                  <a:lnTo>
                    <a:pt x="546" y="584"/>
                  </a:lnTo>
                  <a:lnTo>
                    <a:pt x="548" y="587"/>
                  </a:lnTo>
                  <a:lnTo>
                    <a:pt x="554" y="591"/>
                  </a:lnTo>
                  <a:lnTo>
                    <a:pt x="556" y="591"/>
                  </a:lnTo>
                  <a:lnTo>
                    <a:pt x="556" y="595"/>
                  </a:lnTo>
                  <a:lnTo>
                    <a:pt x="559" y="599"/>
                  </a:lnTo>
                  <a:lnTo>
                    <a:pt x="559" y="595"/>
                  </a:lnTo>
                  <a:lnTo>
                    <a:pt x="559" y="591"/>
                  </a:lnTo>
                  <a:lnTo>
                    <a:pt x="559" y="589"/>
                  </a:lnTo>
                  <a:lnTo>
                    <a:pt x="556" y="587"/>
                  </a:lnTo>
                  <a:lnTo>
                    <a:pt x="556" y="586"/>
                  </a:lnTo>
                  <a:lnTo>
                    <a:pt x="563" y="587"/>
                  </a:lnTo>
                  <a:lnTo>
                    <a:pt x="563" y="591"/>
                  </a:lnTo>
                  <a:lnTo>
                    <a:pt x="563" y="591"/>
                  </a:lnTo>
                  <a:lnTo>
                    <a:pt x="565" y="587"/>
                  </a:lnTo>
                  <a:lnTo>
                    <a:pt x="567" y="587"/>
                  </a:lnTo>
                  <a:lnTo>
                    <a:pt x="571" y="593"/>
                  </a:lnTo>
                  <a:lnTo>
                    <a:pt x="572" y="595"/>
                  </a:lnTo>
                  <a:lnTo>
                    <a:pt x="574" y="597"/>
                  </a:lnTo>
                  <a:lnTo>
                    <a:pt x="576" y="601"/>
                  </a:lnTo>
                  <a:lnTo>
                    <a:pt x="578" y="603"/>
                  </a:lnTo>
                  <a:lnTo>
                    <a:pt x="580" y="608"/>
                  </a:lnTo>
                  <a:lnTo>
                    <a:pt x="582" y="612"/>
                  </a:lnTo>
                  <a:lnTo>
                    <a:pt x="580" y="616"/>
                  </a:lnTo>
                  <a:lnTo>
                    <a:pt x="578" y="620"/>
                  </a:lnTo>
                  <a:lnTo>
                    <a:pt x="574" y="623"/>
                  </a:lnTo>
                  <a:lnTo>
                    <a:pt x="567" y="621"/>
                  </a:lnTo>
                  <a:lnTo>
                    <a:pt x="563" y="621"/>
                  </a:lnTo>
                  <a:lnTo>
                    <a:pt x="563" y="621"/>
                  </a:lnTo>
                  <a:lnTo>
                    <a:pt x="559" y="623"/>
                  </a:lnTo>
                  <a:lnTo>
                    <a:pt x="556" y="621"/>
                  </a:lnTo>
                  <a:lnTo>
                    <a:pt x="554" y="621"/>
                  </a:lnTo>
                  <a:lnTo>
                    <a:pt x="556" y="625"/>
                  </a:lnTo>
                  <a:lnTo>
                    <a:pt x="552" y="627"/>
                  </a:lnTo>
                  <a:lnTo>
                    <a:pt x="552" y="631"/>
                  </a:lnTo>
                  <a:lnTo>
                    <a:pt x="548" y="631"/>
                  </a:lnTo>
                  <a:lnTo>
                    <a:pt x="544" y="631"/>
                  </a:lnTo>
                  <a:lnTo>
                    <a:pt x="544" y="633"/>
                  </a:lnTo>
                  <a:lnTo>
                    <a:pt x="548" y="633"/>
                  </a:lnTo>
                  <a:lnTo>
                    <a:pt x="550" y="638"/>
                  </a:lnTo>
                  <a:lnTo>
                    <a:pt x="554" y="640"/>
                  </a:lnTo>
                  <a:lnTo>
                    <a:pt x="556" y="638"/>
                  </a:lnTo>
                  <a:lnTo>
                    <a:pt x="559" y="642"/>
                  </a:lnTo>
                  <a:lnTo>
                    <a:pt x="559" y="646"/>
                  </a:lnTo>
                  <a:lnTo>
                    <a:pt x="563" y="646"/>
                  </a:lnTo>
                  <a:lnTo>
                    <a:pt x="571" y="650"/>
                  </a:lnTo>
                  <a:lnTo>
                    <a:pt x="576" y="650"/>
                  </a:lnTo>
                  <a:lnTo>
                    <a:pt x="584" y="653"/>
                  </a:lnTo>
                  <a:lnTo>
                    <a:pt x="588" y="653"/>
                  </a:lnTo>
                  <a:lnTo>
                    <a:pt x="588" y="652"/>
                  </a:lnTo>
                  <a:lnTo>
                    <a:pt x="589" y="652"/>
                  </a:lnTo>
                  <a:lnTo>
                    <a:pt x="593" y="653"/>
                  </a:lnTo>
                  <a:lnTo>
                    <a:pt x="593" y="657"/>
                  </a:lnTo>
                  <a:lnTo>
                    <a:pt x="599" y="652"/>
                  </a:lnTo>
                  <a:lnTo>
                    <a:pt x="601" y="655"/>
                  </a:lnTo>
                  <a:lnTo>
                    <a:pt x="603" y="653"/>
                  </a:lnTo>
                  <a:lnTo>
                    <a:pt x="606" y="652"/>
                  </a:lnTo>
                  <a:lnTo>
                    <a:pt x="608" y="652"/>
                  </a:lnTo>
                  <a:lnTo>
                    <a:pt x="608" y="653"/>
                  </a:lnTo>
                  <a:lnTo>
                    <a:pt x="610" y="653"/>
                  </a:lnTo>
                  <a:lnTo>
                    <a:pt x="614" y="652"/>
                  </a:lnTo>
                  <a:lnTo>
                    <a:pt x="625" y="646"/>
                  </a:lnTo>
                  <a:lnTo>
                    <a:pt x="629" y="646"/>
                  </a:lnTo>
                  <a:lnTo>
                    <a:pt x="627" y="650"/>
                  </a:lnTo>
                  <a:lnTo>
                    <a:pt x="627" y="652"/>
                  </a:lnTo>
                  <a:lnTo>
                    <a:pt x="627" y="653"/>
                  </a:lnTo>
                  <a:lnTo>
                    <a:pt x="629" y="653"/>
                  </a:lnTo>
                  <a:lnTo>
                    <a:pt x="629" y="657"/>
                  </a:lnTo>
                  <a:lnTo>
                    <a:pt x="629" y="661"/>
                  </a:lnTo>
                  <a:lnTo>
                    <a:pt x="629" y="663"/>
                  </a:lnTo>
                  <a:lnTo>
                    <a:pt x="631" y="663"/>
                  </a:lnTo>
                  <a:lnTo>
                    <a:pt x="633" y="661"/>
                  </a:lnTo>
                  <a:lnTo>
                    <a:pt x="635" y="663"/>
                  </a:lnTo>
                  <a:lnTo>
                    <a:pt x="635" y="667"/>
                  </a:lnTo>
                  <a:lnTo>
                    <a:pt x="633" y="670"/>
                  </a:lnTo>
                  <a:lnTo>
                    <a:pt x="633" y="676"/>
                  </a:lnTo>
                  <a:lnTo>
                    <a:pt x="635" y="676"/>
                  </a:lnTo>
                  <a:lnTo>
                    <a:pt x="636" y="672"/>
                  </a:lnTo>
                  <a:lnTo>
                    <a:pt x="638" y="670"/>
                  </a:lnTo>
                  <a:lnTo>
                    <a:pt x="638" y="667"/>
                  </a:lnTo>
                  <a:lnTo>
                    <a:pt x="638" y="667"/>
                  </a:lnTo>
                  <a:lnTo>
                    <a:pt x="638" y="670"/>
                  </a:lnTo>
                  <a:lnTo>
                    <a:pt x="636" y="678"/>
                  </a:lnTo>
                  <a:lnTo>
                    <a:pt x="635" y="682"/>
                  </a:lnTo>
                  <a:lnTo>
                    <a:pt x="635" y="687"/>
                  </a:lnTo>
                  <a:lnTo>
                    <a:pt x="636" y="693"/>
                  </a:lnTo>
                  <a:lnTo>
                    <a:pt x="636" y="701"/>
                  </a:lnTo>
                  <a:lnTo>
                    <a:pt x="635" y="702"/>
                  </a:lnTo>
                  <a:lnTo>
                    <a:pt x="638" y="706"/>
                  </a:lnTo>
                  <a:lnTo>
                    <a:pt x="638" y="708"/>
                  </a:lnTo>
                  <a:lnTo>
                    <a:pt x="638" y="712"/>
                  </a:lnTo>
                  <a:lnTo>
                    <a:pt x="638" y="714"/>
                  </a:lnTo>
                  <a:lnTo>
                    <a:pt x="642" y="719"/>
                  </a:lnTo>
                  <a:lnTo>
                    <a:pt x="642" y="731"/>
                  </a:lnTo>
                  <a:lnTo>
                    <a:pt x="642" y="719"/>
                  </a:lnTo>
                  <a:lnTo>
                    <a:pt x="638" y="710"/>
                  </a:lnTo>
                  <a:lnTo>
                    <a:pt x="642" y="701"/>
                  </a:lnTo>
                  <a:lnTo>
                    <a:pt x="644" y="695"/>
                  </a:lnTo>
                  <a:lnTo>
                    <a:pt x="648" y="695"/>
                  </a:lnTo>
                  <a:lnTo>
                    <a:pt x="648" y="697"/>
                  </a:lnTo>
                  <a:lnTo>
                    <a:pt x="646" y="697"/>
                  </a:lnTo>
                  <a:lnTo>
                    <a:pt x="646" y="701"/>
                  </a:lnTo>
                  <a:lnTo>
                    <a:pt x="646" y="701"/>
                  </a:lnTo>
                  <a:lnTo>
                    <a:pt x="650" y="701"/>
                  </a:lnTo>
                  <a:lnTo>
                    <a:pt x="650" y="701"/>
                  </a:lnTo>
                  <a:lnTo>
                    <a:pt x="652" y="701"/>
                  </a:lnTo>
                  <a:lnTo>
                    <a:pt x="652" y="697"/>
                  </a:lnTo>
                  <a:lnTo>
                    <a:pt x="650" y="693"/>
                  </a:lnTo>
                  <a:lnTo>
                    <a:pt x="650" y="691"/>
                  </a:lnTo>
                  <a:lnTo>
                    <a:pt x="653" y="687"/>
                  </a:lnTo>
                  <a:lnTo>
                    <a:pt x="653" y="687"/>
                  </a:lnTo>
                  <a:lnTo>
                    <a:pt x="650" y="685"/>
                  </a:lnTo>
                  <a:lnTo>
                    <a:pt x="652" y="682"/>
                  </a:lnTo>
                  <a:lnTo>
                    <a:pt x="653" y="676"/>
                  </a:lnTo>
                  <a:lnTo>
                    <a:pt x="655" y="667"/>
                  </a:lnTo>
                  <a:lnTo>
                    <a:pt x="655" y="663"/>
                  </a:lnTo>
                  <a:lnTo>
                    <a:pt x="655" y="661"/>
                  </a:lnTo>
                  <a:lnTo>
                    <a:pt x="657" y="659"/>
                  </a:lnTo>
                  <a:lnTo>
                    <a:pt x="663" y="659"/>
                  </a:lnTo>
                  <a:lnTo>
                    <a:pt x="663" y="657"/>
                  </a:lnTo>
                  <a:lnTo>
                    <a:pt x="663" y="655"/>
                  </a:lnTo>
                  <a:lnTo>
                    <a:pt x="668" y="653"/>
                  </a:lnTo>
                  <a:lnTo>
                    <a:pt x="668" y="655"/>
                  </a:lnTo>
                  <a:lnTo>
                    <a:pt x="672" y="655"/>
                  </a:lnTo>
                  <a:lnTo>
                    <a:pt x="672" y="652"/>
                  </a:lnTo>
                  <a:lnTo>
                    <a:pt x="676" y="652"/>
                  </a:lnTo>
                  <a:lnTo>
                    <a:pt x="676" y="653"/>
                  </a:lnTo>
                  <a:lnTo>
                    <a:pt x="676" y="653"/>
                  </a:lnTo>
                  <a:lnTo>
                    <a:pt x="682" y="653"/>
                  </a:lnTo>
                  <a:lnTo>
                    <a:pt x="684" y="648"/>
                  </a:lnTo>
                  <a:lnTo>
                    <a:pt x="685" y="648"/>
                  </a:lnTo>
                  <a:lnTo>
                    <a:pt x="687" y="652"/>
                  </a:lnTo>
                  <a:lnTo>
                    <a:pt x="689" y="652"/>
                  </a:lnTo>
                  <a:lnTo>
                    <a:pt x="689" y="657"/>
                  </a:lnTo>
                  <a:lnTo>
                    <a:pt x="689" y="652"/>
                  </a:lnTo>
                  <a:lnTo>
                    <a:pt x="687" y="648"/>
                  </a:lnTo>
                  <a:lnTo>
                    <a:pt x="691" y="642"/>
                  </a:lnTo>
                  <a:lnTo>
                    <a:pt x="693" y="642"/>
                  </a:lnTo>
                  <a:lnTo>
                    <a:pt x="693" y="646"/>
                  </a:lnTo>
                  <a:lnTo>
                    <a:pt x="697" y="642"/>
                  </a:lnTo>
                  <a:lnTo>
                    <a:pt x="700" y="642"/>
                  </a:lnTo>
                  <a:lnTo>
                    <a:pt x="702" y="646"/>
                  </a:lnTo>
                  <a:lnTo>
                    <a:pt x="706" y="638"/>
                  </a:lnTo>
                  <a:lnTo>
                    <a:pt x="704" y="636"/>
                  </a:lnTo>
                  <a:lnTo>
                    <a:pt x="708" y="633"/>
                  </a:lnTo>
                  <a:lnTo>
                    <a:pt x="704" y="633"/>
                  </a:lnTo>
                  <a:lnTo>
                    <a:pt x="702" y="633"/>
                  </a:lnTo>
                  <a:lnTo>
                    <a:pt x="700" y="633"/>
                  </a:lnTo>
                  <a:lnTo>
                    <a:pt x="693" y="636"/>
                  </a:lnTo>
                  <a:lnTo>
                    <a:pt x="691" y="636"/>
                  </a:lnTo>
                  <a:lnTo>
                    <a:pt x="691" y="636"/>
                  </a:lnTo>
                  <a:lnTo>
                    <a:pt x="687" y="638"/>
                  </a:lnTo>
                  <a:lnTo>
                    <a:pt x="687" y="640"/>
                  </a:lnTo>
                  <a:lnTo>
                    <a:pt x="687" y="642"/>
                  </a:lnTo>
                  <a:lnTo>
                    <a:pt x="684" y="638"/>
                  </a:lnTo>
                  <a:lnTo>
                    <a:pt x="684" y="636"/>
                  </a:lnTo>
                  <a:lnTo>
                    <a:pt x="682" y="636"/>
                  </a:lnTo>
                  <a:lnTo>
                    <a:pt x="680" y="640"/>
                  </a:lnTo>
                  <a:lnTo>
                    <a:pt x="678" y="642"/>
                  </a:lnTo>
                  <a:lnTo>
                    <a:pt x="676" y="638"/>
                  </a:lnTo>
                  <a:lnTo>
                    <a:pt x="672" y="638"/>
                  </a:lnTo>
                  <a:lnTo>
                    <a:pt x="672" y="636"/>
                  </a:lnTo>
                  <a:lnTo>
                    <a:pt x="668" y="638"/>
                  </a:lnTo>
                  <a:lnTo>
                    <a:pt x="668" y="640"/>
                  </a:lnTo>
                  <a:lnTo>
                    <a:pt x="672" y="642"/>
                  </a:lnTo>
                  <a:lnTo>
                    <a:pt x="672" y="646"/>
                  </a:lnTo>
                  <a:lnTo>
                    <a:pt x="668" y="646"/>
                  </a:lnTo>
                  <a:lnTo>
                    <a:pt x="667" y="646"/>
                  </a:lnTo>
                  <a:lnTo>
                    <a:pt x="661" y="646"/>
                  </a:lnTo>
                  <a:lnTo>
                    <a:pt x="661" y="642"/>
                  </a:lnTo>
                  <a:lnTo>
                    <a:pt x="663" y="640"/>
                  </a:lnTo>
                  <a:lnTo>
                    <a:pt x="663" y="636"/>
                  </a:lnTo>
                  <a:lnTo>
                    <a:pt x="663" y="636"/>
                  </a:lnTo>
                  <a:lnTo>
                    <a:pt x="661" y="636"/>
                  </a:lnTo>
                  <a:lnTo>
                    <a:pt x="657" y="636"/>
                  </a:lnTo>
                  <a:lnTo>
                    <a:pt x="659" y="633"/>
                  </a:lnTo>
                  <a:lnTo>
                    <a:pt x="663" y="633"/>
                  </a:lnTo>
                  <a:lnTo>
                    <a:pt x="668" y="625"/>
                  </a:lnTo>
                  <a:lnTo>
                    <a:pt x="668" y="625"/>
                  </a:lnTo>
                  <a:lnTo>
                    <a:pt x="676" y="627"/>
                  </a:lnTo>
                  <a:lnTo>
                    <a:pt x="687" y="625"/>
                  </a:lnTo>
                  <a:lnTo>
                    <a:pt x="697" y="623"/>
                  </a:lnTo>
                  <a:lnTo>
                    <a:pt x="700" y="623"/>
                  </a:lnTo>
                  <a:lnTo>
                    <a:pt x="704" y="621"/>
                  </a:lnTo>
                  <a:lnTo>
                    <a:pt x="706" y="625"/>
                  </a:lnTo>
                  <a:lnTo>
                    <a:pt x="708" y="627"/>
                  </a:lnTo>
                  <a:lnTo>
                    <a:pt x="710" y="627"/>
                  </a:lnTo>
                  <a:lnTo>
                    <a:pt x="712" y="629"/>
                  </a:lnTo>
                  <a:lnTo>
                    <a:pt x="710" y="636"/>
                  </a:lnTo>
                  <a:lnTo>
                    <a:pt x="710" y="638"/>
                  </a:lnTo>
                  <a:lnTo>
                    <a:pt x="712" y="640"/>
                  </a:lnTo>
                  <a:lnTo>
                    <a:pt x="710" y="640"/>
                  </a:lnTo>
                  <a:lnTo>
                    <a:pt x="708" y="646"/>
                  </a:lnTo>
                  <a:lnTo>
                    <a:pt x="708" y="646"/>
                  </a:lnTo>
                  <a:lnTo>
                    <a:pt x="710" y="646"/>
                  </a:lnTo>
                  <a:lnTo>
                    <a:pt x="710" y="653"/>
                  </a:lnTo>
                  <a:lnTo>
                    <a:pt x="714" y="653"/>
                  </a:lnTo>
                  <a:lnTo>
                    <a:pt x="716" y="655"/>
                  </a:lnTo>
                  <a:lnTo>
                    <a:pt x="716" y="657"/>
                  </a:lnTo>
                  <a:lnTo>
                    <a:pt x="712" y="659"/>
                  </a:lnTo>
                  <a:lnTo>
                    <a:pt x="712" y="663"/>
                  </a:lnTo>
                  <a:lnTo>
                    <a:pt x="710" y="663"/>
                  </a:lnTo>
                  <a:lnTo>
                    <a:pt x="716" y="663"/>
                  </a:lnTo>
                  <a:lnTo>
                    <a:pt x="717" y="667"/>
                  </a:lnTo>
                  <a:lnTo>
                    <a:pt x="717" y="667"/>
                  </a:lnTo>
                  <a:lnTo>
                    <a:pt x="721" y="667"/>
                  </a:lnTo>
                  <a:lnTo>
                    <a:pt x="721" y="670"/>
                  </a:lnTo>
                  <a:lnTo>
                    <a:pt x="727" y="670"/>
                  </a:lnTo>
                  <a:lnTo>
                    <a:pt x="731" y="667"/>
                  </a:lnTo>
                  <a:lnTo>
                    <a:pt x="731" y="667"/>
                  </a:lnTo>
                  <a:lnTo>
                    <a:pt x="731" y="670"/>
                  </a:lnTo>
                  <a:lnTo>
                    <a:pt x="731" y="670"/>
                  </a:lnTo>
                  <a:lnTo>
                    <a:pt x="732" y="670"/>
                  </a:lnTo>
                  <a:lnTo>
                    <a:pt x="734" y="672"/>
                  </a:lnTo>
                  <a:lnTo>
                    <a:pt x="734" y="676"/>
                  </a:lnTo>
                  <a:lnTo>
                    <a:pt x="734" y="676"/>
                  </a:lnTo>
                  <a:lnTo>
                    <a:pt x="736" y="678"/>
                  </a:lnTo>
                  <a:lnTo>
                    <a:pt x="736" y="680"/>
                  </a:lnTo>
                  <a:lnTo>
                    <a:pt x="742" y="685"/>
                  </a:lnTo>
                  <a:lnTo>
                    <a:pt x="742" y="687"/>
                  </a:lnTo>
                  <a:lnTo>
                    <a:pt x="746" y="685"/>
                  </a:lnTo>
                  <a:lnTo>
                    <a:pt x="748" y="685"/>
                  </a:lnTo>
                  <a:lnTo>
                    <a:pt x="748" y="687"/>
                  </a:lnTo>
                  <a:lnTo>
                    <a:pt x="749" y="687"/>
                  </a:lnTo>
                  <a:lnTo>
                    <a:pt x="751" y="693"/>
                  </a:lnTo>
                  <a:lnTo>
                    <a:pt x="755" y="691"/>
                  </a:lnTo>
                  <a:lnTo>
                    <a:pt x="763" y="691"/>
                  </a:lnTo>
                  <a:lnTo>
                    <a:pt x="764" y="687"/>
                  </a:lnTo>
                  <a:lnTo>
                    <a:pt x="770" y="685"/>
                  </a:lnTo>
                  <a:lnTo>
                    <a:pt x="770" y="685"/>
                  </a:lnTo>
                  <a:lnTo>
                    <a:pt x="772" y="687"/>
                  </a:lnTo>
                  <a:lnTo>
                    <a:pt x="780" y="687"/>
                  </a:lnTo>
                  <a:lnTo>
                    <a:pt x="785" y="693"/>
                  </a:lnTo>
                  <a:lnTo>
                    <a:pt x="787" y="693"/>
                  </a:lnTo>
                  <a:lnTo>
                    <a:pt x="789" y="697"/>
                  </a:lnTo>
                  <a:lnTo>
                    <a:pt x="791" y="695"/>
                  </a:lnTo>
                  <a:lnTo>
                    <a:pt x="798" y="693"/>
                  </a:lnTo>
                  <a:lnTo>
                    <a:pt x="800" y="697"/>
                  </a:lnTo>
                  <a:lnTo>
                    <a:pt x="804" y="695"/>
                  </a:lnTo>
                  <a:lnTo>
                    <a:pt x="800" y="691"/>
                  </a:lnTo>
                  <a:lnTo>
                    <a:pt x="800" y="687"/>
                  </a:lnTo>
                  <a:lnTo>
                    <a:pt x="798" y="682"/>
                  </a:lnTo>
                  <a:lnTo>
                    <a:pt x="800" y="680"/>
                  </a:lnTo>
                  <a:lnTo>
                    <a:pt x="800" y="682"/>
                  </a:lnTo>
                  <a:lnTo>
                    <a:pt x="804" y="687"/>
                  </a:lnTo>
                  <a:lnTo>
                    <a:pt x="806" y="693"/>
                  </a:lnTo>
                  <a:lnTo>
                    <a:pt x="810" y="697"/>
                  </a:lnTo>
                  <a:lnTo>
                    <a:pt x="812" y="701"/>
                  </a:lnTo>
                  <a:lnTo>
                    <a:pt x="813" y="704"/>
                  </a:lnTo>
                  <a:lnTo>
                    <a:pt x="813" y="697"/>
                  </a:lnTo>
                  <a:lnTo>
                    <a:pt x="812" y="695"/>
                  </a:lnTo>
                  <a:lnTo>
                    <a:pt x="806" y="693"/>
                  </a:lnTo>
                  <a:lnTo>
                    <a:pt x="806" y="687"/>
                  </a:lnTo>
                  <a:lnTo>
                    <a:pt x="804" y="678"/>
                  </a:lnTo>
                  <a:lnTo>
                    <a:pt x="806" y="676"/>
                  </a:lnTo>
                  <a:lnTo>
                    <a:pt x="806" y="676"/>
                  </a:lnTo>
                  <a:lnTo>
                    <a:pt x="806" y="680"/>
                  </a:lnTo>
                  <a:lnTo>
                    <a:pt x="806" y="680"/>
                  </a:lnTo>
                  <a:lnTo>
                    <a:pt x="810" y="680"/>
                  </a:lnTo>
                  <a:lnTo>
                    <a:pt x="810" y="676"/>
                  </a:lnTo>
                  <a:lnTo>
                    <a:pt x="810" y="672"/>
                  </a:lnTo>
                  <a:lnTo>
                    <a:pt x="810" y="670"/>
                  </a:lnTo>
                  <a:lnTo>
                    <a:pt x="810" y="670"/>
                  </a:lnTo>
                  <a:lnTo>
                    <a:pt x="810" y="667"/>
                  </a:lnTo>
                  <a:lnTo>
                    <a:pt x="812" y="667"/>
                  </a:lnTo>
                  <a:lnTo>
                    <a:pt x="813" y="670"/>
                  </a:lnTo>
                  <a:lnTo>
                    <a:pt x="813" y="672"/>
                  </a:lnTo>
                  <a:lnTo>
                    <a:pt x="815" y="672"/>
                  </a:lnTo>
                  <a:lnTo>
                    <a:pt x="815" y="672"/>
                  </a:lnTo>
                  <a:lnTo>
                    <a:pt x="819" y="670"/>
                  </a:lnTo>
                  <a:lnTo>
                    <a:pt x="821" y="667"/>
                  </a:lnTo>
                  <a:lnTo>
                    <a:pt x="825" y="667"/>
                  </a:lnTo>
                  <a:lnTo>
                    <a:pt x="827" y="670"/>
                  </a:lnTo>
                  <a:lnTo>
                    <a:pt x="825" y="670"/>
                  </a:lnTo>
                  <a:lnTo>
                    <a:pt x="825" y="672"/>
                  </a:lnTo>
                  <a:lnTo>
                    <a:pt x="825" y="670"/>
                  </a:lnTo>
                  <a:lnTo>
                    <a:pt x="828" y="670"/>
                  </a:lnTo>
                  <a:lnTo>
                    <a:pt x="830" y="672"/>
                  </a:lnTo>
                  <a:lnTo>
                    <a:pt x="830" y="676"/>
                  </a:lnTo>
                  <a:lnTo>
                    <a:pt x="828" y="680"/>
                  </a:lnTo>
                  <a:lnTo>
                    <a:pt x="830" y="682"/>
                  </a:lnTo>
                  <a:lnTo>
                    <a:pt x="834" y="682"/>
                  </a:lnTo>
                  <a:lnTo>
                    <a:pt x="834" y="682"/>
                  </a:lnTo>
                  <a:lnTo>
                    <a:pt x="834" y="685"/>
                  </a:lnTo>
                  <a:lnTo>
                    <a:pt x="830" y="687"/>
                  </a:lnTo>
                  <a:lnTo>
                    <a:pt x="830" y="687"/>
                  </a:lnTo>
                  <a:lnTo>
                    <a:pt x="830" y="691"/>
                  </a:lnTo>
                  <a:lnTo>
                    <a:pt x="836" y="687"/>
                  </a:lnTo>
                  <a:lnTo>
                    <a:pt x="838" y="684"/>
                  </a:lnTo>
                  <a:lnTo>
                    <a:pt x="844" y="682"/>
                  </a:lnTo>
                  <a:lnTo>
                    <a:pt x="847" y="682"/>
                  </a:lnTo>
                  <a:lnTo>
                    <a:pt x="847" y="684"/>
                  </a:lnTo>
                  <a:lnTo>
                    <a:pt x="844" y="685"/>
                  </a:lnTo>
                  <a:lnTo>
                    <a:pt x="844" y="687"/>
                  </a:lnTo>
                  <a:lnTo>
                    <a:pt x="844" y="691"/>
                  </a:lnTo>
                  <a:lnTo>
                    <a:pt x="836" y="695"/>
                  </a:lnTo>
                  <a:lnTo>
                    <a:pt x="834" y="697"/>
                  </a:lnTo>
                  <a:lnTo>
                    <a:pt x="830" y="701"/>
                  </a:lnTo>
                  <a:lnTo>
                    <a:pt x="830" y="704"/>
                  </a:lnTo>
                  <a:lnTo>
                    <a:pt x="830" y="706"/>
                  </a:lnTo>
                  <a:lnTo>
                    <a:pt x="828" y="702"/>
                  </a:lnTo>
                  <a:lnTo>
                    <a:pt x="827" y="706"/>
                  </a:lnTo>
                  <a:lnTo>
                    <a:pt x="825" y="712"/>
                  </a:lnTo>
                  <a:lnTo>
                    <a:pt x="825" y="716"/>
                  </a:lnTo>
                  <a:lnTo>
                    <a:pt x="828" y="714"/>
                  </a:lnTo>
                  <a:lnTo>
                    <a:pt x="830" y="714"/>
                  </a:lnTo>
                  <a:lnTo>
                    <a:pt x="830" y="717"/>
                  </a:lnTo>
                  <a:lnTo>
                    <a:pt x="827" y="719"/>
                  </a:lnTo>
                  <a:lnTo>
                    <a:pt x="827" y="721"/>
                  </a:lnTo>
                  <a:lnTo>
                    <a:pt x="830" y="719"/>
                  </a:lnTo>
                  <a:lnTo>
                    <a:pt x="834" y="717"/>
                  </a:lnTo>
                  <a:lnTo>
                    <a:pt x="834" y="717"/>
                  </a:lnTo>
                  <a:lnTo>
                    <a:pt x="834" y="721"/>
                  </a:lnTo>
                  <a:lnTo>
                    <a:pt x="830" y="721"/>
                  </a:lnTo>
                  <a:lnTo>
                    <a:pt x="834" y="725"/>
                  </a:lnTo>
                  <a:lnTo>
                    <a:pt x="836" y="721"/>
                  </a:lnTo>
                  <a:lnTo>
                    <a:pt x="834" y="727"/>
                  </a:lnTo>
                  <a:lnTo>
                    <a:pt x="834" y="731"/>
                  </a:lnTo>
                  <a:lnTo>
                    <a:pt x="830" y="733"/>
                  </a:lnTo>
                  <a:lnTo>
                    <a:pt x="828" y="731"/>
                  </a:lnTo>
                  <a:lnTo>
                    <a:pt x="827" y="727"/>
                  </a:lnTo>
                  <a:lnTo>
                    <a:pt x="821" y="731"/>
                  </a:lnTo>
                  <a:lnTo>
                    <a:pt x="819" y="725"/>
                  </a:lnTo>
                  <a:lnTo>
                    <a:pt x="819" y="725"/>
                  </a:lnTo>
                  <a:lnTo>
                    <a:pt x="817" y="731"/>
                  </a:lnTo>
                  <a:lnTo>
                    <a:pt x="819" y="733"/>
                  </a:lnTo>
                  <a:lnTo>
                    <a:pt x="821" y="738"/>
                  </a:lnTo>
                  <a:lnTo>
                    <a:pt x="819" y="746"/>
                  </a:lnTo>
                  <a:lnTo>
                    <a:pt x="823" y="738"/>
                  </a:lnTo>
                  <a:lnTo>
                    <a:pt x="823" y="733"/>
                  </a:lnTo>
                  <a:lnTo>
                    <a:pt x="825" y="731"/>
                  </a:lnTo>
                  <a:lnTo>
                    <a:pt x="827" y="733"/>
                  </a:lnTo>
                  <a:lnTo>
                    <a:pt x="830" y="733"/>
                  </a:lnTo>
                  <a:lnTo>
                    <a:pt x="834" y="736"/>
                  </a:lnTo>
                  <a:lnTo>
                    <a:pt x="836" y="733"/>
                  </a:lnTo>
                  <a:lnTo>
                    <a:pt x="836" y="731"/>
                  </a:lnTo>
                  <a:lnTo>
                    <a:pt x="840" y="727"/>
                  </a:lnTo>
                  <a:lnTo>
                    <a:pt x="844" y="725"/>
                  </a:lnTo>
                  <a:lnTo>
                    <a:pt x="847" y="725"/>
                  </a:lnTo>
                  <a:lnTo>
                    <a:pt x="851" y="721"/>
                  </a:lnTo>
                  <a:lnTo>
                    <a:pt x="847" y="721"/>
                  </a:lnTo>
                  <a:lnTo>
                    <a:pt x="844" y="721"/>
                  </a:lnTo>
                  <a:lnTo>
                    <a:pt x="844" y="727"/>
                  </a:lnTo>
                  <a:lnTo>
                    <a:pt x="840" y="727"/>
                  </a:lnTo>
                  <a:lnTo>
                    <a:pt x="838" y="727"/>
                  </a:lnTo>
                  <a:lnTo>
                    <a:pt x="840" y="721"/>
                  </a:lnTo>
                  <a:lnTo>
                    <a:pt x="844" y="721"/>
                  </a:lnTo>
                  <a:lnTo>
                    <a:pt x="840" y="719"/>
                  </a:lnTo>
                  <a:lnTo>
                    <a:pt x="844" y="716"/>
                  </a:lnTo>
                  <a:lnTo>
                    <a:pt x="844" y="710"/>
                  </a:lnTo>
                  <a:lnTo>
                    <a:pt x="844" y="708"/>
                  </a:lnTo>
                  <a:lnTo>
                    <a:pt x="844" y="704"/>
                  </a:lnTo>
                  <a:lnTo>
                    <a:pt x="844" y="704"/>
                  </a:lnTo>
                  <a:lnTo>
                    <a:pt x="845" y="701"/>
                  </a:lnTo>
                  <a:lnTo>
                    <a:pt x="847" y="695"/>
                  </a:lnTo>
                  <a:lnTo>
                    <a:pt x="851" y="693"/>
                  </a:lnTo>
                  <a:lnTo>
                    <a:pt x="851" y="693"/>
                  </a:lnTo>
                  <a:lnTo>
                    <a:pt x="851" y="695"/>
                  </a:lnTo>
                  <a:lnTo>
                    <a:pt x="853" y="695"/>
                  </a:lnTo>
                  <a:lnTo>
                    <a:pt x="855" y="691"/>
                  </a:lnTo>
                  <a:lnTo>
                    <a:pt x="855" y="693"/>
                  </a:lnTo>
                  <a:lnTo>
                    <a:pt x="859" y="693"/>
                  </a:lnTo>
                  <a:lnTo>
                    <a:pt x="859" y="695"/>
                  </a:lnTo>
                  <a:lnTo>
                    <a:pt x="862" y="695"/>
                  </a:lnTo>
                  <a:lnTo>
                    <a:pt x="864" y="691"/>
                  </a:lnTo>
                  <a:lnTo>
                    <a:pt x="872" y="687"/>
                  </a:lnTo>
                  <a:lnTo>
                    <a:pt x="874" y="684"/>
                  </a:lnTo>
                  <a:lnTo>
                    <a:pt x="874" y="682"/>
                  </a:lnTo>
                  <a:lnTo>
                    <a:pt x="876" y="682"/>
                  </a:lnTo>
                  <a:lnTo>
                    <a:pt x="879" y="678"/>
                  </a:lnTo>
                  <a:lnTo>
                    <a:pt x="885" y="678"/>
                  </a:lnTo>
                  <a:lnTo>
                    <a:pt x="889" y="676"/>
                  </a:lnTo>
                  <a:lnTo>
                    <a:pt x="887" y="672"/>
                  </a:lnTo>
                  <a:lnTo>
                    <a:pt x="889" y="667"/>
                  </a:lnTo>
                  <a:lnTo>
                    <a:pt x="889" y="663"/>
                  </a:lnTo>
                  <a:lnTo>
                    <a:pt x="892" y="661"/>
                  </a:lnTo>
                  <a:lnTo>
                    <a:pt x="889" y="659"/>
                  </a:lnTo>
                  <a:lnTo>
                    <a:pt x="889" y="661"/>
                  </a:lnTo>
                  <a:lnTo>
                    <a:pt x="885" y="661"/>
                  </a:lnTo>
                  <a:lnTo>
                    <a:pt x="885" y="663"/>
                  </a:lnTo>
                  <a:lnTo>
                    <a:pt x="885" y="663"/>
                  </a:lnTo>
                  <a:lnTo>
                    <a:pt x="881" y="667"/>
                  </a:lnTo>
                  <a:lnTo>
                    <a:pt x="879" y="663"/>
                  </a:lnTo>
                  <a:lnTo>
                    <a:pt x="876" y="663"/>
                  </a:lnTo>
                  <a:lnTo>
                    <a:pt x="876" y="663"/>
                  </a:lnTo>
                  <a:lnTo>
                    <a:pt x="877" y="657"/>
                  </a:lnTo>
                  <a:lnTo>
                    <a:pt x="879" y="657"/>
                  </a:lnTo>
                  <a:lnTo>
                    <a:pt x="883" y="655"/>
                  </a:lnTo>
                  <a:lnTo>
                    <a:pt x="887" y="653"/>
                  </a:lnTo>
                  <a:lnTo>
                    <a:pt x="887" y="650"/>
                  </a:lnTo>
                  <a:lnTo>
                    <a:pt x="885" y="648"/>
                  </a:lnTo>
                  <a:lnTo>
                    <a:pt x="889" y="646"/>
                  </a:lnTo>
                  <a:lnTo>
                    <a:pt x="892" y="646"/>
                  </a:lnTo>
                  <a:lnTo>
                    <a:pt x="896" y="646"/>
                  </a:lnTo>
                  <a:lnTo>
                    <a:pt x="892" y="648"/>
                  </a:lnTo>
                  <a:lnTo>
                    <a:pt x="892" y="652"/>
                  </a:lnTo>
                  <a:lnTo>
                    <a:pt x="892" y="652"/>
                  </a:lnTo>
                  <a:lnTo>
                    <a:pt x="898" y="650"/>
                  </a:lnTo>
                  <a:lnTo>
                    <a:pt x="900" y="642"/>
                  </a:lnTo>
                  <a:lnTo>
                    <a:pt x="900" y="638"/>
                  </a:lnTo>
                  <a:lnTo>
                    <a:pt x="896" y="638"/>
                  </a:lnTo>
                  <a:lnTo>
                    <a:pt x="892" y="638"/>
                  </a:lnTo>
                  <a:lnTo>
                    <a:pt x="892" y="636"/>
                  </a:lnTo>
                  <a:lnTo>
                    <a:pt x="887" y="636"/>
                  </a:lnTo>
                  <a:lnTo>
                    <a:pt x="885" y="631"/>
                  </a:lnTo>
                  <a:lnTo>
                    <a:pt x="887" y="627"/>
                  </a:lnTo>
                  <a:lnTo>
                    <a:pt x="883" y="631"/>
                  </a:lnTo>
                  <a:lnTo>
                    <a:pt x="881" y="631"/>
                  </a:lnTo>
                  <a:lnTo>
                    <a:pt x="879" y="627"/>
                  </a:lnTo>
                  <a:lnTo>
                    <a:pt x="876" y="625"/>
                  </a:lnTo>
                  <a:lnTo>
                    <a:pt x="876" y="621"/>
                  </a:lnTo>
                  <a:lnTo>
                    <a:pt x="874" y="620"/>
                  </a:lnTo>
                  <a:lnTo>
                    <a:pt x="870" y="621"/>
                  </a:lnTo>
                  <a:lnTo>
                    <a:pt x="870" y="618"/>
                  </a:lnTo>
                  <a:lnTo>
                    <a:pt x="868" y="616"/>
                  </a:lnTo>
                  <a:lnTo>
                    <a:pt x="870" y="612"/>
                  </a:lnTo>
                  <a:lnTo>
                    <a:pt x="870" y="612"/>
                  </a:lnTo>
                  <a:lnTo>
                    <a:pt x="868" y="606"/>
                  </a:lnTo>
                  <a:lnTo>
                    <a:pt x="868" y="599"/>
                  </a:lnTo>
                  <a:lnTo>
                    <a:pt x="872" y="595"/>
                  </a:lnTo>
                  <a:lnTo>
                    <a:pt x="877" y="589"/>
                  </a:lnTo>
                  <a:lnTo>
                    <a:pt x="881" y="587"/>
                  </a:lnTo>
                  <a:lnTo>
                    <a:pt x="885" y="587"/>
                  </a:lnTo>
                  <a:lnTo>
                    <a:pt x="885" y="586"/>
                  </a:lnTo>
                  <a:lnTo>
                    <a:pt x="889" y="584"/>
                  </a:lnTo>
                  <a:lnTo>
                    <a:pt x="889" y="582"/>
                  </a:lnTo>
                  <a:lnTo>
                    <a:pt x="887" y="582"/>
                  </a:lnTo>
                  <a:lnTo>
                    <a:pt x="883" y="584"/>
                  </a:lnTo>
                  <a:lnTo>
                    <a:pt x="881" y="582"/>
                  </a:lnTo>
                  <a:lnTo>
                    <a:pt x="881" y="582"/>
                  </a:lnTo>
                  <a:lnTo>
                    <a:pt x="879" y="578"/>
                  </a:lnTo>
                  <a:lnTo>
                    <a:pt x="881" y="572"/>
                  </a:lnTo>
                  <a:lnTo>
                    <a:pt x="885" y="569"/>
                  </a:lnTo>
                  <a:lnTo>
                    <a:pt x="889" y="561"/>
                  </a:lnTo>
                  <a:lnTo>
                    <a:pt x="889" y="561"/>
                  </a:lnTo>
                  <a:lnTo>
                    <a:pt x="892" y="555"/>
                  </a:lnTo>
                  <a:lnTo>
                    <a:pt x="894" y="555"/>
                  </a:lnTo>
                  <a:lnTo>
                    <a:pt x="898" y="552"/>
                  </a:lnTo>
                  <a:lnTo>
                    <a:pt x="902" y="548"/>
                  </a:lnTo>
                  <a:lnTo>
                    <a:pt x="906" y="552"/>
                  </a:lnTo>
                  <a:lnTo>
                    <a:pt x="904" y="555"/>
                  </a:lnTo>
                  <a:lnTo>
                    <a:pt x="906" y="557"/>
                  </a:lnTo>
                  <a:lnTo>
                    <a:pt x="906" y="559"/>
                  </a:lnTo>
                  <a:lnTo>
                    <a:pt x="909" y="557"/>
                  </a:lnTo>
                  <a:lnTo>
                    <a:pt x="909" y="555"/>
                  </a:lnTo>
                  <a:lnTo>
                    <a:pt x="913" y="548"/>
                  </a:lnTo>
                  <a:lnTo>
                    <a:pt x="913" y="548"/>
                  </a:lnTo>
                  <a:lnTo>
                    <a:pt x="911" y="548"/>
                  </a:lnTo>
                  <a:lnTo>
                    <a:pt x="908" y="548"/>
                  </a:lnTo>
                  <a:lnTo>
                    <a:pt x="906" y="544"/>
                  </a:lnTo>
                  <a:lnTo>
                    <a:pt x="908" y="539"/>
                  </a:lnTo>
                  <a:lnTo>
                    <a:pt x="913" y="539"/>
                  </a:lnTo>
                  <a:lnTo>
                    <a:pt x="913" y="539"/>
                  </a:lnTo>
                  <a:lnTo>
                    <a:pt x="919" y="535"/>
                  </a:lnTo>
                  <a:lnTo>
                    <a:pt x="919" y="531"/>
                  </a:lnTo>
                  <a:lnTo>
                    <a:pt x="923" y="529"/>
                  </a:lnTo>
                  <a:lnTo>
                    <a:pt x="926" y="531"/>
                  </a:lnTo>
                  <a:lnTo>
                    <a:pt x="932" y="533"/>
                  </a:lnTo>
                  <a:lnTo>
                    <a:pt x="932" y="537"/>
                  </a:lnTo>
                  <a:lnTo>
                    <a:pt x="932" y="539"/>
                  </a:lnTo>
                  <a:lnTo>
                    <a:pt x="934" y="539"/>
                  </a:lnTo>
                  <a:lnTo>
                    <a:pt x="938" y="542"/>
                  </a:lnTo>
                  <a:lnTo>
                    <a:pt x="940" y="544"/>
                  </a:lnTo>
                  <a:lnTo>
                    <a:pt x="940" y="548"/>
                  </a:lnTo>
                  <a:lnTo>
                    <a:pt x="938" y="548"/>
                  </a:lnTo>
                  <a:lnTo>
                    <a:pt x="938" y="552"/>
                  </a:lnTo>
                  <a:lnTo>
                    <a:pt x="938" y="554"/>
                  </a:lnTo>
                  <a:lnTo>
                    <a:pt x="940" y="557"/>
                  </a:lnTo>
                  <a:lnTo>
                    <a:pt x="941" y="559"/>
                  </a:lnTo>
                  <a:lnTo>
                    <a:pt x="941" y="567"/>
                  </a:lnTo>
                  <a:lnTo>
                    <a:pt x="943" y="569"/>
                  </a:lnTo>
                  <a:lnTo>
                    <a:pt x="943" y="569"/>
                  </a:lnTo>
                  <a:lnTo>
                    <a:pt x="940" y="572"/>
                  </a:lnTo>
                  <a:lnTo>
                    <a:pt x="940" y="576"/>
                  </a:lnTo>
                  <a:lnTo>
                    <a:pt x="938" y="582"/>
                  </a:lnTo>
                  <a:lnTo>
                    <a:pt x="938" y="584"/>
                  </a:lnTo>
                  <a:lnTo>
                    <a:pt x="936" y="586"/>
                  </a:lnTo>
                  <a:lnTo>
                    <a:pt x="938" y="589"/>
                  </a:lnTo>
                  <a:lnTo>
                    <a:pt x="936" y="593"/>
                  </a:lnTo>
                  <a:lnTo>
                    <a:pt x="940" y="599"/>
                  </a:lnTo>
                  <a:lnTo>
                    <a:pt x="940" y="601"/>
                  </a:lnTo>
                  <a:lnTo>
                    <a:pt x="938" y="603"/>
                  </a:lnTo>
                  <a:lnTo>
                    <a:pt x="940" y="606"/>
                  </a:lnTo>
                  <a:lnTo>
                    <a:pt x="938" y="608"/>
                  </a:lnTo>
                  <a:lnTo>
                    <a:pt x="938" y="612"/>
                  </a:lnTo>
                  <a:lnTo>
                    <a:pt x="941" y="612"/>
                  </a:lnTo>
                  <a:lnTo>
                    <a:pt x="943" y="614"/>
                  </a:lnTo>
                  <a:lnTo>
                    <a:pt x="943" y="618"/>
                  </a:lnTo>
                  <a:lnTo>
                    <a:pt x="940" y="620"/>
                  </a:lnTo>
                  <a:lnTo>
                    <a:pt x="938" y="620"/>
                  </a:lnTo>
                  <a:lnTo>
                    <a:pt x="934" y="620"/>
                  </a:lnTo>
                  <a:lnTo>
                    <a:pt x="932" y="616"/>
                  </a:lnTo>
                  <a:lnTo>
                    <a:pt x="934" y="612"/>
                  </a:lnTo>
                  <a:lnTo>
                    <a:pt x="928" y="614"/>
                  </a:lnTo>
                  <a:lnTo>
                    <a:pt x="926" y="618"/>
                  </a:lnTo>
                  <a:lnTo>
                    <a:pt x="924" y="620"/>
                  </a:lnTo>
                  <a:lnTo>
                    <a:pt x="924" y="621"/>
                  </a:lnTo>
                  <a:lnTo>
                    <a:pt x="928" y="620"/>
                  </a:lnTo>
                  <a:lnTo>
                    <a:pt x="932" y="621"/>
                  </a:lnTo>
                  <a:lnTo>
                    <a:pt x="930" y="625"/>
                  </a:lnTo>
                  <a:lnTo>
                    <a:pt x="923" y="631"/>
                  </a:lnTo>
                  <a:lnTo>
                    <a:pt x="917" y="633"/>
                  </a:lnTo>
                  <a:lnTo>
                    <a:pt x="917" y="633"/>
                  </a:lnTo>
                  <a:lnTo>
                    <a:pt x="917" y="633"/>
                  </a:lnTo>
                  <a:lnTo>
                    <a:pt x="913" y="636"/>
                  </a:lnTo>
                  <a:lnTo>
                    <a:pt x="917" y="640"/>
                  </a:lnTo>
                  <a:lnTo>
                    <a:pt x="919" y="638"/>
                  </a:lnTo>
                  <a:lnTo>
                    <a:pt x="923" y="640"/>
                  </a:lnTo>
                  <a:lnTo>
                    <a:pt x="923" y="642"/>
                  </a:lnTo>
                  <a:lnTo>
                    <a:pt x="926" y="646"/>
                  </a:lnTo>
                  <a:lnTo>
                    <a:pt x="930" y="646"/>
                  </a:lnTo>
                  <a:lnTo>
                    <a:pt x="932" y="642"/>
                  </a:lnTo>
                  <a:lnTo>
                    <a:pt x="934" y="642"/>
                  </a:lnTo>
                  <a:lnTo>
                    <a:pt x="936" y="642"/>
                  </a:lnTo>
                  <a:lnTo>
                    <a:pt x="934" y="646"/>
                  </a:lnTo>
                  <a:lnTo>
                    <a:pt x="934" y="646"/>
                  </a:lnTo>
                  <a:lnTo>
                    <a:pt x="938" y="648"/>
                  </a:lnTo>
                  <a:lnTo>
                    <a:pt x="940" y="650"/>
                  </a:lnTo>
                  <a:lnTo>
                    <a:pt x="943" y="646"/>
                  </a:lnTo>
                  <a:lnTo>
                    <a:pt x="943" y="648"/>
                  </a:lnTo>
                  <a:lnTo>
                    <a:pt x="943" y="652"/>
                  </a:lnTo>
                  <a:lnTo>
                    <a:pt x="940" y="652"/>
                  </a:lnTo>
                  <a:lnTo>
                    <a:pt x="936" y="655"/>
                  </a:lnTo>
                  <a:lnTo>
                    <a:pt x="934" y="657"/>
                  </a:lnTo>
                  <a:lnTo>
                    <a:pt x="934" y="652"/>
                  </a:lnTo>
                  <a:lnTo>
                    <a:pt x="932" y="653"/>
                  </a:lnTo>
                  <a:lnTo>
                    <a:pt x="930" y="652"/>
                  </a:lnTo>
                  <a:lnTo>
                    <a:pt x="930" y="653"/>
                  </a:lnTo>
                  <a:lnTo>
                    <a:pt x="932" y="657"/>
                  </a:lnTo>
                  <a:lnTo>
                    <a:pt x="932" y="661"/>
                  </a:lnTo>
                  <a:lnTo>
                    <a:pt x="936" y="667"/>
                  </a:lnTo>
                  <a:lnTo>
                    <a:pt x="936" y="670"/>
                  </a:lnTo>
                  <a:lnTo>
                    <a:pt x="936" y="670"/>
                  </a:lnTo>
                  <a:lnTo>
                    <a:pt x="936" y="676"/>
                  </a:lnTo>
                  <a:lnTo>
                    <a:pt x="932" y="676"/>
                  </a:lnTo>
                  <a:lnTo>
                    <a:pt x="932" y="680"/>
                  </a:lnTo>
                  <a:lnTo>
                    <a:pt x="932" y="684"/>
                  </a:lnTo>
                  <a:lnTo>
                    <a:pt x="928" y="687"/>
                  </a:lnTo>
                  <a:lnTo>
                    <a:pt x="928" y="687"/>
                  </a:lnTo>
                  <a:lnTo>
                    <a:pt x="930" y="695"/>
                  </a:lnTo>
                  <a:lnTo>
                    <a:pt x="926" y="695"/>
                  </a:lnTo>
                  <a:lnTo>
                    <a:pt x="928" y="697"/>
                  </a:lnTo>
                  <a:lnTo>
                    <a:pt x="930" y="697"/>
                  </a:lnTo>
                  <a:lnTo>
                    <a:pt x="932" y="695"/>
                  </a:lnTo>
                  <a:lnTo>
                    <a:pt x="934" y="691"/>
                  </a:lnTo>
                  <a:lnTo>
                    <a:pt x="940" y="687"/>
                  </a:lnTo>
                  <a:lnTo>
                    <a:pt x="940" y="687"/>
                  </a:lnTo>
                  <a:lnTo>
                    <a:pt x="940" y="685"/>
                  </a:lnTo>
                  <a:lnTo>
                    <a:pt x="941" y="684"/>
                  </a:lnTo>
                  <a:lnTo>
                    <a:pt x="943" y="685"/>
                  </a:lnTo>
                  <a:lnTo>
                    <a:pt x="943" y="684"/>
                  </a:lnTo>
                  <a:lnTo>
                    <a:pt x="943" y="676"/>
                  </a:lnTo>
                  <a:lnTo>
                    <a:pt x="947" y="672"/>
                  </a:lnTo>
                  <a:lnTo>
                    <a:pt x="949" y="670"/>
                  </a:lnTo>
                  <a:lnTo>
                    <a:pt x="955" y="663"/>
                  </a:lnTo>
                  <a:lnTo>
                    <a:pt x="956" y="659"/>
                  </a:lnTo>
                  <a:lnTo>
                    <a:pt x="956" y="659"/>
                  </a:lnTo>
                  <a:lnTo>
                    <a:pt x="958" y="661"/>
                  </a:lnTo>
                  <a:lnTo>
                    <a:pt x="960" y="663"/>
                  </a:lnTo>
                  <a:lnTo>
                    <a:pt x="962" y="670"/>
                  </a:lnTo>
                  <a:lnTo>
                    <a:pt x="964" y="676"/>
                  </a:lnTo>
                  <a:lnTo>
                    <a:pt x="968" y="678"/>
                  </a:lnTo>
                  <a:lnTo>
                    <a:pt x="968" y="684"/>
                  </a:lnTo>
                  <a:lnTo>
                    <a:pt x="966" y="687"/>
                  </a:lnTo>
                  <a:lnTo>
                    <a:pt x="968" y="695"/>
                  </a:lnTo>
                  <a:lnTo>
                    <a:pt x="964" y="697"/>
                  </a:lnTo>
                  <a:lnTo>
                    <a:pt x="962" y="701"/>
                  </a:lnTo>
                  <a:lnTo>
                    <a:pt x="960" y="697"/>
                  </a:lnTo>
                  <a:lnTo>
                    <a:pt x="956" y="701"/>
                  </a:lnTo>
                  <a:lnTo>
                    <a:pt x="955" y="702"/>
                  </a:lnTo>
                  <a:lnTo>
                    <a:pt x="956" y="706"/>
                  </a:lnTo>
                  <a:lnTo>
                    <a:pt x="953" y="710"/>
                  </a:lnTo>
                  <a:lnTo>
                    <a:pt x="953" y="714"/>
                  </a:lnTo>
                  <a:lnTo>
                    <a:pt x="953" y="716"/>
                  </a:lnTo>
                  <a:lnTo>
                    <a:pt x="953" y="721"/>
                  </a:lnTo>
                  <a:lnTo>
                    <a:pt x="956" y="734"/>
                  </a:lnTo>
                  <a:lnTo>
                    <a:pt x="960" y="740"/>
                  </a:lnTo>
                  <a:lnTo>
                    <a:pt x="958" y="744"/>
                  </a:lnTo>
                  <a:lnTo>
                    <a:pt x="960" y="748"/>
                  </a:lnTo>
                  <a:lnTo>
                    <a:pt x="964" y="748"/>
                  </a:lnTo>
                  <a:lnTo>
                    <a:pt x="964" y="742"/>
                  </a:lnTo>
                  <a:lnTo>
                    <a:pt x="962" y="742"/>
                  </a:lnTo>
                  <a:lnTo>
                    <a:pt x="964" y="738"/>
                  </a:lnTo>
                  <a:lnTo>
                    <a:pt x="968" y="738"/>
                  </a:lnTo>
                  <a:lnTo>
                    <a:pt x="968" y="742"/>
                  </a:lnTo>
                  <a:lnTo>
                    <a:pt x="972" y="742"/>
                  </a:lnTo>
                  <a:lnTo>
                    <a:pt x="972" y="738"/>
                  </a:lnTo>
                  <a:lnTo>
                    <a:pt x="973" y="734"/>
                  </a:lnTo>
                  <a:lnTo>
                    <a:pt x="973" y="731"/>
                  </a:lnTo>
                  <a:lnTo>
                    <a:pt x="977" y="727"/>
                  </a:lnTo>
                  <a:lnTo>
                    <a:pt x="981" y="721"/>
                  </a:lnTo>
                  <a:lnTo>
                    <a:pt x="981" y="721"/>
                  </a:lnTo>
                  <a:lnTo>
                    <a:pt x="985" y="719"/>
                  </a:lnTo>
                  <a:lnTo>
                    <a:pt x="990" y="716"/>
                  </a:lnTo>
                  <a:lnTo>
                    <a:pt x="996" y="708"/>
                  </a:lnTo>
                  <a:lnTo>
                    <a:pt x="998" y="701"/>
                  </a:lnTo>
                  <a:lnTo>
                    <a:pt x="1002" y="693"/>
                  </a:lnTo>
                  <a:lnTo>
                    <a:pt x="1005" y="691"/>
                  </a:lnTo>
                  <a:lnTo>
                    <a:pt x="1007" y="695"/>
                  </a:lnTo>
                  <a:lnTo>
                    <a:pt x="1009" y="693"/>
                  </a:lnTo>
                  <a:lnTo>
                    <a:pt x="1011" y="695"/>
                  </a:lnTo>
                  <a:lnTo>
                    <a:pt x="1015" y="693"/>
                  </a:lnTo>
                  <a:lnTo>
                    <a:pt x="1015" y="691"/>
                  </a:lnTo>
                  <a:lnTo>
                    <a:pt x="1013" y="691"/>
                  </a:lnTo>
                  <a:lnTo>
                    <a:pt x="1009" y="687"/>
                  </a:lnTo>
                  <a:lnTo>
                    <a:pt x="1011" y="685"/>
                  </a:lnTo>
                  <a:lnTo>
                    <a:pt x="1015" y="685"/>
                  </a:lnTo>
                  <a:lnTo>
                    <a:pt x="1019" y="687"/>
                  </a:lnTo>
                  <a:lnTo>
                    <a:pt x="1019" y="685"/>
                  </a:lnTo>
                  <a:lnTo>
                    <a:pt x="1022" y="685"/>
                  </a:lnTo>
                  <a:lnTo>
                    <a:pt x="1024" y="685"/>
                  </a:lnTo>
                  <a:lnTo>
                    <a:pt x="1022" y="682"/>
                  </a:lnTo>
                  <a:lnTo>
                    <a:pt x="1020" y="682"/>
                  </a:lnTo>
                  <a:lnTo>
                    <a:pt x="1019" y="678"/>
                  </a:lnTo>
                  <a:lnTo>
                    <a:pt x="1017" y="678"/>
                  </a:lnTo>
                  <a:lnTo>
                    <a:pt x="1017" y="672"/>
                  </a:lnTo>
                  <a:lnTo>
                    <a:pt x="1019" y="670"/>
                  </a:lnTo>
                  <a:lnTo>
                    <a:pt x="1019" y="667"/>
                  </a:lnTo>
                  <a:lnTo>
                    <a:pt x="1022" y="667"/>
                  </a:lnTo>
                  <a:lnTo>
                    <a:pt x="1020" y="663"/>
                  </a:lnTo>
                  <a:lnTo>
                    <a:pt x="1020" y="661"/>
                  </a:lnTo>
                  <a:lnTo>
                    <a:pt x="1022" y="659"/>
                  </a:lnTo>
                  <a:lnTo>
                    <a:pt x="1022" y="657"/>
                  </a:lnTo>
                  <a:lnTo>
                    <a:pt x="1022" y="655"/>
                  </a:lnTo>
                  <a:lnTo>
                    <a:pt x="1026" y="655"/>
                  </a:lnTo>
                  <a:lnTo>
                    <a:pt x="1026" y="652"/>
                  </a:lnTo>
                  <a:lnTo>
                    <a:pt x="1024" y="652"/>
                  </a:lnTo>
                  <a:lnTo>
                    <a:pt x="1022" y="648"/>
                  </a:lnTo>
                  <a:lnTo>
                    <a:pt x="1026" y="650"/>
                  </a:lnTo>
                  <a:lnTo>
                    <a:pt x="1026" y="652"/>
                  </a:lnTo>
                  <a:lnTo>
                    <a:pt x="1030" y="652"/>
                  </a:lnTo>
                  <a:lnTo>
                    <a:pt x="1032" y="652"/>
                  </a:lnTo>
                  <a:lnTo>
                    <a:pt x="1037" y="652"/>
                  </a:lnTo>
                  <a:lnTo>
                    <a:pt x="1043" y="655"/>
                  </a:lnTo>
                  <a:lnTo>
                    <a:pt x="1045" y="657"/>
                  </a:lnTo>
                  <a:lnTo>
                    <a:pt x="1045" y="659"/>
                  </a:lnTo>
                  <a:lnTo>
                    <a:pt x="1051" y="663"/>
                  </a:lnTo>
                  <a:lnTo>
                    <a:pt x="1056" y="661"/>
                  </a:lnTo>
                  <a:lnTo>
                    <a:pt x="1060" y="663"/>
                  </a:lnTo>
                  <a:lnTo>
                    <a:pt x="1064" y="663"/>
                  </a:lnTo>
                  <a:lnTo>
                    <a:pt x="1064" y="667"/>
                  </a:lnTo>
                  <a:lnTo>
                    <a:pt x="1062" y="667"/>
                  </a:lnTo>
                  <a:lnTo>
                    <a:pt x="1064" y="670"/>
                  </a:lnTo>
                  <a:lnTo>
                    <a:pt x="1062" y="670"/>
                  </a:lnTo>
                  <a:lnTo>
                    <a:pt x="1060" y="670"/>
                  </a:lnTo>
                  <a:lnTo>
                    <a:pt x="1056" y="670"/>
                  </a:lnTo>
                  <a:lnTo>
                    <a:pt x="1056" y="670"/>
                  </a:lnTo>
                  <a:lnTo>
                    <a:pt x="1064" y="676"/>
                  </a:lnTo>
                  <a:lnTo>
                    <a:pt x="1066" y="680"/>
                  </a:lnTo>
                  <a:lnTo>
                    <a:pt x="1062" y="682"/>
                  </a:lnTo>
                  <a:lnTo>
                    <a:pt x="1064" y="682"/>
                  </a:lnTo>
                  <a:lnTo>
                    <a:pt x="1068" y="682"/>
                  </a:lnTo>
                  <a:lnTo>
                    <a:pt x="1073" y="682"/>
                  </a:lnTo>
                  <a:lnTo>
                    <a:pt x="1073" y="685"/>
                  </a:lnTo>
                  <a:lnTo>
                    <a:pt x="1077" y="685"/>
                  </a:lnTo>
                  <a:lnTo>
                    <a:pt x="1077" y="687"/>
                  </a:lnTo>
                  <a:lnTo>
                    <a:pt x="1075" y="691"/>
                  </a:lnTo>
                  <a:lnTo>
                    <a:pt x="1068" y="695"/>
                  </a:lnTo>
                  <a:lnTo>
                    <a:pt x="1064" y="697"/>
                  </a:lnTo>
                  <a:lnTo>
                    <a:pt x="1062" y="697"/>
                  </a:lnTo>
                  <a:lnTo>
                    <a:pt x="1068" y="697"/>
                  </a:lnTo>
                  <a:lnTo>
                    <a:pt x="1069" y="697"/>
                  </a:lnTo>
                  <a:lnTo>
                    <a:pt x="1069" y="701"/>
                  </a:lnTo>
                  <a:lnTo>
                    <a:pt x="1071" y="701"/>
                  </a:lnTo>
                  <a:lnTo>
                    <a:pt x="1073" y="701"/>
                  </a:lnTo>
                  <a:lnTo>
                    <a:pt x="1069" y="704"/>
                  </a:lnTo>
                  <a:lnTo>
                    <a:pt x="1071" y="706"/>
                  </a:lnTo>
                  <a:lnTo>
                    <a:pt x="1068" y="710"/>
                  </a:lnTo>
                  <a:lnTo>
                    <a:pt x="1062" y="712"/>
                  </a:lnTo>
                  <a:lnTo>
                    <a:pt x="1060" y="710"/>
                  </a:lnTo>
                  <a:lnTo>
                    <a:pt x="1056" y="714"/>
                  </a:lnTo>
                  <a:lnTo>
                    <a:pt x="1056" y="712"/>
                  </a:lnTo>
                  <a:lnTo>
                    <a:pt x="1051" y="708"/>
                  </a:lnTo>
                  <a:lnTo>
                    <a:pt x="1049" y="708"/>
                  </a:lnTo>
                  <a:lnTo>
                    <a:pt x="1047" y="706"/>
                  </a:lnTo>
                  <a:lnTo>
                    <a:pt x="1045" y="706"/>
                  </a:lnTo>
                  <a:lnTo>
                    <a:pt x="1045" y="710"/>
                  </a:lnTo>
                  <a:lnTo>
                    <a:pt x="1043" y="712"/>
                  </a:lnTo>
                  <a:lnTo>
                    <a:pt x="1047" y="712"/>
                  </a:lnTo>
                  <a:lnTo>
                    <a:pt x="1049" y="714"/>
                  </a:lnTo>
                  <a:lnTo>
                    <a:pt x="1049" y="716"/>
                  </a:lnTo>
                  <a:lnTo>
                    <a:pt x="1045" y="719"/>
                  </a:lnTo>
                  <a:lnTo>
                    <a:pt x="1049" y="719"/>
                  </a:lnTo>
                  <a:lnTo>
                    <a:pt x="1047" y="721"/>
                  </a:lnTo>
                  <a:lnTo>
                    <a:pt x="1047" y="725"/>
                  </a:lnTo>
                  <a:lnTo>
                    <a:pt x="1049" y="725"/>
                  </a:lnTo>
                  <a:lnTo>
                    <a:pt x="1051" y="721"/>
                  </a:lnTo>
                  <a:lnTo>
                    <a:pt x="1051" y="721"/>
                  </a:lnTo>
                  <a:lnTo>
                    <a:pt x="1051" y="725"/>
                  </a:lnTo>
                  <a:lnTo>
                    <a:pt x="1047" y="727"/>
                  </a:lnTo>
                  <a:lnTo>
                    <a:pt x="1045" y="731"/>
                  </a:lnTo>
                  <a:lnTo>
                    <a:pt x="1045" y="734"/>
                  </a:lnTo>
                  <a:lnTo>
                    <a:pt x="1051" y="736"/>
                  </a:lnTo>
                  <a:lnTo>
                    <a:pt x="1049" y="740"/>
                  </a:lnTo>
                  <a:lnTo>
                    <a:pt x="1051" y="748"/>
                  </a:lnTo>
                  <a:lnTo>
                    <a:pt x="1051" y="751"/>
                  </a:lnTo>
                  <a:lnTo>
                    <a:pt x="1051" y="751"/>
                  </a:lnTo>
                  <a:lnTo>
                    <a:pt x="1051" y="755"/>
                  </a:lnTo>
                  <a:lnTo>
                    <a:pt x="1045" y="761"/>
                  </a:lnTo>
                  <a:lnTo>
                    <a:pt x="1047" y="765"/>
                  </a:lnTo>
                  <a:lnTo>
                    <a:pt x="1045" y="765"/>
                  </a:lnTo>
                  <a:lnTo>
                    <a:pt x="1041" y="765"/>
                  </a:lnTo>
                  <a:lnTo>
                    <a:pt x="1036" y="765"/>
                  </a:lnTo>
                  <a:lnTo>
                    <a:pt x="1032" y="766"/>
                  </a:lnTo>
                  <a:lnTo>
                    <a:pt x="1032" y="770"/>
                  </a:lnTo>
                  <a:lnTo>
                    <a:pt x="1030" y="772"/>
                  </a:lnTo>
                  <a:lnTo>
                    <a:pt x="1026" y="776"/>
                  </a:lnTo>
                  <a:lnTo>
                    <a:pt x="1024" y="776"/>
                  </a:lnTo>
                  <a:lnTo>
                    <a:pt x="1019" y="781"/>
                  </a:lnTo>
                  <a:lnTo>
                    <a:pt x="1017" y="781"/>
                  </a:lnTo>
                  <a:lnTo>
                    <a:pt x="1013" y="781"/>
                  </a:lnTo>
                  <a:lnTo>
                    <a:pt x="1011" y="785"/>
                  </a:lnTo>
                  <a:lnTo>
                    <a:pt x="1002" y="785"/>
                  </a:lnTo>
                  <a:lnTo>
                    <a:pt x="1002" y="785"/>
                  </a:lnTo>
                  <a:lnTo>
                    <a:pt x="1002" y="781"/>
                  </a:lnTo>
                  <a:lnTo>
                    <a:pt x="1002" y="778"/>
                  </a:lnTo>
                  <a:lnTo>
                    <a:pt x="998" y="776"/>
                  </a:lnTo>
                  <a:lnTo>
                    <a:pt x="998" y="774"/>
                  </a:lnTo>
                  <a:lnTo>
                    <a:pt x="1002" y="772"/>
                  </a:lnTo>
                  <a:lnTo>
                    <a:pt x="1002" y="770"/>
                  </a:lnTo>
                  <a:lnTo>
                    <a:pt x="1005" y="765"/>
                  </a:lnTo>
                  <a:lnTo>
                    <a:pt x="1002" y="768"/>
                  </a:lnTo>
                  <a:lnTo>
                    <a:pt x="998" y="768"/>
                  </a:lnTo>
                  <a:lnTo>
                    <a:pt x="998" y="761"/>
                  </a:lnTo>
                  <a:lnTo>
                    <a:pt x="998" y="761"/>
                  </a:lnTo>
                  <a:lnTo>
                    <a:pt x="996" y="755"/>
                  </a:lnTo>
                  <a:lnTo>
                    <a:pt x="992" y="761"/>
                  </a:lnTo>
                  <a:lnTo>
                    <a:pt x="990" y="757"/>
                  </a:lnTo>
                  <a:lnTo>
                    <a:pt x="987" y="757"/>
                  </a:lnTo>
                  <a:lnTo>
                    <a:pt x="983" y="765"/>
                  </a:lnTo>
                  <a:lnTo>
                    <a:pt x="985" y="765"/>
                  </a:lnTo>
                  <a:lnTo>
                    <a:pt x="990" y="761"/>
                  </a:lnTo>
                  <a:lnTo>
                    <a:pt x="992" y="761"/>
                  </a:lnTo>
                  <a:lnTo>
                    <a:pt x="992" y="765"/>
                  </a:lnTo>
                  <a:lnTo>
                    <a:pt x="996" y="765"/>
                  </a:lnTo>
                  <a:lnTo>
                    <a:pt x="998" y="772"/>
                  </a:lnTo>
                  <a:lnTo>
                    <a:pt x="996" y="778"/>
                  </a:lnTo>
                  <a:lnTo>
                    <a:pt x="998" y="778"/>
                  </a:lnTo>
                  <a:lnTo>
                    <a:pt x="998" y="781"/>
                  </a:lnTo>
                  <a:lnTo>
                    <a:pt x="998" y="785"/>
                  </a:lnTo>
                  <a:lnTo>
                    <a:pt x="998" y="785"/>
                  </a:lnTo>
                  <a:lnTo>
                    <a:pt x="998" y="789"/>
                  </a:lnTo>
                  <a:lnTo>
                    <a:pt x="996" y="789"/>
                  </a:lnTo>
                  <a:lnTo>
                    <a:pt x="990" y="785"/>
                  </a:lnTo>
                  <a:lnTo>
                    <a:pt x="990" y="781"/>
                  </a:lnTo>
                  <a:lnTo>
                    <a:pt x="987" y="781"/>
                  </a:lnTo>
                  <a:lnTo>
                    <a:pt x="987" y="778"/>
                  </a:lnTo>
                  <a:lnTo>
                    <a:pt x="985" y="781"/>
                  </a:lnTo>
                  <a:lnTo>
                    <a:pt x="988" y="785"/>
                  </a:lnTo>
                  <a:lnTo>
                    <a:pt x="987" y="785"/>
                  </a:lnTo>
                  <a:lnTo>
                    <a:pt x="983" y="785"/>
                  </a:lnTo>
                  <a:lnTo>
                    <a:pt x="981" y="785"/>
                  </a:lnTo>
                  <a:lnTo>
                    <a:pt x="981" y="781"/>
                  </a:lnTo>
                  <a:lnTo>
                    <a:pt x="975" y="781"/>
                  </a:lnTo>
                  <a:lnTo>
                    <a:pt x="975" y="781"/>
                  </a:lnTo>
                  <a:lnTo>
                    <a:pt x="977" y="776"/>
                  </a:lnTo>
                  <a:lnTo>
                    <a:pt x="981" y="774"/>
                  </a:lnTo>
                  <a:lnTo>
                    <a:pt x="977" y="774"/>
                  </a:lnTo>
                  <a:lnTo>
                    <a:pt x="977" y="772"/>
                  </a:lnTo>
                  <a:lnTo>
                    <a:pt x="972" y="774"/>
                  </a:lnTo>
                  <a:lnTo>
                    <a:pt x="968" y="774"/>
                  </a:lnTo>
                  <a:lnTo>
                    <a:pt x="964" y="772"/>
                  </a:lnTo>
                  <a:lnTo>
                    <a:pt x="962" y="772"/>
                  </a:lnTo>
                  <a:lnTo>
                    <a:pt x="956" y="770"/>
                  </a:lnTo>
                  <a:lnTo>
                    <a:pt x="956" y="772"/>
                  </a:lnTo>
                  <a:lnTo>
                    <a:pt x="958" y="774"/>
                  </a:lnTo>
                  <a:lnTo>
                    <a:pt x="956" y="776"/>
                  </a:lnTo>
                  <a:lnTo>
                    <a:pt x="956" y="780"/>
                  </a:lnTo>
                  <a:lnTo>
                    <a:pt x="958" y="781"/>
                  </a:lnTo>
                  <a:lnTo>
                    <a:pt x="962" y="781"/>
                  </a:lnTo>
                  <a:lnTo>
                    <a:pt x="966" y="785"/>
                  </a:lnTo>
                  <a:lnTo>
                    <a:pt x="962" y="791"/>
                  </a:lnTo>
                  <a:lnTo>
                    <a:pt x="960" y="791"/>
                  </a:lnTo>
                  <a:lnTo>
                    <a:pt x="951" y="798"/>
                  </a:lnTo>
                  <a:lnTo>
                    <a:pt x="947" y="804"/>
                  </a:lnTo>
                  <a:lnTo>
                    <a:pt x="943" y="810"/>
                  </a:lnTo>
                  <a:lnTo>
                    <a:pt x="941" y="808"/>
                  </a:lnTo>
                  <a:lnTo>
                    <a:pt x="938" y="810"/>
                  </a:lnTo>
                  <a:lnTo>
                    <a:pt x="936" y="815"/>
                  </a:lnTo>
                  <a:lnTo>
                    <a:pt x="932" y="815"/>
                  </a:lnTo>
                  <a:lnTo>
                    <a:pt x="923" y="814"/>
                  </a:lnTo>
                  <a:lnTo>
                    <a:pt x="917" y="810"/>
                  </a:lnTo>
                  <a:lnTo>
                    <a:pt x="917" y="806"/>
                  </a:lnTo>
                  <a:lnTo>
                    <a:pt x="911" y="802"/>
                  </a:lnTo>
                  <a:lnTo>
                    <a:pt x="911" y="800"/>
                  </a:lnTo>
                  <a:lnTo>
                    <a:pt x="913" y="800"/>
                  </a:lnTo>
                  <a:lnTo>
                    <a:pt x="913" y="798"/>
                  </a:lnTo>
                  <a:lnTo>
                    <a:pt x="913" y="797"/>
                  </a:lnTo>
                  <a:lnTo>
                    <a:pt x="909" y="797"/>
                  </a:lnTo>
                  <a:lnTo>
                    <a:pt x="906" y="789"/>
                  </a:lnTo>
                  <a:lnTo>
                    <a:pt x="900" y="785"/>
                  </a:lnTo>
                  <a:lnTo>
                    <a:pt x="892" y="785"/>
                  </a:lnTo>
                  <a:lnTo>
                    <a:pt x="889" y="781"/>
                  </a:lnTo>
                  <a:lnTo>
                    <a:pt x="879" y="781"/>
                  </a:lnTo>
                  <a:lnTo>
                    <a:pt x="876" y="781"/>
                  </a:lnTo>
                  <a:lnTo>
                    <a:pt x="876" y="781"/>
                  </a:lnTo>
                  <a:lnTo>
                    <a:pt x="879" y="785"/>
                  </a:lnTo>
                  <a:lnTo>
                    <a:pt x="879" y="785"/>
                  </a:lnTo>
                  <a:lnTo>
                    <a:pt x="883" y="785"/>
                  </a:lnTo>
                  <a:lnTo>
                    <a:pt x="889" y="785"/>
                  </a:lnTo>
                  <a:lnTo>
                    <a:pt x="898" y="785"/>
                  </a:lnTo>
                  <a:lnTo>
                    <a:pt x="900" y="789"/>
                  </a:lnTo>
                  <a:lnTo>
                    <a:pt x="898" y="789"/>
                  </a:lnTo>
                  <a:lnTo>
                    <a:pt x="898" y="789"/>
                  </a:lnTo>
                  <a:lnTo>
                    <a:pt x="896" y="791"/>
                  </a:lnTo>
                  <a:lnTo>
                    <a:pt x="898" y="795"/>
                  </a:lnTo>
                  <a:lnTo>
                    <a:pt x="898" y="798"/>
                  </a:lnTo>
                  <a:lnTo>
                    <a:pt x="900" y="798"/>
                  </a:lnTo>
                  <a:lnTo>
                    <a:pt x="904" y="808"/>
                  </a:lnTo>
                  <a:lnTo>
                    <a:pt x="906" y="814"/>
                  </a:lnTo>
                  <a:lnTo>
                    <a:pt x="913" y="815"/>
                  </a:lnTo>
                  <a:lnTo>
                    <a:pt x="919" y="815"/>
                  </a:lnTo>
                  <a:lnTo>
                    <a:pt x="934" y="819"/>
                  </a:lnTo>
                  <a:lnTo>
                    <a:pt x="934" y="823"/>
                  </a:lnTo>
                  <a:lnTo>
                    <a:pt x="932" y="825"/>
                  </a:lnTo>
                  <a:lnTo>
                    <a:pt x="928" y="829"/>
                  </a:lnTo>
                  <a:lnTo>
                    <a:pt x="924" y="830"/>
                  </a:lnTo>
                  <a:lnTo>
                    <a:pt x="919" y="838"/>
                  </a:lnTo>
                  <a:lnTo>
                    <a:pt x="919" y="836"/>
                  </a:lnTo>
                  <a:lnTo>
                    <a:pt x="917" y="836"/>
                  </a:lnTo>
                  <a:lnTo>
                    <a:pt x="917" y="840"/>
                  </a:lnTo>
                  <a:lnTo>
                    <a:pt x="906" y="851"/>
                  </a:lnTo>
                  <a:lnTo>
                    <a:pt x="900" y="853"/>
                  </a:lnTo>
                  <a:lnTo>
                    <a:pt x="896" y="859"/>
                  </a:lnTo>
                  <a:lnTo>
                    <a:pt x="892" y="859"/>
                  </a:lnTo>
                  <a:lnTo>
                    <a:pt x="892" y="859"/>
                  </a:lnTo>
                  <a:lnTo>
                    <a:pt x="889" y="859"/>
                  </a:lnTo>
                  <a:lnTo>
                    <a:pt x="889" y="861"/>
                  </a:lnTo>
                  <a:lnTo>
                    <a:pt x="885" y="855"/>
                  </a:lnTo>
                  <a:lnTo>
                    <a:pt x="883" y="853"/>
                  </a:lnTo>
                  <a:lnTo>
                    <a:pt x="879" y="857"/>
                  </a:lnTo>
                  <a:lnTo>
                    <a:pt x="879" y="853"/>
                  </a:lnTo>
                  <a:lnTo>
                    <a:pt x="877" y="853"/>
                  </a:lnTo>
                  <a:lnTo>
                    <a:pt x="879" y="849"/>
                  </a:lnTo>
                  <a:lnTo>
                    <a:pt x="879" y="849"/>
                  </a:lnTo>
                  <a:lnTo>
                    <a:pt x="877" y="846"/>
                  </a:lnTo>
                  <a:lnTo>
                    <a:pt x="874" y="849"/>
                  </a:lnTo>
                  <a:lnTo>
                    <a:pt x="872" y="855"/>
                  </a:lnTo>
                  <a:lnTo>
                    <a:pt x="872" y="851"/>
                  </a:lnTo>
                  <a:lnTo>
                    <a:pt x="868" y="846"/>
                  </a:lnTo>
                  <a:lnTo>
                    <a:pt x="868" y="851"/>
                  </a:lnTo>
                  <a:lnTo>
                    <a:pt x="870" y="853"/>
                  </a:lnTo>
                  <a:lnTo>
                    <a:pt x="868" y="861"/>
                  </a:lnTo>
                  <a:lnTo>
                    <a:pt x="864" y="868"/>
                  </a:lnTo>
                  <a:lnTo>
                    <a:pt x="864" y="866"/>
                  </a:lnTo>
                  <a:lnTo>
                    <a:pt x="862" y="864"/>
                  </a:lnTo>
                  <a:lnTo>
                    <a:pt x="859" y="861"/>
                  </a:lnTo>
                  <a:lnTo>
                    <a:pt x="859" y="864"/>
                  </a:lnTo>
                  <a:lnTo>
                    <a:pt x="859" y="866"/>
                  </a:lnTo>
                  <a:lnTo>
                    <a:pt x="855" y="868"/>
                  </a:lnTo>
                  <a:lnTo>
                    <a:pt x="855" y="870"/>
                  </a:lnTo>
                  <a:lnTo>
                    <a:pt x="855" y="870"/>
                  </a:lnTo>
                  <a:lnTo>
                    <a:pt x="851" y="870"/>
                  </a:lnTo>
                  <a:lnTo>
                    <a:pt x="851" y="866"/>
                  </a:lnTo>
                  <a:lnTo>
                    <a:pt x="847" y="864"/>
                  </a:lnTo>
                  <a:lnTo>
                    <a:pt x="844" y="859"/>
                  </a:lnTo>
                  <a:lnTo>
                    <a:pt x="836" y="857"/>
                  </a:lnTo>
                  <a:lnTo>
                    <a:pt x="830" y="851"/>
                  </a:lnTo>
                  <a:lnTo>
                    <a:pt x="828" y="846"/>
                  </a:lnTo>
                  <a:lnTo>
                    <a:pt x="825" y="846"/>
                  </a:lnTo>
                  <a:lnTo>
                    <a:pt x="819" y="844"/>
                  </a:lnTo>
                  <a:lnTo>
                    <a:pt x="817" y="840"/>
                  </a:lnTo>
                  <a:lnTo>
                    <a:pt x="817" y="846"/>
                  </a:lnTo>
                  <a:lnTo>
                    <a:pt x="813" y="846"/>
                  </a:lnTo>
                  <a:lnTo>
                    <a:pt x="815" y="849"/>
                  </a:lnTo>
                  <a:lnTo>
                    <a:pt x="819" y="851"/>
                  </a:lnTo>
                  <a:lnTo>
                    <a:pt x="821" y="849"/>
                  </a:lnTo>
                  <a:lnTo>
                    <a:pt x="819" y="849"/>
                  </a:lnTo>
                  <a:lnTo>
                    <a:pt x="819" y="846"/>
                  </a:lnTo>
                  <a:lnTo>
                    <a:pt x="821" y="846"/>
                  </a:lnTo>
                  <a:lnTo>
                    <a:pt x="828" y="853"/>
                  </a:lnTo>
                  <a:lnTo>
                    <a:pt x="834" y="859"/>
                  </a:lnTo>
                  <a:lnTo>
                    <a:pt x="836" y="861"/>
                  </a:lnTo>
                  <a:lnTo>
                    <a:pt x="830" y="862"/>
                  </a:lnTo>
                  <a:lnTo>
                    <a:pt x="828" y="864"/>
                  </a:lnTo>
                  <a:lnTo>
                    <a:pt x="825" y="862"/>
                  </a:lnTo>
                  <a:lnTo>
                    <a:pt x="827" y="866"/>
                  </a:lnTo>
                  <a:lnTo>
                    <a:pt x="827" y="866"/>
                  </a:lnTo>
                  <a:lnTo>
                    <a:pt x="828" y="866"/>
                  </a:lnTo>
                  <a:lnTo>
                    <a:pt x="834" y="864"/>
                  </a:lnTo>
                  <a:lnTo>
                    <a:pt x="838" y="861"/>
                  </a:lnTo>
                  <a:lnTo>
                    <a:pt x="840" y="861"/>
                  </a:lnTo>
                  <a:lnTo>
                    <a:pt x="844" y="862"/>
                  </a:lnTo>
                  <a:lnTo>
                    <a:pt x="844" y="868"/>
                  </a:lnTo>
                  <a:lnTo>
                    <a:pt x="851" y="876"/>
                  </a:lnTo>
                  <a:lnTo>
                    <a:pt x="849" y="883"/>
                  </a:lnTo>
                  <a:lnTo>
                    <a:pt x="845" y="889"/>
                  </a:lnTo>
                  <a:lnTo>
                    <a:pt x="844" y="889"/>
                  </a:lnTo>
                  <a:lnTo>
                    <a:pt x="840" y="891"/>
                  </a:lnTo>
                  <a:lnTo>
                    <a:pt x="834" y="891"/>
                  </a:lnTo>
                  <a:lnTo>
                    <a:pt x="830" y="889"/>
                  </a:lnTo>
                  <a:lnTo>
                    <a:pt x="825" y="887"/>
                  </a:lnTo>
                  <a:lnTo>
                    <a:pt x="819" y="883"/>
                  </a:lnTo>
                  <a:lnTo>
                    <a:pt x="817" y="876"/>
                  </a:lnTo>
                  <a:lnTo>
                    <a:pt x="815" y="874"/>
                  </a:lnTo>
                  <a:lnTo>
                    <a:pt x="813" y="876"/>
                  </a:lnTo>
                  <a:lnTo>
                    <a:pt x="813" y="876"/>
                  </a:lnTo>
                  <a:lnTo>
                    <a:pt x="813" y="879"/>
                  </a:lnTo>
                  <a:lnTo>
                    <a:pt x="817" y="883"/>
                  </a:lnTo>
                  <a:lnTo>
                    <a:pt x="821" y="893"/>
                  </a:lnTo>
                  <a:lnTo>
                    <a:pt x="825" y="898"/>
                  </a:lnTo>
                  <a:lnTo>
                    <a:pt x="823" y="900"/>
                  </a:lnTo>
                  <a:lnTo>
                    <a:pt x="819" y="900"/>
                  </a:lnTo>
                  <a:lnTo>
                    <a:pt x="815" y="900"/>
                  </a:lnTo>
                  <a:lnTo>
                    <a:pt x="815" y="895"/>
                  </a:lnTo>
                  <a:lnTo>
                    <a:pt x="813" y="898"/>
                  </a:lnTo>
                  <a:lnTo>
                    <a:pt x="812" y="898"/>
                  </a:lnTo>
                  <a:lnTo>
                    <a:pt x="813" y="900"/>
                  </a:lnTo>
                  <a:lnTo>
                    <a:pt x="817" y="902"/>
                  </a:lnTo>
                  <a:lnTo>
                    <a:pt x="817" y="904"/>
                  </a:lnTo>
                  <a:lnTo>
                    <a:pt x="812" y="904"/>
                  </a:lnTo>
                  <a:lnTo>
                    <a:pt x="810" y="902"/>
                  </a:lnTo>
                  <a:lnTo>
                    <a:pt x="810" y="904"/>
                  </a:lnTo>
                  <a:lnTo>
                    <a:pt x="812" y="908"/>
                  </a:lnTo>
                  <a:lnTo>
                    <a:pt x="812" y="910"/>
                  </a:lnTo>
                  <a:lnTo>
                    <a:pt x="810" y="913"/>
                  </a:lnTo>
                  <a:lnTo>
                    <a:pt x="810" y="910"/>
                  </a:lnTo>
                  <a:lnTo>
                    <a:pt x="806" y="910"/>
                  </a:lnTo>
                  <a:lnTo>
                    <a:pt x="806" y="910"/>
                  </a:lnTo>
                  <a:lnTo>
                    <a:pt x="806" y="913"/>
                  </a:lnTo>
                  <a:lnTo>
                    <a:pt x="806" y="913"/>
                  </a:lnTo>
                  <a:lnTo>
                    <a:pt x="800" y="913"/>
                  </a:lnTo>
                  <a:lnTo>
                    <a:pt x="800" y="913"/>
                  </a:lnTo>
                  <a:lnTo>
                    <a:pt x="795" y="915"/>
                  </a:lnTo>
                  <a:lnTo>
                    <a:pt x="796" y="917"/>
                  </a:lnTo>
                  <a:lnTo>
                    <a:pt x="798" y="921"/>
                  </a:lnTo>
                  <a:lnTo>
                    <a:pt x="796" y="921"/>
                  </a:lnTo>
                  <a:lnTo>
                    <a:pt x="795" y="919"/>
                  </a:lnTo>
                  <a:lnTo>
                    <a:pt x="791" y="915"/>
                  </a:lnTo>
                  <a:lnTo>
                    <a:pt x="787" y="915"/>
                  </a:lnTo>
                  <a:lnTo>
                    <a:pt x="787" y="917"/>
                  </a:lnTo>
                  <a:lnTo>
                    <a:pt x="785" y="919"/>
                  </a:lnTo>
                  <a:lnTo>
                    <a:pt x="791" y="923"/>
                  </a:lnTo>
                  <a:lnTo>
                    <a:pt x="789" y="925"/>
                  </a:lnTo>
                  <a:lnTo>
                    <a:pt x="789" y="927"/>
                  </a:lnTo>
                  <a:lnTo>
                    <a:pt x="785" y="927"/>
                  </a:lnTo>
                  <a:lnTo>
                    <a:pt x="781" y="932"/>
                  </a:lnTo>
                  <a:lnTo>
                    <a:pt x="780" y="934"/>
                  </a:lnTo>
                  <a:lnTo>
                    <a:pt x="780" y="934"/>
                  </a:lnTo>
                  <a:lnTo>
                    <a:pt x="780" y="938"/>
                  </a:lnTo>
                  <a:lnTo>
                    <a:pt x="776" y="938"/>
                  </a:lnTo>
                  <a:lnTo>
                    <a:pt x="776" y="940"/>
                  </a:lnTo>
                  <a:lnTo>
                    <a:pt x="776" y="943"/>
                  </a:lnTo>
                  <a:lnTo>
                    <a:pt x="772" y="945"/>
                  </a:lnTo>
                  <a:lnTo>
                    <a:pt x="766" y="951"/>
                  </a:lnTo>
                  <a:lnTo>
                    <a:pt x="763" y="953"/>
                  </a:lnTo>
                  <a:lnTo>
                    <a:pt x="763" y="957"/>
                  </a:lnTo>
                  <a:lnTo>
                    <a:pt x="759" y="959"/>
                  </a:lnTo>
                  <a:lnTo>
                    <a:pt x="755" y="957"/>
                  </a:lnTo>
                  <a:lnTo>
                    <a:pt x="755" y="959"/>
                  </a:lnTo>
                  <a:lnTo>
                    <a:pt x="755" y="964"/>
                  </a:lnTo>
                  <a:lnTo>
                    <a:pt x="751" y="968"/>
                  </a:lnTo>
                  <a:lnTo>
                    <a:pt x="751" y="972"/>
                  </a:lnTo>
                  <a:lnTo>
                    <a:pt x="749" y="977"/>
                  </a:lnTo>
                  <a:lnTo>
                    <a:pt x="748" y="981"/>
                  </a:lnTo>
                  <a:lnTo>
                    <a:pt x="746" y="983"/>
                  </a:lnTo>
                  <a:lnTo>
                    <a:pt x="742" y="989"/>
                  </a:lnTo>
                  <a:lnTo>
                    <a:pt x="742" y="992"/>
                  </a:lnTo>
                  <a:lnTo>
                    <a:pt x="742" y="998"/>
                  </a:lnTo>
                  <a:lnTo>
                    <a:pt x="740" y="1002"/>
                  </a:lnTo>
                  <a:lnTo>
                    <a:pt x="738" y="1006"/>
                  </a:lnTo>
                  <a:lnTo>
                    <a:pt x="736" y="1008"/>
                  </a:lnTo>
                  <a:lnTo>
                    <a:pt x="734" y="1009"/>
                  </a:lnTo>
                  <a:lnTo>
                    <a:pt x="738" y="1009"/>
                  </a:lnTo>
                  <a:lnTo>
                    <a:pt x="738" y="1013"/>
                  </a:lnTo>
                  <a:lnTo>
                    <a:pt x="738" y="1017"/>
                  </a:lnTo>
                  <a:lnTo>
                    <a:pt x="740" y="1019"/>
                  </a:lnTo>
                  <a:lnTo>
                    <a:pt x="740" y="1023"/>
                  </a:lnTo>
                  <a:lnTo>
                    <a:pt x="742" y="1023"/>
                  </a:lnTo>
                  <a:lnTo>
                    <a:pt x="738" y="1032"/>
                  </a:lnTo>
                  <a:lnTo>
                    <a:pt x="732" y="1038"/>
                  </a:lnTo>
                  <a:lnTo>
                    <a:pt x="721" y="1040"/>
                  </a:lnTo>
                  <a:lnTo>
                    <a:pt x="721" y="1043"/>
                  </a:lnTo>
                  <a:lnTo>
                    <a:pt x="727" y="1040"/>
                  </a:lnTo>
                  <a:lnTo>
                    <a:pt x="734" y="1038"/>
                  </a:lnTo>
                  <a:lnTo>
                    <a:pt x="742" y="1032"/>
                  </a:lnTo>
                  <a:lnTo>
                    <a:pt x="746" y="1021"/>
                  </a:lnTo>
                  <a:lnTo>
                    <a:pt x="755" y="1021"/>
                  </a:lnTo>
                  <a:lnTo>
                    <a:pt x="759" y="1023"/>
                  </a:lnTo>
                  <a:lnTo>
                    <a:pt x="759" y="1026"/>
                  </a:lnTo>
                  <a:lnTo>
                    <a:pt x="757" y="1028"/>
                  </a:lnTo>
                  <a:lnTo>
                    <a:pt x="757" y="1034"/>
                  </a:lnTo>
                  <a:lnTo>
                    <a:pt x="761" y="1040"/>
                  </a:lnTo>
                  <a:lnTo>
                    <a:pt x="761" y="1047"/>
                  </a:lnTo>
                  <a:lnTo>
                    <a:pt x="757" y="1053"/>
                  </a:lnTo>
                  <a:lnTo>
                    <a:pt x="759" y="1057"/>
                  </a:lnTo>
                  <a:lnTo>
                    <a:pt x="761" y="1066"/>
                  </a:lnTo>
                  <a:lnTo>
                    <a:pt x="759" y="1068"/>
                  </a:lnTo>
                  <a:lnTo>
                    <a:pt x="749" y="1079"/>
                  </a:lnTo>
                  <a:lnTo>
                    <a:pt x="742" y="1081"/>
                  </a:lnTo>
                  <a:lnTo>
                    <a:pt x="738" y="1081"/>
                  </a:lnTo>
                  <a:lnTo>
                    <a:pt x="742" y="1083"/>
                  </a:lnTo>
                  <a:lnTo>
                    <a:pt x="749" y="1083"/>
                  </a:lnTo>
                  <a:lnTo>
                    <a:pt x="761" y="1077"/>
                  </a:lnTo>
                  <a:lnTo>
                    <a:pt x="776" y="1073"/>
                  </a:lnTo>
                  <a:lnTo>
                    <a:pt x="781" y="1072"/>
                  </a:lnTo>
                  <a:lnTo>
                    <a:pt x="789" y="1077"/>
                  </a:lnTo>
                  <a:lnTo>
                    <a:pt x="795" y="1083"/>
                  </a:lnTo>
                  <a:lnTo>
                    <a:pt x="804" y="1087"/>
                  </a:lnTo>
                  <a:lnTo>
                    <a:pt x="806" y="1087"/>
                  </a:lnTo>
                  <a:lnTo>
                    <a:pt x="810" y="1087"/>
                  </a:lnTo>
                  <a:lnTo>
                    <a:pt x="813" y="1096"/>
                  </a:lnTo>
                  <a:lnTo>
                    <a:pt x="817" y="1096"/>
                  </a:lnTo>
                  <a:lnTo>
                    <a:pt x="821" y="1100"/>
                  </a:lnTo>
                  <a:lnTo>
                    <a:pt x="825" y="1104"/>
                  </a:lnTo>
                  <a:lnTo>
                    <a:pt x="825" y="1105"/>
                  </a:lnTo>
                  <a:lnTo>
                    <a:pt x="827" y="1109"/>
                  </a:lnTo>
                  <a:lnTo>
                    <a:pt x="828" y="1115"/>
                  </a:lnTo>
                  <a:lnTo>
                    <a:pt x="828" y="1117"/>
                  </a:lnTo>
                  <a:lnTo>
                    <a:pt x="830" y="1117"/>
                  </a:lnTo>
                  <a:lnTo>
                    <a:pt x="834" y="1117"/>
                  </a:lnTo>
                  <a:lnTo>
                    <a:pt x="840" y="1122"/>
                  </a:lnTo>
                  <a:lnTo>
                    <a:pt x="844" y="1122"/>
                  </a:lnTo>
                  <a:lnTo>
                    <a:pt x="849" y="1126"/>
                  </a:lnTo>
                  <a:lnTo>
                    <a:pt x="851" y="1128"/>
                  </a:lnTo>
                  <a:lnTo>
                    <a:pt x="859" y="1134"/>
                  </a:lnTo>
                  <a:lnTo>
                    <a:pt x="859" y="1138"/>
                  </a:lnTo>
                  <a:lnTo>
                    <a:pt x="864" y="1141"/>
                  </a:lnTo>
                  <a:lnTo>
                    <a:pt x="862" y="1143"/>
                  </a:lnTo>
                  <a:lnTo>
                    <a:pt x="864" y="1145"/>
                  </a:lnTo>
                  <a:lnTo>
                    <a:pt x="868" y="1145"/>
                  </a:lnTo>
                  <a:lnTo>
                    <a:pt x="870" y="1145"/>
                  </a:lnTo>
                  <a:lnTo>
                    <a:pt x="876" y="1145"/>
                  </a:lnTo>
                  <a:lnTo>
                    <a:pt x="883" y="1145"/>
                  </a:lnTo>
                  <a:lnTo>
                    <a:pt x="885" y="1147"/>
                  </a:lnTo>
                  <a:lnTo>
                    <a:pt x="887" y="1147"/>
                  </a:lnTo>
                  <a:lnTo>
                    <a:pt x="892" y="1147"/>
                  </a:lnTo>
                  <a:lnTo>
                    <a:pt x="898" y="1147"/>
                  </a:lnTo>
                  <a:lnTo>
                    <a:pt x="902" y="1147"/>
                  </a:lnTo>
                  <a:lnTo>
                    <a:pt x="906" y="1147"/>
                  </a:lnTo>
                  <a:lnTo>
                    <a:pt x="906" y="1147"/>
                  </a:lnTo>
                  <a:lnTo>
                    <a:pt x="906" y="1147"/>
                  </a:lnTo>
                  <a:lnTo>
                    <a:pt x="908" y="1147"/>
                  </a:lnTo>
                  <a:lnTo>
                    <a:pt x="909" y="1153"/>
                  </a:lnTo>
                  <a:lnTo>
                    <a:pt x="904" y="1162"/>
                  </a:lnTo>
                  <a:lnTo>
                    <a:pt x="904" y="1166"/>
                  </a:lnTo>
                  <a:lnTo>
                    <a:pt x="902" y="1170"/>
                  </a:lnTo>
                  <a:lnTo>
                    <a:pt x="898" y="1175"/>
                  </a:lnTo>
                  <a:lnTo>
                    <a:pt x="898" y="1177"/>
                  </a:lnTo>
                  <a:lnTo>
                    <a:pt x="900" y="1181"/>
                  </a:lnTo>
                  <a:lnTo>
                    <a:pt x="900" y="1186"/>
                  </a:lnTo>
                  <a:lnTo>
                    <a:pt x="896" y="1194"/>
                  </a:lnTo>
                  <a:lnTo>
                    <a:pt x="896" y="1198"/>
                  </a:lnTo>
                  <a:lnTo>
                    <a:pt x="894" y="1202"/>
                  </a:lnTo>
                  <a:lnTo>
                    <a:pt x="892" y="1205"/>
                  </a:lnTo>
                  <a:lnTo>
                    <a:pt x="889" y="1215"/>
                  </a:lnTo>
                  <a:lnTo>
                    <a:pt x="889" y="1217"/>
                  </a:lnTo>
                  <a:lnTo>
                    <a:pt x="894" y="1219"/>
                  </a:lnTo>
                  <a:lnTo>
                    <a:pt x="894" y="1224"/>
                  </a:lnTo>
                  <a:lnTo>
                    <a:pt x="896" y="1226"/>
                  </a:lnTo>
                  <a:lnTo>
                    <a:pt x="898" y="1228"/>
                  </a:lnTo>
                  <a:lnTo>
                    <a:pt x="898" y="1232"/>
                  </a:lnTo>
                  <a:lnTo>
                    <a:pt x="898" y="1234"/>
                  </a:lnTo>
                  <a:lnTo>
                    <a:pt x="898" y="1235"/>
                  </a:lnTo>
                  <a:lnTo>
                    <a:pt x="902" y="1235"/>
                  </a:lnTo>
                  <a:lnTo>
                    <a:pt x="906" y="1239"/>
                  </a:lnTo>
                  <a:lnTo>
                    <a:pt x="908" y="1239"/>
                  </a:lnTo>
                  <a:lnTo>
                    <a:pt x="908" y="1241"/>
                  </a:lnTo>
                  <a:lnTo>
                    <a:pt x="911" y="1245"/>
                  </a:lnTo>
                  <a:lnTo>
                    <a:pt x="911" y="1251"/>
                  </a:lnTo>
                  <a:lnTo>
                    <a:pt x="913" y="1252"/>
                  </a:lnTo>
                  <a:lnTo>
                    <a:pt x="911" y="1258"/>
                  </a:lnTo>
                  <a:lnTo>
                    <a:pt x="904" y="1266"/>
                  </a:lnTo>
                  <a:lnTo>
                    <a:pt x="909" y="1262"/>
                  </a:lnTo>
                  <a:lnTo>
                    <a:pt x="913" y="1260"/>
                  </a:lnTo>
                  <a:lnTo>
                    <a:pt x="917" y="1260"/>
                  </a:lnTo>
                  <a:lnTo>
                    <a:pt x="923" y="1264"/>
                  </a:lnTo>
                  <a:lnTo>
                    <a:pt x="924" y="1264"/>
                  </a:lnTo>
                  <a:lnTo>
                    <a:pt x="924" y="1262"/>
                  </a:lnTo>
                  <a:lnTo>
                    <a:pt x="924" y="1258"/>
                  </a:lnTo>
                  <a:lnTo>
                    <a:pt x="932" y="1249"/>
                  </a:lnTo>
                  <a:lnTo>
                    <a:pt x="934" y="1249"/>
                  </a:lnTo>
                  <a:lnTo>
                    <a:pt x="932" y="1252"/>
                  </a:lnTo>
                  <a:lnTo>
                    <a:pt x="932" y="1254"/>
                  </a:lnTo>
                  <a:lnTo>
                    <a:pt x="936" y="1256"/>
                  </a:lnTo>
                  <a:lnTo>
                    <a:pt x="936" y="1262"/>
                  </a:lnTo>
                  <a:lnTo>
                    <a:pt x="936" y="1266"/>
                  </a:lnTo>
                  <a:lnTo>
                    <a:pt x="940" y="1269"/>
                  </a:lnTo>
                  <a:lnTo>
                    <a:pt x="947" y="1269"/>
                  </a:lnTo>
                  <a:lnTo>
                    <a:pt x="943" y="1269"/>
                  </a:lnTo>
                  <a:lnTo>
                    <a:pt x="940" y="1266"/>
                  </a:lnTo>
                  <a:lnTo>
                    <a:pt x="940" y="1262"/>
                  </a:lnTo>
                  <a:lnTo>
                    <a:pt x="940" y="1254"/>
                  </a:lnTo>
                  <a:lnTo>
                    <a:pt x="941" y="1252"/>
                  </a:lnTo>
                  <a:lnTo>
                    <a:pt x="940" y="1251"/>
                  </a:lnTo>
                  <a:lnTo>
                    <a:pt x="940" y="1247"/>
                  </a:lnTo>
                  <a:lnTo>
                    <a:pt x="941" y="1247"/>
                  </a:lnTo>
                  <a:lnTo>
                    <a:pt x="943" y="1247"/>
                  </a:lnTo>
                  <a:lnTo>
                    <a:pt x="943" y="1241"/>
                  </a:lnTo>
                  <a:lnTo>
                    <a:pt x="947" y="1235"/>
                  </a:lnTo>
                  <a:lnTo>
                    <a:pt x="947" y="1235"/>
                  </a:lnTo>
                  <a:lnTo>
                    <a:pt x="947" y="1230"/>
                  </a:lnTo>
                  <a:lnTo>
                    <a:pt x="943" y="1230"/>
                  </a:lnTo>
                  <a:lnTo>
                    <a:pt x="943" y="1226"/>
                  </a:lnTo>
                  <a:lnTo>
                    <a:pt x="947" y="1220"/>
                  </a:lnTo>
                  <a:lnTo>
                    <a:pt x="947" y="1219"/>
                  </a:lnTo>
                  <a:lnTo>
                    <a:pt x="947" y="1217"/>
                  </a:lnTo>
                  <a:lnTo>
                    <a:pt x="943" y="1215"/>
                  </a:lnTo>
                  <a:lnTo>
                    <a:pt x="943" y="1215"/>
                  </a:lnTo>
                  <a:lnTo>
                    <a:pt x="947" y="1205"/>
                  </a:lnTo>
                  <a:lnTo>
                    <a:pt x="947" y="1202"/>
                  </a:lnTo>
                  <a:lnTo>
                    <a:pt x="947" y="1194"/>
                  </a:lnTo>
                  <a:lnTo>
                    <a:pt x="949" y="1192"/>
                  </a:lnTo>
                  <a:lnTo>
                    <a:pt x="947" y="1188"/>
                  </a:lnTo>
                  <a:lnTo>
                    <a:pt x="949" y="1188"/>
                  </a:lnTo>
                  <a:lnTo>
                    <a:pt x="949" y="1185"/>
                  </a:lnTo>
                  <a:lnTo>
                    <a:pt x="951" y="1185"/>
                  </a:lnTo>
                  <a:lnTo>
                    <a:pt x="949" y="1185"/>
                  </a:lnTo>
                  <a:lnTo>
                    <a:pt x="947" y="1181"/>
                  </a:lnTo>
                  <a:lnTo>
                    <a:pt x="949" y="1181"/>
                  </a:lnTo>
                  <a:lnTo>
                    <a:pt x="947" y="1177"/>
                  </a:lnTo>
                  <a:lnTo>
                    <a:pt x="947" y="1171"/>
                  </a:lnTo>
                  <a:lnTo>
                    <a:pt x="947" y="1171"/>
                  </a:lnTo>
                  <a:lnTo>
                    <a:pt x="947" y="1168"/>
                  </a:lnTo>
                  <a:lnTo>
                    <a:pt x="943" y="1164"/>
                  </a:lnTo>
                  <a:lnTo>
                    <a:pt x="949" y="1162"/>
                  </a:lnTo>
                  <a:lnTo>
                    <a:pt x="956" y="1160"/>
                  </a:lnTo>
                  <a:lnTo>
                    <a:pt x="960" y="1160"/>
                  </a:lnTo>
                  <a:lnTo>
                    <a:pt x="966" y="1160"/>
                  </a:lnTo>
                  <a:lnTo>
                    <a:pt x="968" y="1156"/>
                  </a:lnTo>
                  <a:lnTo>
                    <a:pt x="973" y="1153"/>
                  </a:lnTo>
                  <a:lnTo>
                    <a:pt x="987" y="1151"/>
                  </a:lnTo>
                  <a:lnTo>
                    <a:pt x="987" y="1147"/>
                  </a:lnTo>
                  <a:lnTo>
                    <a:pt x="988" y="1147"/>
                  </a:lnTo>
                  <a:lnTo>
                    <a:pt x="998" y="1141"/>
                  </a:lnTo>
                  <a:lnTo>
                    <a:pt x="998" y="1139"/>
                  </a:lnTo>
                  <a:lnTo>
                    <a:pt x="1002" y="1138"/>
                  </a:lnTo>
                  <a:lnTo>
                    <a:pt x="1005" y="1128"/>
                  </a:lnTo>
                  <a:lnTo>
                    <a:pt x="1009" y="1128"/>
                  </a:lnTo>
                  <a:lnTo>
                    <a:pt x="1011" y="1130"/>
                  </a:lnTo>
                  <a:lnTo>
                    <a:pt x="1015" y="1130"/>
                  </a:lnTo>
                  <a:lnTo>
                    <a:pt x="1017" y="1126"/>
                  </a:lnTo>
                  <a:lnTo>
                    <a:pt x="1015" y="1122"/>
                  </a:lnTo>
                  <a:lnTo>
                    <a:pt x="1013" y="1117"/>
                  </a:lnTo>
                  <a:lnTo>
                    <a:pt x="1011" y="1121"/>
                  </a:lnTo>
                  <a:lnTo>
                    <a:pt x="1011" y="1122"/>
                  </a:lnTo>
                  <a:lnTo>
                    <a:pt x="1009" y="1126"/>
                  </a:lnTo>
                  <a:lnTo>
                    <a:pt x="1009" y="1121"/>
                  </a:lnTo>
                  <a:lnTo>
                    <a:pt x="1013" y="1111"/>
                  </a:lnTo>
                  <a:lnTo>
                    <a:pt x="1015" y="1109"/>
                  </a:lnTo>
                  <a:lnTo>
                    <a:pt x="1015" y="1102"/>
                  </a:lnTo>
                  <a:lnTo>
                    <a:pt x="1015" y="1098"/>
                  </a:lnTo>
                  <a:lnTo>
                    <a:pt x="1013" y="1092"/>
                  </a:lnTo>
                  <a:lnTo>
                    <a:pt x="1013" y="1081"/>
                  </a:lnTo>
                  <a:lnTo>
                    <a:pt x="1011" y="1072"/>
                  </a:lnTo>
                  <a:lnTo>
                    <a:pt x="1005" y="1062"/>
                  </a:lnTo>
                  <a:lnTo>
                    <a:pt x="1002" y="1058"/>
                  </a:lnTo>
                  <a:lnTo>
                    <a:pt x="1002" y="1057"/>
                  </a:lnTo>
                  <a:lnTo>
                    <a:pt x="998" y="1057"/>
                  </a:lnTo>
                  <a:lnTo>
                    <a:pt x="998" y="1053"/>
                  </a:lnTo>
                  <a:lnTo>
                    <a:pt x="998" y="1045"/>
                  </a:lnTo>
                  <a:lnTo>
                    <a:pt x="1002" y="1043"/>
                  </a:lnTo>
                  <a:lnTo>
                    <a:pt x="1011" y="1032"/>
                  </a:lnTo>
                  <a:lnTo>
                    <a:pt x="1015" y="1032"/>
                  </a:lnTo>
                  <a:lnTo>
                    <a:pt x="1017" y="1028"/>
                  </a:lnTo>
                  <a:lnTo>
                    <a:pt x="1017" y="1028"/>
                  </a:lnTo>
                  <a:lnTo>
                    <a:pt x="1017" y="1028"/>
                  </a:lnTo>
                  <a:lnTo>
                    <a:pt x="1017" y="1026"/>
                  </a:lnTo>
                  <a:lnTo>
                    <a:pt x="1020" y="1021"/>
                  </a:lnTo>
                  <a:lnTo>
                    <a:pt x="1022" y="1021"/>
                  </a:lnTo>
                  <a:lnTo>
                    <a:pt x="1024" y="1023"/>
                  </a:lnTo>
                  <a:lnTo>
                    <a:pt x="1026" y="1026"/>
                  </a:lnTo>
                  <a:lnTo>
                    <a:pt x="1026" y="1023"/>
                  </a:lnTo>
                  <a:lnTo>
                    <a:pt x="1026" y="1019"/>
                  </a:lnTo>
                  <a:lnTo>
                    <a:pt x="1030" y="1017"/>
                  </a:lnTo>
                  <a:lnTo>
                    <a:pt x="1032" y="1009"/>
                  </a:lnTo>
                  <a:lnTo>
                    <a:pt x="1032" y="1008"/>
                  </a:lnTo>
                  <a:lnTo>
                    <a:pt x="1026" y="1008"/>
                  </a:lnTo>
                  <a:lnTo>
                    <a:pt x="1026" y="1006"/>
                  </a:lnTo>
                  <a:lnTo>
                    <a:pt x="1030" y="1002"/>
                  </a:lnTo>
                  <a:lnTo>
                    <a:pt x="1030" y="1002"/>
                  </a:lnTo>
                  <a:lnTo>
                    <a:pt x="1026" y="998"/>
                  </a:lnTo>
                  <a:lnTo>
                    <a:pt x="1030" y="996"/>
                  </a:lnTo>
                  <a:lnTo>
                    <a:pt x="1032" y="994"/>
                  </a:lnTo>
                  <a:lnTo>
                    <a:pt x="1030" y="994"/>
                  </a:lnTo>
                  <a:lnTo>
                    <a:pt x="1030" y="992"/>
                  </a:lnTo>
                  <a:lnTo>
                    <a:pt x="1030" y="987"/>
                  </a:lnTo>
                  <a:lnTo>
                    <a:pt x="1034" y="985"/>
                  </a:lnTo>
                  <a:lnTo>
                    <a:pt x="1030" y="983"/>
                  </a:lnTo>
                  <a:lnTo>
                    <a:pt x="1026" y="985"/>
                  </a:lnTo>
                  <a:lnTo>
                    <a:pt x="1024" y="983"/>
                  </a:lnTo>
                  <a:lnTo>
                    <a:pt x="1024" y="981"/>
                  </a:lnTo>
                  <a:lnTo>
                    <a:pt x="1030" y="974"/>
                  </a:lnTo>
                  <a:lnTo>
                    <a:pt x="1036" y="968"/>
                  </a:lnTo>
                  <a:lnTo>
                    <a:pt x="1037" y="964"/>
                  </a:lnTo>
                  <a:lnTo>
                    <a:pt x="1039" y="964"/>
                  </a:lnTo>
                  <a:lnTo>
                    <a:pt x="1041" y="962"/>
                  </a:lnTo>
                  <a:lnTo>
                    <a:pt x="1041" y="957"/>
                  </a:lnTo>
                  <a:lnTo>
                    <a:pt x="1039" y="957"/>
                  </a:lnTo>
                  <a:lnTo>
                    <a:pt x="1039" y="955"/>
                  </a:lnTo>
                  <a:lnTo>
                    <a:pt x="1037" y="955"/>
                  </a:lnTo>
                  <a:lnTo>
                    <a:pt x="1034" y="951"/>
                  </a:lnTo>
                  <a:lnTo>
                    <a:pt x="1034" y="943"/>
                  </a:lnTo>
                  <a:lnTo>
                    <a:pt x="1037" y="938"/>
                  </a:lnTo>
                  <a:lnTo>
                    <a:pt x="1037" y="934"/>
                  </a:lnTo>
                  <a:lnTo>
                    <a:pt x="1041" y="932"/>
                  </a:lnTo>
                  <a:lnTo>
                    <a:pt x="1041" y="934"/>
                  </a:lnTo>
                  <a:lnTo>
                    <a:pt x="1045" y="934"/>
                  </a:lnTo>
                  <a:lnTo>
                    <a:pt x="1045" y="930"/>
                  </a:lnTo>
                  <a:lnTo>
                    <a:pt x="1047" y="928"/>
                  </a:lnTo>
                  <a:lnTo>
                    <a:pt x="1049" y="928"/>
                  </a:lnTo>
                  <a:lnTo>
                    <a:pt x="1051" y="927"/>
                  </a:lnTo>
                  <a:lnTo>
                    <a:pt x="1054" y="928"/>
                  </a:lnTo>
                  <a:lnTo>
                    <a:pt x="1060" y="928"/>
                  </a:lnTo>
                  <a:lnTo>
                    <a:pt x="1066" y="932"/>
                  </a:lnTo>
                  <a:lnTo>
                    <a:pt x="1075" y="938"/>
                  </a:lnTo>
                  <a:lnTo>
                    <a:pt x="1079" y="938"/>
                  </a:lnTo>
                  <a:lnTo>
                    <a:pt x="1079" y="940"/>
                  </a:lnTo>
                  <a:lnTo>
                    <a:pt x="1073" y="943"/>
                  </a:lnTo>
                  <a:lnTo>
                    <a:pt x="1079" y="943"/>
                  </a:lnTo>
                  <a:lnTo>
                    <a:pt x="1084" y="938"/>
                  </a:lnTo>
                  <a:lnTo>
                    <a:pt x="1086" y="938"/>
                  </a:lnTo>
                  <a:lnTo>
                    <a:pt x="1088" y="940"/>
                  </a:lnTo>
                  <a:lnTo>
                    <a:pt x="1092" y="940"/>
                  </a:lnTo>
                  <a:lnTo>
                    <a:pt x="1094" y="943"/>
                  </a:lnTo>
                  <a:lnTo>
                    <a:pt x="1094" y="940"/>
                  </a:lnTo>
                  <a:lnTo>
                    <a:pt x="1100" y="943"/>
                  </a:lnTo>
                  <a:lnTo>
                    <a:pt x="1101" y="940"/>
                  </a:lnTo>
                  <a:lnTo>
                    <a:pt x="1103" y="938"/>
                  </a:lnTo>
                  <a:lnTo>
                    <a:pt x="1109" y="938"/>
                  </a:lnTo>
                  <a:lnTo>
                    <a:pt x="1115" y="943"/>
                  </a:lnTo>
                  <a:lnTo>
                    <a:pt x="1115" y="945"/>
                  </a:lnTo>
                  <a:lnTo>
                    <a:pt x="1118" y="949"/>
                  </a:lnTo>
                  <a:lnTo>
                    <a:pt x="1122" y="949"/>
                  </a:lnTo>
                  <a:lnTo>
                    <a:pt x="1122" y="955"/>
                  </a:lnTo>
                  <a:lnTo>
                    <a:pt x="1120" y="959"/>
                  </a:lnTo>
                  <a:lnTo>
                    <a:pt x="1120" y="960"/>
                  </a:lnTo>
                  <a:lnTo>
                    <a:pt x="1122" y="959"/>
                  </a:lnTo>
                  <a:lnTo>
                    <a:pt x="1126" y="962"/>
                  </a:lnTo>
                  <a:lnTo>
                    <a:pt x="1128" y="968"/>
                  </a:lnTo>
                  <a:lnTo>
                    <a:pt x="1126" y="968"/>
                  </a:lnTo>
                  <a:lnTo>
                    <a:pt x="1130" y="972"/>
                  </a:lnTo>
                  <a:lnTo>
                    <a:pt x="1130" y="968"/>
                  </a:lnTo>
                  <a:lnTo>
                    <a:pt x="1135" y="972"/>
                  </a:lnTo>
                  <a:lnTo>
                    <a:pt x="1135" y="974"/>
                  </a:lnTo>
                  <a:lnTo>
                    <a:pt x="1130" y="972"/>
                  </a:lnTo>
                  <a:lnTo>
                    <a:pt x="1130" y="977"/>
                  </a:lnTo>
                  <a:lnTo>
                    <a:pt x="1126" y="977"/>
                  </a:lnTo>
                  <a:lnTo>
                    <a:pt x="1130" y="979"/>
                  </a:lnTo>
                  <a:lnTo>
                    <a:pt x="1130" y="983"/>
                  </a:lnTo>
                  <a:lnTo>
                    <a:pt x="1133" y="979"/>
                  </a:lnTo>
                  <a:lnTo>
                    <a:pt x="1133" y="983"/>
                  </a:lnTo>
                  <a:lnTo>
                    <a:pt x="1135" y="981"/>
                  </a:lnTo>
                  <a:lnTo>
                    <a:pt x="1143" y="987"/>
                  </a:lnTo>
                  <a:lnTo>
                    <a:pt x="1145" y="985"/>
                  </a:lnTo>
                  <a:lnTo>
                    <a:pt x="1145" y="989"/>
                  </a:lnTo>
                  <a:lnTo>
                    <a:pt x="1150" y="985"/>
                  </a:lnTo>
                  <a:lnTo>
                    <a:pt x="1154" y="987"/>
                  </a:lnTo>
                  <a:lnTo>
                    <a:pt x="1154" y="994"/>
                  </a:lnTo>
                  <a:lnTo>
                    <a:pt x="1156" y="998"/>
                  </a:lnTo>
                  <a:lnTo>
                    <a:pt x="1160" y="994"/>
                  </a:lnTo>
                  <a:lnTo>
                    <a:pt x="1160" y="989"/>
                  </a:lnTo>
                  <a:lnTo>
                    <a:pt x="1164" y="989"/>
                  </a:lnTo>
                  <a:lnTo>
                    <a:pt x="1164" y="994"/>
                  </a:lnTo>
                  <a:lnTo>
                    <a:pt x="1164" y="1002"/>
                  </a:lnTo>
                  <a:lnTo>
                    <a:pt x="1158" y="1002"/>
                  </a:lnTo>
                  <a:lnTo>
                    <a:pt x="1154" y="1006"/>
                  </a:lnTo>
                  <a:lnTo>
                    <a:pt x="1156" y="1017"/>
                  </a:lnTo>
                  <a:lnTo>
                    <a:pt x="1154" y="1019"/>
                  </a:lnTo>
                  <a:lnTo>
                    <a:pt x="1152" y="1015"/>
                  </a:lnTo>
                  <a:lnTo>
                    <a:pt x="1152" y="1017"/>
                  </a:lnTo>
                  <a:lnTo>
                    <a:pt x="1150" y="1023"/>
                  </a:lnTo>
                  <a:lnTo>
                    <a:pt x="1143" y="1021"/>
                  </a:lnTo>
                  <a:lnTo>
                    <a:pt x="1133" y="1019"/>
                  </a:lnTo>
                  <a:lnTo>
                    <a:pt x="1143" y="1023"/>
                  </a:lnTo>
                  <a:lnTo>
                    <a:pt x="1148" y="1023"/>
                  </a:lnTo>
                  <a:lnTo>
                    <a:pt x="1154" y="1028"/>
                  </a:lnTo>
                  <a:lnTo>
                    <a:pt x="1152" y="1034"/>
                  </a:lnTo>
                  <a:lnTo>
                    <a:pt x="1148" y="1040"/>
                  </a:lnTo>
                  <a:lnTo>
                    <a:pt x="1148" y="1041"/>
                  </a:lnTo>
                  <a:lnTo>
                    <a:pt x="1145" y="1047"/>
                  </a:lnTo>
                  <a:lnTo>
                    <a:pt x="1147" y="1047"/>
                  </a:lnTo>
                  <a:lnTo>
                    <a:pt x="1150" y="1053"/>
                  </a:lnTo>
                  <a:lnTo>
                    <a:pt x="1154" y="1057"/>
                  </a:lnTo>
                  <a:lnTo>
                    <a:pt x="1152" y="1057"/>
                  </a:lnTo>
                  <a:lnTo>
                    <a:pt x="1145" y="1053"/>
                  </a:lnTo>
                  <a:lnTo>
                    <a:pt x="1150" y="1058"/>
                  </a:lnTo>
                  <a:lnTo>
                    <a:pt x="1154" y="1062"/>
                  </a:lnTo>
                  <a:lnTo>
                    <a:pt x="1154" y="1062"/>
                  </a:lnTo>
                  <a:lnTo>
                    <a:pt x="1154" y="1057"/>
                  </a:lnTo>
                  <a:lnTo>
                    <a:pt x="1156" y="1057"/>
                  </a:lnTo>
                  <a:lnTo>
                    <a:pt x="1160" y="1062"/>
                  </a:lnTo>
                  <a:lnTo>
                    <a:pt x="1164" y="1066"/>
                  </a:lnTo>
                  <a:lnTo>
                    <a:pt x="1160" y="1068"/>
                  </a:lnTo>
                  <a:lnTo>
                    <a:pt x="1160" y="1073"/>
                  </a:lnTo>
                  <a:lnTo>
                    <a:pt x="1158" y="1079"/>
                  </a:lnTo>
                  <a:lnTo>
                    <a:pt x="1158" y="1083"/>
                  </a:lnTo>
                  <a:lnTo>
                    <a:pt x="1154" y="1087"/>
                  </a:lnTo>
                  <a:lnTo>
                    <a:pt x="1158" y="1083"/>
                  </a:lnTo>
                  <a:lnTo>
                    <a:pt x="1164" y="1075"/>
                  </a:lnTo>
                  <a:lnTo>
                    <a:pt x="1167" y="1070"/>
                  </a:lnTo>
                  <a:lnTo>
                    <a:pt x="1167" y="1070"/>
                  </a:lnTo>
                  <a:lnTo>
                    <a:pt x="1167" y="1073"/>
                  </a:lnTo>
                  <a:lnTo>
                    <a:pt x="1167" y="1081"/>
                  </a:lnTo>
                  <a:lnTo>
                    <a:pt x="1167" y="1083"/>
                  </a:lnTo>
                  <a:lnTo>
                    <a:pt x="1167" y="1087"/>
                  </a:lnTo>
                  <a:lnTo>
                    <a:pt x="1167" y="1090"/>
                  </a:lnTo>
                  <a:lnTo>
                    <a:pt x="1169" y="1083"/>
                  </a:lnTo>
                  <a:lnTo>
                    <a:pt x="1173" y="1081"/>
                  </a:lnTo>
                  <a:lnTo>
                    <a:pt x="1175" y="1077"/>
                  </a:lnTo>
                  <a:lnTo>
                    <a:pt x="1179" y="1077"/>
                  </a:lnTo>
                  <a:lnTo>
                    <a:pt x="1182" y="1073"/>
                  </a:lnTo>
                  <a:lnTo>
                    <a:pt x="1184" y="1075"/>
                  </a:lnTo>
                  <a:lnTo>
                    <a:pt x="1184" y="1077"/>
                  </a:lnTo>
                  <a:lnTo>
                    <a:pt x="1184" y="1073"/>
                  </a:lnTo>
                  <a:lnTo>
                    <a:pt x="1188" y="1073"/>
                  </a:lnTo>
                  <a:lnTo>
                    <a:pt x="1188" y="1070"/>
                  </a:lnTo>
                  <a:lnTo>
                    <a:pt x="1194" y="1066"/>
                  </a:lnTo>
                  <a:lnTo>
                    <a:pt x="1197" y="1062"/>
                  </a:lnTo>
                  <a:lnTo>
                    <a:pt x="1199" y="1066"/>
                  </a:lnTo>
                  <a:lnTo>
                    <a:pt x="1201" y="1070"/>
                  </a:lnTo>
                  <a:lnTo>
                    <a:pt x="1199" y="1075"/>
                  </a:lnTo>
                  <a:lnTo>
                    <a:pt x="1203" y="1070"/>
                  </a:lnTo>
                  <a:lnTo>
                    <a:pt x="1203" y="1066"/>
                  </a:lnTo>
                  <a:lnTo>
                    <a:pt x="1203" y="1062"/>
                  </a:lnTo>
                  <a:lnTo>
                    <a:pt x="1203" y="1062"/>
                  </a:lnTo>
                  <a:lnTo>
                    <a:pt x="1205" y="1057"/>
                  </a:lnTo>
                  <a:lnTo>
                    <a:pt x="1209" y="1057"/>
                  </a:lnTo>
                  <a:lnTo>
                    <a:pt x="1211" y="1053"/>
                  </a:lnTo>
                  <a:lnTo>
                    <a:pt x="1212" y="1051"/>
                  </a:lnTo>
                  <a:lnTo>
                    <a:pt x="1216" y="1047"/>
                  </a:lnTo>
                  <a:lnTo>
                    <a:pt x="1216" y="1045"/>
                  </a:lnTo>
                  <a:lnTo>
                    <a:pt x="1218" y="1045"/>
                  </a:lnTo>
                  <a:lnTo>
                    <a:pt x="1222" y="1049"/>
                  </a:lnTo>
                  <a:lnTo>
                    <a:pt x="1222" y="1045"/>
                  </a:lnTo>
                  <a:lnTo>
                    <a:pt x="1218" y="1043"/>
                  </a:lnTo>
                  <a:lnTo>
                    <a:pt x="1216" y="1043"/>
                  </a:lnTo>
                  <a:lnTo>
                    <a:pt x="1216" y="1041"/>
                  </a:lnTo>
                  <a:lnTo>
                    <a:pt x="1218" y="1034"/>
                  </a:lnTo>
                  <a:lnTo>
                    <a:pt x="1222" y="1034"/>
                  </a:lnTo>
                  <a:lnTo>
                    <a:pt x="1222" y="1036"/>
                  </a:lnTo>
                  <a:lnTo>
                    <a:pt x="1222" y="1032"/>
                  </a:lnTo>
                  <a:lnTo>
                    <a:pt x="1224" y="1032"/>
                  </a:lnTo>
                  <a:lnTo>
                    <a:pt x="1224" y="1028"/>
                  </a:lnTo>
                  <a:lnTo>
                    <a:pt x="1229" y="1023"/>
                  </a:lnTo>
                  <a:lnTo>
                    <a:pt x="1231" y="1021"/>
                  </a:lnTo>
                  <a:lnTo>
                    <a:pt x="1229" y="1019"/>
                  </a:lnTo>
                  <a:lnTo>
                    <a:pt x="1233" y="1015"/>
                  </a:lnTo>
                  <a:lnTo>
                    <a:pt x="1237" y="1013"/>
                  </a:lnTo>
                  <a:lnTo>
                    <a:pt x="1239" y="1015"/>
                  </a:lnTo>
                  <a:lnTo>
                    <a:pt x="1235" y="1017"/>
                  </a:lnTo>
                  <a:lnTo>
                    <a:pt x="1239" y="1015"/>
                  </a:lnTo>
                  <a:lnTo>
                    <a:pt x="1241" y="1017"/>
                  </a:lnTo>
                  <a:lnTo>
                    <a:pt x="1237" y="1019"/>
                  </a:lnTo>
                  <a:lnTo>
                    <a:pt x="1237" y="1023"/>
                  </a:lnTo>
                  <a:lnTo>
                    <a:pt x="1241" y="1023"/>
                  </a:lnTo>
                  <a:lnTo>
                    <a:pt x="1237" y="1026"/>
                  </a:lnTo>
                  <a:lnTo>
                    <a:pt x="1235" y="1026"/>
                  </a:lnTo>
                  <a:lnTo>
                    <a:pt x="1235" y="1028"/>
                  </a:lnTo>
                  <a:lnTo>
                    <a:pt x="1237" y="1028"/>
                  </a:lnTo>
                  <a:lnTo>
                    <a:pt x="1241" y="1028"/>
                  </a:lnTo>
                  <a:lnTo>
                    <a:pt x="1239" y="1032"/>
                  </a:lnTo>
                  <a:lnTo>
                    <a:pt x="1239" y="1032"/>
                  </a:lnTo>
                  <a:lnTo>
                    <a:pt x="1241" y="1032"/>
                  </a:lnTo>
                  <a:lnTo>
                    <a:pt x="1241" y="1036"/>
                  </a:lnTo>
                  <a:lnTo>
                    <a:pt x="1239" y="1038"/>
                  </a:lnTo>
                  <a:lnTo>
                    <a:pt x="1239" y="1041"/>
                  </a:lnTo>
                  <a:lnTo>
                    <a:pt x="1243" y="1043"/>
                  </a:lnTo>
                  <a:lnTo>
                    <a:pt x="1243" y="1049"/>
                  </a:lnTo>
                  <a:lnTo>
                    <a:pt x="1243" y="1051"/>
                  </a:lnTo>
                  <a:lnTo>
                    <a:pt x="1241" y="1049"/>
                  </a:lnTo>
                  <a:lnTo>
                    <a:pt x="1237" y="1051"/>
                  </a:lnTo>
                  <a:lnTo>
                    <a:pt x="1241" y="1053"/>
                  </a:lnTo>
                  <a:lnTo>
                    <a:pt x="1241" y="1053"/>
                  </a:lnTo>
                  <a:lnTo>
                    <a:pt x="1243" y="1053"/>
                  </a:lnTo>
                  <a:lnTo>
                    <a:pt x="1243" y="1053"/>
                  </a:lnTo>
                  <a:lnTo>
                    <a:pt x="1243" y="1053"/>
                  </a:lnTo>
                  <a:lnTo>
                    <a:pt x="1246" y="1057"/>
                  </a:lnTo>
                  <a:lnTo>
                    <a:pt x="1243" y="1062"/>
                  </a:lnTo>
                  <a:lnTo>
                    <a:pt x="1241" y="1062"/>
                  </a:lnTo>
                  <a:lnTo>
                    <a:pt x="1237" y="1062"/>
                  </a:lnTo>
                  <a:lnTo>
                    <a:pt x="1235" y="1062"/>
                  </a:lnTo>
                  <a:lnTo>
                    <a:pt x="1239" y="1066"/>
                  </a:lnTo>
                  <a:lnTo>
                    <a:pt x="1246" y="1062"/>
                  </a:lnTo>
                  <a:lnTo>
                    <a:pt x="1248" y="1062"/>
                  </a:lnTo>
                  <a:lnTo>
                    <a:pt x="1248" y="1066"/>
                  </a:lnTo>
                  <a:lnTo>
                    <a:pt x="1246" y="1070"/>
                  </a:lnTo>
                  <a:lnTo>
                    <a:pt x="1246" y="1072"/>
                  </a:lnTo>
                  <a:lnTo>
                    <a:pt x="1252" y="1070"/>
                  </a:lnTo>
                  <a:lnTo>
                    <a:pt x="1252" y="1073"/>
                  </a:lnTo>
                  <a:lnTo>
                    <a:pt x="1246" y="1077"/>
                  </a:lnTo>
                  <a:lnTo>
                    <a:pt x="1243" y="1077"/>
                  </a:lnTo>
                  <a:lnTo>
                    <a:pt x="1241" y="1075"/>
                  </a:lnTo>
                  <a:lnTo>
                    <a:pt x="1239" y="1079"/>
                  </a:lnTo>
                  <a:lnTo>
                    <a:pt x="1239" y="1081"/>
                  </a:lnTo>
                  <a:lnTo>
                    <a:pt x="1237" y="1083"/>
                  </a:lnTo>
                  <a:lnTo>
                    <a:pt x="1243" y="1083"/>
                  </a:lnTo>
                  <a:lnTo>
                    <a:pt x="1248" y="1083"/>
                  </a:lnTo>
                  <a:lnTo>
                    <a:pt x="1252" y="1081"/>
                  </a:lnTo>
                  <a:lnTo>
                    <a:pt x="1252" y="1081"/>
                  </a:lnTo>
                  <a:lnTo>
                    <a:pt x="1252" y="1083"/>
                  </a:lnTo>
                  <a:lnTo>
                    <a:pt x="1252" y="1087"/>
                  </a:lnTo>
                  <a:lnTo>
                    <a:pt x="1246" y="1087"/>
                  </a:lnTo>
                  <a:lnTo>
                    <a:pt x="1243" y="1087"/>
                  </a:lnTo>
                  <a:lnTo>
                    <a:pt x="1239" y="1092"/>
                  </a:lnTo>
                  <a:lnTo>
                    <a:pt x="1246" y="1090"/>
                  </a:lnTo>
                  <a:lnTo>
                    <a:pt x="1248" y="1090"/>
                  </a:lnTo>
                  <a:lnTo>
                    <a:pt x="1252" y="1090"/>
                  </a:lnTo>
                  <a:lnTo>
                    <a:pt x="1254" y="1090"/>
                  </a:lnTo>
                  <a:lnTo>
                    <a:pt x="1254" y="1096"/>
                  </a:lnTo>
                  <a:lnTo>
                    <a:pt x="1252" y="1096"/>
                  </a:lnTo>
                  <a:lnTo>
                    <a:pt x="1248" y="1096"/>
                  </a:lnTo>
                  <a:lnTo>
                    <a:pt x="1246" y="1100"/>
                  </a:lnTo>
                  <a:lnTo>
                    <a:pt x="1248" y="1098"/>
                  </a:lnTo>
                  <a:lnTo>
                    <a:pt x="1252" y="1100"/>
                  </a:lnTo>
                  <a:lnTo>
                    <a:pt x="1254" y="1096"/>
                  </a:lnTo>
                  <a:lnTo>
                    <a:pt x="1258" y="1100"/>
                  </a:lnTo>
                  <a:lnTo>
                    <a:pt x="1260" y="1107"/>
                  </a:lnTo>
                  <a:lnTo>
                    <a:pt x="1256" y="1109"/>
                  </a:lnTo>
                  <a:lnTo>
                    <a:pt x="1254" y="1109"/>
                  </a:lnTo>
                  <a:lnTo>
                    <a:pt x="1252" y="1111"/>
                  </a:lnTo>
                  <a:lnTo>
                    <a:pt x="1248" y="1111"/>
                  </a:lnTo>
                  <a:lnTo>
                    <a:pt x="1252" y="1113"/>
                  </a:lnTo>
                  <a:lnTo>
                    <a:pt x="1254" y="1113"/>
                  </a:lnTo>
                  <a:lnTo>
                    <a:pt x="1254" y="1113"/>
                  </a:lnTo>
                  <a:lnTo>
                    <a:pt x="1260" y="1113"/>
                  </a:lnTo>
                  <a:lnTo>
                    <a:pt x="1261" y="1115"/>
                  </a:lnTo>
                  <a:lnTo>
                    <a:pt x="1260" y="1117"/>
                  </a:lnTo>
                  <a:lnTo>
                    <a:pt x="1258" y="1121"/>
                  </a:lnTo>
                  <a:lnTo>
                    <a:pt x="1260" y="1121"/>
                  </a:lnTo>
                  <a:lnTo>
                    <a:pt x="1263" y="1121"/>
                  </a:lnTo>
                  <a:lnTo>
                    <a:pt x="1267" y="1122"/>
                  </a:lnTo>
                  <a:lnTo>
                    <a:pt x="1265" y="1126"/>
                  </a:lnTo>
                  <a:lnTo>
                    <a:pt x="1263" y="1128"/>
                  </a:lnTo>
                  <a:lnTo>
                    <a:pt x="1258" y="1132"/>
                  </a:lnTo>
                  <a:lnTo>
                    <a:pt x="1256" y="1130"/>
                  </a:lnTo>
                  <a:lnTo>
                    <a:pt x="1254" y="1132"/>
                  </a:lnTo>
                  <a:lnTo>
                    <a:pt x="1258" y="1134"/>
                  </a:lnTo>
                  <a:lnTo>
                    <a:pt x="1258" y="1136"/>
                  </a:lnTo>
                  <a:lnTo>
                    <a:pt x="1254" y="1138"/>
                  </a:lnTo>
                  <a:lnTo>
                    <a:pt x="1248" y="1134"/>
                  </a:lnTo>
                  <a:lnTo>
                    <a:pt x="1243" y="1134"/>
                  </a:lnTo>
                  <a:lnTo>
                    <a:pt x="1248" y="1138"/>
                  </a:lnTo>
                  <a:lnTo>
                    <a:pt x="1248" y="1139"/>
                  </a:lnTo>
                  <a:lnTo>
                    <a:pt x="1252" y="1143"/>
                  </a:lnTo>
                  <a:lnTo>
                    <a:pt x="1254" y="1147"/>
                  </a:lnTo>
                  <a:lnTo>
                    <a:pt x="1254" y="1147"/>
                  </a:lnTo>
                  <a:lnTo>
                    <a:pt x="1252" y="1147"/>
                  </a:lnTo>
                  <a:lnTo>
                    <a:pt x="1248" y="1151"/>
                  </a:lnTo>
                  <a:lnTo>
                    <a:pt x="1243" y="1151"/>
                  </a:lnTo>
                  <a:lnTo>
                    <a:pt x="1252" y="1151"/>
                  </a:lnTo>
                  <a:lnTo>
                    <a:pt x="1252" y="1151"/>
                  </a:lnTo>
                  <a:lnTo>
                    <a:pt x="1252" y="1151"/>
                  </a:lnTo>
                  <a:lnTo>
                    <a:pt x="1258" y="1147"/>
                  </a:lnTo>
                  <a:lnTo>
                    <a:pt x="1260" y="1151"/>
                  </a:lnTo>
                  <a:lnTo>
                    <a:pt x="1260" y="1151"/>
                  </a:lnTo>
                  <a:lnTo>
                    <a:pt x="1261" y="1153"/>
                  </a:lnTo>
                  <a:lnTo>
                    <a:pt x="1260" y="1154"/>
                  </a:lnTo>
                  <a:lnTo>
                    <a:pt x="1261" y="1154"/>
                  </a:lnTo>
                  <a:lnTo>
                    <a:pt x="1263" y="1156"/>
                  </a:lnTo>
                  <a:lnTo>
                    <a:pt x="1261" y="1160"/>
                  </a:lnTo>
                  <a:lnTo>
                    <a:pt x="1263" y="1160"/>
                  </a:lnTo>
                  <a:lnTo>
                    <a:pt x="1267" y="1160"/>
                  </a:lnTo>
                  <a:lnTo>
                    <a:pt x="1267" y="1160"/>
                  </a:lnTo>
                  <a:lnTo>
                    <a:pt x="1271" y="1160"/>
                  </a:lnTo>
                  <a:lnTo>
                    <a:pt x="1271" y="1164"/>
                  </a:lnTo>
                  <a:lnTo>
                    <a:pt x="1267" y="1166"/>
                  </a:lnTo>
                  <a:lnTo>
                    <a:pt x="1267" y="1168"/>
                  </a:lnTo>
                  <a:lnTo>
                    <a:pt x="1271" y="1168"/>
                  </a:lnTo>
                  <a:lnTo>
                    <a:pt x="1273" y="1162"/>
                  </a:lnTo>
                  <a:lnTo>
                    <a:pt x="1273" y="1164"/>
                  </a:lnTo>
                  <a:lnTo>
                    <a:pt x="1273" y="1166"/>
                  </a:lnTo>
                  <a:lnTo>
                    <a:pt x="1276" y="1170"/>
                  </a:lnTo>
                  <a:lnTo>
                    <a:pt x="1273" y="1171"/>
                  </a:lnTo>
                  <a:lnTo>
                    <a:pt x="1267" y="1177"/>
                  </a:lnTo>
                  <a:lnTo>
                    <a:pt x="1263" y="1181"/>
                  </a:lnTo>
                  <a:lnTo>
                    <a:pt x="1260" y="1181"/>
                  </a:lnTo>
                  <a:lnTo>
                    <a:pt x="1263" y="1181"/>
                  </a:lnTo>
                  <a:lnTo>
                    <a:pt x="1265" y="1181"/>
                  </a:lnTo>
                  <a:lnTo>
                    <a:pt x="1273" y="1175"/>
                  </a:lnTo>
                  <a:lnTo>
                    <a:pt x="1276" y="1175"/>
                  </a:lnTo>
                  <a:lnTo>
                    <a:pt x="1276" y="1177"/>
                  </a:lnTo>
                  <a:lnTo>
                    <a:pt x="1273" y="1181"/>
                  </a:lnTo>
                  <a:lnTo>
                    <a:pt x="1271" y="1185"/>
                  </a:lnTo>
                  <a:lnTo>
                    <a:pt x="1273" y="1185"/>
                  </a:lnTo>
                  <a:lnTo>
                    <a:pt x="1276" y="1177"/>
                  </a:lnTo>
                  <a:lnTo>
                    <a:pt x="1280" y="1175"/>
                  </a:lnTo>
                  <a:lnTo>
                    <a:pt x="1282" y="1175"/>
                  </a:lnTo>
                  <a:lnTo>
                    <a:pt x="1282" y="1177"/>
                  </a:lnTo>
                  <a:lnTo>
                    <a:pt x="1280" y="1177"/>
                  </a:lnTo>
                  <a:lnTo>
                    <a:pt x="1280" y="1181"/>
                  </a:lnTo>
                  <a:lnTo>
                    <a:pt x="1280" y="1181"/>
                  </a:lnTo>
                  <a:lnTo>
                    <a:pt x="1284" y="1177"/>
                  </a:lnTo>
                  <a:lnTo>
                    <a:pt x="1286" y="1181"/>
                  </a:lnTo>
                  <a:lnTo>
                    <a:pt x="1280" y="1185"/>
                  </a:lnTo>
                  <a:lnTo>
                    <a:pt x="1280" y="1186"/>
                  </a:lnTo>
                  <a:lnTo>
                    <a:pt x="1280" y="1186"/>
                  </a:lnTo>
                  <a:lnTo>
                    <a:pt x="1284" y="1185"/>
                  </a:lnTo>
                  <a:lnTo>
                    <a:pt x="1292" y="1177"/>
                  </a:lnTo>
                  <a:lnTo>
                    <a:pt x="1292" y="1177"/>
                  </a:lnTo>
                  <a:lnTo>
                    <a:pt x="1290" y="1181"/>
                  </a:lnTo>
                  <a:lnTo>
                    <a:pt x="1290" y="1181"/>
                  </a:lnTo>
                  <a:lnTo>
                    <a:pt x="1295" y="1177"/>
                  </a:lnTo>
                  <a:lnTo>
                    <a:pt x="1295" y="1181"/>
                  </a:lnTo>
                  <a:lnTo>
                    <a:pt x="1295" y="1186"/>
                  </a:lnTo>
                  <a:lnTo>
                    <a:pt x="1292" y="1186"/>
                  </a:lnTo>
                  <a:lnTo>
                    <a:pt x="1293" y="1188"/>
                  </a:lnTo>
                  <a:lnTo>
                    <a:pt x="1297" y="1188"/>
                  </a:lnTo>
                  <a:lnTo>
                    <a:pt x="1301" y="1192"/>
                  </a:lnTo>
                  <a:lnTo>
                    <a:pt x="1305" y="1188"/>
                  </a:lnTo>
                  <a:lnTo>
                    <a:pt x="1310" y="1186"/>
                  </a:lnTo>
                  <a:lnTo>
                    <a:pt x="1310" y="1186"/>
                  </a:lnTo>
                  <a:lnTo>
                    <a:pt x="1310" y="1190"/>
                  </a:lnTo>
                  <a:lnTo>
                    <a:pt x="1307" y="1190"/>
                  </a:lnTo>
                  <a:lnTo>
                    <a:pt x="1305" y="1192"/>
                  </a:lnTo>
                  <a:lnTo>
                    <a:pt x="1314" y="1196"/>
                  </a:lnTo>
                  <a:lnTo>
                    <a:pt x="1318" y="1198"/>
                  </a:lnTo>
                  <a:lnTo>
                    <a:pt x="1312" y="1200"/>
                  </a:lnTo>
                  <a:lnTo>
                    <a:pt x="1312" y="1202"/>
                  </a:lnTo>
                  <a:lnTo>
                    <a:pt x="1305" y="1202"/>
                  </a:lnTo>
                  <a:lnTo>
                    <a:pt x="1305" y="1202"/>
                  </a:lnTo>
                  <a:lnTo>
                    <a:pt x="1297" y="1202"/>
                  </a:lnTo>
                  <a:lnTo>
                    <a:pt x="1295" y="1205"/>
                  </a:lnTo>
                  <a:lnTo>
                    <a:pt x="1288" y="1205"/>
                  </a:lnTo>
                  <a:lnTo>
                    <a:pt x="1276" y="1209"/>
                  </a:lnTo>
                  <a:lnTo>
                    <a:pt x="1276" y="1211"/>
                  </a:lnTo>
                  <a:lnTo>
                    <a:pt x="1284" y="1209"/>
                  </a:lnTo>
                  <a:lnTo>
                    <a:pt x="1292" y="1205"/>
                  </a:lnTo>
                  <a:lnTo>
                    <a:pt x="1295" y="1209"/>
                  </a:lnTo>
                  <a:lnTo>
                    <a:pt x="1295" y="1211"/>
                  </a:lnTo>
                  <a:lnTo>
                    <a:pt x="1288" y="1211"/>
                  </a:lnTo>
                  <a:lnTo>
                    <a:pt x="1280" y="1211"/>
                  </a:lnTo>
                  <a:lnTo>
                    <a:pt x="1276" y="1215"/>
                  </a:lnTo>
                  <a:lnTo>
                    <a:pt x="1273" y="1217"/>
                  </a:lnTo>
                  <a:lnTo>
                    <a:pt x="1267" y="1217"/>
                  </a:lnTo>
                  <a:lnTo>
                    <a:pt x="1267" y="1220"/>
                  </a:lnTo>
                  <a:lnTo>
                    <a:pt x="1267" y="1222"/>
                  </a:lnTo>
                  <a:lnTo>
                    <a:pt x="1260" y="1219"/>
                  </a:lnTo>
                  <a:lnTo>
                    <a:pt x="1256" y="1211"/>
                  </a:lnTo>
                  <a:lnTo>
                    <a:pt x="1256" y="1215"/>
                  </a:lnTo>
                  <a:lnTo>
                    <a:pt x="1254" y="1217"/>
                  </a:lnTo>
                  <a:lnTo>
                    <a:pt x="1258" y="1217"/>
                  </a:lnTo>
                  <a:lnTo>
                    <a:pt x="1258" y="1219"/>
                  </a:lnTo>
                  <a:lnTo>
                    <a:pt x="1265" y="1226"/>
                  </a:lnTo>
                  <a:lnTo>
                    <a:pt x="1265" y="1228"/>
                  </a:lnTo>
                  <a:lnTo>
                    <a:pt x="1263" y="1226"/>
                  </a:lnTo>
                  <a:lnTo>
                    <a:pt x="1260" y="1230"/>
                  </a:lnTo>
                  <a:lnTo>
                    <a:pt x="1261" y="1232"/>
                  </a:lnTo>
                  <a:lnTo>
                    <a:pt x="1263" y="1234"/>
                  </a:lnTo>
                  <a:lnTo>
                    <a:pt x="1265" y="1232"/>
                  </a:lnTo>
                  <a:lnTo>
                    <a:pt x="1267" y="1232"/>
                  </a:lnTo>
                  <a:lnTo>
                    <a:pt x="1271" y="1224"/>
                  </a:lnTo>
                  <a:lnTo>
                    <a:pt x="1276" y="1224"/>
                  </a:lnTo>
                  <a:lnTo>
                    <a:pt x="1280" y="1220"/>
                  </a:lnTo>
                  <a:lnTo>
                    <a:pt x="1282" y="1220"/>
                  </a:lnTo>
                  <a:lnTo>
                    <a:pt x="1284" y="1217"/>
                  </a:lnTo>
                  <a:lnTo>
                    <a:pt x="1288" y="1215"/>
                  </a:lnTo>
                  <a:lnTo>
                    <a:pt x="1292" y="1215"/>
                  </a:lnTo>
                  <a:lnTo>
                    <a:pt x="1297" y="1211"/>
                  </a:lnTo>
                  <a:lnTo>
                    <a:pt x="1301" y="1211"/>
                  </a:lnTo>
                  <a:lnTo>
                    <a:pt x="1305" y="1211"/>
                  </a:lnTo>
                  <a:lnTo>
                    <a:pt x="1305" y="1211"/>
                  </a:lnTo>
                  <a:lnTo>
                    <a:pt x="1301" y="1211"/>
                  </a:lnTo>
                  <a:lnTo>
                    <a:pt x="1297" y="1209"/>
                  </a:lnTo>
                  <a:lnTo>
                    <a:pt x="1301" y="1209"/>
                  </a:lnTo>
                  <a:lnTo>
                    <a:pt x="1310" y="1205"/>
                  </a:lnTo>
                  <a:lnTo>
                    <a:pt x="1316" y="1209"/>
                  </a:lnTo>
                  <a:lnTo>
                    <a:pt x="1318" y="1215"/>
                  </a:lnTo>
                  <a:lnTo>
                    <a:pt x="1318" y="1217"/>
                  </a:lnTo>
                  <a:lnTo>
                    <a:pt x="1314" y="1220"/>
                  </a:lnTo>
                  <a:lnTo>
                    <a:pt x="1310" y="1220"/>
                  </a:lnTo>
                  <a:lnTo>
                    <a:pt x="1310" y="1224"/>
                  </a:lnTo>
                  <a:lnTo>
                    <a:pt x="1314" y="1224"/>
                  </a:lnTo>
                  <a:lnTo>
                    <a:pt x="1314" y="1228"/>
                  </a:lnTo>
                  <a:lnTo>
                    <a:pt x="1316" y="1226"/>
                  </a:lnTo>
                  <a:lnTo>
                    <a:pt x="1318" y="1222"/>
                  </a:lnTo>
                  <a:lnTo>
                    <a:pt x="1322" y="1219"/>
                  </a:lnTo>
                  <a:lnTo>
                    <a:pt x="1325" y="1219"/>
                  </a:lnTo>
                  <a:lnTo>
                    <a:pt x="1329" y="1220"/>
                  </a:lnTo>
                  <a:lnTo>
                    <a:pt x="1325" y="1222"/>
                  </a:lnTo>
                  <a:lnTo>
                    <a:pt x="1325" y="1224"/>
                  </a:lnTo>
                  <a:lnTo>
                    <a:pt x="1331" y="1224"/>
                  </a:lnTo>
                  <a:lnTo>
                    <a:pt x="1335" y="1226"/>
                  </a:lnTo>
                  <a:lnTo>
                    <a:pt x="1337" y="1228"/>
                  </a:lnTo>
                  <a:lnTo>
                    <a:pt x="1335" y="1226"/>
                  </a:lnTo>
                  <a:lnTo>
                    <a:pt x="1331" y="1228"/>
                  </a:lnTo>
                  <a:lnTo>
                    <a:pt x="1331" y="1232"/>
                  </a:lnTo>
                  <a:lnTo>
                    <a:pt x="1337" y="1234"/>
                  </a:lnTo>
                  <a:lnTo>
                    <a:pt x="1339" y="1235"/>
                  </a:lnTo>
                  <a:lnTo>
                    <a:pt x="1335" y="1239"/>
                  </a:lnTo>
                  <a:lnTo>
                    <a:pt x="1331" y="1235"/>
                  </a:lnTo>
                  <a:lnTo>
                    <a:pt x="1331" y="1239"/>
                  </a:lnTo>
                  <a:lnTo>
                    <a:pt x="1335" y="1241"/>
                  </a:lnTo>
                  <a:lnTo>
                    <a:pt x="1335" y="1245"/>
                  </a:lnTo>
                  <a:lnTo>
                    <a:pt x="1331" y="1245"/>
                  </a:lnTo>
                  <a:lnTo>
                    <a:pt x="1331" y="1249"/>
                  </a:lnTo>
                  <a:lnTo>
                    <a:pt x="1325" y="1251"/>
                  </a:lnTo>
                  <a:lnTo>
                    <a:pt x="1322" y="1247"/>
                  </a:lnTo>
                  <a:lnTo>
                    <a:pt x="1325" y="1251"/>
                  </a:lnTo>
                  <a:lnTo>
                    <a:pt x="1331" y="1252"/>
                  </a:lnTo>
                  <a:lnTo>
                    <a:pt x="1335" y="1252"/>
                  </a:lnTo>
                  <a:lnTo>
                    <a:pt x="1335" y="1256"/>
                  </a:lnTo>
                  <a:lnTo>
                    <a:pt x="1331" y="1256"/>
                  </a:lnTo>
                  <a:lnTo>
                    <a:pt x="1331" y="1256"/>
                  </a:lnTo>
                  <a:lnTo>
                    <a:pt x="1329" y="1256"/>
                  </a:lnTo>
                  <a:lnTo>
                    <a:pt x="1331" y="1258"/>
                  </a:lnTo>
                  <a:lnTo>
                    <a:pt x="1335" y="1258"/>
                  </a:lnTo>
                  <a:lnTo>
                    <a:pt x="1335" y="1258"/>
                  </a:lnTo>
                  <a:lnTo>
                    <a:pt x="1335" y="1262"/>
                  </a:lnTo>
                  <a:lnTo>
                    <a:pt x="1335" y="1266"/>
                  </a:lnTo>
                  <a:lnTo>
                    <a:pt x="1331" y="1266"/>
                  </a:lnTo>
                  <a:lnTo>
                    <a:pt x="1329" y="1269"/>
                  </a:lnTo>
                  <a:lnTo>
                    <a:pt x="1325" y="1271"/>
                  </a:lnTo>
                  <a:lnTo>
                    <a:pt x="1320" y="1271"/>
                  </a:lnTo>
                  <a:lnTo>
                    <a:pt x="1316" y="1275"/>
                  </a:lnTo>
                  <a:lnTo>
                    <a:pt x="1314" y="1275"/>
                  </a:lnTo>
                  <a:lnTo>
                    <a:pt x="1312" y="1279"/>
                  </a:lnTo>
                  <a:lnTo>
                    <a:pt x="1310" y="1279"/>
                  </a:lnTo>
                  <a:lnTo>
                    <a:pt x="1310" y="1281"/>
                  </a:lnTo>
                  <a:lnTo>
                    <a:pt x="1305" y="1281"/>
                  </a:lnTo>
                  <a:lnTo>
                    <a:pt x="1305" y="1279"/>
                  </a:lnTo>
                  <a:lnTo>
                    <a:pt x="1301" y="1281"/>
                  </a:lnTo>
                  <a:lnTo>
                    <a:pt x="1297" y="1281"/>
                  </a:lnTo>
                  <a:lnTo>
                    <a:pt x="1297" y="1279"/>
                  </a:lnTo>
                  <a:lnTo>
                    <a:pt x="1293" y="1281"/>
                  </a:lnTo>
                  <a:lnTo>
                    <a:pt x="1290" y="1281"/>
                  </a:lnTo>
                  <a:lnTo>
                    <a:pt x="1288" y="1279"/>
                  </a:lnTo>
                  <a:lnTo>
                    <a:pt x="1286" y="1279"/>
                  </a:lnTo>
                  <a:lnTo>
                    <a:pt x="1286" y="1281"/>
                  </a:lnTo>
                  <a:lnTo>
                    <a:pt x="1284" y="1283"/>
                  </a:lnTo>
                  <a:lnTo>
                    <a:pt x="1280" y="1283"/>
                  </a:lnTo>
                  <a:lnTo>
                    <a:pt x="1280" y="1284"/>
                  </a:lnTo>
                  <a:lnTo>
                    <a:pt x="1280" y="1284"/>
                  </a:lnTo>
                  <a:lnTo>
                    <a:pt x="1280" y="1286"/>
                  </a:lnTo>
                  <a:lnTo>
                    <a:pt x="1276" y="1290"/>
                  </a:lnTo>
                  <a:lnTo>
                    <a:pt x="1273" y="1288"/>
                  </a:lnTo>
                  <a:lnTo>
                    <a:pt x="1273" y="1290"/>
                  </a:lnTo>
                  <a:lnTo>
                    <a:pt x="1273" y="1296"/>
                  </a:lnTo>
                  <a:lnTo>
                    <a:pt x="1267" y="1296"/>
                  </a:lnTo>
                  <a:lnTo>
                    <a:pt x="1267" y="1300"/>
                  </a:lnTo>
                  <a:lnTo>
                    <a:pt x="1265" y="1300"/>
                  </a:lnTo>
                  <a:lnTo>
                    <a:pt x="1263" y="1303"/>
                  </a:lnTo>
                  <a:lnTo>
                    <a:pt x="1261" y="1303"/>
                  </a:lnTo>
                  <a:lnTo>
                    <a:pt x="1258" y="1303"/>
                  </a:lnTo>
                  <a:lnTo>
                    <a:pt x="1254" y="1303"/>
                  </a:lnTo>
                  <a:lnTo>
                    <a:pt x="1254" y="1305"/>
                  </a:lnTo>
                  <a:lnTo>
                    <a:pt x="1252" y="1307"/>
                  </a:lnTo>
                  <a:lnTo>
                    <a:pt x="1248" y="1305"/>
                  </a:lnTo>
                  <a:lnTo>
                    <a:pt x="1243" y="1305"/>
                  </a:lnTo>
                  <a:lnTo>
                    <a:pt x="1241" y="1305"/>
                  </a:lnTo>
                  <a:lnTo>
                    <a:pt x="1237" y="1305"/>
                  </a:lnTo>
                  <a:lnTo>
                    <a:pt x="1235" y="1305"/>
                  </a:lnTo>
                  <a:lnTo>
                    <a:pt x="1226" y="1309"/>
                  </a:lnTo>
                  <a:lnTo>
                    <a:pt x="1222" y="1307"/>
                  </a:lnTo>
                  <a:lnTo>
                    <a:pt x="1224" y="1305"/>
                  </a:lnTo>
                  <a:lnTo>
                    <a:pt x="1222" y="1305"/>
                  </a:lnTo>
                  <a:lnTo>
                    <a:pt x="1218" y="1307"/>
                  </a:lnTo>
                  <a:lnTo>
                    <a:pt x="1216" y="1307"/>
                  </a:lnTo>
                  <a:lnTo>
                    <a:pt x="1211" y="1303"/>
                  </a:lnTo>
                  <a:lnTo>
                    <a:pt x="1209" y="1305"/>
                  </a:lnTo>
                  <a:lnTo>
                    <a:pt x="1203" y="1303"/>
                  </a:lnTo>
                  <a:lnTo>
                    <a:pt x="1201" y="1303"/>
                  </a:lnTo>
                  <a:lnTo>
                    <a:pt x="1199" y="1303"/>
                  </a:lnTo>
                  <a:lnTo>
                    <a:pt x="1197" y="1303"/>
                  </a:lnTo>
                  <a:lnTo>
                    <a:pt x="1192" y="1303"/>
                  </a:lnTo>
                  <a:lnTo>
                    <a:pt x="1188" y="1300"/>
                  </a:lnTo>
                  <a:lnTo>
                    <a:pt x="1184" y="1303"/>
                  </a:lnTo>
                  <a:lnTo>
                    <a:pt x="1180" y="1303"/>
                  </a:lnTo>
                  <a:lnTo>
                    <a:pt x="1177" y="1300"/>
                  </a:lnTo>
                  <a:lnTo>
                    <a:pt x="1173" y="1303"/>
                  </a:lnTo>
                  <a:lnTo>
                    <a:pt x="1173" y="1303"/>
                  </a:lnTo>
                  <a:lnTo>
                    <a:pt x="1167" y="1303"/>
                  </a:lnTo>
                  <a:lnTo>
                    <a:pt x="1164" y="1300"/>
                  </a:lnTo>
                  <a:lnTo>
                    <a:pt x="1156" y="1303"/>
                  </a:lnTo>
                  <a:lnTo>
                    <a:pt x="1150" y="1300"/>
                  </a:lnTo>
                  <a:lnTo>
                    <a:pt x="1148" y="1296"/>
                  </a:lnTo>
                  <a:lnTo>
                    <a:pt x="1145" y="1300"/>
                  </a:lnTo>
                  <a:lnTo>
                    <a:pt x="1143" y="1300"/>
                  </a:lnTo>
                  <a:lnTo>
                    <a:pt x="1145" y="1303"/>
                  </a:lnTo>
                  <a:lnTo>
                    <a:pt x="1143" y="1303"/>
                  </a:lnTo>
                  <a:lnTo>
                    <a:pt x="1139" y="1303"/>
                  </a:lnTo>
                  <a:lnTo>
                    <a:pt x="1133" y="1311"/>
                  </a:lnTo>
                  <a:lnTo>
                    <a:pt x="1130" y="1313"/>
                  </a:lnTo>
                  <a:lnTo>
                    <a:pt x="1130" y="1315"/>
                  </a:lnTo>
                  <a:lnTo>
                    <a:pt x="1128" y="1318"/>
                  </a:lnTo>
                  <a:lnTo>
                    <a:pt x="1128" y="1322"/>
                  </a:lnTo>
                  <a:lnTo>
                    <a:pt x="1124" y="1324"/>
                  </a:lnTo>
                  <a:lnTo>
                    <a:pt x="1118" y="1324"/>
                  </a:lnTo>
                  <a:lnTo>
                    <a:pt x="1115" y="1328"/>
                  </a:lnTo>
                  <a:lnTo>
                    <a:pt x="1109" y="1328"/>
                  </a:lnTo>
                  <a:lnTo>
                    <a:pt x="1105" y="1330"/>
                  </a:lnTo>
                  <a:lnTo>
                    <a:pt x="1105" y="1333"/>
                  </a:lnTo>
                  <a:lnTo>
                    <a:pt x="1103" y="1330"/>
                  </a:lnTo>
                  <a:lnTo>
                    <a:pt x="1100" y="1333"/>
                  </a:lnTo>
                  <a:lnTo>
                    <a:pt x="1100" y="1335"/>
                  </a:lnTo>
                  <a:lnTo>
                    <a:pt x="1096" y="1335"/>
                  </a:lnTo>
                  <a:lnTo>
                    <a:pt x="1090" y="1339"/>
                  </a:lnTo>
                  <a:lnTo>
                    <a:pt x="1090" y="1341"/>
                  </a:lnTo>
                  <a:lnTo>
                    <a:pt x="1088" y="1341"/>
                  </a:lnTo>
                  <a:lnTo>
                    <a:pt x="1084" y="1348"/>
                  </a:lnTo>
                  <a:lnTo>
                    <a:pt x="1077" y="1352"/>
                  </a:lnTo>
                  <a:lnTo>
                    <a:pt x="1075" y="1360"/>
                  </a:lnTo>
                  <a:lnTo>
                    <a:pt x="1069" y="1360"/>
                  </a:lnTo>
                  <a:lnTo>
                    <a:pt x="1066" y="1365"/>
                  </a:lnTo>
                  <a:lnTo>
                    <a:pt x="1062" y="1365"/>
                  </a:lnTo>
                  <a:lnTo>
                    <a:pt x="1060" y="1371"/>
                  </a:lnTo>
                  <a:lnTo>
                    <a:pt x="1060" y="1375"/>
                  </a:lnTo>
                  <a:lnTo>
                    <a:pt x="1051" y="1380"/>
                  </a:lnTo>
                  <a:lnTo>
                    <a:pt x="1049" y="1384"/>
                  </a:lnTo>
                  <a:lnTo>
                    <a:pt x="1039" y="1388"/>
                  </a:lnTo>
                  <a:lnTo>
                    <a:pt x="1034" y="1388"/>
                  </a:lnTo>
                  <a:lnTo>
                    <a:pt x="1037" y="1388"/>
                  </a:lnTo>
                  <a:lnTo>
                    <a:pt x="1049" y="1384"/>
                  </a:lnTo>
                  <a:lnTo>
                    <a:pt x="1056" y="1380"/>
                  </a:lnTo>
                  <a:lnTo>
                    <a:pt x="1062" y="1377"/>
                  </a:lnTo>
                  <a:lnTo>
                    <a:pt x="1068" y="1371"/>
                  </a:lnTo>
                  <a:lnTo>
                    <a:pt x="1071" y="1365"/>
                  </a:lnTo>
                  <a:lnTo>
                    <a:pt x="1075" y="1364"/>
                  </a:lnTo>
                  <a:lnTo>
                    <a:pt x="1084" y="1354"/>
                  </a:lnTo>
                  <a:lnTo>
                    <a:pt x="1096" y="1348"/>
                  </a:lnTo>
                  <a:lnTo>
                    <a:pt x="1105" y="1341"/>
                  </a:lnTo>
                  <a:lnTo>
                    <a:pt x="1109" y="1341"/>
                  </a:lnTo>
                  <a:lnTo>
                    <a:pt x="1115" y="1339"/>
                  </a:lnTo>
                  <a:lnTo>
                    <a:pt x="1124" y="1337"/>
                  </a:lnTo>
                  <a:lnTo>
                    <a:pt x="1135" y="1333"/>
                  </a:lnTo>
                  <a:lnTo>
                    <a:pt x="1139" y="1333"/>
                  </a:lnTo>
                  <a:lnTo>
                    <a:pt x="1143" y="1330"/>
                  </a:lnTo>
                  <a:lnTo>
                    <a:pt x="1156" y="1330"/>
                  </a:lnTo>
                  <a:lnTo>
                    <a:pt x="1160" y="1333"/>
                  </a:lnTo>
                  <a:lnTo>
                    <a:pt x="1169" y="1337"/>
                  </a:lnTo>
                  <a:lnTo>
                    <a:pt x="1169" y="1339"/>
                  </a:lnTo>
                  <a:lnTo>
                    <a:pt x="1164" y="1339"/>
                  </a:lnTo>
                  <a:lnTo>
                    <a:pt x="1164" y="1339"/>
                  </a:lnTo>
                  <a:lnTo>
                    <a:pt x="1164" y="1341"/>
                  </a:lnTo>
                  <a:lnTo>
                    <a:pt x="1167" y="1341"/>
                  </a:lnTo>
                  <a:lnTo>
                    <a:pt x="1169" y="1341"/>
                  </a:lnTo>
                  <a:lnTo>
                    <a:pt x="1173" y="1345"/>
                  </a:lnTo>
                  <a:lnTo>
                    <a:pt x="1169" y="1345"/>
                  </a:lnTo>
                  <a:lnTo>
                    <a:pt x="1173" y="1347"/>
                  </a:lnTo>
                  <a:lnTo>
                    <a:pt x="1167" y="1354"/>
                  </a:lnTo>
                  <a:lnTo>
                    <a:pt x="1164" y="1354"/>
                  </a:lnTo>
                  <a:lnTo>
                    <a:pt x="1160" y="1358"/>
                  </a:lnTo>
                  <a:lnTo>
                    <a:pt x="1158" y="1358"/>
                  </a:lnTo>
                  <a:lnTo>
                    <a:pt x="1152" y="1360"/>
                  </a:lnTo>
                  <a:lnTo>
                    <a:pt x="1148" y="1360"/>
                  </a:lnTo>
                  <a:lnTo>
                    <a:pt x="1145" y="1360"/>
                  </a:lnTo>
                  <a:lnTo>
                    <a:pt x="1143" y="1358"/>
                  </a:lnTo>
                  <a:lnTo>
                    <a:pt x="1139" y="1360"/>
                  </a:lnTo>
                  <a:lnTo>
                    <a:pt x="1135" y="1360"/>
                  </a:lnTo>
                  <a:lnTo>
                    <a:pt x="1130" y="1360"/>
                  </a:lnTo>
                  <a:lnTo>
                    <a:pt x="1126" y="1360"/>
                  </a:lnTo>
                  <a:lnTo>
                    <a:pt x="1130" y="1360"/>
                  </a:lnTo>
                  <a:lnTo>
                    <a:pt x="1135" y="1360"/>
                  </a:lnTo>
                  <a:lnTo>
                    <a:pt x="1143" y="1364"/>
                  </a:lnTo>
                  <a:lnTo>
                    <a:pt x="1145" y="1365"/>
                  </a:lnTo>
                  <a:lnTo>
                    <a:pt x="1147" y="1367"/>
                  </a:lnTo>
                  <a:lnTo>
                    <a:pt x="1150" y="1365"/>
                  </a:lnTo>
                  <a:lnTo>
                    <a:pt x="1154" y="1364"/>
                  </a:lnTo>
                  <a:lnTo>
                    <a:pt x="1158" y="1364"/>
                  </a:lnTo>
                  <a:lnTo>
                    <a:pt x="1160" y="1365"/>
                  </a:lnTo>
                  <a:lnTo>
                    <a:pt x="1160" y="1365"/>
                  </a:lnTo>
                  <a:lnTo>
                    <a:pt x="1164" y="1367"/>
                  </a:lnTo>
                  <a:lnTo>
                    <a:pt x="1160" y="1371"/>
                  </a:lnTo>
                  <a:lnTo>
                    <a:pt x="1154" y="1380"/>
                  </a:lnTo>
                  <a:lnTo>
                    <a:pt x="1152" y="1380"/>
                  </a:lnTo>
                  <a:lnTo>
                    <a:pt x="1148" y="1384"/>
                  </a:lnTo>
                  <a:lnTo>
                    <a:pt x="1156" y="1384"/>
                  </a:lnTo>
                  <a:lnTo>
                    <a:pt x="1156" y="1384"/>
                  </a:lnTo>
                  <a:lnTo>
                    <a:pt x="1154" y="1388"/>
                  </a:lnTo>
                  <a:lnTo>
                    <a:pt x="1156" y="1390"/>
                  </a:lnTo>
                  <a:lnTo>
                    <a:pt x="1156" y="1394"/>
                  </a:lnTo>
                  <a:lnTo>
                    <a:pt x="1156" y="1399"/>
                  </a:lnTo>
                  <a:lnTo>
                    <a:pt x="1158" y="1399"/>
                  </a:lnTo>
                  <a:lnTo>
                    <a:pt x="1160" y="1405"/>
                  </a:lnTo>
                  <a:lnTo>
                    <a:pt x="1164" y="1405"/>
                  </a:lnTo>
                  <a:lnTo>
                    <a:pt x="1164" y="1407"/>
                  </a:lnTo>
                  <a:lnTo>
                    <a:pt x="1169" y="1407"/>
                  </a:lnTo>
                  <a:lnTo>
                    <a:pt x="1169" y="1411"/>
                  </a:lnTo>
                  <a:lnTo>
                    <a:pt x="1167" y="1411"/>
                  </a:lnTo>
                  <a:lnTo>
                    <a:pt x="1169" y="1414"/>
                  </a:lnTo>
                  <a:lnTo>
                    <a:pt x="1177" y="1414"/>
                  </a:lnTo>
                  <a:lnTo>
                    <a:pt x="1180" y="1416"/>
                  </a:lnTo>
                  <a:lnTo>
                    <a:pt x="1182" y="1416"/>
                  </a:lnTo>
                  <a:lnTo>
                    <a:pt x="1184" y="1418"/>
                  </a:lnTo>
                  <a:lnTo>
                    <a:pt x="1188" y="1418"/>
                  </a:lnTo>
                  <a:lnTo>
                    <a:pt x="1194" y="1418"/>
                  </a:lnTo>
                  <a:lnTo>
                    <a:pt x="1194" y="1418"/>
                  </a:lnTo>
                  <a:lnTo>
                    <a:pt x="1199" y="1414"/>
                  </a:lnTo>
                  <a:lnTo>
                    <a:pt x="1201" y="1418"/>
                  </a:lnTo>
                  <a:lnTo>
                    <a:pt x="1199" y="1418"/>
                  </a:lnTo>
                  <a:lnTo>
                    <a:pt x="1205" y="1418"/>
                  </a:lnTo>
                  <a:lnTo>
                    <a:pt x="1211" y="1422"/>
                  </a:lnTo>
                  <a:lnTo>
                    <a:pt x="1211" y="1424"/>
                  </a:lnTo>
                  <a:lnTo>
                    <a:pt x="1209" y="1424"/>
                  </a:lnTo>
                  <a:lnTo>
                    <a:pt x="1207" y="1428"/>
                  </a:lnTo>
                  <a:lnTo>
                    <a:pt x="1211" y="1428"/>
                  </a:lnTo>
                  <a:lnTo>
                    <a:pt x="1214" y="1428"/>
                  </a:lnTo>
                  <a:lnTo>
                    <a:pt x="1216" y="1429"/>
                  </a:lnTo>
                  <a:lnTo>
                    <a:pt x="1212" y="1431"/>
                  </a:lnTo>
                  <a:lnTo>
                    <a:pt x="1211" y="1429"/>
                  </a:lnTo>
                  <a:lnTo>
                    <a:pt x="1207" y="1429"/>
                  </a:lnTo>
                  <a:lnTo>
                    <a:pt x="1201" y="1431"/>
                  </a:lnTo>
                  <a:lnTo>
                    <a:pt x="1194" y="1437"/>
                  </a:lnTo>
                  <a:lnTo>
                    <a:pt x="1188" y="1437"/>
                  </a:lnTo>
                  <a:lnTo>
                    <a:pt x="1184" y="1439"/>
                  </a:lnTo>
                  <a:lnTo>
                    <a:pt x="1177" y="1441"/>
                  </a:lnTo>
                  <a:lnTo>
                    <a:pt x="1173" y="1443"/>
                  </a:lnTo>
                  <a:lnTo>
                    <a:pt x="1167" y="1443"/>
                  </a:lnTo>
                  <a:lnTo>
                    <a:pt x="1169" y="1445"/>
                  </a:lnTo>
                  <a:lnTo>
                    <a:pt x="1164" y="1445"/>
                  </a:lnTo>
                  <a:lnTo>
                    <a:pt x="1164" y="1441"/>
                  </a:lnTo>
                  <a:lnTo>
                    <a:pt x="1160" y="1441"/>
                  </a:lnTo>
                  <a:lnTo>
                    <a:pt x="1160" y="1443"/>
                  </a:lnTo>
                  <a:lnTo>
                    <a:pt x="1158" y="1443"/>
                  </a:lnTo>
                  <a:lnTo>
                    <a:pt x="1156" y="1446"/>
                  </a:lnTo>
                  <a:lnTo>
                    <a:pt x="1156" y="1448"/>
                  </a:lnTo>
                  <a:lnTo>
                    <a:pt x="1150" y="1452"/>
                  </a:lnTo>
                  <a:lnTo>
                    <a:pt x="1145" y="1458"/>
                  </a:lnTo>
                  <a:lnTo>
                    <a:pt x="1143" y="1460"/>
                  </a:lnTo>
                  <a:lnTo>
                    <a:pt x="1139" y="1463"/>
                  </a:lnTo>
                  <a:lnTo>
                    <a:pt x="1135" y="1463"/>
                  </a:lnTo>
                  <a:lnTo>
                    <a:pt x="1135" y="1463"/>
                  </a:lnTo>
                  <a:lnTo>
                    <a:pt x="1135" y="1467"/>
                  </a:lnTo>
                  <a:lnTo>
                    <a:pt x="1133" y="1469"/>
                  </a:lnTo>
                  <a:lnTo>
                    <a:pt x="1130" y="1467"/>
                  </a:lnTo>
                  <a:lnTo>
                    <a:pt x="1130" y="1469"/>
                  </a:lnTo>
                  <a:lnTo>
                    <a:pt x="1126" y="1465"/>
                  </a:lnTo>
                  <a:lnTo>
                    <a:pt x="1126" y="1461"/>
                  </a:lnTo>
                  <a:lnTo>
                    <a:pt x="1124" y="1460"/>
                  </a:lnTo>
                  <a:lnTo>
                    <a:pt x="1122" y="1461"/>
                  </a:lnTo>
                  <a:lnTo>
                    <a:pt x="1120" y="1458"/>
                  </a:lnTo>
                  <a:lnTo>
                    <a:pt x="1120" y="1454"/>
                  </a:lnTo>
                  <a:lnTo>
                    <a:pt x="1120" y="1452"/>
                  </a:lnTo>
                  <a:lnTo>
                    <a:pt x="1122" y="1445"/>
                  </a:lnTo>
                  <a:lnTo>
                    <a:pt x="1128" y="1441"/>
                  </a:lnTo>
                  <a:lnTo>
                    <a:pt x="1128" y="1439"/>
                  </a:lnTo>
                  <a:lnTo>
                    <a:pt x="1135" y="1433"/>
                  </a:lnTo>
                  <a:lnTo>
                    <a:pt x="1143" y="1431"/>
                  </a:lnTo>
                  <a:lnTo>
                    <a:pt x="1148" y="1428"/>
                  </a:lnTo>
                  <a:lnTo>
                    <a:pt x="1154" y="1428"/>
                  </a:lnTo>
                  <a:lnTo>
                    <a:pt x="1158" y="1428"/>
                  </a:lnTo>
                  <a:lnTo>
                    <a:pt x="1158" y="1429"/>
                  </a:lnTo>
                  <a:lnTo>
                    <a:pt x="1160" y="1431"/>
                  </a:lnTo>
                  <a:lnTo>
                    <a:pt x="1160" y="1429"/>
                  </a:lnTo>
                  <a:lnTo>
                    <a:pt x="1160" y="1428"/>
                  </a:lnTo>
                  <a:lnTo>
                    <a:pt x="1164" y="1428"/>
                  </a:lnTo>
                  <a:lnTo>
                    <a:pt x="1167" y="1428"/>
                  </a:lnTo>
                  <a:lnTo>
                    <a:pt x="1173" y="1424"/>
                  </a:lnTo>
                  <a:lnTo>
                    <a:pt x="1167" y="1428"/>
                  </a:lnTo>
                  <a:lnTo>
                    <a:pt x="1160" y="1424"/>
                  </a:lnTo>
                  <a:lnTo>
                    <a:pt x="1158" y="1422"/>
                  </a:lnTo>
                  <a:lnTo>
                    <a:pt x="1154" y="1422"/>
                  </a:lnTo>
                  <a:lnTo>
                    <a:pt x="1150" y="1428"/>
                  </a:lnTo>
                  <a:lnTo>
                    <a:pt x="1147" y="1424"/>
                  </a:lnTo>
                  <a:lnTo>
                    <a:pt x="1150" y="1422"/>
                  </a:lnTo>
                  <a:lnTo>
                    <a:pt x="1154" y="1418"/>
                  </a:lnTo>
                  <a:lnTo>
                    <a:pt x="1158" y="1416"/>
                  </a:lnTo>
                  <a:lnTo>
                    <a:pt x="1158" y="1414"/>
                  </a:lnTo>
                  <a:lnTo>
                    <a:pt x="1156" y="1416"/>
                  </a:lnTo>
                  <a:lnTo>
                    <a:pt x="1156" y="1413"/>
                  </a:lnTo>
                  <a:lnTo>
                    <a:pt x="1150" y="1418"/>
                  </a:lnTo>
                  <a:lnTo>
                    <a:pt x="1148" y="1418"/>
                  </a:lnTo>
                  <a:lnTo>
                    <a:pt x="1143" y="1422"/>
                  </a:lnTo>
                  <a:lnTo>
                    <a:pt x="1139" y="1422"/>
                  </a:lnTo>
                  <a:lnTo>
                    <a:pt x="1139" y="1428"/>
                  </a:lnTo>
                  <a:lnTo>
                    <a:pt x="1130" y="1428"/>
                  </a:lnTo>
                  <a:lnTo>
                    <a:pt x="1130" y="1428"/>
                  </a:lnTo>
                  <a:lnTo>
                    <a:pt x="1130" y="1424"/>
                  </a:lnTo>
                  <a:lnTo>
                    <a:pt x="1128" y="1424"/>
                  </a:lnTo>
                  <a:lnTo>
                    <a:pt x="1130" y="1422"/>
                  </a:lnTo>
                  <a:lnTo>
                    <a:pt x="1128" y="1424"/>
                  </a:lnTo>
                  <a:lnTo>
                    <a:pt x="1126" y="1428"/>
                  </a:lnTo>
                  <a:lnTo>
                    <a:pt x="1120" y="1429"/>
                  </a:lnTo>
                  <a:lnTo>
                    <a:pt x="1118" y="1428"/>
                  </a:lnTo>
                  <a:lnTo>
                    <a:pt x="1118" y="1429"/>
                  </a:lnTo>
                  <a:lnTo>
                    <a:pt x="1115" y="1429"/>
                  </a:lnTo>
                  <a:lnTo>
                    <a:pt x="1115" y="1428"/>
                  </a:lnTo>
                  <a:lnTo>
                    <a:pt x="1109" y="1428"/>
                  </a:lnTo>
                  <a:lnTo>
                    <a:pt x="1105" y="1428"/>
                  </a:lnTo>
                  <a:lnTo>
                    <a:pt x="1103" y="1428"/>
                  </a:lnTo>
                  <a:lnTo>
                    <a:pt x="1103" y="1424"/>
                  </a:lnTo>
                  <a:lnTo>
                    <a:pt x="1105" y="1422"/>
                  </a:lnTo>
                  <a:lnTo>
                    <a:pt x="1103" y="1422"/>
                  </a:lnTo>
                  <a:lnTo>
                    <a:pt x="1105" y="1418"/>
                  </a:lnTo>
                  <a:lnTo>
                    <a:pt x="1105" y="1418"/>
                  </a:lnTo>
                  <a:lnTo>
                    <a:pt x="1103" y="1416"/>
                  </a:lnTo>
                  <a:lnTo>
                    <a:pt x="1101" y="1413"/>
                  </a:lnTo>
                  <a:lnTo>
                    <a:pt x="1100" y="1413"/>
                  </a:lnTo>
                  <a:lnTo>
                    <a:pt x="1101" y="1411"/>
                  </a:lnTo>
                  <a:lnTo>
                    <a:pt x="1105" y="1384"/>
                  </a:lnTo>
                  <a:lnTo>
                    <a:pt x="1105" y="1380"/>
                  </a:lnTo>
                  <a:lnTo>
                    <a:pt x="1098" y="1373"/>
                  </a:lnTo>
                  <a:lnTo>
                    <a:pt x="1096" y="1375"/>
                  </a:lnTo>
                  <a:lnTo>
                    <a:pt x="1090" y="1373"/>
                  </a:lnTo>
                  <a:lnTo>
                    <a:pt x="1086" y="1375"/>
                  </a:lnTo>
                  <a:lnTo>
                    <a:pt x="1084" y="1371"/>
                  </a:lnTo>
                  <a:lnTo>
                    <a:pt x="1081" y="1371"/>
                  </a:lnTo>
                  <a:lnTo>
                    <a:pt x="1081" y="1371"/>
                  </a:lnTo>
                  <a:lnTo>
                    <a:pt x="1079" y="1373"/>
                  </a:lnTo>
                  <a:lnTo>
                    <a:pt x="1077" y="1377"/>
                  </a:lnTo>
                  <a:lnTo>
                    <a:pt x="1069" y="1384"/>
                  </a:lnTo>
                  <a:lnTo>
                    <a:pt x="1066" y="1388"/>
                  </a:lnTo>
                  <a:lnTo>
                    <a:pt x="1066" y="1390"/>
                  </a:lnTo>
                  <a:lnTo>
                    <a:pt x="1062" y="1394"/>
                  </a:lnTo>
                  <a:lnTo>
                    <a:pt x="1060" y="1397"/>
                  </a:lnTo>
                  <a:lnTo>
                    <a:pt x="1060" y="1401"/>
                  </a:lnTo>
                  <a:lnTo>
                    <a:pt x="1056" y="1409"/>
                  </a:lnTo>
                  <a:lnTo>
                    <a:pt x="1051" y="1409"/>
                  </a:lnTo>
                  <a:lnTo>
                    <a:pt x="1047" y="1416"/>
                  </a:lnTo>
                  <a:lnTo>
                    <a:pt x="1047" y="1418"/>
                  </a:lnTo>
                  <a:lnTo>
                    <a:pt x="1043" y="1418"/>
                  </a:lnTo>
                  <a:lnTo>
                    <a:pt x="1039" y="1418"/>
                  </a:lnTo>
                  <a:lnTo>
                    <a:pt x="1037" y="1418"/>
                  </a:lnTo>
                  <a:lnTo>
                    <a:pt x="1036" y="1422"/>
                  </a:lnTo>
                  <a:lnTo>
                    <a:pt x="1034" y="1422"/>
                  </a:lnTo>
                  <a:lnTo>
                    <a:pt x="1030" y="1424"/>
                  </a:lnTo>
                  <a:lnTo>
                    <a:pt x="975" y="1422"/>
                  </a:lnTo>
                  <a:lnTo>
                    <a:pt x="972" y="1424"/>
                  </a:lnTo>
                  <a:lnTo>
                    <a:pt x="968" y="1428"/>
                  </a:lnTo>
                  <a:lnTo>
                    <a:pt x="962" y="1429"/>
                  </a:lnTo>
                  <a:lnTo>
                    <a:pt x="958" y="1433"/>
                  </a:lnTo>
                  <a:lnTo>
                    <a:pt x="951" y="1441"/>
                  </a:lnTo>
                  <a:lnTo>
                    <a:pt x="947" y="1441"/>
                  </a:lnTo>
                  <a:lnTo>
                    <a:pt x="943" y="1445"/>
                  </a:lnTo>
                  <a:lnTo>
                    <a:pt x="926" y="1454"/>
                  </a:lnTo>
                  <a:lnTo>
                    <a:pt x="892" y="1465"/>
                  </a:lnTo>
                  <a:lnTo>
                    <a:pt x="889" y="1473"/>
                  </a:lnTo>
                  <a:lnTo>
                    <a:pt x="883" y="1478"/>
                  </a:lnTo>
                  <a:lnTo>
                    <a:pt x="819" y="1495"/>
                  </a:lnTo>
                  <a:lnTo>
                    <a:pt x="815" y="1488"/>
                  </a:lnTo>
                  <a:lnTo>
                    <a:pt x="819" y="1484"/>
                  </a:lnTo>
                  <a:lnTo>
                    <a:pt x="827" y="1482"/>
                  </a:lnTo>
                  <a:lnTo>
                    <a:pt x="830" y="1478"/>
                  </a:lnTo>
                  <a:lnTo>
                    <a:pt x="830" y="1473"/>
                  </a:lnTo>
                  <a:lnTo>
                    <a:pt x="834" y="1469"/>
                  </a:lnTo>
                  <a:lnTo>
                    <a:pt x="834" y="1445"/>
                  </a:lnTo>
                  <a:lnTo>
                    <a:pt x="823" y="1388"/>
                  </a:lnTo>
                  <a:lnTo>
                    <a:pt x="812" y="1379"/>
                  </a:lnTo>
                  <a:lnTo>
                    <a:pt x="806" y="1371"/>
                  </a:lnTo>
                  <a:lnTo>
                    <a:pt x="732" y="1337"/>
                  </a:lnTo>
                  <a:lnTo>
                    <a:pt x="731" y="1335"/>
                  </a:lnTo>
                  <a:lnTo>
                    <a:pt x="727" y="1333"/>
                  </a:lnTo>
                  <a:lnTo>
                    <a:pt x="725" y="1333"/>
                  </a:lnTo>
                  <a:lnTo>
                    <a:pt x="716" y="1333"/>
                  </a:lnTo>
                  <a:lnTo>
                    <a:pt x="714" y="1330"/>
                  </a:lnTo>
                  <a:lnTo>
                    <a:pt x="712" y="1328"/>
                  </a:lnTo>
                  <a:lnTo>
                    <a:pt x="708" y="1330"/>
                  </a:lnTo>
                  <a:lnTo>
                    <a:pt x="702" y="1330"/>
                  </a:lnTo>
                  <a:lnTo>
                    <a:pt x="700" y="1328"/>
                  </a:lnTo>
                  <a:lnTo>
                    <a:pt x="697" y="1324"/>
                  </a:lnTo>
                  <a:lnTo>
                    <a:pt x="693" y="1324"/>
                  </a:lnTo>
                  <a:lnTo>
                    <a:pt x="687" y="1322"/>
                  </a:lnTo>
                  <a:lnTo>
                    <a:pt x="685" y="1318"/>
                  </a:lnTo>
                  <a:lnTo>
                    <a:pt x="684" y="1318"/>
                  </a:lnTo>
                  <a:lnTo>
                    <a:pt x="680" y="1315"/>
                  </a:lnTo>
                  <a:lnTo>
                    <a:pt x="676" y="1315"/>
                  </a:lnTo>
                  <a:lnTo>
                    <a:pt x="672" y="1313"/>
                  </a:lnTo>
                  <a:lnTo>
                    <a:pt x="668" y="1315"/>
                  </a:lnTo>
                  <a:lnTo>
                    <a:pt x="668" y="1315"/>
                  </a:lnTo>
                  <a:lnTo>
                    <a:pt x="667" y="1313"/>
                  </a:lnTo>
                  <a:lnTo>
                    <a:pt x="663" y="1311"/>
                  </a:lnTo>
                  <a:lnTo>
                    <a:pt x="663" y="1311"/>
                  </a:lnTo>
                  <a:lnTo>
                    <a:pt x="659" y="1309"/>
                  </a:lnTo>
                  <a:lnTo>
                    <a:pt x="657" y="1309"/>
                  </a:lnTo>
                  <a:lnTo>
                    <a:pt x="655" y="1305"/>
                  </a:lnTo>
                  <a:lnTo>
                    <a:pt x="655" y="1303"/>
                  </a:lnTo>
                  <a:lnTo>
                    <a:pt x="650" y="1303"/>
                  </a:lnTo>
                  <a:lnTo>
                    <a:pt x="646" y="1303"/>
                  </a:lnTo>
                  <a:lnTo>
                    <a:pt x="642" y="1300"/>
                  </a:lnTo>
                  <a:lnTo>
                    <a:pt x="164" y="1252"/>
                  </a:lnTo>
                  <a:lnTo>
                    <a:pt x="164" y="1252"/>
                  </a:lnTo>
                  <a:lnTo>
                    <a:pt x="164" y="1252"/>
                  </a:lnTo>
                  <a:close/>
                </a:path>
              </a:pathLst>
            </a:custGeom>
            <a:solidFill>
              <a:srgbClr val="0F999C"/>
            </a:solidFill>
            <a:ln w="3175" cap="flat">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6" name="Freeform 39">
              <a:extLst>
                <a:ext uri="{FF2B5EF4-FFF2-40B4-BE49-F238E27FC236}">
                  <a16:creationId xmlns:a16="http://schemas.microsoft.com/office/drawing/2014/main" id="{5DAEDE8C-C561-49D8-9D0E-4FA21A744D96}"/>
                </a:ext>
              </a:extLst>
            </p:cNvPr>
            <p:cNvSpPr>
              <a:spLocks noEditPoints="1"/>
            </p:cNvSpPr>
            <p:nvPr/>
          </p:nvSpPr>
          <p:spPr bwMode="auto">
            <a:xfrm>
              <a:off x="-263" y="1041"/>
              <a:ext cx="992" cy="761"/>
            </a:xfrm>
            <a:custGeom>
              <a:avLst/>
              <a:gdLst/>
              <a:ahLst/>
              <a:cxnLst>
                <a:cxn ang="0">
                  <a:pos x="866" y="589"/>
                </a:cxn>
                <a:cxn ang="0">
                  <a:pos x="951" y="122"/>
                </a:cxn>
                <a:cxn ang="0">
                  <a:pos x="892" y="92"/>
                </a:cxn>
                <a:cxn ang="0">
                  <a:pos x="840" y="33"/>
                </a:cxn>
                <a:cxn ang="0">
                  <a:pos x="830" y="5"/>
                </a:cxn>
                <a:cxn ang="0">
                  <a:pos x="744" y="24"/>
                </a:cxn>
                <a:cxn ang="0">
                  <a:pos x="597" y="137"/>
                </a:cxn>
                <a:cxn ang="0">
                  <a:pos x="604" y="177"/>
                </a:cxn>
                <a:cxn ang="0">
                  <a:pos x="569" y="190"/>
                </a:cxn>
                <a:cxn ang="0">
                  <a:pos x="503" y="237"/>
                </a:cxn>
                <a:cxn ang="0">
                  <a:pos x="533" y="280"/>
                </a:cxn>
                <a:cxn ang="0">
                  <a:pos x="512" y="322"/>
                </a:cxn>
                <a:cxn ang="0">
                  <a:pos x="403" y="389"/>
                </a:cxn>
                <a:cxn ang="0">
                  <a:pos x="410" y="423"/>
                </a:cxn>
                <a:cxn ang="0">
                  <a:pos x="437" y="474"/>
                </a:cxn>
                <a:cxn ang="0">
                  <a:pos x="450" y="521"/>
                </a:cxn>
                <a:cxn ang="0">
                  <a:pos x="469" y="563"/>
                </a:cxn>
                <a:cxn ang="0">
                  <a:pos x="380" y="627"/>
                </a:cxn>
                <a:cxn ang="0">
                  <a:pos x="352" y="649"/>
                </a:cxn>
                <a:cxn ang="0">
                  <a:pos x="418" y="631"/>
                </a:cxn>
                <a:cxn ang="0">
                  <a:pos x="482" y="593"/>
                </a:cxn>
                <a:cxn ang="0">
                  <a:pos x="535" y="553"/>
                </a:cxn>
                <a:cxn ang="0">
                  <a:pos x="582" y="493"/>
                </a:cxn>
                <a:cxn ang="0">
                  <a:pos x="619" y="485"/>
                </a:cxn>
                <a:cxn ang="0">
                  <a:pos x="623" y="529"/>
                </a:cxn>
                <a:cxn ang="0">
                  <a:pos x="672" y="487"/>
                </a:cxn>
                <a:cxn ang="0">
                  <a:pos x="706" y="504"/>
                </a:cxn>
                <a:cxn ang="0">
                  <a:pos x="762" y="546"/>
                </a:cxn>
                <a:cxn ang="0">
                  <a:pos x="808" y="589"/>
                </a:cxn>
                <a:cxn ang="0">
                  <a:pos x="836" y="610"/>
                </a:cxn>
                <a:cxn ang="0">
                  <a:pos x="860" y="640"/>
                </a:cxn>
                <a:cxn ang="0">
                  <a:pos x="872" y="696"/>
                </a:cxn>
                <a:cxn ang="0">
                  <a:pos x="879" y="751"/>
                </a:cxn>
                <a:cxn ang="0">
                  <a:pos x="860" y="745"/>
                </a:cxn>
                <a:cxn ang="0">
                  <a:pos x="830" y="751"/>
                </a:cxn>
                <a:cxn ang="0">
                  <a:pos x="834" y="721"/>
                </a:cxn>
                <a:cxn ang="0">
                  <a:pos x="851" y="755"/>
                </a:cxn>
                <a:cxn ang="0">
                  <a:pos x="866" y="715"/>
                </a:cxn>
                <a:cxn ang="0">
                  <a:pos x="857" y="696"/>
                </a:cxn>
                <a:cxn ang="0">
                  <a:pos x="843" y="696"/>
                </a:cxn>
                <a:cxn ang="0">
                  <a:pos x="823" y="696"/>
                </a:cxn>
                <a:cxn ang="0">
                  <a:pos x="842" y="657"/>
                </a:cxn>
                <a:cxn ang="0">
                  <a:pos x="830" y="638"/>
                </a:cxn>
                <a:cxn ang="0">
                  <a:pos x="277" y="399"/>
                </a:cxn>
                <a:cxn ang="0">
                  <a:pos x="469" y="329"/>
                </a:cxn>
                <a:cxn ang="0">
                  <a:pos x="717" y="538"/>
                </a:cxn>
                <a:cxn ang="0">
                  <a:pos x="668" y="529"/>
                </a:cxn>
                <a:cxn ang="0">
                  <a:pos x="454" y="231"/>
                </a:cxn>
                <a:cxn ang="0">
                  <a:pos x="390" y="308"/>
                </a:cxn>
                <a:cxn ang="0">
                  <a:pos x="563" y="519"/>
                </a:cxn>
                <a:cxn ang="0">
                  <a:pos x="550" y="568"/>
                </a:cxn>
                <a:cxn ang="0">
                  <a:pos x="548" y="582"/>
                </a:cxn>
                <a:cxn ang="0">
                  <a:pos x="518" y="606"/>
                </a:cxn>
                <a:cxn ang="0">
                  <a:pos x="454" y="614"/>
                </a:cxn>
                <a:cxn ang="0">
                  <a:pos x="377" y="666"/>
                </a:cxn>
                <a:cxn ang="0">
                  <a:pos x="4" y="734"/>
                </a:cxn>
                <a:cxn ang="0">
                  <a:pos x="36" y="727"/>
                </a:cxn>
                <a:cxn ang="0">
                  <a:pos x="102" y="725"/>
                </a:cxn>
                <a:cxn ang="0">
                  <a:pos x="179" y="706"/>
                </a:cxn>
                <a:cxn ang="0">
                  <a:pos x="245" y="685"/>
                </a:cxn>
                <a:cxn ang="0">
                  <a:pos x="288" y="678"/>
                </a:cxn>
                <a:cxn ang="0">
                  <a:pos x="431" y="521"/>
                </a:cxn>
              </a:cxnLst>
              <a:rect l="0" t="0" r="r" b="b"/>
              <a:pathLst>
                <a:path w="992" h="761">
                  <a:moveTo>
                    <a:pt x="894" y="727"/>
                  </a:moveTo>
                  <a:lnTo>
                    <a:pt x="894" y="727"/>
                  </a:lnTo>
                  <a:lnTo>
                    <a:pt x="894" y="725"/>
                  </a:lnTo>
                  <a:lnTo>
                    <a:pt x="894" y="725"/>
                  </a:lnTo>
                  <a:lnTo>
                    <a:pt x="894" y="721"/>
                  </a:lnTo>
                  <a:lnTo>
                    <a:pt x="896" y="721"/>
                  </a:lnTo>
                  <a:lnTo>
                    <a:pt x="894" y="717"/>
                  </a:lnTo>
                  <a:lnTo>
                    <a:pt x="892" y="717"/>
                  </a:lnTo>
                  <a:lnTo>
                    <a:pt x="892" y="713"/>
                  </a:lnTo>
                  <a:lnTo>
                    <a:pt x="890" y="710"/>
                  </a:lnTo>
                  <a:lnTo>
                    <a:pt x="887" y="708"/>
                  </a:lnTo>
                  <a:lnTo>
                    <a:pt x="885" y="706"/>
                  </a:lnTo>
                  <a:lnTo>
                    <a:pt x="885" y="702"/>
                  </a:lnTo>
                  <a:lnTo>
                    <a:pt x="881" y="700"/>
                  </a:lnTo>
                  <a:lnTo>
                    <a:pt x="879" y="696"/>
                  </a:lnTo>
                  <a:lnTo>
                    <a:pt x="875" y="696"/>
                  </a:lnTo>
                  <a:lnTo>
                    <a:pt x="875" y="696"/>
                  </a:lnTo>
                  <a:lnTo>
                    <a:pt x="875" y="693"/>
                  </a:lnTo>
                  <a:lnTo>
                    <a:pt x="875" y="691"/>
                  </a:lnTo>
                  <a:lnTo>
                    <a:pt x="874" y="691"/>
                  </a:lnTo>
                  <a:lnTo>
                    <a:pt x="874" y="687"/>
                  </a:lnTo>
                  <a:lnTo>
                    <a:pt x="875" y="687"/>
                  </a:lnTo>
                  <a:lnTo>
                    <a:pt x="875" y="685"/>
                  </a:lnTo>
                  <a:lnTo>
                    <a:pt x="875" y="683"/>
                  </a:lnTo>
                  <a:lnTo>
                    <a:pt x="874" y="683"/>
                  </a:lnTo>
                  <a:lnTo>
                    <a:pt x="872" y="683"/>
                  </a:lnTo>
                  <a:lnTo>
                    <a:pt x="872" y="680"/>
                  </a:lnTo>
                  <a:lnTo>
                    <a:pt x="875" y="678"/>
                  </a:lnTo>
                  <a:lnTo>
                    <a:pt x="874" y="666"/>
                  </a:lnTo>
                  <a:lnTo>
                    <a:pt x="875" y="651"/>
                  </a:lnTo>
                  <a:lnTo>
                    <a:pt x="875" y="640"/>
                  </a:lnTo>
                  <a:lnTo>
                    <a:pt x="875" y="636"/>
                  </a:lnTo>
                  <a:lnTo>
                    <a:pt x="874" y="632"/>
                  </a:lnTo>
                  <a:lnTo>
                    <a:pt x="875" y="632"/>
                  </a:lnTo>
                  <a:lnTo>
                    <a:pt x="875" y="627"/>
                  </a:lnTo>
                  <a:lnTo>
                    <a:pt x="874" y="623"/>
                  </a:lnTo>
                  <a:lnTo>
                    <a:pt x="874" y="617"/>
                  </a:lnTo>
                  <a:lnTo>
                    <a:pt x="868" y="614"/>
                  </a:lnTo>
                  <a:lnTo>
                    <a:pt x="868" y="606"/>
                  </a:lnTo>
                  <a:lnTo>
                    <a:pt x="868" y="602"/>
                  </a:lnTo>
                  <a:lnTo>
                    <a:pt x="864" y="593"/>
                  </a:lnTo>
                  <a:lnTo>
                    <a:pt x="866" y="589"/>
                  </a:lnTo>
                  <a:lnTo>
                    <a:pt x="868" y="585"/>
                  </a:lnTo>
                  <a:lnTo>
                    <a:pt x="868" y="582"/>
                  </a:lnTo>
                  <a:lnTo>
                    <a:pt x="866" y="578"/>
                  </a:lnTo>
                  <a:lnTo>
                    <a:pt x="862" y="574"/>
                  </a:lnTo>
                  <a:lnTo>
                    <a:pt x="857" y="576"/>
                  </a:lnTo>
                  <a:lnTo>
                    <a:pt x="851" y="578"/>
                  </a:lnTo>
                  <a:lnTo>
                    <a:pt x="851" y="578"/>
                  </a:lnTo>
                  <a:lnTo>
                    <a:pt x="843" y="580"/>
                  </a:lnTo>
                  <a:lnTo>
                    <a:pt x="840" y="585"/>
                  </a:lnTo>
                  <a:lnTo>
                    <a:pt x="834" y="593"/>
                  </a:lnTo>
                  <a:lnTo>
                    <a:pt x="830" y="593"/>
                  </a:lnTo>
                  <a:lnTo>
                    <a:pt x="823" y="597"/>
                  </a:lnTo>
                  <a:lnTo>
                    <a:pt x="817" y="599"/>
                  </a:lnTo>
                  <a:lnTo>
                    <a:pt x="815" y="599"/>
                  </a:lnTo>
                  <a:lnTo>
                    <a:pt x="815" y="593"/>
                  </a:lnTo>
                  <a:lnTo>
                    <a:pt x="819" y="589"/>
                  </a:lnTo>
                  <a:lnTo>
                    <a:pt x="817" y="585"/>
                  </a:lnTo>
                  <a:lnTo>
                    <a:pt x="811" y="563"/>
                  </a:lnTo>
                  <a:lnTo>
                    <a:pt x="808" y="553"/>
                  </a:lnTo>
                  <a:lnTo>
                    <a:pt x="806" y="550"/>
                  </a:lnTo>
                  <a:lnTo>
                    <a:pt x="810" y="542"/>
                  </a:lnTo>
                  <a:lnTo>
                    <a:pt x="802" y="538"/>
                  </a:lnTo>
                  <a:lnTo>
                    <a:pt x="793" y="542"/>
                  </a:lnTo>
                  <a:lnTo>
                    <a:pt x="791" y="542"/>
                  </a:lnTo>
                  <a:lnTo>
                    <a:pt x="778" y="542"/>
                  </a:lnTo>
                  <a:lnTo>
                    <a:pt x="992" y="148"/>
                  </a:lnTo>
                  <a:lnTo>
                    <a:pt x="992" y="146"/>
                  </a:lnTo>
                  <a:lnTo>
                    <a:pt x="988" y="146"/>
                  </a:lnTo>
                  <a:lnTo>
                    <a:pt x="985" y="146"/>
                  </a:lnTo>
                  <a:lnTo>
                    <a:pt x="983" y="143"/>
                  </a:lnTo>
                  <a:lnTo>
                    <a:pt x="981" y="137"/>
                  </a:lnTo>
                  <a:lnTo>
                    <a:pt x="979" y="133"/>
                  </a:lnTo>
                  <a:lnTo>
                    <a:pt x="977" y="131"/>
                  </a:lnTo>
                  <a:lnTo>
                    <a:pt x="975" y="128"/>
                  </a:lnTo>
                  <a:lnTo>
                    <a:pt x="973" y="122"/>
                  </a:lnTo>
                  <a:lnTo>
                    <a:pt x="971" y="120"/>
                  </a:lnTo>
                  <a:lnTo>
                    <a:pt x="964" y="120"/>
                  </a:lnTo>
                  <a:lnTo>
                    <a:pt x="964" y="122"/>
                  </a:lnTo>
                  <a:lnTo>
                    <a:pt x="960" y="122"/>
                  </a:lnTo>
                  <a:lnTo>
                    <a:pt x="954" y="122"/>
                  </a:lnTo>
                  <a:lnTo>
                    <a:pt x="953" y="120"/>
                  </a:lnTo>
                  <a:lnTo>
                    <a:pt x="951" y="122"/>
                  </a:lnTo>
                  <a:lnTo>
                    <a:pt x="949" y="120"/>
                  </a:lnTo>
                  <a:lnTo>
                    <a:pt x="947" y="122"/>
                  </a:lnTo>
                  <a:lnTo>
                    <a:pt x="945" y="120"/>
                  </a:lnTo>
                  <a:lnTo>
                    <a:pt x="945" y="120"/>
                  </a:lnTo>
                  <a:lnTo>
                    <a:pt x="947" y="120"/>
                  </a:lnTo>
                  <a:lnTo>
                    <a:pt x="947" y="118"/>
                  </a:lnTo>
                  <a:lnTo>
                    <a:pt x="943" y="116"/>
                  </a:lnTo>
                  <a:lnTo>
                    <a:pt x="943" y="116"/>
                  </a:lnTo>
                  <a:lnTo>
                    <a:pt x="939" y="116"/>
                  </a:lnTo>
                  <a:lnTo>
                    <a:pt x="939" y="116"/>
                  </a:lnTo>
                  <a:lnTo>
                    <a:pt x="943" y="113"/>
                  </a:lnTo>
                  <a:lnTo>
                    <a:pt x="939" y="113"/>
                  </a:lnTo>
                  <a:lnTo>
                    <a:pt x="939" y="113"/>
                  </a:lnTo>
                  <a:lnTo>
                    <a:pt x="936" y="113"/>
                  </a:lnTo>
                  <a:lnTo>
                    <a:pt x="936" y="109"/>
                  </a:lnTo>
                  <a:lnTo>
                    <a:pt x="934" y="107"/>
                  </a:lnTo>
                  <a:lnTo>
                    <a:pt x="928" y="103"/>
                  </a:lnTo>
                  <a:lnTo>
                    <a:pt x="926" y="103"/>
                  </a:lnTo>
                  <a:lnTo>
                    <a:pt x="926" y="103"/>
                  </a:lnTo>
                  <a:lnTo>
                    <a:pt x="924" y="103"/>
                  </a:lnTo>
                  <a:lnTo>
                    <a:pt x="922" y="103"/>
                  </a:lnTo>
                  <a:lnTo>
                    <a:pt x="922" y="103"/>
                  </a:lnTo>
                  <a:lnTo>
                    <a:pt x="922" y="101"/>
                  </a:lnTo>
                  <a:lnTo>
                    <a:pt x="919" y="101"/>
                  </a:lnTo>
                  <a:lnTo>
                    <a:pt x="917" y="103"/>
                  </a:lnTo>
                  <a:lnTo>
                    <a:pt x="915" y="103"/>
                  </a:lnTo>
                  <a:lnTo>
                    <a:pt x="915" y="99"/>
                  </a:lnTo>
                  <a:lnTo>
                    <a:pt x="917" y="99"/>
                  </a:lnTo>
                  <a:lnTo>
                    <a:pt x="915" y="97"/>
                  </a:lnTo>
                  <a:lnTo>
                    <a:pt x="911" y="96"/>
                  </a:lnTo>
                  <a:lnTo>
                    <a:pt x="909" y="97"/>
                  </a:lnTo>
                  <a:lnTo>
                    <a:pt x="909" y="96"/>
                  </a:lnTo>
                  <a:lnTo>
                    <a:pt x="909" y="94"/>
                  </a:lnTo>
                  <a:lnTo>
                    <a:pt x="909" y="92"/>
                  </a:lnTo>
                  <a:lnTo>
                    <a:pt x="906" y="88"/>
                  </a:lnTo>
                  <a:lnTo>
                    <a:pt x="906" y="86"/>
                  </a:lnTo>
                  <a:lnTo>
                    <a:pt x="906" y="86"/>
                  </a:lnTo>
                  <a:lnTo>
                    <a:pt x="902" y="84"/>
                  </a:lnTo>
                  <a:lnTo>
                    <a:pt x="902" y="86"/>
                  </a:lnTo>
                  <a:lnTo>
                    <a:pt x="894" y="94"/>
                  </a:lnTo>
                  <a:lnTo>
                    <a:pt x="885" y="97"/>
                  </a:lnTo>
                  <a:lnTo>
                    <a:pt x="892" y="92"/>
                  </a:lnTo>
                  <a:lnTo>
                    <a:pt x="896" y="86"/>
                  </a:lnTo>
                  <a:lnTo>
                    <a:pt x="902" y="82"/>
                  </a:lnTo>
                  <a:lnTo>
                    <a:pt x="902" y="79"/>
                  </a:lnTo>
                  <a:lnTo>
                    <a:pt x="900" y="77"/>
                  </a:lnTo>
                  <a:lnTo>
                    <a:pt x="894" y="73"/>
                  </a:lnTo>
                  <a:lnTo>
                    <a:pt x="889" y="73"/>
                  </a:lnTo>
                  <a:lnTo>
                    <a:pt x="885" y="73"/>
                  </a:lnTo>
                  <a:lnTo>
                    <a:pt x="881" y="73"/>
                  </a:lnTo>
                  <a:lnTo>
                    <a:pt x="881" y="77"/>
                  </a:lnTo>
                  <a:lnTo>
                    <a:pt x="875" y="77"/>
                  </a:lnTo>
                  <a:lnTo>
                    <a:pt x="872" y="82"/>
                  </a:lnTo>
                  <a:lnTo>
                    <a:pt x="866" y="84"/>
                  </a:lnTo>
                  <a:lnTo>
                    <a:pt x="870" y="82"/>
                  </a:lnTo>
                  <a:lnTo>
                    <a:pt x="870" y="77"/>
                  </a:lnTo>
                  <a:lnTo>
                    <a:pt x="870" y="73"/>
                  </a:lnTo>
                  <a:lnTo>
                    <a:pt x="870" y="69"/>
                  </a:lnTo>
                  <a:lnTo>
                    <a:pt x="864" y="65"/>
                  </a:lnTo>
                  <a:lnTo>
                    <a:pt x="864" y="64"/>
                  </a:lnTo>
                  <a:lnTo>
                    <a:pt x="868" y="62"/>
                  </a:lnTo>
                  <a:lnTo>
                    <a:pt x="870" y="62"/>
                  </a:lnTo>
                  <a:lnTo>
                    <a:pt x="870" y="60"/>
                  </a:lnTo>
                  <a:lnTo>
                    <a:pt x="860" y="56"/>
                  </a:lnTo>
                  <a:lnTo>
                    <a:pt x="860" y="52"/>
                  </a:lnTo>
                  <a:lnTo>
                    <a:pt x="862" y="52"/>
                  </a:lnTo>
                  <a:lnTo>
                    <a:pt x="868" y="48"/>
                  </a:lnTo>
                  <a:lnTo>
                    <a:pt x="870" y="47"/>
                  </a:lnTo>
                  <a:lnTo>
                    <a:pt x="868" y="43"/>
                  </a:lnTo>
                  <a:lnTo>
                    <a:pt x="866" y="39"/>
                  </a:lnTo>
                  <a:lnTo>
                    <a:pt x="864" y="39"/>
                  </a:lnTo>
                  <a:lnTo>
                    <a:pt x="862" y="39"/>
                  </a:lnTo>
                  <a:lnTo>
                    <a:pt x="860" y="37"/>
                  </a:lnTo>
                  <a:lnTo>
                    <a:pt x="857" y="37"/>
                  </a:lnTo>
                  <a:lnTo>
                    <a:pt x="855" y="37"/>
                  </a:lnTo>
                  <a:lnTo>
                    <a:pt x="851" y="35"/>
                  </a:lnTo>
                  <a:lnTo>
                    <a:pt x="849" y="33"/>
                  </a:lnTo>
                  <a:lnTo>
                    <a:pt x="845" y="35"/>
                  </a:lnTo>
                  <a:lnTo>
                    <a:pt x="842" y="35"/>
                  </a:lnTo>
                  <a:lnTo>
                    <a:pt x="840" y="39"/>
                  </a:lnTo>
                  <a:lnTo>
                    <a:pt x="840" y="39"/>
                  </a:lnTo>
                  <a:lnTo>
                    <a:pt x="838" y="37"/>
                  </a:lnTo>
                  <a:lnTo>
                    <a:pt x="838" y="33"/>
                  </a:lnTo>
                  <a:lnTo>
                    <a:pt x="840" y="33"/>
                  </a:lnTo>
                  <a:lnTo>
                    <a:pt x="840" y="30"/>
                  </a:lnTo>
                  <a:lnTo>
                    <a:pt x="842" y="26"/>
                  </a:lnTo>
                  <a:lnTo>
                    <a:pt x="843" y="26"/>
                  </a:lnTo>
                  <a:lnTo>
                    <a:pt x="843" y="22"/>
                  </a:lnTo>
                  <a:lnTo>
                    <a:pt x="845" y="18"/>
                  </a:lnTo>
                  <a:lnTo>
                    <a:pt x="843" y="18"/>
                  </a:lnTo>
                  <a:lnTo>
                    <a:pt x="842" y="18"/>
                  </a:lnTo>
                  <a:lnTo>
                    <a:pt x="838" y="22"/>
                  </a:lnTo>
                  <a:lnTo>
                    <a:pt x="836" y="24"/>
                  </a:lnTo>
                  <a:lnTo>
                    <a:pt x="836" y="24"/>
                  </a:lnTo>
                  <a:lnTo>
                    <a:pt x="832" y="22"/>
                  </a:lnTo>
                  <a:lnTo>
                    <a:pt x="830" y="24"/>
                  </a:lnTo>
                  <a:lnTo>
                    <a:pt x="830" y="26"/>
                  </a:lnTo>
                  <a:lnTo>
                    <a:pt x="830" y="30"/>
                  </a:lnTo>
                  <a:lnTo>
                    <a:pt x="826" y="32"/>
                  </a:lnTo>
                  <a:lnTo>
                    <a:pt x="826" y="32"/>
                  </a:lnTo>
                  <a:lnTo>
                    <a:pt x="826" y="32"/>
                  </a:lnTo>
                  <a:lnTo>
                    <a:pt x="823" y="35"/>
                  </a:lnTo>
                  <a:lnTo>
                    <a:pt x="823" y="39"/>
                  </a:lnTo>
                  <a:lnTo>
                    <a:pt x="823" y="35"/>
                  </a:lnTo>
                  <a:lnTo>
                    <a:pt x="821" y="32"/>
                  </a:lnTo>
                  <a:lnTo>
                    <a:pt x="823" y="28"/>
                  </a:lnTo>
                  <a:lnTo>
                    <a:pt x="823" y="28"/>
                  </a:lnTo>
                  <a:lnTo>
                    <a:pt x="819" y="30"/>
                  </a:lnTo>
                  <a:lnTo>
                    <a:pt x="819" y="33"/>
                  </a:lnTo>
                  <a:lnTo>
                    <a:pt x="815" y="33"/>
                  </a:lnTo>
                  <a:lnTo>
                    <a:pt x="817" y="28"/>
                  </a:lnTo>
                  <a:lnTo>
                    <a:pt x="815" y="24"/>
                  </a:lnTo>
                  <a:lnTo>
                    <a:pt x="811" y="24"/>
                  </a:lnTo>
                  <a:lnTo>
                    <a:pt x="813" y="22"/>
                  </a:lnTo>
                  <a:lnTo>
                    <a:pt x="817" y="18"/>
                  </a:lnTo>
                  <a:lnTo>
                    <a:pt x="821" y="18"/>
                  </a:lnTo>
                  <a:lnTo>
                    <a:pt x="823" y="22"/>
                  </a:lnTo>
                  <a:lnTo>
                    <a:pt x="830" y="18"/>
                  </a:lnTo>
                  <a:lnTo>
                    <a:pt x="832" y="18"/>
                  </a:lnTo>
                  <a:lnTo>
                    <a:pt x="836" y="15"/>
                  </a:lnTo>
                  <a:lnTo>
                    <a:pt x="836" y="15"/>
                  </a:lnTo>
                  <a:lnTo>
                    <a:pt x="838" y="13"/>
                  </a:lnTo>
                  <a:lnTo>
                    <a:pt x="836" y="9"/>
                  </a:lnTo>
                  <a:lnTo>
                    <a:pt x="832" y="9"/>
                  </a:lnTo>
                  <a:lnTo>
                    <a:pt x="830" y="9"/>
                  </a:lnTo>
                  <a:lnTo>
                    <a:pt x="830" y="5"/>
                  </a:lnTo>
                  <a:lnTo>
                    <a:pt x="830" y="3"/>
                  </a:lnTo>
                  <a:lnTo>
                    <a:pt x="830" y="3"/>
                  </a:lnTo>
                  <a:lnTo>
                    <a:pt x="830" y="1"/>
                  </a:lnTo>
                  <a:lnTo>
                    <a:pt x="830" y="1"/>
                  </a:lnTo>
                  <a:lnTo>
                    <a:pt x="830" y="0"/>
                  </a:lnTo>
                  <a:lnTo>
                    <a:pt x="830" y="0"/>
                  </a:lnTo>
                  <a:lnTo>
                    <a:pt x="823" y="3"/>
                  </a:lnTo>
                  <a:lnTo>
                    <a:pt x="823" y="3"/>
                  </a:lnTo>
                  <a:lnTo>
                    <a:pt x="817" y="5"/>
                  </a:lnTo>
                  <a:lnTo>
                    <a:pt x="813" y="7"/>
                  </a:lnTo>
                  <a:lnTo>
                    <a:pt x="806" y="15"/>
                  </a:lnTo>
                  <a:lnTo>
                    <a:pt x="802" y="15"/>
                  </a:lnTo>
                  <a:lnTo>
                    <a:pt x="793" y="15"/>
                  </a:lnTo>
                  <a:lnTo>
                    <a:pt x="787" y="13"/>
                  </a:lnTo>
                  <a:lnTo>
                    <a:pt x="785" y="9"/>
                  </a:lnTo>
                  <a:lnTo>
                    <a:pt x="785" y="13"/>
                  </a:lnTo>
                  <a:lnTo>
                    <a:pt x="781" y="13"/>
                  </a:lnTo>
                  <a:lnTo>
                    <a:pt x="778" y="9"/>
                  </a:lnTo>
                  <a:lnTo>
                    <a:pt x="774" y="9"/>
                  </a:lnTo>
                  <a:lnTo>
                    <a:pt x="774" y="15"/>
                  </a:lnTo>
                  <a:lnTo>
                    <a:pt x="772" y="15"/>
                  </a:lnTo>
                  <a:lnTo>
                    <a:pt x="772" y="9"/>
                  </a:lnTo>
                  <a:lnTo>
                    <a:pt x="772" y="9"/>
                  </a:lnTo>
                  <a:lnTo>
                    <a:pt x="774" y="7"/>
                  </a:lnTo>
                  <a:lnTo>
                    <a:pt x="772" y="5"/>
                  </a:lnTo>
                  <a:lnTo>
                    <a:pt x="768" y="7"/>
                  </a:lnTo>
                  <a:lnTo>
                    <a:pt x="762" y="9"/>
                  </a:lnTo>
                  <a:lnTo>
                    <a:pt x="757" y="15"/>
                  </a:lnTo>
                  <a:lnTo>
                    <a:pt x="755" y="18"/>
                  </a:lnTo>
                  <a:lnTo>
                    <a:pt x="755" y="22"/>
                  </a:lnTo>
                  <a:lnTo>
                    <a:pt x="761" y="22"/>
                  </a:lnTo>
                  <a:lnTo>
                    <a:pt x="759" y="22"/>
                  </a:lnTo>
                  <a:lnTo>
                    <a:pt x="753" y="22"/>
                  </a:lnTo>
                  <a:lnTo>
                    <a:pt x="747" y="28"/>
                  </a:lnTo>
                  <a:lnTo>
                    <a:pt x="744" y="35"/>
                  </a:lnTo>
                  <a:lnTo>
                    <a:pt x="744" y="43"/>
                  </a:lnTo>
                  <a:lnTo>
                    <a:pt x="742" y="43"/>
                  </a:lnTo>
                  <a:lnTo>
                    <a:pt x="742" y="39"/>
                  </a:lnTo>
                  <a:lnTo>
                    <a:pt x="742" y="35"/>
                  </a:lnTo>
                  <a:lnTo>
                    <a:pt x="747" y="26"/>
                  </a:lnTo>
                  <a:lnTo>
                    <a:pt x="747" y="24"/>
                  </a:lnTo>
                  <a:lnTo>
                    <a:pt x="744" y="24"/>
                  </a:lnTo>
                  <a:lnTo>
                    <a:pt x="736" y="28"/>
                  </a:lnTo>
                  <a:lnTo>
                    <a:pt x="732" y="28"/>
                  </a:lnTo>
                  <a:lnTo>
                    <a:pt x="730" y="26"/>
                  </a:lnTo>
                  <a:lnTo>
                    <a:pt x="727" y="22"/>
                  </a:lnTo>
                  <a:lnTo>
                    <a:pt x="723" y="22"/>
                  </a:lnTo>
                  <a:lnTo>
                    <a:pt x="719" y="22"/>
                  </a:lnTo>
                  <a:lnTo>
                    <a:pt x="719" y="22"/>
                  </a:lnTo>
                  <a:lnTo>
                    <a:pt x="727" y="26"/>
                  </a:lnTo>
                  <a:lnTo>
                    <a:pt x="729" y="28"/>
                  </a:lnTo>
                  <a:lnTo>
                    <a:pt x="727" y="30"/>
                  </a:lnTo>
                  <a:lnTo>
                    <a:pt x="723" y="28"/>
                  </a:lnTo>
                  <a:lnTo>
                    <a:pt x="714" y="26"/>
                  </a:lnTo>
                  <a:lnTo>
                    <a:pt x="708" y="30"/>
                  </a:lnTo>
                  <a:lnTo>
                    <a:pt x="697" y="39"/>
                  </a:lnTo>
                  <a:lnTo>
                    <a:pt x="687" y="43"/>
                  </a:lnTo>
                  <a:lnTo>
                    <a:pt x="680" y="48"/>
                  </a:lnTo>
                  <a:lnTo>
                    <a:pt x="672" y="56"/>
                  </a:lnTo>
                  <a:lnTo>
                    <a:pt x="665" y="65"/>
                  </a:lnTo>
                  <a:lnTo>
                    <a:pt x="655" y="67"/>
                  </a:lnTo>
                  <a:lnTo>
                    <a:pt x="653" y="67"/>
                  </a:lnTo>
                  <a:lnTo>
                    <a:pt x="648" y="71"/>
                  </a:lnTo>
                  <a:lnTo>
                    <a:pt x="644" y="71"/>
                  </a:lnTo>
                  <a:lnTo>
                    <a:pt x="636" y="73"/>
                  </a:lnTo>
                  <a:lnTo>
                    <a:pt x="631" y="73"/>
                  </a:lnTo>
                  <a:lnTo>
                    <a:pt x="631" y="73"/>
                  </a:lnTo>
                  <a:lnTo>
                    <a:pt x="625" y="73"/>
                  </a:lnTo>
                  <a:lnTo>
                    <a:pt x="619" y="69"/>
                  </a:lnTo>
                  <a:lnTo>
                    <a:pt x="616" y="67"/>
                  </a:lnTo>
                  <a:lnTo>
                    <a:pt x="610" y="65"/>
                  </a:lnTo>
                  <a:lnTo>
                    <a:pt x="606" y="65"/>
                  </a:lnTo>
                  <a:lnTo>
                    <a:pt x="604" y="69"/>
                  </a:lnTo>
                  <a:lnTo>
                    <a:pt x="597" y="77"/>
                  </a:lnTo>
                  <a:lnTo>
                    <a:pt x="595" y="82"/>
                  </a:lnTo>
                  <a:lnTo>
                    <a:pt x="591" y="84"/>
                  </a:lnTo>
                  <a:lnTo>
                    <a:pt x="589" y="88"/>
                  </a:lnTo>
                  <a:lnTo>
                    <a:pt x="586" y="88"/>
                  </a:lnTo>
                  <a:lnTo>
                    <a:pt x="586" y="86"/>
                  </a:lnTo>
                  <a:lnTo>
                    <a:pt x="582" y="88"/>
                  </a:lnTo>
                  <a:lnTo>
                    <a:pt x="586" y="96"/>
                  </a:lnTo>
                  <a:lnTo>
                    <a:pt x="589" y="113"/>
                  </a:lnTo>
                  <a:lnTo>
                    <a:pt x="595" y="126"/>
                  </a:lnTo>
                  <a:lnTo>
                    <a:pt x="597" y="137"/>
                  </a:lnTo>
                  <a:lnTo>
                    <a:pt x="595" y="146"/>
                  </a:lnTo>
                  <a:lnTo>
                    <a:pt x="591" y="154"/>
                  </a:lnTo>
                  <a:lnTo>
                    <a:pt x="587" y="160"/>
                  </a:lnTo>
                  <a:lnTo>
                    <a:pt x="587" y="162"/>
                  </a:lnTo>
                  <a:lnTo>
                    <a:pt x="595" y="167"/>
                  </a:lnTo>
                  <a:lnTo>
                    <a:pt x="599" y="171"/>
                  </a:lnTo>
                  <a:lnTo>
                    <a:pt x="599" y="167"/>
                  </a:lnTo>
                  <a:lnTo>
                    <a:pt x="601" y="167"/>
                  </a:lnTo>
                  <a:lnTo>
                    <a:pt x="604" y="167"/>
                  </a:lnTo>
                  <a:lnTo>
                    <a:pt x="606" y="167"/>
                  </a:lnTo>
                  <a:lnTo>
                    <a:pt x="604" y="167"/>
                  </a:lnTo>
                  <a:lnTo>
                    <a:pt x="604" y="171"/>
                  </a:lnTo>
                  <a:lnTo>
                    <a:pt x="612" y="178"/>
                  </a:lnTo>
                  <a:lnTo>
                    <a:pt x="610" y="180"/>
                  </a:lnTo>
                  <a:lnTo>
                    <a:pt x="606" y="178"/>
                  </a:lnTo>
                  <a:lnTo>
                    <a:pt x="606" y="182"/>
                  </a:lnTo>
                  <a:lnTo>
                    <a:pt x="606" y="192"/>
                  </a:lnTo>
                  <a:lnTo>
                    <a:pt x="606" y="197"/>
                  </a:lnTo>
                  <a:lnTo>
                    <a:pt x="606" y="197"/>
                  </a:lnTo>
                  <a:lnTo>
                    <a:pt x="610" y="195"/>
                  </a:lnTo>
                  <a:lnTo>
                    <a:pt x="614" y="195"/>
                  </a:lnTo>
                  <a:lnTo>
                    <a:pt x="616" y="195"/>
                  </a:lnTo>
                  <a:lnTo>
                    <a:pt x="619" y="197"/>
                  </a:lnTo>
                  <a:lnTo>
                    <a:pt x="623" y="197"/>
                  </a:lnTo>
                  <a:lnTo>
                    <a:pt x="629" y="197"/>
                  </a:lnTo>
                  <a:lnTo>
                    <a:pt x="634" y="201"/>
                  </a:lnTo>
                  <a:lnTo>
                    <a:pt x="629" y="203"/>
                  </a:lnTo>
                  <a:lnTo>
                    <a:pt x="631" y="207"/>
                  </a:lnTo>
                  <a:lnTo>
                    <a:pt x="629" y="210"/>
                  </a:lnTo>
                  <a:lnTo>
                    <a:pt x="623" y="212"/>
                  </a:lnTo>
                  <a:lnTo>
                    <a:pt x="623" y="210"/>
                  </a:lnTo>
                  <a:lnTo>
                    <a:pt x="619" y="207"/>
                  </a:lnTo>
                  <a:lnTo>
                    <a:pt x="616" y="210"/>
                  </a:lnTo>
                  <a:lnTo>
                    <a:pt x="612" y="207"/>
                  </a:lnTo>
                  <a:lnTo>
                    <a:pt x="610" y="205"/>
                  </a:lnTo>
                  <a:lnTo>
                    <a:pt x="610" y="201"/>
                  </a:lnTo>
                  <a:lnTo>
                    <a:pt x="606" y="201"/>
                  </a:lnTo>
                  <a:lnTo>
                    <a:pt x="604" y="201"/>
                  </a:lnTo>
                  <a:lnTo>
                    <a:pt x="599" y="197"/>
                  </a:lnTo>
                  <a:lnTo>
                    <a:pt x="601" y="192"/>
                  </a:lnTo>
                  <a:lnTo>
                    <a:pt x="604" y="180"/>
                  </a:lnTo>
                  <a:lnTo>
                    <a:pt x="604" y="177"/>
                  </a:lnTo>
                  <a:lnTo>
                    <a:pt x="602" y="177"/>
                  </a:lnTo>
                  <a:lnTo>
                    <a:pt x="599" y="178"/>
                  </a:lnTo>
                  <a:lnTo>
                    <a:pt x="599" y="192"/>
                  </a:lnTo>
                  <a:lnTo>
                    <a:pt x="597" y="197"/>
                  </a:lnTo>
                  <a:lnTo>
                    <a:pt x="593" y="201"/>
                  </a:lnTo>
                  <a:lnTo>
                    <a:pt x="593" y="203"/>
                  </a:lnTo>
                  <a:lnTo>
                    <a:pt x="595" y="201"/>
                  </a:lnTo>
                  <a:lnTo>
                    <a:pt x="599" y="201"/>
                  </a:lnTo>
                  <a:lnTo>
                    <a:pt x="601" y="201"/>
                  </a:lnTo>
                  <a:lnTo>
                    <a:pt x="604" y="201"/>
                  </a:lnTo>
                  <a:lnTo>
                    <a:pt x="606" y="207"/>
                  </a:lnTo>
                  <a:lnTo>
                    <a:pt x="606" y="212"/>
                  </a:lnTo>
                  <a:lnTo>
                    <a:pt x="602" y="218"/>
                  </a:lnTo>
                  <a:lnTo>
                    <a:pt x="597" y="220"/>
                  </a:lnTo>
                  <a:lnTo>
                    <a:pt x="602" y="212"/>
                  </a:lnTo>
                  <a:lnTo>
                    <a:pt x="602" y="210"/>
                  </a:lnTo>
                  <a:lnTo>
                    <a:pt x="599" y="210"/>
                  </a:lnTo>
                  <a:lnTo>
                    <a:pt x="597" y="210"/>
                  </a:lnTo>
                  <a:lnTo>
                    <a:pt x="595" y="210"/>
                  </a:lnTo>
                  <a:lnTo>
                    <a:pt x="589" y="214"/>
                  </a:lnTo>
                  <a:lnTo>
                    <a:pt x="589" y="218"/>
                  </a:lnTo>
                  <a:lnTo>
                    <a:pt x="586" y="220"/>
                  </a:lnTo>
                  <a:lnTo>
                    <a:pt x="582" y="222"/>
                  </a:lnTo>
                  <a:lnTo>
                    <a:pt x="582" y="218"/>
                  </a:lnTo>
                  <a:lnTo>
                    <a:pt x="582" y="216"/>
                  </a:lnTo>
                  <a:lnTo>
                    <a:pt x="576" y="216"/>
                  </a:lnTo>
                  <a:lnTo>
                    <a:pt x="574" y="216"/>
                  </a:lnTo>
                  <a:lnTo>
                    <a:pt x="572" y="210"/>
                  </a:lnTo>
                  <a:lnTo>
                    <a:pt x="570" y="210"/>
                  </a:lnTo>
                  <a:lnTo>
                    <a:pt x="569" y="212"/>
                  </a:lnTo>
                  <a:lnTo>
                    <a:pt x="565" y="210"/>
                  </a:lnTo>
                  <a:lnTo>
                    <a:pt x="565" y="210"/>
                  </a:lnTo>
                  <a:lnTo>
                    <a:pt x="561" y="207"/>
                  </a:lnTo>
                  <a:lnTo>
                    <a:pt x="561" y="210"/>
                  </a:lnTo>
                  <a:lnTo>
                    <a:pt x="557" y="207"/>
                  </a:lnTo>
                  <a:lnTo>
                    <a:pt x="557" y="203"/>
                  </a:lnTo>
                  <a:lnTo>
                    <a:pt x="555" y="201"/>
                  </a:lnTo>
                  <a:lnTo>
                    <a:pt x="555" y="197"/>
                  </a:lnTo>
                  <a:lnTo>
                    <a:pt x="561" y="197"/>
                  </a:lnTo>
                  <a:lnTo>
                    <a:pt x="563" y="194"/>
                  </a:lnTo>
                  <a:lnTo>
                    <a:pt x="565" y="192"/>
                  </a:lnTo>
                  <a:lnTo>
                    <a:pt x="569" y="190"/>
                  </a:lnTo>
                  <a:lnTo>
                    <a:pt x="569" y="188"/>
                  </a:lnTo>
                  <a:lnTo>
                    <a:pt x="563" y="182"/>
                  </a:lnTo>
                  <a:lnTo>
                    <a:pt x="561" y="180"/>
                  </a:lnTo>
                  <a:lnTo>
                    <a:pt x="555" y="180"/>
                  </a:lnTo>
                  <a:lnTo>
                    <a:pt x="552" y="184"/>
                  </a:lnTo>
                  <a:lnTo>
                    <a:pt x="548" y="184"/>
                  </a:lnTo>
                  <a:lnTo>
                    <a:pt x="544" y="180"/>
                  </a:lnTo>
                  <a:lnTo>
                    <a:pt x="540" y="182"/>
                  </a:lnTo>
                  <a:lnTo>
                    <a:pt x="531" y="186"/>
                  </a:lnTo>
                  <a:lnTo>
                    <a:pt x="531" y="188"/>
                  </a:lnTo>
                  <a:lnTo>
                    <a:pt x="531" y="190"/>
                  </a:lnTo>
                  <a:lnTo>
                    <a:pt x="535" y="194"/>
                  </a:lnTo>
                  <a:lnTo>
                    <a:pt x="535" y="195"/>
                  </a:lnTo>
                  <a:lnTo>
                    <a:pt x="531" y="195"/>
                  </a:lnTo>
                  <a:lnTo>
                    <a:pt x="527" y="195"/>
                  </a:lnTo>
                  <a:lnTo>
                    <a:pt x="527" y="194"/>
                  </a:lnTo>
                  <a:lnTo>
                    <a:pt x="523" y="192"/>
                  </a:lnTo>
                  <a:lnTo>
                    <a:pt x="518" y="190"/>
                  </a:lnTo>
                  <a:lnTo>
                    <a:pt x="510" y="192"/>
                  </a:lnTo>
                  <a:lnTo>
                    <a:pt x="506" y="194"/>
                  </a:lnTo>
                  <a:lnTo>
                    <a:pt x="506" y="195"/>
                  </a:lnTo>
                  <a:lnTo>
                    <a:pt x="503" y="195"/>
                  </a:lnTo>
                  <a:lnTo>
                    <a:pt x="503" y="195"/>
                  </a:lnTo>
                  <a:lnTo>
                    <a:pt x="501" y="195"/>
                  </a:lnTo>
                  <a:lnTo>
                    <a:pt x="493" y="197"/>
                  </a:lnTo>
                  <a:lnTo>
                    <a:pt x="493" y="197"/>
                  </a:lnTo>
                  <a:lnTo>
                    <a:pt x="491" y="201"/>
                  </a:lnTo>
                  <a:lnTo>
                    <a:pt x="486" y="201"/>
                  </a:lnTo>
                  <a:lnTo>
                    <a:pt x="482" y="205"/>
                  </a:lnTo>
                  <a:lnTo>
                    <a:pt x="482" y="205"/>
                  </a:lnTo>
                  <a:lnTo>
                    <a:pt x="482" y="203"/>
                  </a:lnTo>
                  <a:lnTo>
                    <a:pt x="482" y="201"/>
                  </a:lnTo>
                  <a:lnTo>
                    <a:pt x="478" y="203"/>
                  </a:lnTo>
                  <a:lnTo>
                    <a:pt x="474" y="207"/>
                  </a:lnTo>
                  <a:lnTo>
                    <a:pt x="474" y="210"/>
                  </a:lnTo>
                  <a:lnTo>
                    <a:pt x="482" y="216"/>
                  </a:lnTo>
                  <a:lnTo>
                    <a:pt x="486" y="222"/>
                  </a:lnTo>
                  <a:lnTo>
                    <a:pt x="491" y="226"/>
                  </a:lnTo>
                  <a:lnTo>
                    <a:pt x="493" y="231"/>
                  </a:lnTo>
                  <a:lnTo>
                    <a:pt x="497" y="231"/>
                  </a:lnTo>
                  <a:lnTo>
                    <a:pt x="501" y="235"/>
                  </a:lnTo>
                  <a:lnTo>
                    <a:pt x="503" y="237"/>
                  </a:lnTo>
                  <a:lnTo>
                    <a:pt x="508" y="241"/>
                  </a:lnTo>
                  <a:lnTo>
                    <a:pt x="506" y="241"/>
                  </a:lnTo>
                  <a:lnTo>
                    <a:pt x="503" y="241"/>
                  </a:lnTo>
                  <a:lnTo>
                    <a:pt x="501" y="237"/>
                  </a:lnTo>
                  <a:lnTo>
                    <a:pt x="497" y="235"/>
                  </a:lnTo>
                  <a:lnTo>
                    <a:pt x="493" y="231"/>
                  </a:lnTo>
                  <a:lnTo>
                    <a:pt x="491" y="231"/>
                  </a:lnTo>
                  <a:lnTo>
                    <a:pt x="488" y="235"/>
                  </a:lnTo>
                  <a:lnTo>
                    <a:pt x="486" y="235"/>
                  </a:lnTo>
                  <a:lnTo>
                    <a:pt x="482" y="231"/>
                  </a:lnTo>
                  <a:lnTo>
                    <a:pt x="486" y="227"/>
                  </a:lnTo>
                  <a:lnTo>
                    <a:pt x="486" y="227"/>
                  </a:lnTo>
                  <a:lnTo>
                    <a:pt x="482" y="227"/>
                  </a:lnTo>
                  <a:lnTo>
                    <a:pt x="482" y="231"/>
                  </a:lnTo>
                  <a:lnTo>
                    <a:pt x="482" y="241"/>
                  </a:lnTo>
                  <a:lnTo>
                    <a:pt x="482" y="241"/>
                  </a:lnTo>
                  <a:lnTo>
                    <a:pt x="482" y="244"/>
                  </a:lnTo>
                  <a:lnTo>
                    <a:pt x="478" y="248"/>
                  </a:lnTo>
                  <a:lnTo>
                    <a:pt x="474" y="252"/>
                  </a:lnTo>
                  <a:lnTo>
                    <a:pt x="474" y="258"/>
                  </a:lnTo>
                  <a:lnTo>
                    <a:pt x="474" y="261"/>
                  </a:lnTo>
                  <a:lnTo>
                    <a:pt x="482" y="269"/>
                  </a:lnTo>
                  <a:lnTo>
                    <a:pt x="488" y="271"/>
                  </a:lnTo>
                  <a:lnTo>
                    <a:pt x="491" y="276"/>
                  </a:lnTo>
                  <a:lnTo>
                    <a:pt x="493" y="276"/>
                  </a:lnTo>
                  <a:lnTo>
                    <a:pt x="497" y="273"/>
                  </a:lnTo>
                  <a:lnTo>
                    <a:pt x="503" y="271"/>
                  </a:lnTo>
                  <a:lnTo>
                    <a:pt x="508" y="273"/>
                  </a:lnTo>
                  <a:lnTo>
                    <a:pt x="516" y="275"/>
                  </a:lnTo>
                  <a:lnTo>
                    <a:pt x="520" y="276"/>
                  </a:lnTo>
                  <a:lnTo>
                    <a:pt x="522" y="282"/>
                  </a:lnTo>
                  <a:lnTo>
                    <a:pt x="523" y="282"/>
                  </a:lnTo>
                  <a:lnTo>
                    <a:pt x="525" y="280"/>
                  </a:lnTo>
                  <a:lnTo>
                    <a:pt x="525" y="275"/>
                  </a:lnTo>
                  <a:lnTo>
                    <a:pt x="525" y="275"/>
                  </a:lnTo>
                  <a:lnTo>
                    <a:pt x="527" y="275"/>
                  </a:lnTo>
                  <a:lnTo>
                    <a:pt x="527" y="276"/>
                  </a:lnTo>
                  <a:lnTo>
                    <a:pt x="525" y="282"/>
                  </a:lnTo>
                  <a:lnTo>
                    <a:pt x="525" y="286"/>
                  </a:lnTo>
                  <a:lnTo>
                    <a:pt x="527" y="286"/>
                  </a:lnTo>
                  <a:lnTo>
                    <a:pt x="531" y="282"/>
                  </a:lnTo>
                  <a:lnTo>
                    <a:pt x="533" y="280"/>
                  </a:lnTo>
                  <a:lnTo>
                    <a:pt x="538" y="278"/>
                  </a:lnTo>
                  <a:lnTo>
                    <a:pt x="546" y="273"/>
                  </a:lnTo>
                  <a:lnTo>
                    <a:pt x="552" y="273"/>
                  </a:lnTo>
                  <a:lnTo>
                    <a:pt x="555" y="269"/>
                  </a:lnTo>
                  <a:lnTo>
                    <a:pt x="555" y="269"/>
                  </a:lnTo>
                  <a:lnTo>
                    <a:pt x="555" y="271"/>
                  </a:lnTo>
                  <a:lnTo>
                    <a:pt x="557" y="271"/>
                  </a:lnTo>
                  <a:lnTo>
                    <a:pt x="565" y="267"/>
                  </a:lnTo>
                  <a:lnTo>
                    <a:pt x="569" y="267"/>
                  </a:lnTo>
                  <a:lnTo>
                    <a:pt x="570" y="265"/>
                  </a:lnTo>
                  <a:lnTo>
                    <a:pt x="570" y="269"/>
                  </a:lnTo>
                  <a:lnTo>
                    <a:pt x="565" y="271"/>
                  </a:lnTo>
                  <a:lnTo>
                    <a:pt x="565" y="273"/>
                  </a:lnTo>
                  <a:lnTo>
                    <a:pt x="567" y="275"/>
                  </a:lnTo>
                  <a:lnTo>
                    <a:pt x="565" y="280"/>
                  </a:lnTo>
                  <a:lnTo>
                    <a:pt x="561" y="282"/>
                  </a:lnTo>
                  <a:lnTo>
                    <a:pt x="557" y="280"/>
                  </a:lnTo>
                  <a:lnTo>
                    <a:pt x="555" y="280"/>
                  </a:lnTo>
                  <a:lnTo>
                    <a:pt x="550" y="284"/>
                  </a:lnTo>
                  <a:lnTo>
                    <a:pt x="552" y="284"/>
                  </a:lnTo>
                  <a:lnTo>
                    <a:pt x="555" y="286"/>
                  </a:lnTo>
                  <a:lnTo>
                    <a:pt x="555" y="286"/>
                  </a:lnTo>
                  <a:lnTo>
                    <a:pt x="555" y="291"/>
                  </a:lnTo>
                  <a:lnTo>
                    <a:pt x="552" y="299"/>
                  </a:lnTo>
                  <a:lnTo>
                    <a:pt x="550" y="303"/>
                  </a:lnTo>
                  <a:lnTo>
                    <a:pt x="548" y="307"/>
                  </a:lnTo>
                  <a:lnTo>
                    <a:pt x="548" y="308"/>
                  </a:lnTo>
                  <a:lnTo>
                    <a:pt x="548" y="310"/>
                  </a:lnTo>
                  <a:lnTo>
                    <a:pt x="548" y="314"/>
                  </a:lnTo>
                  <a:lnTo>
                    <a:pt x="548" y="316"/>
                  </a:lnTo>
                  <a:lnTo>
                    <a:pt x="544" y="322"/>
                  </a:lnTo>
                  <a:lnTo>
                    <a:pt x="540" y="324"/>
                  </a:lnTo>
                  <a:lnTo>
                    <a:pt x="537" y="324"/>
                  </a:lnTo>
                  <a:lnTo>
                    <a:pt x="535" y="325"/>
                  </a:lnTo>
                  <a:lnTo>
                    <a:pt x="531" y="329"/>
                  </a:lnTo>
                  <a:lnTo>
                    <a:pt x="527" y="329"/>
                  </a:lnTo>
                  <a:lnTo>
                    <a:pt x="525" y="329"/>
                  </a:lnTo>
                  <a:lnTo>
                    <a:pt x="520" y="325"/>
                  </a:lnTo>
                  <a:lnTo>
                    <a:pt x="518" y="325"/>
                  </a:lnTo>
                  <a:lnTo>
                    <a:pt x="516" y="325"/>
                  </a:lnTo>
                  <a:lnTo>
                    <a:pt x="512" y="322"/>
                  </a:lnTo>
                  <a:lnTo>
                    <a:pt x="512" y="322"/>
                  </a:lnTo>
                  <a:lnTo>
                    <a:pt x="508" y="325"/>
                  </a:lnTo>
                  <a:lnTo>
                    <a:pt x="503" y="329"/>
                  </a:lnTo>
                  <a:lnTo>
                    <a:pt x="503" y="333"/>
                  </a:lnTo>
                  <a:lnTo>
                    <a:pt x="493" y="335"/>
                  </a:lnTo>
                  <a:lnTo>
                    <a:pt x="491" y="337"/>
                  </a:lnTo>
                  <a:lnTo>
                    <a:pt x="488" y="337"/>
                  </a:lnTo>
                  <a:lnTo>
                    <a:pt x="484" y="337"/>
                  </a:lnTo>
                  <a:lnTo>
                    <a:pt x="478" y="337"/>
                  </a:lnTo>
                  <a:lnTo>
                    <a:pt x="474" y="340"/>
                  </a:lnTo>
                  <a:lnTo>
                    <a:pt x="469" y="340"/>
                  </a:lnTo>
                  <a:lnTo>
                    <a:pt x="469" y="342"/>
                  </a:lnTo>
                  <a:lnTo>
                    <a:pt x="469" y="346"/>
                  </a:lnTo>
                  <a:lnTo>
                    <a:pt x="465" y="354"/>
                  </a:lnTo>
                  <a:lnTo>
                    <a:pt x="463" y="356"/>
                  </a:lnTo>
                  <a:lnTo>
                    <a:pt x="463" y="354"/>
                  </a:lnTo>
                  <a:lnTo>
                    <a:pt x="458" y="350"/>
                  </a:lnTo>
                  <a:lnTo>
                    <a:pt x="452" y="348"/>
                  </a:lnTo>
                  <a:lnTo>
                    <a:pt x="450" y="350"/>
                  </a:lnTo>
                  <a:lnTo>
                    <a:pt x="450" y="354"/>
                  </a:lnTo>
                  <a:lnTo>
                    <a:pt x="454" y="356"/>
                  </a:lnTo>
                  <a:lnTo>
                    <a:pt x="452" y="356"/>
                  </a:lnTo>
                  <a:lnTo>
                    <a:pt x="450" y="356"/>
                  </a:lnTo>
                  <a:lnTo>
                    <a:pt x="448" y="356"/>
                  </a:lnTo>
                  <a:lnTo>
                    <a:pt x="444" y="350"/>
                  </a:lnTo>
                  <a:lnTo>
                    <a:pt x="444" y="350"/>
                  </a:lnTo>
                  <a:lnTo>
                    <a:pt x="439" y="356"/>
                  </a:lnTo>
                  <a:lnTo>
                    <a:pt x="437" y="359"/>
                  </a:lnTo>
                  <a:lnTo>
                    <a:pt x="435" y="361"/>
                  </a:lnTo>
                  <a:lnTo>
                    <a:pt x="433" y="361"/>
                  </a:lnTo>
                  <a:lnTo>
                    <a:pt x="424" y="369"/>
                  </a:lnTo>
                  <a:lnTo>
                    <a:pt x="424" y="374"/>
                  </a:lnTo>
                  <a:lnTo>
                    <a:pt x="420" y="376"/>
                  </a:lnTo>
                  <a:lnTo>
                    <a:pt x="418" y="376"/>
                  </a:lnTo>
                  <a:lnTo>
                    <a:pt x="414" y="376"/>
                  </a:lnTo>
                  <a:lnTo>
                    <a:pt x="412" y="376"/>
                  </a:lnTo>
                  <a:lnTo>
                    <a:pt x="418" y="380"/>
                  </a:lnTo>
                  <a:lnTo>
                    <a:pt x="414" y="384"/>
                  </a:lnTo>
                  <a:lnTo>
                    <a:pt x="414" y="384"/>
                  </a:lnTo>
                  <a:lnTo>
                    <a:pt x="412" y="380"/>
                  </a:lnTo>
                  <a:lnTo>
                    <a:pt x="410" y="380"/>
                  </a:lnTo>
                  <a:lnTo>
                    <a:pt x="409" y="384"/>
                  </a:lnTo>
                  <a:lnTo>
                    <a:pt x="403" y="389"/>
                  </a:lnTo>
                  <a:lnTo>
                    <a:pt x="403" y="391"/>
                  </a:lnTo>
                  <a:lnTo>
                    <a:pt x="407" y="395"/>
                  </a:lnTo>
                  <a:lnTo>
                    <a:pt x="409" y="401"/>
                  </a:lnTo>
                  <a:lnTo>
                    <a:pt x="407" y="405"/>
                  </a:lnTo>
                  <a:lnTo>
                    <a:pt x="405" y="406"/>
                  </a:lnTo>
                  <a:lnTo>
                    <a:pt x="407" y="410"/>
                  </a:lnTo>
                  <a:lnTo>
                    <a:pt x="409" y="410"/>
                  </a:lnTo>
                  <a:lnTo>
                    <a:pt x="410" y="406"/>
                  </a:lnTo>
                  <a:lnTo>
                    <a:pt x="412" y="408"/>
                  </a:lnTo>
                  <a:lnTo>
                    <a:pt x="412" y="414"/>
                  </a:lnTo>
                  <a:lnTo>
                    <a:pt x="410" y="414"/>
                  </a:lnTo>
                  <a:lnTo>
                    <a:pt x="409" y="418"/>
                  </a:lnTo>
                  <a:lnTo>
                    <a:pt x="410" y="420"/>
                  </a:lnTo>
                  <a:lnTo>
                    <a:pt x="412" y="418"/>
                  </a:lnTo>
                  <a:lnTo>
                    <a:pt x="414" y="418"/>
                  </a:lnTo>
                  <a:lnTo>
                    <a:pt x="414" y="418"/>
                  </a:lnTo>
                  <a:lnTo>
                    <a:pt x="418" y="418"/>
                  </a:lnTo>
                  <a:lnTo>
                    <a:pt x="418" y="420"/>
                  </a:lnTo>
                  <a:lnTo>
                    <a:pt x="420" y="420"/>
                  </a:lnTo>
                  <a:lnTo>
                    <a:pt x="424" y="423"/>
                  </a:lnTo>
                  <a:lnTo>
                    <a:pt x="427" y="423"/>
                  </a:lnTo>
                  <a:lnTo>
                    <a:pt x="431" y="420"/>
                  </a:lnTo>
                  <a:lnTo>
                    <a:pt x="433" y="410"/>
                  </a:lnTo>
                  <a:lnTo>
                    <a:pt x="435" y="410"/>
                  </a:lnTo>
                  <a:lnTo>
                    <a:pt x="442" y="410"/>
                  </a:lnTo>
                  <a:lnTo>
                    <a:pt x="444" y="408"/>
                  </a:lnTo>
                  <a:lnTo>
                    <a:pt x="442" y="410"/>
                  </a:lnTo>
                  <a:lnTo>
                    <a:pt x="439" y="410"/>
                  </a:lnTo>
                  <a:lnTo>
                    <a:pt x="433" y="418"/>
                  </a:lnTo>
                  <a:lnTo>
                    <a:pt x="431" y="420"/>
                  </a:lnTo>
                  <a:lnTo>
                    <a:pt x="429" y="423"/>
                  </a:lnTo>
                  <a:lnTo>
                    <a:pt x="433" y="427"/>
                  </a:lnTo>
                  <a:lnTo>
                    <a:pt x="433" y="429"/>
                  </a:lnTo>
                  <a:lnTo>
                    <a:pt x="427" y="431"/>
                  </a:lnTo>
                  <a:lnTo>
                    <a:pt x="426" y="429"/>
                  </a:lnTo>
                  <a:lnTo>
                    <a:pt x="426" y="427"/>
                  </a:lnTo>
                  <a:lnTo>
                    <a:pt x="424" y="425"/>
                  </a:lnTo>
                  <a:lnTo>
                    <a:pt x="424" y="425"/>
                  </a:lnTo>
                  <a:lnTo>
                    <a:pt x="420" y="423"/>
                  </a:lnTo>
                  <a:lnTo>
                    <a:pt x="414" y="423"/>
                  </a:lnTo>
                  <a:lnTo>
                    <a:pt x="414" y="420"/>
                  </a:lnTo>
                  <a:lnTo>
                    <a:pt x="410" y="423"/>
                  </a:lnTo>
                  <a:lnTo>
                    <a:pt x="407" y="423"/>
                  </a:lnTo>
                  <a:lnTo>
                    <a:pt x="407" y="425"/>
                  </a:lnTo>
                  <a:lnTo>
                    <a:pt x="403" y="427"/>
                  </a:lnTo>
                  <a:lnTo>
                    <a:pt x="399" y="425"/>
                  </a:lnTo>
                  <a:lnTo>
                    <a:pt x="399" y="429"/>
                  </a:lnTo>
                  <a:lnTo>
                    <a:pt x="401" y="431"/>
                  </a:lnTo>
                  <a:lnTo>
                    <a:pt x="403" y="433"/>
                  </a:lnTo>
                  <a:lnTo>
                    <a:pt x="401" y="435"/>
                  </a:lnTo>
                  <a:lnTo>
                    <a:pt x="399" y="440"/>
                  </a:lnTo>
                  <a:lnTo>
                    <a:pt x="401" y="444"/>
                  </a:lnTo>
                  <a:lnTo>
                    <a:pt x="403" y="444"/>
                  </a:lnTo>
                  <a:lnTo>
                    <a:pt x="403" y="448"/>
                  </a:lnTo>
                  <a:lnTo>
                    <a:pt x="405" y="453"/>
                  </a:lnTo>
                  <a:lnTo>
                    <a:pt x="405" y="453"/>
                  </a:lnTo>
                  <a:lnTo>
                    <a:pt x="409" y="457"/>
                  </a:lnTo>
                  <a:lnTo>
                    <a:pt x="409" y="459"/>
                  </a:lnTo>
                  <a:lnTo>
                    <a:pt x="403" y="459"/>
                  </a:lnTo>
                  <a:lnTo>
                    <a:pt x="403" y="461"/>
                  </a:lnTo>
                  <a:lnTo>
                    <a:pt x="414" y="467"/>
                  </a:lnTo>
                  <a:lnTo>
                    <a:pt x="418" y="467"/>
                  </a:lnTo>
                  <a:lnTo>
                    <a:pt x="424" y="465"/>
                  </a:lnTo>
                  <a:lnTo>
                    <a:pt x="427" y="463"/>
                  </a:lnTo>
                  <a:lnTo>
                    <a:pt x="429" y="465"/>
                  </a:lnTo>
                  <a:lnTo>
                    <a:pt x="431" y="465"/>
                  </a:lnTo>
                  <a:lnTo>
                    <a:pt x="437" y="457"/>
                  </a:lnTo>
                  <a:lnTo>
                    <a:pt x="437" y="453"/>
                  </a:lnTo>
                  <a:lnTo>
                    <a:pt x="435" y="453"/>
                  </a:lnTo>
                  <a:lnTo>
                    <a:pt x="435" y="450"/>
                  </a:lnTo>
                  <a:lnTo>
                    <a:pt x="441" y="448"/>
                  </a:lnTo>
                  <a:lnTo>
                    <a:pt x="444" y="444"/>
                  </a:lnTo>
                  <a:lnTo>
                    <a:pt x="454" y="438"/>
                  </a:lnTo>
                  <a:lnTo>
                    <a:pt x="458" y="440"/>
                  </a:lnTo>
                  <a:lnTo>
                    <a:pt x="452" y="440"/>
                  </a:lnTo>
                  <a:lnTo>
                    <a:pt x="444" y="448"/>
                  </a:lnTo>
                  <a:lnTo>
                    <a:pt x="441" y="450"/>
                  </a:lnTo>
                  <a:lnTo>
                    <a:pt x="441" y="453"/>
                  </a:lnTo>
                  <a:lnTo>
                    <a:pt x="444" y="453"/>
                  </a:lnTo>
                  <a:lnTo>
                    <a:pt x="444" y="457"/>
                  </a:lnTo>
                  <a:lnTo>
                    <a:pt x="441" y="463"/>
                  </a:lnTo>
                  <a:lnTo>
                    <a:pt x="437" y="465"/>
                  </a:lnTo>
                  <a:lnTo>
                    <a:pt x="437" y="469"/>
                  </a:lnTo>
                  <a:lnTo>
                    <a:pt x="437" y="474"/>
                  </a:lnTo>
                  <a:lnTo>
                    <a:pt x="437" y="478"/>
                  </a:lnTo>
                  <a:lnTo>
                    <a:pt x="437" y="478"/>
                  </a:lnTo>
                  <a:lnTo>
                    <a:pt x="437" y="482"/>
                  </a:lnTo>
                  <a:lnTo>
                    <a:pt x="437" y="485"/>
                  </a:lnTo>
                  <a:lnTo>
                    <a:pt x="431" y="487"/>
                  </a:lnTo>
                  <a:lnTo>
                    <a:pt x="429" y="489"/>
                  </a:lnTo>
                  <a:lnTo>
                    <a:pt x="427" y="493"/>
                  </a:lnTo>
                  <a:lnTo>
                    <a:pt x="426" y="491"/>
                  </a:lnTo>
                  <a:lnTo>
                    <a:pt x="424" y="493"/>
                  </a:lnTo>
                  <a:lnTo>
                    <a:pt x="426" y="497"/>
                  </a:lnTo>
                  <a:lnTo>
                    <a:pt x="426" y="501"/>
                  </a:lnTo>
                  <a:lnTo>
                    <a:pt x="427" y="501"/>
                  </a:lnTo>
                  <a:lnTo>
                    <a:pt x="431" y="501"/>
                  </a:lnTo>
                  <a:lnTo>
                    <a:pt x="435" y="501"/>
                  </a:lnTo>
                  <a:lnTo>
                    <a:pt x="435" y="502"/>
                  </a:lnTo>
                  <a:lnTo>
                    <a:pt x="433" y="504"/>
                  </a:lnTo>
                  <a:lnTo>
                    <a:pt x="427" y="504"/>
                  </a:lnTo>
                  <a:lnTo>
                    <a:pt x="427" y="504"/>
                  </a:lnTo>
                  <a:lnTo>
                    <a:pt x="427" y="508"/>
                  </a:lnTo>
                  <a:lnTo>
                    <a:pt x="427" y="508"/>
                  </a:lnTo>
                  <a:lnTo>
                    <a:pt x="427" y="512"/>
                  </a:lnTo>
                  <a:lnTo>
                    <a:pt x="426" y="514"/>
                  </a:lnTo>
                  <a:lnTo>
                    <a:pt x="424" y="514"/>
                  </a:lnTo>
                  <a:lnTo>
                    <a:pt x="420" y="518"/>
                  </a:lnTo>
                  <a:lnTo>
                    <a:pt x="418" y="518"/>
                  </a:lnTo>
                  <a:lnTo>
                    <a:pt x="414" y="518"/>
                  </a:lnTo>
                  <a:lnTo>
                    <a:pt x="418" y="518"/>
                  </a:lnTo>
                  <a:lnTo>
                    <a:pt x="424" y="518"/>
                  </a:lnTo>
                  <a:lnTo>
                    <a:pt x="424" y="519"/>
                  </a:lnTo>
                  <a:lnTo>
                    <a:pt x="427" y="518"/>
                  </a:lnTo>
                  <a:lnTo>
                    <a:pt x="435" y="512"/>
                  </a:lnTo>
                  <a:lnTo>
                    <a:pt x="437" y="512"/>
                  </a:lnTo>
                  <a:lnTo>
                    <a:pt x="441" y="512"/>
                  </a:lnTo>
                  <a:lnTo>
                    <a:pt x="442" y="508"/>
                  </a:lnTo>
                  <a:lnTo>
                    <a:pt x="448" y="508"/>
                  </a:lnTo>
                  <a:lnTo>
                    <a:pt x="448" y="508"/>
                  </a:lnTo>
                  <a:lnTo>
                    <a:pt x="444" y="512"/>
                  </a:lnTo>
                  <a:lnTo>
                    <a:pt x="444" y="512"/>
                  </a:lnTo>
                  <a:lnTo>
                    <a:pt x="448" y="514"/>
                  </a:lnTo>
                  <a:lnTo>
                    <a:pt x="448" y="518"/>
                  </a:lnTo>
                  <a:lnTo>
                    <a:pt x="448" y="519"/>
                  </a:lnTo>
                  <a:lnTo>
                    <a:pt x="450" y="521"/>
                  </a:lnTo>
                  <a:lnTo>
                    <a:pt x="454" y="518"/>
                  </a:lnTo>
                  <a:lnTo>
                    <a:pt x="456" y="518"/>
                  </a:lnTo>
                  <a:lnTo>
                    <a:pt x="456" y="518"/>
                  </a:lnTo>
                  <a:lnTo>
                    <a:pt x="456" y="519"/>
                  </a:lnTo>
                  <a:lnTo>
                    <a:pt x="458" y="523"/>
                  </a:lnTo>
                  <a:lnTo>
                    <a:pt x="459" y="529"/>
                  </a:lnTo>
                  <a:lnTo>
                    <a:pt x="458" y="533"/>
                  </a:lnTo>
                  <a:lnTo>
                    <a:pt x="459" y="538"/>
                  </a:lnTo>
                  <a:lnTo>
                    <a:pt x="461" y="538"/>
                  </a:lnTo>
                  <a:lnTo>
                    <a:pt x="463" y="534"/>
                  </a:lnTo>
                  <a:lnTo>
                    <a:pt x="463" y="529"/>
                  </a:lnTo>
                  <a:lnTo>
                    <a:pt x="467" y="525"/>
                  </a:lnTo>
                  <a:lnTo>
                    <a:pt x="467" y="521"/>
                  </a:lnTo>
                  <a:lnTo>
                    <a:pt x="473" y="518"/>
                  </a:lnTo>
                  <a:lnTo>
                    <a:pt x="473" y="518"/>
                  </a:lnTo>
                  <a:lnTo>
                    <a:pt x="474" y="514"/>
                  </a:lnTo>
                  <a:lnTo>
                    <a:pt x="482" y="514"/>
                  </a:lnTo>
                  <a:lnTo>
                    <a:pt x="476" y="518"/>
                  </a:lnTo>
                  <a:lnTo>
                    <a:pt x="473" y="523"/>
                  </a:lnTo>
                  <a:lnTo>
                    <a:pt x="473" y="525"/>
                  </a:lnTo>
                  <a:lnTo>
                    <a:pt x="474" y="529"/>
                  </a:lnTo>
                  <a:lnTo>
                    <a:pt x="478" y="529"/>
                  </a:lnTo>
                  <a:lnTo>
                    <a:pt x="484" y="529"/>
                  </a:lnTo>
                  <a:lnTo>
                    <a:pt x="491" y="527"/>
                  </a:lnTo>
                  <a:lnTo>
                    <a:pt x="493" y="525"/>
                  </a:lnTo>
                  <a:lnTo>
                    <a:pt x="497" y="523"/>
                  </a:lnTo>
                  <a:lnTo>
                    <a:pt x="503" y="521"/>
                  </a:lnTo>
                  <a:lnTo>
                    <a:pt x="506" y="521"/>
                  </a:lnTo>
                  <a:lnTo>
                    <a:pt x="503" y="521"/>
                  </a:lnTo>
                  <a:lnTo>
                    <a:pt x="497" y="527"/>
                  </a:lnTo>
                  <a:lnTo>
                    <a:pt x="497" y="529"/>
                  </a:lnTo>
                  <a:lnTo>
                    <a:pt x="497" y="529"/>
                  </a:lnTo>
                  <a:lnTo>
                    <a:pt x="486" y="538"/>
                  </a:lnTo>
                  <a:lnTo>
                    <a:pt x="482" y="542"/>
                  </a:lnTo>
                  <a:lnTo>
                    <a:pt x="478" y="546"/>
                  </a:lnTo>
                  <a:lnTo>
                    <a:pt x="478" y="550"/>
                  </a:lnTo>
                  <a:lnTo>
                    <a:pt x="478" y="553"/>
                  </a:lnTo>
                  <a:lnTo>
                    <a:pt x="482" y="555"/>
                  </a:lnTo>
                  <a:lnTo>
                    <a:pt x="476" y="553"/>
                  </a:lnTo>
                  <a:lnTo>
                    <a:pt x="474" y="555"/>
                  </a:lnTo>
                  <a:lnTo>
                    <a:pt x="473" y="559"/>
                  </a:lnTo>
                  <a:lnTo>
                    <a:pt x="469" y="563"/>
                  </a:lnTo>
                  <a:lnTo>
                    <a:pt x="465" y="568"/>
                  </a:lnTo>
                  <a:lnTo>
                    <a:pt x="463" y="572"/>
                  </a:lnTo>
                  <a:lnTo>
                    <a:pt x="465" y="574"/>
                  </a:lnTo>
                  <a:lnTo>
                    <a:pt x="465" y="576"/>
                  </a:lnTo>
                  <a:lnTo>
                    <a:pt x="465" y="578"/>
                  </a:lnTo>
                  <a:lnTo>
                    <a:pt x="463" y="578"/>
                  </a:lnTo>
                  <a:lnTo>
                    <a:pt x="461" y="576"/>
                  </a:lnTo>
                  <a:lnTo>
                    <a:pt x="459" y="574"/>
                  </a:lnTo>
                  <a:lnTo>
                    <a:pt x="456" y="578"/>
                  </a:lnTo>
                  <a:lnTo>
                    <a:pt x="450" y="582"/>
                  </a:lnTo>
                  <a:lnTo>
                    <a:pt x="452" y="583"/>
                  </a:lnTo>
                  <a:lnTo>
                    <a:pt x="450" y="587"/>
                  </a:lnTo>
                  <a:lnTo>
                    <a:pt x="448" y="585"/>
                  </a:lnTo>
                  <a:lnTo>
                    <a:pt x="448" y="583"/>
                  </a:lnTo>
                  <a:lnTo>
                    <a:pt x="444" y="585"/>
                  </a:lnTo>
                  <a:lnTo>
                    <a:pt x="439" y="593"/>
                  </a:lnTo>
                  <a:lnTo>
                    <a:pt x="435" y="597"/>
                  </a:lnTo>
                  <a:lnTo>
                    <a:pt x="437" y="599"/>
                  </a:lnTo>
                  <a:lnTo>
                    <a:pt x="435" y="599"/>
                  </a:lnTo>
                  <a:lnTo>
                    <a:pt x="431" y="599"/>
                  </a:lnTo>
                  <a:lnTo>
                    <a:pt x="431" y="593"/>
                  </a:lnTo>
                  <a:lnTo>
                    <a:pt x="426" y="599"/>
                  </a:lnTo>
                  <a:lnTo>
                    <a:pt x="424" y="599"/>
                  </a:lnTo>
                  <a:lnTo>
                    <a:pt x="418" y="602"/>
                  </a:lnTo>
                  <a:lnTo>
                    <a:pt x="418" y="606"/>
                  </a:lnTo>
                  <a:lnTo>
                    <a:pt x="414" y="606"/>
                  </a:lnTo>
                  <a:lnTo>
                    <a:pt x="410" y="606"/>
                  </a:lnTo>
                  <a:lnTo>
                    <a:pt x="405" y="610"/>
                  </a:lnTo>
                  <a:lnTo>
                    <a:pt x="397" y="614"/>
                  </a:lnTo>
                  <a:lnTo>
                    <a:pt x="390" y="617"/>
                  </a:lnTo>
                  <a:lnTo>
                    <a:pt x="390" y="623"/>
                  </a:lnTo>
                  <a:lnTo>
                    <a:pt x="390" y="623"/>
                  </a:lnTo>
                  <a:lnTo>
                    <a:pt x="390" y="627"/>
                  </a:lnTo>
                  <a:lnTo>
                    <a:pt x="390" y="632"/>
                  </a:lnTo>
                  <a:lnTo>
                    <a:pt x="390" y="632"/>
                  </a:lnTo>
                  <a:lnTo>
                    <a:pt x="388" y="627"/>
                  </a:lnTo>
                  <a:lnTo>
                    <a:pt x="386" y="627"/>
                  </a:lnTo>
                  <a:lnTo>
                    <a:pt x="384" y="631"/>
                  </a:lnTo>
                  <a:lnTo>
                    <a:pt x="384" y="632"/>
                  </a:lnTo>
                  <a:lnTo>
                    <a:pt x="382" y="632"/>
                  </a:lnTo>
                  <a:lnTo>
                    <a:pt x="380" y="632"/>
                  </a:lnTo>
                  <a:lnTo>
                    <a:pt x="380" y="627"/>
                  </a:lnTo>
                  <a:lnTo>
                    <a:pt x="382" y="627"/>
                  </a:lnTo>
                  <a:lnTo>
                    <a:pt x="380" y="623"/>
                  </a:lnTo>
                  <a:lnTo>
                    <a:pt x="377" y="623"/>
                  </a:lnTo>
                  <a:lnTo>
                    <a:pt x="375" y="623"/>
                  </a:lnTo>
                  <a:lnTo>
                    <a:pt x="371" y="623"/>
                  </a:lnTo>
                  <a:lnTo>
                    <a:pt x="365" y="623"/>
                  </a:lnTo>
                  <a:lnTo>
                    <a:pt x="363" y="627"/>
                  </a:lnTo>
                  <a:lnTo>
                    <a:pt x="360" y="631"/>
                  </a:lnTo>
                  <a:lnTo>
                    <a:pt x="356" y="632"/>
                  </a:lnTo>
                  <a:lnTo>
                    <a:pt x="350" y="636"/>
                  </a:lnTo>
                  <a:lnTo>
                    <a:pt x="346" y="638"/>
                  </a:lnTo>
                  <a:lnTo>
                    <a:pt x="346" y="640"/>
                  </a:lnTo>
                  <a:lnTo>
                    <a:pt x="345" y="642"/>
                  </a:lnTo>
                  <a:lnTo>
                    <a:pt x="345" y="642"/>
                  </a:lnTo>
                  <a:lnTo>
                    <a:pt x="341" y="644"/>
                  </a:lnTo>
                  <a:lnTo>
                    <a:pt x="335" y="646"/>
                  </a:lnTo>
                  <a:lnTo>
                    <a:pt x="335" y="647"/>
                  </a:lnTo>
                  <a:lnTo>
                    <a:pt x="335" y="647"/>
                  </a:lnTo>
                  <a:lnTo>
                    <a:pt x="331" y="647"/>
                  </a:lnTo>
                  <a:lnTo>
                    <a:pt x="328" y="647"/>
                  </a:lnTo>
                  <a:lnTo>
                    <a:pt x="328" y="651"/>
                  </a:lnTo>
                  <a:lnTo>
                    <a:pt x="326" y="655"/>
                  </a:lnTo>
                  <a:lnTo>
                    <a:pt x="328" y="657"/>
                  </a:lnTo>
                  <a:lnTo>
                    <a:pt x="330" y="657"/>
                  </a:lnTo>
                  <a:lnTo>
                    <a:pt x="331" y="653"/>
                  </a:lnTo>
                  <a:lnTo>
                    <a:pt x="331" y="651"/>
                  </a:lnTo>
                  <a:lnTo>
                    <a:pt x="331" y="649"/>
                  </a:lnTo>
                  <a:lnTo>
                    <a:pt x="335" y="651"/>
                  </a:lnTo>
                  <a:lnTo>
                    <a:pt x="331" y="655"/>
                  </a:lnTo>
                  <a:lnTo>
                    <a:pt x="335" y="655"/>
                  </a:lnTo>
                  <a:lnTo>
                    <a:pt x="335" y="655"/>
                  </a:lnTo>
                  <a:lnTo>
                    <a:pt x="341" y="649"/>
                  </a:lnTo>
                  <a:lnTo>
                    <a:pt x="341" y="647"/>
                  </a:lnTo>
                  <a:lnTo>
                    <a:pt x="345" y="651"/>
                  </a:lnTo>
                  <a:lnTo>
                    <a:pt x="341" y="653"/>
                  </a:lnTo>
                  <a:lnTo>
                    <a:pt x="345" y="655"/>
                  </a:lnTo>
                  <a:lnTo>
                    <a:pt x="345" y="655"/>
                  </a:lnTo>
                  <a:lnTo>
                    <a:pt x="348" y="651"/>
                  </a:lnTo>
                  <a:lnTo>
                    <a:pt x="348" y="653"/>
                  </a:lnTo>
                  <a:lnTo>
                    <a:pt x="350" y="653"/>
                  </a:lnTo>
                  <a:lnTo>
                    <a:pt x="350" y="651"/>
                  </a:lnTo>
                  <a:lnTo>
                    <a:pt x="352" y="649"/>
                  </a:lnTo>
                  <a:lnTo>
                    <a:pt x="356" y="649"/>
                  </a:lnTo>
                  <a:lnTo>
                    <a:pt x="360" y="647"/>
                  </a:lnTo>
                  <a:lnTo>
                    <a:pt x="362" y="644"/>
                  </a:lnTo>
                  <a:lnTo>
                    <a:pt x="362" y="640"/>
                  </a:lnTo>
                  <a:lnTo>
                    <a:pt x="365" y="638"/>
                  </a:lnTo>
                  <a:lnTo>
                    <a:pt x="365" y="636"/>
                  </a:lnTo>
                  <a:lnTo>
                    <a:pt x="369" y="636"/>
                  </a:lnTo>
                  <a:lnTo>
                    <a:pt x="373" y="636"/>
                  </a:lnTo>
                  <a:lnTo>
                    <a:pt x="371" y="638"/>
                  </a:lnTo>
                  <a:lnTo>
                    <a:pt x="369" y="640"/>
                  </a:lnTo>
                  <a:lnTo>
                    <a:pt x="365" y="642"/>
                  </a:lnTo>
                  <a:lnTo>
                    <a:pt x="365" y="646"/>
                  </a:lnTo>
                  <a:lnTo>
                    <a:pt x="369" y="647"/>
                  </a:lnTo>
                  <a:lnTo>
                    <a:pt x="373" y="644"/>
                  </a:lnTo>
                  <a:lnTo>
                    <a:pt x="373" y="640"/>
                  </a:lnTo>
                  <a:lnTo>
                    <a:pt x="377" y="640"/>
                  </a:lnTo>
                  <a:lnTo>
                    <a:pt x="377" y="642"/>
                  </a:lnTo>
                  <a:lnTo>
                    <a:pt x="378" y="638"/>
                  </a:lnTo>
                  <a:lnTo>
                    <a:pt x="380" y="638"/>
                  </a:lnTo>
                  <a:lnTo>
                    <a:pt x="380" y="642"/>
                  </a:lnTo>
                  <a:lnTo>
                    <a:pt x="378" y="644"/>
                  </a:lnTo>
                  <a:lnTo>
                    <a:pt x="380" y="644"/>
                  </a:lnTo>
                  <a:lnTo>
                    <a:pt x="384" y="640"/>
                  </a:lnTo>
                  <a:lnTo>
                    <a:pt x="386" y="640"/>
                  </a:lnTo>
                  <a:lnTo>
                    <a:pt x="390" y="638"/>
                  </a:lnTo>
                  <a:lnTo>
                    <a:pt x="394" y="638"/>
                  </a:lnTo>
                  <a:lnTo>
                    <a:pt x="395" y="632"/>
                  </a:lnTo>
                  <a:lnTo>
                    <a:pt x="397" y="632"/>
                  </a:lnTo>
                  <a:lnTo>
                    <a:pt x="401" y="632"/>
                  </a:lnTo>
                  <a:lnTo>
                    <a:pt x="401" y="636"/>
                  </a:lnTo>
                  <a:lnTo>
                    <a:pt x="397" y="638"/>
                  </a:lnTo>
                  <a:lnTo>
                    <a:pt x="395" y="642"/>
                  </a:lnTo>
                  <a:lnTo>
                    <a:pt x="395" y="644"/>
                  </a:lnTo>
                  <a:lnTo>
                    <a:pt x="397" y="644"/>
                  </a:lnTo>
                  <a:lnTo>
                    <a:pt x="403" y="638"/>
                  </a:lnTo>
                  <a:lnTo>
                    <a:pt x="403" y="632"/>
                  </a:lnTo>
                  <a:lnTo>
                    <a:pt x="403" y="632"/>
                  </a:lnTo>
                  <a:lnTo>
                    <a:pt x="407" y="632"/>
                  </a:lnTo>
                  <a:lnTo>
                    <a:pt x="409" y="632"/>
                  </a:lnTo>
                  <a:lnTo>
                    <a:pt x="410" y="632"/>
                  </a:lnTo>
                  <a:lnTo>
                    <a:pt x="414" y="632"/>
                  </a:lnTo>
                  <a:lnTo>
                    <a:pt x="418" y="631"/>
                  </a:lnTo>
                  <a:lnTo>
                    <a:pt x="418" y="631"/>
                  </a:lnTo>
                  <a:lnTo>
                    <a:pt x="420" y="631"/>
                  </a:lnTo>
                  <a:lnTo>
                    <a:pt x="424" y="627"/>
                  </a:lnTo>
                  <a:lnTo>
                    <a:pt x="424" y="623"/>
                  </a:lnTo>
                  <a:lnTo>
                    <a:pt x="424" y="623"/>
                  </a:lnTo>
                  <a:lnTo>
                    <a:pt x="424" y="627"/>
                  </a:lnTo>
                  <a:lnTo>
                    <a:pt x="424" y="632"/>
                  </a:lnTo>
                  <a:lnTo>
                    <a:pt x="426" y="631"/>
                  </a:lnTo>
                  <a:lnTo>
                    <a:pt x="429" y="627"/>
                  </a:lnTo>
                  <a:lnTo>
                    <a:pt x="427" y="627"/>
                  </a:lnTo>
                  <a:lnTo>
                    <a:pt x="429" y="623"/>
                  </a:lnTo>
                  <a:lnTo>
                    <a:pt x="429" y="623"/>
                  </a:lnTo>
                  <a:lnTo>
                    <a:pt x="424" y="623"/>
                  </a:lnTo>
                  <a:lnTo>
                    <a:pt x="424" y="621"/>
                  </a:lnTo>
                  <a:lnTo>
                    <a:pt x="427" y="619"/>
                  </a:lnTo>
                  <a:lnTo>
                    <a:pt x="433" y="617"/>
                  </a:lnTo>
                  <a:lnTo>
                    <a:pt x="441" y="615"/>
                  </a:lnTo>
                  <a:lnTo>
                    <a:pt x="442" y="615"/>
                  </a:lnTo>
                  <a:lnTo>
                    <a:pt x="442" y="612"/>
                  </a:lnTo>
                  <a:lnTo>
                    <a:pt x="441" y="612"/>
                  </a:lnTo>
                  <a:lnTo>
                    <a:pt x="442" y="610"/>
                  </a:lnTo>
                  <a:lnTo>
                    <a:pt x="444" y="610"/>
                  </a:lnTo>
                  <a:lnTo>
                    <a:pt x="448" y="608"/>
                  </a:lnTo>
                  <a:lnTo>
                    <a:pt x="448" y="608"/>
                  </a:lnTo>
                  <a:lnTo>
                    <a:pt x="450" y="612"/>
                  </a:lnTo>
                  <a:lnTo>
                    <a:pt x="452" y="612"/>
                  </a:lnTo>
                  <a:lnTo>
                    <a:pt x="452" y="610"/>
                  </a:lnTo>
                  <a:lnTo>
                    <a:pt x="452" y="608"/>
                  </a:lnTo>
                  <a:lnTo>
                    <a:pt x="456" y="606"/>
                  </a:lnTo>
                  <a:lnTo>
                    <a:pt x="456" y="602"/>
                  </a:lnTo>
                  <a:lnTo>
                    <a:pt x="456" y="602"/>
                  </a:lnTo>
                  <a:lnTo>
                    <a:pt x="458" y="602"/>
                  </a:lnTo>
                  <a:lnTo>
                    <a:pt x="458" y="606"/>
                  </a:lnTo>
                  <a:lnTo>
                    <a:pt x="459" y="606"/>
                  </a:lnTo>
                  <a:lnTo>
                    <a:pt x="465" y="606"/>
                  </a:lnTo>
                  <a:lnTo>
                    <a:pt x="467" y="602"/>
                  </a:lnTo>
                  <a:lnTo>
                    <a:pt x="469" y="602"/>
                  </a:lnTo>
                  <a:lnTo>
                    <a:pt x="469" y="599"/>
                  </a:lnTo>
                  <a:lnTo>
                    <a:pt x="473" y="599"/>
                  </a:lnTo>
                  <a:lnTo>
                    <a:pt x="473" y="599"/>
                  </a:lnTo>
                  <a:lnTo>
                    <a:pt x="476" y="599"/>
                  </a:lnTo>
                  <a:lnTo>
                    <a:pt x="482" y="593"/>
                  </a:lnTo>
                  <a:lnTo>
                    <a:pt x="482" y="591"/>
                  </a:lnTo>
                  <a:lnTo>
                    <a:pt x="478" y="591"/>
                  </a:lnTo>
                  <a:lnTo>
                    <a:pt x="476" y="591"/>
                  </a:lnTo>
                  <a:lnTo>
                    <a:pt x="476" y="591"/>
                  </a:lnTo>
                  <a:lnTo>
                    <a:pt x="482" y="587"/>
                  </a:lnTo>
                  <a:lnTo>
                    <a:pt x="484" y="585"/>
                  </a:lnTo>
                  <a:lnTo>
                    <a:pt x="488" y="582"/>
                  </a:lnTo>
                  <a:lnTo>
                    <a:pt x="490" y="583"/>
                  </a:lnTo>
                  <a:lnTo>
                    <a:pt x="490" y="583"/>
                  </a:lnTo>
                  <a:lnTo>
                    <a:pt x="493" y="580"/>
                  </a:lnTo>
                  <a:lnTo>
                    <a:pt x="497" y="578"/>
                  </a:lnTo>
                  <a:lnTo>
                    <a:pt x="497" y="576"/>
                  </a:lnTo>
                  <a:lnTo>
                    <a:pt x="501" y="574"/>
                  </a:lnTo>
                  <a:lnTo>
                    <a:pt x="503" y="572"/>
                  </a:lnTo>
                  <a:lnTo>
                    <a:pt x="503" y="572"/>
                  </a:lnTo>
                  <a:lnTo>
                    <a:pt x="506" y="574"/>
                  </a:lnTo>
                  <a:lnTo>
                    <a:pt x="506" y="576"/>
                  </a:lnTo>
                  <a:lnTo>
                    <a:pt x="506" y="572"/>
                  </a:lnTo>
                  <a:lnTo>
                    <a:pt x="510" y="572"/>
                  </a:lnTo>
                  <a:lnTo>
                    <a:pt x="512" y="572"/>
                  </a:lnTo>
                  <a:lnTo>
                    <a:pt x="512" y="568"/>
                  </a:lnTo>
                  <a:lnTo>
                    <a:pt x="516" y="568"/>
                  </a:lnTo>
                  <a:lnTo>
                    <a:pt x="516" y="568"/>
                  </a:lnTo>
                  <a:lnTo>
                    <a:pt x="518" y="568"/>
                  </a:lnTo>
                  <a:lnTo>
                    <a:pt x="523" y="568"/>
                  </a:lnTo>
                  <a:lnTo>
                    <a:pt x="523" y="566"/>
                  </a:lnTo>
                  <a:lnTo>
                    <a:pt x="525" y="566"/>
                  </a:lnTo>
                  <a:lnTo>
                    <a:pt x="527" y="568"/>
                  </a:lnTo>
                  <a:lnTo>
                    <a:pt x="527" y="568"/>
                  </a:lnTo>
                  <a:lnTo>
                    <a:pt x="527" y="566"/>
                  </a:lnTo>
                  <a:lnTo>
                    <a:pt x="531" y="568"/>
                  </a:lnTo>
                  <a:lnTo>
                    <a:pt x="531" y="566"/>
                  </a:lnTo>
                  <a:lnTo>
                    <a:pt x="533" y="561"/>
                  </a:lnTo>
                  <a:lnTo>
                    <a:pt x="531" y="561"/>
                  </a:lnTo>
                  <a:lnTo>
                    <a:pt x="531" y="563"/>
                  </a:lnTo>
                  <a:lnTo>
                    <a:pt x="531" y="559"/>
                  </a:lnTo>
                  <a:lnTo>
                    <a:pt x="535" y="557"/>
                  </a:lnTo>
                  <a:lnTo>
                    <a:pt x="537" y="557"/>
                  </a:lnTo>
                  <a:lnTo>
                    <a:pt x="538" y="557"/>
                  </a:lnTo>
                  <a:lnTo>
                    <a:pt x="538" y="557"/>
                  </a:lnTo>
                  <a:lnTo>
                    <a:pt x="537" y="555"/>
                  </a:lnTo>
                  <a:lnTo>
                    <a:pt x="535" y="553"/>
                  </a:lnTo>
                  <a:lnTo>
                    <a:pt x="537" y="551"/>
                  </a:lnTo>
                  <a:lnTo>
                    <a:pt x="540" y="553"/>
                  </a:lnTo>
                  <a:lnTo>
                    <a:pt x="544" y="550"/>
                  </a:lnTo>
                  <a:lnTo>
                    <a:pt x="550" y="550"/>
                  </a:lnTo>
                  <a:lnTo>
                    <a:pt x="552" y="546"/>
                  </a:lnTo>
                  <a:lnTo>
                    <a:pt x="555" y="546"/>
                  </a:lnTo>
                  <a:lnTo>
                    <a:pt x="561" y="542"/>
                  </a:lnTo>
                  <a:lnTo>
                    <a:pt x="561" y="536"/>
                  </a:lnTo>
                  <a:lnTo>
                    <a:pt x="557" y="536"/>
                  </a:lnTo>
                  <a:lnTo>
                    <a:pt x="555" y="536"/>
                  </a:lnTo>
                  <a:lnTo>
                    <a:pt x="555" y="529"/>
                  </a:lnTo>
                  <a:lnTo>
                    <a:pt x="552" y="529"/>
                  </a:lnTo>
                  <a:lnTo>
                    <a:pt x="550" y="529"/>
                  </a:lnTo>
                  <a:lnTo>
                    <a:pt x="550" y="527"/>
                  </a:lnTo>
                  <a:lnTo>
                    <a:pt x="550" y="523"/>
                  </a:lnTo>
                  <a:lnTo>
                    <a:pt x="555" y="521"/>
                  </a:lnTo>
                  <a:lnTo>
                    <a:pt x="555" y="519"/>
                  </a:lnTo>
                  <a:lnTo>
                    <a:pt x="557" y="518"/>
                  </a:lnTo>
                  <a:lnTo>
                    <a:pt x="557" y="518"/>
                  </a:lnTo>
                  <a:lnTo>
                    <a:pt x="557" y="518"/>
                  </a:lnTo>
                  <a:lnTo>
                    <a:pt x="561" y="514"/>
                  </a:lnTo>
                  <a:lnTo>
                    <a:pt x="563" y="514"/>
                  </a:lnTo>
                  <a:lnTo>
                    <a:pt x="569" y="512"/>
                  </a:lnTo>
                  <a:lnTo>
                    <a:pt x="570" y="514"/>
                  </a:lnTo>
                  <a:lnTo>
                    <a:pt x="576" y="512"/>
                  </a:lnTo>
                  <a:lnTo>
                    <a:pt x="576" y="514"/>
                  </a:lnTo>
                  <a:lnTo>
                    <a:pt x="576" y="518"/>
                  </a:lnTo>
                  <a:lnTo>
                    <a:pt x="576" y="518"/>
                  </a:lnTo>
                  <a:lnTo>
                    <a:pt x="582" y="512"/>
                  </a:lnTo>
                  <a:lnTo>
                    <a:pt x="582" y="512"/>
                  </a:lnTo>
                  <a:lnTo>
                    <a:pt x="580" y="512"/>
                  </a:lnTo>
                  <a:lnTo>
                    <a:pt x="580" y="508"/>
                  </a:lnTo>
                  <a:lnTo>
                    <a:pt x="582" y="508"/>
                  </a:lnTo>
                  <a:lnTo>
                    <a:pt x="586" y="508"/>
                  </a:lnTo>
                  <a:lnTo>
                    <a:pt x="589" y="508"/>
                  </a:lnTo>
                  <a:lnTo>
                    <a:pt x="591" y="502"/>
                  </a:lnTo>
                  <a:lnTo>
                    <a:pt x="589" y="499"/>
                  </a:lnTo>
                  <a:lnTo>
                    <a:pt x="586" y="495"/>
                  </a:lnTo>
                  <a:lnTo>
                    <a:pt x="582" y="495"/>
                  </a:lnTo>
                  <a:lnTo>
                    <a:pt x="582" y="497"/>
                  </a:lnTo>
                  <a:lnTo>
                    <a:pt x="582" y="495"/>
                  </a:lnTo>
                  <a:lnTo>
                    <a:pt x="582" y="493"/>
                  </a:lnTo>
                  <a:lnTo>
                    <a:pt x="587" y="493"/>
                  </a:lnTo>
                  <a:lnTo>
                    <a:pt x="589" y="495"/>
                  </a:lnTo>
                  <a:lnTo>
                    <a:pt x="595" y="495"/>
                  </a:lnTo>
                  <a:lnTo>
                    <a:pt x="599" y="491"/>
                  </a:lnTo>
                  <a:lnTo>
                    <a:pt x="599" y="489"/>
                  </a:lnTo>
                  <a:lnTo>
                    <a:pt x="606" y="484"/>
                  </a:lnTo>
                  <a:lnTo>
                    <a:pt x="612" y="480"/>
                  </a:lnTo>
                  <a:lnTo>
                    <a:pt x="616" y="480"/>
                  </a:lnTo>
                  <a:lnTo>
                    <a:pt x="619" y="478"/>
                  </a:lnTo>
                  <a:lnTo>
                    <a:pt x="619" y="478"/>
                  </a:lnTo>
                  <a:lnTo>
                    <a:pt x="625" y="472"/>
                  </a:lnTo>
                  <a:lnTo>
                    <a:pt x="631" y="470"/>
                  </a:lnTo>
                  <a:lnTo>
                    <a:pt x="640" y="463"/>
                  </a:lnTo>
                  <a:lnTo>
                    <a:pt x="644" y="463"/>
                  </a:lnTo>
                  <a:lnTo>
                    <a:pt x="651" y="455"/>
                  </a:lnTo>
                  <a:lnTo>
                    <a:pt x="650" y="459"/>
                  </a:lnTo>
                  <a:lnTo>
                    <a:pt x="650" y="465"/>
                  </a:lnTo>
                  <a:lnTo>
                    <a:pt x="651" y="465"/>
                  </a:lnTo>
                  <a:lnTo>
                    <a:pt x="653" y="467"/>
                  </a:lnTo>
                  <a:lnTo>
                    <a:pt x="655" y="467"/>
                  </a:lnTo>
                  <a:lnTo>
                    <a:pt x="661" y="461"/>
                  </a:lnTo>
                  <a:lnTo>
                    <a:pt x="665" y="461"/>
                  </a:lnTo>
                  <a:lnTo>
                    <a:pt x="670" y="457"/>
                  </a:lnTo>
                  <a:lnTo>
                    <a:pt x="672" y="455"/>
                  </a:lnTo>
                  <a:lnTo>
                    <a:pt x="670" y="459"/>
                  </a:lnTo>
                  <a:lnTo>
                    <a:pt x="665" y="463"/>
                  </a:lnTo>
                  <a:lnTo>
                    <a:pt x="661" y="463"/>
                  </a:lnTo>
                  <a:lnTo>
                    <a:pt x="653" y="472"/>
                  </a:lnTo>
                  <a:lnTo>
                    <a:pt x="653" y="474"/>
                  </a:lnTo>
                  <a:lnTo>
                    <a:pt x="655" y="480"/>
                  </a:lnTo>
                  <a:lnTo>
                    <a:pt x="659" y="484"/>
                  </a:lnTo>
                  <a:lnTo>
                    <a:pt x="655" y="482"/>
                  </a:lnTo>
                  <a:lnTo>
                    <a:pt x="651" y="482"/>
                  </a:lnTo>
                  <a:lnTo>
                    <a:pt x="650" y="482"/>
                  </a:lnTo>
                  <a:lnTo>
                    <a:pt x="646" y="482"/>
                  </a:lnTo>
                  <a:lnTo>
                    <a:pt x="644" y="480"/>
                  </a:lnTo>
                  <a:lnTo>
                    <a:pt x="644" y="474"/>
                  </a:lnTo>
                  <a:lnTo>
                    <a:pt x="634" y="478"/>
                  </a:lnTo>
                  <a:lnTo>
                    <a:pt x="634" y="478"/>
                  </a:lnTo>
                  <a:lnTo>
                    <a:pt x="629" y="482"/>
                  </a:lnTo>
                  <a:lnTo>
                    <a:pt x="623" y="482"/>
                  </a:lnTo>
                  <a:lnTo>
                    <a:pt x="619" y="485"/>
                  </a:lnTo>
                  <a:lnTo>
                    <a:pt x="619" y="489"/>
                  </a:lnTo>
                  <a:lnTo>
                    <a:pt x="619" y="491"/>
                  </a:lnTo>
                  <a:lnTo>
                    <a:pt x="616" y="497"/>
                  </a:lnTo>
                  <a:lnTo>
                    <a:pt x="612" y="501"/>
                  </a:lnTo>
                  <a:lnTo>
                    <a:pt x="610" y="504"/>
                  </a:lnTo>
                  <a:lnTo>
                    <a:pt x="601" y="514"/>
                  </a:lnTo>
                  <a:lnTo>
                    <a:pt x="597" y="518"/>
                  </a:lnTo>
                  <a:lnTo>
                    <a:pt x="599" y="519"/>
                  </a:lnTo>
                  <a:lnTo>
                    <a:pt x="602" y="525"/>
                  </a:lnTo>
                  <a:lnTo>
                    <a:pt x="604" y="521"/>
                  </a:lnTo>
                  <a:lnTo>
                    <a:pt x="606" y="521"/>
                  </a:lnTo>
                  <a:lnTo>
                    <a:pt x="610" y="519"/>
                  </a:lnTo>
                  <a:lnTo>
                    <a:pt x="610" y="519"/>
                  </a:lnTo>
                  <a:lnTo>
                    <a:pt x="610" y="523"/>
                  </a:lnTo>
                  <a:lnTo>
                    <a:pt x="606" y="527"/>
                  </a:lnTo>
                  <a:lnTo>
                    <a:pt x="602" y="529"/>
                  </a:lnTo>
                  <a:lnTo>
                    <a:pt x="601" y="529"/>
                  </a:lnTo>
                  <a:lnTo>
                    <a:pt x="597" y="529"/>
                  </a:lnTo>
                  <a:lnTo>
                    <a:pt x="593" y="529"/>
                  </a:lnTo>
                  <a:lnTo>
                    <a:pt x="591" y="529"/>
                  </a:lnTo>
                  <a:lnTo>
                    <a:pt x="591" y="534"/>
                  </a:lnTo>
                  <a:lnTo>
                    <a:pt x="589" y="534"/>
                  </a:lnTo>
                  <a:lnTo>
                    <a:pt x="586" y="534"/>
                  </a:lnTo>
                  <a:lnTo>
                    <a:pt x="586" y="538"/>
                  </a:lnTo>
                  <a:lnTo>
                    <a:pt x="591" y="544"/>
                  </a:lnTo>
                  <a:lnTo>
                    <a:pt x="593" y="542"/>
                  </a:lnTo>
                  <a:lnTo>
                    <a:pt x="595" y="542"/>
                  </a:lnTo>
                  <a:lnTo>
                    <a:pt x="597" y="542"/>
                  </a:lnTo>
                  <a:lnTo>
                    <a:pt x="599" y="538"/>
                  </a:lnTo>
                  <a:lnTo>
                    <a:pt x="601" y="538"/>
                  </a:lnTo>
                  <a:lnTo>
                    <a:pt x="601" y="542"/>
                  </a:lnTo>
                  <a:lnTo>
                    <a:pt x="602" y="542"/>
                  </a:lnTo>
                  <a:lnTo>
                    <a:pt x="604" y="538"/>
                  </a:lnTo>
                  <a:lnTo>
                    <a:pt x="606" y="538"/>
                  </a:lnTo>
                  <a:lnTo>
                    <a:pt x="610" y="534"/>
                  </a:lnTo>
                  <a:lnTo>
                    <a:pt x="610" y="529"/>
                  </a:lnTo>
                  <a:lnTo>
                    <a:pt x="612" y="529"/>
                  </a:lnTo>
                  <a:lnTo>
                    <a:pt x="612" y="529"/>
                  </a:lnTo>
                  <a:lnTo>
                    <a:pt x="610" y="533"/>
                  </a:lnTo>
                  <a:lnTo>
                    <a:pt x="612" y="534"/>
                  </a:lnTo>
                  <a:lnTo>
                    <a:pt x="619" y="534"/>
                  </a:lnTo>
                  <a:lnTo>
                    <a:pt x="623" y="529"/>
                  </a:lnTo>
                  <a:lnTo>
                    <a:pt x="627" y="529"/>
                  </a:lnTo>
                  <a:lnTo>
                    <a:pt x="629" y="529"/>
                  </a:lnTo>
                  <a:lnTo>
                    <a:pt x="631" y="529"/>
                  </a:lnTo>
                  <a:lnTo>
                    <a:pt x="631" y="523"/>
                  </a:lnTo>
                  <a:lnTo>
                    <a:pt x="634" y="519"/>
                  </a:lnTo>
                  <a:lnTo>
                    <a:pt x="636" y="519"/>
                  </a:lnTo>
                  <a:lnTo>
                    <a:pt x="634" y="525"/>
                  </a:lnTo>
                  <a:lnTo>
                    <a:pt x="634" y="529"/>
                  </a:lnTo>
                  <a:lnTo>
                    <a:pt x="634" y="527"/>
                  </a:lnTo>
                  <a:lnTo>
                    <a:pt x="640" y="521"/>
                  </a:lnTo>
                  <a:lnTo>
                    <a:pt x="644" y="514"/>
                  </a:lnTo>
                  <a:lnTo>
                    <a:pt x="644" y="514"/>
                  </a:lnTo>
                  <a:lnTo>
                    <a:pt x="644" y="518"/>
                  </a:lnTo>
                  <a:lnTo>
                    <a:pt x="644" y="521"/>
                  </a:lnTo>
                  <a:lnTo>
                    <a:pt x="644" y="521"/>
                  </a:lnTo>
                  <a:lnTo>
                    <a:pt x="646" y="518"/>
                  </a:lnTo>
                  <a:lnTo>
                    <a:pt x="648" y="519"/>
                  </a:lnTo>
                  <a:lnTo>
                    <a:pt x="648" y="521"/>
                  </a:lnTo>
                  <a:lnTo>
                    <a:pt x="651" y="523"/>
                  </a:lnTo>
                  <a:lnTo>
                    <a:pt x="653" y="525"/>
                  </a:lnTo>
                  <a:lnTo>
                    <a:pt x="655" y="521"/>
                  </a:lnTo>
                  <a:lnTo>
                    <a:pt x="659" y="518"/>
                  </a:lnTo>
                  <a:lnTo>
                    <a:pt x="661" y="518"/>
                  </a:lnTo>
                  <a:lnTo>
                    <a:pt x="665" y="514"/>
                  </a:lnTo>
                  <a:lnTo>
                    <a:pt x="665" y="514"/>
                  </a:lnTo>
                  <a:lnTo>
                    <a:pt x="665" y="508"/>
                  </a:lnTo>
                  <a:lnTo>
                    <a:pt x="670" y="508"/>
                  </a:lnTo>
                  <a:lnTo>
                    <a:pt x="672" y="504"/>
                  </a:lnTo>
                  <a:lnTo>
                    <a:pt x="672" y="502"/>
                  </a:lnTo>
                  <a:lnTo>
                    <a:pt x="668" y="502"/>
                  </a:lnTo>
                  <a:lnTo>
                    <a:pt x="668" y="501"/>
                  </a:lnTo>
                  <a:lnTo>
                    <a:pt x="665" y="501"/>
                  </a:lnTo>
                  <a:lnTo>
                    <a:pt x="665" y="497"/>
                  </a:lnTo>
                  <a:lnTo>
                    <a:pt x="668" y="497"/>
                  </a:lnTo>
                  <a:lnTo>
                    <a:pt x="670" y="499"/>
                  </a:lnTo>
                  <a:lnTo>
                    <a:pt x="672" y="497"/>
                  </a:lnTo>
                  <a:lnTo>
                    <a:pt x="672" y="493"/>
                  </a:lnTo>
                  <a:lnTo>
                    <a:pt x="668" y="495"/>
                  </a:lnTo>
                  <a:lnTo>
                    <a:pt x="665" y="491"/>
                  </a:lnTo>
                  <a:lnTo>
                    <a:pt x="665" y="487"/>
                  </a:lnTo>
                  <a:lnTo>
                    <a:pt x="668" y="487"/>
                  </a:lnTo>
                  <a:lnTo>
                    <a:pt x="672" y="487"/>
                  </a:lnTo>
                  <a:lnTo>
                    <a:pt x="674" y="487"/>
                  </a:lnTo>
                  <a:lnTo>
                    <a:pt x="674" y="485"/>
                  </a:lnTo>
                  <a:lnTo>
                    <a:pt x="672" y="482"/>
                  </a:lnTo>
                  <a:lnTo>
                    <a:pt x="678" y="478"/>
                  </a:lnTo>
                  <a:lnTo>
                    <a:pt x="682" y="482"/>
                  </a:lnTo>
                  <a:lnTo>
                    <a:pt x="685" y="480"/>
                  </a:lnTo>
                  <a:lnTo>
                    <a:pt x="689" y="480"/>
                  </a:lnTo>
                  <a:lnTo>
                    <a:pt x="683" y="485"/>
                  </a:lnTo>
                  <a:lnTo>
                    <a:pt x="683" y="489"/>
                  </a:lnTo>
                  <a:lnTo>
                    <a:pt x="683" y="495"/>
                  </a:lnTo>
                  <a:lnTo>
                    <a:pt x="685" y="495"/>
                  </a:lnTo>
                  <a:lnTo>
                    <a:pt x="689" y="487"/>
                  </a:lnTo>
                  <a:lnTo>
                    <a:pt x="689" y="485"/>
                  </a:lnTo>
                  <a:lnTo>
                    <a:pt x="693" y="485"/>
                  </a:lnTo>
                  <a:lnTo>
                    <a:pt x="693" y="487"/>
                  </a:lnTo>
                  <a:lnTo>
                    <a:pt x="689" y="491"/>
                  </a:lnTo>
                  <a:lnTo>
                    <a:pt x="689" y="493"/>
                  </a:lnTo>
                  <a:lnTo>
                    <a:pt x="693" y="489"/>
                  </a:lnTo>
                  <a:lnTo>
                    <a:pt x="695" y="487"/>
                  </a:lnTo>
                  <a:lnTo>
                    <a:pt x="697" y="489"/>
                  </a:lnTo>
                  <a:lnTo>
                    <a:pt x="702" y="487"/>
                  </a:lnTo>
                  <a:lnTo>
                    <a:pt x="702" y="487"/>
                  </a:lnTo>
                  <a:lnTo>
                    <a:pt x="706" y="484"/>
                  </a:lnTo>
                  <a:lnTo>
                    <a:pt x="712" y="484"/>
                  </a:lnTo>
                  <a:lnTo>
                    <a:pt x="714" y="484"/>
                  </a:lnTo>
                  <a:lnTo>
                    <a:pt x="714" y="485"/>
                  </a:lnTo>
                  <a:lnTo>
                    <a:pt x="710" y="485"/>
                  </a:lnTo>
                  <a:lnTo>
                    <a:pt x="706" y="491"/>
                  </a:lnTo>
                  <a:lnTo>
                    <a:pt x="702" y="491"/>
                  </a:lnTo>
                  <a:lnTo>
                    <a:pt x="700" y="493"/>
                  </a:lnTo>
                  <a:lnTo>
                    <a:pt x="702" y="495"/>
                  </a:lnTo>
                  <a:lnTo>
                    <a:pt x="710" y="497"/>
                  </a:lnTo>
                  <a:lnTo>
                    <a:pt x="712" y="499"/>
                  </a:lnTo>
                  <a:lnTo>
                    <a:pt x="712" y="501"/>
                  </a:lnTo>
                  <a:lnTo>
                    <a:pt x="708" y="497"/>
                  </a:lnTo>
                  <a:lnTo>
                    <a:pt x="702" y="497"/>
                  </a:lnTo>
                  <a:lnTo>
                    <a:pt x="698" y="499"/>
                  </a:lnTo>
                  <a:lnTo>
                    <a:pt x="698" y="502"/>
                  </a:lnTo>
                  <a:lnTo>
                    <a:pt x="702" y="502"/>
                  </a:lnTo>
                  <a:lnTo>
                    <a:pt x="704" y="501"/>
                  </a:lnTo>
                  <a:lnTo>
                    <a:pt x="708" y="502"/>
                  </a:lnTo>
                  <a:lnTo>
                    <a:pt x="706" y="504"/>
                  </a:lnTo>
                  <a:lnTo>
                    <a:pt x="702" y="504"/>
                  </a:lnTo>
                  <a:lnTo>
                    <a:pt x="702" y="508"/>
                  </a:lnTo>
                  <a:lnTo>
                    <a:pt x="708" y="508"/>
                  </a:lnTo>
                  <a:lnTo>
                    <a:pt x="710" y="512"/>
                  </a:lnTo>
                  <a:lnTo>
                    <a:pt x="706" y="512"/>
                  </a:lnTo>
                  <a:lnTo>
                    <a:pt x="704" y="512"/>
                  </a:lnTo>
                  <a:lnTo>
                    <a:pt x="704" y="514"/>
                  </a:lnTo>
                  <a:lnTo>
                    <a:pt x="708" y="514"/>
                  </a:lnTo>
                  <a:lnTo>
                    <a:pt x="712" y="512"/>
                  </a:lnTo>
                  <a:lnTo>
                    <a:pt x="714" y="518"/>
                  </a:lnTo>
                  <a:lnTo>
                    <a:pt x="719" y="518"/>
                  </a:lnTo>
                  <a:lnTo>
                    <a:pt x="723" y="514"/>
                  </a:lnTo>
                  <a:lnTo>
                    <a:pt x="723" y="518"/>
                  </a:lnTo>
                  <a:lnTo>
                    <a:pt x="723" y="519"/>
                  </a:lnTo>
                  <a:lnTo>
                    <a:pt x="723" y="519"/>
                  </a:lnTo>
                  <a:lnTo>
                    <a:pt x="723" y="523"/>
                  </a:lnTo>
                  <a:lnTo>
                    <a:pt x="723" y="523"/>
                  </a:lnTo>
                  <a:lnTo>
                    <a:pt x="725" y="525"/>
                  </a:lnTo>
                  <a:lnTo>
                    <a:pt x="727" y="527"/>
                  </a:lnTo>
                  <a:lnTo>
                    <a:pt x="730" y="523"/>
                  </a:lnTo>
                  <a:lnTo>
                    <a:pt x="729" y="521"/>
                  </a:lnTo>
                  <a:lnTo>
                    <a:pt x="730" y="519"/>
                  </a:lnTo>
                  <a:lnTo>
                    <a:pt x="734" y="519"/>
                  </a:lnTo>
                  <a:lnTo>
                    <a:pt x="732" y="523"/>
                  </a:lnTo>
                  <a:lnTo>
                    <a:pt x="732" y="525"/>
                  </a:lnTo>
                  <a:lnTo>
                    <a:pt x="727" y="529"/>
                  </a:lnTo>
                  <a:lnTo>
                    <a:pt x="730" y="534"/>
                  </a:lnTo>
                  <a:lnTo>
                    <a:pt x="729" y="534"/>
                  </a:lnTo>
                  <a:lnTo>
                    <a:pt x="727" y="534"/>
                  </a:lnTo>
                  <a:lnTo>
                    <a:pt x="725" y="534"/>
                  </a:lnTo>
                  <a:lnTo>
                    <a:pt x="727" y="538"/>
                  </a:lnTo>
                  <a:lnTo>
                    <a:pt x="736" y="538"/>
                  </a:lnTo>
                  <a:lnTo>
                    <a:pt x="738" y="538"/>
                  </a:lnTo>
                  <a:lnTo>
                    <a:pt x="742" y="538"/>
                  </a:lnTo>
                  <a:lnTo>
                    <a:pt x="744" y="538"/>
                  </a:lnTo>
                  <a:lnTo>
                    <a:pt x="747" y="538"/>
                  </a:lnTo>
                  <a:lnTo>
                    <a:pt x="753" y="538"/>
                  </a:lnTo>
                  <a:lnTo>
                    <a:pt x="755" y="538"/>
                  </a:lnTo>
                  <a:lnTo>
                    <a:pt x="755" y="542"/>
                  </a:lnTo>
                  <a:lnTo>
                    <a:pt x="757" y="542"/>
                  </a:lnTo>
                  <a:lnTo>
                    <a:pt x="759" y="544"/>
                  </a:lnTo>
                  <a:lnTo>
                    <a:pt x="762" y="546"/>
                  </a:lnTo>
                  <a:lnTo>
                    <a:pt x="762" y="548"/>
                  </a:lnTo>
                  <a:lnTo>
                    <a:pt x="766" y="548"/>
                  </a:lnTo>
                  <a:lnTo>
                    <a:pt x="772" y="546"/>
                  </a:lnTo>
                  <a:lnTo>
                    <a:pt x="772" y="544"/>
                  </a:lnTo>
                  <a:lnTo>
                    <a:pt x="774" y="544"/>
                  </a:lnTo>
                  <a:lnTo>
                    <a:pt x="774" y="548"/>
                  </a:lnTo>
                  <a:lnTo>
                    <a:pt x="772" y="550"/>
                  </a:lnTo>
                  <a:lnTo>
                    <a:pt x="768" y="551"/>
                  </a:lnTo>
                  <a:lnTo>
                    <a:pt x="768" y="553"/>
                  </a:lnTo>
                  <a:lnTo>
                    <a:pt x="772" y="553"/>
                  </a:lnTo>
                  <a:lnTo>
                    <a:pt x="774" y="557"/>
                  </a:lnTo>
                  <a:lnTo>
                    <a:pt x="776" y="561"/>
                  </a:lnTo>
                  <a:lnTo>
                    <a:pt x="781" y="563"/>
                  </a:lnTo>
                  <a:lnTo>
                    <a:pt x="789" y="561"/>
                  </a:lnTo>
                  <a:lnTo>
                    <a:pt x="793" y="559"/>
                  </a:lnTo>
                  <a:lnTo>
                    <a:pt x="793" y="561"/>
                  </a:lnTo>
                  <a:lnTo>
                    <a:pt x="796" y="557"/>
                  </a:lnTo>
                  <a:lnTo>
                    <a:pt x="798" y="555"/>
                  </a:lnTo>
                  <a:lnTo>
                    <a:pt x="802" y="555"/>
                  </a:lnTo>
                  <a:lnTo>
                    <a:pt x="802" y="557"/>
                  </a:lnTo>
                  <a:lnTo>
                    <a:pt x="798" y="559"/>
                  </a:lnTo>
                  <a:lnTo>
                    <a:pt x="796" y="566"/>
                  </a:lnTo>
                  <a:lnTo>
                    <a:pt x="793" y="568"/>
                  </a:lnTo>
                  <a:lnTo>
                    <a:pt x="793" y="568"/>
                  </a:lnTo>
                  <a:lnTo>
                    <a:pt x="789" y="568"/>
                  </a:lnTo>
                  <a:lnTo>
                    <a:pt x="787" y="568"/>
                  </a:lnTo>
                  <a:lnTo>
                    <a:pt x="789" y="572"/>
                  </a:lnTo>
                  <a:lnTo>
                    <a:pt x="791" y="576"/>
                  </a:lnTo>
                  <a:lnTo>
                    <a:pt x="793" y="578"/>
                  </a:lnTo>
                  <a:lnTo>
                    <a:pt x="796" y="576"/>
                  </a:lnTo>
                  <a:lnTo>
                    <a:pt x="798" y="578"/>
                  </a:lnTo>
                  <a:lnTo>
                    <a:pt x="798" y="580"/>
                  </a:lnTo>
                  <a:lnTo>
                    <a:pt x="793" y="580"/>
                  </a:lnTo>
                  <a:lnTo>
                    <a:pt x="793" y="582"/>
                  </a:lnTo>
                  <a:lnTo>
                    <a:pt x="798" y="587"/>
                  </a:lnTo>
                  <a:lnTo>
                    <a:pt x="802" y="587"/>
                  </a:lnTo>
                  <a:lnTo>
                    <a:pt x="806" y="587"/>
                  </a:lnTo>
                  <a:lnTo>
                    <a:pt x="808" y="583"/>
                  </a:lnTo>
                  <a:lnTo>
                    <a:pt x="811" y="574"/>
                  </a:lnTo>
                  <a:lnTo>
                    <a:pt x="810" y="582"/>
                  </a:lnTo>
                  <a:lnTo>
                    <a:pt x="810" y="585"/>
                  </a:lnTo>
                  <a:lnTo>
                    <a:pt x="808" y="589"/>
                  </a:lnTo>
                  <a:lnTo>
                    <a:pt x="806" y="589"/>
                  </a:lnTo>
                  <a:lnTo>
                    <a:pt x="806" y="593"/>
                  </a:lnTo>
                  <a:lnTo>
                    <a:pt x="806" y="593"/>
                  </a:lnTo>
                  <a:lnTo>
                    <a:pt x="808" y="597"/>
                  </a:lnTo>
                  <a:lnTo>
                    <a:pt x="806" y="599"/>
                  </a:lnTo>
                  <a:lnTo>
                    <a:pt x="806" y="606"/>
                  </a:lnTo>
                  <a:lnTo>
                    <a:pt x="808" y="608"/>
                  </a:lnTo>
                  <a:lnTo>
                    <a:pt x="810" y="608"/>
                  </a:lnTo>
                  <a:lnTo>
                    <a:pt x="810" y="612"/>
                  </a:lnTo>
                  <a:lnTo>
                    <a:pt x="811" y="615"/>
                  </a:lnTo>
                  <a:lnTo>
                    <a:pt x="817" y="621"/>
                  </a:lnTo>
                  <a:lnTo>
                    <a:pt x="819" y="623"/>
                  </a:lnTo>
                  <a:lnTo>
                    <a:pt x="819" y="623"/>
                  </a:lnTo>
                  <a:lnTo>
                    <a:pt x="821" y="623"/>
                  </a:lnTo>
                  <a:lnTo>
                    <a:pt x="823" y="627"/>
                  </a:lnTo>
                  <a:lnTo>
                    <a:pt x="826" y="623"/>
                  </a:lnTo>
                  <a:lnTo>
                    <a:pt x="823" y="623"/>
                  </a:lnTo>
                  <a:lnTo>
                    <a:pt x="826" y="621"/>
                  </a:lnTo>
                  <a:lnTo>
                    <a:pt x="826" y="623"/>
                  </a:lnTo>
                  <a:lnTo>
                    <a:pt x="830" y="623"/>
                  </a:lnTo>
                  <a:lnTo>
                    <a:pt x="830" y="621"/>
                  </a:lnTo>
                  <a:lnTo>
                    <a:pt x="826" y="615"/>
                  </a:lnTo>
                  <a:lnTo>
                    <a:pt x="826" y="615"/>
                  </a:lnTo>
                  <a:lnTo>
                    <a:pt x="823" y="615"/>
                  </a:lnTo>
                  <a:lnTo>
                    <a:pt x="823" y="615"/>
                  </a:lnTo>
                  <a:lnTo>
                    <a:pt x="826" y="612"/>
                  </a:lnTo>
                  <a:lnTo>
                    <a:pt x="826" y="610"/>
                  </a:lnTo>
                  <a:lnTo>
                    <a:pt x="823" y="606"/>
                  </a:lnTo>
                  <a:lnTo>
                    <a:pt x="823" y="606"/>
                  </a:lnTo>
                  <a:lnTo>
                    <a:pt x="823" y="602"/>
                  </a:lnTo>
                  <a:lnTo>
                    <a:pt x="823" y="602"/>
                  </a:lnTo>
                  <a:lnTo>
                    <a:pt x="823" y="599"/>
                  </a:lnTo>
                  <a:lnTo>
                    <a:pt x="826" y="599"/>
                  </a:lnTo>
                  <a:lnTo>
                    <a:pt x="826" y="602"/>
                  </a:lnTo>
                  <a:lnTo>
                    <a:pt x="826" y="606"/>
                  </a:lnTo>
                  <a:lnTo>
                    <a:pt x="830" y="602"/>
                  </a:lnTo>
                  <a:lnTo>
                    <a:pt x="830" y="602"/>
                  </a:lnTo>
                  <a:lnTo>
                    <a:pt x="832" y="606"/>
                  </a:lnTo>
                  <a:lnTo>
                    <a:pt x="830" y="608"/>
                  </a:lnTo>
                  <a:lnTo>
                    <a:pt x="830" y="612"/>
                  </a:lnTo>
                  <a:lnTo>
                    <a:pt x="832" y="612"/>
                  </a:lnTo>
                  <a:lnTo>
                    <a:pt x="836" y="610"/>
                  </a:lnTo>
                  <a:lnTo>
                    <a:pt x="838" y="608"/>
                  </a:lnTo>
                  <a:lnTo>
                    <a:pt x="836" y="612"/>
                  </a:lnTo>
                  <a:lnTo>
                    <a:pt x="834" y="614"/>
                  </a:lnTo>
                  <a:lnTo>
                    <a:pt x="834" y="617"/>
                  </a:lnTo>
                  <a:lnTo>
                    <a:pt x="836" y="621"/>
                  </a:lnTo>
                  <a:lnTo>
                    <a:pt x="834" y="623"/>
                  </a:lnTo>
                  <a:lnTo>
                    <a:pt x="834" y="627"/>
                  </a:lnTo>
                  <a:lnTo>
                    <a:pt x="840" y="627"/>
                  </a:lnTo>
                  <a:lnTo>
                    <a:pt x="840" y="627"/>
                  </a:lnTo>
                  <a:lnTo>
                    <a:pt x="842" y="623"/>
                  </a:lnTo>
                  <a:lnTo>
                    <a:pt x="842" y="627"/>
                  </a:lnTo>
                  <a:lnTo>
                    <a:pt x="842" y="627"/>
                  </a:lnTo>
                  <a:lnTo>
                    <a:pt x="842" y="632"/>
                  </a:lnTo>
                  <a:lnTo>
                    <a:pt x="845" y="632"/>
                  </a:lnTo>
                  <a:lnTo>
                    <a:pt x="847" y="627"/>
                  </a:lnTo>
                  <a:lnTo>
                    <a:pt x="849" y="623"/>
                  </a:lnTo>
                  <a:lnTo>
                    <a:pt x="849" y="619"/>
                  </a:lnTo>
                  <a:lnTo>
                    <a:pt x="851" y="610"/>
                  </a:lnTo>
                  <a:lnTo>
                    <a:pt x="851" y="602"/>
                  </a:lnTo>
                  <a:lnTo>
                    <a:pt x="851" y="597"/>
                  </a:lnTo>
                  <a:lnTo>
                    <a:pt x="851" y="589"/>
                  </a:lnTo>
                  <a:lnTo>
                    <a:pt x="851" y="587"/>
                  </a:lnTo>
                  <a:lnTo>
                    <a:pt x="851" y="587"/>
                  </a:lnTo>
                  <a:lnTo>
                    <a:pt x="851" y="587"/>
                  </a:lnTo>
                  <a:lnTo>
                    <a:pt x="855" y="593"/>
                  </a:lnTo>
                  <a:lnTo>
                    <a:pt x="855" y="593"/>
                  </a:lnTo>
                  <a:lnTo>
                    <a:pt x="857" y="587"/>
                  </a:lnTo>
                  <a:lnTo>
                    <a:pt x="860" y="585"/>
                  </a:lnTo>
                  <a:lnTo>
                    <a:pt x="860" y="591"/>
                  </a:lnTo>
                  <a:lnTo>
                    <a:pt x="857" y="597"/>
                  </a:lnTo>
                  <a:lnTo>
                    <a:pt x="860" y="602"/>
                  </a:lnTo>
                  <a:lnTo>
                    <a:pt x="855" y="608"/>
                  </a:lnTo>
                  <a:lnTo>
                    <a:pt x="855" y="614"/>
                  </a:lnTo>
                  <a:lnTo>
                    <a:pt x="855" y="615"/>
                  </a:lnTo>
                  <a:lnTo>
                    <a:pt x="855" y="617"/>
                  </a:lnTo>
                  <a:lnTo>
                    <a:pt x="855" y="623"/>
                  </a:lnTo>
                  <a:lnTo>
                    <a:pt x="855" y="627"/>
                  </a:lnTo>
                  <a:lnTo>
                    <a:pt x="855" y="631"/>
                  </a:lnTo>
                  <a:lnTo>
                    <a:pt x="857" y="632"/>
                  </a:lnTo>
                  <a:lnTo>
                    <a:pt x="860" y="636"/>
                  </a:lnTo>
                  <a:lnTo>
                    <a:pt x="860" y="636"/>
                  </a:lnTo>
                  <a:lnTo>
                    <a:pt x="860" y="640"/>
                  </a:lnTo>
                  <a:lnTo>
                    <a:pt x="862" y="644"/>
                  </a:lnTo>
                  <a:lnTo>
                    <a:pt x="864" y="642"/>
                  </a:lnTo>
                  <a:lnTo>
                    <a:pt x="866" y="644"/>
                  </a:lnTo>
                  <a:lnTo>
                    <a:pt x="870" y="642"/>
                  </a:lnTo>
                  <a:lnTo>
                    <a:pt x="875" y="642"/>
                  </a:lnTo>
                  <a:lnTo>
                    <a:pt x="875" y="642"/>
                  </a:lnTo>
                  <a:lnTo>
                    <a:pt x="870" y="646"/>
                  </a:lnTo>
                  <a:lnTo>
                    <a:pt x="868" y="647"/>
                  </a:lnTo>
                  <a:lnTo>
                    <a:pt x="868" y="647"/>
                  </a:lnTo>
                  <a:lnTo>
                    <a:pt x="870" y="651"/>
                  </a:lnTo>
                  <a:lnTo>
                    <a:pt x="868" y="651"/>
                  </a:lnTo>
                  <a:lnTo>
                    <a:pt x="866" y="651"/>
                  </a:lnTo>
                  <a:lnTo>
                    <a:pt x="866" y="655"/>
                  </a:lnTo>
                  <a:lnTo>
                    <a:pt x="868" y="657"/>
                  </a:lnTo>
                  <a:lnTo>
                    <a:pt x="868" y="663"/>
                  </a:lnTo>
                  <a:lnTo>
                    <a:pt x="866" y="663"/>
                  </a:lnTo>
                  <a:lnTo>
                    <a:pt x="864" y="661"/>
                  </a:lnTo>
                  <a:lnTo>
                    <a:pt x="862" y="657"/>
                  </a:lnTo>
                  <a:lnTo>
                    <a:pt x="862" y="657"/>
                  </a:lnTo>
                  <a:lnTo>
                    <a:pt x="862" y="663"/>
                  </a:lnTo>
                  <a:lnTo>
                    <a:pt x="860" y="663"/>
                  </a:lnTo>
                  <a:lnTo>
                    <a:pt x="860" y="666"/>
                  </a:lnTo>
                  <a:lnTo>
                    <a:pt x="862" y="668"/>
                  </a:lnTo>
                  <a:lnTo>
                    <a:pt x="860" y="670"/>
                  </a:lnTo>
                  <a:lnTo>
                    <a:pt x="860" y="670"/>
                  </a:lnTo>
                  <a:lnTo>
                    <a:pt x="857" y="674"/>
                  </a:lnTo>
                  <a:lnTo>
                    <a:pt x="857" y="676"/>
                  </a:lnTo>
                  <a:lnTo>
                    <a:pt x="860" y="676"/>
                  </a:lnTo>
                  <a:lnTo>
                    <a:pt x="860" y="676"/>
                  </a:lnTo>
                  <a:lnTo>
                    <a:pt x="862" y="680"/>
                  </a:lnTo>
                  <a:lnTo>
                    <a:pt x="864" y="681"/>
                  </a:lnTo>
                  <a:lnTo>
                    <a:pt x="866" y="681"/>
                  </a:lnTo>
                  <a:lnTo>
                    <a:pt x="870" y="683"/>
                  </a:lnTo>
                  <a:lnTo>
                    <a:pt x="870" y="683"/>
                  </a:lnTo>
                  <a:lnTo>
                    <a:pt x="866" y="683"/>
                  </a:lnTo>
                  <a:lnTo>
                    <a:pt x="864" y="685"/>
                  </a:lnTo>
                  <a:lnTo>
                    <a:pt x="866" y="687"/>
                  </a:lnTo>
                  <a:lnTo>
                    <a:pt x="868" y="687"/>
                  </a:lnTo>
                  <a:lnTo>
                    <a:pt x="870" y="691"/>
                  </a:lnTo>
                  <a:lnTo>
                    <a:pt x="874" y="693"/>
                  </a:lnTo>
                  <a:lnTo>
                    <a:pt x="875" y="693"/>
                  </a:lnTo>
                  <a:lnTo>
                    <a:pt x="872" y="696"/>
                  </a:lnTo>
                  <a:lnTo>
                    <a:pt x="870" y="696"/>
                  </a:lnTo>
                  <a:lnTo>
                    <a:pt x="868" y="696"/>
                  </a:lnTo>
                  <a:lnTo>
                    <a:pt x="868" y="702"/>
                  </a:lnTo>
                  <a:lnTo>
                    <a:pt x="872" y="708"/>
                  </a:lnTo>
                  <a:lnTo>
                    <a:pt x="874" y="710"/>
                  </a:lnTo>
                  <a:lnTo>
                    <a:pt x="879" y="710"/>
                  </a:lnTo>
                  <a:lnTo>
                    <a:pt x="881" y="710"/>
                  </a:lnTo>
                  <a:lnTo>
                    <a:pt x="875" y="712"/>
                  </a:lnTo>
                  <a:lnTo>
                    <a:pt x="872" y="712"/>
                  </a:lnTo>
                  <a:lnTo>
                    <a:pt x="870" y="712"/>
                  </a:lnTo>
                  <a:lnTo>
                    <a:pt x="868" y="717"/>
                  </a:lnTo>
                  <a:lnTo>
                    <a:pt x="862" y="721"/>
                  </a:lnTo>
                  <a:lnTo>
                    <a:pt x="857" y="725"/>
                  </a:lnTo>
                  <a:lnTo>
                    <a:pt x="857" y="730"/>
                  </a:lnTo>
                  <a:lnTo>
                    <a:pt x="860" y="732"/>
                  </a:lnTo>
                  <a:lnTo>
                    <a:pt x="862" y="730"/>
                  </a:lnTo>
                  <a:lnTo>
                    <a:pt x="866" y="725"/>
                  </a:lnTo>
                  <a:lnTo>
                    <a:pt x="866" y="725"/>
                  </a:lnTo>
                  <a:lnTo>
                    <a:pt x="868" y="721"/>
                  </a:lnTo>
                  <a:lnTo>
                    <a:pt x="874" y="717"/>
                  </a:lnTo>
                  <a:lnTo>
                    <a:pt x="874" y="721"/>
                  </a:lnTo>
                  <a:lnTo>
                    <a:pt x="875" y="717"/>
                  </a:lnTo>
                  <a:lnTo>
                    <a:pt x="881" y="717"/>
                  </a:lnTo>
                  <a:lnTo>
                    <a:pt x="879" y="721"/>
                  </a:lnTo>
                  <a:lnTo>
                    <a:pt x="879" y="725"/>
                  </a:lnTo>
                  <a:lnTo>
                    <a:pt x="881" y="725"/>
                  </a:lnTo>
                  <a:lnTo>
                    <a:pt x="881" y="725"/>
                  </a:lnTo>
                  <a:lnTo>
                    <a:pt x="879" y="730"/>
                  </a:lnTo>
                  <a:lnTo>
                    <a:pt x="879" y="730"/>
                  </a:lnTo>
                  <a:lnTo>
                    <a:pt x="881" y="734"/>
                  </a:lnTo>
                  <a:lnTo>
                    <a:pt x="875" y="738"/>
                  </a:lnTo>
                  <a:lnTo>
                    <a:pt x="875" y="742"/>
                  </a:lnTo>
                  <a:lnTo>
                    <a:pt x="875" y="742"/>
                  </a:lnTo>
                  <a:lnTo>
                    <a:pt x="879" y="745"/>
                  </a:lnTo>
                  <a:lnTo>
                    <a:pt x="875" y="745"/>
                  </a:lnTo>
                  <a:lnTo>
                    <a:pt x="872" y="745"/>
                  </a:lnTo>
                  <a:lnTo>
                    <a:pt x="870" y="747"/>
                  </a:lnTo>
                  <a:lnTo>
                    <a:pt x="870" y="749"/>
                  </a:lnTo>
                  <a:lnTo>
                    <a:pt x="872" y="749"/>
                  </a:lnTo>
                  <a:lnTo>
                    <a:pt x="874" y="749"/>
                  </a:lnTo>
                  <a:lnTo>
                    <a:pt x="875" y="749"/>
                  </a:lnTo>
                  <a:lnTo>
                    <a:pt x="879" y="751"/>
                  </a:lnTo>
                  <a:lnTo>
                    <a:pt x="875" y="751"/>
                  </a:lnTo>
                  <a:lnTo>
                    <a:pt x="874" y="751"/>
                  </a:lnTo>
                  <a:lnTo>
                    <a:pt x="870" y="751"/>
                  </a:lnTo>
                  <a:lnTo>
                    <a:pt x="868" y="755"/>
                  </a:lnTo>
                  <a:lnTo>
                    <a:pt x="868" y="757"/>
                  </a:lnTo>
                  <a:lnTo>
                    <a:pt x="870" y="761"/>
                  </a:lnTo>
                  <a:lnTo>
                    <a:pt x="872" y="761"/>
                  </a:lnTo>
                  <a:lnTo>
                    <a:pt x="874" y="757"/>
                  </a:lnTo>
                  <a:lnTo>
                    <a:pt x="875" y="757"/>
                  </a:lnTo>
                  <a:lnTo>
                    <a:pt x="879" y="757"/>
                  </a:lnTo>
                  <a:lnTo>
                    <a:pt x="881" y="751"/>
                  </a:lnTo>
                  <a:lnTo>
                    <a:pt x="887" y="745"/>
                  </a:lnTo>
                  <a:lnTo>
                    <a:pt x="887" y="738"/>
                  </a:lnTo>
                  <a:lnTo>
                    <a:pt x="892" y="730"/>
                  </a:lnTo>
                  <a:lnTo>
                    <a:pt x="894" y="727"/>
                  </a:lnTo>
                  <a:lnTo>
                    <a:pt x="894" y="727"/>
                  </a:lnTo>
                  <a:lnTo>
                    <a:pt x="894" y="727"/>
                  </a:lnTo>
                  <a:lnTo>
                    <a:pt x="894" y="727"/>
                  </a:lnTo>
                  <a:lnTo>
                    <a:pt x="894" y="727"/>
                  </a:lnTo>
                  <a:close/>
                  <a:moveTo>
                    <a:pt x="840" y="749"/>
                  </a:moveTo>
                  <a:lnTo>
                    <a:pt x="838" y="747"/>
                  </a:lnTo>
                  <a:lnTo>
                    <a:pt x="838" y="745"/>
                  </a:lnTo>
                  <a:lnTo>
                    <a:pt x="840" y="747"/>
                  </a:lnTo>
                  <a:lnTo>
                    <a:pt x="840" y="749"/>
                  </a:lnTo>
                  <a:lnTo>
                    <a:pt x="840" y="749"/>
                  </a:lnTo>
                  <a:lnTo>
                    <a:pt x="840" y="749"/>
                  </a:lnTo>
                  <a:lnTo>
                    <a:pt x="840" y="749"/>
                  </a:lnTo>
                  <a:close/>
                  <a:moveTo>
                    <a:pt x="860" y="755"/>
                  </a:moveTo>
                  <a:lnTo>
                    <a:pt x="862" y="751"/>
                  </a:lnTo>
                  <a:lnTo>
                    <a:pt x="864" y="755"/>
                  </a:lnTo>
                  <a:lnTo>
                    <a:pt x="862" y="757"/>
                  </a:lnTo>
                  <a:lnTo>
                    <a:pt x="860" y="755"/>
                  </a:lnTo>
                  <a:lnTo>
                    <a:pt x="860" y="755"/>
                  </a:lnTo>
                  <a:lnTo>
                    <a:pt x="860" y="755"/>
                  </a:lnTo>
                  <a:lnTo>
                    <a:pt x="860" y="755"/>
                  </a:lnTo>
                  <a:close/>
                  <a:moveTo>
                    <a:pt x="860" y="745"/>
                  </a:moveTo>
                  <a:lnTo>
                    <a:pt x="864" y="742"/>
                  </a:lnTo>
                  <a:lnTo>
                    <a:pt x="866" y="749"/>
                  </a:lnTo>
                  <a:lnTo>
                    <a:pt x="862" y="751"/>
                  </a:lnTo>
                  <a:lnTo>
                    <a:pt x="860" y="751"/>
                  </a:lnTo>
                  <a:lnTo>
                    <a:pt x="860" y="747"/>
                  </a:lnTo>
                  <a:lnTo>
                    <a:pt x="860" y="745"/>
                  </a:lnTo>
                  <a:lnTo>
                    <a:pt x="860" y="745"/>
                  </a:lnTo>
                  <a:lnTo>
                    <a:pt x="860" y="745"/>
                  </a:lnTo>
                  <a:lnTo>
                    <a:pt x="860" y="745"/>
                  </a:lnTo>
                  <a:close/>
                  <a:moveTo>
                    <a:pt x="860" y="736"/>
                  </a:moveTo>
                  <a:lnTo>
                    <a:pt x="862" y="742"/>
                  </a:lnTo>
                  <a:lnTo>
                    <a:pt x="860" y="742"/>
                  </a:lnTo>
                  <a:lnTo>
                    <a:pt x="860" y="740"/>
                  </a:lnTo>
                  <a:lnTo>
                    <a:pt x="860" y="738"/>
                  </a:lnTo>
                  <a:lnTo>
                    <a:pt x="860" y="736"/>
                  </a:lnTo>
                  <a:lnTo>
                    <a:pt x="860" y="736"/>
                  </a:lnTo>
                  <a:lnTo>
                    <a:pt x="860" y="736"/>
                  </a:lnTo>
                  <a:lnTo>
                    <a:pt x="860" y="736"/>
                  </a:lnTo>
                  <a:close/>
                  <a:moveTo>
                    <a:pt x="862" y="736"/>
                  </a:moveTo>
                  <a:lnTo>
                    <a:pt x="866" y="732"/>
                  </a:lnTo>
                  <a:lnTo>
                    <a:pt x="866" y="730"/>
                  </a:lnTo>
                  <a:lnTo>
                    <a:pt x="868" y="725"/>
                  </a:lnTo>
                  <a:lnTo>
                    <a:pt x="872" y="725"/>
                  </a:lnTo>
                  <a:lnTo>
                    <a:pt x="872" y="725"/>
                  </a:lnTo>
                  <a:lnTo>
                    <a:pt x="875" y="721"/>
                  </a:lnTo>
                  <a:lnTo>
                    <a:pt x="875" y="727"/>
                  </a:lnTo>
                  <a:lnTo>
                    <a:pt x="875" y="730"/>
                  </a:lnTo>
                  <a:lnTo>
                    <a:pt x="875" y="734"/>
                  </a:lnTo>
                  <a:lnTo>
                    <a:pt x="874" y="742"/>
                  </a:lnTo>
                  <a:lnTo>
                    <a:pt x="866" y="745"/>
                  </a:lnTo>
                  <a:lnTo>
                    <a:pt x="864" y="742"/>
                  </a:lnTo>
                  <a:lnTo>
                    <a:pt x="868" y="740"/>
                  </a:lnTo>
                  <a:lnTo>
                    <a:pt x="872" y="736"/>
                  </a:lnTo>
                  <a:lnTo>
                    <a:pt x="872" y="734"/>
                  </a:lnTo>
                  <a:lnTo>
                    <a:pt x="864" y="738"/>
                  </a:lnTo>
                  <a:lnTo>
                    <a:pt x="862" y="736"/>
                  </a:lnTo>
                  <a:lnTo>
                    <a:pt x="862" y="736"/>
                  </a:lnTo>
                  <a:lnTo>
                    <a:pt x="862" y="736"/>
                  </a:lnTo>
                  <a:lnTo>
                    <a:pt x="862" y="736"/>
                  </a:lnTo>
                  <a:close/>
                  <a:moveTo>
                    <a:pt x="830" y="749"/>
                  </a:moveTo>
                  <a:lnTo>
                    <a:pt x="832" y="747"/>
                  </a:lnTo>
                  <a:lnTo>
                    <a:pt x="834" y="749"/>
                  </a:lnTo>
                  <a:lnTo>
                    <a:pt x="834" y="751"/>
                  </a:lnTo>
                  <a:lnTo>
                    <a:pt x="836" y="755"/>
                  </a:lnTo>
                  <a:lnTo>
                    <a:pt x="834" y="761"/>
                  </a:lnTo>
                  <a:lnTo>
                    <a:pt x="832" y="761"/>
                  </a:lnTo>
                  <a:lnTo>
                    <a:pt x="832" y="755"/>
                  </a:lnTo>
                  <a:lnTo>
                    <a:pt x="830" y="751"/>
                  </a:lnTo>
                  <a:lnTo>
                    <a:pt x="830" y="749"/>
                  </a:lnTo>
                  <a:lnTo>
                    <a:pt x="830" y="749"/>
                  </a:lnTo>
                  <a:lnTo>
                    <a:pt x="830" y="749"/>
                  </a:lnTo>
                  <a:lnTo>
                    <a:pt x="830" y="749"/>
                  </a:lnTo>
                  <a:close/>
                  <a:moveTo>
                    <a:pt x="830" y="742"/>
                  </a:moveTo>
                  <a:lnTo>
                    <a:pt x="832" y="742"/>
                  </a:lnTo>
                  <a:lnTo>
                    <a:pt x="834" y="742"/>
                  </a:lnTo>
                  <a:lnTo>
                    <a:pt x="836" y="745"/>
                  </a:lnTo>
                  <a:lnTo>
                    <a:pt x="832" y="747"/>
                  </a:lnTo>
                  <a:lnTo>
                    <a:pt x="830" y="742"/>
                  </a:lnTo>
                  <a:lnTo>
                    <a:pt x="830" y="742"/>
                  </a:lnTo>
                  <a:lnTo>
                    <a:pt x="830" y="742"/>
                  </a:lnTo>
                  <a:lnTo>
                    <a:pt x="830" y="742"/>
                  </a:lnTo>
                  <a:close/>
                  <a:moveTo>
                    <a:pt x="830" y="740"/>
                  </a:moveTo>
                  <a:lnTo>
                    <a:pt x="832" y="736"/>
                  </a:lnTo>
                  <a:lnTo>
                    <a:pt x="832" y="740"/>
                  </a:lnTo>
                  <a:lnTo>
                    <a:pt x="830" y="740"/>
                  </a:lnTo>
                  <a:lnTo>
                    <a:pt x="830" y="740"/>
                  </a:lnTo>
                  <a:lnTo>
                    <a:pt x="830" y="740"/>
                  </a:lnTo>
                  <a:lnTo>
                    <a:pt x="830" y="740"/>
                  </a:lnTo>
                  <a:close/>
                  <a:moveTo>
                    <a:pt x="826" y="732"/>
                  </a:moveTo>
                  <a:lnTo>
                    <a:pt x="830" y="734"/>
                  </a:lnTo>
                  <a:lnTo>
                    <a:pt x="826" y="738"/>
                  </a:lnTo>
                  <a:lnTo>
                    <a:pt x="826" y="732"/>
                  </a:lnTo>
                  <a:lnTo>
                    <a:pt x="826" y="732"/>
                  </a:lnTo>
                  <a:lnTo>
                    <a:pt x="826" y="732"/>
                  </a:lnTo>
                  <a:lnTo>
                    <a:pt x="826" y="732"/>
                  </a:lnTo>
                  <a:close/>
                  <a:moveTo>
                    <a:pt x="826" y="717"/>
                  </a:moveTo>
                  <a:lnTo>
                    <a:pt x="823" y="713"/>
                  </a:lnTo>
                  <a:lnTo>
                    <a:pt x="826" y="715"/>
                  </a:lnTo>
                  <a:lnTo>
                    <a:pt x="826" y="717"/>
                  </a:lnTo>
                  <a:lnTo>
                    <a:pt x="826" y="717"/>
                  </a:lnTo>
                  <a:lnTo>
                    <a:pt x="826" y="717"/>
                  </a:lnTo>
                  <a:lnTo>
                    <a:pt x="826" y="717"/>
                  </a:lnTo>
                  <a:close/>
                  <a:moveTo>
                    <a:pt x="834" y="721"/>
                  </a:moveTo>
                  <a:lnTo>
                    <a:pt x="836" y="717"/>
                  </a:lnTo>
                  <a:lnTo>
                    <a:pt x="838" y="721"/>
                  </a:lnTo>
                  <a:lnTo>
                    <a:pt x="836" y="721"/>
                  </a:lnTo>
                  <a:lnTo>
                    <a:pt x="834" y="721"/>
                  </a:lnTo>
                  <a:lnTo>
                    <a:pt x="834" y="721"/>
                  </a:lnTo>
                  <a:lnTo>
                    <a:pt x="834" y="721"/>
                  </a:lnTo>
                  <a:lnTo>
                    <a:pt x="834" y="721"/>
                  </a:lnTo>
                  <a:close/>
                  <a:moveTo>
                    <a:pt x="836" y="715"/>
                  </a:moveTo>
                  <a:lnTo>
                    <a:pt x="838" y="712"/>
                  </a:lnTo>
                  <a:lnTo>
                    <a:pt x="842" y="710"/>
                  </a:lnTo>
                  <a:lnTo>
                    <a:pt x="843" y="712"/>
                  </a:lnTo>
                  <a:lnTo>
                    <a:pt x="842" y="713"/>
                  </a:lnTo>
                  <a:lnTo>
                    <a:pt x="840" y="713"/>
                  </a:lnTo>
                  <a:lnTo>
                    <a:pt x="838" y="715"/>
                  </a:lnTo>
                  <a:lnTo>
                    <a:pt x="836" y="715"/>
                  </a:lnTo>
                  <a:lnTo>
                    <a:pt x="836" y="715"/>
                  </a:lnTo>
                  <a:lnTo>
                    <a:pt x="836" y="715"/>
                  </a:lnTo>
                  <a:lnTo>
                    <a:pt x="836" y="715"/>
                  </a:lnTo>
                  <a:close/>
                  <a:moveTo>
                    <a:pt x="843" y="717"/>
                  </a:moveTo>
                  <a:lnTo>
                    <a:pt x="845" y="713"/>
                  </a:lnTo>
                  <a:lnTo>
                    <a:pt x="845" y="710"/>
                  </a:lnTo>
                  <a:lnTo>
                    <a:pt x="842" y="706"/>
                  </a:lnTo>
                  <a:lnTo>
                    <a:pt x="845" y="704"/>
                  </a:lnTo>
                  <a:lnTo>
                    <a:pt x="847" y="704"/>
                  </a:lnTo>
                  <a:lnTo>
                    <a:pt x="851" y="708"/>
                  </a:lnTo>
                  <a:lnTo>
                    <a:pt x="847" y="712"/>
                  </a:lnTo>
                  <a:lnTo>
                    <a:pt x="847" y="715"/>
                  </a:lnTo>
                  <a:lnTo>
                    <a:pt x="849" y="717"/>
                  </a:lnTo>
                  <a:lnTo>
                    <a:pt x="851" y="717"/>
                  </a:lnTo>
                  <a:lnTo>
                    <a:pt x="855" y="717"/>
                  </a:lnTo>
                  <a:lnTo>
                    <a:pt x="855" y="725"/>
                  </a:lnTo>
                  <a:lnTo>
                    <a:pt x="851" y="725"/>
                  </a:lnTo>
                  <a:lnTo>
                    <a:pt x="855" y="727"/>
                  </a:lnTo>
                  <a:lnTo>
                    <a:pt x="855" y="730"/>
                  </a:lnTo>
                  <a:lnTo>
                    <a:pt x="851" y="730"/>
                  </a:lnTo>
                  <a:lnTo>
                    <a:pt x="851" y="730"/>
                  </a:lnTo>
                  <a:lnTo>
                    <a:pt x="849" y="732"/>
                  </a:lnTo>
                  <a:lnTo>
                    <a:pt x="855" y="736"/>
                  </a:lnTo>
                  <a:lnTo>
                    <a:pt x="855" y="740"/>
                  </a:lnTo>
                  <a:lnTo>
                    <a:pt x="851" y="742"/>
                  </a:lnTo>
                  <a:lnTo>
                    <a:pt x="851" y="742"/>
                  </a:lnTo>
                  <a:lnTo>
                    <a:pt x="855" y="742"/>
                  </a:lnTo>
                  <a:lnTo>
                    <a:pt x="855" y="742"/>
                  </a:lnTo>
                  <a:lnTo>
                    <a:pt x="855" y="745"/>
                  </a:lnTo>
                  <a:lnTo>
                    <a:pt x="851" y="749"/>
                  </a:lnTo>
                  <a:lnTo>
                    <a:pt x="851" y="749"/>
                  </a:lnTo>
                  <a:lnTo>
                    <a:pt x="849" y="751"/>
                  </a:lnTo>
                  <a:lnTo>
                    <a:pt x="851" y="751"/>
                  </a:lnTo>
                  <a:lnTo>
                    <a:pt x="851" y="755"/>
                  </a:lnTo>
                  <a:lnTo>
                    <a:pt x="851" y="755"/>
                  </a:lnTo>
                  <a:lnTo>
                    <a:pt x="851" y="757"/>
                  </a:lnTo>
                  <a:lnTo>
                    <a:pt x="849" y="761"/>
                  </a:lnTo>
                  <a:lnTo>
                    <a:pt x="847" y="761"/>
                  </a:lnTo>
                  <a:lnTo>
                    <a:pt x="845" y="757"/>
                  </a:lnTo>
                  <a:lnTo>
                    <a:pt x="845" y="755"/>
                  </a:lnTo>
                  <a:lnTo>
                    <a:pt x="842" y="751"/>
                  </a:lnTo>
                  <a:lnTo>
                    <a:pt x="842" y="749"/>
                  </a:lnTo>
                  <a:lnTo>
                    <a:pt x="845" y="747"/>
                  </a:lnTo>
                  <a:lnTo>
                    <a:pt x="843" y="745"/>
                  </a:lnTo>
                  <a:lnTo>
                    <a:pt x="843" y="742"/>
                  </a:lnTo>
                  <a:lnTo>
                    <a:pt x="847" y="742"/>
                  </a:lnTo>
                  <a:lnTo>
                    <a:pt x="845" y="740"/>
                  </a:lnTo>
                  <a:lnTo>
                    <a:pt x="842" y="740"/>
                  </a:lnTo>
                  <a:lnTo>
                    <a:pt x="842" y="742"/>
                  </a:lnTo>
                  <a:lnTo>
                    <a:pt x="840" y="740"/>
                  </a:lnTo>
                  <a:lnTo>
                    <a:pt x="836" y="740"/>
                  </a:lnTo>
                  <a:lnTo>
                    <a:pt x="836" y="738"/>
                  </a:lnTo>
                  <a:lnTo>
                    <a:pt x="838" y="736"/>
                  </a:lnTo>
                  <a:lnTo>
                    <a:pt x="840" y="736"/>
                  </a:lnTo>
                  <a:lnTo>
                    <a:pt x="840" y="734"/>
                  </a:lnTo>
                  <a:lnTo>
                    <a:pt x="840" y="732"/>
                  </a:lnTo>
                  <a:lnTo>
                    <a:pt x="843" y="730"/>
                  </a:lnTo>
                  <a:lnTo>
                    <a:pt x="843" y="727"/>
                  </a:lnTo>
                  <a:lnTo>
                    <a:pt x="842" y="727"/>
                  </a:lnTo>
                  <a:lnTo>
                    <a:pt x="840" y="727"/>
                  </a:lnTo>
                  <a:lnTo>
                    <a:pt x="838" y="725"/>
                  </a:lnTo>
                  <a:lnTo>
                    <a:pt x="840" y="725"/>
                  </a:lnTo>
                  <a:lnTo>
                    <a:pt x="843" y="725"/>
                  </a:lnTo>
                  <a:lnTo>
                    <a:pt x="845" y="721"/>
                  </a:lnTo>
                  <a:lnTo>
                    <a:pt x="843" y="717"/>
                  </a:lnTo>
                  <a:lnTo>
                    <a:pt x="843" y="717"/>
                  </a:lnTo>
                  <a:lnTo>
                    <a:pt x="843" y="717"/>
                  </a:lnTo>
                  <a:lnTo>
                    <a:pt x="843" y="717"/>
                  </a:lnTo>
                  <a:close/>
                  <a:moveTo>
                    <a:pt x="866" y="715"/>
                  </a:moveTo>
                  <a:lnTo>
                    <a:pt x="864" y="712"/>
                  </a:lnTo>
                  <a:lnTo>
                    <a:pt x="866" y="710"/>
                  </a:lnTo>
                  <a:lnTo>
                    <a:pt x="866" y="706"/>
                  </a:lnTo>
                  <a:lnTo>
                    <a:pt x="868" y="708"/>
                  </a:lnTo>
                  <a:lnTo>
                    <a:pt x="868" y="712"/>
                  </a:lnTo>
                  <a:lnTo>
                    <a:pt x="866" y="715"/>
                  </a:lnTo>
                  <a:lnTo>
                    <a:pt x="866" y="715"/>
                  </a:lnTo>
                  <a:lnTo>
                    <a:pt x="866" y="715"/>
                  </a:lnTo>
                  <a:lnTo>
                    <a:pt x="866" y="715"/>
                  </a:lnTo>
                  <a:close/>
                  <a:moveTo>
                    <a:pt x="860" y="717"/>
                  </a:moveTo>
                  <a:lnTo>
                    <a:pt x="860" y="713"/>
                  </a:lnTo>
                  <a:lnTo>
                    <a:pt x="862" y="713"/>
                  </a:lnTo>
                  <a:lnTo>
                    <a:pt x="862" y="717"/>
                  </a:lnTo>
                  <a:lnTo>
                    <a:pt x="860" y="717"/>
                  </a:lnTo>
                  <a:lnTo>
                    <a:pt x="860" y="717"/>
                  </a:lnTo>
                  <a:lnTo>
                    <a:pt x="860" y="717"/>
                  </a:lnTo>
                  <a:lnTo>
                    <a:pt x="860" y="717"/>
                  </a:lnTo>
                  <a:lnTo>
                    <a:pt x="860" y="717"/>
                  </a:lnTo>
                  <a:close/>
                  <a:moveTo>
                    <a:pt x="855" y="715"/>
                  </a:moveTo>
                  <a:lnTo>
                    <a:pt x="857" y="712"/>
                  </a:lnTo>
                  <a:lnTo>
                    <a:pt x="862" y="708"/>
                  </a:lnTo>
                  <a:lnTo>
                    <a:pt x="862" y="710"/>
                  </a:lnTo>
                  <a:lnTo>
                    <a:pt x="860" y="712"/>
                  </a:lnTo>
                  <a:lnTo>
                    <a:pt x="860" y="715"/>
                  </a:lnTo>
                  <a:lnTo>
                    <a:pt x="855" y="715"/>
                  </a:lnTo>
                  <a:lnTo>
                    <a:pt x="855" y="715"/>
                  </a:lnTo>
                  <a:lnTo>
                    <a:pt x="855" y="715"/>
                  </a:lnTo>
                  <a:lnTo>
                    <a:pt x="855" y="715"/>
                  </a:lnTo>
                  <a:close/>
                  <a:moveTo>
                    <a:pt x="851" y="706"/>
                  </a:moveTo>
                  <a:lnTo>
                    <a:pt x="855" y="702"/>
                  </a:lnTo>
                  <a:lnTo>
                    <a:pt x="860" y="702"/>
                  </a:lnTo>
                  <a:lnTo>
                    <a:pt x="860" y="704"/>
                  </a:lnTo>
                  <a:lnTo>
                    <a:pt x="857" y="710"/>
                  </a:lnTo>
                  <a:lnTo>
                    <a:pt x="855" y="708"/>
                  </a:lnTo>
                  <a:lnTo>
                    <a:pt x="851" y="706"/>
                  </a:lnTo>
                  <a:lnTo>
                    <a:pt x="851" y="706"/>
                  </a:lnTo>
                  <a:lnTo>
                    <a:pt x="851" y="706"/>
                  </a:lnTo>
                  <a:lnTo>
                    <a:pt x="851" y="706"/>
                  </a:lnTo>
                  <a:close/>
                  <a:moveTo>
                    <a:pt x="857" y="696"/>
                  </a:moveTo>
                  <a:lnTo>
                    <a:pt x="860" y="691"/>
                  </a:lnTo>
                  <a:lnTo>
                    <a:pt x="864" y="691"/>
                  </a:lnTo>
                  <a:lnTo>
                    <a:pt x="866" y="696"/>
                  </a:lnTo>
                  <a:lnTo>
                    <a:pt x="862" y="700"/>
                  </a:lnTo>
                  <a:lnTo>
                    <a:pt x="860" y="700"/>
                  </a:lnTo>
                  <a:lnTo>
                    <a:pt x="857" y="700"/>
                  </a:lnTo>
                  <a:lnTo>
                    <a:pt x="857" y="696"/>
                  </a:lnTo>
                  <a:lnTo>
                    <a:pt x="857" y="696"/>
                  </a:lnTo>
                  <a:lnTo>
                    <a:pt x="857" y="696"/>
                  </a:lnTo>
                  <a:lnTo>
                    <a:pt x="857" y="696"/>
                  </a:lnTo>
                  <a:close/>
                  <a:moveTo>
                    <a:pt x="845" y="700"/>
                  </a:moveTo>
                  <a:lnTo>
                    <a:pt x="845" y="696"/>
                  </a:lnTo>
                  <a:lnTo>
                    <a:pt x="849" y="687"/>
                  </a:lnTo>
                  <a:lnTo>
                    <a:pt x="851" y="685"/>
                  </a:lnTo>
                  <a:lnTo>
                    <a:pt x="847" y="685"/>
                  </a:lnTo>
                  <a:lnTo>
                    <a:pt x="847" y="681"/>
                  </a:lnTo>
                  <a:lnTo>
                    <a:pt x="845" y="680"/>
                  </a:lnTo>
                  <a:lnTo>
                    <a:pt x="847" y="676"/>
                  </a:lnTo>
                  <a:lnTo>
                    <a:pt x="851" y="676"/>
                  </a:lnTo>
                  <a:lnTo>
                    <a:pt x="855" y="681"/>
                  </a:lnTo>
                  <a:lnTo>
                    <a:pt x="857" y="681"/>
                  </a:lnTo>
                  <a:lnTo>
                    <a:pt x="860" y="685"/>
                  </a:lnTo>
                  <a:lnTo>
                    <a:pt x="860" y="687"/>
                  </a:lnTo>
                  <a:lnTo>
                    <a:pt x="857" y="693"/>
                  </a:lnTo>
                  <a:lnTo>
                    <a:pt x="855" y="693"/>
                  </a:lnTo>
                  <a:lnTo>
                    <a:pt x="855" y="687"/>
                  </a:lnTo>
                  <a:lnTo>
                    <a:pt x="855" y="691"/>
                  </a:lnTo>
                  <a:lnTo>
                    <a:pt x="855" y="693"/>
                  </a:lnTo>
                  <a:lnTo>
                    <a:pt x="851" y="696"/>
                  </a:lnTo>
                  <a:lnTo>
                    <a:pt x="855" y="700"/>
                  </a:lnTo>
                  <a:lnTo>
                    <a:pt x="851" y="700"/>
                  </a:lnTo>
                  <a:lnTo>
                    <a:pt x="851" y="700"/>
                  </a:lnTo>
                  <a:lnTo>
                    <a:pt x="849" y="702"/>
                  </a:lnTo>
                  <a:lnTo>
                    <a:pt x="845" y="700"/>
                  </a:lnTo>
                  <a:lnTo>
                    <a:pt x="845" y="700"/>
                  </a:lnTo>
                  <a:lnTo>
                    <a:pt x="845" y="700"/>
                  </a:lnTo>
                  <a:lnTo>
                    <a:pt x="845" y="700"/>
                  </a:lnTo>
                  <a:close/>
                  <a:moveTo>
                    <a:pt x="836" y="696"/>
                  </a:moveTo>
                  <a:lnTo>
                    <a:pt x="832" y="693"/>
                  </a:lnTo>
                  <a:lnTo>
                    <a:pt x="836" y="691"/>
                  </a:lnTo>
                  <a:lnTo>
                    <a:pt x="834" y="687"/>
                  </a:lnTo>
                  <a:lnTo>
                    <a:pt x="834" y="685"/>
                  </a:lnTo>
                  <a:lnTo>
                    <a:pt x="836" y="683"/>
                  </a:lnTo>
                  <a:lnTo>
                    <a:pt x="840" y="683"/>
                  </a:lnTo>
                  <a:lnTo>
                    <a:pt x="840" y="680"/>
                  </a:lnTo>
                  <a:lnTo>
                    <a:pt x="840" y="680"/>
                  </a:lnTo>
                  <a:lnTo>
                    <a:pt x="843" y="685"/>
                  </a:lnTo>
                  <a:lnTo>
                    <a:pt x="842" y="687"/>
                  </a:lnTo>
                  <a:lnTo>
                    <a:pt x="843" y="691"/>
                  </a:lnTo>
                  <a:lnTo>
                    <a:pt x="845" y="687"/>
                  </a:lnTo>
                  <a:lnTo>
                    <a:pt x="845" y="691"/>
                  </a:lnTo>
                  <a:lnTo>
                    <a:pt x="843" y="696"/>
                  </a:lnTo>
                  <a:lnTo>
                    <a:pt x="838" y="702"/>
                  </a:lnTo>
                  <a:lnTo>
                    <a:pt x="838" y="706"/>
                  </a:lnTo>
                  <a:lnTo>
                    <a:pt x="836" y="708"/>
                  </a:lnTo>
                  <a:lnTo>
                    <a:pt x="832" y="710"/>
                  </a:lnTo>
                  <a:lnTo>
                    <a:pt x="832" y="706"/>
                  </a:lnTo>
                  <a:lnTo>
                    <a:pt x="832" y="704"/>
                  </a:lnTo>
                  <a:lnTo>
                    <a:pt x="830" y="712"/>
                  </a:lnTo>
                  <a:lnTo>
                    <a:pt x="830" y="710"/>
                  </a:lnTo>
                  <a:lnTo>
                    <a:pt x="830" y="706"/>
                  </a:lnTo>
                  <a:lnTo>
                    <a:pt x="830" y="702"/>
                  </a:lnTo>
                  <a:lnTo>
                    <a:pt x="830" y="700"/>
                  </a:lnTo>
                  <a:lnTo>
                    <a:pt x="832" y="700"/>
                  </a:lnTo>
                  <a:lnTo>
                    <a:pt x="834" y="700"/>
                  </a:lnTo>
                  <a:lnTo>
                    <a:pt x="836" y="700"/>
                  </a:lnTo>
                  <a:lnTo>
                    <a:pt x="836" y="696"/>
                  </a:lnTo>
                  <a:lnTo>
                    <a:pt x="836" y="696"/>
                  </a:lnTo>
                  <a:lnTo>
                    <a:pt x="836" y="696"/>
                  </a:lnTo>
                  <a:lnTo>
                    <a:pt x="836" y="696"/>
                  </a:lnTo>
                  <a:close/>
                  <a:moveTo>
                    <a:pt x="834" y="663"/>
                  </a:moveTo>
                  <a:lnTo>
                    <a:pt x="836" y="663"/>
                  </a:lnTo>
                  <a:lnTo>
                    <a:pt x="836" y="666"/>
                  </a:lnTo>
                  <a:lnTo>
                    <a:pt x="834" y="663"/>
                  </a:lnTo>
                  <a:lnTo>
                    <a:pt x="834" y="663"/>
                  </a:lnTo>
                  <a:lnTo>
                    <a:pt x="834" y="663"/>
                  </a:lnTo>
                  <a:lnTo>
                    <a:pt x="834" y="663"/>
                  </a:lnTo>
                  <a:close/>
                  <a:moveTo>
                    <a:pt x="826" y="666"/>
                  </a:moveTo>
                  <a:lnTo>
                    <a:pt x="826" y="663"/>
                  </a:lnTo>
                  <a:lnTo>
                    <a:pt x="830" y="663"/>
                  </a:lnTo>
                  <a:lnTo>
                    <a:pt x="830" y="663"/>
                  </a:lnTo>
                  <a:lnTo>
                    <a:pt x="832" y="666"/>
                  </a:lnTo>
                  <a:lnTo>
                    <a:pt x="832" y="674"/>
                  </a:lnTo>
                  <a:lnTo>
                    <a:pt x="832" y="680"/>
                  </a:lnTo>
                  <a:lnTo>
                    <a:pt x="830" y="681"/>
                  </a:lnTo>
                  <a:lnTo>
                    <a:pt x="830" y="687"/>
                  </a:lnTo>
                  <a:lnTo>
                    <a:pt x="826" y="691"/>
                  </a:lnTo>
                  <a:lnTo>
                    <a:pt x="826" y="696"/>
                  </a:lnTo>
                  <a:lnTo>
                    <a:pt x="826" y="700"/>
                  </a:lnTo>
                  <a:lnTo>
                    <a:pt x="826" y="702"/>
                  </a:lnTo>
                  <a:lnTo>
                    <a:pt x="823" y="702"/>
                  </a:lnTo>
                  <a:lnTo>
                    <a:pt x="823" y="700"/>
                  </a:lnTo>
                  <a:lnTo>
                    <a:pt x="823" y="696"/>
                  </a:lnTo>
                  <a:lnTo>
                    <a:pt x="823" y="696"/>
                  </a:lnTo>
                  <a:lnTo>
                    <a:pt x="821" y="691"/>
                  </a:lnTo>
                  <a:lnTo>
                    <a:pt x="823" y="687"/>
                  </a:lnTo>
                  <a:lnTo>
                    <a:pt x="823" y="687"/>
                  </a:lnTo>
                  <a:lnTo>
                    <a:pt x="826" y="687"/>
                  </a:lnTo>
                  <a:lnTo>
                    <a:pt x="826" y="685"/>
                  </a:lnTo>
                  <a:lnTo>
                    <a:pt x="823" y="687"/>
                  </a:lnTo>
                  <a:lnTo>
                    <a:pt x="823" y="687"/>
                  </a:lnTo>
                  <a:lnTo>
                    <a:pt x="823" y="683"/>
                  </a:lnTo>
                  <a:lnTo>
                    <a:pt x="823" y="683"/>
                  </a:lnTo>
                  <a:lnTo>
                    <a:pt x="823" y="681"/>
                  </a:lnTo>
                  <a:lnTo>
                    <a:pt x="821" y="680"/>
                  </a:lnTo>
                  <a:lnTo>
                    <a:pt x="821" y="678"/>
                  </a:lnTo>
                  <a:lnTo>
                    <a:pt x="823" y="678"/>
                  </a:lnTo>
                  <a:lnTo>
                    <a:pt x="826" y="676"/>
                  </a:lnTo>
                  <a:lnTo>
                    <a:pt x="826" y="672"/>
                  </a:lnTo>
                  <a:lnTo>
                    <a:pt x="826" y="668"/>
                  </a:lnTo>
                  <a:lnTo>
                    <a:pt x="826" y="666"/>
                  </a:lnTo>
                  <a:lnTo>
                    <a:pt x="826" y="666"/>
                  </a:lnTo>
                  <a:lnTo>
                    <a:pt x="826" y="666"/>
                  </a:lnTo>
                  <a:lnTo>
                    <a:pt x="826" y="666"/>
                  </a:lnTo>
                  <a:lnTo>
                    <a:pt x="826" y="666"/>
                  </a:lnTo>
                  <a:close/>
                  <a:moveTo>
                    <a:pt x="819" y="666"/>
                  </a:moveTo>
                  <a:lnTo>
                    <a:pt x="821" y="663"/>
                  </a:lnTo>
                  <a:lnTo>
                    <a:pt x="823" y="666"/>
                  </a:lnTo>
                  <a:lnTo>
                    <a:pt x="821" y="668"/>
                  </a:lnTo>
                  <a:lnTo>
                    <a:pt x="821" y="672"/>
                  </a:lnTo>
                  <a:lnTo>
                    <a:pt x="817" y="674"/>
                  </a:lnTo>
                  <a:lnTo>
                    <a:pt x="817" y="672"/>
                  </a:lnTo>
                  <a:lnTo>
                    <a:pt x="819" y="668"/>
                  </a:lnTo>
                  <a:lnTo>
                    <a:pt x="817" y="668"/>
                  </a:lnTo>
                  <a:lnTo>
                    <a:pt x="819" y="666"/>
                  </a:lnTo>
                  <a:lnTo>
                    <a:pt x="819" y="666"/>
                  </a:lnTo>
                  <a:lnTo>
                    <a:pt x="819" y="666"/>
                  </a:lnTo>
                  <a:lnTo>
                    <a:pt x="819" y="666"/>
                  </a:lnTo>
                  <a:close/>
                  <a:moveTo>
                    <a:pt x="836" y="674"/>
                  </a:moveTo>
                  <a:lnTo>
                    <a:pt x="838" y="670"/>
                  </a:lnTo>
                  <a:lnTo>
                    <a:pt x="838" y="666"/>
                  </a:lnTo>
                  <a:lnTo>
                    <a:pt x="840" y="663"/>
                  </a:lnTo>
                  <a:lnTo>
                    <a:pt x="845" y="663"/>
                  </a:lnTo>
                  <a:lnTo>
                    <a:pt x="843" y="663"/>
                  </a:lnTo>
                  <a:lnTo>
                    <a:pt x="845" y="661"/>
                  </a:lnTo>
                  <a:lnTo>
                    <a:pt x="842" y="657"/>
                  </a:lnTo>
                  <a:lnTo>
                    <a:pt x="843" y="651"/>
                  </a:lnTo>
                  <a:lnTo>
                    <a:pt x="847" y="646"/>
                  </a:lnTo>
                  <a:lnTo>
                    <a:pt x="847" y="636"/>
                  </a:lnTo>
                  <a:lnTo>
                    <a:pt x="849" y="631"/>
                  </a:lnTo>
                  <a:lnTo>
                    <a:pt x="851" y="632"/>
                  </a:lnTo>
                  <a:lnTo>
                    <a:pt x="851" y="636"/>
                  </a:lnTo>
                  <a:lnTo>
                    <a:pt x="855" y="638"/>
                  </a:lnTo>
                  <a:lnTo>
                    <a:pt x="857" y="642"/>
                  </a:lnTo>
                  <a:lnTo>
                    <a:pt x="860" y="655"/>
                  </a:lnTo>
                  <a:lnTo>
                    <a:pt x="855" y="661"/>
                  </a:lnTo>
                  <a:lnTo>
                    <a:pt x="855" y="661"/>
                  </a:lnTo>
                  <a:lnTo>
                    <a:pt x="855" y="651"/>
                  </a:lnTo>
                  <a:lnTo>
                    <a:pt x="855" y="644"/>
                  </a:lnTo>
                  <a:lnTo>
                    <a:pt x="855" y="647"/>
                  </a:lnTo>
                  <a:lnTo>
                    <a:pt x="851" y="661"/>
                  </a:lnTo>
                  <a:lnTo>
                    <a:pt x="851" y="663"/>
                  </a:lnTo>
                  <a:lnTo>
                    <a:pt x="851" y="666"/>
                  </a:lnTo>
                  <a:lnTo>
                    <a:pt x="851" y="666"/>
                  </a:lnTo>
                  <a:lnTo>
                    <a:pt x="847" y="666"/>
                  </a:lnTo>
                  <a:lnTo>
                    <a:pt x="845" y="670"/>
                  </a:lnTo>
                  <a:lnTo>
                    <a:pt x="840" y="674"/>
                  </a:lnTo>
                  <a:lnTo>
                    <a:pt x="838" y="676"/>
                  </a:lnTo>
                  <a:lnTo>
                    <a:pt x="836" y="674"/>
                  </a:lnTo>
                  <a:lnTo>
                    <a:pt x="836" y="674"/>
                  </a:lnTo>
                  <a:lnTo>
                    <a:pt x="836" y="674"/>
                  </a:lnTo>
                  <a:lnTo>
                    <a:pt x="836" y="674"/>
                  </a:lnTo>
                  <a:close/>
                  <a:moveTo>
                    <a:pt x="826" y="632"/>
                  </a:moveTo>
                  <a:lnTo>
                    <a:pt x="830" y="631"/>
                  </a:lnTo>
                  <a:lnTo>
                    <a:pt x="834" y="632"/>
                  </a:lnTo>
                  <a:lnTo>
                    <a:pt x="834" y="636"/>
                  </a:lnTo>
                  <a:lnTo>
                    <a:pt x="832" y="638"/>
                  </a:lnTo>
                  <a:lnTo>
                    <a:pt x="834" y="640"/>
                  </a:lnTo>
                  <a:lnTo>
                    <a:pt x="836" y="638"/>
                  </a:lnTo>
                  <a:lnTo>
                    <a:pt x="840" y="636"/>
                  </a:lnTo>
                  <a:lnTo>
                    <a:pt x="843" y="640"/>
                  </a:lnTo>
                  <a:lnTo>
                    <a:pt x="843" y="642"/>
                  </a:lnTo>
                  <a:lnTo>
                    <a:pt x="840" y="644"/>
                  </a:lnTo>
                  <a:lnTo>
                    <a:pt x="840" y="646"/>
                  </a:lnTo>
                  <a:lnTo>
                    <a:pt x="838" y="647"/>
                  </a:lnTo>
                  <a:lnTo>
                    <a:pt x="836" y="647"/>
                  </a:lnTo>
                  <a:lnTo>
                    <a:pt x="832" y="644"/>
                  </a:lnTo>
                  <a:lnTo>
                    <a:pt x="830" y="638"/>
                  </a:lnTo>
                  <a:lnTo>
                    <a:pt x="830" y="640"/>
                  </a:lnTo>
                  <a:lnTo>
                    <a:pt x="832" y="647"/>
                  </a:lnTo>
                  <a:lnTo>
                    <a:pt x="832" y="651"/>
                  </a:lnTo>
                  <a:lnTo>
                    <a:pt x="838" y="651"/>
                  </a:lnTo>
                  <a:lnTo>
                    <a:pt x="840" y="655"/>
                  </a:lnTo>
                  <a:lnTo>
                    <a:pt x="838" y="657"/>
                  </a:lnTo>
                  <a:lnTo>
                    <a:pt x="836" y="663"/>
                  </a:lnTo>
                  <a:lnTo>
                    <a:pt x="834" y="663"/>
                  </a:lnTo>
                  <a:lnTo>
                    <a:pt x="830" y="657"/>
                  </a:lnTo>
                  <a:lnTo>
                    <a:pt x="830" y="655"/>
                  </a:lnTo>
                  <a:lnTo>
                    <a:pt x="826" y="646"/>
                  </a:lnTo>
                  <a:lnTo>
                    <a:pt x="826" y="649"/>
                  </a:lnTo>
                  <a:lnTo>
                    <a:pt x="826" y="655"/>
                  </a:lnTo>
                  <a:lnTo>
                    <a:pt x="826" y="657"/>
                  </a:lnTo>
                  <a:lnTo>
                    <a:pt x="826" y="663"/>
                  </a:lnTo>
                  <a:lnTo>
                    <a:pt x="823" y="663"/>
                  </a:lnTo>
                  <a:lnTo>
                    <a:pt x="821" y="657"/>
                  </a:lnTo>
                  <a:lnTo>
                    <a:pt x="823" y="655"/>
                  </a:lnTo>
                  <a:lnTo>
                    <a:pt x="819" y="653"/>
                  </a:lnTo>
                  <a:lnTo>
                    <a:pt x="821" y="649"/>
                  </a:lnTo>
                  <a:lnTo>
                    <a:pt x="819" y="644"/>
                  </a:lnTo>
                  <a:lnTo>
                    <a:pt x="821" y="640"/>
                  </a:lnTo>
                  <a:lnTo>
                    <a:pt x="823" y="642"/>
                  </a:lnTo>
                  <a:lnTo>
                    <a:pt x="823" y="640"/>
                  </a:lnTo>
                  <a:lnTo>
                    <a:pt x="821" y="638"/>
                  </a:lnTo>
                  <a:lnTo>
                    <a:pt x="821" y="636"/>
                  </a:lnTo>
                  <a:lnTo>
                    <a:pt x="823" y="631"/>
                  </a:lnTo>
                  <a:lnTo>
                    <a:pt x="823" y="636"/>
                  </a:lnTo>
                  <a:lnTo>
                    <a:pt x="826" y="632"/>
                  </a:lnTo>
                  <a:lnTo>
                    <a:pt x="826" y="632"/>
                  </a:lnTo>
                  <a:lnTo>
                    <a:pt x="826" y="632"/>
                  </a:lnTo>
                  <a:lnTo>
                    <a:pt x="826" y="632"/>
                  </a:lnTo>
                  <a:lnTo>
                    <a:pt x="826" y="632"/>
                  </a:lnTo>
                  <a:close/>
                  <a:moveTo>
                    <a:pt x="826" y="627"/>
                  </a:moveTo>
                  <a:lnTo>
                    <a:pt x="830" y="623"/>
                  </a:lnTo>
                  <a:lnTo>
                    <a:pt x="832" y="627"/>
                  </a:lnTo>
                  <a:lnTo>
                    <a:pt x="830" y="627"/>
                  </a:lnTo>
                  <a:lnTo>
                    <a:pt x="826" y="627"/>
                  </a:lnTo>
                  <a:lnTo>
                    <a:pt x="826" y="627"/>
                  </a:lnTo>
                  <a:lnTo>
                    <a:pt x="826" y="627"/>
                  </a:lnTo>
                  <a:lnTo>
                    <a:pt x="826" y="627"/>
                  </a:lnTo>
                  <a:close/>
                  <a:moveTo>
                    <a:pt x="277" y="399"/>
                  </a:moveTo>
                  <a:lnTo>
                    <a:pt x="275" y="397"/>
                  </a:lnTo>
                  <a:lnTo>
                    <a:pt x="277" y="395"/>
                  </a:lnTo>
                  <a:lnTo>
                    <a:pt x="277" y="397"/>
                  </a:lnTo>
                  <a:lnTo>
                    <a:pt x="277" y="399"/>
                  </a:lnTo>
                  <a:lnTo>
                    <a:pt x="277" y="399"/>
                  </a:lnTo>
                  <a:lnTo>
                    <a:pt x="277" y="399"/>
                  </a:lnTo>
                  <a:lnTo>
                    <a:pt x="277" y="399"/>
                  </a:lnTo>
                  <a:close/>
                  <a:moveTo>
                    <a:pt x="277" y="401"/>
                  </a:moveTo>
                  <a:lnTo>
                    <a:pt x="277" y="403"/>
                  </a:lnTo>
                  <a:lnTo>
                    <a:pt x="277" y="406"/>
                  </a:lnTo>
                  <a:lnTo>
                    <a:pt x="282" y="410"/>
                  </a:lnTo>
                  <a:lnTo>
                    <a:pt x="282" y="414"/>
                  </a:lnTo>
                  <a:lnTo>
                    <a:pt x="275" y="408"/>
                  </a:lnTo>
                  <a:lnTo>
                    <a:pt x="275" y="405"/>
                  </a:lnTo>
                  <a:lnTo>
                    <a:pt x="273" y="403"/>
                  </a:lnTo>
                  <a:lnTo>
                    <a:pt x="273" y="403"/>
                  </a:lnTo>
                  <a:lnTo>
                    <a:pt x="277" y="401"/>
                  </a:lnTo>
                  <a:lnTo>
                    <a:pt x="277" y="401"/>
                  </a:lnTo>
                  <a:lnTo>
                    <a:pt x="277" y="401"/>
                  </a:lnTo>
                  <a:lnTo>
                    <a:pt x="277" y="401"/>
                  </a:lnTo>
                  <a:close/>
                  <a:moveTo>
                    <a:pt x="467" y="339"/>
                  </a:moveTo>
                  <a:lnTo>
                    <a:pt x="465" y="342"/>
                  </a:lnTo>
                  <a:lnTo>
                    <a:pt x="465" y="350"/>
                  </a:lnTo>
                  <a:lnTo>
                    <a:pt x="461" y="350"/>
                  </a:lnTo>
                  <a:lnTo>
                    <a:pt x="461" y="346"/>
                  </a:lnTo>
                  <a:lnTo>
                    <a:pt x="459" y="344"/>
                  </a:lnTo>
                  <a:lnTo>
                    <a:pt x="454" y="346"/>
                  </a:lnTo>
                  <a:lnTo>
                    <a:pt x="450" y="344"/>
                  </a:lnTo>
                  <a:lnTo>
                    <a:pt x="450" y="342"/>
                  </a:lnTo>
                  <a:lnTo>
                    <a:pt x="461" y="331"/>
                  </a:lnTo>
                  <a:lnTo>
                    <a:pt x="465" y="329"/>
                  </a:lnTo>
                  <a:lnTo>
                    <a:pt x="467" y="329"/>
                  </a:lnTo>
                  <a:lnTo>
                    <a:pt x="467" y="339"/>
                  </a:lnTo>
                  <a:lnTo>
                    <a:pt x="467" y="339"/>
                  </a:lnTo>
                  <a:lnTo>
                    <a:pt x="467" y="339"/>
                  </a:lnTo>
                  <a:lnTo>
                    <a:pt x="467" y="339"/>
                  </a:lnTo>
                  <a:close/>
                  <a:moveTo>
                    <a:pt x="469" y="339"/>
                  </a:moveTo>
                  <a:lnTo>
                    <a:pt x="469" y="339"/>
                  </a:lnTo>
                  <a:lnTo>
                    <a:pt x="473" y="335"/>
                  </a:lnTo>
                  <a:lnTo>
                    <a:pt x="473" y="333"/>
                  </a:lnTo>
                  <a:lnTo>
                    <a:pt x="469" y="331"/>
                  </a:lnTo>
                  <a:lnTo>
                    <a:pt x="469" y="329"/>
                  </a:lnTo>
                  <a:lnTo>
                    <a:pt x="467" y="325"/>
                  </a:lnTo>
                  <a:lnTo>
                    <a:pt x="469" y="325"/>
                  </a:lnTo>
                  <a:lnTo>
                    <a:pt x="476" y="324"/>
                  </a:lnTo>
                  <a:lnTo>
                    <a:pt x="484" y="329"/>
                  </a:lnTo>
                  <a:lnTo>
                    <a:pt x="484" y="329"/>
                  </a:lnTo>
                  <a:lnTo>
                    <a:pt x="482" y="331"/>
                  </a:lnTo>
                  <a:lnTo>
                    <a:pt x="473" y="339"/>
                  </a:lnTo>
                  <a:lnTo>
                    <a:pt x="469" y="339"/>
                  </a:lnTo>
                  <a:lnTo>
                    <a:pt x="469" y="339"/>
                  </a:lnTo>
                  <a:lnTo>
                    <a:pt x="469" y="339"/>
                  </a:lnTo>
                  <a:lnTo>
                    <a:pt x="469" y="339"/>
                  </a:lnTo>
                  <a:close/>
                  <a:moveTo>
                    <a:pt x="506" y="314"/>
                  </a:moveTo>
                  <a:lnTo>
                    <a:pt x="506" y="314"/>
                  </a:lnTo>
                  <a:lnTo>
                    <a:pt x="512" y="312"/>
                  </a:lnTo>
                  <a:lnTo>
                    <a:pt x="514" y="316"/>
                  </a:lnTo>
                  <a:lnTo>
                    <a:pt x="512" y="320"/>
                  </a:lnTo>
                  <a:lnTo>
                    <a:pt x="510" y="320"/>
                  </a:lnTo>
                  <a:lnTo>
                    <a:pt x="506" y="314"/>
                  </a:lnTo>
                  <a:lnTo>
                    <a:pt x="506" y="314"/>
                  </a:lnTo>
                  <a:lnTo>
                    <a:pt x="506" y="314"/>
                  </a:lnTo>
                  <a:lnTo>
                    <a:pt x="506" y="314"/>
                  </a:lnTo>
                  <a:close/>
                  <a:moveTo>
                    <a:pt x="693" y="493"/>
                  </a:moveTo>
                  <a:lnTo>
                    <a:pt x="695" y="491"/>
                  </a:lnTo>
                  <a:lnTo>
                    <a:pt x="697" y="493"/>
                  </a:lnTo>
                  <a:lnTo>
                    <a:pt x="695" y="495"/>
                  </a:lnTo>
                  <a:lnTo>
                    <a:pt x="693" y="493"/>
                  </a:lnTo>
                  <a:lnTo>
                    <a:pt x="693" y="493"/>
                  </a:lnTo>
                  <a:lnTo>
                    <a:pt x="693" y="493"/>
                  </a:lnTo>
                  <a:lnTo>
                    <a:pt x="693" y="493"/>
                  </a:lnTo>
                  <a:close/>
                  <a:moveTo>
                    <a:pt x="676" y="550"/>
                  </a:moveTo>
                  <a:lnTo>
                    <a:pt x="680" y="546"/>
                  </a:lnTo>
                  <a:lnTo>
                    <a:pt x="682" y="548"/>
                  </a:lnTo>
                  <a:lnTo>
                    <a:pt x="676" y="550"/>
                  </a:lnTo>
                  <a:lnTo>
                    <a:pt x="676" y="550"/>
                  </a:lnTo>
                  <a:lnTo>
                    <a:pt x="676" y="550"/>
                  </a:lnTo>
                  <a:lnTo>
                    <a:pt x="676" y="550"/>
                  </a:lnTo>
                  <a:close/>
                  <a:moveTo>
                    <a:pt x="717" y="538"/>
                  </a:moveTo>
                  <a:lnTo>
                    <a:pt x="719" y="538"/>
                  </a:lnTo>
                  <a:lnTo>
                    <a:pt x="723" y="538"/>
                  </a:lnTo>
                  <a:lnTo>
                    <a:pt x="719" y="542"/>
                  </a:lnTo>
                  <a:lnTo>
                    <a:pt x="717" y="542"/>
                  </a:lnTo>
                  <a:lnTo>
                    <a:pt x="717" y="538"/>
                  </a:lnTo>
                  <a:lnTo>
                    <a:pt x="717" y="538"/>
                  </a:lnTo>
                  <a:lnTo>
                    <a:pt x="717" y="538"/>
                  </a:lnTo>
                  <a:lnTo>
                    <a:pt x="717" y="538"/>
                  </a:lnTo>
                  <a:close/>
                  <a:moveTo>
                    <a:pt x="687" y="502"/>
                  </a:moveTo>
                  <a:lnTo>
                    <a:pt x="687" y="499"/>
                  </a:lnTo>
                  <a:lnTo>
                    <a:pt x="689" y="499"/>
                  </a:lnTo>
                  <a:lnTo>
                    <a:pt x="689" y="502"/>
                  </a:lnTo>
                  <a:lnTo>
                    <a:pt x="687" y="502"/>
                  </a:lnTo>
                  <a:lnTo>
                    <a:pt x="687" y="502"/>
                  </a:lnTo>
                  <a:lnTo>
                    <a:pt x="687" y="502"/>
                  </a:lnTo>
                  <a:lnTo>
                    <a:pt x="687" y="502"/>
                  </a:lnTo>
                  <a:close/>
                  <a:moveTo>
                    <a:pt x="693" y="518"/>
                  </a:moveTo>
                  <a:lnTo>
                    <a:pt x="693" y="512"/>
                  </a:lnTo>
                  <a:lnTo>
                    <a:pt x="693" y="508"/>
                  </a:lnTo>
                  <a:lnTo>
                    <a:pt x="695" y="508"/>
                  </a:lnTo>
                  <a:lnTo>
                    <a:pt x="695" y="512"/>
                  </a:lnTo>
                  <a:lnTo>
                    <a:pt x="698" y="512"/>
                  </a:lnTo>
                  <a:lnTo>
                    <a:pt x="698" y="518"/>
                  </a:lnTo>
                  <a:lnTo>
                    <a:pt x="697" y="518"/>
                  </a:lnTo>
                  <a:lnTo>
                    <a:pt x="693" y="518"/>
                  </a:lnTo>
                  <a:lnTo>
                    <a:pt x="693" y="518"/>
                  </a:lnTo>
                  <a:lnTo>
                    <a:pt x="693" y="518"/>
                  </a:lnTo>
                  <a:lnTo>
                    <a:pt x="693" y="518"/>
                  </a:lnTo>
                  <a:close/>
                  <a:moveTo>
                    <a:pt x="661" y="529"/>
                  </a:moveTo>
                  <a:lnTo>
                    <a:pt x="665" y="529"/>
                  </a:lnTo>
                  <a:lnTo>
                    <a:pt x="665" y="529"/>
                  </a:lnTo>
                  <a:lnTo>
                    <a:pt x="665" y="527"/>
                  </a:lnTo>
                  <a:lnTo>
                    <a:pt x="672" y="521"/>
                  </a:lnTo>
                  <a:lnTo>
                    <a:pt x="676" y="521"/>
                  </a:lnTo>
                  <a:lnTo>
                    <a:pt x="680" y="518"/>
                  </a:lnTo>
                  <a:lnTo>
                    <a:pt x="682" y="518"/>
                  </a:lnTo>
                  <a:lnTo>
                    <a:pt x="685" y="512"/>
                  </a:lnTo>
                  <a:lnTo>
                    <a:pt x="687" y="514"/>
                  </a:lnTo>
                  <a:lnTo>
                    <a:pt x="685" y="518"/>
                  </a:lnTo>
                  <a:lnTo>
                    <a:pt x="687" y="518"/>
                  </a:lnTo>
                  <a:lnTo>
                    <a:pt x="685" y="519"/>
                  </a:lnTo>
                  <a:lnTo>
                    <a:pt x="682" y="519"/>
                  </a:lnTo>
                  <a:lnTo>
                    <a:pt x="676" y="527"/>
                  </a:lnTo>
                  <a:lnTo>
                    <a:pt x="672" y="529"/>
                  </a:lnTo>
                  <a:lnTo>
                    <a:pt x="672" y="529"/>
                  </a:lnTo>
                  <a:lnTo>
                    <a:pt x="670" y="533"/>
                  </a:lnTo>
                  <a:lnTo>
                    <a:pt x="668" y="529"/>
                  </a:lnTo>
                  <a:lnTo>
                    <a:pt x="665" y="533"/>
                  </a:lnTo>
                  <a:lnTo>
                    <a:pt x="661" y="533"/>
                  </a:lnTo>
                  <a:lnTo>
                    <a:pt x="661" y="529"/>
                  </a:lnTo>
                  <a:lnTo>
                    <a:pt x="661" y="529"/>
                  </a:lnTo>
                  <a:lnTo>
                    <a:pt x="661" y="529"/>
                  </a:lnTo>
                  <a:lnTo>
                    <a:pt x="661" y="529"/>
                  </a:lnTo>
                  <a:close/>
                  <a:moveTo>
                    <a:pt x="661" y="523"/>
                  </a:moveTo>
                  <a:lnTo>
                    <a:pt x="665" y="519"/>
                  </a:lnTo>
                  <a:lnTo>
                    <a:pt x="665" y="523"/>
                  </a:lnTo>
                  <a:lnTo>
                    <a:pt x="661" y="525"/>
                  </a:lnTo>
                  <a:lnTo>
                    <a:pt x="661" y="525"/>
                  </a:lnTo>
                  <a:lnTo>
                    <a:pt x="661" y="523"/>
                  </a:lnTo>
                  <a:lnTo>
                    <a:pt x="661" y="523"/>
                  </a:lnTo>
                  <a:lnTo>
                    <a:pt x="661" y="523"/>
                  </a:lnTo>
                  <a:lnTo>
                    <a:pt x="661" y="523"/>
                  </a:lnTo>
                  <a:close/>
                  <a:moveTo>
                    <a:pt x="670" y="514"/>
                  </a:moveTo>
                  <a:lnTo>
                    <a:pt x="676" y="508"/>
                  </a:lnTo>
                  <a:lnTo>
                    <a:pt x="676" y="508"/>
                  </a:lnTo>
                  <a:lnTo>
                    <a:pt x="678" y="504"/>
                  </a:lnTo>
                  <a:lnTo>
                    <a:pt x="680" y="504"/>
                  </a:lnTo>
                  <a:lnTo>
                    <a:pt x="682" y="508"/>
                  </a:lnTo>
                  <a:lnTo>
                    <a:pt x="678" y="508"/>
                  </a:lnTo>
                  <a:lnTo>
                    <a:pt x="678" y="512"/>
                  </a:lnTo>
                  <a:lnTo>
                    <a:pt x="674" y="514"/>
                  </a:lnTo>
                  <a:lnTo>
                    <a:pt x="672" y="518"/>
                  </a:lnTo>
                  <a:lnTo>
                    <a:pt x="670" y="518"/>
                  </a:lnTo>
                  <a:lnTo>
                    <a:pt x="670" y="514"/>
                  </a:lnTo>
                  <a:lnTo>
                    <a:pt x="670" y="514"/>
                  </a:lnTo>
                  <a:lnTo>
                    <a:pt x="670" y="514"/>
                  </a:lnTo>
                  <a:lnTo>
                    <a:pt x="670" y="514"/>
                  </a:lnTo>
                  <a:close/>
                  <a:moveTo>
                    <a:pt x="676" y="491"/>
                  </a:moveTo>
                  <a:lnTo>
                    <a:pt x="678" y="487"/>
                  </a:lnTo>
                  <a:lnTo>
                    <a:pt x="680" y="489"/>
                  </a:lnTo>
                  <a:lnTo>
                    <a:pt x="680" y="491"/>
                  </a:lnTo>
                  <a:lnTo>
                    <a:pt x="680" y="493"/>
                  </a:lnTo>
                  <a:lnTo>
                    <a:pt x="680" y="495"/>
                  </a:lnTo>
                  <a:lnTo>
                    <a:pt x="676" y="491"/>
                  </a:lnTo>
                  <a:lnTo>
                    <a:pt x="676" y="491"/>
                  </a:lnTo>
                  <a:lnTo>
                    <a:pt x="676" y="491"/>
                  </a:lnTo>
                  <a:lnTo>
                    <a:pt x="676" y="491"/>
                  </a:lnTo>
                  <a:close/>
                  <a:moveTo>
                    <a:pt x="454" y="231"/>
                  </a:moveTo>
                  <a:lnTo>
                    <a:pt x="454" y="231"/>
                  </a:lnTo>
                  <a:lnTo>
                    <a:pt x="456" y="231"/>
                  </a:lnTo>
                  <a:lnTo>
                    <a:pt x="459" y="231"/>
                  </a:lnTo>
                  <a:lnTo>
                    <a:pt x="456" y="235"/>
                  </a:lnTo>
                  <a:lnTo>
                    <a:pt x="454" y="231"/>
                  </a:lnTo>
                  <a:lnTo>
                    <a:pt x="454" y="231"/>
                  </a:lnTo>
                  <a:lnTo>
                    <a:pt x="454" y="231"/>
                  </a:lnTo>
                  <a:lnTo>
                    <a:pt x="454" y="231"/>
                  </a:lnTo>
                  <a:close/>
                  <a:moveTo>
                    <a:pt x="382" y="310"/>
                  </a:moveTo>
                  <a:lnTo>
                    <a:pt x="386" y="305"/>
                  </a:lnTo>
                  <a:lnTo>
                    <a:pt x="384" y="301"/>
                  </a:lnTo>
                  <a:lnTo>
                    <a:pt x="380" y="299"/>
                  </a:lnTo>
                  <a:lnTo>
                    <a:pt x="382" y="295"/>
                  </a:lnTo>
                  <a:lnTo>
                    <a:pt x="380" y="290"/>
                  </a:lnTo>
                  <a:lnTo>
                    <a:pt x="377" y="286"/>
                  </a:lnTo>
                  <a:lnTo>
                    <a:pt x="369" y="286"/>
                  </a:lnTo>
                  <a:lnTo>
                    <a:pt x="369" y="286"/>
                  </a:lnTo>
                  <a:lnTo>
                    <a:pt x="365" y="290"/>
                  </a:lnTo>
                  <a:lnTo>
                    <a:pt x="362" y="284"/>
                  </a:lnTo>
                  <a:lnTo>
                    <a:pt x="362" y="278"/>
                  </a:lnTo>
                  <a:lnTo>
                    <a:pt x="369" y="271"/>
                  </a:lnTo>
                  <a:lnTo>
                    <a:pt x="373" y="265"/>
                  </a:lnTo>
                  <a:lnTo>
                    <a:pt x="375" y="265"/>
                  </a:lnTo>
                  <a:lnTo>
                    <a:pt x="375" y="271"/>
                  </a:lnTo>
                  <a:lnTo>
                    <a:pt x="373" y="273"/>
                  </a:lnTo>
                  <a:lnTo>
                    <a:pt x="378" y="275"/>
                  </a:lnTo>
                  <a:lnTo>
                    <a:pt x="378" y="278"/>
                  </a:lnTo>
                  <a:lnTo>
                    <a:pt x="382" y="278"/>
                  </a:lnTo>
                  <a:lnTo>
                    <a:pt x="384" y="276"/>
                  </a:lnTo>
                  <a:lnTo>
                    <a:pt x="390" y="276"/>
                  </a:lnTo>
                  <a:lnTo>
                    <a:pt x="394" y="280"/>
                  </a:lnTo>
                  <a:lnTo>
                    <a:pt x="394" y="284"/>
                  </a:lnTo>
                  <a:lnTo>
                    <a:pt x="394" y="286"/>
                  </a:lnTo>
                  <a:lnTo>
                    <a:pt x="394" y="290"/>
                  </a:lnTo>
                  <a:lnTo>
                    <a:pt x="397" y="291"/>
                  </a:lnTo>
                  <a:lnTo>
                    <a:pt x="397" y="295"/>
                  </a:lnTo>
                  <a:lnTo>
                    <a:pt x="405" y="303"/>
                  </a:lnTo>
                  <a:lnTo>
                    <a:pt x="405" y="305"/>
                  </a:lnTo>
                  <a:lnTo>
                    <a:pt x="403" y="308"/>
                  </a:lnTo>
                  <a:lnTo>
                    <a:pt x="397" y="305"/>
                  </a:lnTo>
                  <a:lnTo>
                    <a:pt x="395" y="305"/>
                  </a:lnTo>
                  <a:lnTo>
                    <a:pt x="394" y="307"/>
                  </a:lnTo>
                  <a:lnTo>
                    <a:pt x="390" y="308"/>
                  </a:lnTo>
                  <a:lnTo>
                    <a:pt x="386" y="312"/>
                  </a:lnTo>
                  <a:lnTo>
                    <a:pt x="382" y="310"/>
                  </a:lnTo>
                  <a:lnTo>
                    <a:pt x="382" y="310"/>
                  </a:lnTo>
                  <a:lnTo>
                    <a:pt x="382" y="310"/>
                  </a:lnTo>
                  <a:lnTo>
                    <a:pt x="382" y="310"/>
                  </a:lnTo>
                  <a:close/>
                  <a:moveTo>
                    <a:pt x="356" y="437"/>
                  </a:moveTo>
                  <a:lnTo>
                    <a:pt x="363" y="437"/>
                  </a:lnTo>
                  <a:lnTo>
                    <a:pt x="365" y="438"/>
                  </a:lnTo>
                  <a:lnTo>
                    <a:pt x="369" y="438"/>
                  </a:lnTo>
                  <a:lnTo>
                    <a:pt x="373" y="438"/>
                  </a:lnTo>
                  <a:lnTo>
                    <a:pt x="377" y="435"/>
                  </a:lnTo>
                  <a:lnTo>
                    <a:pt x="382" y="435"/>
                  </a:lnTo>
                  <a:lnTo>
                    <a:pt x="382" y="437"/>
                  </a:lnTo>
                  <a:lnTo>
                    <a:pt x="386" y="440"/>
                  </a:lnTo>
                  <a:lnTo>
                    <a:pt x="388" y="444"/>
                  </a:lnTo>
                  <a:lnTo>
                    <a:pt x="384" y="448"/>
                  </a:lnTo>
                  <a:lnTo>
                    <a:pt x="382" y="453"/>
                  </a:lnTo>
                  <a:lnTo>
                    <a:pt x="377" y="453"/>
                  </a:lnTo>
                  <a:lnTo>
                    <a:pt x="373" y="450"/>
                  </a:lnTo>
                  <a:lnTo>
                    <a:pt x="369" y="453"/>
                  </a:lnTo>
                  <a:lnTo>
                    <a:pt x="365" y="450"/>
                  </a:lnTo>
                  <a:lnTo>
                    <a:pt x="363" y="450"/>
                  </a:lnTo>
                  <a:lnTo>
                    <a:pt x="360" y="444"/>
                  </a:lnTo>
                  <a:lnTo>
                    <a:pt x="356" y="437"/>
                  </a:lnTo>
                  <a:lnTo>
                    <a:pt x="356" y="437"/>
                  </a:lnTo>
                  <a:lnTo>
                    <a:pt x="356" y="437"/>
                  </a:lnTo>
                  <a:lnTo>
                    <a:pt x="356" y="437"/>
                  </a:lnTo>
                  <a:close/>
                  <a:moveTo>
                    <a:pt x="602" y="493"/>
                  </a:moveTo>
                  <a:lnTo>
                    <a:pt x="606" y="487"/>
                  </a:lnTo>
                  <a:lnTo>
                    <a:pt x="610" y="487"/>
                  </a:lnTo>
                  <a:lnTo>
                    <a:pt x="610" y="491"/>
                  </a:lnTo>
                  <a:lnTo>
                    <a:pt x="606" y="493"/>
                  </a:lnTo>
                  <a:lnTo>
                    <a:pt x="602" y="493"/>
                  </a:lnTo>
                  <a:lnTo>
                    <a:pt x="602" y="493"/>
                  </a:lnTo>
                  <a:lnTo>
                    <a:pt x="602" y="493"/>
                  </a:lnTo>
                  <a:lnTo>
                    <a:pt x="602" y="493"/>
                  </a:lnTo>
                  <a:close/>
                  <a:moveTo>
                    <a:pt x="563" y="519"/>
                  </a:moveTo>
                  <a:lnTo>
                    <a:pt x="567" y="519"/>
                  </a:lnTo>
                  <a:lnTo>
                    <a:pt x="569" y="519"/>
                  </a:lnTo>
                  <a:lnTo>
                    <a:pt x="567" y="521"/>
                  </a:lnTo>
                  <a:lnTo>
                    <a:pt x="563" y="519"/>
                  </a:lnTo>
                  <a:lnTo>
                    <a:pt x="563" y="519"/>
                  </a:lnTo>
                  <a:lnTo>
                    <a:pt x="563" y="519"/>
                  </a:lnTo>
                  <a:lnTo>
                    <a:pt x="563" y="519"/>
                  </a:lnTo>
                  <a:close/>
                  <a:moveTo>
                    <a:pt x="563" y="551"/>
                  </a:moveTo>
                  <a:lnTo>
                    <a:pt x="565" y="551"/>
                  </a:lnTo>
                  <a:lnTo>
                    <a:pt x="569" y="551"/>
                  </a:lnTo>
                  <a:lnTo>
                    <a:pt x="567" y="553"/>
                  </a:lnTo>
                  <a:lnTo>
                    <a:pt x="565" y="557"/>
                  </a:lnTo>
                  <a:lnTo>
                    <a:pt x="563" y="555"/>
                  </a:lnTo>
                  <a:lnTo>
                    <a:pt x="563" y="551"/>
                  </a:lnTo>
                  <a:lnTo>
                    <a:pt x="563" y="551"/>
                  </a:lnTo>
                  <a:lnTo>
                    <a:pt x="563" y="551"/>
                  </a:lnTo>
                  <a:lnTo>
                    <a:pt x="563" y="551"/>
                  </a:lnTo>
                  <a:close/>
                  <a:moveTo>
                    <a:pt x="550" y="568"/>
                  </a:moveTo>
                  <a:lnTo>
                    <a:pt x="548" y="568"/>
                  </a:lnTo>
                  <a:lnTo>
                    <a:pt x="550" y="566"/>
                  </a:lnTo>
                  <a:lnTo>
                    <a:pt x="552" y="568"/>
                  </a:lnTo>
                  <a:lnTo>
                    <a:pt x="552" y="566"/>
                  </a:lnTo>
                  <a:lnTo>
                    <a:pt x="555" y="568"/>
                  </a:lnTo>
                  <a:lnTo>
                    <a:pt x="557" y="563"/>
                  </a:lnTo>
                  <a:lnTo>
                    <a:pt x="555" y="563"/>
                  </a:lnTo>
                  <a:lnTo>
                    <a:pt x="557" y="559"/>
                  </a:lnTo>
                  <a:lnTo>
                    <a:pt x="561" y="559"/>
                  </a:lnTo>
                  <a:lnTo>
                    <a:pt x="563" y="559"/>
                  </a:lnTo>
                  <a:lnTo>
                    <a:pt x="563" y="563"/>
                  </a:lnTo>
                  <a:lnTo>
                    <a:pt x="563" y="563"/>
                  </a:lnTo>
                  <a:lnTo>
                    <a:pt x="565" y="561"/>
                  </a:lnTo>
                  <a:lnTo>
                    <a:pt x="567" y="561"/>
                  </a:lnTo>
                  <a:lnTo>
                    <a:pt x="569" y="563"/>
                  </a:lnTo>
                  <a:lnTo>
                    <a:pt x="567" y="563"/>
                  </a:lnTo>
                  <a:lnTo>
                    <a:pt x="565" y="568"/>
                  </a:lnTo>
                  <a:lnTo>
                    <a:pt x="569" y="568"/>
                  </a:lnTo>
                  <a:lnTo>
                    <a:pt x="569" y="572"/>
                  </a:lnTo>
                  <a:lnTo>
                    <a:pt x="567" y="572"/>
                  </a:lnTo>
                  <a:lnTo>
                    <a:pt x="565" y="568"/>
                  </a:lnTo>
                  <a:lnTo>
                    <a:pt x="561" y="572"/>
                  </a:lnTo>
                  <a:lnTo>
                    <a:pt x="561" y="572"/>
                  </a:lnTo>
                  <a:lnTo>
                    <a:pt x="557" y="572"/>
                  </a:lnTo>
                  <a:lnTo>
                    <a:pt x="555" y="572"/>
                  </a:lnTo>
                  <a:lnTo>
                    <a:pt x="552" y="572"/>
                  </a:lnTo>
                  <a:lnTo>
                    <a:pt x="550" y="568"/>
                  </a:lnTo>
                  <a:lnTo>
                    <a:pt x="550" y="568"/>
                  </a:lnTo>
                  <a:lnTo>
                    <a:pt x="550" y="568"/>
                  </a:lnTo>
                  <a:lnTo>
                    <a:pt x="550" y="568"/>
                  </a:lnTo>
                  <a:close/>
                  <a:moveTo>
                    <a:pt x="510" y="608"/>
                  </a:moveTo>
                  <a:lnTo>
                    <a:pt x="508" y="610"/>
                  </a:lnTo>
                  <a:lnTo>
                    <a:pt x="506" y="610"/>
                  </a:lnTo>
                  <a:lnTo>
                    <a:pt x="506" y="610"/>
                  </a:lnTo>
                  <a:lnTo>
                    <a:pt x="506" y="606"/>
                  </a:lnTo>
                  <a:lnTo>
                    <a:pt x="506" y="602"/>
                  </a:lnTo>
                  <a:lnTo>
                    <a:pt x="506" y="599"/>
                  </a:lnTo>
                  <a:lnTo>
                    <a:pt x="506" y="593"/>
                  </a:lnTo>
                  <a:lnTo>
                    <a:pt x="506" y="593"/>
                  </a:lnTo>
                  <a:lnTo>
                    <a:pt x="506" y="591"/>
                  </a:lnTo>
                  <a:lnTo>
                    <a:pt x="512" y="587"/>
                  </a:lnTo>
                  <a:lnTo>
                    <a:pt x="520" y="583"/>
                  </a:lnTo>
                  <a:lnTo>
                    <a:pt x="525" y="583"/>
                  </a:lnTo>
                  <a:lnTo>
                    <a:pt x="525" y="583"/>
                  </a:lnTo>
                  <a:lnTo>
                    <a:pt x="527" y="591"/>
                  </a:lnTo>
                  <a:lnTo>
                    <a:pt x="527" y="591"/>
                  </a:lnTo>
                  <a:lnTo>
                    <a:pt x="531" y="587"/>
                  </a:lnTo>
                  <a:lnTo>
                    <a:pt x="527" y="583"/>
                  </a:lnTo>
                  <a:lnTo>
                    <a:pt x="531" y="583"/>
                  </a:lnTo>
                  <a:lnTo>
                    <a:pt x="531" y="585"/>
                  </a:lnTo>
                  <a:lnTo>
                    <a:pt x="533" y="582"/>
                  </a:lnTo>
                  <a:lnTo>
                    <a:pt x="531" y="580"/>
                  </a:lnTo>
                  <a:lnTo>
                    <a:pt x="531" y="578"/>
                  </a:lnTo>
                  <a:lnTo>
                    <a:pt x="533" y="574"/>
                  </a:lnTo>
                  <a:lnTo>
                    <a:pt x="535" y="574"/>
                  </a:lnTo>
                  <a:lnTo>
                    <a:pt x="537" y="576"/>
                  </a:lnTo>
                  <a:lnTo>
                    <a:pt x="537" y="580"/>
                  </a:lnTo>
                  <a:lnTo>
                    <a:pt x="537" y="582"/>
                  </a:lnTo>
                  <a:lnTo>
                    <a:pt x="537" y="583"/>
                  </a:lnTo>
                  <a:lnTo>
                    <a:pt x="538" y="583"/>
                  </a:lnTo>
                  <a:lnTo>
                    <a:pt x="540" y="580"/>
                  </a:lnTo>
                  <a:lnTo>
                    <a:pt x="542" y="580"/>
                  </a:lnTo>
                  <a:lnTo>
                    <a:pt x="544" y="582"/>
                  </a:lnTo>
                  <a:lnTo>
                    <a:pt x="544" y="578"/>
                  </a:lnTo>
                  <a:lnTo>
                    <a:pt x="542" y="574"/>
                  </a:lnTo>
                  <a:lnTo>
                    <a:pt x="544" y="574"/>
                  </a:lnTo>
                  <a:lnTo>
                    <a:pt x="548" y="576"/>
                  </a:lnTo>
                  <a:lnTo>
                    <a:pt x="548" y="578"/>
                  </a:lnTo>
                  <a:lnTo>
                    <a:pt x="546" y="580"/>
                  </a:lnTo>
                  <a:lnTo>
                    <a:pt x="546" y="582"/>
                  </a:lnTo>
                  <a:lnTo>
                    <a:pt x="548" y="582"/>
                  </a:lnTo>
                  <a:lnTo>
                    <a:pt x="552" y="578"/>
                  </a:lnTo>
                  <a:lnTo>
                    <a:pt x="555" y="578"/>
                  </a:lnTo>
                  <a:lnTo>
                    <a:pt x="557" y="578"/>
                  </a:lnTo>
                  <a:lnTo>
                    <a:pt x="557" y="582"/>
                  </a:lnTo>
                  <a:lnTo>
                    <a:pt x="555" y="583"/>
                  </a:lnTo>
                  <a:lnTo>
                    <a:pt x="552" y="583"/>
                  </a:lnTo>
                  <a:lnTo>
                    <a:pt x="552" y="585"/>
                  </a:lnTo>
                  <a:lnTo>
                    <a:pt x="555" y="587"/>
                  </a:lnTo>
                  <a:lnTo>
                    <a:pt x="555" y="589"/>
                  </a:lnTo>
                  <a:lnTo>
                    <a:pt x="552" y="593"/>
                  </a:lnTo>
                  <a:lnTo>
                    <a:pt x="550" y="593"/>
                  </a:lnTo>
                  <a:lnTo>
                    <a:pt x="550" y="591"/>
                  </a:lnTo>
                  <a:lnTo>
                    <a:pt x="546" y="591"/>
                  </a:lnTo>
                  <a:lnTo>
                    <a:pt x="544" y="591"/>
                  </a:lnTo>
                  <a:lnTo>
                    <a:pt x="542" y="591"/>
                  </a:lnTo>
                  <a:lnTo>
                    <a:pt x="540" y="593"/>
                  </a:lnTo>
                  <a:lnTo>
                    <a:pt x="544" y="593"/>
                  </a:lnTo>
                  <a:lnTo>
                    <a:pt x="546" y="599"/>
                  </a:lnTo>
                  <a:lnTo>
                    <a:pt x="542" y="599"/>
                  </a:lnTo>
                  <a:lnTo>
                    <a:pt x="540" y="599"/>
                  </a:lnTo>
                  <a:lnTo>
                    <a:pt x="537" y="597"/>
                  </a:lnTo>
                  <a:lnTo>
                    <a:pt x="533" y="597"/>
                  </a:lnTo>
                  <a:lnTo>
                    <a:pt x="531" y="599"/>
                  </a:lnTo>
                  <a:lnTo>
                    <a:pt x="533" y="599"/>
                  </a:lnTo>
                  <a:lnTo>
                    <a:pt x="535" y="602"/>
                  </a:lnTo>
                  <a:lnTo>
                    <a:pt x="533" y="602"/>
                  </a:lnTo>
                  <a:lnTo>
                    <a:pt x="531" y="602"/>
                  </a:lnTo>
                  <a:lnTo>
                    <a:pt x="527" y="602"/>
                  </a:lnTo>
                  <a:lnTo>
                    <a:pt x="525" y="602"/>
                  </a:lnTo>
                  <a:lnTo>
                    <a:pt x="523" y="606"/>
                  </a:lnTo>
                  <a:lnTo>
                    <a:pt x="522" y="606"/>
                  </a:lnTo>
                  <a:lnTo>
                    <a:pt x="520" y="608"/>
                  </a:lnTo>
                  <a:lnTo>
                    <a:pt x="522" y="610"/>
                  </a:lnTo>
                  <a:lnTo>
                    <a:pt x="516" y="612"/>
                  </a:lnTo>
                  <a:lnTo>
                    <a:pt x="516" y="615"/>
                  </a:lnTo>
                  <a:lnTo>
                    <a:pt x="514" y="615"/>
                  </a:lnTo>
                  <a:lnTo>
                    <a:pt x="512" y="619"/>
                  </a:lnTo>
                  <a:lnTo>
                    <a:pt x="508" y="617"/>
                  </a:lnTo>
                  <a:lnTo>
                    <a:pt x="508" y="615"/>
                  </a:lnTo>
                  <a:lnTo>
                    <a:pt x="516" y="610"/>
                  </a:lnTo>
                  <a:lnTo>
                    <a:pt x="516" y="608"/>
                  </a:lnTo>
                  <a:lnTo>
                    <a:pt x="518" y="606"/>
                  </a:lnTo>
                  <a:lnTo>
                    <a:pt x="516" y="606"/>
                  </a:lnTo>
                  <a:lnTo>
                    <a:pt x="514" y="608"/>
                  </a:lnTo>
                  <a:lnTo>
                    <a:pt x="512" y="606"/>
                  </a:lnTo>
                  <a:lnTo>
                    <a:pt x="514" y="606"/>
                  </a:lnTo>
                  <a:lnTo>
                    <a:pt x="508" y="606"/>
                  </a:lnTo>
                  <a:lnTo>
                    <a:pt x="506" y="606"/>
                  </a:lnTo>
                  <a:lnTo>
                    <a:pt x="508" y="606"/>
                  </a:lnTo>
                  <a:lnTo>
                    <a:pt x="510" y="608"/>
                  </a:lnTo>
                  <a:lnTo>
                    <a:pt x="510" y="608"/>
                  </a:lnTo>
                  <a:lnTo>
                    <a:pt x="510" y="608"/>
                  </a:lnTo>
                  <a:lnTo>
                    <a:pt x="510" y="608"/>
                  </a:lnTo>
                  <a:close/>
                  <a:moveTo>
                    <a:pt x="503" y="623"/>
                  </a:moveTo>
                  <a:lnTo>
                    <a:pt x="506" y="623"/>
                  </a:lnTo>
                  <a:lnTo>
                    <a:pt x="503" y="623"/>
                  </a:lnTo>
                  <a:lnTo>
                    <a:pt x="503" y="623"/>
                  </a:lnTo>
                  <a:lnTo>
                    <a:pt x="503" y="623"/>
                  </a:lnTo>
                  <a:lnTo>
                    <a:pt x="503" y="623"/>
                  </a:lnTo>
                  <a:lnTo>
                    <a:pt x="503" y="623"/>
                  </a:lnTo>
                  <a:close/>
                  <a:moveTo>
                    <a:pt x="493" y="627"/>
                  </a:moveTo>
                  <a:lnTo>
                    <a:pt x="493" y="623"/>
                  </a:lnTo>
                  <a:lnTo>
                    <a:pt x="503" y="619"/>
                  </a:lnTo>
                  <a:lnTo>
                    <a:pt x="497" y="627"/>
                  </a:lnTo>
                  <a:lnTo>
                    <a:pt x="493" y="627"/>
                  </a:lnTo>
                  <a:lnTo>
                    <a:pt x="493" y="627"/>
                  </a:lnTo>
                  <a:lnTo>
                    <a:pt x="493" y="627"/>
                  </a:lnTo>
                  <a:lnTo>
                    <a:pt x="493" y="627"/>
                  </a:lnTo>
                  <a:close/>
                  <a:moveTo>
                    <a:pt x="469" y="647"/>
                  </a:moveTo>
                  <a:lnTo>
                    <a:pt x="467" y="647"/>
                  </a:lnTo>
                  <a:lnTo>
                    <a:pt x="467" y="646"/>
                  </a:lnTo>
                  <a:lnTo>
                    <a:pt x="469" y="644"/>
                  </a:lnTo>
                  <a:lnTo>
                    <a:pt x="469" y="647"/>
                  </a:lnTo>
                  <a:lnTo>
                    <a:pt x="469" y="647"/>
                  </a:lnTo>
                  <a:lnTo>
                    <a:pt x="469" y="647"/>
                  </a:lnTo>
                  <a:lnTo>
                    <a:pt x="469" y="647"/>
                  </a:lnTo>
                  <a:lnTo>
                    <a:pt x="469" y="647"/>
                  </a:lnTo>
                  <a:close/>
                  <a:moveTo>
                    <a:pt x="454" y="614"/>
                  </a:moveTo>
                  <a:lnTo>
                    <a:pt x="458" y="614"/>
                  </a:lnTo>
                  <a:lnTo>
                    <a:pt x="459" y="615"/>
                  </a:lnTo>
                  <a:lnTo>
                    <a:pt x="458" y="617"/>
                  </a:lnTo>
                  <a:lnTo>
                    <a:pt x="454" y="614"/>
                  </a:lnTo>
                  <a:lnTo>
                    <a:pt x="454" y="614"/>
                  </a:lnTo>
                  <a:lnTo>
                    <a:pt x="454" y="614"/>
                  </a:lnTo>
                  <a:lnTo>
                    <a:pt x="454" y="614"/>
                  </a:lnTo>
                  <a:close/>
                  <a:moveTo>
                    <a:pt x="382" y="647"/>
                  </a:moveTo>
                  <a:lnTo>
                    <a:pt x="382" y="647"/>
                  </a:lnTo>
                  <a:lnTo>
                    <a:pt x="384" y="646"/>
                  </a:lnTo>
                  <a:lnTo>
                    <a:pt x="384" y="647"/>
                  </a:lnTo>
                  <a:lnTo>
                    <a:pt x="382" y="647"/>
                  </a:lnTo>
                  <a:lnTo>
                    <a:pt x="382" y="647"/>
                  </a:lnTo>
                  <a:lnTo>
                    <a:pt x="382" y="647"/>
                  </a:lnTo>
                  <a:lnTo>
                    <a:pt x="382" y="647"/>
                  </a:lnTo>
                  <a:close/>
                  <a:moveTo>
                    <a:pt x="378" y="649"/>
                  </a:moveTo>
                  <a:lnTo>
                    <a:pt x="380" y="649"/>
                  </a:lnTo>
                  <a:lnTo>
                    <a:pt x="378" y="651"/>
                  </a:lnTo>
                  <a:lnTo>
                    <a:pt x="378" y="649"/>
                  </a:lnTo>
                  <a:lnTo>
                    <a:pt x="378" y="649"/>
                  </a:lnTo>
                  <a:lnTo>
                    <a:pt x="378" y="649"/>
                  </a:lnTo>
                  <a:lnTo>
                    <a:pt x="378" y="649"/>
                  </a:lnTo>
                  <a:close/>
                  <a:moveTo>
                    <a:pt x="394" y="663"/>
                  </a:moveTo>
                  <a:lnTo>
                    <a:pt x="394" y="666"/>
                  </a:lnTo>
                  <a:lnTo>
                    <a:pt x="394" y="666"/>
                  </a:lnTo>
                  <a:lnTo>
                    <a:pt x="394" y="663"/>
                  </a:lnTo>
                  <a:lnTo>
                    <a:pt x="394" y="663"/>
                  </a:lnTo>
                  <a:lnTo>
                    <a:pt x="394" y="663"/>
                  </a:lnTo>
                  <a:lnTo>
                    <a:pt x="394" y="663"/>
                  </a:lnTo>
                  <a:lnTo>
                    <a:pt x="394" y="663"/>
                  </a:lnTo>
                  <a:close/>
                  <a:moveTo>
                    <a:pt x="390" y="663"/>
                  </a:moveTo>
                  <a:lnTo>
                    <a:pt x="394" y="657"/>
                  </a:lnTo>
                  <a:lnTo>
                    <a:pt x="394" y="661"/>
                  </a:lnTo>
                  <a:lnTo>
                    <a:pt x="394" y="661"/>
                  </a:lnTo>
                  <a:lnTo>
                    <a:pt x="390" y="663"/>
                  </a:lnTo>
                  <a:lnTo>
                    <a:pt x="390" y="663"/>
                  </a:lnTo>
                  <a:lnTo>
                    <a:pt x="390" y="663"/>
                  </a:lnTo>
                  <a:lnTo>
                    <a:pt x="390" y="663"/>
                  </a:lnTo>
                  <a:close/>
                  <a:moveTo>
                    <a:pt x="377" y="666"/>
                  </a:moveTo>
                  <a:lnTo>
                    <a:pt x="378" y="661"/>
                  </a:lnTo>
                  <a:lnTo>
                    <a:pt x="382" y="657"/>
                  </a:lnTo>
                  <a:lnTo>
                    <a:pt x="382" y="657"/>
                  </a:lnTo>
                  <a:lnTo>
                    <a:pt x="388" y="655"/>
                  </a:lnTo>
                  <a:lnTo>
                    <a:pt x="384" y="657"/>
                  </a:lnTo>
                  <a:lnTo>
                    <a:pt x="384" y="661"/>
                  </a:lnTo>
                  <a:lnTo>
                    <a:pt x="378" y="663"/>
                  </a:lnTo>
                  <a:lnTo>
                    <a:pt x="377" y="666"/>
                  </a:lnTo>
                  <a:lnTo>
                    <a:pt x="377" y="666"/>
                  </a:lnTo>
                  <a:lnTo>
                    <a:pt x="377" y="666"/>
                  </a:lnTo>
                  <a:lnTo>
                    <a:pt x="377" y="666"/>
                  </a:lnTo>
                  <a:close/>
                  <a:moveTo>
                    <a:pt x="371" y="655"/>
                  </a:moveTo>
                  <a:lnTo>
                    <a:pt x="369" y="651"/>
                  </a:lnTo>
                  <a:lnTo>
                    <a:pt x="371" y="649"/>
                  </a:lnTo>
                  <a:lnTo>
                    <a:pt x="373" y="647"/>
                  </a:lnTo>
                  <a:lnTo>
                    <a:pt x="375" y="649"/>
                  </a:lnTo>
                  <a:lnTo>
                    <a:pt x="375" y="653"/>
                  </a:lnTo>
                  <a:lnTo>
                    <a:pt x="373" y="655"/>
                  </a:lnTo>
                  <a:lnTo>
                    <a:pt x="371" y="655"/>
                  </a:lnTo>
                  <a:lnTo>
                    <a:pt x="371" y="655"/>
                  </a:lnTo>
                  <a:lnTo>
                    <a:pt x="371" y="655"/>
                  </a:lnTo>
                  <a:lnTo>
                    <a:pt x="371" y="655"/>
                  </a:lnTo>
                  <a:close/>
                  <a:moveTo>
                    <a:pt x="354" y="653"/>
                  </a:moveTo>
                  <a:lnTo>
                    <a:pt x="356" y="651"/>
                  </a:lnTo>
                  <a:lnTo>
                    <a:pt x="356" y="655"/>
                  </a:lnTo>
                  <a:lnTo>
                    <a:pt x="354" y="657"/>
                  </a:lnTo>
                  <a:lnTo>
                    <a:pt x="354" y="653"/>
                  </a:lnTo>
                  <a:lnTo>
                    <a:pt x="354" y="653"/>
                  </a:lnTo>
                  <a:lnTo>
                    <a:pt x="354" y="653"/>
                  </a:lnTo>
                  <a:lnTo>
                    <a:pt x="354" y="653"/>
                  </a:lnTo>
                  <a:close/>
                  <a:moveTo>
                    <a:pt x="341" y="663"/>
                  </a:moveTo>
                  <a:lnTo>
                    <a:pt x="341" y="657"/>
                  </a:lnTo>
                  <a:lnTo>
                    <a:pt x="345" y="657"/>
                  </a:lnTo>
                  <a:lnTo>
                    <a:pt x="345" y="657"/>
                  </a:lnTo>
                  <a:lnTo>
                    <a:pt x="341" y="663"/>
                  </a:lnTo>
                  <a:lnTo>
                    <a:pt x="341" y="663"/>
                  </a:lnTo>
                  <a:lnTo>
                    <a:pt x="341" y="663"/>
                  </a:lnTo>
                  <a:lnTo>
                    <a:pt x="341" y="663"/>
                  </a:lnTo>
                  <a:close/>
                  <a:moveTo>
                    <a:pt x="328" y="670"/>
                  </a:moveTo>
                  <a:lnTo>
                    <a:pt x="331" y="674"/>
                  </a:lnTo>
                  <a:lnTo>
                    <a:pt x="330" y="674"/>
                  </a:lnTo>
                  <a:lnTo>
                    <a:pt x="326" y="672"/>
                  </a:lnTo>
                  <a:lnTo>
                    <a:pt x="328" y="670"/>
                  </a:lnTo>
                  <a:lnTo>
                    <a:pt x="328" y="670"/>
                  </a:lnTo>
                  <a:lnTo>
                    <a:pt x="328" y="670"/>
                  </a:lnTo>
                  <a:lnTo>
                    <a:pt x="328" y="670"/>
                  </a:lnTo>
                  <a:close/>
                  <a:moveTo>
                    <a:pt x="4" y="734"/>
                  </a:moveTo>
                  <a:lnTo>
                    <a:pt x="0" y="738"/>
                  </a:lnTo>
                  <a:lnTo>
                    <a:pt x="4" y="736"/>
                  </a:lnTo>
                  <a:lnTo>
                    <a:pt x="4" y="734"/>
                  </a:lnTo>
                  <a:lnTo>
                    <a:pt x="4" y="734"/>
                  </a:lnTo>
                  <a:lnTo>
                    <a:pt x="4" y="734"/>
                  </a:lnTo>
                  <a:lnTo>
                    <a:pt x="4" y="734"/>
                  </a:lnTo>
                  <a:close/>
                  <a:moveTo>
                    <a:pt x="6" y="725"/>
                  </a:moveTo>
                  <a:lnTo>
                    <a:pt x="4" y="727"/>
                  </a:lnTo>
                  <a:lnTo>
                    <a:pt x="6" y="730"/>
                  </a:lnTo>
                  <a:lnTo>
                    <a:pt x="8" y="727"/>
                  </a:lnTo>
                  <a:lnTo>
                    <a:pt x="6" y="725"/>
                  </a:lnTo>
                  <a:lnTo>
                    <a:pt x="6" y="725"/>
                  </a:lnTo>
                  <a:lnTo>
                    <a:pt x="6" y="725"/>
                  </a:lnTo>
                  <a:lnTo>
                    <a:pt x="6" y="725"/>
                  </a:lnTo>
                  <a:close/>
                  <a:moveTo>
                    <a:pt x="11" y="717"/>
                  </a:moveTo>
                  <a:lnTo>
                    <a:pt x="11" y="721"/>
                  </a:lnTo>
                  <a:lnTo>
                    <a:pt x="11" y="715"/>
                  </a:lnTo>
                  <a:lnTo>
                    <a:pt x="11" y="717"/>
                  </a:lnTo>
                  <a:lnTo>
                    <a:pt x="11" y="717"/>
                  </a:lnTo>
                  <a:lnTo>
                    <a:pt x="11" y="717"/>
                  </a:lnTo>
                  <a:lnTo>
                    <a:pt x="11" y="717"/>
                  </a:lnTo>
                  <a:close/>
                  <a:moveTo>
                    <a:pt x="32" y="721"/>
                  </a:moveTo>
                  <a:lnTo>
                    <a:pt x="28" y="715"/>
                  </a:lnTo>
                  <a:lnTo>
                    <a:pt x="26" y="715"/>
                  </a:lnTo>
                  <a:lnTo>
                    <a:pt x="23" y="717"/>
                  </a:lnTo>
                  <a:lnTo>
                    <a:pt x="25" y="717"/>
                  </a:lnTo>
                  <a:lnTo>
                    <a:pt x="28" y="721"/>
                  </a:lnTo>
                  <a:lnTo>
                    <a:pt x="25" y="721"/>
                  </a:lnTo>
                  <a:lnTo>
                    <a:pt x="26" y="725"/>
                  </a:lnTo>
                  <a:lnTo>
                    <a:pt x="28" y="725"/>
                  </a:lnTo>
                  <a:lnTo>
                    <a:pt x="32" y="721"/>
                  </a:lnTo>
                  <a:lnTo>
                    <a:pt x="32" y="721"/>
                  </a:lnTo>
                  <a:lnTo>
                    <a:pt x="32" y="721"/>
                  </a:lnTo>
                  <a:lnTo>
                    <a:pt x="32" y="721"/>
                  </a:lnTo>
                  <a:lnTo>
                    <a:pt x="32" y="721"/>
                  </a:lnTo>
                  <a:close/>
                  <a:moveTo>
                    <a:pt x="36" y="727"/>
                  </a:moveTo>
                  <a:lnTo>
                    <a:pt x="36" y="730"/>
                  </a:lnTo>
                  <a:lnTo>
                    <a:pt x="42" y="725"/>
                  </a:lnTo>
                  <a:lnTo>
                    <a:pt x="42" y="721"/>
                  </a:lnTo>
                  <a:lnTo>
                    <a:pt x="45" y="717"/>
                  </a:lnTo>
                  <a:lnTo>
                    <a:pt x="42" y="717"/>
                  </a:lnTo>
                  <a:lnTo>
                    <a:pt x="40" y="721"/>
                  </a:lnTo>
                  <a:lnTo>
                    <a:pt x="40" y="725"/>
                  </a:lnTo>
                  <a:lnTo>
                    <a:pt x="36" y="727"/>
                  </a:lnTo>
                  <a:lnTo>
                    <a:pt x="36" y="727"/>
                  </a:lnTo>
                  <a:lnTo>
                    <a:pt x="36" y="727"/>
                  </a:lnTo>
                  <a:lnTo>
                    <a:pt x="36" y="727"/>
                  </a:lnTo>
                  <a:close/>
                  <a:moveTo>
                    <a:pt x="55" y="725"/>
                  </a:moveTo>
                  <a:lnTo>
                    <a:pt x="53" y="721"/>
                  </a:lnTo>
                  <a:lnTo>
                    <a:pt x="51" y="717"/>
                  </a:lnTo>
                  <a:lnTo>
                    <a:pt x="51" y="725"/>
                  </a:lnTo>
                  <a:lnTo>
                    <a:pt x="47" y="725"/>
                  </a:lnTo>
                  <a:lnTo>
                    <a:pt x="45" y="730"/>
                  </a:lnTo>
                  <a:lnTo>
                    <a:pt x="49" y="730"/>
                  </a:lnTo>
                  <a:lnTo>
                    <a:pt x="55" y="725"/>
                  </a:lnTo>
                  <a:lnTo>
                    <a:pt x="55" y="725"/>
                  </a:lnTo>
                  <a:lnTo>
                    <a:pt x="55" y="725"/>
                  </a:lnTo>
                  <a:lnTo>
                    <a:pt x="55" y="725"/>
                  </a:lnTo>
                  <a:close/>
                  <a:moveTo>
                    <a:pt x="98" y="725"/>
                  </a:moveTo>
                  <a:lnTo>
                    <a:pt x="98" y="721"/>
                  </a:lnTo>
                  <a:lnTo>
                    <a:pt x="102" y="717"/>
                  </a:lnTo>
                  <a:lnTo>
                    <a:pt x="100" y="715"/>
                  </a:lnTo>
                  <a:lnTo>
                    <a:pt x="98" y="713"/>
                  </a:lnTo>
                  <a:lnTo>
                    <a:pt x="94" y="715"/>
                  </a:lnTo>
                  <a:lnTo>
                    <a:pt x="94" y="717"/>
                  </a:lnTo>
                  <a:lnTo>
                    <a:pt x="94" y="721"/>
                  </a:lnTo>
                  <a:lnTo>
                    <a:pt x="90" y="717"/>
                  </a:lnTo>
                  <a:lnTo>
                    <a:pt x="89" y="721"/>
                  </a:lnTo>
                  <a:lnTo>
                    <a:pt x="87" y="721"/>
                  </a:lnTo>
                  <a:lnTo>
                    <a:pt x="83" y="721"/>
                  </a:lnTo>
                  <a:lnTo>
                    <a:pt x="81" y="721"/>
                  </a:lnTo>
                  <a:lnTo>
                    <a:pt x="85" y="725"/>
                  </a:lnTo>
                  <a:lnTo>
                    <a:pt x="87" y="725"/>
                  </a:lnTo>
                  <a:lnTo>
                    <a:pt x="90" y="725"/>
                  </a:lnTo>
                  <a:lnTo>
                    <a:pt x="94" y="721"/>
                  </a:lnTo>
                  <a:lnTo>
                    <a:pt x="98" y="725"/>
                  </a:lnTo>
                  <a:lnTo>
                    <a:pt x="98" y="725"/>
                  </a:lnTo>
                  <a:lnTo>
                    <a:pt x="98" y="725"/>
                  </a:lnTo>
                  <a:lnTo>
                    <a:pt x="98" y="725"/>
                  </a:lnTo>
                  <a:close/>
                  <a:moveTo>
                    <a:pt x="106" y="725"/>
                  </a:moveTo>
                  <a:lnTo>
                    <a:pt x="115" y="725"/>
                  </a:lnTo>
                  <a:lnTo>
                    <a:pt x="115" y="725"/>
                  </a:lnTo>
                  <a:lnTo>
                    <a:pt x="119" y="727"/>
                  </a:lnTo>
                  <a:lnTo>
                    <a:pt x="115" y="730"/>
                  </a:lnTo>
                  <a:lnTo>
                    <a:pt x="106" y="727"/>
                  </a:lnTo>
                  <a:lnTo>
                    <a:pt x="104" y="727"/>
                  </a:lnTo>
                  <a:lnTo>
                    <a:pt x="102" y="725"/>
                  </a:lnTo>
                  <a:lnTo>
                    <a:pt x="102" y="725"/>
                  </a:lnTo>
                  <a:lnTo>
                    <a:pt x="106" y="725"/>
                  </a:lnTo>
                  <a:lnTo>
                    <a:pt x="106" y="725"/>
                  </a:lnTo>
                  <a:lnTo>
                    <a:pt x="106" y="725"/>
                  </a:lnTo>
                  <a:lnTo>
                    <a:pt x="106" y="725"/>
                  </a:lnTo>
                  <a:close/>
                  <a:moveTo>
                    <a:pt x="136" y="721"/>
                  </a:moveTo>
                  <a:lnTo>
                    <a:pt x="132" y="717"/>
                  </a:lnTo>
                  <a:lnTo>
                    <a:pt x="126" y="717"/>
                  </a:lnTo>
                  <a:lnTo>
                    <a:pt x="126" y="721"/>
                  </a:lnTo>
                  <a:lnTo>
                    <a:pt x="132" y="721"/>
                  </a:lnTo>
                  <a:lnTo>
                    <a:pt x="136" y="721"/>
                  </a:lnTo>
                  <a:lnTo>
                    <a:pt x="136" y="721"/>
                  </a:lnTo>
                  <a:lnTo>
                    <a:pt x="136" y="721"/>
                  </a:lnTo>
                  <a:lnTo>
                    <a:pt x="136" y="721"/>
                  </a:lnTo>
                  <a:close/>
                  <a:moveTo>
                    <a:pt x="154" y="717"/>
                  </a:moveTo>
                  <a:lnTo>
                    <a:pt x="154" y="713"/>
                  </a:lnTo>
                  <a:lnTo>
                    <a:pt x="153" y="717"/>
                  </a:lnTo>
                  <a:lnTo>
                    <a:pt x="154" y="717"/>
                  </a:lnTo>
                  <a:lnTo>
                    <a:pt x="154" y="717"/>
                  </a:lnTo>
                  <a:lnTo>
                    <a:pt x="154" y="717"/>
                  </a:lnTo>
                  <a:lnTo>
                    <a:pt x="154" y="717"/>
                  </a:lnTo>
                  <a:close/>
                  <a:moveTo>
                    <a:pt x="170" y="713"/>
                  </a:moveTo>
                  <a:lnTo>
                    <a:pt x="166" y="710"/>
                  </a:lnTo>
                  <a:lnTo>
                    <a:pt x="164" y="712"/>
                  </a:lnTo>
                  <a:lnTo>
                    <a:pt x="162" y="715"/>
                  </a:lnTo>
                  <a:lnTo>
                    <a:pt x="168" y="712"/>
                  </a:lnTo>
                  <a:lnTo>
                    <a:pt x="170" y="713"/>
                  </a:lnTo>
                  <a:lnTo>
                    <a:pt x="170" y="713"/>
                  </a:lnTo>
                  <a:lnTo>
                    <a:pt x="170" y="713"/>
                  </a:lnTo>
                  <a:lnTo>
                    <a:pt x="170" y="713"/>
                  </a:lnTo>
                  <a:close/>
                  <a:moveTo>
                    <a:pt x="177" y="712"/>
                  </a:moveTo>
                  <a:lnTo>
                    <a:pt x="177" y="710"/>
                  </a:lnTo>
                  <a:lnTo>
                    <a:pt x="173" y="712"/>
                  </a:lnTo>
                  <a:lnTo>
                    <a:pt x="177" y="713"/>
                  </a:lnTo>
                  <a:lnTo>
                    <a:pt x="177" y="712"/>
                  </a:lnTo>
                  <a:lnTo>
                    <a:pt x="177" y="712"/>
                  </a:lnTo>
                  <a:lnTo>
                    <a:pt x="177" y="712"/>
                  </a:lnTo>
                  <a:lnTo>
                    <a:pt x="177" y="712"/>
                  </a:lnTo>
                  <a:close/>
                  <a:moveTo>
                    <a:pt x="179" y="706"/>
                  </a:moveTo>
                  <a:lnTo>
                    <a:pt x="179" y="704"/>
                  </a:lnTo>
                  <a:lnTo>
                    <a:pt x="177" y="706"/>
                  </a:lnTo>
                  <a:lnTo>
                    <a:pt x="179" y="706"/>
                  </a:lnTo>
                  <a:lnTo>
                    <a:pt x="179" y="706"/>
                  </a:lnTo>
                  <a:lnTo>
                    <a:pt x="179" y="706"/>
                  </a:lnTo>
                  <a:lnTo>
                    <a:pt x="179" y="706"/>
                  </a:lnTo>
                  <a:close/>
                  <a:moveTo>
                    <a:pt x="183" y="708"/>
                  </a:moveTo>
                  <a:lnTo>
                    <a:pt x="183" y="712"/>
                  </a:lnTo>
                  <a:lnTo>
                    <a:pt x="186" y="710"/>
                  </a:lnTo>
                  <a:lnTo>
                    <a:pt x="185" y="706"/>
                  </a:lnTo>
                  <a:lnTo>
                    <a:pt x="183" y="708"/>
                  </a:lnTo>
                  <a:lnTo>
                    <a:pt x="183" y="708"/>
                  </a:lnTo>
                  <a:lnTo>
                    <a:pt x="183" y="708"/>
                  </a:lnTo>
                  <a:lnTo>
                    <a:pt x="183" y="708"/>
                  </a:lnTo>
                  <a:close/>
                  <a:moveTo>
                    <a:pt x="224" y="687"/>
                  </a:moveTo>
                  <a:lnTo>
                    <a:pt x="226" y="691"/>
                  </a:lnTo>
                  <a:lnTo>
                    <a:pt x="228" y="693"/>
                  </a:lnTo>
                  <a:lnTo>
                    <a:pt x="224" y="696"/>
                  </a:lnTo>
                  <a:lnTo>
                    <a:pt x="222" y="700"/>
                  </a:lnTo>
                  <a:lnTo>
                    <a:pt x="217" y="700"/>
                  </a:lnTo>
                  <a:lnTo>
                    <a:pt x="211" y="706"/>
                  </a:lnTo>
                  <a:lnTo>
                    <a:pt x="207" y="706"/>
                  </a:lnTo>
                  <a:lnTo>
                    <a:pt x="203" y="712"/>
                  </a:lnTo>
                  <a:lnTo>
                    <a:pt x="194" y="712"/>
                  </a:lnTo>
                  <a:lnTo>
                    <a:pt x="198" y="708"/>
                  </a:lnTo>
                  <a:lnTo>
                    <a:pt x="202" y="708"/>
                  </a:lnTo>
                  <a:lnTo>
                    <a:pt x="203" y="704"/>
                  </a:lnTo>
                  <a:lnTo>
                    <a:pt x="207" y="702"/>
                  </a:lnTo>
                  <a:lnTo>
                    <a:pt x="207" y="700"/>
                  </a:lnTo>
                  <a:lnTo>
                    <a:pt x="209" y="696"/>
                  </a:lnTo>
                  <a:lnTo>
                    <a:pt x="213" y="696"/>
                  </a:lnTo>
                  <a:lnTo>
                    <a:pt x="215" y="691"/>
                  </a:lnTo>
                  <a:lnTo>
                    <a:pt x="215" y="691"/>
                  </a:lnTo>
                  <a:lnTo>
                    <a:pt x="218" y="691"/>
                  </a:lnTo>
                  <a:lnTo>
                    <a:pt x="218" y="691"/>
                  </a:lnTo>
                  <a:lnTo>
                    <a:pt x="224" y="687"/>
                  </a:lnTo>
                  <a:lnTo>
                    <a:pt x="224" y="687"/>
                  </a:lnTo>
                  <a:lnTo>
                    <a:pt x="224" y="687"/>
                  </a:lnTo>
                  <a:lnTo>
                    <a:pt x="224" y="687"/>
                  </a:lnTo>
                  <a:close/>
                  <a:moveTo>
                    <a:pt x="252" y="676"/>
                  </a:moveTo>
                  <a:lnTo>
                    <a:pt x="252" y="676"/>
                  </a:lnTo>
                  <a:lnTo>
                    <a:pt x="249" y="680"/>
                  </a:lnTo>
                  <a:lnTo>
                    <a:pt x="249" y="683"/>
                  </a:lnTo>
                  <a:lnTo>
                    <a:pt x="250" y="685"/>
                  </a:lnTo>
                  <a:lnTo>
                    <a:pt x="249" y="687"/>
                  </a:lnTo>
                  <a:lnTo>
                    <a:pt x="245" y="685"/>
                  </a:lnTo>
                  <a:lnTo>
                    <a:pt x="241" y="687"/>
                  </a:lnTo>
                  <a:lnTo>
                    <a:pt x="243" y="691"/>
                  </a:lnTo>
                  <a:lnTo>
                    <a:pt x="241" y="691"/>
                  </a:lnTo>
                  <a:lnTo>
                    <a:pt x="237" y="693"/>
                  </a:lnTo>
                  <a:lnTo>
                    <a:pt x="235" y="693"/>
                  </a:lnTo>
                  <a:lnTo>
                    <a:pt x="232" y="696"/>
                  </a:lnTo>
                  <a:lnTo>
                    <a:pt x="228" y="696"/>
                  </a:lnTo>
                  <a:lnTo>
                    <a:pt x="226" y="696"/>
                  </a:lnTo>
                  <a:lnTo>
                    <a:pt x="228" y="700"/>
                  </a:lnTo>
                  <a:lnTo>
                    <a:pt x="234" y="700"/>
                  </a:lnTo>
                  <a:lnTo>
                    <a:pt x="239" y="700"/>
                  </a:lnTo>
                  <a:lnTo>
                    <a:pt x="243" y="693"/>
                  </a:lnTo>
                  <a:lnTo>
                    <a:pt x="243" y="696"/>
                  </a:lnTo>
                  <a:lnTo>
                    <a:pt x="245" y="696"/>
                  </a:lnTo>
                  <a:lnTo>
                    <a:pt x="247" y="693"/>
                  </a:lnTo>
                  <a:lnTo>
                    <a:pt x="247" y="691"/>
                  </a:lnTo>
                  <a:lnTo>
                    <a:pt x="250" y="691"/>
                  </a:lnTo>
                  <a:lnTo>
                    <a:pt x="250" y="693"/>
                  </a:lnTo>
                  <a:lnTo>
                    <a:pt x="252" y="693"/>
                  </a:lnTo>
                  <a:lnTo>
                    <a:pt x="256" y="691"/>
                  </a:lnTo>
                  <a:lnTo>
                    <a:pt x="262" y="687"/>
                  </a:lnTo>
                  <a:lnTo>
                    <a:pt x="262" y="687"/>
                  </a:lnTo>
                  <a:lnTo>
                    <a:pt x="256" y="685"/>
                  </a:lnTo>
                  <a:lnTo>
                    <a:pt x="262" y="683"/>
                  </a:lnTo>
                  <a:lnTo>
                    <a:pt x="258" y="680"/>
                  </a:lnTo>
                  <a:lnTo>
                    <a:pt x="256" y="678"/>
                  </a:lnTo>
                  <a:lnTo>
                    <a:pt x="252" y="676"/>
                  </a:lnTo>
                  <a:lnTo>
                    <a:pt x="252" y="676"/>
                  </a:lnTo>
                  <a:lnTo>
                    <a:pt x="252" y="676"/>
                  </a:lnTo>
                  <a:lnTo>
                    <a:pt x="252" y="676"/>
                  </a:lnTo>
                  <a:close/>
                  <a:moveTo>
                    <a:pt x="266" y="681"/>
                  </a:moveTo>
                  <a:lnTo>
                    <a:pt x="266" y="680"/>
                  </a:lnTo>
                  <a:lnTo>
                    <a:pt x="262" y="678"/>
                  </a:lnTo>
                  <a:lnTo>
                    <a:pt x="262" y="680"/>
                  </a:lnTo>
                  <a:lnTo>
                    <a:pt x="266" y="681"/>
                  </a:lnTo>
                  <a:lnTo>
                    <a:pt x="266" y="681"/>
                  </a:lnTo>
                  <a:lnTo>
                    <a:pt x="266" y="681"/>
                  </a:lnTo>
                  <a:lnTo>
                    <a:pt x="266" y="681"/>
                  </a:lnTo>
                  <a:close/>
                  <a:moveTo>
                    <a:pt x="286" y="678"/>
                  </a:moveTo>
                  <a:lnTo>
                    <a:pt x="282" y="676"/>
                  </a:lnTo>
                  <a:lnTo>
                    <a:pt x="286" y="676"/>
                  </a:lnTo>
                  <a:lnTo>
                    <a:pt x="288" y="678"/>
                  </a:lnTo>
                  <a:lnTo>
                    <a:pt x="286" y="680"/>
                  </a:lnTo>
                  <a:lnTo>
                    <a:pt x="286" y="678"/>
                  </a:lnTo>
                  <a:lnTo>
                    <a:pt x="286" y="678"/>
                  </a:lnTo>
                  <a:lnTo>
                    <a:pt x="286" y="678"/>
                  </a:lnTo>
                  <a:lnTo>
                    <a:pt x="286" y="678"/>
                  </a:lnTo>
                  <a:close/>
                  <a:moveTo>
                    <a:pt x="277" y="680"/>
                  </a:moveTo>
                  <a:lnTo>
                    <a:pt x="281" y="678"/>
                  </a:lnTo>
                  <a:lnTo>
                    <a:pt x="282" y="680"/>
                  </a:lnTo>
                  <a:lnTo>
                    <a:pt x="277" y="680"/>
                  </a:lnTo>
                  <a:lnTo>
                    <a:pt x="277" y="680"/>
                  </a:lnTo>
                  <a:lnTo>
                    <a:pt x="277" y="680"/>
                  </a:lnTo>
                  <a:lnTo>
                    <a:pt x="277" y="680"/>
                  </a:lnTo>
                  <a:close/>
                  <a:moveTo>
                    <a:pt x="277" y="676"/>
                  </a:moveTo>
                  <a:lnTo>
                    <a:pt x="277" y="672"/>
                  </a:lnTo>
                  <a:lnTo>
                    <a:pt x="277" y="670"/>
                  </a:lnTo>
                  <a:lnTo>
                    <a:pt x="277" y="670"/>
                  </a:lnTo>
                  <a:lnTo>
                    <a:pt x="281" y="674"/>
                  </a:lnTo>
                  <a:lnTo>
                    <a:pt x="277" y="676"/>
                  </a:lnTo>
                  <a:lnTo>
                    <a:pt x="277" y="676"/>
                  </a:lnTo>
                  <a:lnTo>
                    <a:pt x="277" y="676"/>
                  </a:lnTo>
                  <a:lnTo>
                    <a:pt x="277" y="676"/>
                  </a:lnTo>
                  <a:close/>
                  <a:moveTo>
                    <a:pt x="269" y="672"/>
                  </a:moveTo>
                  <a:lnTo>
                    <a:pt x="266" y="674"/>
                  </a:lnTo>
                  <a:lnTo>
                    <a:pt x="266" y="676"/>
                  </a:lnTo>
                  <a:lnTo>
                    <a:pt x="269" y="680"/>
                  </a:lnTo>
                  <a:lnTo>
                    <a:pt x="273" y="678"/>
                  </a:lnTo>
                  <a:lnTo>
                    <a:pt x="273" y="676"/>
                  </a:lnTo>
                  <a:lnTo>
                    <a:pt x="271" y="674"/>
                  </a:lnTo>
                  <a:lnTo>
                    <a:pt x="269" y="672"/>
                  </a:lnTo>
                  <a:lnTo>
                    <a:pt x="269" y="672"/>
                  </a:lnTo>
                  <a:lnTo>
                    <a:pt x="269" y="672"/>
                  </a:lnTo>
                  <a:lnTo>
                    <a:pt x="269" y="672"/>
                  </a:lnTo>
                  <a:close/>
                  <a:moveTo>
                    <a:pt x="441" y="521"/>
                  </a:moveTo>
                  <a:lnTo>
                    <a:pt x="441" y="519"/>
                  </a:lnTo>
                  <a:lnTo>
                    <a:pt x="442" y="518"/>
                  </a:lnTo>
                  <a:lnTo>
                    <a:pt x="442" y="521"/>
                  </a:lnTo>
                  <a:lnTo>
                    <a:pt x="441" y="521"/>
                  </a:lnTo>
                  <a:lnTo>
                    <a:pt x="441" y="521"/>
                  </a:lnTo>
                  <a:lnTo>
                    <a:pt x="441" y="521"/>
                  </a:lnTo>
                  <a:lnTo>
                    <a:pt x="441" y="521"/>
                  </a:lnTo>
                  <a:close/>
                  <a:moveTo>
                    <a:pt x="433" y="523"/>
                  </a:moveTo>
                  <a:lnTo>
                    <a:pt x="431" y="521"/>
                  </a:lnTo>
                  <a:lnTo>
                    <a:pt x="431" y="518"/>
                  </a:lnTo>
                  <a:lnTo>
                    <a:pt x="435" y="518"/>
                  </a:lnTo>
                  <a:lnTo>
                    <a:pt x="439" y="514"/>
                  </a:lnTo>
                  <a:lnTo>
                    <a:pt x="439" y="518"/>
                  </a:lnTo>
                  <a:lnTo>
                    <a:pt x="435" y="521"/>
                  </a:lnTo>
                  <a:lnTo>
                    <a:pt x="433" y="523"/>
                  </a:lnTo>
                  <a:lnTo>
                    <a:pt x="433" y="523"/>
                  </a:lnTo>
                  <a:lnTo>
                    <a:pt x="433" y="523"/>
                  </a:lnTo>
                  <a:lnTo>
                    <a:pt x="433" y="523"/>
                  </a:lnTo>
                  <a:close/>
                  <a:moveTo>
                    <a:pt x="292" y="663"/>
                  </a:moveTo>
                  <a:lnTo>
                    <a:pt x="292" y="661"/>
                  </a:lnTo>
                  <a:lnTo>
                    <a:pt x="294" y="657"/>
                  </a:lnTo>
                  <a:lnTo>
                    <a:pt x="296" y="661"/>
                  </a:lnTo>
                  <a:lnTo>
                    <a:pt x="299" y="657"/>
                  </a:lnTo>
                  <a:lnTo>
                    <a:pt x="301" y="657"/>
                  </a:lnTo>
                  <a:lnTo>
                    <a:pt x="303" y="649"/>
                  </a:lnTo>
                  <a:lnTo>
                    <a:pt x="305" y="649"/>
                  </a:lnTo>
                  <a:lnTo>
                    <a:pt x="307" y="653"/>
                  </a:lnTo>
                  <a:lnTo>
                    <a:pt x="311" y="651"/>
                  </a:lnTo>
                  <a:lnTo>
                    <a:pt x="313" y="651"/>
                  </a:lnTo>
                  <a:lnTo>
                    <a:pt x="316" y="651"/>
                  </a:lnTo>
                  <a:lnTo>
                    <a:pt x="316" y="649"/>
                  </a:lnTo>
                  <a:lnTo>
                    <a:pt x="322" y="649"/>
                  </a:lnTo>
                  <a:lnTo>
                    <a:pt x="324" y="653"/>
                  </a:lnTo>
                  <a:lnTo>
                    <a:pt x="322" y="657"/>
                  </a:lnTo>
                  <a:lnTo>
                    <a:pt x="328" y="661"/>
                  </a:lnTo>
                  <a:lnTo>
                    <a:pt x="328" y="663"/>
                  </a:lnTo>
                  <a:lnTo>
                    <a:pt x="324" y="663"/>
                  </a:lnTo>
                  <a:lnTo>
                    <a:pt x="320" y="663"/>
                  </a:lnTo>
                  <a:lnTo>
                    <a:pt x="314" y="666"/>
                  </a:lnTo>
                  <a:lnTo>
                    <a:pt x="311" y="663"/>
                  </a:lnTo>
                  <a:lnTo>
                    <a:pt x="305" y="663"/>
                  </a:lnTo>
                  <a:lnTo>
                    <a:pt x="301" y="666"/>
                  </a:lnTo>
                  <a:lnTo>
                    <a:pt x="299" y="666"/>
                  </a:lnTo>
                  <a:lnTo>
                    <a:pt x="296" y="668"/>
                  </a:lnTo>
                  <a:lnTo>
                    <a:pt x="292" y="666"/>
                  </a:lnTo>
                  <a:lnTo>
                    <a:pt x="292" y="663"/>
                  </a:lnTo>
                  <a:lnTo>
                    <a:pt x="292" y="663"/>
                  </a:lnTo>
                  <a:lnTo>
                    <a:pt x="292" y="663"/>
                  </a:lnTo>
                  <a:close/>
                </a:path>
              </a:pathLst>
            </a:custGeom>
            <a:solidFill>
              <a:srgbClr val="0F999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7" name="Freeform 40">
              <a:extLst>
                <a:ext uri="{FF2B5EF4-FFF2-40B4-BE49-F238E27FC236}">
                  <a16:creationId xmlns:a16="http://schemas.microsoft.com/office/drawing/2014/main" id="{37711861-274B-431D-9C5F-EFA7A5EE5F08}"/>
                </a:ext>
              </a:extLst>
            </p:cNvPr>
            <p:cNvSpPr>
              <a:spLocks noEditPoints="1"/>
            </p:cNvSpPr>
            <p:nvPr/>
          </p:nvSpPr>
          <p:spPr bwMode="auto">
            <a:xfrm>
              <a:off x="592" y="1997"/>
              <a:ext cx="1044" cy="620"/>
            </a:xfrm>
            <a:custGeom>
              <a:avLst/>
              <a:gdLst/>
              <a:ahLst/>
              <a:cxnLst>
                <a:cxn ang="0">
                  <a:pos x="608" y="63"/>
                </a:cxn>
                <a:cxn ang="0">
                  <a:pos x="732" y="119"/>
                </a:cxn>
                <a:cxn ang="0">
                  <a:pos x="873" y="189"/>
                </a:cxn>
                <a:cxn ang="0">
                  <a:pos x="982" y="155"/>
                </a:cxn>
                <a:cxn ang="0">
                  <a:pos x="1031" y="127"/>
                </a:cxn>
                <a:cxn ang="0">
                  <a:pos x="1037" y="185"/>
                </a:cxn>
                <a:cxn ang="0">
                  <a:pos x="1005" y="194"/>
                </a:cxn>
                <a:cxn ang="0">
                  <a:pos x="975" y="209"/>
                </a:cxn>
                <a:cxn ang="0">
                  <a:pos x="969" y="245"/>
                </a:cxn>
                <a:cxn ang="0">
                  <a:pos x="946" y="264"/>
                </a:cxn>
                <a:cxn ang="0">
                  <a:pos x="894" y="285"/>
                </a:cxn>
                <a:cxn ang="0">
                  <a:pos x="875" y="319"/>
                </a:cxn>
                <a:cxn ang="0">
                  <a:pos x="869" y="324"/>
                </a:cxn>
                <a:cxn ang="0">
                  <a:pos x="852" y="347"/>
                </a:cxn>
                <a:cxn ang="0">
                  <a:pos x="849" y="311"/>
                </a:cxn>
                <a:cxn ang="0">
                  <a:pos x="845" y="338"/>
                </a:cxn>
                <a:cxn ang="0">
                  <a:pos x="845" y="351"/>
                </a:cxn>
                <a:cxn ang="0">
                  <a:pos x="834" y="362"/>
                </a:cxn>
                <a:cxn ang="0">
                  <a:pos x="839" y="387"/>
                </a:cxn>
                <a:cxn ang="0">
                  <a:pos x="849" y="396"/>
                </a:cxn>
                <a:cxn ang="0">
                  <a:pos x="832" y="409"/>
                </a:cxn>
                <a:cxn ang="0">
                  <a:pos x="802" y="436"/>
                </a:cxn>
                <a:cxn ang="0">
                  <a:pos x="756" y="462"/>
                </a:cxn>
                <a:cxn ang="0">
                  <a:pos x="732" y="511"/>
                </a:cxn>
                <a:cxn ang="0">
                  <a:pos x="745" y="594"/>
                </a:cxn>
                <a:cxn ang="0">
                  <a:pos x="715" y="603"/>
                </a:cxn>
                <a:cxn ang="0">
                  <a:pos x="702" y="577"/>
                </a:cxn>
                <a:cxn ang="0">
                  <a:pos x="698" y="535"/>
                </a:cxn>
                <a:cxn ang="0">
                  <a:pos x="668" y="522"/>
                </a:cxn>
                <a:cxn ang="0">
                  <a:pos x="651" y="511"/>
                </a:cxn>
                <a:cxn ang="0">
                  <a:pos x="617" y="507"/>
                </a:cxn>
                <a:cxn ang="0">
                  <a:pos x="576" y="518"/>
                </a:cxn>
                <a:cxn ang="0">
                  <a:pos x="579" y="535"/>
                </a:cxn>
                <a:cxn ang="0">
                  <a:pos x="549" y="532"/>
                </a:cxn>
                <a:cxn ang="0">
                  <a:pos x="521" y="522"/>
                </a:cxn>
                <a:cxn ang="0">
                  <a:pos x="482" y="524"/>
                </a:cxn>
                <a:cxn ang="0">
                  <a:pos x="448" y="545"/>
                </a:cxn>
                <a:cxn ang="0">
                  <a:pos x="431" y="599"/>
                </a:cxn>
                <a:cxn ang="0">
                  <a:pos x="397" y="569"/>
                </a:cxn>
                <a:cxn ang="0">
                  <a:pos x="376" y="522"/>
                </a:cxn>
                <a:cxn ang="0">
                  <a:pos x="342" y="522"/>
                </a:cxn>
                <a:cxn ang="0">
                  <a:pos x="316" y="522"/>
                </a:cxn>
                <a:cxn ang="0">
                  <a:pos x="305" y="500"/>
                </a:cxn>
                <a:cxn ang="0">
                  <a:pos x="280" y="468"/>
                </a:cxn>
                <a:cxn ang="0">
                  <a:pos x="73" y="409"/>
                </a:cxn>
                <a:cxn ang="0">
                  <a:pos x="39" y="381"/>
                </a:cxn>
                <a:cxn ang="0">
                  <a:pos x="24" y="332"/>
                </a:cxn>
                <a:cxn ang="0">
                  <a:pos x="24" y="307"/>
                </a:cxn>
                <a:cxn ang="0">
                  <a:pos x="17" y="307"/>
                </a:cxn>
                <a:cxn ang="0">
                  <a:pos x="3" y="243"/>
                </a:cxn>
                <a:cxn ang="0">
                  <a:pos x="11" y="179"/>
                </a:cxn>
                <a:cxn ang="0">
                  <a:pos x="45" y="87"/>
                </a:cxn>
                <a:cxn ang="0">
                  <a:pos x="49" y="76"/>
                </a:cxn>
                <a:cxn ang="0">
                  <a:pos x="52" y="36"/>
                </a:cxn>
                <a:cxn ang="0">
                  <a:pos x="77" y="38"/>
                </a:cxn>
                <a:cxn ang="0">
                  <a:pos x="79" y="55"/>
                </a:cxn>
                <a:cxn ang="0">
                  <a:pos x="98" y="12"/>
                </a:cxn>
                <a:cxn ang="0">
                  <a:pos x="956" y="264"/>
                </a:cxn>
                <a:cxn ang="0">
                  <a:pos x="931" y="274"/>
                </a:cxn>
                <a:cxn ang="0">
                  <a:pos x="899" y="279"/>
                </a:cxn>
                <a:cxn ang="0">
                  <a:pos x="446" y="554"/>
                </a:cxn>
                <a:cxn ang="0">
                  <a:pos x="433" y="588"/>
                </a:cxn>
              </a:cxnLst>
              <a:rect l="0" t="0" r="r" b="b"/>
              <a:pathLst>
                <a:path w="1044" h="620">
                  <a:moveTo>
                    <a:pt x="92" y="0"/>
                  </a:moveTo>
                  <a:lnTo>
                    <a:pt x="570" y="48"/>
                  </a:lnTo>
                  <a:lnTo>
                    <a:pt x="574" y="49"/>
                  </a:lnTo>
                  <a:lnTo>
                    <a:pt x="576" y="49"/>
                  </a:lnTo>
                  <a:lnTo>
                    <a:pt x="583" y="51"/>
                  </a:lnTo>
                  <a:lnTo>
                    <a:pt x="583" y="53"/>
                  </a:lnTo>
                  <a:lnTo>
                    <a:pt x="583" y="57"/>
                  </a:lnTo>
                  <a:lnTo>
                    <a:pt x="585" y="57"/>
                  </a:lnTo>
                  <a:lnTo>
                    <a:pt x="589" y="59"/>
                  </a:lnTo>
                  <a:lnTo>
                    <a:pt x="589" y="59"/>
                  </a:lnTo>
                  <a:lnTo>
                    <a:pt x="593" y="61"/>
                  </a:lnTo>
                  <a:lnTo>
                    <a:pt x="594" y="63"/>
                  </a:lnTo>
                  <a:lnTo>
                    <a:pt x="594" y="63"/>
                  </a:lnTo>
                  <a:lnTo>
                    <a:pt x="600" y="61"/>
                  </a:lnTo>
                  <a:lnTo>
                    <a:pt x="604" y="63"/>
                  </a:lnTo>
                  <a:lnTo>
                    <a:pt x="608" y="63"/>
                  </a:lnTo>
                  <a:lnTo>
                    <a:pt x="610" y="66"/>
                  </a:lnTo>
                  <a:lnTo>
                    <a:pt x="611" y="66"/>
                  </a:lnTo>
                  <a:lnTo>
                    <a:pt x="613" y="70"/>
                  </a:lnTo>
                  <a:lnTo>
                    <a:pt x="621" y="70"/>
                  </a:lnTo>
                  <a:lnTo>
                    <a:pt x="625" y="72"/>
                  </a:lnTo>
                  <a:lnTo>
                    <a:pt x="628" y="76"/>
                  </a:lnTo>
                  <a:lnTo>
                    <a:pt x="628" y="76"/>
                  </a:lnTo>
                  <a:lnTo>
                    <a:pt x="634" y="76"/>
                  </a:lnTo>
                  <a:lnTo>
                    <a:pt x="638" y="76"/>
                  </a:lnTo>
                  <a:lnTo>
                    <a:pt x="640" y="76"/>
                  </a:lnTo>
                  <a:lnTo>
                    <a:pt x="642" y="80"/>
                  </a:lnTo>
                  <a:lnTo>
                    <a:pt x="651" y="80"/>
                  </a:lnTo>
                  <a:lnTo>
                    <a:pt x="653" y="81"/>
                  </a:lnTo>
                  <a:lnTo>
                    <a:pt x="657" y="83"/>
                  </a:lnTo>
                  <a:lnTo>
                    <a:pt x="658" y="85"/>
                  </a:lnTo>
                  <a:lnTo>
                    <a:pt x="732" y="119"/>
                  </a:lnTo>
                  <a:lnTo>
                    <a:pt x="738" y="125"/>
                  </a:lnTo>
                  <a:lnTo>
                    <a:pt x="749" y="134"/>
                  </a:lnTo>
                  <a:lnTo>
                    <a:pt x="762" y="191"/>
                  </a:lnTo>
                  <a:lnTo>
                    <a:pt x="760" y="215"/>
                  </a:lnTo>
                  <a:lnTo>
                    <a:pt x="756" y="219"/>
                  </a:lnTo>
                  <a:lnTo>
                    <a:pt x="756" y="225"/>
                  </a:lnTo>
                  <a:lnTo>
                    <a:pt x="753" y="228"/>
                  </a:lnTo>
                  <a:lnTo>
                    <a:pt x="745" y="232"/>
                  </a:lnTo>
                  <a:lnTo>
                    <a:pt x="741" y="236"/>
                  </a:lnTo>
                  <a:lnTo>
                    <a:pt x="745" y="243"/>
                  </a:lnTo>
                  <a:lnTo>
                    <a:pt x="809" y="225"/>
                  </a:lnTo>
                  <a:lnTo>
                    <a:pt x="815" y="221"/>
                  </a:lnTo>
                  <a:lnTo>
                    <a:pt x="818" y="213"/>
                  </a:lnTo>
                  <a:lnTo>
                    <a:pt x="852" y="202"/>
                  </a:lnTo>
                  <a:lnTo>
                    <a:pt x="869" y="191"/>
                  </a:lnTo>
                  <a:lnTo>
                    <a:pt x="873" y="189"/>
                  </a:lnTo>
                  <a:lnTo>
                    <a:pt x="877" y="189"/>
                  </a:lnTo>
                  <a:lnTo>
                    <a:pt x="884" y="181"/>
                  </a:lnTo>
                  <a:lnTo>
                    <a:pt x="888" y="176"/>
                  </a:lnTo>
                  <a:lnTo>
                    <a:pt x="894" y="176"/>
                  </a:lnTo>
                  <a:lnTo>
                    <a:pt x="898" y="172"/>
                  </a:lnTo>
                  <a:lnTo>
                    <a:pt x="903" y="170"/>
                  </a:lnTo>
                  <a:lnTo>
                    <a:pt x="956" y="172"/>
                  </a:lnTo>
                  <a:lnTo>
                    <a:pt x="962" y="168"/>
                  </a:lnTo>
                  <a:lnTo>
                    <a:pt x="962" y="168"/>
                  </a:lnTo>
                  <a:lnTo>
                    <a:pt x="963" y="166"/>
                  </a:lnTo>
                  <a:lnTo>
                    <a:pt x="965" y="166"/>
                  </a:lnTo>
                  <a:lnTo>
                    <a:pt x="969" y="166"/>
                  </a:lnTo>
                  <a:lnTo>
                    <a:pt x="973" y="164"/>
                  </a:lnTo>
                  <a:lnTo>
                    <a:pt x="973" y="164"/>
                  </a:lnTo>
                  <a:lnTo>
                    <a:pt x="977" y="155"/>
                  </a:lnTo>
                  <a:lnTo>
                    <a:pt x="982" y="155"/>
                  </a:lnTo>
                  <a:lnTo>
                    <a:pt x="986" y="149"/>
                  </a:lnTo>
                  <a:lnTo>
                    <a:pt x="986" y="145"/>
                  </a:lnTo>
                  <a:lnTo>
                    <a:pt x="988" y="142"/>
                  </a:lnTo>
                  <a:lnTo>
                    <a:pt x="992" y="138"/>
                  </a:lnTo>
                  <a:lnTo>
                    <a:pt x="992" y="136"/>
                  </a:lnTo>
                  <a:lnTo>
                    <a:pt x="995" y="130"/>
                  </a:lnTo>
                  <a:lnTo>
                    <a:pt x="1003" y="125"/>
                  </a:lnTo>
                  <a:lnTo>
                    <a:pt x="1005" y="121"/>
                  </a:lnTo>
                  <a:lnTo>
                    <a:pt x="1007" y="119"/>
                  </a:lnTo>
                  <a:lnTo>
                    <a:pt x="1007" y="119"/>
                  </a:lnTo>
                  <a:lnTo>
                    <a:pt x="1010" y="119"/>
                  </a:lnTo>
                  <a:lnTo>
                    <a:pt x="1012" y="121"/>
                  </a:lnTo>
                  <a:lnTo>
                    <a:pt x="1016" y="121"/>
                  </a:lnTo>
                  <a:lnTo>
                    <a:pt x="1022" y="121"/>
                  </a:lnTo>
                  <a:lnTo>
                    <a:pt x="1024" y="121"/>
                  </a:lnTo>
                  <a:lnTo>
                    <a:pt x="1031" y="127"/>
                  </a:lnTo>
                  <a:lnTo>
                    <a:pt x="1031" y="132"/>
                  </a:lnTo>
                  <a:lnTo>
                    <a:pt x="1027" y="157"/>
                  </a:lnTo>
                  <a:lnTo>
                    <a:pt x="1026" y="159"/>
                  </a:lnTo>
                  <a:lnTo>
                    <a:pt x="1027" y="159"/>
                  </a:lnTo>
                  <a:lnTo>
                    <a:pt x="1029" y="164"/>
                  </a:lnTo>
                  <a:lnTo>
                    <a:pt x="1031" y="164"/>
                  </a:lnTo>
                  <a:lnTo>
                    <a:pt x="1031" y="166"/>
                  </a:lnTo>
                  <a:lnTo>
                    <a:pt x="1029" y="168"/>
                  </a:lnTo>
                  <a:lnTo>
                    <a:pt x="1031" y="170"/>
                  </a:lnTo>
                  <a:lnTo>
                    <a:pt x="1029" y="172"/>
                  </a:lnTo>
                  <a:lnTo>
                    <a:pt x="1029" y="174"/>
                  </a:lnTo>
                  <a:lnTo>
                    <a:pt x="1031" y="174"/>
                  </a:lnTo>
                  <a:lnTo>
                    <a:pt x="1031" y="174"/>
                  </a:lnTo>
                  <a:lnTo>
                    <a:pt x="1035" y="176"/>
                  </a:lnTo>
                  <a:lnTo>
                    <a:pt x="1035" y="181"/>
                  </a:lnTo>
                  <a:lnTo>
                    <a:pt x="1037" y="185"/>
                  </a:lnTo>
                  <a:lnTo>
                    <a:pt x="1039" y="181"/>
                  </a:lnTo>
                  <a:lnTo>
                    <a:pt x="1044" y="185"/>
                  </a:lnTo>
                  <a:lnTo>
                    <a:pt x="1041" y="189"/>
                  </a:lnTo>
                  <a:lnTo>
                    <a:pt x="1037" y="189"/>
                  </a:lnTo>
                  <a:lnTo>
                    <a:pt x="1035" y="185"/>
                  </a:lnTo>
                  <a:lnTo>
                    <a:pt x="1031" y="189"/>
                  </a:lnTo>
                  <a:lnTo>
                    <a:pt x="1029" y="189"/>
                  </a:lnTo>
                  <a:lnTo>
                    <a:pt x="1026" y="189"/>
                  </a:lnTo>
                  <a:lnTo>
                    <a:pt x="1024" y="191"/>
                  </a:lnTo>
                  <a:lnTo>
                    <a:pt x="1020" y="189"/>
                  </a:lnTo>
                  <a:lnTo>
                    <a:pt x="1018" y="194"/>
                  </a:lnTo>
                  <a:lnTo>
                    <a:pt x="1014" y="194"/>
                  </a:lnTo>
                  <a:lnTo>
                    <a:pt x="1014" y="189"/>
                  </a:lnTo>
                  <a:lnTo>
                    <a:pt x="1010" y="189"/>
                  </a:lnTo>
                  <a:lnTo>
                    <a:pt x="1007" y="193"/>
                  </a:lnTo>
                  <a:lnTo>
                    <a:pt x="1005" y="194"/>
                  </a:lnTo>
                  <a:lnTo>
                    <a:pt x="1003" y="191"/>
                  </a:lnTo>
                  <a:lnTo>
                    <a:pt x="1005" y="189"/>
                  </a:lnTo>
                  <a:lnTo>
                    <a:pt x="999" y="193"/>
                  </a:lnTo>
                  <a:lnTo>
                    <a:pt x="995" y="198"/>
                  </a:lnTo>
                  <a:lnTo>
                    <a:pt x="994" y="200"/>
                  </a:lnTo>
                  <a:lnTo>
                    <a:pt x="992" y="198"/>
                  </a:lnTo>
                  <a:lnTo>
                    <a:pt x="990" y="204"/>
                  </a:lnTo>
                  <a:lnTo>
                    <a:pt x="988" y="204"/>
                  </a:lnTo>
                  <a:lnTo>
                    <a:pt x="986" y="198"/>
                  </a:lnTo>
                  <a:lnTo>
                    <a:pt x="986" y="204"/>
                  </a:lnTo>
                  <a:lnTo>
                    <a:pt x="982" y="206"/>
                  </a:lnTo>
                  <a:lnTo>
                    <a:pt x="982" y="204"/>
                  </a:lnTo>
                  <a:lnTo>
                    <a:pt x="982" y="202"/>
                  </a:lnTo>
                  <a:lnTo>
                    <a:pt x="980" y="206"/>
                  </a:lnTo>
                  <a:lnTo>
                    <a:pt x="977" y="206"/>
                  </a:lnTo>
                  <a:lnTo>
                    <a:pt x="975" y="209"/>
                  </a:lnTo>
                  <a:lnTo>
                    <a:pt x="967" y="215"/>
                  </a:lnTo>
                  <a:lnTo>
                    <a:pt x="965" y="221"/>
                  </a:lnTo>
                  <a:lnTo>
                    <a:pt x="963" y="225"/>
                  </a:lnTo>
                  <a:lnTo>
                    <a:pt x="962" y="228"/>
                  </a:lnTo>
                  <a:lnTo>
                    <a:pt x="962" y="228"/>
                  </a:lnTo>
                  <a:lnTo>
                    <a:pt x="962" y="232"/>
                  </a:lnTo>
                  <a:lnTo>
                    <a:pt x="962" y="232"/>
                  </a:lnTo>
                  <a:lnTo>
                    <a:pt x="962" y="234"/>
                  </a:lnTo>
                  <a:lnTo>
                    <a:pt x="956" y="240"/>
                  </a:lnTo>
                  <a:lnTo>
                    <a:pt x="956" y="243"/>
                  </a:lnTo>
                  <a:lnTo>
                    <a:pt x="962" y="243"/>
                  </a:lnTo>
                  <a:lnTo>
                    <a:pt x="962" y="249"/>
                  </a:lnTo>
                  <a:lnTo>
                    <a:pt x="963" y="253"/>
                  </a:lnTo>
                  <a:lnTo>
                    <a:pt x="969" y="253"/>
                  </a:lnTo>
                  <a:lnTo>
                    <a:pt x="971" y="249"/>
                  </a:lnTo>
                  <a:lnTo>
                    <a:pt x="969" y="245"/>
                  </a:lnTo>
                  <a:lnTo>
                    <a:pt x="971" y="245"/>
                  </a:lnTo>
                  <a:lnTo>
                    <a:pt x="973" y="251"/>
                  </a:lnTo>
                  <a:lnTo>
                    <a:pt x="971" y="255"/>
                  </a:lnTo>
                  <a:lnTo>
                    <a:pt x="962" y="260"/>
                  </a:lnTo>
                  <a:lnTo>
                    <a:pt x="962" y="258"/>
                  </a:lnTo>
                  <a:lnTo>
                    <a:pt x="962" y="257"/>
                  </a:lnTo>
                  <a:lnTo>
                    <a:pt x="958" y="253"/>
                  </a:lnTo>
                  <a:lnTo>
                    <a:pt x="956" y="260"/>
                  </a:lnTo>
                  <a:lnTo>
                    <a:pt x="952" y="264"/>
                  </a:lnTo>
                  <a:lnTo>
                    <a:pt x="950" y="262"/>
                  </a:lnTo>
                  <a:lnTo>
                    <a:pt x="950" y="260"/>
                  </a:lnTo>
                  <a:lnTo>
                    <a:pt x="950" y="257"/>
                  </a:lnTo>
                  <a:lnTo>
                    <a:pt x="946" y="253"/>
                  </a:lnTo>
                  <a:lnTo>
                    <a:pt x="946" y="257"/>
                  </a:lnTo>
                  <a:lnTo>
                    <a:pt x="946" y="262"/>
                  </a:lnTo>
                  <a:lnTo>
                    <a:pt x="946" y="264"/>
                  </a:lnTo>
                  <a:lnTo>
                    <a:pt x="945" y="264"/>
                  </a:lnTo>
                  <a:lnTo>
                    <a:pt x="937" y="264"/>
                  </a:lnTo>
                  <a:lnTo>
                    <a:pt x="931" y="264"/>
                  </a:lnTo>
                  <a:lnTo>
                    <a:pt x="928" y="264"/>
                  </a:lnTo>
                  <a:lnTo>
                    <a:pt x="922" y="264"/>
                  </a:lnTo>
                  <a:lnTo>
                    <a:pt x="918" y="264"/>
                  </a:lnTo>
                  <a:lnTo>
                    <a:pt x="918" y="264"/>
                  </a:lnTo>
                  <a:lnTo>
                    <a:pt x="913" y="270"/>
                  </a:lnTo>
                  <a:lnTo>
                    <a:pt x="909" y="270"/>
                  </a:lnTo>
                  <a:lnTo>
                    <a:pt x="903" y="270"/>
                  </a:lnTo>
                  <a:lnTo>
                    <a:pt x="898" y="274"/>
                  </a:lnTo>
                  <a:lnTo>
                    <a:pt x="898" y="274"/>
                  </a:lnTo>
                  <a:lnTo>
                    <a:pt x="898" y="277"/>
                  </a:lnTo>
                  <a:lnTo>
                    <a:pt x="892" y="279"/>
                  </a:lnTo>
                  <a:lnTo>
                    <a:pt x="894" y="283"/>
                  </a:lnTo>
                  <a:lnTo>
                    <a:pt x="894" y="285"/>
                  </a:lnTo>
                  <a:lnTo>
                    <a:pt x="894" y="287"/>
                  </a:lnTo>
                  <a:lnTo>
                    <a:pt x="894" y="290"/>
                  </a:lnTo>
                  <a:lnTo>
                    <a:pt x="894" y="290"/>
                  </a:lnTo>
                  <a:lnTo>
                    <a:pt x="892" y="294"/>
                  </a:lnTo>
                  <a:lnTo>
                    <a:pt x="894" y="294"/>
                  </a:lnTo>
                  <a:lnTo>
                    <a:pt x="892" y="298"/>
                  </a:lnTo>
                  <a:lnTo>
                    <a:pt x="890" y="304"/>
                  </a:lnTo>
                  <a:lnTo>
                    <a:pt x="888" y="304"/>
                  </a:lnTo>
                  <a:lnTo>
                    <a:pt x="886" y="304"/>
                  </a:lnTo>
                  <a:lnTo>
                    <a:pt x="884" y="309"/>
                  </a:lnTo>
                  <a:lnTo>
                    <a:pt x="882" y="311"/>
                  </a:lnTo>
                  <a:lnTo>
                    <a:pt x="882" y="313"/>
                  </a:lnTo>
                  <a:lnTo>
                    <a:pt x="879" y="313"/>
                  </a:lnTo>
                  <a:lnTo>
                    <a:pt x="879" y="315"/>
                  </a:lnTo>
                  <a:lnTo>
                    <a:pt x="875" y="319"/>
                  </a:lnTo>
                  <a:lnTo>
                    <a:pt x="875" y="319"/>
                  </a:lnTo>
                  <a:lnTo>
                    <a:pt x="873" y="321"/>
                  </a:lnTo>
                  <a:lnTo>
                    <a:pt x="875" y="315"/>
                  </a:lnTo>
                  <a:lnTo>
                    <a:pt x="873" y="313"/>
                  </a:lnTo>
                  <a:lnTo>
                    <a:pt x="869" y="313"/>
                  </a:lnTo>
                  <a:lnTo>
                    <a:pt x="867" y="309"/>
                  </a:lnTo>
                  <a:lnTo>
                    <a:pt x="866" y="307"/>
                  </a:lnTo>
                  <a:lnTo>
                    <a:pt x="867" y="304"/>
                  </a:lnTo>
                  <a:lnTo>
                    <a:pt x="873" y="298"/>
                  </a:lnTo>
                  <a:lnTo>
                    <a:pt x="869" y="298"/>
                  </a:lnTo>
                  <a:lnTo>
                    <a:pt x="866" y="304"/>
                  </a:lnTo>
                  <a:lnTo>
                    <a:pt x="864" y="307"/>
                  </a:lnTo>
                  <a:lnTo>
                    <a:pt x="864" y="309"/>
                  </a:lnTo>
                  <a:lnTo>
                    <a:pt x="866" y="311"/>
                  </a:lnTo>
                  <a:lnTo>
                    <a:pt x="866" y="317"/>
                  </a:lnTo>
                  <a:lnTo>
                    <a:pt x="867" y="319"/>
                  </a:lnTo>
                  <a:lnTo>
                    <a:pt x="869" y="324"/>
                  </a:lnTo>
                  <a:lnTo>
                    <a:pt x="869" y="328"/>
                  </a:lnTo>
                  <a:lnTo>
                    <a:pt x="867" y="338"/>
                  </a:lnTo>
                  <a:lnTo>
                    <a:pt x="862" y="339"/>
                  </a:lnTo>
                  <a:lnTo>
                    <a:pt x="860" y="347"/>
                  </a:lnTo>
                  <a:lnTo>
                    <a:pt x="858" y="351"/>
                  </a:lnTo>
                  <a:lnTo>
                    <a:pt x="858" y="353"/>
                  </a:lnTo>
                  <a:lnTo>
                    <a:pt x="856" y="355"/>
                  </a:lnTo>
                  <a:lnTo>
                    <a:pt x="856" y="353"/>
                  </a:lnTo>
                  <a:lnTo>
                    <a:pt x="856" y="351"/>
                  </a:lnTo>
                  <a:lnTo>
                    <a:pt x="852" y="358"/>
                  </a:lnTo>
                  <a:lnTo>
                    <a:pt x="850" y="358"/>
                  </a:lnTo>
                  <a:lnTo>
                    <a:pt x="850" y="362"/>
                  </a:lnTo>
                  <a:lnTo>
                    <a:pt x="850" y="358"/>
                  </a:lnTo>
                  <a:lnTo>
                    <a:pt x="850" y="355"/>
                  </a:lnTo>
                  <a:lnTo>
                    <a:pt x="852" y="351"/>
                  </a:lnTo>
                  <a:lnTo>
                    <a:pt x="852" y="347"/>
                  </a:lnTo>
                  <a:lnTo>
                    <a:pt x="854" y="345"/>
                  </a:lnTo>
                  <a:lnTo>
                    <a:pt x="854" y="343"/>
                  </a:lnTo>
                  <a:lnTo>
                    <a:pt x="858" y="341"/>
                  </a:lnTo>
                  <a:lnTo>
                    <a:pt x="852" y="341"/>
                  </a:lnTo>
                  <a:lnTo>
                    <a:pt x="850" y="339"/>
                  </a:lnTo>
                  <a:lnTo>
                    <a:pt x="852" y="338"/>
                  </a:lnTo>
                  <a:lnTo>
                    <a:pt x="852" y="338"/>
                  </a:lnTo>
                  <a:lnTo>
                    <a:pt x="850" y="338"/>
                  </a:lnTo>
                  <a:lnTo>
                    <a:pt x="850" y="334"/>
                  </a:lnTo>
                  <a:lnTo>
                    <a:pt x="849" y="338"/>
                  </a:lnTo>
                  <a:lnTo>
                    <a:pt x="845" y="332"/>
                  </a:lnTo>
                  <a:lnTo>
                    <a:pt x="845" y="328"/>
                  </a:lnTo>
                  <a:lnTo>
                    <a:pt x="849" y="324"/>
                  </a:lnTo>
                  <a:lnTo>
                    <a:pt x="849" y="321"/>
                  </a:lnTo>
                  <a:lnTo>
                    <a:pt x="849" y="315"/>
                  </a:lnTo>
                  <a:lnTo>
                    <a:pt x="849" y="311"/>
                  </a:lnTo>
                  <a:lnTo>
                    <a:pt x="852" y="309"/>
                  </a:lnTo>
                  <a:lnTo>
                    <a:pt x="850" y="307"/>
                  </a:lnTo>
                  <a:lnTo>
                    <a:pt x="852" y="304"/>
                  </a:lnTo>
                  <a:lnTo>
                    <a:pt x="850" y="304"/>
                  </a:lnTo>
                  <a:lnTo>
                    <a:pt x="850" y="304"/>
                  </a:lnTo>
                  <a:lnTo>
                    <a:pt x="850" y="307"/>
                  </a:lnTo>
                  <a:lnTo>
                    <a:pt x="845" y="311"/>
                  </a:lnTo>
                  <a:lnTo>
                    <a:pt x="845" y="313"/>
                  </a:lnTo>
                  <a:lnTo>
                    <a:pt x="843" y="313"/>
                  </a:lnTo>
                  <a:lnTo>
                    <a:pt x="845" y="315"/>
                  </a:lnTo>
                  <a:lnTo>
                    <a:pt x="845" y="317"/>
                  </a:lnTo>
                  <a:lnTo>
                    <a:pt x="845" y="323"/>
                  </a:lnTo>
                  <a:lnTo>
                    <a:pt x="845" y="324"/>
                  </a:lnTo>
                  <a:lnTo>
                    <a:pt x="845" y="328"/>
                  </a:lnTo>
                  <a:lnTo>
                    <a:pt x="845" y="332"/>
                  </a:lnTo>
                  <a:lnTo>
                    <a:pt x="845" y="338"/>
                  </a:lnTo>
                  <a:lnTo>
                    <a:pt x="843" y="338"/>
                  </a:lnTo>
                  <a:lnTo>
                    <a:pt x="839" y="332"/>
                  </a:lnTo>
                  <a:lnTo>
                    <a:pt x="834" y="332"/>
                  </a:lnTo>
                  <a:lnTo>
                    <a:pt x="832" y="328"/>
                  </a:lnTo>
                  <a:lnTo>
                    <a:pt x="830" y="328"/>
                  </a:lnTo>
                  <a:lnTo>
                    <a:pt x="830" y="328"/>
                  </a:lnTo>
                  <a:lnTo>
                    <a:pt x="832" y="323"/>
                  </a:lnTo>
                  <a:lnTo>
                    <a:pt x="828" y="324"/>
                  </a:lnTo>
                  <a:lnTo>
                    <a:pt x="828" y="328"/>
                  </a:lnTo>
                  <a:lnTo>
                    <a:pt x="832" y="332"/>
                  </a:lnTo>
                  <a:lnTo>
                    <a:pt x="834" y="334"/>
                  </a:lnTo>
                  <a:lnTo>
                    <a:pt x="837" y="338"/>
                  </a:lnTo>
                  <a:lnTo>
                    <a:pt x="843" y="341"/>
                  </a:lnTo>
                  <a:lnTo>
                    <a:pt x="845" y="343"/>
                  </a:lnTo>
                  <a:lnTo>
                    <a:pt x="845" y="345"/>
                  </a:lnTo>
                  <a:lnTo>
                    <a:pt x="845" y="351"/>
                  </a:lnTo>
                  <a:lnTo>
                    <a:pt x="841" y="349"/>
                  </a:lnTo>
                  <a:lnTo>
                    <a:pt x="841" y="347"/>
                  </a:lnTo>
                  <a:lnTo>
                    <a:pt x="839" y="345"/>
                  </a:lnTo>
                  <a:lnTo>
                    <a:pt x="841" y="351"/>
                  </a:lnTo>
                  <a:lnTo>
                    <a:pt x="845" y="353"/>
                  </a:lnTo>
                  <a:lnTo>
                    <a:pt x="845" y="356"/>
                  </a:lnTo>
                  <a:lnTo>
                    <a:pt x="845" y="356"/>
                  </a:lnTo>
                  <a:lnTo>
                    <a:pt x="845" y="358"/>
                  </a:lnTo>
                  <a:lnTo>
                    <a:pt x="839" y="358"/>
                  </a:lnTo>
                  <a:lnTo>
                    <a:pt x="845" y="362"/>
                  </a:lnTo>
                  <a:lnTo>
                    <a:pt x="843" y="362"/>
                  </a:lnTo>
                  <a:lnTo>
                    <a:pt x="841" y="362"/>
                  </a:lnTo>
                  <a:lnTo>
                    <a:pt x="839" y="358"/>
                  </a:lnTo>
                  <a:lnTo>
                    <a:pt x="834" y="358"/>
                  </a:lnTo>
                  <a:lnTo>
                    <a:pt x="832" y="358"/>
                  </a:lnTo>
                  <a:lnTo>
                    <a:pt x="834" y="362"/>
                  </a:lnTo>
                  <a:lnTo>
                    <a:pt x="837" y="362"/>
                  </a:lnTo>
                  <a:lnTo>
                    <a:pt x="839" y="362"/>
                  </a:lnTo>
                  <a:lnTo>
                    <a:pt x="841" y="366"/>
                  </a:lnTo>
                  <a:lnTo>
                    <a:pt x="845" y="366"/>
                  </a:lnTo>
                  <a:lnTo>
                    <a:pt x="845" y="366"/>
                  </a:lnTo>
                  <a:lnTo>
                    <a:pt x="849" y="368"/>
                  </a:lnTo>
                  <a:lnTo>
                    <a:pt x="849" y="371"/>
                  </a:lnTo>
                  <a:lnTo>
                    <a:pt x="849" y="375"/>
                  </a:lnTo>
                  <a:lnTo>
                    <a:pt x="845" y="373"/>
                  </a:lnTo>
                  <a:lnTo>
                    <a:pt x="845" y="375"/>
                  </a:lnTo>
                  <a:lnTo>
                    <a:pt x="845" y="377"/>
                  </a:lnTo>
                  <a:lnTo>
                    <a:pt x="849" y="381"/>
                  </a:lnTo>
                  <a:lnTo>
                    <a:pt x="845" y="383"/>
                  </a:lnTo>
                  <a:lnTo>
                    <a:pt x="845" y="383"/>
                  </a:lnTo>
                  <a:lnTo>
                    <a:pt x="843" y="383"/>
                  </a:lnTo>
                  <a:lnTo>
                    <a:pt x="839" y="387"/>
                  </a:lnTo>
                  <a:lnTo>
                    <a:pt x="835" y="387"/>
                  </a:lnTo>
                  <a:lnTo>
                    <a:pt x="834" y="387"/>
                  </a:lnTo>
                  <a:lnTo>
                    <a:pt x="832" y="383"/>
                  </a:lnTo>
                  <a:lnTo>
                    <a:pt x="830" y="383"/>
                  </a:lnTo>
                  <a:lnTo>
                    <a:pt x="830" y="388"/>
                  </a:lnTo>
                  <a:lnTo>
                    <a:pt x="830" y="392"/>
                  </a:lnTo>
                  <a:lnTo>
                    <a:pt x="834" y="388"/>
                  </a:lnTo>
                  <a:lnTo>
                    <a:pt x="841" y="388"/>
                  </a:lnTo>
                  <a:lnTo>
                    <a:pt x="843" y="388"/>
                  </a:lnTo>
                  <a:lnTo>
                    <a:pt x="843" y="394"/>
                  </a:lnTo>
                  <a:lnTo>
                    <a:pt x="845" y="396"/>
                  </a:lnTo>
                  <a:lnTo>
                    <a:pt x="845" y="392"/>
                  </a:lnTo>
                  <a:lnTo>
                    <a:pt x="849" y="388"/>
                  </a:lnTo>
                  <a:lnTo>
                    <a:pt x="849" y="388"/>
                  </a:lnTo>
                  <a:lnTo>
                    <a:pt x="849" y="392"/>
                  </a:lnTo>
                  <a:lnTo>
                    <a:pt x="849" y="396"/>
                  </a:lnTo>
                  <a:lnTo>
                    <a:pt x="849" y="396"/>
                  </a:lnTo>
                  <a:lnTo>
                    <a:pt x="845" y="400"/>
                  </a:lnTo>
                  <a:lnTo>
                    <a:pt x="843" y="404"/>
                  </a:lnTo>
                  <a:lnTo>
                    <a:pt x="841" y="404"/>
                  </a:lnTo>
                  <a:lnTo>
                    <a:pt x="839" y="402"/>
                  </a:lnTo>
                  <a:lnTo>
                    <a:pt x="835" y="404"/>
                  </a:lnTo>
                  <a:lnTo>
                    <a:pt x="834" y="398"/>
                  </a:lnTo>
                  <a:lnTo>
                    <a:pt x="834" y="402"/>
                  </a:lnTo>
                  <a:lnTo>
                    <a:pt x="832" y="402"/>
                  </a:lnTo>
                  <a:lnTo>
                    <a:pt x="828" y="402"/>
                  </a:lnTo>
                  <a:lnTo>
                    <a:pt x="826" y="402"/>
                  </a:lnTo>
                  <a:lnTo>
                    <a:pt x="828" y="404"/>
                  </a:lnTo>
                  <a:lnTo>
                    <a:pt x="832" y="404"/>
                  </a:lnTo>
                  <a:lnTo>
                    <a:pt x="834" y="405"/>
                  </a:lnTo>
                  <a:lnTo>
                    <a:pt x="832" y="407"/>
                  </a:lnTo>
                  <a:lnTo>
                    <a:pt x="832" y="409"/>
                  </a:lnTo>
                  <a:lnTo>
                    <a:pt x="828" y="411"/>
                  </a:lnTo>
                  <a:lnTo>
                    <a:pt x="824" y="411"/>
                  </a:lnTo>
                  <a:lnTo>
                    <a:pt x="826" y="413"/>
                  </a:lnTo>
                  <a:lnTo>
                    <a:pt x="832" y="413"/>
                  </a:lnTo>
                  <a:lnTo>
                    <a:pt x="835" y="411"/>
                  </a:lnTo>
                  <a:lnTo>
                    <a:pt x="835" y="411"/>
                  </a:lnTo>
                  <a:lnTo>
                    <a:pt x="837" y="413"/>
                  </a:lnTo>
                  <a:lnTo>
                    <a:pt x="834" y="417"/>
                  </a:lnTo>
                  <a:lnTo>
                    <a:pt x="830" y="417"/>
                  </a:lnTo>
                  <a:lnTo>
                    <a:pt x="830" y="413"/>
                  </a:lnTo>
                  <a:lnTo>
                    <a:pt x="828" y="413"/>
                  </a:lnTo>
                  <a:lnTo>
                    <a:pt x="826" y="417"/>
                  </a:lnTo>
                  <a:lnTo>
                    <a:pt x="824" y="417"/>
                  </a:lnTo>
                  <a:lnTo>
                    <a:pt x="815" y="420"/>
                  </a:lnTo>
                  <a:lnTo>
                    <a:pt x="803" y="428"/>
                  </a:lnTo>
                  <a:lnTo>
                    <a:pt x="802" y="436"/>
                  </a:lnTo>
                  <a:lnTo>
                    <a:pt x="800" y="436"/>
                  </a:lnTo>
                  <a:lnTo>
                    <a:pt x="798" y="434"/>
                  </a:lnTo>
                  <a:lnTo>
                    <a:pt x="794" y="436"/>
                  </a:lnTo>
                  <a:lnTo>
                    <a:pt x="790" y="437"/>
                  </a:lnTo>
                  <a:lnTo>
                    <a:pt x="783" y="447"/>
                  </a:lnTo>
                  <a:lnTo>
                    <a:pt x="783" y="451"/>
                  </a:lnTo>
                  <a:lnTo>
                    <a:pt x="779" y="451"/>
                  </a:lnTo>
                  <a:lnTo>
                    <a:pt x="777" y="451"/>
                  </a:lnTo>
                  <a:lnTo>
                    <a:pt x="777" y="452"/>
                  </a:lnTo>
                  <a:lnTo>
                    <a:pt x="773" y="456"/>
                  </a:lnTo>
                  <a:lnTo>
                    <a:pt x="771" y="456"/>
                  </a:lnTo>
                  <a:lnTo>
                    <a:pt x="770" y="456"/>
                  </a:lnTo>
                  <a:lnTo>
                    <a:pt x="770" y="458"/>
                  </a:lnTo>
                  <a:lnTo>
                    <a:pt x="766" y="458"/>
                  </a:lnTo>
                  <a:lnTo>
                    <a:pt x="762" y="462"/>
                  </a:lnTo>
                  <a:lnTo>
                    <a:pt x="756" y="462"/>
                  </a:lnTo>
                  <a:lnTo>
                    <a:pt x="756" y="464"/>
                  </a:lnTo>
                  <a:lnTo>
                    <a:pt x="753" y="464"/>
                  </a:lnTo>
                  <a:lnTo>
                    <a:pt x="753" y="466"/>
                  </a:lnTo>
                  <a:lnTo>
                    <a:pt x="747" y="466"/>
                  </a:lnTo>
                  <a:lnTo>
                    <a:pt x="747" y="468"/>
                  </a:lnTo>
                  <a:lnTo>
                    <a:pt x="747" y="468"/>
                  </a:lnTo>
                  <a:lnTo>
                    <a:pt x="747" y="471"/>
                  </a:lnTo>
                  <a:lnTo>
                    <a:pt x="745" y="475"/>
                  </a:lnTo>
                  <a:lnTo>
                    <a:pt x="745" y="475"/>
                  </a:lnTo>
                  <a:lnTo>
                    <a:pt x="741" y="477"/>
                  </a:lnTo>
                  <a:lnTo>
                    <a:pt x="738" y="477"/>
                  </a:lnTo>
                  <a:lnTo>
                    <a:pt x="736" y="483"/>
                  </a:lnTo>
                  <a:lnTo>
                    <a:pt x="732" y="488"/>
                  </a:lnTo>
                  <a:lnTo>
                    <a:pt x="732" y="494"/>
                  </a:lnTo>
                  <a:lnTo>
                    <a:pt x="732" y="505"/>
                  </a:lnTo>
                  <a:lnTo>
                    <a:pt x="732" y="511"/>
                  </a:lnTo>
                  <a:lnTo>
                    <a:pt x="732" y="518"/>
                  </a:lnTo>
                  <a:lnTo>
                    <a:pt x="732" y="524"/>
                  </a:lnTo>
                  <a:lnTo>
                    <a:pt x="736" y="532"/>
                  </a:lnTo>
                  <a:lnTo>
                    <a:pt x="736" y="535"/>
                  </a:lnTo>
                  <a:lnTo>
                    <a:pt x="738" y="545"/>
                  </a:lnTo>
                  <a:lnTo>
                    <a:pt x="741" y="547"/>
                  </a:lnTo>
                  <a:lnTo>
                    <a:pt x="741" y="550"/>
                  </a:lnTo>
                  <a:lnTo>
                    <a:pt x="741" y="556"/>
                  </a:lnTo>
                  <a:lnTo>
                    <a:pt x="738" y="560"/>
                  </a:lnTo>
                  <a:lnTo>
                    <a:pt x="741" y="564"/>
                  </a:lnTo>
                  <a:lnTo>
                    <a:pt x="741" y="575"/>
                  </a:lnTo>
                  <a:lnTo>
                    <a:pt x="745" y="577"/>
                  </a:lnTo>
                  <a:lnTo>
                    <a:pt x="747" y="582"/>
                  </a:lnTo>
                  <a:lnTo>
                    <a:pt x="745" y="584"/>
                  </a:lnTo>
                  <a:lnTo>
                    <a:pt x="745" y="586"/>
                  </a:lnTo>
                  <a:lnTo>
                    <a:pt x="745" y="594"/>
                  </a:lnTo>
                  <a:lnTo>
                    <a:pt x="745" y="594"/>
                  </a:lnTo>
                  <a:lnTo>
                    <a:pt x="745" y="599"/>
                  </a:lnTo>
                  <a:lnTo>
                    <a:pt x="741" y="603"/>
                  </a:lnTo>
                  <a:lnTo>
                    <a:pt x="741" y="609"/>
                  </a:lnTo>
                  <a:lnTo>
                    <a:pt x="738" y="613"/>
                  </a:lnTo>
                  <a:lnTo>
                    <a:pt x="736" y="616"/>
                  </a:lnTo>
                  <a:lnTo>
                    <a:pt x="736" y="618"/>
                  </a:lnTo>
                  <a:lnTo>
                    <a:pt x="732" y="620"/>
                  </a:lnTo>
                  <a:lnTo>
                    <a:pt x="728" y="618"/>
                  </a:lnTo>
                  <a:lnTo>
                    <a:pt x="726" y="616"/>
                  </a:lnTo>
                  <a:lnTo>
                    <a:pt x="722" y="614"/>
                  </a:lnTo>
                  <a:lnTo>
                    <a:pt x="724" y="614"/>
                  </a:lnTo>
                  <a:lnTo>
                    <a:pt x="721" y="611"/>
                  </a:lnTo>
                  <a:lnTo>
                    <a:pt x="721" y="607"/>
                  </a:lnTo>
                  <a:lnTo>
                    <a:pt x="721" y="603"/>
                  </a:lnTo>
                  <a:lnTo>
                    <a:pt x="715" y="603"/>
                  </a:lnTo>
                  <a:lnTo>
                    <a:pt x="713" y="603"/>
                  </a:lnTo>
                  <a:lnTo>
                    <a:pt x="713" y="599"/>
                  </a:lnTo>
                  <a:lnTo>
                    <a:pt x="713" y="594"/>
                  </a:lnTo>
                  <a:lnTo>
                    <a:pt x="707" y="590"/>
                  </a:lnTo>
                  <a:lnTo>
                    <a:pt x="707" y="590"/>
                  </a:lnTo>
                  <a:lnTo>
                    <a:pt x="711" y="588"/>
                  </a:lnTo>
                  <a:lnTo>
                    <a:pt x="711" y="584"/>
                  </a:lnTo>
                  <a:lnTo>
                    <a:pt x="713" y="581"/>
                  </a:lnTo>
                  <a:lnTo>
                    <a:pt x="711" y="582"/>
                  </a:lnTo>
                  <a:lnTo>
                    <a:pt x="707" y="581"/>
                  </a:lnTo>
                  <a:lnTo>
                    <a:pt x="707" y="582"/>
                  </a:lnTo>
                  <a:lnTo>
                    <a:pt x="707" y="584"/>
                  </a:lnTo>
                  <a:lnTo>
                    <a:pt x="707" y="581"/>
                  </a:lnTo>
                  <a:lnTo>
                    <a:pt x="706" y="581"/>
                  </a:lnTo>
                  <a:lnTo>
                    <a:pt x="706" y="579"/>
                  </a:lnTo>
                  <a:lnTo>
                    <a:pt x="702" y="577"/>
                  </a:lnTo>
                  <a:lnTo>
                    <a:pt x="702" y="573"/>
                  </a:lnTo>
                  <a:lnTo>
                    <a:pt x="702" y="569"/>
                  </a:lnTo>
                  <a:lnTo>
                    <a:pt x="706" y="566"/>
                  </a:lnTo>
                  <a:lnTo>
                    <a:pt x="706" y="560"/>
                  </a:lnTo>
                  <a:lnTo>
                    <a:pt x="704" y="560"/>
                  </a:lnTo>
                  <a:lnTo>
                    <a:pt x="702" y="560"/>
                  </a:lnTo>
                  <a:lnTo>
                    <a:pt x="702" y="564"/>
                  </a:lnTo>
                  <a:lnTo>
                    <a:pt x="700" y="566"/>
                  </a:lnTo>
                  <a:lnTo>
                    <a:pt x="700" y="566"/>
                  </a:lnTo>
                  <a:lnTo>
                    <a:pt x="696" y="564"/>
                  </a:lnTo>
                  <a:lnTo>
                    <a:pt x="696" y="560"/>
                  </a:lnTo>
                  <a:lnTo>
                    <a:pt x="700" y="552"/>
                  </a:lnTo>
                  <a:lnTo>
                    <a:pt x="704" y="545"/>
                  </a:lnTo>
                  <a:lnTo>
                    <a:pt x="704" y="539"/>
                  </a:lnTo>
                  <a:lnTo>
                    <a:pt x="702" y="535"/>
                  </a:lnTo>
                  <a:lnTo>
                    <a:pt x="698" y="535"/>
                  </a:lnTo>
                  <a:lnTo>
                    <a:pt x="696" y="532"/>
                  </a:lnTo>
                  <a:lnTo>
                    <a:pt x="696" y="532"/>
                  </a:lnTo>
                  <a:lnTo>
                    <a:pt x="694" y="532"/>
                  </a:lnTo>
                  <a:lnTo>
                    <a:pt x="692" y="530"/>
                  </a:lnTo>
                  <a:lnTo>
                    <a:pt x="692" y="526"/>
                  </a:lnTo>
                  <a:lnTo>
                    <a:pt x="690" y="526"/>
                  </a:lnTo>
                  <a:lnTo>
                    <a:pt x="689" y="522"/>
                  </a:lnTo>
                  <a:lnTo>
                    <a:pt x="687" y="517"/>
                  </a:lnTo>
                  <a:lnTo>
                    <a:pt x="683" y="515"/>
                  </a:lnTo>
                  <a:lnTo>
                    <a:pt x="681" y="515"/>
                  </a:lnTo>
                  <a:lnTo>
                    <a:pt x="677" y="515"/>
                  </a:lnTo>
                  <a:lnTo>
                    <a:pt x="674" y="517"/>
                  </a:lnTo>
                  <a:lnTo>
                    <a:pt x="674" y="517"/>
                  </a:lnTo>
                  <a:lnTo>
                    <a:pt x="674" y="518"/>
                  </a:lnTo>
                  <a:lnTo>
                    <a:pt x="672" y="517"/>
                  </a:lnTo>
                  <a:lnTo>
                    <a:pt x="668" y="522"/>
                  </a:lnTo>
                  <a:lnTo>
                    <a:pt x="664" y="522"/>
                  </a:lnTo>
                  <a:lnTo>
                    <a:pt x="658" y="524"/>
                  </a:lnTo>
                  <a:lnTo>
                    <a:pt x="657" y="522"/>
                  </a:lnTo>
                  <a:lnTo>
                    <a:pt x="657" y="520"/>
                  </a:lnTo>
                  <a:lnTo>
                    <a:pt x="658" y="522"/>
                  </a:lnTo>
                  <a:lnTo>
                    <a:pt x="658" y="520"/>
                  </a:lnTo>
                  <a:lnTo>
                    <a:pt x="658" y="518"/>
                  </a:lnTo>
                  <a:lnTo>
                    <a:pt x="657" y="517"/>
                  </a:lnTo>
                  <a:lnTo>
                    <a:pt x="653" y="515"/>
                  </a:lnTo>
                  <a:lnTo>
                    <a:pt x="653" y="515"/>
                  </a:lnTo>
                  <a:lnTo>
                    <a:pt x="657" y="515"/>
                  </a:lnTo>
                  <a:lnTo>
                    <a:pt x="657" y="515"/>
                  </a:lnTo>
                  <a:lnTo>
                    <a:pt x="653" y="511"/>
                  </a:lnTo>
                  <a:lnTo>
                    <a:pt x="653" y="511"/>
                  </a:lnTo>
                  <a:lnTo>
                    <a:pt x="651" y="507"/>
                  </a:lnTo>
                  <a:lnTo>
                    <a:pt x="651" y="511"/>
                  </a:lnTo>
                  <a:lnTo>
                    <a:pt x="653" y="515"/>
                  </a:lnTo>
                  <a:lnTo>
                    <a:pt x="649" y="511"/>
                  </a:lnTo>
                  <a:lnTo>
                    <a:pt x="645" y="507"/>
                  </a:lnTo>
                  <a:lnTo>
                    <a:pt x="642" y="507"/>
                  </a:lnTo>
                  <a:lnTo>
                    <a:pt x="636" y="507"/>
                  </a:lnTo>
                  <a:lnTo>
                    <a:pt x="636" y="507"/>
                  </a:lnTo>
                  <a:lnTo>
                    <a:pt x="642" y="507"/>
                  </a:lnTo>
                  <a:lnTo>
                    <a:pt x="643" y="505"/>
                  </a:lnTo>
                  <a:lnTo>
                    <a:pt x="643" y="505"/>
                  </a:lnTo>
                  <a:lnTo>
                    <a:pt x="638" y="505"/>
                  </a:lnTo>
                  <a:lnTo>
                    <a:pt x="634" y="507"/>
                  </a:lnTo>
                  <a:lnTo>
                    <a:pt x="632" y="507"/>
                  </a:lnTo>
                  <a:lnTo>
                    <a:pt x="628" y="507"/>
                  </a:lnTo>
                  <a:lnTo>
                    <a:pt x="626" y="505"/>
                  </a:lnTo>
                  <a:lnTo>
                    <a:pt x="623" y="507"/>
                  </a:lnTo>
                  <a:lnTo>
                    <a:pt x="617" y="507"/>
                  </a:lnTo>
                  <a:lnTo>
                    <a:pt x="615" y="507"/>
                  </a:lnTo>
                  <a:lnTo>
                    <a:pt x="611" y="505"/>
                  </a:lnTo>
                  <a:lnTo>
                    <a:pt x="610" y="501"/>
                  </a:lnTo>
                  <a:lnTo>
                    <a:pt x="611" y="501"/>
                  </a:lnTo>
                  <a:lnTo>
                    <a:pt x="608" y="501"/>
                  </a:lnTo>
                  <a:lnTo>
                    <a:pt x="608" y="505"/>
                  </a:lnTo>
                  <a:lnTo>
                    <a:pt x="608" y="505"/>
                  </a:lnTo>
                  <a:lnTo>
                    <a:pt x="604" y="505"/>
                  </a:lnTo>
                  <a:lnTo>
                    <a:pt x="602" y="505"/>
                  </a:lnTo>
                  <a:lnTo>
                    <a:pt x="594" y="505"/>
                  </a:lnTo>
                  <a:lnTo>
                    <a:pt x="585" y="507"/>
                  </a:lnTo>
                  <a:lnTo>
                    <a:pt x="583" y="511"/>
                  </a:lnTo>
                  <a:lnTo>
                    <a:pt x="576" y="515"/>
                  </a:lnTo>
                  <a:lnTo>
                    <a:pt x="574" y="517"/>
                  </a:lnTo>
                  <a:lnTo>
                    <a:pt x="574" y="520"/>
                  </a:lnTo>
                  <a:lnTo>
                    <a:pt x="576" y="518"/>
                  </a:lnTo>
                  <a:lnTo>
                    <a:pt x="579" y="517"/>
                  </a:lnTo>
                  <a:lnTo>
                    <a:pt x="579" y="517"/>
                  </a:lnTo>
                  <a:lnTo>
                    <a:pt x="579" y="518"/>
                  </a:lnTo>
                  <a:lnTo>
                    <a:pt x="583" y="520"/>
                  </a:lnTo>
                  <a:lnTo>
                    <a:pt x="583" y="520"/>
                  </a:lnTo>
                  <a:lnTo>
                    <a:pt x="576" y="524"/>
                  </a:lnTo>
                  <a:lnTo>
                    <a:pt x="576" y="526"/>
                  </a:lnTo>
                  <a:lnTo>
                    <a:pt x="579" y="530"/>
                  </a:lnTo>
                  <a:lnTo>
                    <a:pt x="583" y="532"/>
                  </a:lnTo>
                  <a:lnTo>
                    <a:pt x="589" y="535"/>
                  </a:lnTo>
                  <a:lnTo>
                    <a:pt x="587" y="535"/>
                  </a:lnTo>
                  <a:lnTo>
                    <a:pt x="585" y="535"/>
                  </a:lnTo>
                  <a:lnTo>
                    <a:pt x="583" y="539"/>
                  </a:lnTo>
                  <a:lnTo>
                    <a:pt x="583" y="535"/>
                  </a:lnTo>
                  <a:lnTo>
                    <a:pt x="583" y="535"/>
                  </a:lnTo>
                  <a:lnTo>
                    <a:pt x="579" y="535"/>
                  </a:lnTo>
                  <a:lnTo>
                    <a:pt x="579" y="532"/>
                  </a:lnTo>
                  <a:lnTo>
                    <a:pt x="574" y="532"/>
                  </a:lnTo>
                  <a:lnTo>
                    <a:pt x="574" y="526"/>
                  </a:lnTo>
                  <a:lnTo>
                    <a:pt x="570" y="526"/>
                  </a:lnTo>
                  <a:lnTo>
                    <a:pt x="570" y="530"/>
                  </a:lnTo>
                  <a:lnTo>
                    <a:pt x="570" y="535"/>
                  </a:lnTo>
                  <a:lnTo>
                    <a:pt x="568" y="535"/>
                  </a:lnTo>
                  <a:lnTo>
                    <a:pt x="566" y="535"/>
                  </a:lnTo>
                  <a:lnTo>
                    <a:pt x="564" y="532"/>
                  </a:lnTo>
                  <a:lnTo>
                    <a:pt x="561" y="535"/>
                  </a:lnTo>
                  <a:lnTo>
                    <a:pt x="559" y="535"/>
                  </a:lnTo>
                  <a:lnTo>
                    <a:pt x="553" y="535"/>
                  </a:lnTo>
                  <a:lnTo>
                    <a:pt x="551" y="532"/>
                  </a:lnTo>
                  <a:lnTo>
                    <a:pt x="549" y="532"/>
                  </a:lnTo>
                  <a:lnTo>
                    <a:pt x="546" y="532"/>
                  </a:lnTo>
                  <a:lnTo>
                    <a:pt x="549" y="532"/>
                  </a:lnTo>
                  <a:lnTo>
                    <a:pt x="549" y="530"/>
                  </a:lnTo>
                  <a:lnTo>
                    <a:pt x="549" y="526"/>
                  </a:lnTo>
                  <a:lnTo>
                    <a:pt x="546" y="526"/>
                  </a:lnTo>
                  <a:lnTo>
                    <a:pt x="546" y="526"/>
                  </a:lnTo>
                  <a:lnTo>
                    <a:pt x="546" y="522"/>
                  </a:lnTo>
                  <a:lnTo>
                    <a:pt x="544" y="522"/>
                  </a:lnTo>
                  <a:lnTo>
                    <a:pt x="542" y="522"/>
                  </a:lnTo>
                  <a:lnTo>
                    <a:pt x="540" y="522"/>
                  </a:lnTo>
                  <a:lnTo>
                    <a:pt x="540" y="520"/>
                  </a:lnTo>
                  <a:lnTo>
                    <a:pt x="538" y="518"/>
                  </a:lnTo>
                  <a:lnTo>
                    <a:pt x="534" y="520"/>
                  </a:lnTo>
                  <a:lnTo>
                    <a:pt x="534" y="522"/>
                  </a:lnTo>
                  <a:lnTo>
                    <a:pt x="534" y="524"/>
                  </a:lnTo>
                  <a:lnTo>
                    <a:pt x="530" y="526"/>
                  </a:lnTo>
                  <a:lnTo>
                    <a:pt x="521" y="524"/>
                  </a:lnTo>
                  <a:lnTo>
                    <a:pt x="521" y="522"/>
                  </a:lnTo>
                  <a:lnTo>
                    <a:pt x="512" y="520"/>
                  </a:lnTo>
                  <a:lnTo>
                    <a:pt x="506" y="520"/>
                  </a:lnTo>
                  <a:lnTo>
                    <a:pt x="500" y="522"/>
                  </a:lnTo>
                  <a:lnTo>
                    <a:pt x="497" y="522"/>
                  </a:lnTo>
                  <a:lnTo>
                    <a:pt x="495" y="524"/>
                  </a:lnTo>
                  <a:lnTo>
                    <a:pt x="491" y="526"/>
                  </a:lnTo>
                  <a:lnTo>
                    <a:pt x="487" y="526"/>
                  </a:lnTo>
                  <a:lnTo>
                    <a:pt x="489" y="526"/>
                  </a:lnTo>
                  <a:lnTo>
                    <a:pt x="487" y="522"/>
                  </a:lnTo>
                  <a:lnTo>
                    <a:pt x="489" y="518"/>
                  </a:lnTo>
                  <a:lnTo>
                    <a:pt x="489" y="515"/>
                  </a:lnTo>
                  <a:lnTo>
                    <a:pt x="487" y="517"/>
                  </a:lnTo>
                  <a:lnTo>
                    <a:pt x="483" y="520"/>
                  </a:lnTo>
                  <a:lnTo>
                    <a:pt x="482" y="520"/>
                  </a:lnTo>
                  <a:lnTo>
                    <a:pt x="480" y="518"/>
                  </a:lnTo>
                  <a:lnTo>
                    <a:pt x="482" y="524"/>
                  </a:lnTo>
                  <a:lnTo>
                    <a:pt x="482" y="526"/>
                  </a:lnTo>
                  <a:lnTo>
                    <a:pt x="483" y="532"/>
                  </a:lnTo>
                  <a:lnTo>
                    <a:pt x="482" y="532"/>
                  </a:lnTo>
                  <a:lnTo>
                    <a:pt x="478" y="532"/>
                  </a:lnTo>
                  <a:lnTo>
                    <a:pt x="472" y="539"/>
                  </a:lnTo>
                  <a:lnTo>
                    <a:pt x="465" y="541"/>
                  </a:lnTo>
                  <a:lnTo>
                    <a:pt x="463" y="541"/>
                  </a:lnTo>
                  <a:lnTo>
                    <a:pt x="459" y="545"/>
                  </a:lnTo>
                  <a:lnTo>
                    <a:pt x="457" y="545"/>
                  </a:lnTo>
                  <a:lnTo>
                    <a:pt x="459" y="541"/>
                  </a:lnTo>
                  <a:lnTo>
                    <a:pt x="457" y="539"/>
                  </a:lnTo>
                  <a:lnTo>
                    <a:pt x="455" y="541"/>
                  </a:lnTo>
                  <a:lnTo>
                    <a:pt x="453" y="539"/>
                  </a:lnTo>
                  <a:lnTo>
                    <a:pt x="450" y="541"/>
                  </a:lnTo>
                  <a:lnTo>
                    <a:pt x="451" y="543"/>
                  </a:lnTo>
                  <a:lnTo>
                    <a:pt x="448" y="545"/>
                  </a:lnTo>
                  <a:lnTo>
                    <a:pt x="446" y="543"/>
                  </a:lnTo>
                  <a:lnTo>
                    <a:pt x="446" y="549"/>
                  </a:lnTo>
                  <a:lnTo>
                    <a:pt x="442" y="550"/>
                  </a:lnTo>
                  <a:lnTo>
                    <a:pt x="442" y="549"/>
                  </a:lnTo>
                  <a:lnTo>
                    <a:pt x="438" y="554"/>
                  </a:lnTo>
                  <a:lnTo>
                    <a:pt x="442" y="556"/>
                  </a:lnTo>
                  <a:lnTo>
                    <a:pt x="436" y="560"/>
                  </a:lnTo>
                  <a:lnTo>
                    <a:pt x="433" y="560"/>
                  </a:lnTo>
                  <a:lnTo>
                    <a:pt x="436" y="566"/>
                  </a:lnTo>
                  <a:lnTo>
                    <a:pt x="433" y="569"/>
                  </a:lnTo>
                  <a:lnTo>
                    <a:pt x="431" y="575"/>
                  </a:lnTo>
                  <a:lnTo>
                    <a:pt x="429" y="581"/>
                  </a:lnTo>
                  <a:lnTo>
                    <a:pt x="431" y="584"/>
                  </a:lnTo>
                  <a:lnTo>
                    <a:pt x="431" y="590"/>
                  </a:lnTo>
                  <a:lnTo>
                    <a:pt x="431" y="594"/>
                  </a:lnTo>
                  <a:lnTo>
                    <a:pt x="431" y="599"/>
                  </a:lnTo>
                  <a:lnTo>
                    <a:pt x="427" y="603"/>
                  </a:lnTo>
                  <a:lnTo>
                    <a:pt x="427" y="601"/>
                  </a:lnTo>
                  <a:lnTo>
                    <a:pt x="425" y="599"/>
                  </a:lnTo>
                  <a:lnTo>
                    <a:pt x="421" y="599"/>
                  </a:lnTo>
                  <a:lnTo>
                    <a:pt x="418" y="599"/>
                  </a:lnTo>
                  <a:lnTo>
                    <a:pt x="412" y="594"/>
                  </a:lnTo>
                  <a:lnTo>
                    <a:pt x="408" y="594"/>
                  </a:lnTo>
                  <a:lnTo>
                    <a:pt x="408" y="590"/>
                  </a:lnTo>
                  <a:lnTo>
                    <a:pt x="404" y="590"/>
                  </a:lnTo>
                  <a:lnTo>
                    <a:pt x="402" y="590"/>
                  </a:lnTo>
                  <a:lnTo>
                    <a:pt x="402" y="590"/>
                  </a:lnTo>
                  <a:lnTo>
                    <a:pt x="401" y="588"/>
                  </a:lnTo>
                  <a:lnTo>
                    <a:pt x="401" y="584"/>
                  </a:lnTo>
                  <a:lnTo>
                    <a:pt x="397" y="573"/>
                  </a:lnTo>
                  <a:lnTo>
                    <a:pt x="397" y="571"/>
                  </a:lnTo>
                  <a:lnTo>
                    <a:pt x="397" y="569"/>
                  </a:lnTo>
                  <a:lnTo>
                    <a:pt x="397" y="569"/>
                  </a:lnTo>
                  <a:lnTo>
                    <a:pt x="397" y="566"/>
                  </a:lnTo>
                  <a:lnTo>
                    <a:pt x="393" y="560"/>
                  </a:lnTo>
                  <a:lnTo>
                    <a:pt x="391" y="556"/>
                  </a:lnTo>
                  <a:lnTo>
                    <a:pt x="391" y="554"/>
                  </a:lnTo>
                  <a:lnTo>
                    <a:pt x="387" y="552"/>
                  </a:lnTo>
                  <a:lnTo>
                    <a:pt x="387" y="550"/>
                  </a:lnTo>
                  <a:lnTo>
                    <a:pt x="387" y="549"/>
                  </a:lnTo>
                  <a:lnTo>
                    <a:pt x="384" y="541"/>
                  </a:lnTo>
                  <a:lnTo>
                    <a:pt x="384" y="539"/>
                  </a:lnTo>
                  <a:lnTo>
                    <a:pt x="382" y="539"/>
                  </a:lnTo>
                  <a:lnTo>
                    <a:pt x="382" y="535"/>
                  </a:lnTo>
                  <a:lnTo>
                    <a:pt x="382" y="532"/>
                  </a:lnTo>
                  <a:lnTo>
                    <a:pt x="380" y="532"/>
                  </a:lnTo>
                  <a:lnTo>
                    <a:pt x="378" y="526"/>
                  </a:lnTo>
                  <a:lnTo>
                    <a:pt x="376" y="522"/>
                  </a:lnTo>
                  <a:lnTo>
                    <a:pt x="372" y="518"/>
                  </a:lnTo>
                  <a:lnTo>
                    <a:pt x="370" y="517"/>
                  </a:lnTo>
                  <a:lnTo>
                    <a:pt x="367" y="515"/>
                  </a:lnTo>
                  <a:lnTo>
                    <a:pt x="365" y="515"/>
                  </a:lnTo>
                  <a:lnTo>
                    <a:pt x="363" y="515"/>
                  </a:lnTo>
                  <a:lnTo>
                    <a:pt x="363" y="515"/>
                  </a:lnTo>
                  <a:lnTo>
                    <a:pt x="359" y="515"/>
                  </a:lnTo>
                  <a:lnTo>
                    <a:pt x="357" y="515"/>
                  </a:lnTo>
                  <a:lnTo>
                    <a:pt x="354" y="515"/>
                  </a:lnTo>
                  <a:lnTo>
                    <a:pt x="352" y="515"/>
                  </a:lnTo>
                  <a:lnTo>
                    <a:pt x="352" y="515"/>
                  </a:lnTo>
                  <a:lnTo>
                    <a:pt x="350" y="515"/>
                  </a:lnTo>
                  <a:lnTo>
                    <a:pt x="350" y="515"/>
                  </a:lnTo>
                  <a:lnTo>
                    <a:pt x="346" y="515"/>
                  </a:lnTo>
                  <a:lnTo>
                    <a:pt x="344" y="517"/>
                  </a:lnTo>
                  <a:lnTo>
                    <a:pt x="342" y="522"/>
                  </a:lnTo>
                  <a:lnTo>
                    <a:pt x="340" y="524"/>
                  </a:lnTo>
                  <a:lnTo>
                    <a:pt x="340" y="526"/>
                  </a:lnTo>
                  <a:lnTo>
                    <a:pt x="340" y="526"/>
                  </a:lnTo>
                  <a:lnTo>
                    <a:pt x="338" y="526"/>
                  </a:lnTo>
                  <a:lnTo>
                    <a:pt x="335" y="530"/>
                  </a:lnTo>
                  <a:lnTo>
                    <a:pt x="335" y="532"/>
                  </a:lnTo>
                  <a:lnTo>
                    <a:pt x="333" y="532"/>
                  </a:lnTo>
                  <a:lnTo>
                    <a:pt x="333" y="532"/>
                  </a:lnTo>
                  <a:lnTo>
                    <a:pt x="333" y="530"/>
                  </a:lnTo>
                  <a:lnTo>
                    <a:pt x="327" y="526"/>
                  </a:lnTo>
                  <a:lnTo>
                    <a:pt x="325" y="526"/>
                  </a:lnTo>
                  <a:lnTo>
                    <a:pt x="323" y="526"/>
                  </a:lnTo>
                  <a:lnTo>
                    <a:pt x="320" y="524"/>
                  </a:lnTo>
                  <a:lnTo>
                    <a:pt x="318" y="524"/>
                  </a:lnTo>
                  <a:lnTo>
                    <a:pt x="316" y="522"/>
                  </a:lnTo>
                  <a:lnTo>
                    <a:pt x="316" y="522"/>
                  </a:lnTo>
                  <a:lnTo>
                    <a:pt x="316" y="520"/>
                  </a:lnTo>
                  <a:lnTo>
                    <a:pt x="314" y="518"/>
                  </a:lnTo>
                  <a:lnTo>
                    <a:pt x="312" y="520"/>
                  </a:lnTo>
                  <a:lnTo>
                    <a:pt x="310" y="518"/>
                  </a:lnTo>
                  <a:lnTo>
                    <a:pt x="310" y="518"/>
                  </a:lnTo>
                  <a:lnTo>
                    <a:pt x="310" y="517"/>
                  </a:lnTo>
                  <a:lnTo>
                    <a:pt x="308" y="515"/>
                  </a:lnTo>
                  <a:lnTo>
                    <a:pt x="308" y="511"/>
                  </a:lnTo>
                  <a:lnTo>
                    <a:pt x="305" y="507"/>
                  </a:lnTo>
                  <a:lnTo>
                    <a:pt x="305" y="505"/>
                  </a:lnTo>
                  <a:lnTo>
                    <a:pt x="305" y="505"/>
                  </a:lnTo>
                  <a:lnTo>
                    <a:pt x="308" y="505"/>
                  </a:lnTo>
                  <a:lnTo>
                    <a:pt x="308" y="501"/>
                  </a:lnTo>
                  <a:lnTo>
                    <a:pt x="305" y="501"/>
                  </a:lnTo>
                  <a:lnTo>
                    <a:pt x="305" y="500"/>
                  </a:lnTo>
                  <a:lnTo>
                    <a:pt x="305" y="500"/>
                  </a:lnTo>
                  <a:lnTo>
                    <a:pt x="303" y="498"/>
                  </a:lnTo>
                  <a:lnTo>
                    <a:pt x="303" y="492"/>
                  </a:lnTo>
                  <a:lnTo>
                    <a:pt x="301" y="490"/>
                  </a:lnTo>
                  <a:lnTo>
                    <a:pt x="297" y="488"/>
                  </a:lnTo>
                  <a:lnTo>
                    <a:pt x="295" y="488"/>
                  </a:lnTo>
                  <a:lnTo>
                    <a:pt x="297" y="486"/>
                  </a:lnTo>
                  <a:lnTo>
                    <a:pt x="297" y="485"/>
                  </a:lnTo>
                  <a:lnTo>
                    <a:pt x="293" y="483"/>
                  </a:lnTo>
                  <a:lnTo>
                    <a:pt x="290" y="481"/>
                  </a:lnTo>
                  <a:lnTo>
                    <a:pt x="291" y="481"/>
                  </a:lnTo>
                  <a:lnTo>
                    <a:pt x="290" y="477"/>
                  </a:lnTo>
                  <a:lnTo>
                    <a:pt x="288" y="477"/>
                  </a:lnTo>
                  <a:lnTo>
                    <a:pt x="288" y="477"/>
                  </a:lnTo>
                  <a:lnTo>
                    <a:pt x="286" y="471"/>
                  </a:lnTo>
                  <a:lnTo>
                    <a:pt x="284" y="469"/>
                  </a:lnTo>
                  <a:lnTo>
                    <a:pt x="280" y="468"/>
                  </a:lnTo>
                  <a:lnTo>
                    <a:pt x="250" y="466"/>
                  </a:lnTo>
                  <a:lnTo>
                    <a:pt x="250" y="471"/>
                  </a:lnTo>
                  <a:lnTo>
                    <a:pt x="197" y="471"/>
                  </a:lnTo>
                  <a:lnTo>
                    <a:pt x="133" y="443"/>
                  </a:lnTo>
                  <a:lnTo>
                    <a:pt x="133" y="441"/>
                  </a:lnTo>
                  <a:lnTo>
                    <a:pt x="133" y="437"/>
                  </a:lnTo>
                  <a:lnTo>
                    <a:pt x="88" y="441"/>
                  </a:lnTo>
                  <a:lnTo>
                    <a:pt x="88" y="437"/>
                  </a:lnTo>
                  <a:lnTo>
                    <a:pt x="88" y="432"/>
                  </a:lnTo>
                  <a:lnTo>
                    <a:pt x="88" y="426"/>
                  </a:lnTo>
                  <a:lnTo>
                    <a:pt x="83" y="417"/>
                  </a:lnTo>
                  <a:lnTo>
                    <a:pt x="79" y="413"/>
                  </a:lnTo>
                  <a:lnTo>
                    <a:pt x="77" y="413"/>
                  </a:lnTo>
                  <a:lnTo>
                    <a:pt x="75" y="413"/>
                  </a:lnTo>
                  <a:lnTo>
                    <a:pt x="73" y="413"/>
                  </a:lnTo>
                  <a:lnTo>
                    <a:pt x="73" y="409"/>
                  </a:lnTo>
                  <a:lnTo>
                    <a:pt x="73" y="407"/>
                  </a:lnTo>
                  <a:lnTo>
                    <a:pt x="67" y="407"/>
                  </a:lnTo>
                  <a:lnTo>
                    <a:pt x="64" y="407"/>
                  </a:lnTo>
                  <a:lnTo>
                    <a:pt x="60" y="404"/>
                  </a:lnTo>
                  <a:lnTo>
                    <a:pt x="60" y="400"/>
                  </a:lnTo>
                  <a:lnTo>
                    <a:pt x="58" y="398"/>
                  </a:lnTo>
                  <a:lnTo>
                    <a:pt x="52" y="398"/>
                  </a:lnTo>
                  <a:lnTo>
                    <a:pt x="51" y="396"/>
                  </a:lnTo>
                  <a:lnTo>
                    <a:pt x="47" y="394"/>
                  </a:lnTo>
                  <a:lnTo>
                    <a:pt x="43" y="394"/>
                  </a:lnTo>
                  <a:lnTo>
                    <a:pt x="39" y="394"/>
                  </a:lnTo>
                  <a:lnTo>
                    <a:pt x="35" y="392"/>
                  </a:lnTo>
                  <a:lnTo>
                    <a:pt x="35" y="388"/>
                  </a:lnTo>
                  <a:lnTo>
                    <a:pt x="35" y="388"/>
                  </a:lnTo>
                  <a:lnTo>
                    <a:pt x="35" y="387"/>
                  </a:lnTo>
                  <a:lnTo>
                    <a:pt x="39" y="381"/>
                  </a:lnTo>
                  <a:lnTo>
                    <a:pt x="35" y="377"/>
                  </a:lnTo>
                  <a:lnTo>
                    <a:pt x="34" y="373"/>
                  </a:lnTo>
                  <a:lnTo>
                    <a:pt x="34" y="373"/>
                  </a:lnTo>
                  <a:lnTo>
                    <a:pt x="35" y="371"/>
                  </a:lnTo>
                  <a:lnTo>
                    <a:pt x="34" y="370"/>
                  </a:lnTo>
                  <a:lnTo>
                    <a:pt x="30" y="366"/>
                  </a:lnTo>
                  <a:lnTo>
                    <a:pt x="26" y="358"/>
                  </a:lnTo>
                  <a:lnTo>
                    <a:pt x="24" y="353"/>
                  </a:lnTo>
                  <a:lnTo>
                    <a:pt x="22" y="349"/>
                  </a:lnTo>
                  <a:lnTo>
                    <a:pt x="22" y="347"/>
                  </a:lnTo>
                  <a:lnTo>
                    <a:pt x="22" y="343"/>
                  </a:lnTo>
                  <a:lnTo>
                    <a:pt x="20" y="339"/>
                  </a:lnTo>
                  <a:lnTo>
                    <a:pt x="20" y="338"/>
                  </a:lnTo>
                  <a:lnTo>
                    <a:pt x="22" y="338"/>
                  </a:lnTo>
                  <a:lnTo>
                    <a:pt x="24" y="338"/>
                  </a:lnTo>
                  <a:lnTo>
                    <a:pt x="24" y="332"/>
                  </a:lnTo>
                  <a:lnTo>
                    <a:pt x="22" y="332"/>
                  </a:lnTo>
                  <a:lnTo>
                    <a:pt x="20" y="328"/>
                  </a:lnTo>
                  <a:lnTo>
                    <a:pt x="19" y="324"/>
                  </a:lnTo>
                  <a:lnTo>
                    <a:pt x="17" y="324"/>
                  </a:lnTo>
                  <a:lnTo>
                    <a:pt x="17" y="323"/>
                  </a:lnTo>
                  <a:lnTo>
                    <a:pt x="19" y="319"/>
                  </a:lnTo>
                  <a:lnTo>
                    <a:pt x="17" y="317"/>
                  </a:lnTo>
                  <a:lnTo>
                    <a:pt x="19" y="315"/>
                  </a:lnTo>
                  <a:lnTo>
                    <a:pt x="19" y="313"/>
                  </a:lnTo>
                  <a:lnTo>
                    <a:pt x="20" y="311"/>
                  </a:lnTo>
                  <a:lnTo>
                    <a:pt x="22" y="311"/>
                  </a:lnTo>
                  <a:lnTo>
                    <a:pt x="24" y="315"/>
                  </a:lnTo>
                  <a:lnTo>
                    <a:pt x="26" y="317"/>
                  </a:lnTo>
                  <a:lnTo>
                    <a:pt x="26" y="315"/>
                  </a:lnTo>
                  <a:lnTo>
                    <a:pt x="24" y="313"/>
                  </a:lnTo>
                  <a:lnTo>
                    <a:pt x="24" y="307"/>
                  </a:lnTo>
                  <a:lnTo>
                    <a:pt x="22" y="307"/>
                  </a:lnTo>
                  <a:lnTo>
                    <a:pt x="22" y="304"/>
                  </a:lnTo>
                  <a:lnTo>
                    <a:pt x="24" y="304"/>
                  </a:lnTo>
                  <a:lnTo>
                    <a:pt x="26" y="304"/>
                  </a:lnTo>
                  <a:lnTo>
                    <a:pt x="30" y="304"/>
                  </a:lnTo>
                  <a:lnTo>
                    <a:pt x="30" y="304"/>
                  </a:lnTo>
                  <a:lnTo>
                    <a:pt x="28" y="304"/>
                  </a:lnTo>
                  <a:lnTo>
                    <a:pt x="26" y="300"/>
                  </a:lnTo>
                  <a:lnTo>
                    <a:pt x="24" y="300"/>
                  </a:lnTo>
                  <a:lnTo>
                    <a:pt x="22" y="298"/>
                  </a:lnTo>
                  <a:lnTo>
                    <a:pt x="22" y="300"/>
                  </a:lnTo>
                  <a:lnTo>
                    <a:pt x="19" y="298"/>
                  </a:lnTo>
                  <a:lnTo>
                    <a:pt x="19" y="304"/>
                  </a:lnTo>
                  <a:lnTo>
                    <a:pt x="19" y="307"/>
                  </a:lnTo>
                  <a:lnTo>
                    <a:pt x="19" y="307"/>
                  </a:lnTo>
                  <a:lnTo>
                    <a:pt x="17" y="307"/>
                  </a:lnTo>
                  <a:lnTo>
                    <a:pt x="17" y="304"/>
                  </a:lnTo>
                  <a:lnTo>
                    <a:pt x="11" y="300"/>
                  </a:lnTo>
                  <a:lnTo>
                    <a:pt x="11" y="298"/>
                  </a:lnTo>
                  <a:lnTo>
                    <a:pt x="11" y="294"/>
                  </a:lnTo>
                  <a:lnTo>
                    <a:pt x="11" y="292"/>
                  </a:lnTo>
                  <a:lnTo>
                    <a:pt x="5" y="281"/>
                  </a:lnTo>
                  <a:lnTo>
                    <a:pt x="3" y="277"/>
                  </a:lnTo>
                  <a:lnTo>
                    <a:pt x="5" y="275"/>
                  </a:lnTo>
                  <a:lnTo>
                    <a:pt x="5" y="274"/>
                  </a:lnTo>
                  <a:lnTo>
                    <a:pt x="5" y="270"/>
                  </a:lnTo>
                  <a:lnTo>
                    <a:pt x="3" y="268"/>
                  </a:lnTo>
                  <a:lnTo>
                    <a:pt x="3" y="264"/>
                  </a:lnTo>
                  <a:lnTo>
                    <a:pt x="5" y="262"/>
                  </a:lnTo>
                  <a:lnTo>
                    <a:pt x="5" y="257"/>
                  </a:lnTo>
                  <a:lnTo>
                    <a:pt x="5" y="249"/>
                  </a:lnTo>
                  <a:lnTo>
                    <a:pt x="3" y="243"/>
                  </a:lnTo>
                  <a:lnTo>
                    <a:pt x="0" y="240"/>
                  </a:lnTo>
                  <a:lnTo>
                    <a:pt x="0" y="234"/>
                  </a:lnTo>
                  <a:lnTo>
                    <a:pt x="2" y="230"/>
                  </a:lnTo>
                  <a:lnTo>
                    <a:pt x="9" y="226"/>
                  </a:lnTo>
                  <a:lnTo>
                    <a:pt x="9" y="221"/>
                  </a:lnTo>
                  <a:lnTo>
                    <a:pt x="9" y="221"/>
                  </a:lnTo>
                  <a:lnTo>
                    <a:pt x="9" y="219"/>
                  </a:lnTo>
                  <a:lnTo>
                    <a:pt x="9" y="215"/>
                  </a:lnTo>
                  <a:lnTo>
                    <a:pt x="11" y="213"/>
                  </a:lnTo>
                  <a:lnTo>
                    <a:pt x="11" y="206"/>
                  </a:lnTo>
                  <a:lnTo>
                    <a:pt x="11" y="200"/>
                  </a:lnTo>
                  <a:lnTo>
                    <a:pt x="11" y="196"/>
                  </a:lnTo>
                  <a:lnTo>
                    <a:pt x="13" y="194"/>
                  </a:lnTo>
                  <a:lnTo>
                    <a:pt x="9" y="191"/>
                  </a:lnTo>
                  <a:lnTo>
                    <a:pt x="9" y="185"/>
                  </a:lnTo>
                  <a:lnTo>
                    <a:pt x="11" y="179"/>
                  </a:lnTo>
                  <a:lnTo>
                    <a:pt x="11" y="172"/>
                  </a:lnTo>
                  <a:lnTo>
                    <a:pt x="13" y="168"/>
                  </a:lnTo>
                  <a:lnTo>
                    <a:pt x="17" y="164"/>
                  </a:lnTo>
                  <a:lnTo>
                    <a:pt x="19" y="159"/>
                  </a:lnTo>
                  <a:lnTo>
                    <a:pt x="20" y="157"/>
                  </a:lnTo>
                  <a:lnTo>
                    <a:pt x="22" y="151"/>
                  </a:lnTo>
                  <a:lnTo>
                    <a:pt x="26" y="147"/>
                  </a:lnTo>
                  <a:lnTo>
                    <a:pt x="30" y="142"/>
                  </a:lnTo>
                  <a:lnTo>
                    <a:pt x="30" y="132"/>
                  </a:lnTo>
                  <a:lnTo>
                    <a:pt x="35" y="125"/>
                  </a:lnTo>
                  <a:lnTo>
                    <a:pt x="35" y="115"/>
                  </a:lnTo>
                  <a:lnTo>
                    <a:pt x="39" y="104"/>
                  </a:lnTo>
                  <a:lnTo>
                    <a:pt x="41" y="100"/>
                  </a:lnTo>
                  <a:lnTo>
                    <a:pt x="45" y="96"/>
                  </a:lnTo>
                  <a:lnTo>
                    <a:pt x="45" y="93"/>
                  </a:lnTo>
                  <a:lnTo>
                    <a:pt x="45" y="87"/>
                  </a:lnTo>
                  <a:lnTo>
                    <a:pt x="49" y="85"/>
                  </a:lnTo>
                  <a:lnTo>
                    <a:pt x="49" y="81"/>
                  </a:lnTo>
                  <a:lnTo>
                    <a:pt x="49" y="81"/>
                  </a:lnTo>
                  <a:lnTo>
                    <a:pt x="52" y="81"/>
                  </a:lnTo>
                  <a:lnTo>
                    <a:pt x="58" y="83"/>
                  </a:lnTo>
                  <a:lnTo>
                    <a:pt x="60" y="85"/>
                  </a:lnTo>
                  <a:lnTo>
                    <a:pt x="64" y="83"/>
                  </a:lnTo>
                  <a:lnTo>
                    <a:pt x="66" y="87"/>
                  </a:lnTo>
                  <a:lnTo>
                    <a:pt x="67" y="91"/>
                  </a:lnTo>
                  <a:lnTo>
                    <a:pt x="67" y="85"/>
                  </a:lnTo>
                  <a:lnTo>
                    <a:pt x="64" y="83"/>
                  </a:lnTo>
                  <a:lnTo>
                    <a:pt x="60" y="83"/>
                  </a:lnTo>
                  <a:lnTo>
                    <a:pt x="60" y="80"/>
                  </a:lnTo>
                  <a:lnTo>
                    <a:pt x="54" y="80"/>
                  </a:lnTo>
                  <a:lnTo>
                    <a:pt x="49" y="78"/>
                  </a:lnTo>
                  <a:lnTo>
                    <a:pt x="49" y="76"/>
                  </a:lnTo>
                  <a:lnTo>
                    <a:pt x="49" y="76"/>
                  </a:lnTo>
                  <a:lnTo>
                    <a:pt x="51" y="76"/>
                  </a:lnTo>
                  <a:lnTo>
                    <a:pt x="52" y="72"/>
                  </a:lnTo>
                  <a:lnTo>
                    <a:pt x="52" y="70"/>
                  </a:lnTo>
                  <a:lnTo>
                    <a:pt x="54" y="66"/>
                  </a:lnTo>
                  <a:lnTo>
                    <a:pt x="51" y="66"/>
                  </a:lnTo>
                  <a:lnTo>
                    <a:pt x="49" y="63"/>
                  </a:lnTo>
                  <a:lnTo>
                    <a:pt x="51" y="61"/>
                  </a:lnTo>
                  <a:lnTo>
                    <a:pt x="52" y="61"/>
                  </a:lnTo>
                  <a:lnTo>
                    <a:pt x="54" y="59"/>
                  </a:lnTo>
                  <a:lnTo>
                    <a:pt x="54" y="57"/>
                  </a:lnTo>
                  <a:lnTo>
                    <a:pt x="51" y="57"/>
                  </a:lnTo>
                  <a:lnTo>
                    <a:pt x="51" y="55"/>
                  </a:lnTo>
                  <a:lnTo>
                    <a:pt x="52" y="49"/>
                  </a:lnTo>
                  <a:lnTo>
                    <a:pt x="51" y="44"/>
                  </a:lnTo>
                  <a:lnTo>
                    <a:pt x="52" y="36"/>
                  </a:lnTo>
                  <a:lnTo>
                    <a:pt x="51" y="29"/>
                  </a:lnTo>
                  <a:lnTo>
                    <a:pt x="51" y="25"/>
                  </a:lnTo>
                  <a:lnTo>
                    <a:pt x="54" y="17"/>
                  </a:lnTo>
                  <a:lnTo>
                    <a:pt x="54" y="14"/>
                  </a:lnTo>
                  <a:lnTo>
                    <a:pt x="56" y="14"/>
                  </a:lnTo>
                  <a:lnTo>
                    <a:pt x="64" y="21"/>
                  </a:lnTo>
                  <a:lnTo>
                    <a:pt x="67" y="25"/>
                  </a:lnTo>
                  <a:lnTo>
                    <a:pt x="77" y="25"/>
                  </a:lnTo>
                  <a:lnTo>
                    <a:pt x="79" y="27"/>
                  </a:lnTo>
                  <a:lnTo>
                    <a:pt x="81" y="31"/>
                  </a:lnTo>
                  <a:lnTo>
                    <a:pt x="83" y="29"/>
                  </a:lnTo>
                  <a:lnTo>
                    <a:pt x="84" y="29"/>
                  </a:lnTo>
                  <a:lnTo>
                    <a:pt x="84" y="32"/>
                  </a:lnTo>
                  <a:lnTo>
                    <a:pt x="84" y="32"/>
                  </a:lnTo>
                  <a:lnTo>
                    <a:pt x="81" y="36"/>
                  </a:lnTo>
                  <a:lnTo>
                    <a:pt x="77" y="38"/>
                  </a:lnTo>
                  <a:lnTo>
                    <a:pt x="77" y="42"/>
                  </a:lnTo>
                  <a:lnTo>
                    <a:pt x="81" y="42"/>
                  </a:lnTo>
                  <a:lnTo>
                    <a:pt x="83" y="36"/>
                  </a:lnTo>
                  <a:lnTo>
                    <a:pt x="84" y="36"/>
                  </a:lnTo>
                  <a:lnTo>
                    <a:pt x="88" y="32"/>
                  </a:lnTo>
                  <a:lnTo>
                    <a:pt x="88" y="36"/>
                  </a:lnTo>
                  <a:lnTo>
                    <a:pt x="84" y="38"/>
                  </a:lnTo>
                  <a:lnTo>
                    <a:pt x="83" y="44"/>
                  </a:lnTo>
                  <a:lnTo>
                    <a:pt x="83" y="48"/>
                  </a:lnTo>
                  <a:lnTo>
                    <a:pt x="83" y="49"/>
                  </a:lnTo>
                  <a:lnTo>
                    <a:pt x="81" y="48"/>
                  </a:lnTo>
                  <a:lnTo>
                    <a:pt x="79" y="49"/>
                  </a:lnTo>
                  <a:lnTo>
                    <a:pt x="77" y="48"/>
                  </a:lnTo>
                  <a:lnTo>
                    <a:pt x="75" y="51"/>
                  </a:lnTo>
                  <a:lnTo>
                    <a:pt x="77" y="53"/>
                  </a:lnTo>
                  <a:lnTo>
                    <a:pt x="79" y="55"/>
                  </a:lnTo>
                  <a:lnTo>
                    <a:pt x="84" y="51"/>
                  </a:lnTo>
                  <a:lnTo>
                    <a:pt x="84" y="48"/>
                  </a:lnTo>
                  <a:lnTo>
                    <a:pt x="84" y="46"/>
                  </a:lnTo>
                  <a:lnTo>
                    <a:pt x="84" y="42"/>
                  </a:lnTo>
                  <a:lnTo>
                    <a:pt x="88" y="42"/>
                  </a:lnTo>
                  <a:lnTo>
                    <a:pt x="88" y="36"/>
                  </a:lnTo>
                  <a:lnTo>
                    <a:pt x="92" y="32"/>
                  </a:lnTo>
                  <a:lnTo>
                    <a:pt x="98" y="31"/>
                  </a:lnTo>
                  <a:lnTo>
                    <a:pt x="94" y="29"/>
                  </a:lnTo>
                  <a:lnTo>
                    <a:pt x="94" y="25"/>
                  </a:lnTo>
                  <a:lnTo>
                    <a:pt x="92" y="25"/>
                  </a:lnTo>
                  <a:lnTo>
                    <a:pt x="94" y="21"/>
                  </a:lnTo>
                  <a:lnTo>
                    <a:pt x="98" y="19"/>
                  </a:lnTo>
                  <a:lnTo>
                    <a:pt x="92" y="17"/>
                  </a:lnTo>
                  <a:lnTo>
                    <a:pt x="92" y="14"/>
                  </a:lnTo>
                  <a:lnTo>
                    <a:pt x="98" y="12"/>
                  </a:lnTo>
                  <a:lnTo>
                    <a:pt x="98" y="12"/>
                  </a:lnTo>
                  <a:lnTo>
                    <a:pt x="92" y="8"/>
                  </a:lnTo>
                  <a:lnTo>
                    <a:pt x="92" y="0"/>
                  </a:lnTo>
                  <a:lnTo>
                    <a:pt x="92" y="0"/>
                  </a:lnTo>
                  <a:lnTo>
                    <a:pt x="92" y="0"/>
                  </a:lnTo>
                  <a:lnTo>
                    <a:pt x="92" y="0"/>
                  </a:lnTo>
                  <a:close/>
                  <a:moveTo>
                    <a:pt x="956" y="264"/>
                  </a:moveTo>
                  <a:lnTo>
                    <a:pt x="956" y="264"/>
                  </a:lnTo>
                  <a:lnTo>
                    <a:pt x="962" y="264"/>
                  </a:lnTo>
                  <a:lnTo>
                    <a:pt x="962" y="264"/>
                  </a:lnTo>
                  <a:lnTo>
                    <a:pt x="963" y="264"/>
                  </a:lnTo>
                  <a:lnTo>
                    <a:pt x="962" y="262"/>
                  </a:lnTo>
                  <a:lnTo>
                    <a:pt x="958" y="262"/>
                  </a:lnTo>
                  <a:lnTo>
                    <a:pt x="958" y="262"/>
                  </a:lnTo>
                  <a:lnTo>
                    <a:pt x="956" y="264"/>
                  </a:lnTo>
                  <a:lnTo>
                    <a:pt x="956" y="264"/>
                  </a:lnTo>
                  <a:lnTo>
                    <a:pt x="956" y="264"/>
                  </a:lnTo>
                  <a:lnTo>
                    <a:pt x="956" y="264"/>
                  </a:lnTo>
                  <a:close/>
                  <a:moveTo>
                    <a:pt x="899" y="279"/>
                  </a:moveTo>
                  <a:lnTo>
                    <a:pt x="898" y="279"/>
                  </a:lnTo>
                  <a:lnTo>
                    <a:pt x="903" y="279"/>
                  </a:lnTo>
                  <a:lnTo>
                    <a:pt x="903" y="277"/>
                  </a:lnTo>
                  <a:lnTo>
                    <a:pt x="907" y="277"/>
                  </a:lnTo>
                  <a:lnTo>
                    <a:pt x="911" y="277"/>
                  </a:lnTo>
                  <a:lnTo>
                    <a:pt x="916" y="275"/>
                  </a:lnTo>
                  <a:lnTo>
                    <a:pt x="918" y="275"/>
                  </a:lnTo>
                  <a:lnTo>
                    <a:pt x="924" y="275"/>
                  </a:lnTo>
                  <a:lnTo>
                    <a:pt x="928" y="274"/>
                  </a:lnTo>
                  <a:lnTo>
                    <a:pt x="928" y="274"/>
                  </a:lnTo>
                  <a:lnTo>
                    <a:pt x="933" y="274"/>
                  </a:lnTo>
                  <a:lnTo>
                    <a:pt x="935" y="270"/>
                  </a:lnTo>
                  <a:lnTo>
                    <a:pt x="931" y="274"/>
                  </a:lnTo>
                  <a:lnTo>
                    <a:pt x="931" y="270"/>
                  </a:lnTo>
                  <a:lnTo>
                    <a:pt x="928" y="274"/>
                  </a:lnTo>
                  <a:lnTo>
                    <a:pt x="928" y="270"/>
                  </a:lnTo>
                  <a:lnTo>
                    <a:pt x="928" y="270"/>
                  </a:lnTo>
                  <a:lnTo>
                    <a:pt x="928" y="270"/>
                  </a:lnTo>
                  <a:lnTo>
                    <a:pt x="924" y="270"/>
                  </a:lnTo>
                  <a:lnTo>
                    <a:pt x="918" y="270"/>
                  </a:lnTo>
                  <a:lnTo>
                    <a:pt x="913" y="274"/>
                  </a:lnTo>
                  <a:lnTo>
                    <a:pt x="909" y="274"/>
                  </a:lnTo>
                  <a:lnTo>
                    <a:pt x="903" y="274"/>
                  </a:lnTo>
                  <a:lnTo>
                    <a:pt x="899" y="274"/>
                  </a:lnTo>
                  <a:lnTo>
                    <a:pt x="898" y="277"/>
                  </a:lnTo>
                  <a:lnTo>
                    <a:pt x="898" y="279"/>
                  </a:lnTo>
                  <a:lnTo>
                    <a:pt x="899" y="279"/>
                  </a:lnTo>
                  <a:lnTo>
                    <a:pt x="899" y="279"/>
                  </a:lnTo>
                  <a:lnTo>
                    <a:pt x="899" y="279"/>
                  </a:lnTo>
                  <a:lnTo>
                    <a:pt x="899" y="279"/>
                  </a:lnTo>
                  <a:close/>
                  <a:moveTo>
                    <a:pt x="92" y="19"/>
                  </a:moveTo>
                  <a:lnTo>
                    <a:pt x="88" y="21"/>
                  </a:lnTo>
                  <a:lnTo>
                    <a:pt x="88" y="27"/>
                  </a:lnTo>
                  <a:lnTo>
                    <a:pt x="88" y="32"/>
                  </a:lnTo>
                  <a:lnTo>
                    <a:pt x="92" y="32"/>
                  </a:lnTo>
                  <a:lnTo>
                    <a:pt x="88" y="25"/>
                  </a:lnTo>
                  <a:lnTo>
                    <a:pt x="88" y="21"/>
                  </a:lnTo>
                  <a:lnTo>
                    <a:pt x="92" y="21"/>
                  </a:lnTo>
                  <a:lnTo>
                    <a:pt x="92" y="19"/>
                  </a:lnTo>
                  <a:lnTo>
                    <a:pt x="92" y="19"/>
                  </a:lnTo>
                  <a:lnTo>
                    <a:pt x="92" y="19"/>
                  </a:lnTo>
                  <a:lnTo>
                    <a:pt x="92" y="19"/>
                  </a:lnTo>
                  <a:close/>
                  <a:moveTo>
                    <a:pt x="442" y="560"/>
                  </a:moveTo>
                  <a:lnTo>
                    <a:pt x="442" y="556"/>
                  </a:lnTo>
                  <a:lnTo>
                    <a:pt x="446" y="554"/>
                  </a:lnTo>
                  <a:lnTo>
                    <a:pt x="448" y="550"/>
                  </a:lnTo>
                  <a:lnTo>
                    <a:pt x="446" y="552"/>
                  </a:lnTo>
                  <a:lnTo>
                    <a:pt x="442" y="560"/>
                  </a:lnTo>
                  <a:lnTo>
                    <a:pt x="442" y="560"/>
                  </a:lnTo>
                  <a:lnTo>
                    <a:pt x="442" y="560"/>
                  </a:lnTo>
                  <a:lnTo>
                    <a:pt x="442" y="560"/>
                  </a:lnTo>
                  <a:close/>
                  <a:moveTo>
                    <a:pt x="436" y="569"/>
                  </a:moveTo>
                  <a:lnTo>
                    <a:pt x="438" y="569"/>
                  </a:lnTo>
                  <a:lnTo>
                    <a:pt x="440" y="564"/>
                  </a:lnTo>
                  <a:lnTo>
                    <a:pt x="440" y="560"/>
                  </a:lnTo>
                  <a:lnTo>
                    <a:pt x="436" y="569"/>
                  </a:lnTo>
                  <a:lnTo>
                    <a:pt x="436" y="569"/>
                  </a:lnTo>
                  <a:lnTo>
                    <a:pt x="436" y="569"/>
                  </a:lnTo>
                  <a:lnTo>
                    <a:pt x="436" y="569"/>
                  </a:lnTo>
                  <a:close/>
                  <a:moveTo>
                    <a:pt x="433" y="594"/>
                  </a:moveTo>
                  <a:lnTo>
                    <a:pt x="433" y="588"/>
                  </a:lnTo>
                  <a:lnTo>
                    <a:pt x="433" y="581"/>
                  </a:lnTo>
                  <a:lnTo>
                    <a:pt x="436" y="571"/>
                  </a:lnTo>
                  <a:lnTo>
                    <a:pt x="433" y="579"/>
                  </a:lnTo>
                  <a:lnTo>
                    <a:pt x="433" y="588"/>
                  </a:lnTo>
                  <a:lnTo>
                    <a:pt x="433" y="588"/>
                  </a:lnTo>
                  <a:lnTo>
                    <a:pt x="433" y="594"/>
                  </a:lnTo>
                  <a:lnTo>
                    <a:pt x="433" y="594"/>
                  </a:lnTo>
                  <a:lnTo>
                    <a:pt x="433" y="594"/>
                  </a:lnTo>
                  <a:lnTo>
                    <a:pt x="433" y="594"/>
                  </a:lnTo>
                  <a:close/>
                </a:path>
              </a:pathLst>
            </a:custGeom>
            <a:solidFill>
              <a:srgbClr val="0F99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98" name="Freeform 41">
              <a:extLst>
                <a:ext uri="{FF2B5EF4-FFF2-40B4-BE49-F238E27FC236}">
                  <a16:creationId xmlns:a16="http://schemas.microsoft.com/office/drawing/2014/main" id="{768B43B0-8A69-424E-B0D1-A284A89FA085}"/>
                </a:ext>
              </a:extLst>
            </p:cNvPr>
            <p:cNvSpPr>
              <a:spLocks/>
            </p:cNvSpPr>
            <p:nvPr/>
          </p:nvSpPr>
          <p:spPr bwMode="auto">
            <a:xfrm>
              <a:off x="1098" y="2764"/>
              <a:ext cx="73" cy="79"/>
            </a:xfrm>
            <a:custGeom>
              <a:avLst/>
              <a:gdLst/>
              <a:ahLst/>
              <a:cxnLst>
                <a:cxn ang="0">
                  <a:pos x="38" y="79"/>
                </a:cxn>
                <a:cxn ang="0">
                  <a:pos x="40" y="74"/>
                </a:cxn>
                <a:cxn ang="0">
                  <a:pos x="49" y="70"/>
                </a:cxn>
                <a:cxn ang="0">
                  <a:pos x="53" y="66"/>
                </a:cxn>
                <a:cxn ang="0">
                  <a:pos x="55" y="58"/>
                </a:cxn>
                <a:cxn ang="0">
                  <a:pos x="64" y="49"/>
                </a:cxn>
                <a:cxn ang="0">
                  <a:pos x="70" y="45"/>
                </a:cxn>
                <a:cxn ang="0">
                  <a:pos x="73" y="41"/>
                </a:cxn>
                <a:cxn ang="0">
                  <a:pos x="73" y="38"/>
                </a:cxn>
                <a:cxn ang="0">
                  <a:pos x="68" y="41"/>
                </a:cxn>
                <a:cxn ang="0">
                  <a:pos x="64" y="38"/>
                </a:cxn>
                <a:cxn ang="0">
                  <a:pos x="60" y="36"/>
                </a:cxn>
                <a:cxn ang="0">
                  <a:pos x="56" y="36"/>
                </a:cxn>
                <a:cxn ang="0">
                  <a:pos x="56" y="0"/>
                </a:cxn>
                <a:cxn ang="0">
                  <a:pos x="24" y="11"/>
                </a:cxn>
                <a:cxn ang="0">
                  <a:pos x="21" y="13"/>
                </a:cxn>
                <a:cxn ang="0">
                  <a:pos x="24" y="19"/>
                </a:cxn>
                <a:cxn ang="0">
                  <a:pos x="28" y="21"/>
                </a:cxn>
                <a:cxn ang="0">
                  <a:pos x="30" y="25"/>
                </a:cxn>
                <a:cxn ang="0">
                  <a:pos x="36" y="28"/>
                </a:cxn>
                <a:cxn ang="0">
                  <a:pos x="38" y="30"/>
                </a:cxn>
                <a:cxn ang="0">
                  <a:pos x="11" y="34"/>
                </a:cxn>
                <a:cxn ang="0">
                  <a:pos x="2" y="55"/>
                </a:cxn>
                <a:cxn ang="0">
                  <a:pos x="2" y="58"/>
                </a:cxn>
                <a:cxn ang="0">
                  <a:pos x="4" y="58"/>
                </a:cxn>
                <a:cxn ang="0">
                  <a:pos x="2" y="62"/>
                </a:cxn>
                <a:cxn ang="0">
                  <a:pos x="0" y="64"/>
                </a:cxn>
                <a:cxn ang="0">
                  <a:pos x="6" y="70"/>
                </a:cxn>
                <a:cxn ang="0">
                  <a:pos x="9" y="75"/>
                </a:cxn>
                <a:cxn ang="0">
                  <a:pos x="24" y="79"/>
                </a:cxn>
                <a:cxn ang="0">
                  <a:pos x="36" y="79"/>
                </a:cxn>
                <a:cxn ang="0">
                  <a:pos x="36" y="79"/>
                </a:cxn>
              </a:cxnLst>
              <a:rect l="0" t="0" r="r" b="b"/>
              <a:pathLst>
                <a:path w="73" h="79">
                  <a:moveTo>
                    <a:pt x="36" y="79"/>
                  </a:moveTo>
                  <a:lnTo>
                    <a:pt x="38" y="79"/>
                  </a:lnTo>
                  <a:lnTo>
                    <a:pt x="38" y="77"/>
                  </a:lnTo>
                  <a:lnTo>
                    <a:pt x="40" y="74"/>
                  </a:lnTo>
                  <a:lnTo>
                    <a:pt x="45" y="70"/>
                  </a:lnTo>
                  <a:lnTo>
                    <a:pt x="49" y="70"/>
                  </a:lnTo>
                  <a:lnTo>
                    <a:pt x="49" y="70"/>
                  </a:lnTo>
                  <a:lnTo>
                    <a:pt x="53" y="66"/>
                  </a:lnTo>
                  <a:lnTo>
                    <a:pt x="56" y="60"/>
                  </a:lnTo>
                  <a:lnTo>
                    <a:pt x="55" y="58"/>
                  </a:lnTo>
                  <a:lnTo>
                    <a:pt x="58" y="55"/>
                  </a:lnTo>
                  <a:lnTo>
                    <a:pt x="64" y="49"/>
                  </a:lnTo>
                  <a:lnTo>
                    <a:pt x="64" y="49"/>
                  </a:lnTo>
                  <a:lnTo>
                    <a:pt x="70" y="45"/>
                  </a:lnTo>
                  <a:lnTo>
                    <a:pt x="72" y="43"/>
                  </a:lnTo>
                  <a:lnTo>
                    <a:pt x="73" y="41"/>
                  </a:lnTo>
                  <a:lnTo>
                    <a:pt x="73" y="40"/>
                  </a:lnTo>
                  <a:lnTo>
                    <a:pt x="73" y="38"/>
                  </a:lnTo>
                  <a:lnTo>
                    <a:pt x="70" y="38"/>
                  </a:lnTo>
                  <a:lnTo>
                    <a:pt x="68" y="41"/>
                  </a:lnTo>
                  <a:lnTo>
                    <a:pt x="68" y="38"/>
                  </a:lnTo>
                  <a:lnTo>
                    <a:pt x="64" y="38"/>
                  </a:lnTo>
                  <a:lnTo>
                    <a:pt x="62" y="36"/>
                  </a:lnTo>
                  <a:lnTo>
                    <a:pt x="60" y="36"/>
                  </a:lnTo>
                  <a:lnTo>
                    <a:pt x="60" y="36"/>
                  </a:lnTo>
                  <a:lnTo>
                    <a:pt x="56" y="36"/>
                  </a:lnTo>
                  <a:lnTo>
                    <a:pt x="56" y="0"/>
                  </a:lnTo>
                  <a:lnTo>
                    <a:pt x="56" y="0"/>
                  </a:lnTo>
                  <a:lnTo>
                    <a:pt x="24" y="0"/>
                  </a:lnTo>
                  <a:lnTo>
                    <a:pt x="24" y="11"/>
                  </a:lnTo>
                  <a:lnTo>
                    <a:pt x="17" y="11"/>
                  </a:lnTo>
                  <a:lnTo>
                    <a:pt x="21" y="13"/>
                  </a:lnTo>
                  <a:lnTo>
                    <a:pt x="21" y="15"/>
                  </a:lnTo>
                  <a:lnTo>
                    <a:pt x="24" y="19"/>
                  </a:lnTo>
                  <a:lnTo>
                    <a:pt x="28" y="21"/>
                  </a:lnTo>
                  <a:lnTo>
                    <a:pt x="28" y="21"/>
                  </a:lnTo>
                  <a:lnTo>
                    <a:pt x="30" y="25"/>
                  </a:lnTo>
                  <a:lnTo>
                    <a:pt x="30" y="25"/>
                  </a:lnTo>
                  <a:lnTo>
                    <a:pt x="32" y="28"/>
                  </a:lnTo>
                  <a:lnTo>
                    <a:pt x="36" y="28"/>
                  </a:lnTo>
                  <a:lnTo>
                    <a:pt x="38" y="28"/>
                  </a:lnTo>
                  <a:lnTo>
                    <a:pt x="38" y="30"/>
                  </a:lnTo>
                  <a:lnTo>
                    <a:pt x="36" y="34"/>
                  </a:lnTo>
                  <a:lnTo>
                    <a:pt x="11" y="34"/>
                  </a:lnTo>
                  <a:lnTo>
                    <a:pt x="2" y="53"/>
                  </a:lnTo>
                  <a:lnTo>
                    <a:pt x="2" y="55"/>
                  </a:lnTo>
                  <a:lnTo>
                    <a:pt x="2" y="55"/>
                  </a:lnTo>
                  <a:lnTo>
                    <a:pt x="2" y="58"/>
                  </a:lnTo>
                  <a:lnTo>
                    <a:pt x="4" y="58"/>
                  </a:lnTo>
                  <a:lnTo>
                    <a:pt x="4" y="58"/>
                  </a:lnTo>
                  <a:lnTo>
                    <a:pt x="4" y="60"/>
                  </a:lnTo>
                  <a:lnTo>
                    <a:pt x="2" y="62"/>
                  </a:lnTo>
                  <a:lnTo>
                    <a:pt x="0" y="64"/>
                  </a:lnTo>
                  <a:lnTo>
                    <a:pt x="0" y="64"/>
                  </a:lnTo>
                  <a:lnTo>
                    <a:pt x="4" y="68"/>
                  </a:lnTo>
                  <a:lnTo>
                    <a:pt x="6" y="70"/>
                  </a:lnTo>
                  <a:lnTo>
                    <a:pt x="9" y="70"/>
                  </a:lnTo>
                  <a:lnTo>
                    <a:pt x="9" y="75"/>
                  </a:lnTo>
                  <a:lnTo>
                    <a:pt x="21" y="79"/>
                  </a:lnTo>
                  <a:lnTo>
                    <a:pt x="24" y="79"/>
                  </a:lnTo>
                  <a:lnTo>
                    <a:pt x="28" y="79"/>
                  </a:lnTo>
                  <a:lnTo>
                    <a:pt x="36" y="79"/>
                  </a:lnTo>
                  <a:lnTo>
                    <a:pt x="36" y="79"/>
                  </a:lnTo>
                  <a:lnTo>
                    <a:pt x="36" y="79"/>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9" name="Freeform 42">
              <a:extLst>
                <a:ext uri="{FF2B5EF4-FFF2-40B4-BE49-F238E27FC236}">
                  <a16:creationId xmlns:a16="http://schemas.microsoft.com/office/drawing/2014/main" id="{1EE01654-D5DF-42C9-AA60-2CF0237145CB}"/>
                </a:ext>
              </a:extLst>
            </p:cNvPr>
            <p:cNvSpPr>
              <a:spLocks noEditPoints="1"/>
            </p:cNvSpPr>
            <p:nvPr/>
          </p:nvSpPr>
          <p:spPr bwMode="auto">
            <a:xfrm>
              <a:off x="682" y="2436"/>
              <a:ext cx="527" cy="392"/>
            </a:xfrm>
            <a:custGeom>
              <a:avLst/>
              <a:gdLst/>
              <a:ahLst/>
              <a:cxnLst>
                <a:cxn ang="0">
                  <a:pos x="198" y="38"/>
                </a:cxn>
                <a:cxn ang="0">
                  <a:pos x="213" y="53"/>
                </a:cxn>
                <a:cxn ang="0">
                  <a:pos x="218" y="78"/>
                </a:cxn>
                <a:cxn ang="0">
                  <a:pos x="233" y="87"/>
                </a:cxn>
                <a:cxn ang="0">
                  <a:pos x="250" y="87"/>
                </a:cxn>
                <a:cxn ang="0">
                  <a:pos x="273" y="76"/>
                </a:cxn>
                <a:cxn ang="0">
                  <a:pos x="292" y="100"/>
                </a:cxn>
                <a:cxn ang="0">
                  <a:pos x="307" y="132"/>
                </a:cxn>
                <a:cxn ang="0">
                  <a:pos x="328" y="160"/>
                </a:cxn>
                <a:cxn ang="0">
                  <a:pos x="341" y="166"/>
                </a:cxn>
                <a:cxn ang="0">
                  <a:pos x="331" y="185"/>
                </a:cxn>
                <a:cxn ang="0">
                  <a:pos x="324" y="232"/>
                </a:cxn>
                <a:cxn ang="0">
                  <a:pos x="329" y="262"/>
                </a:cxn>
                <a:cxn ang="0">
                  <a:pos x="360" y="307"/>
                </a:cxn>
                <a:cxn ang="0">
                  <a:pos x="399" y="315"/>
                </a:cxn>
                <a:cxn ang="0">
                  <a:pos x="431" y="319"/>
                </a:cxn>
                <a:cxn ang="0">
                  <a:pos x="448" y="292"/>
                </a:cxn>
                <a:cxn ang="0">
                  <a:pos x="497" y="255"/>
                </a:cxn>
                <a:cxn ang="0">
                  <a:pos x="520" y="273"/>
                </a:cxn>
                <a:cxn ang="0">
                  <a:pos x="506" y="302"/>
                </a:cxn>
                <a:cxn ang="0">
                  <a:pos x="499" y="309"/>
                </a:cxn>
                <a:cxn ang="0">
                  <a:pos x="478" y="328"/>
                </a:cxn>
                <a:cxn ang="0">
                  <a:pos x="437" y="343"/>
                </a:cxn>
                <a:cxn ang="0">
                  <a:pos x="425" y="362"/>
                </a:cxn>
                <a:cxn ang="0">
                  <a:pos x="410" y="388"/>
                </a:cxn>
                <a:cxn ang="0">
                  <a:pos x="375" y="358"/>
                </a:cxn>
                <a:cxn ang="0">
                  <a:pos x="375" y="358"/>
                </a:cxn>
                <a:cxn ang="0">
                  <a:pos x="367" y="362"/>
                </a:cxn>
                <a:cxn ang="0">
                  <a:pos x="307" y="360"/>
                </a:cxn>
                <a:cxn ang="0">
                  <a:pos x="267" y="343"/>
                </a:cxn>
                <a:cxn ang="0">
                  <a:pos x="220" y="322"/>
                </a:cxn>
                <a:cxn ang="0">
                  <a:pos x="188" y="300"/>
                </a:cxn>
                <a:cxn ang="0">
                  <a:pos x="181" y="273"/>
                </a:cxn>
                <a:cxn ang="0">
                  <a:pos x="179" y="234"/>
                </a:cxn>
                <a:cxn ang="0">
                  <a:pos x="141" y="187"/>
                </a:cxn>
                <a:cxn ang="0">
                  <a:pos x="120" y="162"/>
                </a:cxn>
                <a:cxn ang="0">
                  <a:pos x="124" y="145"/>
                </a:cxn>
                <a:cxn ang="0">
                  <a:pos x="102" y="117"/>
                </a:cxn>
                <a:cxn ang="0">
                  <a:pos x="83" y="98"/>
                </a:cxn>
                <a:cxn ang="0">
                  <a:pos x="70" y="66"/>
                </a:cxn>
                <a:cxn ang="0">
                  <a:pos x="58" y="32"/>
                </a:cxn>
                <a:cxn ang="0">
                  <a:pos x="38" y="38"/>
                </a:cxn>
                <a:cxn ang="0">
                  <a:pos x="53" y="87"/>
                </a:cxn>
                <a:cxn ang="0">
                  <a:pos x="70" y="115"/>
                </a:cxn>
                <a:cxn ang="0">
                  <a:pos x="81" y="136"/>
                </a:cxn>
                <a:cxn ang="0">
                  <a:pos x="90" y="170"/>
                </a:cxn>
                <a:cxn ang="0">
                  <a:pos x="100" y="191"/>
                </a:cxn>
                <a:cxn ang="0">
                  <a:pos x="105" y="221"/>
                </a:cxn>
                <a:cxn ang="0">
                  <a:pos x="77" y="187"/>
                </a:cxn>
                <a:cxn ang="0">
                  <a:pos x="64" y="147"/>
                </a:cxn>
                <a:cxn ang="0">
                  <a:pos x="45" y="132"/>
                </a:cxn>
                <a:cxn ang="0">
                  <a:pos x="28" y="111"/>
                </a:cxn>
                <a:cxn ang="0">
                  <a:pos x="40" y="102"/>
                </a:cxn>
                <a:cxn ang="0">
                  <a:pos x="19" y="70"/>
                </a:cxn>
                <a:cxn ang="0">
                  <a:pos x="11" y="36"/>
                </a:cxn>
                <a:cxn ang="0">
                  <a:pos x="0" y="4"/>
                </a:cxn>
                <a:cxn ang="0">
                  <a:pos x="98" y="187"/>
                </a:cxn>
                <a:cxn ang="0">
                  <a:pos x="333" y="179"/>
                </a:cxn>
                <a:cxn ang="0">
                  <a:pos x="333" y="187"/>
                </a:cxn>
              </a:cxnLst>
              <a:rect l="0" t="0" r="r" b="b"/>
              <a:pathLst>
                <a:path w="527" h="392">
                  <a:moveTo>
                    <a:pt x="0" y="4"/>
                  </a:moveTo>
                  <a:lnTo>
                    <a:pt x="43" y="0"/>
                  </a:lnTo>
                  <a:lnTo>
                    <a:pt x="45" y="4"/>
                  </a:lnTo>
                  <a:lnTo>
                    <a:pt x="43" y="4"/>
                  </a:lnTo>
                  <a:lnTo>
                    <a:pt x="107" y="32"/>
                  </a:lnTo>
                  <a:lnTo>
                    <a:pt x="160" y="34"/>
                  </a:lnTo>
                  <a:lnTo>
                    <a:pt x="160" y="29"/>
                  </a:lnTo>
                  <a:lnTo>
                    <a:pt x="188" y="29"/>
                  </a:lnTo>
                  <a:lnTo>
                    <a:pt x="194" y="32"/>
                  </a:lnTo>
                  <a:lnTo>
                    <a:pt x="196" y="34"/>
                  </a:lnTo>
                  <a:lnTo>
                    <a:pt x="198" y="38"/>
                  </a:lnTo>
                  <a:lnTo>
                    <a:pt x="198" y="38"/>
                  </a:lnTo>
                  <a:lnTo>
                    <a:pt x="200" y="38"/>
                  </a:lnTo>
                  <a:lnTo>
                    <a:pt x="201" y="42"/>
                  </a:lnTo>
                  <a:lnTo>
                    <a:pt x="200" y="44"/>
                  </a:lnTo>
                  <a:lnTo>
                    <a:pt x="203" y="46"/>
                  </a:lnTo>
                  <a:lnTo>
                    <a:pt x="205" y="47"/>
                  </a:lnTo>
                  <a:lnTo>
                    <a:pt x="205" y="49"/>
                  </a:lnTo>
                  <a:lnTo>
                    <a:pt x="205" y="49"/>
                  </a:lnTo>
                  <a:lnTo>
                    <a:pt x="205" y="49"/>
                  </a:lnTo>
                  <a:lnTo>
                    <a:pt x="209" y="53"/>
                  </a:lnTo>
                  <a:lnTo>
                    <a:pt x="213" y="53"/>
                  </a:lnTo>
                  <a:lnTo>
                    <a:pt x="213" y="59"/>
                  </a:lnTo>
                  <a:lnTo>
                    <a:pt x="215" y="61"/>
                  </a:lnTo>
                  <a:lnTo>
                    <a:pt x="215" y="61"/>
                  </a:lnTo>
                  <a:lnTo>
                    <a:pt x="215" y="62"/>
                  </a:lnTo>
                  <a:lnTo>
                    <a:pt x="218" y="64"/>
                  </a:lnTo>
                  <a:lnTo>
                    <a:pt x="218" y="66"/>
                  </a:lnTo>
                  <a:lnTo>
                    <a:pt x="215" y="68"/>
                  </a:lnTo>
                  <a:lnTo>
                    <a:pt x="215" y="68"/>
                  </a:lnTo>
                  <a:lnTo>
                    <a:pt x="215" y="70"/>
                  </a:lnTo>
                  <a:lnTo>
                    <a:pt x="218" y="74"/>
                  </a:lnTo>
                  <a:lnTo>
                    <a:pt x="218" y="78"/>
                  </a:lnTo>
                  <a:lnTo>
                    <a:pt x="220" y="78"/>
                  </a:lnTo>
                  <a:lnTo>
                    <a:pt x="220" y="81"/>
                  </a:lnTo>
                  <a:lnTo>
                    <a:pt x="220" y="81"/>
                  </a:lnTo>
                  <a:lnTo>
                    <a:pt x="222" y="81"/>
                  </a:lnTo>
                  <a:lnTo>
                    <a:pt x="224" y="81"/>
                  </a:lnTo>
                  <a:lnTo>
                    <a:pt x="226" y="81"/>
                  </a:lnTo>
                  <a:lnTo>
                    <a:pt x="226" y="83"/>
                  </a:lnTo>
                  <a:lnTo>
                    <a:pt x="226" y="83"/>
                  </a:lnTo>
                  <a:lnTo>
                    <a:pt x="228" y="87"/>
                  </a:lnTo>
                  <a:lnTo>
                    <a:pt x="230" y="87"/>
                  </a:lnTo>
                  <a:lnTo>
                    <a:pt x="233" y="87"/>
                  </a:lnTo>
                  <a:lnTo>
                    <a:pt x="233" y="89"/>
                  </a:lnTo>
                  <a:lnTo>
                    <a:pt x="237" y="89"/>
                  </a:lnTo>
                  <a:lnTo>
                    <a:pt x="243" y="91"/>
                  </a:lnTo>
                  <a:lnTo>
                    <a:pt x="243" y="93"/>
                  </a:lnTo>
                  <a:lnTo>
                    <a:pt x="243" y="93"/>
                  </a:lnTo>
                  <a:lnTo>
                    <a:pt x="245" y="93"/>
                  </a:lnTo>
                  <a:lnTo>
                    <a:pt x="245" y="91"/>
                  </a:lnTo>
                  <a:lnTo>
                    <a:pt x="248" y="89"/>
                  </a:lnTo>
                  <a:lnTo>
                    <a:pt x="250" y="89"/>
                  </a:lnTo>
                  <a:lnTo>
                    <a:pt x="250" y="87"/>
                  </a:lnTo>
                  <a:lnTo>
                    <a:pt x="250" y="87"/>
                  </a:lnTo>
                  <a:lnTo>
                    <a:pt x="252" y="83"/>
                  </a:lnTo>
                  <a:lnTo>
                    <a:pt x="254" y="78"/>
                  </a:lnTo>
                  <a:lnTo>
                    <a:pt x="256" y="78"/>
                  </a:lnTo>
                  <a:lnTo>
                    <a:pt x="260" y="78"/>
                  </a:lnTo>
                  <a:lnTo>
                    <a:pt x="260" y="78"/>
                  </a:lnTo>
                  <a:lnTo>
                    <a:pt x="262" y="78"/>
                  </a:lnTo>
                  <a:lnTo>
                    <a:pt x="262" y="78"/>
                  </a:lnTo>
                  <a:lnTo>
                    <a:pt x="264" y="76"/>
                  </a:lnTo>
                  <a:lnTo>
                    <a:pt x="267" y="76"/>
                  </a:lnTo>
                  <a:lnTo>
                    <a:pt x="269" y="76"/>
                  </a:lnTo>
                  <a:lnTo>
                    <a:pt x="273" y="76"/>
                  </a:lnTo>
                  <a:lnTo>
                    <a:pt x="273" y="76"/>
                  </a:lnTo>
                  <a:lnTo>
                    <a:pt x="275" y="78"/>
                  </a:lnTo>
                  <a:lnTo>
                    <a:pt x="277" y="78"/>
                  </a:lnTo>
                  <a:lnTo>
                    <a:pt x="280" y="78"/>
                  </a:lnTo>
                  <a:lnTo>
                    <a:pt x="282" y="81"/>
                  </a:lnTo>
                  <a:lnTo>
                    <a:pt x="286" y="83"/>
                  </a:lnTo>
                  <a:lnTo>
                    <a:pt x="288" y="87"/>
                  </a:lnTo>
                  <a:lnTo>
                    <a:pt x="288" y="93"/>
                  </a:lnTo>
                  <a:lnTo>
                    <a:pt x="292" y="93"/>
                  </a:lnTo>
                  <a:lnTo>
                    <a:pt x="292" y="96"/>
                  </a:lnTo>
                  <a:lnTo>
                    <a:pt x="292" y="100"/>
                  </a:lnTo>
                  <a:lnTo>
                    <a:pt x="292" y="102"/>
                  </a:lnTo>
                  <a:lnTo>
                    <a:pt x="294" y="102"/>
                  </a:lnTo>
                  <a:lnTo>
                    <a:pt x="296" y="111"/>
                  </a:lnTo>
                  <a:lnTo>
                    <a:pt x="297" y="111"/>
                  </a:lnTo>
                  <a:lnTo>
                    <a:pt x="297" y="113"/>
                  </a:lnTo>
                  <a:lnTo>
                    <a:pt x="301" y="115"/>
                  </a:lnTo>
                  <a:lnTo>
                    <a:pt x="301" y="119"/>
                  </a:lnTo>
                  <a:lnTo>
                    <a:pt x="303" y="123"/>
                  </a:lnTo>
                  <a:lnTo>
                    <a:pt x="307" y="127"/>
                  </a:lnTo>
                  <a:lnTo>
                    <a:pt x="307" y="130"/>
                  </a:lnTo>
                  <a:lnTo>
                    <a:pt x="307" y="132"/>
                  </a:lnTo>
                  <a:lnTo>
                    <a:pt x="307" y="132"/>
                  </a:lnTo>
                  <a:lnTo>
                    <a:pt x="307" y="136"/>
                  </a:lnTo>
                  <a:lnTo>
                    <a:pt x="311" y="145"/>
                  </a:lnTo>
                  <a:lnTo>
                    <a:pt x="311" y="149"/>
                  </a:lnTo>
                  <a:lnTo>
                    <a:pt x="312" y="153"/>
                  </a:lnTo>
                  <a:lnTo>
                    <a:pt x="312" y="153"/>
                  </a:lnTo>
                  <a:lnTo>
                    <a:pt x="312" y="153"/>
                  </a:lnTo>
                  <a:lnTo>
                    <a:pt x="316" y="153"/>
                  </a:lnTo>
                  <a:lnTo>
                    <a:pt x="318" y="155"/>
                  </a:lnTo>
                  <a:lnTo>
                    <a:pt x="322" y="157"/>
                  </a:lnTo>
                  <a:lnTo>
                    <a:pt x="328" y="160"/>
                  </a:lnTo>
                  <a:lnTo>
                    <a:pt x="331" y="160"/>
                  </a:lnTo>
                  <a:lnTo>
                    <a:pt x="335" y="160"/>
                  </a:lnTo>
                  <a:lnTo>
                    <a:pt x="337" y="162"/>
                  </a:lnTo>
                  <a:lnTo>
                    <a:pt x="337" y="166"/>
                  </a:lnTo>
                  <a:lnTo>
                    <a:pt x="337" y="166"/>
                  </a:lnTo>
                  <a:lnTo>
                    <a:pt x="341" y="166"/>
                  </a:lnTo>
                  <a:lnTo>
                    <a:pt x="341" y="160"/>
                  </a:lnTo>
                  <a:lnTo>
                    <a:pt x="343" y="157"/>
                  </a:lnTo>
                  <a:lnTo>
                    <a:pt x="343" y="160"/>
                  </a:lnTo>
                  <a:lnTo>
                    <a:pt x="341" y="166"/>
                  </a:lnTo>
                  <a:lnTo>
                    <a:pt x="341" y="166"/>
                  </a:lnTo>
                  <a:lnTo>
                    <a:pt x="341" y="170"/>
                  </a:lnTo>
                  <a:lnTo>
                    <a:pt x="337" y="174"/>
                  </a:lnTo>
                  <a:lnTo>
                    <a:pt x="337" y="177"/>
                  </a:lnTo>
                  <a:lnTo>
                    <a:pt x="335" y="177"/>
                  </a:lnTo>
                  <a:lnTo>
                    <a:pt x="335" y="175"/>
                  </a:lnTo>
                  <a:lnTo>
                    <a:pt x="335" y="172"/>
                  </a:lnTo>
                  <a:lnTo>
                    <a:pt x="333" y="172"/>
                  </a:lnTo>
                  <a:lnTo>
                    <a:pt x="333" y="177"/>
                  </a:lnTo>
                  <a:lnTo>
                    <a:pt x="329" y="181"/>
                  </a:lnTo>
                  <a:lnTo>
                    <a:pt x="333" y="181"/>
                  </a:lnTo>
                  <a:lnTo>
                    <a:pt x="331" y="185"/>
                  </a:lnTo>
                  <a:lnTo>
                    <a:pt x="329" y="191"/>
                  </a:lnTo>
                  <a:lnTo>
                    <a:pt x="328" y="191"/>
                  </a:lnTo>
                  <a:lnTo>
                    <a:pt x="328" y="194"/>
                  </a:lnTo>
                  <a:lnTo>
                    <a:pt x="329" y="196"/>
                  </a:lnTo>
                  <a:lnTo>
                    <a:pt x="328" y="198"/>
                  </a:lnTo>
                  <a:lnTo>
                    <a:pt x="329" y="202"/>
                  </a:lnTo>
                  <a:lnTo>
                    <a:pt x="326" y="211"/>
                  </a:lnTo>
                  <a:lnTo>
                    <a:pt x="328" y="215"/>
                  </a:lnTo>
                  <a:lnTo>
                    <a:pt x="326" y="224"/>
                  </a:lnTo>
                  <a:lnTo>
                    <a:pt x="324" y="230"/>
                  </a:lnTo>
                  <a:lnTo>
                    <a:pt x="324" y="232"/>
                  </a:lnTo>
                  <a:lnTo>
                    <a:pt x="326" y="240"/>
                  </a:lnTo>
                  <a:lnTo>
                    <a:pt x="326" y="243"/>
                  </a:lnTo>
                  <a:lnTo>
                    <a:pt x="329" y="251"/>
                  </a:lnTo>
                  <a:lnTo>
                    <a:pt x="329" y="256"/>
                  </a:lnTo>
                  <a:lnTo>
                    <a:pt x="329" y="256"/>
                  </a:lnTo>
                  <a:lnTo>
                    <a:pt x="328" y="251"/>
                  </a:lnTo>
                  <a:lnTo>
                    <a:pt x="324" y="245"/>
                  </a:lnTo>
                  <a:lnTo>
                    <a:pt x="324" y="249"/>
                  </a:lnTo>
                  <a:lnTo>
                    <a:pt x="326" y="251"/>
                  </a:lnTo>
                  <a:lnTo>
                    <a:pt x="329" y="260"/>
                  </a:lnTo>
                  <a:lnTo>
                    <a:pt x="329" y="262"/>
                  </a:lnTo>
                  <a:lnTo>
                    <a:pt x="328" y="264"/>
                  </a:lnTo>
                  <a:lnTo>
                    <a:pt x="331" y="268"/>
                  </a:lnTo>
                  <a:lnTo>
                    <a:pt x="331" y="270"/>
                  </a:lnTo>
                  <a:lnTo>
                    <a:pt x="341" y="283"/>
                  </a:lnTo>
                  <a:lnTo>
                    <a:pt x="343" y="287"/>
                  </a:lnTo>
                  <a:lnTo>
                    <a:pt x="346" y="292"/>
                  </a:lnTo>
                  <a:lnTo>
                    <a:pt x="346" y="294"/>
                  </a:lnTo>
                  <a:lnTo>
                    <a:pt x="346" y="298"/>
                  </a:lnTo>
                  <a:lnTo>
                    <a:pt x="354" y="305"/>
                  </a:lnTo>
                  <a:lnTo>
                    <a:pt x="358" y="309"/>
                  </a:lnTo>
                  <a:lnTo>
                    <a:pt x="360" y="307"/>
                  </a:lnTo>
                  <a:lnTo>
                    <a:pt x="365" y="309"/>
                  </a:lnTo>
                  <a:lnTo>
                    <a:pt x="365" y="309"/>
                  </a:lnTo>
                  <a:lnTo>
                    <a:pt x="371" y="313"/>
                  </a:lnTo>
                  <a:lnTo>
                    <a:pt x="375" y="319"/>
                  </a:lnTo>
                  <a:lnTo>
                    <a:pt x="376" y="322"/>
                  </a:lnTo>
                  <a:lnTo>
                    <a:pt x="380" y="319"/>
                  </a:lnTo>
                  <a:lnTo>
                    <a:pt x="388" y="319"/>
                  </a:lnTo>
                  <a:lnTo>
                    <a:pt x="390" y="322"/>
                  </a:lnTo>
                  <a:lnTo>
                    <a:pt x="392" y="322"/>
                  </a:lnTo>
                  <a:lnTo>
                    <a:pt x="399" y="317"/>
                  </a:lnTo>
                  <a:lnTo>
                    <a:pt x="399" y="315"/>
                  </a:lnTo>
                  <a:lnTo>
                    <a:pt x="405" y="315"/>
                  </a:lnTo>
                  <a:lnTo>
                    <a:pt x="410" y="315"/>
                  </a:lnTo>
                  <a:lnTo>
                    <a:pt x="414" y="311"/>
                  </a:lnTo>
                  <a:lnTo>
                    <a:pt x="418" y="311"/>
                  </a:lnTo>
                  <a:lnTo>
                    <a:pt x="424" y="313"/>
                  </a:lnTo>
                  <a:lnTo>
                    <a:pt x="424" y="311"/>
                  </a:lnTo>
                  <a:lnTo>
                    <a:pt x="429" y="313"/>
                  </a:lnTo>
                  <a:lnTo>
                    <a:pt x="425" y="315"/>
                  </a:lnTo>
                  <a:lnTo>
                    <a:pt x="424" y="317"/>
                  </a:lnTo>
                  <a:lnTo>
                    <a:pt x="427" y="319"/>
                  </a:lnTo>
                  <a:lnTo>
                    <a:pt x="431" y="319"/>
                  </a:lnTo>
                  <a:lnTo>
                    <a:pt x="431" y="319"/>
                  </a:lnTo>
                  <a:lnTo>
                    <a:pt x="433" y="319"/>
                  </a:lnTo>
                  <a:lnTo>
                    <a:pt x="437" y="315"/>
                  </a:lnTo>
                  <a:lnTo>
                    <a:pt x="437" y="309"/>
                  </a:lnTo>
                  <a:lnTo>
                    <a:pt x="439" y="305"/>
                  </a:lnTo>
                  <a:lnTo>
                    <a:pt x="435" y="307"/>
                  </a:lnTo>
                  <a:lnTo>
                    <a:pt x="435" y="307"/>
                  </a:lnTo>
                  <a:lnTo>
                    <a:pt x="442" y="302"/>
                  </a:lnTo>
                  <a:lnTo>
                    <a:pt x="444" y="302"/>
                  </a:lnTo>
                  <a:lnTo>
                    <a:pt x="448" y="298"/>
                  </a:lnTo>
                  <a:lnTo>
                    <a:pt x="448" y="292"/>
                  </a:lnTo>
                  <a:lnTo>
                    <a:pt x="456" y="285"/>
                  </a:lnTo>
                  <a:lnTo>
                    <a:pt x="454" y="283"/>
                  </a:lnTo>
                  <a:lnTo>
                    <a:pt x="456" y="273"/>
                  </a:lnTo>
                  <a:lnTo>
                    <a:pt x="463" y="264"/>
                  </a:lnTo>
                  <a:lnTo>
                    <a:pt x="459" y="264"/>
                  </a:lnTo>
                  <a:lnTo>
                    <a:pt x="459" y="260"/>
                  </a:lnTo>
                  <a:lnTo>
                    <a:pt x="472" y="258"/>
                  </a:lnTo>
                  <a:lnTo>
                    <a:pt x="488" y="258"/>
                  </a:lnTo>
                  <a:lnTo>
                    <a:pt x="489" y="255"/>
                  </a:lnTo>
                  <a:lnTo>
                    <a:pt x="493" y="255"/>
                  </a:lnTo>
                  <a:lnTo>
                    <a:pt x="497" y="255"/>
                  </a:lnTo>
                  <a:lnTo>
                    <a:pt x="499" y="253"/>
                  </a:lnTo>
                  <a:lnTo>
                    <a:pt x="499" y="251"/>
                  </a:lnTo>
                  <a:lnTo>
                    <a:pt x="506" y="251"/>
                  </a:lnTo>
                  <a:lnTo>
                    <a:pt x="516" y="253"/>
                  </a:lnTo>
                  <a:lnTo>
                    <a:pt x="518" y="253"/>
                  </a:lnTo>
                  <a:lnTo>
                    <a:pt x="518" y="251"/>
                  </a:lnTo>
                  <a:lnTo>
                    <a:pt x="521" y="249"/>
                  </a:lnTo>
                  <a:lnTo>
                    <a:pt x="527" y="256"/>
                  </a:lnTo>
                  <a:lnTo>
                    <a:pt x="527" y="262"/>
                  </a:lnTo>
                  <a:lnTo>
                    <a:pt x="523" y="264"/>
                  </a:lnTo>
                  <a:lnTo>
                    <a:pt x="520" y="273"/>
                  </a:lnTo>
                  <a:lnTo>
                    <a:pt x="510" y="279"/>
                  </a:lnTo>
                  <a:lnTo>
                    <a:pt x="508" y="283"/>
                  </a:lnTo>
                  <a:lnTo>
                    <a:pt x="508" y="288"/>
                  </a:lnTo>
                  <a:lnTo>
                    <a:pt x="504" y="290"/>
                  </a:lnTo>
                  <a:lnTo>
                    <a:pt x="503" y="292"/>
                  </a:lnTo>
                  <a:lnTo>
                    <a:pt x="506" y="294"/>
                  </a:lnTo>
                  <a:lnTo>
                    <a:pt x="508" y="294"/>
                  </a:lnTo>
                  <a:lnTo>
                    <a:pt x="508" y="294"/>
                  </a:lnTo>
                  <a:lnTo>
                    <a:pt x="504" y="300"/>
                  </a:lnTo>
                  <a:lnTo>
                    <a:pt x="504" y="302"/>
                  </a:lnTo>
                  <a:lnTo>
                    <a:pt x="506" y="302"/>
                  </a:lnTo>
                  <a:lnTo>
                    <a:pt x="508" y="300"/>
                  </a:lnTo>
                  <a:lnTo>
                    <a:pt x="510" y="300"/>
                  </a:lnTo>
                  <a:lnTo>
                    <a:pt x="508" y="304"/>
                  </a:lnTo>
                  <a:lnTo>
                    <a:pt x="504" y="315"/>
                  </a:lnTo>
                  <a:lnTo>
                    <a:pt x="503" y="322"/>
                  </a:lnTo>
                  <a:lnTo>
                    <a:pt x="503" y="322"/>
                  </a:lnTo>
                  <a:lnTo>
                    <a:pt x="499" y="319"/>
                  </a:lnTo>
                  <a:lnTo>
                    <a:pt x="493" y="317"/>
                  </a:lnTo>
                  <a:lnTo>
                    <a:pt x="493" y="315"/>
                  </a:lnTo>
                  <a:lnTo>
                    <a:pt x="497" y="313"/>
                  </a:lnTo>
                  <a:lnTo>
                    <a:pt x="499" y="309"/>
                  </a:lnTo>
                  <a:lnTo>
                    <a:pt x="493" y="309"/>
                  </a:lnTo>
                  <a:lnTo>
                    <a:pt x="491" y="315"/>
                  </a:lnTo>
                  <a:lnTo>
                    <a:pt x="488" y="317"/>
                  </a:lnTo>
                  <a:lnTo>
                    <a:pt x="488" y="317"/>
                  </a:lnTo>
                  <a:lnTo>
                    <a:pt x="486" y="317"/>
                  </a:lnTo>
                  <a:lnTo>
                    <a:pt x="484" y="319"/>
                  </a:lnTo>
                  <a:lnTo>
                    <a:pt x="484" y="319"/>
                  </a:lnTo>
                  <a:lnTo>
                    <a:pt x="482" y="322"/>
                  </a:lnTo>
                  <a:lnTo>
                    <a:pt x="480" y="324"/>
                  </a:lnTo>
                  <a:lnTo>
                    <a:pt x="480" y="328"/>
                  </a:lnTo>
                  <a:lnTo>
                    <a:pt x="478" y="328"/>
                  </a:lnTo>
                  <a:lnTo>
                    <a:pt x="478" y="328"/>
                  </a:lnTo>
                  <a:lnTo>
                    <a:pt x="478" y="328"/>
                  </a:lnTo>
                  <a:lnTo>
                    <a:pt x="478" y="324"/>
                  </a:lnTo>
                  <a:lnTo>
                    <a:pt x="474" y="324"/>
                  </a:lnTo>
                  <a:lnTo>
                    <a:pt x="474" y="328"/>
                  </a:lnTo>
                  <a:lnTo>
                    <a:pt x="472" y="328"/>
                  </a:lnTo>
                  <a:lnTo>
                    <a:pt x="440" y="328"/>
                  </a:lnTo>
                  <a:lnTo>
                    <a:pt x="440" y="339"/>
                  </a:lnTo>
                  <a:lnTo>
                    <a:pt x="431" y="339"/>
                  </a:lnTo>
                  <a:lnTo>
                    <a:pt x="435" y="341"/>
                  </a:lnTo>
                  <a:lnTo>
                    <a:pt x="437" y="343"/>
                  </a:lnTo>
                  <a:lnTo>
                    <a:pt x="439" y="347"/>
                  </a:lnTo>
                  <a:lnTo>
                    <a:pt x="442" y="349"/>
                  </a:lnTo>
                  <a:lnTo>
                    <a:pt x="444" y="349"/>
                  </a:lnTo>
                  <a:lnTo>
                    <a:pt x="444" y="353"/>
                  </a:lnTo>
                  <a:lnTo>
                    <a:pt x="444" y="353"/>
                  </a:lnTo>
                  <a:lnTo>
                    <a:pt x="448" y="356"/>
                  </a:lnTo>
                  <a:lnTo>
                    <a:pt x="450" y="356"/>
                  </a:lnTo>
                  <a:lnTo>
                    <a:pt x="454" y="356"/>
                  </a:lnTo>
                  <a:lnTo>
                    <a:pt x="454" y="358"/>
                  </a:lnTo>
                  <a:lnTo>
                    <a:pt x="450" y="362"/>
                  </a:lnTo>
                  <a:lnTo>
                    <a:pt x="425" y="362"/>
                  </a:lnTo>
                  <a:lnTo>
                    <a:pt x="416" y="381"/>
                  </a:lnTo>
                  <a:lnTo>
                    <a:pt x="416" y="381"/>
                  </a:lnTo>
                  <a:lnTo>
                    <a:pt x="416" y="383"/>
                  </a:lnTo>
                  <a:lnTo>
                    <a:pt x="416" y="385"/>
                  </a:lnTo>
                  <a:lnTo>
                    <a:pt x="418" y="386"/>
                  </a:lnTo>
                  <a:lnTo>
                    <a:pt x="418" y="386"/>
                  </a:lnTo>
                  <a:lnTo>
                    <a:pt x="418" y="388"/>
                  </a:lnTo>
                  <a:lnTo>
                    <a:pt x="416" y="390"/>
                  </a:lnTo>
                  <a:lnTo>
                    <a:pt x="414" y="392"/>
                  </a:lnTo>
                  <a:lnTo>
                    <a:pt x="414" y="392"/>
                  </a:lnTo>
                  <a:lnTo>
                    <a:pt x="410" y="388"/>
                  </a:lnTo>
                  <a:lnTo>
                    <a:pt x="407" y="385"/>
                  </a:lnTo>
                  <a:lnTo>
                    <a:pt x="405" y="381"/>
                  </a:lnTo>
                  <a:lnTo>
                    <a:pt x="401" y="381"/>
                  </a:lnTo>
                  <a:lnTo>
                    <a:pt x="390" y="371"/>
                  </a:lnTo>
                  <a:lnTo>
                    <a:pt x="388" y="369"/>
                  </a:lnTo>
                  <a:lnTo>
                    <a:pt x="388" y="368"/>
                  </a:lnTo>
                  <a:lnTo>
                    <a:pt x="384" y="362"/>
                  </a:lnTo>
                  <a:lnTo>
                    <a:pt x="380" y="360"/>
                  </a:lnTo>
                  <a:lnTo>
                    <a:pt x="376" y="358"/>
                  </a:lnTo>
                  <a:lnTo>
                    <a:pt x="376" y="358"/>
                  </a:lnTo>
                  <a:lnTo>
                    <a:pt x="375" y="358"/>
                  </a:lnTo>
                  <a:lnTo>
                    <a:pt x="375" y="360"/>
                  </a:lnTo>
                  <a:lnTo>
                    <a:pt x="382" y="362"/>
                  </a:lnTo>
                  <a:lnTo>
                    <a:pt x="386" y="368"/>
                  </a:lnTo>
                  <a:lnTo>
                    <a:pt x="386" y="368"/>
                  </a:lnTo>
                  <a:lnTo>
                    <a:pt x="384" y="366"/>
                  </a:lnTo>
                  <a:lnTo>
                    <a:pt x="376" y="362"/>
                  </a:lnTo>
                  <a:lnTo>
                    <a:pt x="375" y="360"/>
                  </a:lnTo>
                  <a:lnTo>
                    <a:pt x="371" y="360"/>
                  </a:lnTo>
                  <a:lnTo>
                    <a:pt x="371" y="360"/>
                  </a:lnTo>
                  <a:lnTo>
                    <a:pt x="371" y="360"/>
                  </a:lnTo>
                  <a:lnTo>
                    <a:pt x="375" y="358"/>
                  </a:lnTo>
                  <a:lnTo>
                    <a:pt x="375" y="358"/>
                  </a:lnTo>
                  <a:lnTo>
                    <a:pt x="371" y="358"/>
                  </a:lnTo>
                  <a:lnTo>
                    <a:pt x="367" y="358"/>
                  </a:lnTo>
                  <a:lnTo>
                    <a:pt x="367" y="356"/>
                  </a:lnTo>
                  <a:lnTo>
                    <a:pt x="367" y="356"/>
                  </a:lnTo>
                  <a:lnTo>
                    <a:pt x="361" y="358"/>
                  </a:lnTo>
                  <a:lnTo>
                    <a:pt x="361" y="360"/>
                  </a:lnTo>
                  <a:lnTo>
                    <a:pt x="367" y="360"/>
                  </a:lnTo>
                  <a:lnTo>
                    <a:pt x="371" y="360"/>
                  </a:lnTo>
                  <a:lnTo>
                    <a:pt x="371" y="362"/>
                  </a:lnTo>
                  <a:lnTo>
                    <a:pt x="367" y="362"/>
                  </a:lnTo>
                  <a:lnTo>
                    <a:pt x="361" y="362"/>
                  </a:lnTo>
                  <a:lnTo>
                    <a:pt x="360" y="362"/>
                  </a:lnTo>
                  <a:lnTo>
                    <a:pt x="354" y="366"/>
                  </a:lnTo>
                  <a:lnTo>
                    <a:pt x="350" y="366"/>
                  </a:lnTo>
                  <a:lnTo>
                    <a:pt x="341" y="371"/>
                  </a:lnTo>
                  <a:lnTo>
                    <a:pt x="337" y="371"/>
                  </a:lnTo>
                  <a:lnTo>
                    <a:pt x="328" y="368"/>
                  </a:lnTo>
                  <a:lnTo>
                    <a:pt x="322" y="364"/>
                  </a:lnTo>
                  <a:lnTo>
                    <a:pt x="316" y="364"/>
                  </a:lnTo>
                  <a:lnTo>
                    <a:pt x="311" y="362"/>
                  </a:lnTo>
                  <a:lnTo>
                    <a:pt x="307" y="360"/>
                  </a:lnTo>
                  <a:lnTo>
                    <a:pt x="305" y="360"/>
                  </a:lnTo>
                  <a:lnTo>
                    <a:pt x="301" y="360"/>
                  </a:lnTo>
                  <a:lnTo>
                    <a:pt x="297" y="358"/>
                  </a:lnTo>
                  <a:lnTo>
                    <a:pt x="294" y="353"/>
                  </a:lnTo>
                  <a:lnTo>
                    <a:pt x="294" y="353"/>
                  </a:lnTo>
                  <a:lnTo>
                    <a:pt x="292" y="353"/>
                  </a:lnTo>
                  <a:lnTo>
                    <a:pt x="286" y="353"/>
                  </a:lnTo>
                  <a:lnTo>
                    <a:pt x="282" y="353"/>
                  </a:lnTo>
                  <a:lnTo>
                    <a:pt x="279" y="349"/>
                  </a:lnTo>
                  <a:lnTo>
                    <a:pt x="275" y="347"/>
                  </a:lnTo>
                  <a:lnTo>
                    <a:pt x="267" y="343"/>
                  </a:lnTo>
                  <a:lnTo>
                    <a:pt x="258" y="341"/>
                  </a:lnTo>
                  <a:lnTo>
                    <a:pt x="252" y="336"/>
                  </a:lnTo>
                  <a:lnTo>
                    <a:pt x="250" y="336"/>
                  </a:lnTo>
                  <a:lnTo>
                    <a:pt x="243" y="328"/>
                  </a:lnTo>
                  <a:lnTo>
                    <a:pt x="239" y="322"/>
                  </a:lnTo>
                  <a:lnTo>
                    <a:pt x="237" y="324"/>
                  </a:lnTo>
                  <a:lnTo>
                    <a:pt x="237" y="324"/>
                  </a:lnTo>
                  <a:lnTo>
                    <a:pt x="233" y="324"/>
                  </a:lnTo>
                  <a:lnTo>
                    <a:pt x="226" y="322"/>
                  </a:lnTo>
                  <a:lnTo>
                    <a:pt x="224" y="322"/>
                  </a:lnTo>
                  <a:lnTo>
                    <a:pt x="220" y="322"/>
                  </a:lnTo>
                  <a:lnTo>
                    <a:pt x="218" y="322"/>
                  </a:lnTo>
                  <a:lnTo>
                    <a:pt x="215" y="319"/>
                  </a:lnTo>
                  <a:lnTo>
                    <a:pt x="213" y="317"/>
                  </a:lnTo>
                  <a:lnTo>
                    <a:pt x="209" y="311"/>
                  </a:lnTo>
                  <a:lnTo>
                    <a:pt x="205" y="307"/>
                  </a:lnTo>
                  <a:lnTo>
                    <a:pt x="200" y="305"/>
                  </a:lnTo>
                  <a:lnTo>
                    <a:pt x="200" y="304"/>
                  </a:lnTo>
                  <a:lnTo>
                    <a:pt x="201" y="300"/>
                  </a:lnTo>
                  <a:lnTo>
                    <a:pt x="200" y="300"/>
                  </a:lnTo>
                  <a:lnTo>
                    <a:pt x="196" y="302"/>
                  </a:lnTo>
                  <a:lnTo>
                    <a:pt x="188" y="300"/>
                  </a:lnTo>
                  <a:lnTo>
                    <a:pt x="188" y="298"/>
                  </a:lnTo>
                  <a:lnTo>
                    <a:pt x="184" y="298"/>
                  </a:lnTo>
                  <a:lnTo>
                    <a:pt x="184" y="298"/>
                  </a:lnTo>
                  <a:lnTo>
                    <a:pt x="184" y="292"/>
                  </a:lnTo>
                  <a:lnTo>
                    <a:pt x="181" y="288"/>
                  </a:lnTo>
                  <a:lnTo>
                    <a:pt x="181" y="285"/>
                  </a:lnTo>
                  <a:lnTo>
                    <a:pt x="177" y="283"/>
                  </a:lnTo>
                  <a:lnTo>
                    <a:pt x="175" y="275"/>
                  </a:lnTo>
                  <a:lnTo>
                    <a:pt x="175" y="273"/>
                  </a:lnTo>
                  <a:lnTo>
                    <a:pt x="177" y="273"/>
                  </a:lnTo>
                  <a:lnTo>
                    <a:pt x="181" y="273"/>
                  </a:lnTo>
                  <a:lnTo>
                    <a:pt x="181" y="270"/>
                  </a:lnTo>
                  <a:lnTo>
                    <a:pt x="181" y="270"/>
                  </a:lnTo>
                  <a:lnTo>
                    <a:pt x="179" y="270"/>
                  </a:lnTo>
                  <a:lnTo>
                    <a:pt x="179" y="268"/>
                  </a:lnTo>
                  <a:lnTo>
                    <a:pt x="184" y="264"/>
                  </a:lnTo>
                  <a:lnTo>
                    <a:pt x="184" y="260"/>
                  </a:lnTo>
                  <a:lnTo>
                    <a:pt x="184" y="256"/>
                  </a:lnTo>
                  <a:lnTo>
                    <a:pt x="181" y="245"/>
                  </a:lnTo>
                  <a:lnTo>
                    <a:pt x="179" y="240"/>
                  </a:lnTo>
                  <a:lnTo>
                    <a:pt x="179" y="236"/>
                  </a:lnTo>
                  <a:lnTo>
                    <a:pt x="179" y="234"/>
                  </a:lnTo>
                  <a:lnTo>
                    <a:pt x="179" y="230"/>
                  </a:lnTo>
                  <a:lnTo>
                    <a:pt x="171" y="223"/>
                  </a:lnTo>
                  <a:lnTo>
                    <a:pt x="171" y="219"/>
                  </a:lnTo>
                  <a:lnTo>
                    <a:pt x="166" y="211"/>
                  </a:lnTo>
                  <a:lnTo>
                    <a:pt x="160" y="206"/>
                  </a:lnTo>
                  <a:lnTo>
                    <a:pt x="156" y="198"/>
                  </a:lnTo>
                  <a:lnTo>
                    <a:pt x="151" y="194"/>
                  </a:lnTo>
                  <a:lnTo>
                    <a:pt x="149" y="191"/>
                  </a:lnTo>
                  <a:lnTo>
                    <a:pt x="149" y="191"/>
                  </a:lnTo>
                  <a:lnTo>
                    <a:pt x="143" y="187"/>
                  </a:lnTo>
                  <a:lnTo>
                    <a:pt x="141" y="187"/>
                  </a:lnTo>
                  <a:lnTo>
                    <a:pt x="139" y="185"/>
                  </a:lnTo>
                  <a:lnTo>
                    <a:pt x="143" y="185"/>
                  </a:lnTo>
                  <a:lnTo>
                    <a:pt x="143" y="181"/>
                  </a:lnTo>
                  <a:lnTo>
                    <a:pt x="143" y="179"/>
                  </a:lnTo>
                  <a:lnTo>
                    <a:pt x="141" y="175"/>
                  </a:lnTo>
                  <a:lnTo>
                    <a:pt x="139" y="172"/>
                  </a:lnTo>
                  <a:lnTo>
                    <a:pt x="137" y="172"/>
                  </a:lnTo>
                  <a:lnTo>
                    <a:pt x="136" y="172"/>
                  </a:lnTo>
                  <a:lnTo>
                    <a:pt x="128" y="166"/>
                  </a:lnTo>
                  <a:lnTo>
                    <a:pt x="124" y="162"/>
                  </a:lnTo>
                  <a:lnTo>
                    <a:pt x="120" y="162"/>
                  </a:lnTo>
                  <a:lnTo>
                    <a:pt x="119" y="160"/>
                  </a:lnTo>
                  <a:lnTo>
                    <a:pt x="117" y="157"/>
                  </a:lnTo>
                  <a:lnTo>
                    <a:pt x="119" y="153"/>
                  </a:lnTo>
                  <a:lnTo>
                    <a:pt x="122" y="149"/>
                  </a:lnTo>
                  <a:lnTo>
                    <a:pt x="126" y="149"/>
                  </a:lnTo>
                  <a:lnTo>
                    <a:pt x="128" y="151"/>
                  </a:lnTo>
                  <a:lnTo>
                    <a:pt x="128" y="149"/>
                  </a:lnTo>
                  <a:lnTo>
                    <a:pt x="128" y="145"/>
                  </a:lnTo>
                  <a:lnTo>
                    <a:pt x="128" y="145"/>
                  </a:lnTo>
                  <a:lnTo>
                    <a:pt x="126" y="145"/>
                  </a:lnTo>
                  <a:lnTo>
                    <a:pt x="124" y="145"/>
                  </a:lnTo>
                  <a:lnTo>
                    <a:pt x="122" y="142"/>
                  </a:lnTo>
                  <a:lnTo>
                    <a:pt x="119" y="138"/>
                  </a:lnTo>
                  <a:lnTo>
                    <a:pt x="117" y="138"/>
                  </a:lnTo>
                  <a:lnTo>
                    <a:pt x="113" y="138"/>
                  </a:lnTo>
                  <a:lnTo>
                    <a:pt x="111" y="136"/>
                  </a:lnTo>
                  <a:lnTo>
                    <a:pt x="113" y="132"/>
                  </a:lnTo>
                  <a:lnTo>
                    <a:pt x="111" y="132"/>
                  </a:lnTo>
                  <a:lnTo>
                    <a:pt x="107" y="132"/>
                  </a:lnTo>
                  <a:lnTo>
                    <a:pt x="102" y="125"/>
                  </a:lnTo>
                  <a:lnTo>
                    <a:pt x="102" y="121"/>
                  </a:lnTo>
                  <a:lnTo>
                    <a:pt x="102" y="117"/>
                  </a:lnTo>
                  <a:lnTo>
                    <a:pt x="102" y="113"/>
                  </a:lnTo>
                  <a:lnTo>
                    <a:pt x="102" y="111"/>
                  </a:lnTo>
                  <a:lnTo>
                    <a:pt x="98" y="113"/>
                  </a:lnTo>
                  <a:lnTo>
                    <a:pt x="98" y="111"/>
                  </a:lnTo>
                  <a:lnTo>
                    <a:pt x="94" y="111"/>
                  </a:lnTo>
                  <a:lnTo>
                    <a:pt x="94" y="111"/>
                  </a:lnTo>
                  <a:lnTo>
                    <a:pt x="90" y="108"/>
                  </a:lnTo>
                  <a:lnTo>
                    <a:pt x="90" y="106"/>
                  </a:lnTo>
                  <a:lnTo>
                    <a:pt x="88" y="102"/>
                  </a:lnTo>
                  <a:lnTo>
                    <a:pt x="87" y="100"/>
                  </a:lnTo>
                  <a:lnTo>
                    <a:pt x="83" y="98"/>
                  </a:lnTo>
                  <a:lnTo>
                    <a:pt x="83" y="94"/>
                  </a:lnTo>
                  <a:lnTo>
                    <a:pt x="83" y="91"/>
                  </a:lnTo>
                  <a:lnTo>
                    <a:pt x="81" y="91"/>
                  </a:lnTo>
                  <a:lnTo>
                    <a:pt x="77" y="83"/>
                  </a:lnTo>
                  <a:lnTo>
                    <a:pt x="77" y="81"/>
                  </a:lnTo>
                  <a:lnTo>
                    <a:pt x="75" y="81"/>
                  </a:lnTo>
                  <a:lnTo>
                    <a:pt x="75" y="81"/>
                  </a:lnTo>
                  <a:lnTo>
                    <a:pt x="75" y="78"/>
                  </a:lnTo>
                  <a:lnTo>
                    <a:pt x="77" y="78"/>
                  </a:lnTo>
                  <a:lnTo>
                    <a:pt x="72" y="70"/>
                  </a:lnTo>
                  <a:lnTo>
                    <a:pt x="70" y="66"/>
                  </a:lnTo>
                  <a:lnTo>
                    <a:pt x="72" y="64"/>
                  </a:lnTo>
                  <a:lnTo>
                    <a:pt x="70" y="59"/>
                  </a:lnTo>
                  <a:lnTo>
                    <a:pt x="68" y="57"/>
                  </a:lnTo>
                  <a:lnTo>
                    <a:pt x="68" y="49"/>
                  </a:lnTo>
                  <a:lnTo>
                    <a:pt x="66" y="46"/>
                  </a:lnTo>
                  <a:lnTo>
                    <a:pt x="66" y="44"/>
                  </a:lnTo>
                  <a:lnTo>
                    <a:pt x="68" y="40"/>
                  </a:lnTo>
                  <a:lnTo>
                    <a:pt x="68" y="38"/>
                  </a:lnTo>
                  <a:lnTo>
                    <a:pt x="64" y="36"/>
                  </a:lnTo>
                  <a:lnTo>
                    <a:pt x="62" y="36"/>
                  </a:lnTo>
                  <a:lnTo>
                    <a:pt x="58" y="32"/>
                  </a:lnTo>
                  <a:lnTo>
                    <a:pt x="56" y="32"/>
                  </a:lnTo>
                  <a:lnTo>
                    <a:pt x="56" y="32"/>
                  </a:lnTo>
                  <a:lnTo>
                    <a:pt x="53" y="32"/>
                  </a:lnTo>
                  <a:lnTo>
                    <a:pt x="51" y="32"/>
                  </a:lnTo>
                  <a:lnTo>
                    <a:pt x="47" y="25"/>
                  </a:lnTo>
                  <a:lnTo>
                    <a:pt x="41" y="25"/>
                  </a:lnTo>
                  <a:lnTo>
                    <a:pt x="40" y="19"/>
                  </a:lnTo>
                  <a:lnTo>
                    <a:pt x="40" y="25"/>
                  </a:lnTo>
                  <a:lnTo>
                    <a:pt x="41" y="29"/>
                  </a:lnTo>
                  <a:lnTo>
                    <a:pt x="40" y="32"/>
                  </a:lnTo>
                  <a:lnTo>
                    <a:pt x="38" y="38"/>
                  </a:lnTo>
                  <a:lnTo>
                    <a:pt x="38" y="46"/>
                  </a:lnTo>
                  <a:lnTo>
                    <a:pt x="40" y="57"/>
                  </a:lnTo>
                  <a:lnTo>
                    <a:pt x="38" y="61"/>
                  </a:lnTo>
                  <a:lnTo>
                    <a:pt x="40" y="62"/>
                  </a:lnTo>
                  <a:lnTo>
                    <a:pt x="41" y="68"/>
                  </a:lnTo>
                  <a:lnTo>
                    <a:pt x="41" y="72"/>
                  </a:lnTo>
                  <a:lnTo>
                    <a:pt x="43" y="72"/>
                  </a:lnTo>
                  <a:lnTo>
                    <a:pt x="45" y="76"/>
                  </a:lnTo>
                  <a:lnTo>
                    <a:pt x="51" y="78"/>
                  </a:lnTo>
                  <a:lnTo>
                    <a:pt x="53" y="83"/>
                  </a:lnTo>
                  <a:lnTo>
                    <a:pt x="53" y="87"/>
                  </a:lnTo>
                  <a:lnTo>
                    <a:pt x="53" y="89"/>
                  </a:lnTo>
                  <a:lnTo>
                    <a:pt x="56" y="91"/>
                  </a:lnTo>
                  <a:lnTo>
                    <a:pt x="56" y="93"/>
                  </a:lnTo>
                  <a:lnTo>
                    <a:pt x="56" y="96"/>
                  </a:lnTo>
                  <a:lnTo>
                    <a:pt x="58" y="98"/>
                  </a:lnTo>
                  <a:lnTo>
                    <a:pt x="62" y="100"/>
                  </a:lnTo>
                  <a:lnTo>
                    <a:pt x="64" y="102"/>
                  </a:lnTo>
                  <a:lnTo>
                    <a:pt x="64" y="108"/>
                  </a:lnTo>
                  <a:lnTo>
                    <a:pt x="64" y="111"/>
                  </a:lnTo>
                  <a:lnTo>
                    <a:pt x="68" y="115"/>
                  </a:lnTo>
                  <a:lnTo>
                    <a:pt x="70" y="115"/>
                  </a:lnTo>
                  <a:lnTo>
                    <a:pt x="73" y="121"/>
                  </a:lnTo>
                  <a:lnTo>
                    <a:pt x="73" y="128"/>
                  </a:lnTo>
                  <a:lnTo>
                    <a:pt x="75" y="128"/>
                  </a:lnTo>
                  <a:lnTo>
                    <a:pt x="77" y="130"/>
                  </a:lnTo>
                  <a:lnTo>
                    <a:pt x="75" y="132"/>
                  </a:lnTo>
                  <a:lnTo>
                    <a:pt x="75" y="136"/>
                  </a:lnTo>
                  <a:lnTo>
                    <a:pt x="77" y="140"/>
                  </a:lnTo>
                  <a:lnTo>
                    <a:pt x="81" y="138"/>
                  </a:lnTo>
                  <a:lnTo>
                    <a:pt x="81" y="136"/>
                  </a:lnTo>
                  <a:lnTo>
                    <a:pt x="81" y="136"/>
                  </a:lnTo>
                  <a:lnTo>
                    <a:pt x="81" y="136"/>
                  </a:lnTo>
                  <a:lnTo>
                    <a:pt x="81" y="138"/>
                  </a:lnTo>
                  <a:lnTo>
                    <a:pt x="87" y="142"/>
                  </a:lnTo>
                  <a:lnTo>
                    <a:pt x="87" y="149"/>
                  </a:lnTo>
                  <a:lnTo>
                    <a:pt x="87" y="151"/>
                  </a:lnTo>
                  <a:lnTo>
                    <a:pt x="87" y="157"/>
                  </a:lnTo>
                  <a:lnTo>
                    <a:pt x="87" y="157"/>
                  </a:lnTo>
                  <a:lnTo>
                    <a:pt x="87" y="160"/>
                  </a:lnTo>
                  <a:lnTo>
                    <a:pt x="88" y="162"/>
                  </a:lnTo>
                  <a:lnTo>
                    <a:pt x="88" y="166"/>
                  </a:lnTo>
                  <a:lnTo>
                    <a:pt x="90" y="170"/>
                  </a:lnTo>
                  <a:lnTo>
                    <a:pt x="90" y="170"/>
                  </a:lnTo>
                  <a:lnTo>
                    <a:pt x="88" y="174"/>
                  </a:lnTo>
                  <a:lnTo>
                    <a:pt x="92" y="177"/>
                  </a:lnTo>
                  <a:lnTo>
                    <a:pt x="92" y="181"/>
                  </a:lnTo>
                  <a:lnTo>
                    <a:pt x="90" y="185"/>
                  </a:lnTo>
                  <a:lnTo>
                    <a:pt x="90" y="187"/>
                  </a:lnTo>
                  <a:lnTo>
                    <a:pt x="94" y="191"/>
                  </a:lnTo>
                  <a:lnTo>
                    <a:pt x="96" y="194"/>
                  </a:lnTo>
                  <a:lnTo>
                    <a:pt x="98" y="194"/>
                  </a:lnTo>
                  <a:lnTo>
                    <a:pt x="100" y="194"/>
                  </a:lnTo>
                  <a:lnTo>
                    <a:pt x="100" y="191"/>
                  </a:lnTo>
                  <a:lnTo>
                    <a:pt x="100" y="191"/>
                  </a:lnTo>
                  <a:lnTo>
                    <a:pt x="102" y="194"/>
                  </a:lnTo>
                  <a:lnTo>
                    <a:pt x="102" y="194"/>
                  </a:lnTo>
                  <a:lnTo>
                    <a:pt x="105" y="196"/>
                  </a:lnTo>
                  <a:lnTo>
                    <a:pt x="107" y="198"/>
                  </a:lnTo>
                  <a:lnTo>
                    <a:pt x="107" y="202"/>
                  </a:lnTo>
                  <a:lnTo>
                    <a:pt x="111" y="204"/>
                  </a:lnTo>
                  <a:lnTo>
                    <a:pt x="111" y="208"/>
                  </a:lnTo>
                  <a:lnTo>
                    <a:pt x="113" y="209"/>
                  </a:lnTo>
                  <a:lnTo>
                    <a:pt x="113" y="211"/>
                  </a:lnTo>
                  <a:lnTo>
                    <a:pt x="111" y="219"/>
                  </a:lnTo>
                  <a:lnTo>
                    <a:pt x="105" y="221"/>
                  </a:lnTo>
                  <a:lnTo>
                    <a:pt x="102" y="219"/>
                  </a:lnTo>
                  <a:lnTo>
                    <a:pt x="102" y="215"/>
                  </a:lnTo>
                  <a:lnTo>
                    <a:pt x="100" y="215"/>
                  </a:lnTo>
                  <a:lnTo>
                    <a:pt x="98" y="211"/>
                  </a:lnTo>
                  <a:lnTo>
                    <a:pt x="98" y="208"/>
                  </a:lnTo>
                  <a:lnTo>
                    <a:pt x="96" y="204"/>
                  </a:lnTo>
                  <a:lnTo>
                    <a:pt x="92" y="204"/>
                  </a:lnTo>
                  <a:lnTo>
                    <a:pt x="88" y="200"/>
                  </a:lnTo>
                  <a:lnTo>
                    <a:pt x="87" y="198"/>
                  </a:lnTo>
                  <a:lnTo>
                    <a:pt x="87" y="196"/>
                  </a:lnTo>
                  <a:lnTo>
                    <a:pt x="77" y="187"/>
                  </a:lnTo>
                  <a:lnTo>
                    <a:pt x="75" y="185"/>
                  </a:lnTo>
                  <a:lnTo>
                    <a:pt x="72" y="185"/>
                  </a:lnTo>
                  <a:lnTo>
                    <a:pt x="72" y="181"/>
                  </a:lnTo>
                  <a:lnTo>
                    <a:pt x="70" y="181"/>
                  </a:lnTo>
                  <a:lnTo>
                    <a:pt x="66" y="179"/>
                  </a:lnTo>
                  <a:lnTo>
                    <a:pt x="66" y="175"/>
                  </a:lnTo>
                  <a:lnTo>
                    <a:pt x="68" y="170"/>
                  </a:lnTo>
                  <a:lnTo>
                    <a:pt x="70" y="166"/>
                  </a:lnTo>
                  <a:lnTo>
                    <a:pt x="70" y="157"/>
                  </a:lnTo>
                  <a:lnTo>
                    <a:pt x="66" y="151"/>
                  </a:lnTo>
                  <a:lnTo>
                    <a:pt x="64" y="147"/>
                  </a:lnTo>
                  <a:lnTo>
                    <a:pt x="62" y="147"/>
                  </a:lnTo>
                  <a:lnTo>
                    <a:pt x="62" y="147"/>
                  </a:lnTo>
                  <a:lnTo>
                    <a:pt x="53" y="140"/>
                  </a:lnTo>
                  <a:lnTo>
                    <a:pt x="53" y="136"/>
                  </a:lnTo>
                  <a:lnTo>
                    <a:pt x="53" y="132"/>
                  </a:lnTo>
                  <a:lnTo>
                    <a:pt x="53" y="132"/>
                  </a:lnTo>
                  <a:lnTo>
                    <a:pt x="51" y="136"/>
                  </a:lnTo>
                  <a:lnTo>
                    <a:pt x="47" y="136"/>
                  </a:lnTo>
                  <a:lnTo>
                    <a:pt x="45" y="136"/>
                  </a:lnTo>
                  <a:lnTo>
                    <a:pt x="43" y="132"/>
                  </a:lnTo>
                  <a:lnTo>
                    <a:pt x="45" y="132"/>
                  </a:lnTo>
                  <a:lnTo>
                    <a:pt x="41" y="132"/>
                  </a:lnTo>
                  <a:lnTo>
                    <a:pt x="40" y="132"/>
                  </a:lnTo>
                  <a:lnTo>
                    <a:pt x="40" y="130"/>
                  </a:lnTo>
                  <a:lnTo>
                    <a:pt x="34" y="128"/>
                  </a:lnTo>
                  <a:lnTo>
                    <a:pt x="32" y="127"/>
                  </a:lnTo>
                  <a:lnTo>
                    <a:pt x="32" y="123"/>
                  </a:lnTo>
                  <a:lnTo>
                    <a:pt x="28" y="119"/>
                  </a:lnTo>
                  <a:lnTo>
                    <a:pt x="28" y="119"/>
                  </a:lnTo>
                  <a:lnTo>
                    <a:pt x="23" y="113"/>
                  </a:lnTo>
                  <a:lnTo>
                    <a:pt x="24" y="111"/>
                  </a:lnTo>
                  <a:lnTo>
                    <a:pt x="28" y="111"/>
                  </a:lnTo>
                  <a:lnTo>
                    <a:pt x="32" y="113"/>
                  </a:lnTo>
                  <a:lnTo>
                    <a:pt x="36" y="113"/>
                  </a:lnTo>
                  <a:lnTo>
                    <a:pt x="38" y="115"/>
                  </a:lnTo>
                  <a:lnTo>
                    <a:pt x="40" y="113"/>
                  </a:lnTo>
                  <a:lnTo>
                    <a:pt x="40" y="111"/>
                  </a:lnTo>
                  <a:lnTo>
                    <a:pt x="38" y="111"/>
                  </a:lnTo>
                  <a:lnTo>
                    <a:pt x="36" y="111"/>
                  </a:lnTo>
                  <a:lnTo>
                    <a:pt x="38" y="108"/>
                  </a:lnTo>
                  <a:lnTo>
                    <a:pt x="41" y="108"/>
                  </a:lnTo>
                  <a:lnTo>
                    <a:pt x="41" y="106"/>
                  </a:lnTo>
                  <a:lnTo>
                    <a:pt x="40" y="102"/>
                  </a:lnTo>
                  <a:lnTo>
                    <a:pt x="40" y="102"/>
                  </a:lnTo>
                  <a:lnTo>
                    <a:pt x="43" y="100"/>
                  </a:lnTo>
                  <a:lnTo>
                    <a:pt x="40" y="94"/>
                  </a:lnTo>
                  <a:lnTo>
                    <a:pt x="38" y="94"/>
                  </a:lnTo>
                  <a:lnTo>
                    <a:pt x="36" y="89"/>
                  </a:lnTo>
                  <a:lnTo>
                    <a:pt x="32" y="83"/>
                  </a:lnTo>
                  <a:lnTo>
                    <a:pt x="32" y="81"/>
                  </a:lnTo>
                  <a:lnTo>
                    <a:pt x="28" y="78"/>
                  </a:lnTo>
                  <a:lnTo>
                    <a:pt x="24" y="72"/>
                  </a:lnTo>
                  <a:lnTo>
                    <a:pt x="23" y="74"/>
                  </a:lnTo>
                  <a:lnTo>
                    <a:pt x="19" y="70"/>
                  </a:lnTo>
                  <a:lnTo>
                    <a:pt x="17" y="64"/>
                  </a:lnTo>
                  <a:lnTo>
                    <a:pt x="17" y="57"/>
                  </a:lnTo>
                  <a:lnTo>
                    <a:pt x="15" y="57"/>
                  </a:lnTo>
                  <a:lnTo>
                    <a:pt x="13" y="53"/>
                  </a:lnTo>
                  <a:lnTo>
                    <a:pt x="13" y="49"/>
                  </a:lnTo>
                  <a:lnTo>
                    <a:pt x="15" y="49"/>
                  </a:lnTo>
                  <a:lnTo>
                    <a:pt x="13" y="46"/>
                  </a:lnTo>
                  <a:lnTo>
                    <a:pt x="9" y="42"/>
                  </a:lnTo>
                  <a:lnTo>
                    <a:pt x="9" y="40"/>
                  </a:lnTo>
                  <a:lnTo>
                    <a:pt x="11" y="38"/>
                  </a:lnTo>
                  <a:lnTo>
                    <a:pt x="11" y="36"/>
                  </a:lnTo>
                  <a:lnTo>
                    <a:pt x="8" y="32"/>
                  </a:lnTo>
                  <a:lnTo>
                    <a:pt x="4" y="29"/>
                  </a:lnTo>
                  <a:lnTo>
                    <a:pt x="4" y="25"/>
                  </a:lnTo>
                  <a:lnTo>
                    <a:pt x="8" y="23"/>
                  </a:lnTo>
                  <a:lnTo>
                    <a:pt x="4" y="19"/>
                  </a:lnTo>
                  <a:lnTo>
                    <a:pt x="4" y="17"/>
                  </a:lnTo>
                  <a:lnTo>
                    <a:pt x="0" y="8"/>
                  </a:lnTo>
                  <a:lnTo>
                    <a:pt x="0" y="4"/>
                  </a:lnTo>
                  <a:lnTo>
                    <a:pt x="0" y="4"/>
                  </a:lnTo>
                  <a:lnTo>
                    <a:pt x="0" y="4"/>
                  </a:lnTo>
                  <a:lnTo>
                    <a:pt x="0" y="4"/>
                  </a:lnTo>
                  <a:close/>
                  <a:moveTo>
                    <a:pt x="94" y="179"/>
                  </a:moveTo>
                  <a:lnTo>
                    <a:pt x="96" y="177"/>
                  </a:lnTo>
                  <a:lnTo>
                    <a:pt x="96" y="175"/>
                  </a:lnTo>
                  <a:lnTo>
                    <a:pt x="94" y="172"/>
                  </a:lnTo>
                  <a:lnTo>
                    <a:pt x="92" y="174"/>
                  </a:lnTo>
                  <a:lnTo>
                    <a:pt x="94" y="175"/>
                  </a:lnTo>
                  <a:lnTo>
                    <a:pt x="94" y="179"/>
                  </a:lnTo>
                  <a:lnTo>
                    <a:pt x="94" y="179"/>
                  </a:lnTo>
                  <a:lnTo>
                    <a:pt x="94" y="179"/>
                  </a:lnTo>
                  <a:lnTo>
                    <a:pt x="94" y="179"/>
                  </a:lnTo>
                  <a:close/>
                  <a:moveTo>
                    <a:pt x="98" y="187"/>
                  </a:moveTo>
                  <a:lnTo>
                    <a:pt x="98" y="191"/>
                  </a:lnTo>
                  <a:lnTo>
                    <a:pt x="100" y="191"/>
                  </a:lnTo>
                  <a:lnTo>
                    <a:pt x="100" y="187"/>
                  </a:lnTo>
                  <a:lnTo>
                    <a:pt x="98" y="187"/>
                  </a:lnTo>
                  <a:lnTo>
                    <a:pt x="98" y="187"/>
                  </a:lnTo>
                  <a:lnTo>
                    <a:pt x="98" y="187"/>
                  </a:lnTo>
                  <a:lnTo>
                    <a:pt x="98" y="187"/>
                  </a:lnTo>
                  <a:close/>
                  <a:moveTo>
                    <a:pt x="333" y="181"/>
                  </a:moveTo>
                  <a:lnTo>
                    <a:pt x="335" y="181"/>
                  </a:lnTo>
                  <a:lnTo>
                    <a:pt x="335" y="179"/>
                  </a:lnTo>
                  <a:lnTo>
                    <a:pt x="333" y="179"/>
                  </a:lnTo>
                  <a:lnTo>
                    <a:pt x="333" y="181"/>
                  </a:lnTo>
                  <a:lnTo>
                    <a:pt x="333" y="181"/>
                  </a:lnTo>
                  <a:lnTo>
                    <a:pt x="333" y="181"/>
                  </a:lnTo>
                  <a:lnTo>
                    <a:pt x="333" y="181"/>
                  </a:lnTo>
                  <a:close/>
                  <a:moveTo>
                    <a:pt x="333" y="187"/>
                  </a:moveTo>
                  <a:lnTo>
                    <a:pt x="333" y="187"/>
                  </a:lnTo>
                  <a:lnTo>
                    <a:pt x="335" y="185"/>
                  </a:lnTo>
                  <a:lnTo>
                    <a:pt x="333" y="185"/>
                  </a:lnTo>
                  <a:lnTo>
                    <a:pt x="333" y="187"/>
                  </a:lnTo>
                  <a:lnTo>
                    <a:pt x="333" y="187"/>
                  </a:lnTo>
                  <a:lnTo>
                    <a:pt x="333" y="187"/>
                  </a:lnTo>
                  <a:lnTo>
                    <a:pt x="333" y="187"/>
                  </a:lnTo>
                  <a:close/>
                  <a:moveTo>
                    <a:pt x="331" y="194"/>
                  </a:moveTo>
                  <a:lnTo>
                    <a:pt x="333" y="191"/>
                  </a:lnTo>
                  <a:lnTo>
                    <a:pt x="331" y="187"/>
                  </a:lnTo>
                  <a:lnTo>
                    <a:pt x="331" y="194"/>
                  </a:lnTo>
                  <a:lnTo>
                    <a:pt x="331" y="194"/>
                  </a:lnTo>
                  <a:lnTo>
                    <a:pt x="331" y="194"/>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0" name="Freeform 43">
              <a:extLst>
                <a:ext uri="{FF2B5EF4-FFF2-40B4-BE49-F238E27FC236}">
                  <a16:creationId xmlns:a16="http://schemas.microsoft.com/office/drawing/2014/main" id="{90C7A344-D44A-44AA-A12E-4468BFE7FEB1}"/>
                </a:ext>
              </a:extLst>
            </p:cNvPr>
            <p:cNvSpPr>
              <a:spLocks noEditPoints="1"/>
            </p:cNvSpPr>
            <p:nvPr/>
          </p:nvSpPr>
          <p:spPr bwMode="auto">
            <a:xfrm>
              <a:off x="1429" y="3003"/>
              <a:ext cx="723" cy="761"/>
            </a:xfrm>
            <a:custGeom>
              <a:avLst/>
              <a:gdLst/>
              <a:ahLst/>
              <a:cxnLst>
                <a:cxn ang="0">
                  <a:pos x="426" y="106"/>
                </a:cxn>
                <a:cxn ang="0">
                  <a:pos x="433" y="94"/>
                </a:cxn>
                <a:cxn ang="0">
                  <a:pos x="443" y="89"/>
                </a:cxn>
                <a:cxn ang="0">
                  <a:pos x="439" y="94"/>
                </a:cxn>
                <a:cxn ang="0">
                  <a:pos x="446" y="100"/>
                </a:cxn>
                <a:cxn ang="0">
                  <a:pos x="435" y="61"/>
                </a:cxn>
                <a:cxn ang="0">
                  <a:pos x="397" y="42"/>
                </a:cxn>
                <a:cxn ang="0">
                  <a:pos x="369" y="61"/>
                </a:cxn>
                <a:cxn ang="0">
                  <a:pos x="330" y="53"/>
                </a:cxn>
                <a:cxn ang="0">
                  <a:pos x="309" y="61"/>
                </a:cxn>
                <a:cxn ang="0">
                  <a:pos x="266" y="62"/>
                </a:cxn>
                <a:cxn ang="0">
                  <a:pos x="262" y="19"/>
                </a:cxn>
                <a:cxn ang="0">
                  <a:pos x="234" y="13"/>
                </a:cxn>
                <a:cxn ang="0">
                  <a:pos x="173" y="25"/>
                </a:cxn>
                <a:cxn ang="0">
                  <a:pos x="166" y="74"/>
                </a:cxn>
                <a:cxn ang="0">
                  <a:pos x="108" y="68"/>
                </a:cxn>
                <a:cxn ang="0">
                  <a:pos x="72" y="93"/>
                </a:cxn>
                <a:cxn ang="0">
                  <a:pos x="61" y="177"/>
                </a:cxn>
                <a:cxn ang="0">
                  <a:pos x="12" y="213"/>
                </a:cxn>
                <a:cxn ang="0">
                  <a:pos x="15" y="272"/>
                </a:cxn>
                <a:cxn ang="0">
                  <a:pos x="64" y="302"/>
                </a:cxn>
                <a:cxn ang="0">
                  <a:pos x="113" y="302"/>
                </a:cxn>
                <a:cxn ang="0">
                  <a:pos x="162" y="309"/>
                </a:cxn>
                <a:cxn ang="0">
                  <a:pos x="221" y="349"/>
                </a:cxn>
                <a:cxn ang="0">
                  <a:pos x="292" y="418"/>
                </a:cxn>
                <a:cxn ang="0">
                  <a:pos x="311" y="515"/>
                </a:cxn>
                <a:cxn ang="0">
                  <a:pos x="371" y="554"/>
                </a:cxn>
                <a:cxn ang="0">
                  <a:pos x="390" y="599"/>
                </a:cxn>
                <a:cxn ang="0">
                  <a:pos x="356" y="643"/>
                </a:cxn>
                <a:cxn ang="0">
                  <a:pos x="330" y="686"/>
                </a:cxn>
                <a:cxn ang="0">
                  <a:pos x="381" y="712"/>
                </a:cxn>
                <a:cxn ang="0">
                  <a:pos x="411" y="761"/>
                </a:cxn>
                <a:cxn ang="0">
                  <a:pos x="435" y="707"/>
                </a:cxn>
                <a:cxn ang="0">
                  <a:pos x="448" y="686"/>
                </a:cxn>
                <a:cxn ang="0">
                  <a:pos x="433" y="718"/>
                </a:cxn>
                <a:cxn ang="0">
                  <a:pos x="482" y="643"/>
                </a:cxn>
                <a:cxn ang="0">
                  <a:pos x="480" y="601"/>
                </a:cxn>
                <a:cxn ang="0">
                  <a:pos x="505" y="571"/>
                </a:cxn>
                <a:cxn ang="0">
                  <a:pos x="552" y="537"/>
                </a:cxn>
                <a:cxn ang="0">
                  <a:pos x="567" y="537"/>
                </a:cxn>
                <a:cxn ang="0">
                  <a:pos x="601" y="530"/>
                </a:cxn>
                <a:cxn ang="0">
                  <a:pos x="629" y="486"/>
                </a:cxn>
                <a:cxn ang="0">
                  <a:pos x="648" y="411"/>
                </a:cxn>
                <a:cxn ang="0">
                  <a:pos x="650" y="347"/>
                </a:cxn>
                <a:cxn ang="0">
                  <a:pos x="653" y="341"/>
                </a:cxn>
                <a:cxn ang="0">
                  <a:pos x="697" y="290"/>
                </a:cxn>
                <a:cxn ang="0">
                  <a:pos x="714" y="211"/>
                </a:cxn>
                <a:cxn ang="0">
                  <a:pos x="644" y="159"/>
                </a:cxn>
                <a:cxn ang="0">
                  <a:pos x="591" y="149"/>
                </a:cxn>
                <a:cxn ang="0">
                  <a:pos x="559" y="147"/>
                </a:cxn>
                <a:cxn ang="0">
                  <a:pos x="542" y="155"/>
                </a:cxn>
                <a:cxn ang="0">
                  <a:pos x="522" y="126"/>
                </a:cxn>
                <a:cxn ang="0">
                  <a:pos x="492" y="113"/>
                </a:cxn>
                <a:cxn ang="0">
                  <a:pos x="454" y="142"/>
                </a:cxn>
                <a:cxn ang="0">
                  <a:pos x="452" y="136"/>
                </a:cxn>
                <a:cxn ang="0">
                  <a:pos x="454" y="130"/>
                </a:cxn>
                <a:cxn ang="0">
                  <a:pos x="443" y="102"/>
                </a:cxn>
                <a:cxn ang="0">
                  <a:pos x="414" y="123"/>
                </a:cxn>
                <a:cxn ang="0">
                  <a:pos x="422" y="96"/>
                </a:cxn>
                <a:cxn ang="0">
                  <a:pos x="433" y="62"/>
                </a:cxn>
              </a:cxnLst>
              <a:rect l="0" t="0" r="r" b="b"/>
              <a:pathLst>
                <a:path w="723" h="761">
                  <a:moveTo>
                    <a:pt x="422" y="110"/>
                  </a:moveTo>
                  <a:lnTo>
                    <a:pt x="424" y="110"/>
                  </a:lnTo>
                  <a:lnTo>
                    <a:pt x="428" y="108"/>
                  </a:lnTo>
                  <a:lnTo>
                    <a:pt x="428" y="108"/>
                  </a:lnTo>
                  <a:lnTo>
                    <a:pt x="428" y="110"/>
                  </a:lnTo>
                  <a:lnTo>
                    <a:pt x="424" y="110"/>
                  </a:lnTo>
                  <a:lnTo>
                    <a:pt x="422" y="110"/>
                  </a:lnTo>
                  <a:lnTo>
                    <a:pt x="422" y="110"/>
                  </a:lnTo>
                  <a:lnTo>
                    <a:pt x="422" y="110"/>
                  </a:lnTo>
                  <a:lnTo>
                    <a:pt x="422" y="110"/>
                  </a:lnTo>
                  <a:close/>
                  <a:moveTo>
                    <a:pt x="420" y="110"/>
                  </a:moveTo>
                  <a:lnTo>
                    <a:pt x="420" y="110"/>
                  </a:lnTo>
                  <a:lnTo>
                    <a:pt x="422" y="110"/>
                  </a:lnTo>
                  <a:lnTo>
                    <a:pt x="426" y="106"/>
                  </a:lnTo>
                  <a:lnTo>
                    <a:pt x="428" y="106"/>
                  </a:lnTo>
                  <a:lnTo>
                    <a:pt x="429" y="102"/>
                  </a:lnTo>
                  <a:lnTo>
                    <a:pt x="429" y="100"/>
                  </a:lnTo>
                  <a:lnTo>
                    <a:pt x="429" y="100"/>
                  </a:lnTo>
                  <a:lnTo>
                    <a:pt x="428" y="100"/>
                  </a:lnTo>
                  <a:lnTo>
                    <a:pt x="426" y="100"/>
                  </a:lnTo>
                  <a:lnTo>
                    <a:pt x="422" y="104"/>
                  </a:lnTo>
                  <a:lnTo>
                    <a:pt x="420" y="110"/>
                  </a:lnTo>
                  <a:lnTo>
                    <a:pt x="420" y="110"/>
                  </a:lnTo>
                  <a:lnTo>
                    <a:pt x="420" y="110"/>
                  </a:lnTo>
                  <a:lnTo>
                    <a:pt x="420" y="110"/>
                  </a:lnTo>
                  <a:close/>
                  <a:moveTo>
                    <a:pt x="435" y="96"/>
                  </a:moveTo>
                  <a:lnTo>
                    <a:pt x="433" y="94"/>
                  </a:lnTo>
                  <a:lnTo>
                    <a:pt x="433" y="94"/>
                  </a:lnTo>
                  <a:lnTo>
                    <a:pt x="433" y="96"/>
                  </a:lnTo>
                  <a:lnTo>
                    <a:pt x="433" y="98"/>
                  </a:lnTo>
                  <a:lnTo>
                    <a:pt x="433" y="98"/>
                  </a:lnTo>
                  <a:lnTo>
                    <a:pt x="435" y="96"/>
                  </a:lnTo>
                  <a:lnTo>
                    <a:pt x="435" y="96"/>
                  </a:lnTo>
                  <a:lnTo>
                    <a:pt x="435" y="96"/>
                  </a:lnTo>
                  <a:lnTo>
                    <a:pt x="435" y="96"/>
                  </a:lnTo>
                  <a:close/>
                  <a:moveTo>
                    <a:pt x="435" y="93"/>
                  </a:moveTo>
                  <a:lnTo>
                    <a:pt x="433" y="89"/>
                  </a:lnTo>
                  <a:lnTo>
                    <a:pt x="435" y="89"/>
                  </a:lnTo>
                  <a:lnTo>
                    <a:pt x="437" y="89"/>
                  </a:lnTo>
                  <a:lnTo>
                    <a:pt x="443" y="85"/>
                  </a:lnTo>
                  <a:lnTo>
                    <a:pt x="443" y="85"/>
                  </a:lnTo>
                  <a:lnTo>
                    <a:pt x="443" y="89"/>
                  </a:lnTo>
                  <a:lnTo>
                    <a:pt x="439" y="89"/>
                  </a:lnTo>
                  <a:lnTo>
                    <a:pt x="437" y="93"/>
                  </a:lnTo>
                  <a:lnTo>
                    <a:pt x="435" y="93"/>
                  </a:lnTo>
                  <a:lnTo>
                    <a:pt x="435" y="93"/>
                  </a:lnTo>
                  <a:lnTo>
                    <a:pt x="435" y="93"/>
                  </a:lnTo>
                  <a:lnTo>
                    <a:pt x="435" y="93"/>
                  </a:lnTo>
                  <a:close/>
                  <a:moveTo>
                    <a:pt x="435" y="96"/>
                  </a:moveTo>
                  <a:lnTo>
                    <a:pt x="437" y="96"/>
                  </a:lnTo>
                  <a:lnTo>
                    <a:pt x="443" y="96"/>
                  </a:lnTo>
                  <a:lnTo>
                    <a:pt x="445" y="98"/>
                  </a:lnTo>
                  <a:lnTo>
                    <a:pt x="446" y="96"/>
                  </a:lnTo>
                  <a:lnTo>
                    <a:pt x="446" y="94"/>
                  </a:lnTo>
                  <a:lnTo>
                    <a:pt x="445" y="93"/>
                  </a:lnTo>
                  <a:lnTo>
                    <a:pt x="439" y="94"/>
                  </a:lnTo>
                  <a:lnTo>
                    <a:pt x="437" y="94"/>
                  </a:lnTo>
                  <a:lnTo>
                    <a:pt x="435" y="96"/>
                  </a:lnTo>
                  <a:lnTo>
                    <a:pt x="435" y="96"/>
                  </a:lnTo>
                  <a:lnTo>
                    <a:pt x="435" y="96"/>
                  </a:lnTo>
                  <a:lnTo>
                    <a:pt x="435" y="96"/>
                  </a:lnTo>
                  <a:close/>
                  <a:moveTo>
                    <a:pt x="446" y="100"/>
                  </a:moveTo>
                  <a:lnTo>
                    <a:pt x="450" y="98"/>
                  </a:lnTo>
                  <a:lnTo>
                    <a:pt x="450" y="98"/>
                  </a:lnTo>
                  <a:lnTo>
                    <a:pt x="454" y="96"/>
                  </a:lnTo>
                  <a:lnTo>
                    <a:pt x="454" y="98"/>
                  </a:lnTo>
                  <a:lnTo>
                    <a:pt x="454" y="102"/>
                  </a:lnTo>
                  <a:lnTo>
                    <a:pt x="450" y="102"/>
                  </a:lnTo>
                  <a:lnTo>
                    <a:pt x="446" y="100"/>
                  </a:lnTo>
                  <a:lnTo>
                    <a:pt x="446" y="100"/>
                  </a:lnTo>
                  <a:lnTo>
                    <a:pt x="446" y="100"/>
                  </a:lnTo>
                  <a:lnTo>
                    <a:pt x="446" y="100"/>
                  </a:lnTo>
                  <a:close/>
                  <a:moveTo>
                    <a:pt x="435" y="61"/>
                  </a:moveTo>
                  <a:lnTo>
                    <a:pt x="433" y="59"/>
                  </a:lnTo>
                  <a:lnTo>
                    <a:pt x="433" y="55"/>
                  </a:lnTo>
                  <a:lnTo>
                    <a:pt x="433" y="53"/>
                  </a:lnTo>
                  <a:lnTo>
                    <a:pt x="435" y="55"/>
                  </a:lnTo>
                  <a:lnTo>
                    <a:pt x="437" y="59"/>
                  </a:lnTo>
                  <a:lnTo>
                    <a:pt x="437" y="62"/>
                  </a:lnTo>
                  <a:lnTo>
                    <a:pt x="437" y="62"/>
                  </a:lnTo>
                  <a:lnTo>
                    <a:pt x="435" y="61"/>
                  </a:lnTo>
                  <a:lnTo>
                    <a:pt x="435" y="61"/>
                  </a:lnTo>
                  <a:lnTo>
                    <a:pt x="435" y="61"/>
                  </a:lnTo>
                  <a:lnTo>
                    <a:pt x="435" y="61"/>
                  </a:lnTo>
                  <a:close/>
                  <a:moveTo>
                    <a:pt x="418" y="25"/>
                  </a:moveTo>
                  <a:lnTo>
                    <a:pt x="418" y="25"/>
                  </a:lnTo>
                  <a:lnTo>
                    <a:pt x="416" y="21"/>
                  </a:lnTo>
                  <a:lnTo>
                    <a:pt x="414" y="15"/>
                  </a:lnTo>
                  <a:lnTo>
                    <a:pt x="413" y="17"/>
                  </a:lnTo>
                  <a:lnTo>
                    <a:pt x="414" y="19"/>
                  </a:lnTo>
                  <a:lnTo>
                    <a:pt x="413" y="23"/>
                  </a:lnTo>
                  <a:lnTo>
                    <a:pt x="409" y="25"/>
                  </a:lnTo>
                  <a:lnTo>
                    <a:pt x="409" y="25"/>
                  </a:lnTo>
                  <a:lnTo>
                    <a:pt x="409" y="25"/>
                  </a:lnTo>
                  <a:lnTo>
                    <a:pt x="405" y="25"/>
                  </a:lnTo>
                  <a:lnTo>
                    <a:pt x="403" y="34"/>
                  </a:lnTo>
                  <a:lnTo>
                    <a:pt x="397" y="38"/>
                  </a:lnTo>
                  <a:lnTo>
                    <a:pt x="397" y="42"/>
                  </a:lnTo>
                  <a:lnTo>
                    <a:pt x="394" y="49"/>
                  </a:lnTo>
                  <a:lnTo>
                    <a:pt x="390" y="55"/>
                  </a:lnTo>
                  <a:lnTo>
                    <a:pt x="388" y="59"/>
                  </a:lnTo>
                  <a:lnTo>
                    <a:pt x="384" y="59"/>
                  </a:lnTo>
                  <a:lnTo>
                    <a:pt x="384" y="61"/>
                  </a:lnTo>
                  <a:lnTo>
                    <a:pt x="384" y="62"/>
                  </a:lnTo>
                  <a:lnTo>
                    <a:pt x="379" y="68"/>
                  </a:lnTo>
                  <a:lnTo>
                    <a:pt x="379" y="64"/>
                  </a:lnTo>
                  <a:lnTo>
                    <a:pt x="379" y="61"/>
                  </a:lnTo>
                  <a:lnTo>
                    <a:pt x="375" y="59"/>
                  </a:lnTo>
                  <a:lnTo>
                    <a:pt x="375" y="59"/>
                  </a:lnTo>
                  <a:lnTo>
                    <a:pt x="373" y="59"/>
                  </a:lnTo>
                  <a:lnTo>
                    <a:pt x="371" y="59"/>
                  </a:lnTo>
                  <a:lnTo>
                    <a:pt x="369" y="61"/>
                  </a:lnTo>
                  <a:lnTo>
                    <a:pt x="365" y="61"/>
                  </a:lnTo>
                  <a:lnTo>
                    <a:pt x="364" y="59"/>
                  </a:lnTo>
                  <a:lnTo>
                    <a:pt x="364" y="55"/>
                  </a:lnTo>
                  <a:lnTo>
                    <a:pt x="362" y="55"/>
                  </a:lnTo>
                  <a:lnTo>
                    <a:pt x="360" y="53"/>
                  </a:lnTo>
                  <a:lnTo>
                    <a:pt x="360" y="51"/>
                  </a:lnTo>
                  <a:lnTo>
                    <a:pt x="358" y="51"/>
                  </a:lnTo>
                  <a:lnTo>
                    <a:pt x="354" y="47"/>
                  </a:lnTo>
                  <a:lnTo>
                    <a:pt x="350" y="47"/>
                  </a:lnTo>
                  <a:lnTo>
                    <a:pt x="347" y="49"/>
                  </a:lnTo>
                  <a:lnTo>
                    <a:pt x="337" y="49"/>
                  </a:lnTo>
                  <a:lnTo>
                    <a:pt x="333" y="47"/>
                  </a:lnTo>
                  <a:lnTo>
                    <a:pt x="330" y="49"/>
                  </a:lnTo>
                  <a:lnTo>
                    <a:pt x="330" y="53"/>
                  </a:lnTo>
                  <a:lnTo>
                    <a:pt x="333" y="55"/>
                  </a:lnTo>
                  <a:lnTo>
                    <a:pt x="333" y="59"/>
                  </a:lnTo>
                  <a:lnTo>
                    <a:pt x="335" y="62"/>
                  </a:lnTo>
                  <a:lnTo>
                    <a:pt x="335" y="64"/>
                  </a:lnTo>
                  <a:lnTo>
                    <a:pt x="332" y="64"/>
                  </a:lnTo>
                  <a:lnTo>
                    <a:pt x="326" y="62"/>
                  </a:lnTo>
                  <a:lnTo>
                    <a:pt x="326" y="61"/>
                  </a:lnTo>
                  <a:lnTo>
                    <a:pt x="326" y="61"/>
                  </a:lnTo>
                  <a:lnTo>
                    <a:pt x="326" y="61"/>
                  </a:lnTo>
                  <a:lnTo>
                    <a:pt x="326" y="61"/>
                  </a:lnTo>
                  <a:lnTo>
                    <a:pt x="317" y="61"/>
                  </a:lnTo>
                  <a:lnTo>
                    <a:pt x="315" y="62"/>
                  </a:lnTo>
                  <a:lnTo>
                    <a:pt x="315" y="61"/>
                  </a:lnTo>
                  <a:lnTo>
                    <a:pt x="309" y="61"/>
                  </a:lnTo>
                  <a:lnTo>
                    <a:pt x="305" y="62"/>
                  </a:lnTo>
                  <a:lnTo>
                    <a:pt x="301" y="68"/>
                  </a:lnTo>
                  <a:lnTo>
                    <a:pt x="296" y="68"/>
                  </a:lnTo>
                  <a:lnTo>
                    <a:pt x="292" y="70"/>
                  </a:lnTo>
                  <a:lnTo>
                    <a:pt x="290" y="72"/>
                  </a:lnTo>
                  <a:lnTo>
                    <a:pt x="288" y="74"/>
                  </a:lnTo>
                  <a:lnTo>
                    <a:pt x="283" y="76"/>
                  </a:lnTo>
                  <a:lnTo>
                    <a:pt x="283" y="74"/>
                  </a:lnTo>
                  <a:lnTo>
                    <a:pt x="281" y="74"/>
                  </a:lnTo>
                  <a:lnTo>
                    <a:pt x="277" y="78"/>
                  </a:lnTo>
                  <a:lnTo>
                    <a:pt x="275" y="76"/>
                  </a:lnTo>
                  <a:lnTo>
                    <a:pt x="268" y="70"/>
                  </a:lnTo>
                  <a:lnTo>
                    <a:pt x="266" y="68"/>
                  </a:lnTo>
                  <a:lnTo>
                    <a:pt x="266" y="62"/>
                  </a:lnTo>
                  <a:lnTo>
                    <a:pt x="262" y="59"/>
                  </a:lnTo>
                  <a:lnTo>
                    <a:pt x="258" y="55"/>
                  </a:lnTo>
                  <a:lnTo>
                    <a:pt x="258" y="53"/>
                  </a:lnTo>
                  <a:lnTo>
                    <a:pt x="258" y="51"/>
                  </a:lnTo>
                  <a:lnTo>
                    <a:pt x="258" y="49"/>
                  </a:lnTo>
                  <a:lnTo>
                    <a:pt x="258" y="45"/>
                  </a:lnTo>
                  <a:lnTo>
                    <a:pt x="260" y="42"/>
                  </a:lnTo>
                  <a:lnTo>
                    <a:pt x="260" y="38"/>
                  </a:lnTo>
                  <a:lnTo>
                    <a:pt x="262" y="30"/>
                  </a:lnTo>
                  <a:lnTo>
                    <a:pt x="262" y="25"/>
                  </a:lnTo>
                  <a:lnTo>
                    <a:pt x="268" y="23"/>
                  </a:lnTo>
                  <a:lnTo>
                    <a:pt x="268" y="21"/>
                  </a:lnTo>
                  <a:lnTo>
                    <a:pt x="262" y="21"/>
                  </a:lnTo>
                  <a:lnTo>
                    <a:pt x="262" y="19"/>
                  </a:lnTo>
                  <a:lnTo>
                    <a:pt x="260" y="15"/>
                  </a:lnTo>
                  <a:lnTo>
                    <a:pt x="256" y="15"/>
                  </a:lnTo>
                  <a:lnTo>
                    <a:pt x="253" y="13"/>
                  </a:lnTo>
                  <a:lnTo>
                    <a:pt x="254" y="12"/>
                  </a:lnTo>
                  <a:lnTo>
                    <a:pt x="258" y="8"/>
                  </a:lnTo>
                  <a:lnTo>
                    <a:pt x="258" y="4"/>
                  </a:lnTo>
                  <a:lnTo>
                    <a:pt x="254" y="0"/>
                  </a:lnTo>
                  <a:lnTo>
                    <a:pt x="251" y="0"/>
                  </a:lnTo>
                  <a:lnTo>
                    <a:pt x="247" y="0"/>
                  </a:lnTo>
                  <a:lnTo>
                    <a:pt x="247" y="0"/>
                  </a:lnTo>
                  <a:lnTo>
                    <a:pt x="247" y="0"/>
                  </a:lnTo>
                  <a:lnTo>
                    <a:pt x="247" y="4"/>
                  </a:lnTo>
                  <a:lnTo>
                    <a:pt x="243" y="6"/>
                  </a:lnTo>
                  <a:lnTo>
                    <a:pt x="234" y="13"/>
                  </a:lnTo>
                  <a:lnTo>
                    <a:pt x="228" y="13"/>
                  </a:lnTo>
                  <a:lnTo>
                    <a:pt x="219" y="17"/>
                  </a:lnTo>
                  <a:lnTo>
                    <a:pt x="217" y="15"/>
                  </a:lnTo>
                  <a:lnTo>
                    <a:pt x="213" y="17"/>
                  </a:lnTo>
                  <a:lnTo>
                    <a:pt x="205" y="23"/>
                  </a:lnTo>
                  <a:lnTo>
                    <a:pt x="200" y="25"/>
                  </a:lnTo>
                  <a:lnTo>
                    <a:pt x="198" y="23"/>
                  </a:lnTo>
                  <a:lnTo>
                    <a:pt x="189" y="25"/>
                  </a:lnTo>
                  <a:lnTo>
                    <a:pt x="183" y="25"/>
                  </a:lnTo>
                  <a:lnTo>
                    <a:pt x="177" y="21"/>
                  </a:lnTo>
                  <a:lnTo>
                    <a:pt x="172" y="21"/>
                  </a:lnTo>
                  <a:lnTo>
                    <a:pt x="166" y="19"/>
                  </a:lnTo>
                  <a:lnTo>
                    <a:pt x="168" y="23"/>
                  </a:lnTo>
                  <a:lnTo>
                    <a:pt x="173" y="25"/>
                  </a:lnTo>
                  <a:lnTo>
                    <a:pt x="177" y="29"/>
                  </a:lnTo>
                  <a:lnTo>
                    <a:pt x="179" y="30"/>
                  </a:lnTo>
                  <a:lnTo>
                    <a:pt x="173" y="40"/>
                  </a:lnTo>
                  <a:lnTo>
                    <a:pt x="175" y="44"/>
                  </a:lnTo>
                  <a:lnTo>
                    <a:pt x="173" y="49"/>
                  </a:lnTo>
                  <a:lnTo>
                    <a:pt x="183" y="53"/>
                  </a:lnTo>
                  <a:lnTo>
                    <a:pt x="189" y="53"/>
                  </a:lnTo>
                  <a:lnTo>
                    <a:pt x="194" y="53"/>
                  </a:lnTo>
                  <a:lnTo>
                    <a:pt x="194" y="55"/>
                  </a:lnTo>
                  <a:lnTo>
                    <a:pt x="189" y="59"/>
                  </a:lnTo>
                  <a:lnTo>
                    <a:pt x="179" y="59"/>
                  </a:lnTo>
                  <a:lnTo>
                    <a:pt x="179" y="62"/>
                  </a:lnTo>
                  <a:lnTo>
                    <a:pt x="177" y="68"/>
                  </a:lnTo>
                  <a:lnTo>
                    <a:pt x="166" y="74"/>
                  </a:lnTo>
                  <a:lnTo>
                    <a:pt x="164" y="78"/>
                  </a:lnTo>
                  <a:lnTo>
                    <a:pt x="158" y="79"/>
                  </a:lnTo>
                  <a:lnTo>
                    <a:pt x="153" y="85"/>
                  </a:lnTo>
                  <a:lnTo>
                    <a:pt x="145" y="85"/>
                  </a:lnTo>
                  <a:lnTo>
                    <a:pt x="141" y="85"/>
                  </a:lnTo>
                  <a:lnTo>
                    <a:pt x="134" y="79"/>
                  </a:lnTo>
                  <a:lnTo>
                    <a:pt x="128" y="76"/>
                  </a:lnTo>
                  <a:lnTo>
                    <a:pt x="123" y="76"/>
                  </a:lnTo>
                  <a:lnTo>
                    <a:pt x="123" y="72"/>
                  </a:lnTo>
                  <a:lnTo>
                    <a:pt x="123" y="68"/>
                  </a:lnTo>
                  <a:lnTo>
                    <a:pt x="119" y="62"/>
                  </a:lnTo>
                  <a:lnTo>
                    <a:pt x="117" y="61"/>
                  </a:lnTo>
                  <a:lnTo>
                    <a:pt x="113" y="61"/>
                  </a:lnTo>
                  <a:lnTo>
                    <a:pt x="108" y="68"/>
                  </a:lnTo>
                  <a:lnTo>
                    <a:pt x="106" y="68"/>
                  </a:lnTo>
                  <a:lnTo>
                    <a:pt x="104" y="64"/>
                  </a:lnTo>
                  <a:lnTo>
                    <a:pt x="100" y="64"/>
                  </a:lnTo>
                  <a:lnTo>
                    <a:pt x="100" y="68"/>
                  </a:lnTo>
                  <a:lnTo>
                    <a:pt x="79" y="68"/>
                  </a:lnTo>
                  <a:lnTo>
                    <a:pt x="76" y="74"/>
                  </a:lnTo>
                  <a:lnTo>
                    <a:pt x="79" y="78"/>
                  </a:lnTo>
                  <a:lnTo>
                    <a:pt x="85" y="79"/>
                  </a:lnTo>
                  <a:lnTo>
                    <a:pt x="87" y="85"/>
                  </a:lnTo>
                  <a:lnTo>
                    <a:pt x="85" y="85"/>
                  </a:lnTo>
                  <a:lnTo>
                    <a:pt x="89" y="89"/>
                  </a:lnTo>
                  <a:lnTo>
                    <a:pt x="87" y="93"/>
                  </a:lnTo>
                  <a:lnTo>
                    <a:pt x="83" y="89"/>
                  </a:lnTo>
                  <a:lnTo>
                    <a:pt x="72" y="93"/>
                  </a:lnTo>
                  <a:lnTo>
                    <a:pt x="72" y="104"/>
                  </a:lnTo>
                  <a:lnTo>
                    <a:pt x="76" y="108"/>
                  </a:lnTo>
                  <a:lnTo>
                    <a:pt x="81" y="113"/>
                  </a:lnTo>
                  <a:lnTo>
                    <a:pt x="85" y="123"/>
                  </a:lnTo>
                  <a:lnTo>
                    <a:pt x="85" y="126"/>
                  </a:lnTo>
                  <a:lnTo>
                    <a:pt x="85" y="130"/>
                  </a:lnTo>
                  <a:lnTo>
                    <a:pt x="76" y="170"/>
                  </a:lnTo>
                  <a:lnTo>
                    <a:pt x="72" y="177"/>
                  </a:lnTo>
                  <a:lnTo>
                    <a:pt x="72" y="179"/>
                  </a:lnTo>
                  <a:lnTo>
                    <a:pt x="72" y="183"/>
                  </a:lnTo>
                  <a:lnTo>
                    <a:pt x="66" y="181"/>
                  </a:lnTo>
                  <a:lnTo>
                    <a:pt x="68" y="181"/>
                  </a:lnTo>
                  <a:lnTo>
                    <a:pt x="62" y="177"/>
                  </a:lnTo>
                  <a:lnTo>
                    <a:pt x="61" y="177"/>
                  </a:lnTo>
                  <a:lnTo>
                    <a:pt x="57" y="177"/>
                  </a:lnTo>
                  <a:lnTo>
                    <a:pt x="55" y="177"/>
                  </a:lnTo>
                  <a:lnTo>
                    <a:pt x="55" y="181"/>
                  </a:lnTo>
                  <a:lnTo>
                    <a:pt x="44" y="187"/>
                  </a:lnTo>
                  <a:lnTo>
                    <a:pt x="32" y="187"/>
                  </a:lnTo>
                  <a:lnTo>
                    <a:pt x="30" y="189"/>
                  </a:lnTo>
                  <a:lnTo>
                    <a:pt x="29" y="191"/>
                  </a:lnTo>
                  <a:lnTo>
                    <a:pt x="25" y="194"/>
                  </a:lnTo>
                  <a:lnTo>
                    <a:pt x="21" y="196"/>
                  </a:lnTo>
                  <a:lnTo>
                    <a:pt x="17" y="198"/>
                  </a:lnTo>
                  <a:lnTo>
                    <a:pt x="17" y="204"/>
                  </a:lnTo>
                  <a:lnTo>
                    <a:pt x="15" y="207"/>
                  </a:lnTo>
                  <a:lnTo>
                    <a:pt x="17" y="207"/>
                  </a:lnTo>
                  <a:lnTo>
                    <a:pt x="12" y="213"/>
                  </a:lnTo>
                  <a:lnTo>
                    <a:pt x="13" y="221"/>
                  </a:lnTo>
                  <a:lnTo>
                    <a:pt x="15" y="224"/>
                  </a:lnTo>
                  <a:lnTo>
                    <a:pt x="12" y="226"/>
                  </a:lnTo>
                  <a:lnTo>
                    <a:pt x="10" y="226"/>
                  </a:lnTo>
                  <a:lnTo>
                    <a:pt x="4" y="230"/>
                  </a:lnTo>
                  <a:lnTo>
                    <a:pt x="4" y="232"/>
                  </a:lnTo>
                  <a:lnTo>
                    <a:pt x="0" y="236"/>
                  </a:lnTo>
                  <a:lnTo>
                    <a:pt x="2" y="238"/>
                  </a:lnTo>
                  <a:lnTo>
                    <a:pt x="2" y="241"/>
                  </a:lnTo>
                  <a:lnTo>
                    <a:pt x="0" y="245"/>
                  </a:lnTo>
                  <a:lnTo>
                    <a:pt x="2" y="249"/>
                  </a:lnTo>
                  <a:lnTo>
                    <a:pt x="0" y="251"/>
                  </a:lnTo>
                  <a:lnTo>
                    <a:pt x="6" y="256"/>
                  </a:lnTo>
                  <a:lnTo>
                    <a:pt x="15" y="272"/>
                  </a:lnTo>
                  <a:lnTo>
                    <a:pt x="12" y="277"/>
                  </a:lnTo>
                  <a:lnTo>
                    <a:pt x="21" y="275"/>
                  </a:lnTo>
                  <a:lnTo>
                    <a:pt x="27" y="277"/>
                  </a:lnTo>
                  <a:lnTo>
                    <a:pt x="30" y="283"/>
                  </a:lnTo>
                  <a:lnTo>
                    <a:pt x="32" y="288"/>
                  </a:lnTo>
                  <a:lnTo>
                    <a:pt x="42" y="288"/>
                  </a:lnTo>
                  <a:lnTo>
                    <a:pt x="49" y="288"/>
                  </a:lnTo>
                  <a:lnTo>
                    <a:pt x="57" y="281"/>
                  </a:lnTo>
                  <a:lnTo>
                    <a:pt x="64" y="277"/>
                  </a:lnTo>
                  <a:lnTo>
                    <a:pt x="66" y="279"/>
                  </a:lnTo>
                  <a:lnTo>
                    <a:pt x="66" y="285"/>
                  </a:lnTo>
                  <a:lnTo>
                    <a:pt x="64" y="287"/>
                  </a:lnTo>
                  <a:lnTo>
                    <a:pt x="64" y="292"/>
                  </a:lnTo>
                  <a:lnTo>
                    <a:pt x="64" y="302"/>
                  </a:lnTo>
                  <a:lnTo>
                    <a:pt x="64" y="307"/>
                  </a:lnTo>
                  <a:lnTo>
                    <a:pt x="68" y="309"/>
                  </a:lnTo>
                  <a:lnTo>
                    <a:pt x="72" y="309"/>
                  </a:lnTo>
                  <a:lnTo>
                    <a:pt x="76" y="307"/>
                  </a:lnTo>
                  <a:lnTo>
                    <a:pt x="79" y="307"/>
                  </a:lnTo>
                  <a:lnTo>
                    <a:pt x="79" y="307"/>
                  </a:lnTo>
                  <a:lnTo>
                    <a:pt x="81" y="307"/>
                  </a:lnTo>
                  <a:lnTo>
                    <a:pt x="83" y="309"/>
                  </a:lnTo>
                  <a:lnTo>
                    <a:pt x="83" y="309"/>
                  </a:lnTo>
                  <a:lnTo>
                    <a:pt x="94" y="307"/>
                  </a:lnTo>
                  <a:lnTo>
                    <a:pt x="100" y="309"/>
                  </a:lnTo>
                  <a:lnTo>
                    <a:pt x="104" y="305"/>
                  </a:lnTo>
                  <a:lnTo>
                    <a:pt x="108" y="305"/>
                  </a:lnTo>
                  <a:lnTo>
                    <a:pt x="113" y="302"/>
                  </a:lnTo>
                  <a:lnTo>
                    <a:pt x="117" y="302"/>
                  </a:lnTo>
                  <a:lnTo>
                    <a:pt x="123" y="300"/>
                  </a:lnTo>
                  <a:lnTo>
                    <a:pt x="125" y="292"/>
                  </a:lnTo>
                  <a:lnTo>
                    <a:pt x="134" y="287"/>
                  </a:lnTo>
                  <a:lnTo>
                    <a:pt x="140" y="287"/>
                  </a:lnTo>
                  <a:lnTo>
                    <a:pt x="145" y="283"/>
                  </a:lnTo>
                  <a:lnTo>
                    <a:pt x="151" y="283"/>
                  </a:lnTo>
                  <a:lnTo>
                    <a:pt x="155" y="287"/>
                  </a:lnTo>
                  <a:lnTo>
                    <a:pt x="158" y="283"/>
                  </a:lnTo>
                  <a:lnTo>
                    <a:pt x="158" y="285"/>
                  </a:lnTo>
                  <a:lnTo>
                    <a:pt x="158" y="290"/>
                  </a:lnTo>
                  <a:lnTo>
                    <a:pt x="162" y="296"/>
                  </a:lnTo>
                  <a:lnTo>
                    <a:pt x="158" y="300"/>
                  </a:lnTo>
                  <a:lnTo>
                    <a:pt x="162" y="309"/>
                  </a:lnTo>
                  <a:lnTo>
                    <a:pt x="158" y="313"/>
                  </a:lnTo>
                  <a:lnTo>
                    <a:pt x="162" y="320"/>
                  </a:lnTo>
                  <a:lnTo>
                    <a:pt x="166" y="322"/>
                  </a:lnTo>
                  <a:lnTo>
                    <a:pt x="168" y="330"/>
                  </a:lnTo>
                  <a:lnTo>
                    <a:pt x="172" y="330"/>
                  </a:lnTo>
                  <a:lnTo>
                    <a:pt x="179" y="334"/>
                  </a:lnTo>
                  <a:lnTo>
                    <a:pt x="183" y="337"/>
                  </a:lnTo>
                  <a:lnTo>
                    <a:pt x="183" y="336"/>
                  </a:lnTo>
                  <a:lnTo>
                    <a:pt x="192" y="334"/>
                  </a:lnTo>
                  <a:lnTo>
                    <a:pt x="198" y="339"/>
                  </a:lnTo>
                  <a:lnTo>
                    <a:pt x="204" y="339"/>
                  </a:lnTo>
                  <a:lnTo>
                    <a:pt x="209" y="347"/>
                  </a:lnTo>
                  <a:lnTo>
                    <a:pt x="213" y="347"/>
                  </a:lnTo>
                  <a:lnTo>
                    <a:pt x="221" y="349"/>
                  </a:lnTo>
                  <a:lnTo>
                    <a:pt x="226" y="351"/>
                  </a:lnTo>
                  <a:lnTo>
                    <a:pt x="226" y="356"/>
                  </a:lnTo>
                  <a:lnTo>
                    <a:pt x="230" y="356"/>
                  </a:lnTo>
                  <a:lnTo>
                    <a:pt x="236" y="360"/>
                  </a:lnTo>
                  <a:lnTo>
                    <a:pt x="247" y="360"/>
                  </a:lnTo>
                  <a:lnTo>
                    <a:pt x="253" y="362"/>
                  </a:lnTo>
                  <a:lnTo>
                    <a:pt x="254" y="366"/>
                  </a:lnTo>
                  <a:lnTo>
                    <a:pt x="254" y="375"/>
                  </a:lnTo>
                  <a:lnTo>
                    <a:pt x="254" y="381"/>
                  </a:lnTo>
                  <a:lnTo>
                    <a:pt x="253" y="385"/>
                  </a:lnTo>
                  <a:lnTo>
                    <a:pt x="260" y="398"/>
                  </a:lnTo>
                  <a:lnTo>
                    <a:pt x="260" y="407"/>
                  </a:lnTo>
                  <a:lnTo>
                    <a:pt x="292" y="407"/>
                  </a:lnTo>
                  <a:lnTo>
                    <a:pt x="292" y="418"/>
                  </a:lnTo>
                  <a:lnTo>
                    <a:pt x="292" y="426"/>
                  </a:lnTo>
                  <a:lnTo>
                    <a:pt x="301" y="428"/>
                  </a:lnTo>
                  <a:lnTo>
                    <a:pt x="313" y="445"/>
                  </a:lnTo>
                  <a:lnTo>
                    <a:pt x="313" y="454"/>
                  </a:lnTo>
                  <a:lnTo>
                    <a:pt x="305" y="473"/>
                  </a:lnTo>
                  <a:lnTo>
                    <a:pt x="305" y="475"/>
                  </a:lnTo>
                  <a:lnTo>
                    <a:pt x="301" y="479"/>
                  </a:lnTo>
                  <a:lnTo>
                    <a:pt x="305" y="481"/>
                  </a:lnTo>
                  <a:lnTo>
                    <a:pt x="301" y="484"/>
                  </a:lnTo>
                  <a:lnTo>
                    <a:pt x="307" y="488"/>
                  </a:lnTo>
                  <a:lnTo>
                    <a:pt x="307" y="494"/>
                  </a:lnTo>
                  <a:lnTo>
                    <a:pt x="311" y="499"/>
                  </a:lnTo>
                  <a:lnTo>
                    <a:pt x="309" y="513"/>
                  </a:lnTo>
                  <a:lnTo>
                    <a:pt x="311" y="515"/>
                  </a:lnTo>
                  <a:lnTo>
                    <a:pt x="309" y="518"/>
                  </a:lnTo>
                  <a:lnTo>
                    <a:pt x="311" y="524"/>
                  </a:lnTo>
                  <a:lnTo>
                    <a:pt x="317" y="522"/>
                  </a:lnTo>
                  <a:lnTo>
                    <a:pt x="320" y="524"/>
                  </a:lnTo>
                  <a:lnTo>
                    <a:pt x="330" y="524"/>
                  </a:lnTo>
                  <a:lnTo>
                    <a:pt x="333" y="526"/>
                  </a:lnTo>
                  <a:lnTo>
                    <a:pt x="341" y="522"/>
                  </a:lnTo>
                  <a:lnTo>
                    <a:pt x="347" y="526"/>
                  </a:lnTo>
                  <a:lnTo>
                    <a:pt x="350" y="526"/>
                  </a:lnTo>
                  <a:lnTo>
                    <a:pt x="350" y="530"/>
                  </a:lnTo>
                  <a:lnTo>
                    <a:pt x="356" y="550"/>
                  </a:lnTo>
                  <a:lnTo>
                    <a:pt x="360" y="558"/>
                  </a:lnTo>
                  <a:lnTo>
                    <a:pt x="362" y="560"/>
                  </a:lnTo>
                  <a:lnTo>
                    <a:pt x="371" y="554"/>
                  </a:lnTo>
                  <a:lnTo>
                    <a:pt x="375" y="556"/>
                  </a:lnTo>
                  <a:lnTo>
                    <a:pt x="379" y="560"/>
                  </a:lnTo>
                  <a:lnTo>
                    <a:pt x="379" y="560"/>
                  </a:lnTo>
                  <a:lnTo>
                    <a:pt x="379" y="563"/>
                  </a:lnTo>
                  <a:lnTo>
                    <a:pt x="379" y="580"/>
                  </a:lnTo>
                  <a:lnTo>
                    <a:pt x="375" y="582"/>
                  </a:lnTo>
                  <a:lnTo>
                    <a:pt x="375" y="582"/>
                  </a:lnTo>
                  <a:lnTo>
                    <a:pt x="375" y="584"/>
                  </a:lnTo>
                  <a:lnTo>
                    <a:pt x="375" y="586"/>
                  </a:lnTo>
                  <a:lnTo>
                    <a:pt x="375" y="588"/>
                  </a:lnTo>
                  <a:lnTo>
                    <a:pt x="379" y="588"/>
                  </a:lnTo>
                  <a:lnTo>
                    <a:pt x="386" y="588"/>
                  </a:lnTo>
                  <a:lnTo>
                    <a:pt x="386" y="592"/>
                  </a:lnTo>
                  <a:lnTo>
                    <a:pt x="390" y="599"/>
                  </a:lnTo>
                  <a:lnTo>
                    <a:pt x="390" y="605"/>
                  </a:lnTo>
                  <a:lnTo>
                    <a:pt x="392" y="612"/>
                  </a:lnTo>
                  <a:lnTo>
                    <a:pt x="392" y="618"/>
                  </a:lnTo>
                  <a:lnTo>
                    <a:pt x="390" y="622"/>
                  </a:lnTo>
                  <a:lnTo>
                    <a:pt x="386" y="622"/>
                  </a:lnTo>
                  <a:lnTo>
                    <a:pt x="384" y="624"/>
                  </a:lnTo>
                  <a:lnTo>
                    <a:pt x="381" y="628"/>
                  </a:lnTo>
                  <a:lnTo>
                    <a:pt x="379" y="628"/>
                  </a:lnTo>
                  <a:lnTo>
                    <a:pt x="379" y="628"/>
                  </a:lnTo>
                  <a:lnTo>
                    <a:pt x="371" y="633"/>
                  </a:lnTo>
                  <a:lnTo>
                    <a:pt x="369" y="635"/>
                  </a:lnTo>
                  <a:lnTo>
                    <a:pt x="365" y="635"/>
                  </a:lnTo>
                  <a:lnTo>
                    <a:pt x="360" y="643"/>
                  </a:lnTo>
                  <a:lnTo>
                    <a:pt x="356" y="643"/>
                  </a:lnTo>
                  <a:lnTo>
                    <a:pt x="356" y="648"/>
                  </a:lnTo>
                  <a:lnTo>
                    <a:pt x="354" y="648"/>
                  </a:lnTo>
                  <a:lnTo>
                    <a:pt x="350" y="648"/>
                  </a:lnTo>
                  <a:lnTo>
                    <a:pt x="347" y="656"/>
                  </a:lnTo>
                  <a:lnTo>
                    <a:pt x="345" y="656"/>
                  </a:lnTo>
                  <a:lnTo>
                    <a:pt x="347" y="661"/>
                  </a:lnTo>
                  <a:lnTo>
                    <a:pt x="341" y="661"/>
                  </a:lnTo>
                  <a:lnTo>
                    <a:pt x="341" y="665"/>
                  </a:lnTo>
                  <a:lnTo>
                    <a:pt x="337" y="671"/>
                  </a:lnTo>
                  <a:lnTo>
                    <a:pt x="335" y="675"/>
                  </a:lnTo>
                  <a:lnTo>
                    <a:pt x="332" y="680"/>
                  </a:lnTo>
                  <a:lnTo>
                    <a:pt x="332" y="682"/>
                  </a:lnTo>
                  <a:lnTo>
                    <a:pt x="330" y="682"/>
                  </a:lnTo>
                  <a:lnTo>
                    <a:pt x="330" y="686"/>
                  </a:lnTo>
                  <a:lnTo>
                    <a:pt x="330" y="686"/>
                  </a:lnTo>
                  <a:lnTo>
                    <a:pt x="332" y="686"/>
                  </a:lnTo>
                  <a:lnTo>
                    <a:pt x="341" y="682"/>
                  </a:lnTo>
                  <a:lnTo>
                    <a:pt x="347" y="686"/>
                  </a:lnTo>
                  <a:lnTo>
                    <a:pt x="350" y="692"/>
                  </a:lnTo>
                  <a:lnTo>
                    <a:pt x="354" y="693"/>
                  </a:lnTo>
                  <a:lnTo>
                    <a:pt x="356" y="699"/>
                  </a:lnTo>
                  <a:lnTo>
                    <a:pt x="360" y="707"/>
                  </a:lnTo>
                  <a:lnTo>
                    <a:pt x="362" y="707"/>
                  </a:lnTo>
                  <a:lnTo>
                    <a:pt x="365" y="703"/>
                  </a:lnTo>
                  <a:lnTo>
                    <a:pt x="367" y="703"/>
                  </a:lnTo>
                  <a:lnTo>
                    <a:pt x="373" y="710"/>
                  </a:lnTo>
                  <a:lnTo>
                    <a:pt x="379" y="712"/>
                  </a:lnTo>
                  <a:lnTo>
                    <a:pt x="381" y="712"/>
                  </a:lnTo>
                  <a:lnTo>
                    <a:pt x="386" y="716"/>
                  </a:lnTo>
                  <a:lnTo>
                    <a:pt x="386" y="722"/>
                  </a:lnTo>
                  <a:lnTo>
                    <a:pt x="390" y="720"/>
                  </a:lnTo>
                  <a:lnTo>
                    <a:pt x="397" y="724"/>
                  </a:lnTo>
                  <a:lnTo>
                    <a:pt x="399" y="729"/>
                  </a:lnTo>
                  <a:lnTo>
                    <a:pt x="405" y="737"/>
                  </a:lnTo>
                  <a:lnTo>
                    <a:pt x="409" y="741"/>
                  </a:lnTo>
                  <a:lnTo>
                    <a:pt x="409" y="746"/>
                  </a:lnTo>
                  <a:lnTo>
                    <a:pt x="405" y="750"/>
                  </a:lnTo>
                  <a:lnTo>
                    <a:pt x="409" y="754"/>
                  </a:lnTo>
                  <a:lnTo>
                    <a:pt x="409" y="756"/>
                  </a:lnTo>
                  <a:lnTo>
                    <a:pt x="409" y="758"/>
                  </a:lnTo>
                  <a:lnTo>
                    <a:pt x="411" y="759"/>
                  </a:lnTo>
                  <a:lnTo>
                    <a:pt x="411" y="761"/>
                  </a:lnTo>
                  <a:lnTo>
                    <a:pt x="418" y="756"/>
                  </a:lnTo>
                  <a:lnTo>
                    <a:pt x="420" y="750"/>
                  </a:lnTo>
                  <a:lnTo>
                    <a:pt x="424" y="737"/>
                  </a:lnTo>
                  <a:lnTo>
                    <a:pt x="428" y="727"/>
                  </a:lnTo>
                  <a:lnTo>
                    <a:pt x="428" y="725"/>
                  </a:lnTo>
                  <a:lnTo>
                    <a:pt x="428" y="724"/>
                  </a:lnTo>
                  <a:lnTo>
                    <a:pt x="424" y="720"/>
                  </a:lnTo>
                  <a:lnTo>
                    <a:pt x="426" y="716"/>
                  </a:lnTo>
                  <a:lnTo>
                    <a:pt x="428" y="716"/>
                  </a:lnTo>
                  <a:lnTo>
                    <a:pt x="428" y="712"/>
                  </a:lnTo>
                  <a:lnTo>
                    <a:pt x="429" y="707"/>
                  </a:lnTo>
                  <a:lnTo>
                    <a:pt x="429" y="707"/>
                  </a:lnTo>
                  <a:lnTo>
                    <a:pt x="433" y="707"/>
                  </a:lnTo>
                  <a:lnTo>
                    <a:pt x="435" y="707"/>
                  </a:lnTo>
                  <a:lnTo>
                    <a:pt x="437" y="705"/>
                  </a:lnTo>
                  <a:lnTo>
                    <a:pt x="439" y="701"/>
                  </a:lnTo>
                  <a:lnTo>
                    <a:pt x="439" y="699"/>
                  </a:lnTo>
                  <a:lnTo>
                    <a:pt x="439" y="695"/>
                  </a:lnTo>
                  <a:lnTo>
                    <a:pt x="443" y="693"/>
                  </a:lnTo>
                  <a:lnTo>
                    <a:pt x="443" y="693"/>
                  </a:lnTo>
                  <a:lnTo>
                    <a:pt x="445" y="690"/>
                  </a:lnTo>
                  <a:lnTo>
                    <a:pt x="443" y="686"/>
                  </a:lnTo>
                  <a:lnTo>
                    <a:pt x="443" y="686"/>
                  </a:lnTo>
                  <a:lnTo>
                    <a:pt x="443" y="680"/>
                  </a:lnTo>
                  <a:lnTo>
                    <a:pt x="443" y="678"/>
                  </a:lnTo>
                  <a:lnTo>
                    <a:pt x="443" y="678"/>
                  </a:lnTo>
                  <a:lnTo>
                    <a:pt x="445" y="682"/>
                  </a:lnTo>
                  <a:lnTo>
                    <a:pt x="448" y="686"/>
                  </a:lnTo>
                  <a:lnTo>
                    <a:pt x="450" y="686"/>
                  </a:lnTo>
                  <a:lnTo>
                    <a:pt x="452" y="686"/>
                  </a:lnTo>
                  <a:lnTo>
                    <a:pt x="454" y="688"/>
                  </a:lnTo>
                  <a:lnTo>
                    <a:pt x="454" y="690"/>
                  </a:lnTo>
                  <a:lnTo>
                    <a:pt x="452" y="692"/>
                  </a:lnTo>
                  <a:lnTo>
                    <a:pt x="450" y="697"/>
                  </a:lnTo>
                  <a:lnTo>
                    <a:pt x="446" y="705"/>
                  </a:lnTo>
                  <a:lnTo>
                    <a:pt x="443" y="705"/>
                  </a:lnTo>
                  <a:lnTo>
                    <a:pt x="443" y="710"/>
                  </a:lnTo>
                  <a:lnTo>
                    <a:pt x="443" y="712"/>
                  </a:lnTo>
                  <a:lnTo>
                    <a:pt x="439" y="712"/>
                  </a:lnTo>
                  <a:lnTo>
                    <a:pt x="435" y="712"/>
                  </a:lnTo>
                  <a:lnTo>
                    <a:pt x="433" y="716"/>
                  </a:lnTo>
                  <a:lnTo>
                    <a:pt x="433" y="718"/>
                  </a:lnTo>
                  <a:lnTo>
                    <a:pt x="429" y="718"/>
                  </a:lnTo>
                  <a:lnTo>
                    <a:pt x="429" y="720"/>
                  </a:lnTo>
                  <a:lnTo>
                    <a:pt x="429" y="722"/>
                  </a:lnTo>
                  <a:lnTo>
                    <a:pt x="433" y="724"/>
                  </a:lnTo>
                  <a:lnTo>
                    <a:pt x="443" y="716"/>
                  </a:lnTo>
                  <a:lnTo>
                    <a:pt x="450" y="707"/>
                  </a:lnTo>
                  <a:lnTo>
                    <a:pt x="460" y="692"/>
                  </a:lnTo>
                  <a:lnTo>
                    <a:pt x="463" y="686"/>
                  </a:lnTo>
                  <a:lnTo>
                    <a:pt x="463" y="677"/>
                  </a:lnTo>
                  <a:lnTo>
                    <a:pt x="473" y="661"/>
                  </a:lnTo>
                  <a:lnTo>
                    <a:pt x="482" y="650"/>
                  </a:lnTo>
                  <a:lnTo>
                    <a:pt x="484" y="646"/>
                  </a:lnTo>
                  <a:lnTo>
                    <a:pt x="482" y="646"/>
                  </a:lnTo>
                  <a:lnTo>
                    <a:pt x="482" y="643"/>
                  </a:lnTo>
                  <a:lnTo>
                    <a:pt x="484" y="643"/>
                  </a:lnTo>
                  <a:lnTo>
                    <a:pt x="486" y="639"/>
                  </a:lnTo>
                  <a:lnTo>
                    <a:pt x="488" y="637"/>
                  </a:lnTo>
                  <a:lnTo>
                    <a:pt x="488" y="633"/>
                  </a:lnTo>
                  <a:lnTo>
                    <a:pt x="488" y="631"/>
                  </a:lnTo>
                  <a:lnTo>
                    <a:pt x="488" y="631"/>
                  </a:lnTo>
                  <a:lnTo>
                    <a:pt x="486" y="628"/>
                  </a:lnTo>
                  <a:lnTo>
                    <a:pt x="486" y="624"/>
                  </a:lnTo>
                  <a:lnTo>
                    <a:pt x="482" y="618"/>
                  </a:lnTo>
                  <a:lnTo>
                    <a:pt x="482" y="618"/>
                  </a:lnTo>
                  <a:lnTo>
                    <a:pt x="484" y="616"/>
                  </a:lnTo>
                  <a:lnTo>
                    <a:pt x="482" y="614"/>
                  </a:lnTo>
                  <a:lnTo>
                    <a:pt x="482" y="607"/>
                  </a:lnTo>
                  <a:lnTo>
                    <a:pt x="480" y="601"/>
                  </a:lnTo>
                  <a:lnTo>
                    <a:pt x="480" y="601"/>
                  </a:lnTo>
                  <a:lnTo>
                    <a:pt x="486" y="599"/>
                  </a:lnTo>
                  <a:lnTo>
                    <a:pt x="484" y="597"/>
                  </a:lnTo>
                  <a:lnTo>
                    <a:pt x="482" y="597"/>
                  </a:lnTo>
                  <a:lnTo>
                    <a:pt x="488" y="594"/>
                  </a:lnTo>
                  <a:lnTo>
                    <a:pt x="488" y="592"/>
                  </a:lnTo>
                  <a:lnTo>
                    <a:pt x="482" y="588"/>
                  </a:lnTo>
                  <a:lnTo>
                    <a:pt x="486" y="588"/>
                  </a:lnTo>
                  <a:lnTo>
                    <a:pt x="488" y="584"/>
                  </a:lnTo>
                  <a:lnTo>
                    <a:pt x="492" y="586"/>
                  </a:lnTo>
                  <a:lnTo>
                    <a:pt x="495" y="580"/>
                  </a:lnTo>
                  <a:lnTo>
                    <a:pt x="499" y="579"/>
                  </a:lnTo>
                  <a:lnTo>
                    <a:pt x="499" y="577"/>
                  </a:lnTo>
                  <a:lnTo>
                    <a:pt x="505" y="571"/>
                  </a:lnTo>
                  <a:lnTo>
                    <a:pt x="510" y="567"/>
                  </a:lnTo>
                  <a:lnTo>
                    <a:pt x="518" y="560"/>
                  </a:lnTo>
                  <a:lnTo>
                    <a:pt x="524" y="560"/>
                  </a:lnTo>
                  <a:lnTo>
                    <a:pt x="527" y="556"/>
                  </a:lnTo>
                  <a:lnTo>
                    <a:pt x="531" y="552"/>
                  </a:lnTo>
                  <a:lnTo>
                    <a:pt x="535" y="552"/>
                  </a:lnTo>
                  <a:lnTo>
                    <a:pt x="539" y="554"/>
                  </a:lnTo>
                  <a:lnTo>
                    <a:pt x="541" y="554"/>
                  </a:lnTo>
                  <a:lnTo>
                    <a:pt x="541" y="552"/>
                  </a:lnTo>
                  <a:lnTo>
                    <a:pt x="542" y="547"/>
                  </a:lnTo>
                  <a:lnTo>
                    <a:pt x="550" y="543"/>
                  </a:lnTo>
                  <a:lnTo>
                    <a:pt x="554" y="543"/>
                  </a:lnTo>
                  <a:lnTo>
                    <a:pt x="554" y="539"/>
                  </a:lnTo>
                  <a:lnTo>
                    <a:pt x="552" y="537"/>
                  </a:lnTo>
                  <a:lnTo>
                    <a:pt x="550" y="537"/>
                  </a:lnTo>
                  <a:lnTo>
                    <a:pt x="548" y="537"/>
                  </a:lnTo>
                  <a:lnTo>
                    <a:pt x="552" y="533"/>
                  </a:lnTo>
                  <a:lnTo>
                    <a:pt x="556" y="533"/>
                  </a:lnTo>
                  <a:lnTo>
                    <a:pt x="559" y="533"/>
                  </a:lnTo>
                  <a:lnTo>
                    <a:pt x="563" y="533"/>
                  </a:lnTo>
                  <a:lnTo>
                    <a:pt x="565" y="530"/>
                  </a:lnTo>
                  <a:lnTo>
                    <a:pt x="567" y="530"/>
                  </a:lnTo>
                  <a:lnTo>
                    <a:pt x="567" y="533"/>
                  </a:lnTo>
                  <a:lnTo>
                    <a:pt x="563" y="533"/>
                  </a:lnTo>
                  <a:lnTo>
                    <a:pt x="557" y="537"/>
                  </a:lnTo>
                  <a:lnTo>
                    <a:pt x="557" y="537"/>
                  </a:lnTo>
                  <a:lnTo>
                    <a:pt x="559" y="537"/>
                  </a:lnTo>
                  <a:lnTo>
                    <a:pt x="567" y="537"/>
                  </a:lnTo>
                  <a:lnTo>
                    <a:pt x="576" y="533"/>
                  </a:lnTo>
                  <a:lnTo>
                    <a:pt x="573" y="530"/>
                  </a:lnTo>
                  <a:lnTo>
                    <a:pt x="576" y="530"/>
                  </a:lnTo>
                  <a:lnTo>
                    <a:pt x="580" y="530"/>
                  </a:lnTo>
                  <a:lnTo>
                    <a:pt x="576" y="530"/>
                  </a:lnTo>
                  <a:lnTo>
                    <a:pt x="576" y="530"/>
                  </a:lnTo>
                  <a:lnTo>
                    <a:pt x="580" y="533"/>
                  </a:lnTo>
                  <a:lnTo>
                    <a:pt x="580" y="533"/>
                  </a:lnTo>
                  <a:lnTo>
                    <a:pt x="584" y="537"/>
                  </a:lnTo>
                  <a:lnTo>
                    <a:pt x="586" y="533"/>
                  </a:lnTo>
                  <a:lnTo>
                    <a:pt x="591" y="533"/>
                  </a:lnTo>
                  <a:lnTo>
                    <a:pt x="597" y="533"/>
                  </a:lnTo>
                  <a:lnTo>
                    <a:pt x="601" y="533"/>
                  </a:lnTo>
                  <a:lnTo>
                    <a:pt x="601" y="530"/>
                  </a:lnTo>
                  <a:lnTo>
                    <a:pt x="601" y="530"/>
                  </a:lnTo>
                  <a:lnTo>
                    <a:pt x="601" y="528"/>
                  </a:lnTo>
                  <a:lnTo>
                    <a:pt x="608" y="522"/>
                  </a:lnTo>
                  <a:lnTo>
                    <a:pt x="616" y="518"/>
                  </a:lnTo>
                  <a:lnTo>
                    <a:pt x="620" y="516"/>
                  </a:lnTo>
                  <a:lnTo>
                    <a:pt x="621" y="515"/>
                  </a:lnTo>
                  <a:lnTo>
                    <a:pt x="620" y="513"/>
                  </a:lnTo>
                  <a:lnTo>
                    <a:pt x="618" y="505"/>
                  </a:lnTo>
                  <a:lnTo>
                    <a:pt x="620" y="499"/>
                  </a:lnTo>
                  <a:lnTo>
                    <a:pt x="621" y="498"/>
                  </a:lnTo>
                  <a:lnTo>
                    <a:pt x="621" y="494"/>
                  </a:lnTo>
                  <a:lnTo>
                    <a:pt x="621" y="494"/>
                  </a:lnTo>
                  <a:lnTo>
                    <a:pt x="625" y="490"/>
                  </a:lnTo>
                  <a:lnTo>
                    <a:pt x="629" y="486"/>
                  </a:lnTo>
                  <a:lnTo>
                    <a:pt x="625" y="486"/>
                  </a:lnTo>
                  <a:lnTo>
                    <a:pt x="631" y="479"/>
                  </a:lnTo>
                  <a:lnTo>
                    <a:pt x="638" y="469"/>
                  </a:lnTo>
                  <a:lnTo>
                    <a:pt x="638" y="466"/>
                  </a:lnTo>
                  <a:lnTo>
                    <a:pt x="637" y="454"/>
                  </a:lnTo>
                  <a:lnTo>
                    <a:pt x="637" y="450"/>
                  </a:lnTo>
                  <a:lnTo>
                    <a:pt x="638" y="445"/>
                  </a:lnTo>
                  <a:lnTo>
                    <a:pt x="640" y="443"/>
                  </a:lnTo>
                  <a:lnTo>
                    <a:pt x="640" y="441"/>
                  </a:lnTo>
                  <a:lnTo>
                    <a:pt x="646" y="435"/>
                  </a:lnTo>
                  <a:lnTo>
                    <a:pt x="648" y="434"/>
                  </a:lnTo>
                  <a:lnTo>
                    <a:pt x="646" y="426"/>
                  </a:lnTo>
                  <a:lnTo>
                    <a:pt x="650" y="418"/>
                  </a:lnTo>
                  <a:lnTo>
                    <a:pt x="648" y="411"/>
                  </a:lnTo>
                  <a:lnTo>
                    <a:pt x="650" y="407"/>
                  </a:lnTo>
                  <a:lnTo>
                    <a:pt x="650" y="403"/>
                  </a:lnTo>
                  <a:lnTo>
                    <a:pt x="650" y="398"/>
                  </a:lnTo>
                  <a:lnTo>
                    <a:pt x="648" y="371"/>
                  </a:lnTo>
                  <a:lnTo>
                    <a:pt x="648" y="368"/>
                  </a:lnTo>
                  <a:lnTo>
                    <a:pt x="650" y="364"/>
                  </a:lnTo>
                  <a:lnTo>
                    <a:pt x="650" y="360"/>
                  </a:lnTo>
                  <a:lnTo>
                    <a:pt x="648" y="362"/>
                  </a:lnTo>
                  <a:lnTo>
                    <a:pt x="646" y="360"/>
                  </a:lnTo>
                  <a:lnTo>
                    <a:pt x="646" y="356"/>
                  </a:lnTo>
                  <a:lnTo>
                    <a:pt x="648" y="354"/>
                  </a:lnTo>
                  <a:lnTo>
                    <a:pt x="648" y="351"/>
                  </a:lnTo>
                  <a:lnTo>
                    <a:pt x="648" y="347"/>
                  </a:lnTo>
                  <a:lnTo>
                    <a:pt x="650" y="347"/>
                  </a:lnTo>
                  <a:lnTo>
                    <a:pt x="650" y="341"/>
                  </a:lnTo>
                  <a:lnTo>
                    <a:pt x="648" y="337"/>
                  </a:lnTo>
                  <a:lnTo>
                    <a:pt x="644" y="336"/>
                  </a:lnTo>
                  <a:lnTo>
                    <a:pt x="644" y="334"/>
                  </a:lnTo>
                  <a:lnTo>
                    <a:pt x="646" y="332"/>
                  </a:lnTo>
                  <a:lnTo>
                    <a:pt x="646" y="336"/>
                  </a:lnTo>
                  <a:lnTo>
                    <a:pt x="650" y="337"/>
                  </a:lnTo>
                  <a:lnTo>
                    <a:pt x="650" y="337"/>
                  </a:lnTo>
                  <a:lnTo>
                    <a:pt x="653" y="334"/>
                  </a:lnTo>
                  <a:lnTo>
                    <a:pt x="655" y="334"/>
                  </a:lnTo>
                  <a:lnTo>
                    <a:pt x="655" y="336"/>
                  </a:lnTo>
                  <a:lnTo>
                    <a:pt x="659" y="337"/>
                  </a:lnTo>
                  <a:lnTo>
                    <a:pt x="655" y="339"/>
                  </a:lnTo>
                  <a:lnTo>
                    <a:pt x="653" y="341"/>
                  </a:lnTo>
                  <a:lnTo>
                    <a:pt x="653" y="345"/>
                  </a:lnTo>
                  <a:lnTo>
                    <a:pt x="655" y="345"/>
                  </a:lnTo>
                  <a:lnTo>
                    <a:pt x="659" y="341"/>
                  </a:lnTo>
                  <a:lnTo>
                    <a:pt x="663" y="337"/>
                  </a:lnTo>
                  <a:lnTo>
                    <a:pt x="670" y="330"/>
                  </a:lnTo>
                  <a:lnTo>
                    <a:pt x="672" y="322"/>
                  </a:lnTo>
                  <a:lnTo>
                    <a:pt x="674" y="317"/>
                  </a:lnTo>
                  <a:lnTo>
                    <a:pt x="676" y="315"/>
                  </a:lnTo>
                  <a:lnTo>
                    <a:pt x="678" y="309"/>
                  </a:lnTo>
                  <a:lnTo>
                    <a:pt x="680" y="305"/>
                  </a:lnTo>
                  <a:lnTo>
                    <a:pt x="689" y="296"/>
                  </a:lnTo>
                  <a:lnTo>
                    <a:pt x="691" y="292"/>
                  </a:lnTo>
                  <a:lnTo>
                    <a:pt x="695" y="292"/>
                  </a:lnTo>
                  <a:lnTo>
                    <a:pt x="697" y="290"/>
                  </a:lnTo>
                  <a:lnTo>
                    <a:pt x="704" y="281"/>
                  </a:lnTo>
                  <a:lnTo>
                    <a:pt x="714" y="272"/>
                  </a:lnTo>
                  <a:lnTo>
                    <a:pt x="714" y="268"/>
                  </a:lnTo>
                  <a:lnTo>
                    <a:pt x="717" y="260"/>
                  </a:lnTo>
                  <a:lnTo>
                    <a:pt x="719" y="255"/>
                  </a:lnTo>
                  <a:lnTo>
                    <a:pt x="721" y="251"/>
                  </a:lnTo>
                  <a:lnTo>
                    <a:pt x="721" y="249"/>
                  </a:lnTo>
                  <a:lnTo>
                    <a:pt x="719" y="245"/>
                  </a:lnTo>
                  <a:lnTo>
                    <a:pt x="719" y="241"/>
                  </a:lnTo>
                  <a:lnTo>
                    <a:pt x="723" y="238"/>
                  </a:lnTo>
                  <a:lnTo>
                    <a:pt x="721" y="230"/>
                  </a:lnTo>
                  <a:lnTo>
                    <a:pt x="719" y="228"/>
                  </a:lnTo>
                  <a:lnTo>
                    <a:pt x="719" y="224"/>
                  </a:lnTo>
                  <a:lnTo>
                    <a:pt x="714" y="211"/>
                  </a:lnTo>
                  <a:lnTo>
                    <a:pt x="714" y="206"/>
                  </a:lnTo>
                  <a:lnTo>
                    <a:pt x="710" y="198"/>
                  </a:lnTo>
                  <a:lnTo>
                    <a:pt x="701" y="194"/>
                  </a:lnTo>
                  <a:lnTo>
                    <a:pt x="693" y="194"/>
                  </a:lnTo>
                  <a:lnTo>
                    <a:pt x="687" y="196"/>
                  </a:lnTo>
                  <a:lnTo>
                    <a:pt x="684" y="191"/>
                  </a:lnTo>
                  <a:lnTo>
                    <a:pt x="680" y="191"/>
                  </a:lnTo>
                  <a:lnTo>
                    <a:pt x="676" y="187"/>
                  </a:lnTo>
                  <a:lnTo>
                    <a:pt x="670" y="183"/>
                  </a:lnTo>
                  <a:lnTo>
                    <a:pt x="667" y="183"/>
                  </a:lnTo>
                  <a:lnTo>
                    <a:pt x="659" y="174"/>
                  </a:lnTo>
                  <a:lnTo>
                    <a:pt x="653" y="164"/>
                  </a:lnTo>
                  <a:lnTo>
                    <a:pt x="650" y="164"/>
                  </a:lnTo>
                  <a:lnTo>
                    <a:pt x="644" y="159"/>
                  </a:lnTo>
                  <a:lnTo>
                    <a:pt x="640" y="160"/>
                  </a:lnTo>
                  <a:lnTo>
                    <a:pt x="629" y="153"/>
                  </a:lnTo>
                  <a:lnTo>
                    <a:pt x="625" y="153"/>
                  </a:lnTo>
                  <a:lnTo>
                    <a:pt x="620" y="149"/>
                  </a:lnTo>
                  <a:lnTo>
                    <a:pt x="616" y="153"/>
                  </a:lnTo>
                  <a:lnTo>
                    <a:pt x="610" y="153"/>
                  </a:lnTo>
                  <a:lnTo>
                    <a:pt x="606" y="149"/>
                  </a:lnTo>
                  <a:lnTo>
                    <a:pt x="605" y="153"/>
                  </a:lnTo>
                  <a:lnTo>
                    <a:pt x="601" y="153"/>
                  </a:lnTo>
                  <a:lnTo>
                    <a:pt x="601" y="153"/>
                  </a:lnTo>
                  <a:lnTo>
                    <a:pt x="595" y="147"/>
                  </a:lnTo>
                  <a:lnTo>
                    <a:pt x="595" y="149"/>
                  </a:lnTo>
                  <a:lnTo>
                    <a:pt x="591" y="147"/>
                  </a:lnTo>
                  <a:lnTo>
                    <a:pt x="591" y="149"/>
                  </a:lnTo>
                  <a:lnTo>
                    <a:pt x="591" y="153"/>
                  </a:lnTo>
                  <a:lnTo>
                    <a:pt x="588" y="149"/>
                  </a:lnTo>
                  <a:lnTo>
                    <a:pt x="588" y="147"/>
                  </a:lnTo>
                  <a:lnTo>
                    <a:pt x="586" y="147"/>
                  </a:lnTo>
                  <a:lnTo>
                    <a:pt x="586" y="147"/>
                  </a:lnTo>
                  <a:lnTo>
                    <a:pt x="584" y="149"/>
                  </a:lnTo>
                  <a:lnTo>
                    <a:pt x="580" y="147"/>
                  </a:lnTo>
                  <a:lnTo>
                    <a:pt x="576" y="147"/>
                  </a:lnTo>
                  <a:lnTo>
                    <a:pt x="573" y="147"/>
                  </a:lnTo>
                  <a:lnTo>
                    <a:pt x="563" y="142"/>
                  </a:lnTo>
                  <a:lnTo>
                    <a:pt x="559" y="143"/>
                  </a:lnTo>
                  <a:lnTo>
                    <a:pt x="559" y="143"/>
                  </a:lnTo>
                  <a:lnTo>
                    <a:pt x="559" y="143"/>
                  </a:lnTo>
                  <a:lnTo>
                    <a:pt x="559" y="147"/>
                  </a:lnTo>
                  <a:lnTo>
                    <a:pt x="556" y="143"/>
                  </a:lnTo>
                  <a:lnTo>
                    <a:pt x="556" y="147"/>
                  </a:lnTo>
                  <a:lnTo>
                    <a:pt x="556" y="147"/>
                  </a:lnTo>
                  <a:lnTo>
                    <a:pt x="552" y="147"/>
                  </a:lnTo>
                  <a:lnTo>
                    <a:pt x="550" y="153"/>
                  </a:lnTo>
                  <a:lnTo>
                    <a:pt x="550" y="155"/>
                  </a:lnTo>
                  <a:lnTo>
                    <a:pt x="548" y="153"/>
                  </a:lnTo>
                  <a:lnTo>
                    <a:pt x="546" y="149"/>
                  </a:lnTo>
                  <a:lnTo>
                    <a:pt x="546" y="149"/>
                  </a:lnTo>
                  <a:lnTo>
                    <a:pt x="546" y="153"/>
                  </a:lnTo>
                  <a:lnTo>
                    <a:pt x="542" y="159"/>
                  </a:lnTo>
                  <a:lnTo>
                    <a:pt x="542" y="164"/>
                  </a:lnTo>
                  <a:lnTo>
                    <a:pt x="542" y="159"/>
                  </a:lnTo>
                  <a:lnTo>
                    <a:pt x="542" y="155"/>
                  </a:lnTo>
                  <a:lnTo>
                    <a:pt x="542" y="153"/>
                  </a:lnTo>
                  <a:lnTo>
                    <a:pt x="542" y="143"/>
                  </a:lnTo>
                  <a:lnTo>
                    <a:pt x="546" y="143"/>
                  </a:lnTo>
                  <a:lnTo>
                    <a:pt x="542" y="143"/>
                  </a:lnTo>
                  <a:lnTo>
                    <a:pt x="542" y="143"/>
                  </a:lnTo>
                  <a:lnTo>
                    <a:pt x="546" y="138"/>
                  </a:lnTo>
                  <a:lnTo>
                    <a:pt x="541" y="132"/>
                  </a:lnTo>
                  <a:lnTo>
                    <a:pt x="537" y="126"/>
                  </a:lnTo>
                  <a:lnTo>
                    <a:pt x="535" y="126"/>
                  </a:lnTo>
                  <a:lnTo>
                    <a:pt x="529" y="126"/>
                  </a:lnTo>
                  <a:lnTo>
                    <a:pt x="527" y="130"/>
                  </a:lnTo>
                  <a:lnTo>
                    <a:pt x="525" y="130"/>
                  </a:lnTo>
                  <a:lnTo>
                    <a:pt x="524" y="128"/>
                  </a:lnTo>
                  <a:lnTo>
                    <a:pt x="522" y="126"/>
                  </a:lnTo>
                  <a:lnTo>
                    <a:pt x="522" y="125"/>
                  </a:lnTo>
                  <a:lnTo>
                    <a:pt x="518" y="123"/>
                  </a:lnTo>
                  <a:lnTo>
                    <a:pt x="518" y="123"/>
                  </a:lnTo>
                  <a:lnTo>
                    <a:pt x="516" y="123"/>
                  </a:lnTo>
                  <a:lnTo>
                    <a:pt x="512" y="119"/>
                  </a:lnTo>
                  <a:lnTo>
                    <a:pt x="510" y="123"/>
                  </a:lnTo>
                  <a:lnTo>
                    <a:pt x="510" y="123"/>
                  </a:lnTo>
                  <a:lnTo>
                    <a:pt x="509" y="119"/>
                  </a:lnTo>
                  <a:lnTo>
                    <a:pt x="509" y="117"/>
                  </a:lnTo>
                  <a:lnTo>
                    <a:pt x="505" y="119"/>
                  </a:lnTo>
                  <a:lnTo>
                    <a:pt x="501" y="117"/>
                  </a:lnTo>
                  <a:lnTo>
                    <a:pt x="495" y="113"/>
                  </a:lnTo>
                  <a:lnTo>
                    <a:pt x="493" y="113"/>
                  </a:lnTo>
                  <a:lnTo>
                    <a:pt x="492" y="113"/>
                  </a:lnTo>
                  <a:lnTo>
                    <a:pt x="492" y="113"/>
                  </a:lnTo>
                  <a:lnTo>
                    <a:pt x="488" y="113"/>
                  </a:lnTo>
                  <a:lnTo>
                    <a:pt x="488" y="113"/>
                  </a:lnTo>
                  <a:lnTo>
                    <a:pt x="486" y="113"/>
                  </a:lnTo>
                  <a:lnTo>
                    <a:pt x="484" y="113"/>
                  </a:lnTo>
                  <a:lnTo>
                    <a:pt x="480" y="113"/>
                  </a:lnTo>
                  <a:lnTo>
                    <a:pt x="477" y="113"/>
                  </a:lnTo>
                  <a:lnTo>
                    <a:pt x="475" y="119"/>
                  </a:lnTo>
                  <a:lnTo>
                    <a:pt x="475" y="119"/>
                  </a:lnTo>
                  <a:lnTo>
                    <a:pt x="471" y="123"/>
                  </a:lnTo>
                  <a:lnTo>
                    <a:pt x="467" y="126"/>
                  </a:lnTo>
                  <a:lnTo>
                    <a:pt x="460" y="130"/>
                  </a:lnTo>
                  <a:lnTo>
                    <a:pt x="454" y="136"/>
                  </a:lnTo>
                  <a:lnTo>
                    <a:pt x="454" y="142"/>
                  </a:lnTo>
                  <a:lnTo>
                    <a:pt x="454" y="143"/>
                  </a:lnTo>
                  <a:lnTo>
                    <a:pt x="452" y="147"/>
                  </a:lnTo>
                  <a:lnTo>
                    <a:pt x="448" y="153"/>
                  </a:lnTo>
                  <a:lnTo>
                    <a:pt x="448" y="153"/>
                  </a:lnTo>
                  <a:lnTo>
                    <a:pt x="448" y="157"/>
                  </a:lnTo>
                  <a:lnTo>
                    <a:pt x="448" y="164"/>
                  </a:lnTo>
                  <a:lnTo>
                    <a:pt x="446" y="160"/>
                  </a:lnTo>
                  <a:lnTo>
                    <a:pt x="445" y="155"/>
                  </a:lnTo>
                  <a:lnTo>
                    <a:pt x="445" y="153"/>
                  </a:lnTo>
                  <a:lnTo>
                    <a:pt x="446" y="149"/>
                  </a:lnTo>
                  <a:lnTo>
                    <a:pt x="450" y="147"/>
                  </a:lnTo>
                  <a:lnTo>
                    <a:pt x="450" y="143"/>
                  </a:lnTo>
                  <a:lnTo>
                    <a:pt x="452" y="138"/>
                  </a:lnTo>
                  <a:lnTo>
                    <a:pt x="452" y="136"/>
                  </a:lnTo>
                  <a:lnTo>
                    <a:pt x="448" y="136"/>
                  </a:lnTo>
                  <a:lnTo>
                    <a:pt x="445" y="138"/>
                  </a:lnTo>
                  <a:lnTo>
                    <a:pt x="439" y="136"/>
                  </a:lnTo>
                  <a:lnTo>
                    <a:pt x="435" y="136"/>
                  </a:lnTo>
                  <a:lnTo>
                    <a:pt x="433" y="138"/>
                  </a:lnTo>
                  <a:lnTo>
                    <a:pt x="429" y="134"/>
                  </a:lnTo>
                  <a:lnTo>
                    <a:pt x="433" y="136"/>
                  </a:lnTo>
                  <a:lnTo>
                    <a:pt x="435" y="132"/>
                  </a:lnTo>
                  <a:lnTo>
                    <a:pt x="439" y="132"/>
                  </a:lnTo>
                  <a:lnTo>
                    <a:pt x="445" y="132"/>
                  </a:lnTo>
                  <a:lnTo>
                    <a:pt x="448" y="132"/>
                  </a:lnTo>
                  <a:lnTo>
                    <a:pt x="450" y="128"/>
                  </a:lnTo>
                  <a:lnTo>
                    <a:pt x="452" y="128"/>
                  </a:lnTo>
                  <a:lnTo>
                    <a:pt x="454" y="130"/>
                  </a:lnTo>
                  <a:lnTo>
                    <a:pt x="454" y="128"/>
                  </a:lnTo>
                  <a:lnTo>
                    <a:pt x="460" y="126"/>
                  </a:lnTo>
                  <a:lnTo>
                    <a:pt x="463" y="125"/>
                  </a:lnTo>
                  <a:lnTo>
                    <a:pt x="463" y="123"/>
                  </a:lnTo>
                  <a:lnTo>
                    <a:pt x="469" y="117"/>
                  </a:lnTo>
                  <a:lnTo>
                    <a:pt x="469" y="110"/>
                  </a:lnTo>
                  <a:lnTo>
                    <a:pt x="471" y="110"/>
                  </a:lnTo>
                  <a:lnTo>
                    <a:pt x="471" y="106"/>
                  </a:lnTo>
                  <a:lnTo>
                    <a:pt x="467" y="104"/>
                  </a:lnTo>
                  <a:lnTo>
                    <a:pt x="463" y="102"/>
                  </a:lnTo>
                  <a:lnTo>
                    <a:pt x="460" y="102"/>
                  </a:lnTo>
                  <a:lnTo>
                    <a:pt x="454" y="104"/>
                  </a:lnTo>
                  <a:lnTo>
                    <a:pt x="448" y="106"/>
                  </a:lnTo>
                  <a:lnTo>
                    <a:pt x="443" y="102"/>
                  </a:lnTo>
                  <a:lnTo>
                    <a:pt x="435" y="102"/>
                  </a:lnTo>
                  <a:lnTo>
                    <a:pt x="429" y="108"/>
                  </a:lnTo>
                  <a:lnTo>
                    <a:pt x="429" y="110"/>
                  </a:lnTo>
                  <a:lnTo>
                    <a:pt x="433" y="110"/>
                  </a:lnTo>
                  <a:lnTo>
                    <a:pt x="433" y="113"/>
                  </a:lnTo>
                  <a:lnTo>
                    <a:pt x="429" y="113"/>
                  </a:lnTo>
                  <a:lnTo>
                    <a:pt x="429" y="113"/>
                  </a:lnTo>
                  <a:lnTo>
                    <a:pt x="428" y="117"/>
                  </a:lnTo>
                  <a:lnTo>
                    <a:pt x="428" y="113"/>
                  </a:lnTo>
                  <a:lnTo>
                    <a:pt x="426" y="113"/>
                  </a:lnTo>
                  <a:lnTo>
                    <a:pt x="422" y="113"/>
                  </a:lnTo>
                  <a:lnTo>
                    <a:pt x="416" y="119"/>
                  </a:lnTo>
                  <a:lnTo>
                    <a:pt x="411" y="126"/>
                  </a:lnTo>
                  <a:lnTo>
                    <a:pt x="414" y="123"/>
                  </a:lnTo>
                  <a:lnTo>
                    <a:pt x="414" y="119"/>
                  </a:lnTo>
                  <a:lnTo>
                    <a:pt x="416" y="113"/>
                  </a:lnTo>
                  <a:lnTo>
                    <a:pt x="416" y="113"/>
                  </a:lnTo>
                  <a:lnTo>
                    <a:pt x="414" y="113"/>
                  </a:lnTo>
                  <a:lnTo>
                    <a:pt x="411" y="117"/>
                  </a:lnTo>
                  <a:lnTo>
                    <a:pt x="409" y="119"/>
                  </a:lnTo>
                  <a:lnTo>
                    <a:pt x="409" y="125"/>
                  </a:lnTo>
                  <a:lnTo>
                    <a:pt x="405" y="126"/>
                  </a:lnTo>
                  <a:lnTo>
                    <a:pt x="409" y="123"/>
                  </a:lnTo>
                  <a:lnTo>
                    <a:pt x="409" y="117"/>
                  </a:lnTo>
                  <a:lnTo>
                    <a:pt x="414" y="110"/>
                  </a:lnTo>
                  <a:lnTo>
                    <a:pt x="416" y="104"/>
                  </a:lnTo>
                  <a:lnTo>
                    <a:pt x="418" y="100"/>
                  </a:lnTo>
                  <a:lnTo>
                    <a:pt x="422" y="96"/>
                  </a:lnTo>
                  <a:lnTo>
                    <a:pt x="426" y="94"/>
                  </a:lnTo>
                  <a:lnTo>
                    <a:pt x="429" y="93"/>
                  </a:lnTo>
                  <a:lnTo>
                    <a:pt x="433" y="89"/>
                  </a:lnTo>
                  <a:lnTo>
                    <a:pt x="443" y="79"/>
                  </a:lnTo>
                  <a:lnTo>
                    <a:pt x="443" y="78"/>
                  </a:lnTo>
                  <a:lnTo>
                    <a:pt x="443" y="76"/>
                  </a:lnTo>
                  <a:lnTo>
                    <a:pt x="443" y="74"/>
                  </a:lnTo>
                  <a:lnTo>
                    <a:pt x="443" y="72"/>
                  </a:lnTo>
                  <a:lnTo>
                    <a:pt x="443" y="70"/>
                  </a:lnTo>
                  <a:lnTo>
                    <a:pt x="443" y="68"/>
                  </a:lnTo>
                  <a:lnTo>
                    <a:pt x="439" y="62"/>
                  </a:lnTo>
                  <a:lnTo>
                    <a:pt x="435" y="64"/>
                  </a:lnTo>
                  <a:lnTo>
                    <a:pt x="433" y="64"/>
                  </a:lnTo>
                  <a:lnTo>
                    <a:pt x="433" y="62"/>
                  </a:lnTo>
                  <a:lnTo>
                    <a:pt x="429" y="55"/>
                  </a:lnTo>
                  <a:lnTo>
                    <a:pt x="426" y="45"/>
                  </a:lnTo>
                  <a:lnTo>
                    <a:pt x="422" y="40"/>
                  </a:lnTo>
                  <a:lnTo>
                    <a:pt x="420" y="34"/>
                  </a:lnTo>
                  <a:lnTo>
                    <a:pt x="420" y="29"/>
                  </a:lnTo>
                  <a:lnTo>
                    <a:pt x="418" y="25"/>
                  </a:lnTo>
                  <a:lnTo>
                    <a:pt x="418" y="25"/>
                  </a:lnTo>
                  <a:lnTo>
                    <a:pt x="418" y="25"/>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1" name="Freeform 44">
              <a:extLst>
                <a:ext uri="{FF2B5EF4-FFF2-40B4-BE49-F238E27FC236}">
                  <a16:creationId xmlns:a16="http://schemas.microsoft.com/office/drawing/2014/main" id="{1E71CF2A-E207-4C7F-B061-B1538C671317}"/>
                </a:ext>
              </a:extLst>
            </p:cNvPr>
            <p:cNvSpPr>
              <a:spLocks/>
            </p:cNvSpPr>
            <p:nvPr/>
          </p:nvSpPr>
          <p:spPr bwMode="auto">
            <a:xfrm>
              <a:off x="1335" y="2866"/>
              <a:ext cx="222" cy="316"/>
            </a:xfrm>
            <a:custGeom>
              <a:avLst/>
              <a:gdLst/>
              <a:ahLst/>
              <a:cxnLst>
                <a:cxn ang="0">
                  <a:pos x="179" y="260"/>
                </a:cxn>
                <a:cxn ang="0">
                  <a:pos x="177" y="228"/>
                </a:cxn>
                <a:cxn ang="0">
                  <a:pos x="179" y="216"/>
                </a:cxn>
                <a:cxn ang="0">
                  <a:pos x="194" y="203"/>
                </a:cxn>
                <a:cxn ang="0">
                  <a:pos x="211" y="199"/>
                </a:cxn>
                <a:cxn ang="0">
                  <a:pos x="222" y="213"/>
                </a:cxn>
                <a:cxn ang="0">
                  <a:pos x="213" y="190"/>
                </a:cxn>
                <a:cxn ang="0">
                  <a:pos x="207" y="186"/>
                </a:cxn>
                <a:cxn ang="0">
                  <a:pos x="205" y="156"/>
                </a:cxn>
                <a:cxn ang="0">
                  <a:pos x="207" y="135"/>
                </a:cxn>
                <a:cxn ang="0">
                  <a:pos x="213" y="118"/>
                </a:cxn>
                <a:cxn ang="0">
                  <a:pos x="198" y="118"/>
                </a:cxn>
                <a:cxn ang="0">
                  <a:pos x="187" y="117"/>
                </a:cxn>
                <a:cxn ang="0">
                  <a:pos x="153" y="101"/>
                </a:cxn>
                <a:cxn ang="0">
                  <a:pos x="134" y="101"/>
                </a:cxn>
                <a:cxn ang="0">
                  <a:pos x="123" y="92"/>
                </a:cxn>
                <a:cxn ang="0">
                  <a:pos x="113" y="60"/>
                </a:cxn>
                <a:cxn ang="0">
                  <a:pos x="113" y="49"/>
                </a:cxn>
                <a:cxn ang="0">
                  <a:pos x="123" y="24"/>
                </a:cxn>
                <a:cxn ang="0">
                  <a:pos x="143" y="9"/>
                </a:cxn>
                <a:cxn ang="0">
                  <a:pos x="147" y="4"/>
                </a:cxn>
                <a:cxn ang="0">
                  <a:pos x="134" y="4"/>
                </a:cxn>
                <a:cxn ang="0">
                  <a:pos x="126" y="7"/>
                </a:cxn>
                <a:cxn ang="0">
                  <a:pos x="106" y="20"/>
                </a:cxn>
                <a:cxn ang="0">
                  <a:pos x="91" y="28"/>
                </a:cxn>
                <a:cxn ang="0">
                  <a:pos x="87" y="28"/>
                </a:cxn>
                <a:cxn ang="0">
                  <a:pos x="72" y="28"/>
                </a:cxn>
                <a:cxn ang="0">
                  <a:pos x="62" y="47"/>
                </a:cxn>
                <a:cxn ang="0">
                  <a:pos x="57" y="58"/>
                </a:cxn>
                <a:cxn ang="0">
                  <a:pos x="42" y="69"/>
                </a:cxn>
                <a:cxn ang="0">
                  <a:pos x="42" y="86"/>
                </a:cxn>
                <a:cxn ang="0">
                  <a:pos x="34" y="79"/>
                </a:cxn>
                <a:cxn ang="0">
                  <a:pos x="30" y="81"/>
                </a:cxn>
                <a:cxn ang="0">
                  <a:pos x="21" y="98"/>
                </a:cxn>
                <a:cxn ang="0">
                  <a:pos x="27" y="111"/>
                </a:cxn>
                <a:cxn ang="0">
                  <a:pos x="30" y="122"/>
                </a:cxn>
                <a:cxn ang="0">
                  <a:pos x="30" y="134"/>
                </a:cxn>
                <a:cxn ang="0">
                  <a:pos x="27" y="156"/>
                </a:cxn>
                <a:cxn ang="0">
                  <a:pos x="36" y="164"/>
                </a:cxn>
                <a:cxn ang="0">
                  <a:pos x="25" y="182"/>
                </a:cxn>
                <a:cxn ang="0">
                  <a:pos x="2" y="207"/>
                </a:cxn>
                <a:cxn ang="0">
                  <a:pos x="23" y="222"/>
                </a:cxn>
                <a:cxn ang="0">
                  <a:pos x="38" y="235"/>
                </a:cxn>
                <a:cxn ang="0">
                  <a:pos x="51" y="230"/>
                </a:cxn>
                <a:cxn ang="0">
                  <a:pos x="64" y="237"/>
                </a:cxn>
                <a:cxn ang="0">
                  <a:pos x="79" y="243"/>
                </a:cxn>
                <a:cxn ang="0">
                  <a:pos x="91" y="260"/>
                </a:cxn>
                <a:cxn ang="0">
                  <a:pos x="106" y="275"/>
                </a:cxn>
                <a:cxn ang="0">
                  <a:pos x="115" y="282"/>
                </a:cxn>
                <a:cxn ang="0">
                  <a:pos x="138" y="280"/>
                </a:cxn>
                <a:cxn ang="0">
                  <a:pos x="155" y="282"/>
                </a:cxn>
                <a:cxn ang="0">
                  <a:pos x="153" y="311"/>
                </a:cxn>
                <a:cxn ang="0">
                  <a:pos x="164" y="316"/>
                </a:cxn>
              </a:cxnLst>
              <a:rect l="0" t="0" r="r" b="b"/>
              <a:pathLst>
                <a:path w="222" h="316">
                  <a:moveTo>
                    <a:pt x="164" y="316"/>
                  </a:moveTo>
                  <a:lnTo>
                    <a:pt x="168" y="307"/>
                  </a:lnTo>
                  <a:lnTo>
                    <a:pt x="179" y="267"/>
                  </a:lnTo>
                  <a:lnTo>
                    <a:pt x="179" y="265"/>
                  </a:lnTo>
                  <a:lnTo>
                    <a:pt x="179" y="260"/>
                  </a:lnTo>
                  <a:lnTo>
                    <a:pt x="175" y="250"/>
                  </a:lnTo>
                  <a:lnTo>
                    <a:pt x="168" y="247"/>
                  </a:lnTo>
                  <a:lnTo>
                    <a:pt x="164" y="243"/>
                  </a:lnTo>
                  <a:lnTo>
                    <a:pt x="164" y="231"/>
                  </a:lnTo>
                  <a:lnTo>
                    <a:pt x="177" y="228"/>
                  </a:lnTo>
                  <a:lnTo>
                    <a:pt x="181" y="230"/>
                  </a:lnTo>
                  <a:lnTo>
                    <a:pt x="183" y="228"/>
                  </a:lnTo>
                  <a:lnTo>
                    <a:pt x="179" y="224"/>
                  </a:lnTo>
                  <a:lnTo>
                    <a:pt x="181" y="222"/>
                  </a:lnTo>
                  <a:lnTo>
                    <a:pt x="179" y="216"/>
                  </a:lnTo>
                  <a:lnTo>
                    <a:pt x="171" y="216"/>
                  </a:lnTo>
                  <a:lnTo>
                    <a:pt x="170" y="213"/>
                  </a:lnTo>
                  <a:lnTo>
                    <a:pt x="171" y="205"/>
                  </a:lnTo>
                  <a:lnTo>
                    <a:pt x="192" y="205"/>
                  </a:lnTo>
                  <a:lnTo>
                    <a:pt x="194" y="203"/>
                  </a:lnTo>
                  <a:lnTo>
                    <a:pt x="198" y="203"/>
                  </a:lnTo>
                  <a:lnTo>
                    <a:pt x="200" y="205"/>
                  </a:lnTo>
                  <a:lnTo>
                    <a:pt x="202" y="205"/>
                  </a:lnTo>
                  <a:lnTo>
                    <a:pt x="205" y="199"/>
                  </a:lnTo>
                  <a:lnTo>
                    <a:pt x="211" y="199"/>
                  </a:lnTo>
                  <a:lnTo>
                    <a:pt x="213" y="201"/>
                  </a:lnTo>
                  <a:lnTo>
                    <a:pt x="217" y="205"/>
                  </a:lnTo>
                  <a:lnTo>
                    <a:pt x="217" y="211"/>
                  </a:lnTo>
                  <a:lnTo>
                    <a:pt x="217" y="213"/>
                  </a:lnTo>
                  <a:lnTo>
                    <a:pt x="222" y="213"/>
                  </a:lnTo>
                  <a:lnTo>
                    <a:pt x="222" y="211"/>
                  </a:lnTo>
                  <a:lnTo>
                    <a:pt x="217" y="201"/>
                  </a:lnTo>
                  <a:lnTo>
                    <a:pt x="213" y="196"/>
                  </a:lnTo>
                  <a:lnTo>
                    <a:pt x="217" y="194"/>
                  </a:lnTo>
                  <a:lnTo>
                    <a:pt x="213" y="190"/>
                  </a:lnTo>
                  <a:lnTo>
                    <a:pt x="213" y="188"/>
                  </a:lnTo>
                  <a:lnTo>
                    <a:pt x="211" y="186"/>
                  </a:lnTo>
                  <a:lnTo>
                    <a:pt x="211" y="186"/>
                  </a:lnTo>
                  <a:lnTo>
                    <a:pt x="209" y="186"/>
                  </a:lnTo>
                  <a:lnTo>
                    <a:pt x="207" y="186"/>
                  </a:lnTo>
                  <a:lnTo>
                    <a:pt x="205" y="182"/>
                  </a:lnTo>
                  <a:lnTo>
                    <a:pt x="213" y="173"/>
                  </a:lnTo>
                  <a:lnTo>
                    <a:pt x="207" y="162"/>
                  </a:lnTo>
                  <a:lnTo>
                    <a:pt x="207" y="162"/>
                  </a:lnTo>
                  <a:lnTo>
                    <a:pt x="205" y="156"/>
                  </a:lnTo>
                  <a:lnTo>
                    <a:pt x="205" y="152"/>
                  </a:lnTo>
                  <a:lnTo>
                    <a:pt x="207" y="147"/>
                  </a:lnTo>
                  <a:lnTo>
                    <a:pt x="207" y="145"/>
                  </a:lnTo>
                  <a:lnTo>
                    <a:pt x="205" y="137"/>
                  </a:lnTo>
                  <a:lnTo>
                    <a:pt x="207" y="135"/>
                  </a:lnTo>
                  <a:lnTo>
                    <a:pt x="213" y="134"/>
                  </a:lnTo>
                  <a:lnTo>
                    <a:pt x="213" y="132"/>
                  </a:lnTo>
                  <a:lnTo>
                    <a:pt x="213" y="128"/>
                  </a:lnTo>
                  <a:lnTo>
                    <a:pt x="213" y="124"/>
                  </a:lnTo>
                  <a:lnTo>
                    <a:pt x="213" y="118"/>
                  </a:lnTo>
                  <a:lnTo>
                    <a:pt x="211" y="117"/>
                  </a:lnTo>
                  <a:lnTo>
                    <a:pt x="207" y="117"/>
                  </a:lnTo>
                  <a:lnTo>
                    <a:pt x="207" y="118"/>
                  </a:lnTo>
                  <a:lnTo>
                    <a:pt x="202" y="118"/>
                  </a:lnTo>
                  <a:lnTo>
                    <a:pt x="198" y="118"/>
                  </a:lnTo>
                  <a:lnTo>
                    <a:pt x="194" y="118"/>
                  </a:lnTo>
                  <a:lnTo>
                    <a:pt x="192" y="118"/>
                  </a:lnTo>
                  <a:lnTo>
                    <a:pt x="188" y="118"/>
                  </a:lnTo>
                  <a:lnTo>
                    <a:pt x="187" y="118"/>
                  </a:lnTo>
                  <a:lnTo>
                    <a:pt x="187" y="117"/>
                  </a:lnTo>
                  <a:lnTo>
                    <a:pt x="181" y="118"/>
                  </a:lnTo>
                  <a:lnTo>
                    <a:pt x="168" y="103"/>
                  </a:lnTo>
                  <a:lnTo>
                    <a:pt x="164" y="101"/>
                  </a:lnTo>
                  <a:lnTo>
                    <a:pt x="158" y="101"/>
                  </a:lnTo>
                  <a:lnTo>
                    <a:pt x="153" y="101"/>
                  </a:lnTo>
                  <a:lnTo>
                    <a:pt x="151" y="103"/>
                  </a:lnTo>
                  <a:lnTo>
                    <a:pt x="145" y="101"/>
                  </a:lnTo>
                  <a:lnTo>
                    <a:pt x="143" y="101"/>
                  </a:lnTo>
                  <a:lnTo>
                    <a:pt x="138" y="103"/>
                  </a:lnTo>
                  <a:lnTo>
                    <a:pt x="134" y="101"/>
                  </a:lnTo>
                  <a:lnTo>
                    <a:pt x="130" y="100"/>
                  </a:lnTo>
                  <a:lnTo>
                    <a:pt x="126" y="98"/>
                  </a:lnTo>
                  <a:lnTo>
                    <a:pt x="123" y="94"/>
                  </a:lnTo>
                  <a:lnTo>
                    <a:pt x="123" y="92"/>
                  </a:lnTo>
                  <a:lnTo>
                    <a:pt x="123" y="92"/>
                  </a:lnTo>
                  <a:lnTo>
                    <a:pt x="123" y="88"/>
                  </a:lnTo>
                  <a:lnTo>
                    <a:pt x="124" y="85"/>
                  </a:lnTo>
                  <a:lnTo>
                    <a:pt x="124" y="81"/>
                  </a:lnTo>
                  <a:lnTo>
                    <a:pt x="121" y="75"/>
                  </a:lnTo>
                  <a:lnTo>
                    <a:pt x="113" y="60"/>
                  </a:lnTo>
                  <a:lnTo>
                    <a:pt x="109" y="60"/>
                  </a:lnTo>
                  <a:lnTo>
                    <a:pt x="106" y="64"/>
                  </a:lnTo>
                  <a:lnTo>
                    <a:pt x="109" y="58"/>
                  </a:lnTo>
                  <a:lnTo>
                    <a:pt x="109" y="54"/>
                  </a:lnTo>
                  <a:lnTo>
                    <a:pt x="113" y="49"/>
                  </a:lnTo>
                  <a:lnTo>
                    <a:pt x="109" y="45"/>
                  </a:lnTo>
                  <a:lnTo>
                    <a:pt x="113" y="41"/>
                  </a:lnTo>
                  <a:lnTo>
                    <a:pt x="117" y="34"/>
                  </a:lnTo>
                  <a:lnTo>
                    <a:pt x="119" y="30"/>
                  </a:lnTo>
                  <a:lnTo>
                    <a:pt x="123" y="24"/>
                  </a:lnTo>
                  <a:lnTo>
                    <a:pt x="126" y="24"/>
                  </a:lnTo>
                  <a:lnTo>
                    <a:pt x="128" y="22"/>
                  </a:lnTo>
                  <a:lnTo>
                    <a:pt x="134" y="15"/>
                  </a:lnTo>
                  <a:lnTo>
                    <a:pt x="143" y="11"/>
                  </a:lnTo>
                  <a:lnTo>
                    <a:pt x="143" y="9"/>
                  </a:lnTo>
                  <a:lnTo>
                    <a:pt x="145" y="9"/>
                  </a:lnTo>
                  <a:lnTo>
                    <a:pt x="145" y="9"/>
                  </a:lnTo>
                  <a:lnTo>
                    <a:pt x="149" y="7"/>
                  </a:lnTo>
                  <a:lnTo>
                    <a:pt x="149" y="5"/>
                  </a:lnTo>
                  <a:lnTo>
                    <a:pt x="147" y="4"/>
                  </a:lnTo>
                  <a:lnTo>
                    <a:pt x="139" y="0"/>
                  </a:lnTo>
                  <a:lnTo>
                    <a:pt x="138" y="0"/>
                  </a:lnTo>
                  <a:lnTo>
                    <a:pt x="138" y="0"/>
                  </a:lnTo>
                  <a:lnTo>
                    <a:pt x="138" y="4"/>
                  </a:lnTo>
                  <a:lnTo>
                    <a:pt x="134" y="4"/>
                  </a:lnTo>
                  <a:lnTo>
                    <a:pt x="130" y="4"/>
                  </a:lnTo>
                  <a:lnTo>
                    <a:pt x="130" y="4"/>
                  </a:lnTo>
                  <a:lnTo>
                    <a:pt x="126" y="4"/>
                  </a:lnTo>
                  <a:lnTo>
                    <a:pt x="124" y="5"/>
                  </a:lnTo>
                  <a:lnTo>
                    <a:pt x="126" y="7"/>
                  </a:lnTo>
                  <a:lnTo>
                    <a:pt x="126" y="9"/>
                  </a:lnTo>
                  <a:lnTo>
                    <a:pt x="121" y="13"/>
                  </a:lnTo>
                  <a:lnTo>
                    <a:pt x="113" y="17"/>
                  </a:lnTo>
                  <a:lnTo>
                    <a:pt x="109" y="19"/>
                  </a:lnTo>
                  <a:lnTo>
                    <a:pt x="106" y="20"/>
                  </a:lnTo>
                  <a:lnTo>
                    <a:pt x="100" y="20"/>
                  </a:lnTo>
                  <a:lnTo>
                    <a:pt x="94" y="20"/>
                  </a:lnTo>
                  <a:lnTo>
                    <a:pt x="89" y="22"/>
                  </a:lnTo>
                  <a:lnTo>
                    <a:pt x="91" y="24"/>
                  </a:lnTo>
                  <a:lnTo>
                    <a:pt x="91" y="28"/>
                  </a:lnTo>
                  <a:lnTo>
                    <a:pt x="91" y="30"/>
                  </a:lnTo>
                  <a:lnTo>
                    <a:pt x="87" y="34"/>
                  </a:lnTo>
                  <a:lnTo>
                    <a:pt x="85" y="34"/>
                  </a:lnTo>
                  <a:lnTo>
                    <a:pt x="87" y="28"/>
                  </a:lnTo>
                  <a:lnTo>
                    <a:pt x="87" y="28"/>
                  </a:lnTo>
                  <a:lnTo>
                    <a:pt x="89" y="28"/>
                  </a:lnTo>
                  <a:lnTo>
                    <a:pt x="85" y="28"/>
                  </a:lnTo>
                  <a:lnTo>
                    <a:pt x="81" y="24"/>
                  </a:lnTo>
                  <a:lnTo>
                    <a:pt x="79" y="24"/>
                  </a:lnTo>
                  <a:lnTo>
                    <a:pt x="72" y="28"/>
                  </a:lnTo>
                  <a:lnTo>
                    <a:pt x="72" y="30"/>
                  </a:lnTo>
                  <a:lnTo>
                    <a:pt x="66" y="36"/>
                  </a:lnTo>
                  <a:lnTo>
                    <a:pt x="60" y="45"/>
                  </a:lnTo>
                  <a:lnTo>
                    <a:pt x="60" y="49"/>
                  </a:lnTo>
                  <a:lnTo>
                    <a:pt x="62" y="47"/>
                  </a:lnTo>
                  <a:lnTo>
                    <a:pt x="64" y="49"/>
                  </a:lnTo>
                  <a:lnTo>
                    <a:pt x="64" y="53"/>
                  </a:lnTo>
                  <a:lnTo>
                    <a:pt x="62" y="54"/>
                  </a:lnTo>
                  <a:lnTo>
                    <a:pt x="60" y="58"/>
                  </a:lnTo>
                  <a:lnTo>
                    <a:pt x="57" y="58"/>
                  </a:lnTo>
                  <a:lnTo>
                    <a:pt x="55" y="58"/>
                  </a:lnTo>
                  <a:lnTo>
                    <a:pt x="51" y="64"/>
                  </a:lnTo>
                  <a:lnTo>
                    <a:pt x="49" y="64"/>
                  </a:lnTo>
                  <a:lnTo>
                    <a:pt x="45" y="69"/>
                  </a:lnTo>
                  <a:lnTo>
                    <a:pt x="42" y="69"/>
                  </a:lnTo>
                  <a:lnTo>
                    <a:pt x="40" y="69"/>
                  </a:lnTo>
                  <a:lnTo>
                    <a:pt x="40" y="73"/>
                  </a:lnTo>
                  <a:lnTo>
                    <a:pt x="43" y="77"/>
                  </a:lnTo>
                  <a:lnTo>
                    <a:pt x="43" y="83"/>
                  </a:lnTo>
                  <a:lnTo>
                    <a:pt x="42" y="86"/>
                  </a:lnTo>
                  <a:lnTo>
                    <a:pt x="40" y="86"/>
                  </a:lnTo>
                  <a:lnTo>
                    <a:pt x="36" y="83"/>
                  </a:lnTo>
                  <a:lnTo>
                    <a:pt x="36" y="81"/>
                  </a:lnTo>
                  <a:lnTo>
                    <a:pt x="38" y="79"/>
                  </a:lnTo>
                  <a:lnTo>
                    <a:pt x="34" y="79"/>
                  </a:lnTo>
                  <a:lnTo>
                    <a:pt x="34" y="75"/>
                  </a:lnTo>
                  <a:lnTo>
                    <a:pt x="30" y="71"/>
                  </a:lnTo>
                  <a:lnTo>
                    <a:pt x="30" y="73"/>
                  </a:lnTo>
                  <a:lnTo>
                    <a:pt x="30" y="77"/>
                  </a:lnTo>
                  <a:lnTo>
                    <a:pt x="30" y="81"/>
                  </a:lnTo>
                  <a:lnTo>
                    <a:pt x="30" y="86"/>
                  </a:lnTo>
                  <a:lnTo>
                    <a:pt x="27" y="92"/>
                  </a:lnTo>
                  <a:lnTo>
                    <a:pt x="27" y="92"/>
                  </a:lnTo>
                  <a:lnTo>
                    <a:pt x="25" y="92"/>
                  </a:lnTo>
                  <a:lnTo>
                    <a:pt x="21" y="98"/>
                  </a:lnTo>
                  <a:lnTo>
                    <a:pt x="23" y="98"/>
                  </a:lnTo>
                  <a:lnTo>
                    <a:pt x="23" y="103"/>
                  </a:lnTo>
                  <a:lnTo>
                    <a:pt x="23" y="107"/>
                  </a:lnTo>
                  <a:lnTo>
                    <a:pt x="27" y="113"/>
                  </a:lnTo>
                  <a:lnTo>
                    <a:pt x="27" y="111"/>
                  </a:lnTo>
                  <a:lnTo>
                    <a:pt x="30" y="111"/>
                  </a:lnTo>
                  <a:lnTo>
                    <a:pt x="30" y="113"/>
                  </a:lnTo>
                  <a:lnTo>
                    <a:pt x="30" y="117"/>
                  </a:lnTo>
                  <a:lnTo>
                    <a:pt x="30" y="118"/>
                  </a:lnTo>
                  <a:lnTo>
                    <a:pt x="30" y="122"/>
                  </a:lnTo>
                  <a:lnTo>
                    <a:pt x="30" y="122"/>
                  </a:lnTo>
                  <a:lnTo>
                    <a:pt x="30" y="128"/>
                  </a:lnTo>
                  <a:lnTo>
                    <a:pt x="30" y="130"/>
                  </a:lnTo>
                  <a:lnTo>
                    <a:pt x="27" y="132"/>
                  </a:lnTo>
                  <a:lnTo>
                    <a:pt x="30" y="134"/>
                  </a:lnTo>
                  <a:lnTo>
                    <a:pt x="30" y="137"/>
                  </a:lnTo>
                  <a:lnTo>
                    <a:pt x="30" y="143"/>
                  </a:lnTo>
                  <a:lnTo>
                    <a:pt x="30" y="152"/>
                  </a:lnTo>
                  <a:lnTo>
                    <a:pt x="27" y="154"/>
                  </a:lnTo>
                  <a:lnTo>
                    <a:pt x="27" y="156"/>
                  </a:lnTo>
                  <a:lnTo>
                    <a:pt x="30" y="162"/>
                  </a:lnTo>
                  <a:lnTo>
                    <a:pt x="32" y="158"/>
                  </a:lnTo>
                  <a:lnTo>
                    <a:pt x="30" y="162"/>
                  </a:lnTo>
                  <a:lnTo>
                    <a:pt x="34" y="164"/>
                  </a:lnTo>
                  <a:lnTo>
                    <a:pt x="36" y="164"/>
                  </a:lnTo>
                  <a:lnTo>
                    <a:pt x="36" y="166"/>
                  </a:lnTo>
                  <a:lnTo>
                    <a:pt x="34" y="167"/>
                  </a:lnTo>
                  <a:lnTo>
                    <a:pt x="32" y="171"/>
                  </a:lnTo>
                  <a:lnTo>
                    <a:pt x="27" y="179"/>
                  </a:lnTo>
                  <a:lnTo>
                    <a:pt x="25" y="182"/>
                  </a:lnTo>
                  <a:lnTo>
                    <a:pt x="19" y="186"/>
                  </a:lnTo>
                  <a:lnTo>
                    <a:pt x="11" y="188"/>
                  </a:lnTo>
                  <a:lnTo>
                    <a:pt x="6" y="192"/>
                  </a:lnTo>
                  <a:lnTo>
                    <a:pt x="2" y="201"/>
                  </a:lnTo>
                  <a:lnTo>
                    <a:pt x="2" y="207"/>
                  </a:lnTo>
                  <a:lnTo>
                    <a:pt x="0" y="211"/>
                  </a:lnTo>
                  <a:lnTo>
                    <a:pt x="6" y="213"/>
                  </a:lnTo>
                  <a:lnTo>
                    <a:pt x="11" y="216"/>
                  </a:lnTo>
                  <a:lnTo>
                    <a:pt x="19" y="222"/>
                  </a:lnTo>
                  <a:lnTo>
                    <a:pt x="23" y="222"/>
                  </a:lnTo>
                  <a:lnTo>
                    <a:pt x="27" y="226"/>
                  </a:lnTo>
                  <a:lnTo>
                    <a:pt x="27" y="230"/>
                  </a:lnTo>
                  <a:lnTo>
                    <a:pt x="27" y="231"/>
                  </a:lnTo>
                  <a:lnTo>
                    <a:pt x="32" y="233"/>
                  </a:lnTo>
                  <a:lnTo>
                    <a:pt x="38" y="235"/>
                  </a:lnTo>
                  <a:lnTo>
                    <a:pt x="42" y="237"/>
                  </a:lnTo>
                  <a:lnTo>
                    <a:pt x="47" y="237"/>
                  </a:lnTo>
                  <a:lnTo>
                    <a:pt x="49" y="237"/>
                  </a:lnTo>
                  <a:lnTo>
                    <a:pt x="49" y="233"/>
                  </a:lnTo>
                  <a:lnTo>
                    <a:pt x="51" y="230"/>
                  </a:lnTo>
                  <a:lnTo>
                    <a:pt x="55" y="231"/>
                  </a:lnTo>
                  <a:lnTo>
                    <a:pt x="60" y="233"/>
                  </a:lnTo>
                  <a:lnTo>
                    <a:pt x="60" y="235"/>
                  </a:lnTo>
                  <a:lnTo>
                    <a:pt x="62" y="237"/>
                  </a:lnTo>
                  <a:lnTo>
                    <a:pt x="64" y="237"/>
                  </a:lnTo>
                  <a:lnTo>
                    <a:pt x="64" y="237"/>
                  </a:lnTo>
                  <a:lnTo>
                    <a:pt x="66" y="237"/>
                  </a:lnTo>
                  <a:lnTo>
                    <a:pt x="68" y="241"/>
                  </a:lnTo>
                  <a:lnTo>
                    <a:pt x="75" y="243"/>
                  </a:lnTo>
                  <a:lnTo>
                    <a:pt x="79" y="243"/>
                  </a:lnTo>
                  <a:lnTo>
                    <a:pt x="81" y="247"/>
                  </a:lnTo>
                  <a:lnTo>
                    <a:pt x="85" y="248"/>
                  </a:lnTo>
                  <a:lnTo>
                    <a:pt x="85" y="252"/>
                  </a:lnTo>
                  <a:lnTo>
                    <a:pt x="89" y="260"/>
                  </a:lnTo>
                  <a:lnTo>
                    <a:pt x="91" y="260"/>
                  </a:lnTo>
                  <a:lnTo>
                    <a:pt x="100" y="262"/>
                  </a:lnTo>
                  <a:lnTo>
                    <a:pt x="104" y="267"/>
                  </a:lnTo>
                  <a:lnTo>
                    <a:pt x="104" y="271"/>
                  </a:lnTo>
                  <a:lnTo>
                    <a:pt x="106" y="271"/>
                  </a:lnTo>
                  <a:lnTo>
                    <a:pt x="106" y="275"/>
                  </a:lnTo>
                  <a:lnTo>
                    <a:pt x="109" y="280"/>
                  </a:lnTo>
                  <a:lnTo>
                    <a:pt x="109" y="280"/>
                  </a:lnTo>
                  <a:lnTo>
                    <a:pt x="109" y="282"/>
                  </a:lnTo>
                  <a:lnTo>
                    <a:pt x="113" y="284"/>
                  </a:lnTo>
                  <a:lnTo>
                    <a:pt x="115" y="282"/>
                  </a:lnTo>
                  <a:lnTo>
                    <a:pt x="119" y="284"/>
                  </a:lnTo>
                  <a:lnTo>
                    <a:pt x="124" y="284"/>
                  </a:lnTo>
                  <a:lnTo>
                    <a:pt x="126" y="282"/>
                  </a:lnTo>
                  <a:lnTo>
                    <a:pt x="130" y="280"/>
                  </a:lnTo>
                  <a:lnTo>
                    <a:pt x="138" y="280"/>
                  </a:lnTo>
                  <a:lnTo>
                    <a:pt x="139" y="282"/>
                  </a:lnTo>
                  <a:lnTo>
                    <a:pt x="147" y="280"/>
                  </a:lnTo>
                  <a:lnTo>
                    <a:pt x="151" y="280"/>
                  </a:lnTo>
                  <a:lnTo>
                    <a:pt x="153" y="282"/>
                  </a:lnTo>
                  <a:lnTo>
                    <a:pt x="155" y="282"/>
                  </a:lnTo>
                  <a:lnTo>
                    <a:pt x="158" y="284"/>
                  </a:lnTo>
                  <a:lnTo>
                    <a:pt x="160" y="286"/>
                  </a:lnTo>
                  <a:lnTo>
                    <a:pt x="164" y="286"/>
                  </a:lnTo>
                  <a:lnTo>
                    <a:pt x="164" y="288"/>
                  </a:lnTo>
                  <a:lnTo>
                    <a:pt x="153" y="311"/>
                  </a:lnTo>
                  <a:lnTo>
                    <a:pt x="153" y="311"/>
                  </a:lnTo>
                  <a:lnTo>
                    <a:pt x="158" y="311"/>
                  </a:lnTo>
                  <a:lnTo>
                    <a:pt x="162" y="311"/>
                  </a:lnTo>
                  <a:lnTo>
                    <a:pt x="164" y="312"/>
                  </a:lnTo>
                  <a:lnTo>
                    <a:pt x="164" y="316"/>
                  </a:lnTo>
                  <a:lnTo>
                    <a:pt x="164" y="316"/>
                  </a:lnTo>
                  <a:lnTo>
                    <a:pt x="164" y="316"/>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2" name="Freeform 45">
              <a:extLst>
                <a:ext uri="{FF2B5EF4-FFF2-40B4-BE49-F238E27FC236}">
                  <a16:creationId xmlns:a16="http://schemas.microsoft.com/office/drawing/2014/main" id="{CD010820-50D7-4F66-960F-AD5B0F3F27C2}"/>
                </a:ext>
              </a:extLst>
            </p:cNvPr>
            <p:cNvSpPr>
              <a:spLocks noEditPoints="1"/>
            </p:cNvSpPr>
            <p:nvPr/>
          </p:nvSpPr>
          <p:spPr bwMode="auto">
            <a:xfrm>
              <a:off x="1525" y="3527"/>
              <a:ext cx="300" cy="767"/>
            </a:xfrm>
            <a:custGeom>
              <a:avLst/>
              <a:gdLst/>
              <a:ahLst/>
              <a:cxnLst>
                <a:cxn ang="0">
                  <a:pos x="83" y="4"/>
                </a:cxn>
                <a:cxn ang="0">
                  <a:pos x="100" y="4"/>
                </a:cxn>
                <a:cxn ang="0">
                  <a:pos x="157" y="28"/>
                </a:cxn>
                <a:cxn ang="0">
                  <a:pos x="217" y="62"/>
                </a:cxn>
                <a:cxn ang="0">
                  <a:pos x="209" y="104"/>
                </a:cxn>
                <a:cxn ang="0">
                  <a:pos x="256" y="109"/>
                </a:cxn>
                <a:cxn ang="0">
                  <a:pos x="283" y="75"/>
                </a:cxn>
                <a:cxn ang="0">
                  <a:pos x="300" y="98"/>
                </a:cxn>
                <a:cxn ang="0">
                  <a:pos x="273" y="115"/>
                </a:cxn>
                <a:cxn ang="0">
                  <a:pos x="249" y="141"/>
                </a:cxn>
                <a:cxn ang="0">
                  <a:pos x="230" y="171"/>
                </a:cxn>
                <a:cxn ang="0">
                  <a:pos x="226" y="211"/>
                </a:cxn>
                <a:cxn ang="0">
                  <a:pos x="224" y="247"/>
                </a:cxn>
                <a:cxn ang="0">
                  <a:pos x="256" y="279"/>
                </a:cxn>
                <a:cxn ang="0">
                  <a:pos x="266" y="303"/>
                </a:cxn>
                <a:cxn ang="0">
                  <a:pos x="256" y="337"/>
                </a:cxn>
                <a:cxn ang="0">
                  <a:pos x="196" y="356"/>
                </a:cxn>
                <a:cxn ang="0">
                  <a:pos x="173" y="358"/>
                </a:cxn>
                <a:cxn ang="0">
                  <a:pos x="173" y="379"/>
                </a:cxn>
                <a:cxn ang="0">
                  <a:pos x="173" y="403"/>
                </a:cxn>
                <a:cxn ang="0">
                  <a:pos x="130" y="401"/>
                </a:cxn>
                <a:cxn ang="0">
                  <a:pos x="136" y="435"/>
                </a:cxn>
                <a:cxn ang="0">
                  <a:pos x="143" y="435"/>
                </a:cxn>
                <a:cxn ang="0">
                  <a:pos x="160" y="446"/>
                </a:cxn>
                <a:cxn ang="0">
                  <a:pos x="136" y="448"/>
                </a:cxn>
                <a:cxn ang="0">
                  <a:pos x="136" y="465"/>
                </a:cxn>
                <a:cxn ang="0">
                  <a:pos x="136" y="492"/>
                </a:cxn>
                <a:cxn ang="0">
                  <a:pos x="125" y="507"/>
                </a:cxn>
                <a:cxn ang="0">
                  <a:pos x="100" y="529"/>
                </a:cxn>
                <a:cxn ang="0">
                  <a:pos x="134" y="557"/>
                </a:cxn>
                <a:cxn ang="0">
                  <a:pos x="140" y="574"/>
                </a:cxn>
                <a:cxn ang="0">
                  <a:pos x="130" y="593"/>
                </a:cxn>
                <a:cxn ang="0">
                  <a:pos x="119" y="616"/>
                </a:cxn>
                <a:cxn ang="0">
                  <a:pos x="104" y="633"/>
                </a:cxn>
                <a:cxn ang="0">
                  <a:pos x="104" y="671"/>
                </a:cxn>
                <a:cxn ang="0">
                  <a:pos x="123" y="691"/>
                </a:cxn>
                <a:cxn ang="0">
                  <a:pos x="64" y="684"/>
                </a:cxn>
                <a:cxn ang="0">
                  <a:pos x="32" y="657"/>
                </a:cxn>
                <a:cxn ang="0">
                  <a:pos x="30" y="580"/>
                </a:cxn>
                <a:cxn ang="0">
                  <a:pos x="30" y="524"/>
                </a:cxn>
                <a:cxn ang="0">
                  <a:pos x="27" y="501"/>
                </a:cxn>
                <a:cxn ang="0">
                  <a:pos x="17" y="465"/>
                </a:cxn>
                <a:cxn ang="0">
                  <a:pos x="6" y="411"/>
                </a:cxn>
                <a:cxn ang="0">
                  <a:pos x="10" y="330"/>
                </a:cxn>
                <a:cxn ang="0">
                  <a:pos x="13" y="271"/>
                </a:cxn>
                <a:cxn ang="0">
                  <a:pos x="6" y="209"/>
                </a:cxn>
                <a:cxn ang="0">
                  <a:pos x="6" y="147"/>
                </a:cxn>
                <a:cxn ang="0">
                  <a:pos x="29" y="96"/>
                </a:cxn>
                <a:cxn ang="0">
                  <a:pos x="25" y="62"/>
                </a:cxn>
                <a:cxn ang="0">
                  <a:pos x="200" y="757"/>
                </a:cxn>
                <a:cxn ang="0">
                  <a:pos x="200" y="757"/>
                </a:cxn>
                <a:cxn ang="0">
                  <a:pos x="123" y="716"/>
                </a:cxn>
                <a:cxn ang="0">
                  <a:pos x="132" y="723"/>
                </a:cxn>
                <a:cxn ang="0">
                  <a:pos x="173" y="752"/>
                </a:cxn>
                <a:cxn ang="0">
                  <a:pos x="173" y="765"/>
                </a:cxn>
                <a:cxn ang="0">
                  <a:pos x="132" y="755"/>
                </a:cxn>
                <a:cxn ang="0">
                  <a:pos x="123" y="719"/>
                </a:cxn>
              </a:cxnLst>
              <a:rect l="0" t="0" r="r" b="b"/>
              <a:pathLst>
                <a:path w="300" h="767">
                  <a:moveTo>
                    <a:pt x="47" y="17"/>
                  </a:moveTo>
                  <a:lnTo>
                    <a:pt x="49" y="15"/>
                  </a:lnTo>
                  <a:lnTo>
                    <a:pt x="53" y="7"/>
                  </a:lnTo>
                  <a:lnTo>
                    <a:pt x="59" y="2"/>
                  </a:lnTo>
                  <a:lnTo>
                    <a:pt x="64" y="0"/>
                  </a:lnTo>
                  <a:lnTo>
                    <a:pt x="70" y="4"/>
                  </a:lnTo>
                  <a:lnTo>
                    <a:pt x="74" y="4"/>
                  </a:lnTo>
                  <a:lnTo>
                    <a:pt x="79" y="2"/>
                  </a:lnTo>
                  <a:lnTo>
                    <a:pt x="83" y="4"/>
                  </a:lnTo>
                  <a:lnTo>
                    <a:pt x="89" y="2"/>
                  </a:lnTo>
                  <a:lnTo>
                    <a:pt x="93" y="2"/>
                  </a:lnTo>
                  <a:lnTo>
                    <a:pt x="93" y="7"/>
                  </a:lnTo>
                  <a:lnTo>
                    <a:pt x="96" y="15"/>
                  </a:lnTo>
                  <a:lnTo>
                    <a:pt x="96" y="17"/>
                  </a:lnTo>
                  <a:lnTo>
                    <a:pt x="98" y="15"/>
                  </a:lnTo>
                  <a:lnTo>
                    <a:pt x="98" y="11"/>
                  </a:lnTo>
                  <a:lnTo>
                    <a:pt x="100" y="7"/>
                  </a:lnTo>
                  <a:lnTo>
                    <a:pt x="100" y="4"/>
                  </a:lnTo>
                  <a:lnTo>
                    <a:pt x="104" y="0"/>
                  </a:lnTo>
                  <a:lnTo>
                    <a:pt x="113" y="0"/>
                  </a:lnTo>
                  <a:lnTo>
                    <a:pt x="123" y="0"/>
                  </a:lnTo>
                  <a:lnTo>
                    <a:pt x="128" y="4"/>
                  </a:lnTo>
                  <a:lnTo>
                    <a:pt x="132" y="7"/>
                  </a:lnTo>
                  <a:lnTo>
                    <a:pt x="136" y="9"/>
                  </a:lnTo>
                  <a:lnTo>
                    <a:pt x="140" y="17"/>
                  </a:lnTo>
                  <a:lnTo>
                    <a:pt x="153" y="28"/>
                  </a:lnTo>
                  <a:lnTo>
                    <a:pt x="157" y="28"/>
                  </a:lnTo>
                  <a:lnTo>
                    <a:pt x="160" y="32"/>
                  </a:lnTo>
                  <a:lnTo>
                    <a:pt x="164" y="38"/>
                  </a:lnTo>
                  <a:lnTo>
                    <a:pt x="173" y="41"/>
                  </a:lnTo>
                  <a:lnTo>
                    <a:pt x="183" y="45"/>
                  </a:lnTo>
                  <a:lnTo>
                    <a:pt x="187" y="45"/>
                  </a:lnTo>
                  <a:lnTo>
                    <a:pt x="194" y="53"/>
                  </a:lnTo>
                  <a:lnTo>
                    <a:pt x="202" y="56"/>
                  </a:lnTo>
                  <a:lnTo>
                    <a:pt x="213" y="58"/>
                  </a:lnTo>
                  <a:lnTo>
                    <a:pt x="217" y="62"/>
                  </a:lnTo>
                  <a:lnTo>
                    <a:pt x="222" y="68"/>
                  </a:lnTo>
                  <a:lnTo>
                    <a:pt x="224" y="72"/>
                  </a:lnTo>
                  <a:lnTo>
                    <a:pt x="224" y="75"/>
                  </a:lnTo>
                  <a:lnTo>
                    <a:pt x="222" y="81"/>
                  </a:lnTo>
                  <a:lnTo>
                    <a:pt x="217" y="83"/>
                  </a:lnTo>
                  <a:lnTo>
                    <a:pt x="217" y="87"/>
                  </a:lnTo>
                  <a:lnTo>
                    <a:pt x="217" y="90"/>
                  </a:lnTo>
                  <a:lnTo>
                    <a:pt x="213" y="96"/>
                  </a:lnTo>
                  <a:lnTo>
                    <a:pt x="209" y="104"/>
                  </a:lnTo>
                  <a:lnTo>
                    <a:pt x="209" y="107"/>
                  </a:lnTo>
                  <a:lnTo>
                    <a:pt x="211" y="107"/>
                  </a:lnTo>
                  <a:lnTo>
                    <a:pt x="224" y="105"/>
                  </a:lnTo>
                  <a:lnTo>
                    <a:pt x="236" y="109"/>
                  </a:lnTo>
                  <a:lnTo>
                    <a:pt x="243" y="113"/>
                  </a:lnTo>
                  <a:lnTo>
                    <a:pt x="247" y="111"/>
                  </a:lnTo>
                  <a:lnTo>
                    <a:pt x="249" y="111"/>
                  </a:lnTo>
                  <a:lnTo>
                    <a:pt x="253" y="113"/>
                  </a:lnTo>
                  <a:lnTo>
                    <a:pt x="256" y="109"/>
                  </a:lnTo>
                  <a:lnTo>
                    <a:pt x="256" y="107"/>
                  </a:lnTo>
                  <a:lnTo>
                    <a:pt x="262" y="109"/>
                  </a:lnTo>
                  <a:lnTo>
                    <a:pt x="264" y="104"/>
                  </a:lnTo>
                  <a:lnTo>
                    <a:pt x="266" y="100"/>
                  </a:lnTo>
                  <a:lnTo>
                    <a:pt x="275" y="92"/>
                  </a:lnTo>
                  <a:lnTo>
                    <a:pt x="277" y="90"/>
                  </a:lnTo>
                  <a:lnTo>
                    <a:pt x="279" y="87"/>
                  </a:lnTo>
                  <a:lnTo>
                    <a:pt x="283" y="83"/>
                  </a:lnTo>
                  <a:lnTo>
                    <a:pt x="283" y="75"/>
                  </a:lnTo>
                  <a:lnTo>
                    <a:pt x="283" y="73"/>
                  </a:lnTo>
                  <a:lnTo>
                    <a:pt x="283" y="68"/>
                  </a:lnTo>
                  <a:lnTo>
                    <a:pt x="286" y="66"/>
                  </a:lnTo>
                  <a:lnTo>
                    <a:pt x="294" y="66"/>
                  </a:lnTo>
                  <a:lnTo>
                    <a:pt x="294" y="70"/>
                  </a:lnTo>
                  <a:lnTo>
                    <a:pt x="298" y="79"/>
                  </a:lnTo>
                  <a:lnTo>
                    <a:pt x="298" y="85"/>
                  </a:lnTo>
                  <a:lnTo>
                    <a:pt x="300" y="92"/>
                  </a:lnTo>
                  <a:lnTo>
                    <a:pt x="300" y="98"/>
                  </a:lnTo>
                  <a:lnTo>
                    <a:pt x="298" y="102"/>
                  </a:lnTo>
                  <a:lnTo>
                    <a:pt x="294" y="102"/>
                  </a:lnTo>
                  <a:lnTo>
                    <a:pt x="292" y="104"/>
                  </a:lnTo>
                  <a:lnTo>
                    <a:pt x="288" y="105"/>
                  </a:lnTo>
                  <a:lnTo>
                    <a:pt x="286" y="107"/>
                  </a:lnTo>
                  <a:lnTo>
                    <a:pt x="286" y="107"/>
                  </a:lnTo>
                  <a:lnTo>
                    <a:pt x="279" y="113"/>
                  </a:lnTo>
                  <a:lnTo>
                    <a:pt x="277" y="115"/>
                  </a:lnTo>
                  <a:lnTo>
                    <a:pt x="273" y="115"/>
                  </a:lnTo>
                  <a:lnTo>
                    <a:pt x="268" y="120"/>
                  </a:lnTo>
                  <a:lnTo>
                    <a:pt x="264" y="120"/>
                  </a:lnTo>
                  <a:lnTo>
                    <a:pt x="264" y="126"/>
                  </a:lnTo>
                  <a:lnTo>
                    <a:pt x="262" y="126"/>
                  </a:lnTo>
                  <a:lnTo>
                    <a:pt x="258" y="126"/>
                  </a:lnTo>
                  <a:lnTo>
                    <a:pt x="253" y="134"/>
                  </a:lnTo>
                  <a:lnTo>
                    <a:pt x="253" y="136"/>
                  </a:lnTo>
                  <a:lnTo>
                    <a:pt x="253" y="141"/>
                  </a:lnTo>
                  <a:lnTo>
                    <a:pt x="249" y="141"/>
                  </a:lnTo>
                  <a:lnTo>
                    <a:pt x="247" y="145"/>
                  </a:lnTo>
                  <a:lnTo>
                    <a:pt x="243" y="151"/>
                  </a:lnTo>
                  <a:lnTo>
                    <a:pt x="243" y="154"/>
                  </a:lnTo>
                  <a:lnTo>
                    <a:pt x="239" y="158"/>
                  </a:lnTo>
                  <a:lnTo>
                    <a:pt x="239" y="160"/>
                  </a:lnTo>
                  <a:lnTo>
                    <a:pt x="236" y="162"/>
                  </a:lnTo>
                  <a:lnTo>
                    <a:pt x="234" y="166"/>
                  </a:lnTo>
                  <a:lnTo>
                    <a:pt x="232" y="169"/>
                  </a:lnTo>
                  <a:lnTo>
                    <a:pt x="230" y="171"/>
                  </a:lnTo>
                  <a:lnTo>
                    <a:pt x="230" y="179"/>
                  </a:lnTo>
                  <a:lnTo>
                    <a:pt x="228" y="181"/>
                  </a:lnTo>
                  <a:lnTo>
                    <a:pt x="230" y="185"/>
                  </a:lnTo>
                  <a:lnTo>
                    <a:pt x="230" y="194"/>
                  </a:lnTo>
                  <a:lnTo>
                    <a:pt x="228" y="196"/>
                  </a:lnTo>
                  <a:lnTo>
                    <a:pt x="228" y="200"/>
                  </a:lnTo>
                  <a:lnTo>
                    <a:pt x="226" y="203"/>
                  </a:lnTo>
                  <a:lnTo>
                    <a:pt x="228" y="209"/>
                  </a:lnTo>
                  <a:lnTo>
                    <a:pt x="226" y="211"/>
                  </a:lnTo>
                  <a:lnTo>
                    <a:pt x="228" y="220"/>
                  </a:lnTo>
                  <a:lnTo>
                    <a:pt x="230" y="226"/>
                  </a:lnTo>
                  <a:lnTo>
                    <a:pt x="228" y="228"/>
                  </a:lnTo>
                  <a:lnTo>
                    <a:pt x="224" y="230"/>
                  </a:lnTo>
                  <a:lnTo>
                    <a:pt x="224" y="234"/>
                  </a:lnTo>
                  <a:lnTo>
                    <a:pt x="224" y="234"/>
                  </a:lnTo>
                  <a:lnTo>
                    <a:pt x="224" y="234"/>
                  </a:lnTo>
                  <a:lnTo>
                    <a:pt x="222" y="239"/>
                  </a:lnTo>
                  <a:lnTo>
                    <a:pt x="224" y="247"/>
                  </a:lnTo>
                  <a:lnTo>
                    <a:pt x="224" y="249"/>
                  </a:lnTo>
                  <a:lnTo>
                    <a:pt x="226" y="250"/>
                  </a:lnTo>
                  <a:lnTo>
                    <a:pt x="226" y="254"/>
                  </a:lnTo>
                  <a:lnTo>
                    <a:pt x="224" y="254"/>
                  </a:lnTo>
                  <a:lnTo>
                    <a:pt x="228" y="260"/>
                  </a:lnTo>
                  <a:lnTo>
                    <a:pt x="236" y="264"/>
                  </a:lnTo>
                  <a:lnTo>
                    <a:pt x="243" y="267"/>
                  </a:lnTo>
                  <a:lnTo>
                    <a:pt x="253" y="275"/>
                  </a:lnTo>
                  <a:lnTo>
                    <a:pt x="256" y="279"/>
                  </a:lnTo>
                  <a:lnTo>
                    <a:pt x="256" y="282"/>
                  </a:lnTo>
                  <a:lnTo>
                    <a:pt x="249" y="290"/>
                  </a:lnTo>
                  <a:lnTo>
                    <a:pt x="249" y="292"/>
                  </a:lnTo>
                  <a:lnTo>
                    <a:pt x="253" y="298"/>
                  </a:lnTo>
                  <a:lnTo>
                    <a:pt x="256" y="301"/>
                  </a:lnTo>
                  <a:lnTo>
                    <a:pt x="262" y="301"/>
                  </a:lnTo>
                  <a:lnTo>
                    <a:pt x="264" y="299"/>
                  </a:lnTo>
                  <a:lnTo>
                    <a:pt x="266" y="299"/>
                  </a:lnTo>
                  <a:lnTo>
                    <a:pt x="266" y="303"/>
                  </a:lnTo>
                  <a:lnTo>
                    <a:pt x="266" y="309"/>
                  </a:lnTo>
                  <a:lnTo>
                    <a:pt x="266" y="315"/>
                  </a:lnTo>
                  <a:lnTo>
                    <a:pt x="260" y="318"/>
                  </a:lnTo>
                  <a:lnTo>
                    <a:pt x="260" y="326"/>
                  </a:lnTo>
                  <a:lnTo>
                    <a:pt x="258" y="328"/>
                  </a:lnTo>
                  <a:lnTo>
                    <a:pt x="258" y="326"/>
                  </a:lnTo>
                  <a:lnTo>
                    <a:pt x="256" y="326"/>
                  </a:lnTo>
                  <a:lnTo>
                    <a:pt x="256" y="333"/>
                  </a:lnTo>
                  <a:lnTo>
                    <a:pt x="256" y="337"/>
                  </a:lnTo>
                  <a:lnTo>
                    <a:pt x="256" y="341"/>
                  </a:lnTo>
                  <a:lnTo>
                    <a:pt x="243" y="347"/>
                  </a:lnTo>
                  <a:lnTo>
                    <a:pt x="236" y="348"/>
                  </a:lnTo>
                  <a:lnTo>
                    <a:pt x="236" y="347"/>
                  </a:lnTo>
                  <a:lnTo>
                    <a:pt x="234" y="348"/>
                  </a:lnTo>
                  <a:lnTo>
                    <a:pt x="222" y="354"/>
                  </a:lnTo>
                  <a:lnTo>
                    <a:pt x="211" y="358"/>
                  </a:lnTo>
                  <a:lnTo>
                    <a:pt x="202" y="358"/>
                  </a:lnTo>
                  <a:lnTo>
                    <a:pt x="196" y="356"/>
                  </a:lnTo>
                  <a:lnTo>
                    <a:pt x="192" y="358"/>
                  </a:lnTo>
                  <a:lnTo>
                    <a:pt x="187" y="358"/>
                  </a:lnTo>
                  <a:lnTo>
                    <a:pt x="183" y="356"/>
                  </a:lnTo>
                  <a:lnTo>
                    <a:pt x="177" y="354"/>
                  </a:lnTo>
                  <a:lnTo>
                    <a:pt x="173" y="354"/>
                  </a:lnTo>
                  <a:lnTo>
                    <a:pt x="173" y="352"/>
                  </a:lnTo>
                  <a:lnTo>
                    <a:pt x="172" y="352"/>
                  </a:lnTo>
                  <a:lnTo>
                    <a:pt x="172" y="356"/>
                  </a:lnTo>
                  <a:lnTo>
                    <a:pt x="173" y="358"/>
                  </a:lnTo>
                  <a:lnTo>
                    <a:pt x="173" y="365"/>
                  </a:lnTo>
                  <a:lnTo>
                    <a:pt x="173" y="367"/>
                  </a:lnTo>
                  <a:lnTo>
                    <a:pt x="173" y="367"/>
                  </a:lnTo>
                  <a:lnTo>
                    <a:pt x="177" y="367"/>
                  </a:lnTo>
                  <a:lnTo>
                    <a:pt x="179" y="373"/>
                  </a:lnTo>
                  <a:lnTo>
                    <a:pt x="177" y="377"/>
                  </a:lnTo>
                  <a:lnTo>
                    <a:pt x="177" y="377"/>
                  </a:lnTo>
                  <a:lnTo>
                    <a:pt x="177" y="377"/>
                  </a:lnTo>
                  <a:lnTo>
                    <a:pt x="173" y="379"/>
                  </a:lnTo>
                  <a:lnTo>
                    <a:pt x="173" y="380"/>
                  </a:lnTo>
                  <a:lnTo>
                    <a:pt x="172" y="384"/>
                  </a:lnTo>
                  <a:lnTo>
                    <a:pt x="172" y="388"/>
                  </a:lnTo>
                  <a:lnTo>
                    <a:pt x="173" y="392"/>
                  </a:lnTo>
                  <a:lnTo>
                    <a:pt x="177" y="392"/>
                  </a:lnTo>
                  <a:lnTo>
                    <a:pt x="177" y="395"/>
                  </a:lnTo>
                  <a:lnTo>
                    <a:pt x="173" y="397"/>
                  </a:lnTo>
                  <a:lnTo>
                    <a:pt x="177" y="401"/>
                  </a:lnTo>
                  <a:lnTo>
                    <a:pt x="173" y="403"/>
                  </a:lnTo>
                  <a:lnTo>
                    <a:pt x="172" y="405"/>
                  </a:lnTo>
                  <a:lnTo>
                    <a:pt x="172" y="407"/>
                  </a:lnTo>
                  <a:lnTo>
                    <a:pt x="166" y="412"/>
                  </a:lnTo>
                  <a:lnTo>
                    <a:pt x="155" y="412"/>
                  </a:lnTo>
                  <a:lnTo>
                    <a:pt x="149" y="411"/>
                  </a:lnTo>
                  <a:lnTo>
                    <a:pt x="143" y="405"/>
                  </a:lnTo>
                  <a:lnTo>
                    <a:pt x="136" y="403"/>
                  </a:lnTo>
                  <a:lnTo>
                    <a:pt x="132" y="403"/>
                  </a:lnTo>
                  <a:lnTo>
                    <a:pt x="130" y="401"/>
                  </a:lnTo>
                  <a:lnTo>
                    <a:pt x="132" y="401"/>
                  </a:lnTo>
                  <a:lnTo>
                    <a:pt x="128" y="401"/>
                  </a:lnTo>
                  <a:lnTo>
                    <a:pt x="125" y="403"/>
                  </a:lnTo>
                  <a:lnTo>
                    <a:pt x="125" y="411"/>
                  </a:lnTo>
                  <a:lnTo>
                    <a:pt x="128" y="414"/>
                  </a:lnTo>
                  <a:lnTo>
                    <a:pt x="130" y="422"/>
                  </a:lnTo>
                  <a:lnTo>
                    <a:pt x="130" y="431"/>
                  </a:lnTo>
                  <a:lnTo>
                    <a:pt x="132" y="435"/>
                  </a:lnTo>
                  <a:lnTo>
                    <a:pt x="136" y="435"/>
                  </a:lnTo>
                  <a:lnTo>
                    <a:pt x="141" y="435"/>
                  </a:lnTo>
                  <a:lnTo>
                    <a:pt x="143" y="435"/>
                  </a:lnTo>
                  <a:lnTo>
                    <a:pt x="141" y="437"/>
                  </a:lnTo>
                  <a:lnTo>
                    <a:pt x="140" y="439"/>
                  </a:lnTo>
                  <a:lnTo>
                    <a:pt x="143" y="441"/>
                  </a:lnTo>
                  <a:lnTo>
                    <a:pt x="149" y="439"/>
                  </a:lnTo>
                  <a:lnTo>
                    <a:pt x="149" y="437"/>
                  </a:lnTo>
                  <a:lnTo>
                    <a:pt x="147" y="435"/>
                  </a:lnTo>
                  <a:lnTo>
                    <a:pt x="143" y="435"/>
                  </a:lnTo>
                  <a:lnTo>
                    <a:pt x="147" y="435"/>
                  </a:lnTo>
                  <a:lnTo>
                    <a:pt x="149" y="435"/>
                  </a:lnTo>
                  <a:lnTo>
                    <a:pt x="153" y="431"/>
                  </a:lnTo>
                  <a:lnTo>
                    <a:pt x="155" y="431"/>
                  </a:lnTo>
                  <a:lnTo>
                    <a:pt x="158" y="435"/>
                  </a:lnTo>
                  <a:lnTo>
                    <a:pt x="157" y="439"/>
                  </a:lnTo>
                  <a:lnTo>
                    <a:pt x="155" y="439"/>
                  </a:lnTo>
                  <a:lnTo>
                    <a:pt x="158" y="443"/>
                  </a:lnTo>
                  <a:lnTo>
                    <a:pt x="160" y="446"/>
                  </a:lnTo>
                  <a:lnTo>
                    <a:pt x="158" y="450"/>
                  </a:lnTo>
                  <a:lnTo>
                    <a:pt x="153" y="452"/>
                  </a:lnTo>
                  <a:lnTo>
                    <a:pt x="149" y="452"/>
                  </a:lnTo>
                  <a:lnTo>
                    <a:pt x="149" y="450"/>
                  </a:lnTo>
                  <a:lnTo>
                    <a:pt x="149" y="448"/>
                  </a:lnTo>
                  <a:lnTo>
                    <a:pt x="149" y="446"/>
                  </a:lnTo>
                  <a:lnTo>
                    <a:pt x="143" y="443"/>
                  </a:lnTo>
                  <a:lnTo>
                    <a:pt x="140" y="444"/>
                  </a:lnTo>
                  <a:lnTo>
                    <a:pt x="136" y="448"/>
                  </a:lnTo>
                  <a:lnTo>
                    <a:pt x="136" y="450"/>
                  </a:lnTo>
                  <a:lnTo>
                    <a:pt x="136" y="452"/>
                  </a:lnTo>
                  <a:lnTo>
                    <a:pt x="141" y="452"/>
                  </a:lnTo>
                  <a:lnTo>
                    <a:pt x="147" y="452"/>
                  </a:lnTo>
                  <a:lnTo>
                    <a:pt x="147" y="456"/>
                  </a:lnTo>
                  <a:lnTo>
                    <a:pt x="141" y="460"/>
                  </a:lnTo>
                  <a:lnTo>
                    <a:pt x="136" y="461"/>
                  </a:lnTo>
                  <a:lnTo>
                    <a:pt x="134" y="465"/>
                  </a:lnTo>
                  <a:lnTo>
                    <a:pt x="136" y="465"/>
                  </a:lnTo>
                  <a:lnTo>
                    <a:pt x="134" y="469"/>
                  </a:lnTo>
                  <a:lnTo>
                    <a:pt x="130" y="473"/>
                  </a:lnTo>
                  <a:lnTo>
                    <a:pt x="132" y="476"/>
                  </a:lnTo>
                  <a:lnTo>
                    <a:pt x="134" y="480"/>
                  </a:lnTo>
                  <a:lnTo>
                    <a:pt x="134" y="482"/>
                  </a:lnTo>
                  <a:lnTo>
                    <a:pt x="132" y="484"/>
                  </a:lnTo>
                  <a:lnTo>
                    <a:pt x="138" y="490"/>
                  </a:lnTo>
                  <a:lnTo>
                    <a:pt x="138" y="490"/>
                  </a:lnTo>
                  <a:lnTo>
                    <a:pt x="136" y="492"/>
                  </a:lnTo>
                  <a:lnTo>
                    <a:pt x="136" y="493"/>
                  </a:lnTo>
                  <a:lnTo>
                    <a:pt x="130" y="497"/>
                  </a:lnTo>
                  <a:lnTo>
                    <a:pt x="130" y="499"/>
                  </a:lnTo>
                  <a:lnTo>
                    <a:pt x="130" y="501"/>
                  </a:lnTo>
                  <a:lnTo>
                    <a:pt x="134" y="503"/>
                  </a:lnTo>
                  <a:lnTo>
                    <a:pt x="136" y="505"/>
                  </a:lnTo>
                  <a:lnTo>
                    <a:pt x="136" y="507"/>
                  </a:lnTo>
                  <a:lnTo>
                    <a:pt x="128" y="509"/>
                  </a:lnTo>
                  <a:lnTo>
                    <a:pt x="125" y="507"/>
                  </a:lnTo>
                  <a:lnTo>
                    <a:pt x="119" y="509"/>
                  </a:lnTo>
                  <a:lnTo>
                    <a:pt x="117" y="510"/>
                  </a:lnTo>
                  <a:lnTo>
                    <a:pt x="113" y="510"/>
                  </a:lnTo>
                  <a:lnTo>
                    <a:pt x="109" y="514"/>
                  </a:lnTo>
                  <a:lnTo>
                    <a:pt x="108" y="516"/>
                  </a:lnTo>
                  <a:lnTo>
                    <a:pt x="104" y="520"/>
                  </a:lnTo>
                  <a:lnTo>
                    <a:pt x="104" y="524"/>
                  </a:lnTo>
                  <a:lnTo>
                    <a:pt x="100" y="525"/>
                  </a:lnTo>
                  <a:lnTo>
                    <a:pt x="100" y="529"/>
                  </a:lnTo>
                  <a:lnTo>
                    <a:pt x="102" y="533"/>
                  </a:lnTo>
                  <a:lnTo>
                    <a:pt x="102" y="535"/>
                  </a:lnTo>
                  <a:lnTo>
                    <a:pt x="104" y="544"/>
                  </a:lnTo>
                  <a:lnTo>
                    <a:pt x="111" y="544"/>
                  </a:lnTo>
                  <a:lnTo>
                    <a:pt x="113" y="546"/>
                  </a:lnTo>
                  <a:lnTo>
                    <a:pt x="117" y="550"/>
                  </a:lnTo>
                  <a:lnTo>
                    <a:pt x="125" y="557"/>
                  </a:lnTo>
                  <a:lnTo>
                    <a:pt x="130" y="557"/>
                  </a:lnTo>
                  <a:lnTo>
                    <a:pt x="134" y="557"/>
                  </a:lnTo>
                  <a:lnTo>
                    <a:pt x="136" y="556"/>
                  </a:lnTo>
                  <a:lnTo>
                    <a:pt x="140" y="557"/>
                  </a:lnTo>
                  <a:lnTo>
                    <a:pt x="141" y="559"/>
                  </a:lnTo>
                  <a:lnTo>
                    <a:pt x="140" y="561"/>
                  </a:lnTo>
                  <a:lnTo>
                    <a:pt x="140" y="563"/>
                  </a:lnTo>
                  <a:lnTo>
                    <a:pt x="141" y="565"/>
                  </a:lnTo>
                  <a:lnTo>
                    <a:pt x="141" y="569"/>
                  </a:lnTo>
                  <a:lnTo>
                    <a:pt x="138" y="574"/>
                  </a:lnTo>
                  <a:lnTo>
                    <a:pt x="140" y="574"/>
                  </a:lnTo>
                  <a:lnTo>
                    <a:pt x="143" y="578"/>
                  </a:lnTo>
                  <a:lnTo>
                    <a:pt x="141" y="578"/>
                  </a:lnTo>
                  <a:lnTo>
                    <a:pt x="141" y="580"/>
                  </a:lnTo>
                  <a:lnTo>
                    <a:pt x="141" y="582"/>
                  </a:lnTo>
                  <a:lnTo>
                    <a:pt x="138" y="584"/>
                  </a:lnTo>
                  <a:lnTo>
                    <a:pt x="136" y="586"/>
                  </a:lnTo>
                  <a:lnTo>
                    <a:pt x="134" y="590"/>
                  </a:lnTo>
                  <a:lnTo>
                    <a:pt x="132" y="590"/>
                  </a:lnTo>
                  <a:lnTo>
                    <a:pt x="130" y="593"/>
                  </a:lnTo>
                  <a:lnTo>
                    <a:pt x="128" y="599"/>
                  </a:lnTo>
                  <a:lnTo>
                    <a:pt x="125" y="599"/>
                  </a:lnTo>
                  <a:lnTo>
                    <a:pt x="123" y="603"/>
                  </a:lnTo>
                  <a:lnTo>
                    <a:pt x="119" y="606"/>
                  </a:lnTo>
                  <a:lnTo>
                    <a:pt x="117" y="610"/>
                  </a:lnTo>
                  <a:lnTo>
                    <a:pt x="117" y="614"/>
                  </a:lnTo>
                  <a:lnTo>
                    <a:pt x="113" y="616"/>
                  </a:lnTo>
                  <a:lnTo>
                    <a:pt x="117" y="614"/>
                  </a:lnTo>
                  <a:lnTo>
                    <a:pt x="119" y="616"/>
                  </a:lnTo>
                  <a:lnTo>
                    <a:pt x="119" y="622"/>
                  </a:lnTo>
                  <a:lnTo>
                    <a:pt x="119" y="623"/>
                  </a:lnTo>
                  <a:lnTo>
                    <a:pt x="117" y="627"/>
                  </a:lnTo>
                  <a:lnTo>
                    <a:pt x="117" y="629"/>
                  </a:lnTo>
                  <a:lnTo>
                    <a:pt x="111" y="633"/>
                  </a:lnTo>
                  <a:lnTo>
                    <a:pt x="109" y="633"/>
                  </a:lnTo>
                  <a:lnTo>
                    <a:pt x="108" y="629"/>
                  </a:lnTo>
                  <a:lnTo>
                    <a:pt x="104" y="627"/>
                  </a:lnTo>
                  <a:lnTo>
                    <a:pt x="104" y="633"/>
                  </a:lnTo>
                  <a:lnTo>
                    <a:pt x="104" y="633"/>
                  </a:lnTo>
                  <a:lnTo>
                    <a:pt x="108" y="635"/>
                  </a:lnTo>
                  <a:lnTo>
                    <a:pt x="104" y="638"/>
                  </a:lnTo>
                  <a:lnTo>
                    <a:pt x="100" y="642"/>
                  </a:lnTo>
                  <a:lnTo>
                    <a:pt x="98" y="648"/>
                  </a:lnTo>
                  <a:lnTo>
                    <a:pt x="100" y="654"/>
                  </a:lnTo>
                  <a:lnTo>
                    <a:pt x="104" y="659"/>
                  </a:lnTo>
                  <a:lnTo>
                    <a:pt x="104" y="669"/>
                  </a:lnTo>
                  <a:lnTo>
                    <a:pt x="104" y="671"/>
                  </a:lnTo>
                  <a:lnTo>
                    <a:pt x="108" y="671"/>
                  </a:lnTo>
                  <a:lnTo>
                    <a:pt x="108" y="674"/>
                  </a:lnTo>
                  <a:lnTo>
                    <a:pt x="104" y="676"/>
                  </a:lnTo>
                  <a:lnTo>
                    <a:pt x="104" y="678"/>
                  </a:lnTo>
                  <a:lnTo>
                    <a:pt x="108" y="676"/>
                  </a:lnTo>
                  <a:lnTo>
                    <a:pt x="111" y="678"/>
                  </a:lnTo>
                  <a:lnTo>
                    <a:pt x="113" y="682"/>
                  </a:lnTo>
                  <a:lnTo>
                    <a:pt x="117" y="687"/>
                  </a:lnTo>
                  <a:lnTo>
                    <a:pt x="123" y="691"/>
                  </a:lnTo>
                  <a:lnTo>
                    <a:pt x="123" y="693"/>
                  </a:lnTo>
                  <a:lnTo>
                    <a:pt x="123" y="693"/>
                  </a:lnTo>
                  <a:lnTo>
                    <a:pt x="117" y="691"/>
                  </a:lnTo>
                  <a:lnTo>
                    <a:pt x="111" y="687"/>
                  </a:lnTo>
                  <a:lnTo>
                    <a:pt x="108" y="687"/>
                  </a:lnTo>
                  <a:lnTo>
                    <a:pt x="104" y="684"/>
                  </a:lnTo>
                  <a:lnTo>
                    <a:pt x="83" y="684"/>
                  </a:lnTo>
                  <a:lnTo>
                    <a:pt x="68" y="687"/>
                  </a:lnTo>
                  <a:lnTo>
                    <a:pt x="64" y="684"/>
                  </a:lnTo>
                  <a:lnTo>
                    <a:pt x="55" y="684"/>
                  </a:lnTo>
                  <a:lnTo>
                    <a:pt x="53" y="678"/>
                  </a:lnTo>
                  <a:lnTo>
                    <a:pt x="53" y="671"/>
                  </a:lnTo>
                  <a:lnTo>
                    <a:pt x="47" y="667"/>
                  </a:lnTo>
                  <a:lnTo>
                    <a:pt x="47" y="657"/>
                  </a:lnTo>
                  <a:lnTo>
                    <a:pt x="47" y="652"/>
                  </a:lnTo>
                  <a:lnTo>
                    <a:pt x="44" y="652"/>
                  </a:lnTo>
                  <a:lnTo>
                    <a:pt x="36" y="654"/>
                  </a:lnTo>
                  <a:lnTo>
                    <a:pt x="32" y="657"/>
                  </a:lnTo>
                  <a:lnTo>
                    <a:pt x="29" y="657"/>
                  </a:lnTo>
                  <a:lnTo>
                    <a:pt x="23" y="640"/>
                  </a:lnTo>
                  <a:lnTo>
                    <a:pt x="19" y="635"/>
                  </a:lnTo>
                  <a:lnTo>
                    <a:pt x="23" y="620"/>
                  </a:lnTo>
                  <a:lnTo>
                    <a:pt x="27" y="614"/>
                  </a:lnTo>
                  <a:lnTo>
                    <a:pt x="32" y="606"/>
                  </a:lnTo>
                  <a:lnTo>
                    <a:pt x="34" y="597"/>
                  </a:lnTo>
                  <a:lnTo>
                    <a:pt x="32" y="588"/>
                  </a:lnTo>
                  <a:lnTo>
                    <a:pt x="30" y="580"/>
                  </a:lnTo>
                  <a:lnTo>
                    <a:pt x="32" y="573"/>
                  </a:lnTo>
                  <a:lnTo>
                    <a:pt x="36" y="569"/>
                  </a:lnTo>
                  <a:lnTo>
                    <a:pt x="32" y="559"/>
                  </a:lnTo>
                  <a:lnTo>
                    <a:pt x="32" y="554"/>
                  </a:lnTo>
                  <a:lnTo>
                    <a:pt x="36" y="550"/>
                  </a:lnTo>
                  <a:lnTo>
                    <a:pt x="34" y="544"/>
                  </a:lnTo>
                  <a:lnTo>
                    <a:pt x="32" y="533"/>
                  </a:lnTo>
                  <a:lnTo>
                    <a:pt x="30" y="527"/>
                  </a:lnTo>
                  <a:lnTo>
                    <a:pt x="30" y="524"/>
                  </a:lnTo>
                  <a:lnTo>
                    <a:pt x="34" y="520"/>
                  </a:lnTo>
                  <a:lnTo>
                    <a:pt x="34" y="516"/>
                  </a:lnTo>
                  <a:lnTo>
                    <a:pt x="30" y="510"/>
                  </a:lnTo>
                  <a:lnTo>
                    <a:pt x="25" y="505"/>
                  </a:lnTo>
                  <a:lnTo>
                    <a:pt x="23" y="505"/>
                  </a:lnTo>
                  <a:lnTo>
                    <a:pt x="19" y="507"/>
                  </a:lnTo>
                  <a:lnTo>
                    <a:pt x="17" y="505"/>
                  </a:lnTo>
                  <a:lnTo>
                    <a:pt x="17" y="501"/>
                  </a:lnTo>
                  <a:lnTo>
                    <a:pt x="27" y="501"/>
                  </a:lnTo>
                  <a:lnTo>
                    <a:pt x="30" y="495"/>
                  </a:lnTo>
                  <a:lnTo>
                    <a:pt x="30" y="492"/>
                  </a:lnTo>
                  <a:lnTo>
                    <a:pt x="29" y="490"/>
                  </a:lnTo>
                  <a:lnTo>
                    <a:pt x="25" y="492"/>
                  </a:lnTo>
                  <a:lnTo>
                    <a:pt x="23" y="492"/>
                  </a:lnTo>
                  <a:lnTo>
                    <a:pt x="19" y="484"/>
                  </a:lnTo>
                  <a:lnTo>
                    <a:pt x="17" y="476"/>
                  </a:lnTo>
                  <a:lnTo>
                    <a:pt x="17" y="471"/>
                  </a:lnTo>
                  <a:lnTo>
                    <a:pt x="17" y="465"/>
                  </a:lnTo>
                  <a:lnTo>
                    <a:pt x="10" y="461"/>
                  </a:lnTo>
                  <a:lnTo>
                    <a:pt x="10" y="456"/>
                  </a:lnTo>
                  <a:lnTo>
                    <a:pt x="10" y="443"/>
                  </a:lnTo>
                  <a:lnTo>
                    <a:pt x="13" y="441"/>
                  </a:lnTo>
                  <a:lnTo>
                    <a:pt x="13" y="435"/>
                  </a:lnTo>
                  <a:lnTo>
                    <a:pt x="10" y="431"/>
                  </a:lnTo>
                  <a:lnTo>
                    <a:pt x="8" y="431"/>
                  </a:lnTo>
                  <a:lnTo>
                    <a:pt x="8" y="422"/>
                  </a:lnTo>
                  <a:lnTo>
                    <a:pt x="6" y="411"/>
                  </a:lnTo>
                  <a:lnTo>
                    <a:pt x="8" y="395"/>
                  </a:lnTo>
                  <a:lnTo>
                    <a:pt x="4" y="390"/>
                  </a:lnTo>
                  <a:lnTo>
                    <a:pt x="2" y="382"/>
                  </a:lnTo>
                  <a:lnTo>
                    <a:pt x="10" y="373"/>
                  </a:lnTo>
                  <a:lnTo>
                    <a:pt x="10" y="363"/>
                  </a:lnTo>
                  <a:lnTo>
                    <a:pt x="17" y="362"/>
                  </a:lnTo>
                  <a:lnTo>
                    <a:pt x="17" y="358"/>
                  </a:lnTo>
                  <a:lnTo>
                    <a:pt x="8" y="337"/>
                  </a:lnTo>
                  <a:lnTo>
                    <a:pt x="10" y="330"/>
                  </a:lnTo>
                  <a:lnTo>
                    <a:pt x="10" y="324"/>
                  </a:lnTo>
                  <a:lnTo>
                    <a:pt x="10" y="313"/>
                  </a:lnTo>
                  <a:lnTo>
                    <a:pt x="13" y="303"/>
                  </a:lnTo>
                  <a:lnTo>
                    <a:pt x="17" y="299"/>
                  </a:lnTo>
                  <a:lnTo>
                    <a:pt x="17" y="292"/>
                  </a:lnTo>
                  <a:lnTo>
                    <a:pt x="13" y="284"/>
                  </a:lnTo>
                  <a:lnTo>
                    <a:pt x="10" y="284"/>
                  </a:lnTo>
                  <a:lnTo>
                    <a:pt x="13" y="279"/>
                  </a:lnTo>
                  <a:lnTo>
                    <a:pt x="13" y="271"/>
                  </a:lnTo>
                  <a:lnTo>
                    <a:pt x="17" y="264"/>
                  </a:lnTo>
                  <a:lnTo>
                    <a:pt x="19" y="264"/>
                  </a:lnTo>
                  <a:lnTo>
                    <a:pt x="19" y="254"/>
                  </a:lnTo>
                  <a:lnTo>
                    <a:pt x="17" y="239"/>
                  </a:lnTo>
                  <a:lnTo>
                    <a:pt x="17" y="235"/>
                  </a:lnTo>
                  <a:lnTo>
                    <a:pt x="13" y="226"/>
                  </a:lnTo>
                  <a:lnTo>
                    <a:pt x="10" y="220"/>
                  </a:lnTo>
                  <a:lnTo>
                    <a:pt x="8" y="213"/>
                  </a:lnTo>
                  <a:lnTo>
                    <a:pt x="6" y="209"/>
                  </a:lnTo>
                  <a:lnTo>
                    <a:pt x="2" y="205"/>
                  </a:lnTo>
                  <a:lnTo>
                    <a:pt x="0" y="196"/>
                  </a:lnTo>
                  <a:lnTo>
                    <a:pt x="2" y="188"/>
                  </a:lnTo>
                  <a:lnTo>
                    <a:pt x="8" y="186"/>
                  </a:lnTo>
                  <a:lnTo>
                    <a:pt x="8" y="179"/>
                  </a:lnTo>
                  <a:lnTo>
                    <a:pt x="10" y="175"/>
                  </a:lnTo>
                  <a:lnTo>
                    <a:pt x="10" y="166"/>
                  </a:lnTo>
                  <a:lnTo>
                    <a:pt x="8" y="160"/>
                  </a:lnTo>
                  <a:lnTo>
                    <a:pt x="6" y="147"/>
                  </a:lnTo>
                  <a:lnTo>
                    <a:pt x="10" y="145"/>
                  </a:lnTo>
                  <a:lnTo>
                    <a:pt x="10" y="132"/>
                  </a:lnTo>
                  <a:lnTo>
                    <a:pt x="13" y="126"/>
                  </a:lnTo>
                  <a:lnTo>
                    <a:pt x="17" y="115"/>
                  </a:lnTo>
                  <a:lnTo>
                    <a:pt x="23" y="109"/>
                  </a:lnTo>
                  <a:lnTo>
                    <a:pt x="27" y="107"/>
                  </a:lnTo>
                  <a:lnTo>
                    <a:pt x="30" y="104"/>
                  </a:lnTo>
                  <a:lnTo>
                    <a:pt x="29" y="102"/>
                  </a:lnTo>
                  <a:lnTo>
                    <a:pt x="29" y="96"/>
                  </a:lnTo>
                  <a:lnTo>
                    <a:pt x="27" y="96"/>
                  </a:lnTo>
                  <a:lnTo>
                    <a:pt x="25" y="92"/>
                  </a:lnTo>
                  <a:lnTo>
                    <a:pt x="25" y="90"/>
                  </a:lnTo>
                  <a:lnTo>
                    <a:pt x="29" y="87"/>
                  </a:lnTo>
                  <a:lnTo>
                    <a:pt x="29" y="83"/>
                  </a:lnTo>
                  <a:lnTo>
                    <a:pt x="25" y="77"/>
                  </a:lnTo>
                  <a:lnTo>
                    <a:pt x="23" y="70"/>
                  </a:lnTo>
                  <a:lnTo>
                    <a:pt x="25" y="66"/>
                  </a:lnTo>
                  <a:lnTo>
                    <a:pt x="25" y="62"/>
                  </a:lnTo>
                  <a:lnTo>
                    <a:pt x="23" y="60"/>
                  </a:lnTo>
                  <a:lnTo>
                    <a:pt x="23" y="56"/>
                  </a:lnTo>
                  <a:lnTo>
                    <a:pt x="44" y="43"/>
                  </a:lnTo>
                  <a:lnTo>
                    <a:pt x="49" y="23"/>
                  </a:lnTo>
                  <a:lnTo>
                    <a:pt x="47" y="17"/>
                  </a:lnTo>
                  <a:lnTo>
                    <a:pt x="47" y="17"/>
                  </a:lnTo>
                  <a:lnTo>
                    <a:pt x="47" y="17"/>
                  </a:lnTo>
                  <a:lnTo>
                    <a:pt x="47" y="17"/>
                  </a:lnTo>
                  <a:close/>
                  <a:moveTo>
                    <a:pt x="200" y="757"/>
                  </a:moveTo>
                  <a:lnTo>
                    <a:pt x="204" y="759"/>
                  </a:lnTo>
                  <a:lnTo>
                    <a:pt x="207" y="757"/>
                  </a:lnTo>
                  <a:lnTo>
                    <a:pt x="211" y="755"/>
                  </a:lnTo>
                  <a:lnTo>
                    <a:pt x="213" y="752"/>
                  </a:lnTo>
                  <a:lnTo>
                    <a:pt x="211" y="752"/>
                  </a:lnTo>
                  <a:lnTo>
                    <a:pt x="207" y="755"/>
                  </a:lnTo>
                  <a:lnTo>
                    <a:pt x="202" y="755"/>
                  </a:lnTo>
                  <a:lnTo>
                    <a:pt x="200" y="757"/>
                  </a:lnTo>
                  <a:lnTo>
                    <a:pt x="200" y="757"/>
                  </a:lnTo>
                  <a:lnTo>
                    <a:pt x="200" y="757"/>
                  </a:lnTo>
                  <a:lnTo>
                    <a:pt x="200" y="757"/>
                  </a:lnTo>
                  <a:close/>
                  <a:moveTo>
                    <a:pt x="117" y="697"/>
                  </a:moveTo>
                  <a:lnTo>
                    <a:pt x="117" y="697"/>
                  </a:lnTo>
                  <a:lnTo>
                    <a:pt x="119" y="701"/>
                  </a:lnTo>
                  <a:lnTo>
                    <a:pt x="126" y="708"/>
                  </a:lnTo>
                  <a:lnTo>
                    <a:pt x="128" y="716"/>
                  </a:lnTo>
                  <a:lnTo>
                    <a:pt x="126" y="716"/>
                  </a:lnTo>
                  <a:lnTo>
                    <a:pt x="123" y="716"/>
                  </a:lnTo>
                  <a:lnTo>
                    <a:pt x="123" y="718"/>
                  </a:lnTo>
                  <a:lnTo>
                    <a:pt x="117" y="697"/>
                  </a:lnTo>
                  <a:lnTo>
                    <a:pt x="117" y="697"/>
                  </a:lnTo>
                  <a:lnTo>
                    <a:pt x="117" y="697"/>
                  </a:lnTo>
                  <a:lnTo>
                    <a:pt x="117" y="697"/>
                  </a:lnTo>
                  <a:close/>
                  <a:moveTo>
                    <a:pt x="123" y="719"/>
                  </a:moveTo>
                  <a:lnTo>
                    <a:pt x="126" y="721"/>
                  </a:lnTo>
                  <a:lnTo>
                    <a:pt x="130" y="719"/>
                  </a:lnTo>
                  <a:lnTo>
                    <a:pt x="132" y="723"/>
                  </a:lnTo>
                  <a:lnTo>
                    <a:pt x="136" y="731"/>
                  </a:lnTo>
                  <a:lnTo>
                    <a:pt x="140" y="731"/>
                  </a:lnTo>
                  <a:lnTo>
                    <a:pt x="143" y="735"/>
                  </a:lnTo>
                  <a:lnTo>
                    <a:pt x="143" y="740"/>
                  </a:lnTo>
                  <a:lnTo>
                    <a:pt x="149" y="740"/>
                  </a:lnTo>
                  <a:lnTo>
                    <a:pt x="162" y="746"/>
                  </a:lnTo>
                  <a:lnTo>
                    <a:pt x="164" y="746"/>
                  </a:lnTo>
                  <a:lnTo>
                    <a:pt x="172" y="748"/>
                  </a:lnTo>
                  <a:lnTo>
                    <a:pt x="173" y="752"/>
                  </a:lnTo>
                  <a:lnTo>
                    <a:pt x="179" y="753"/>
                  </a:lnTo>
                  <a:lnTo>
                    <a:pt x="187" y="752"/>
                  </a:lnTo>
                  <a:lnTo>
                    <a:pt x="189" y="752"/>
                  </a:lnTo>
                  <a:lnTo>
                    <a:pt x="189" y="755"/>
                  </a:lnTo>
                  <a:lnTo>
                    <a:pt x="187" y="759"/>
                  </a:lnTo>
                  <a:lnTo>
                    <a:pt x="183" y="757"/>
                  </a:lnTo>
                  <a:lnTo>
                    <a:pt x="179" y="757"/>
                  </a:lnTo>
                  <a:lnTo>
                    <a:pt x="179" y="761"/>
                  </a:lnTo>
                  <a:lnTo>
                    <a:pt x="173" y="765"/>
                  </a:lnTo>
                  <a:lnTo>
                    <a:pt x="172" y="767"/>
                  </a:lnTo>
                  <a:lnTo>
                    <a:pt x="166" y="765"/>
                  </a:lnTo>
                  <a:lnTo>
                    <a:pt x="162" y="763"/>
                  </a:lnTo>
                  <a:lnTo>
                    <a:pt x="155" y="761"/>
                  </a:lnTo>
                  <a:lnTo>
                    <a:pt x="149" y="761"/>
                  </a:lnTo>
                  <a:lnTo>
                    <a:pt x="141" y="761"/>
                  </a:lnTo>
                  <a:lnTo>
                    <a:pt x="136" y="763"/>
                  </a:lnTo>
                  <a:lnTo>
                    <a:pt x="134" y="763"/>
                  </a:lnTo>
                  <a:lnTo>
                    <a:pt x="132" y="755"/>
                  </a:lnTo>
                  <a:lnTo>
                    <a:pt x="141" y="755"/>
                  </a:lnTo>
                  <a:lnTo>
                    <a:pt x="143" y="753"/>
                  </a:lnTo>
                  <a:lnTo>
                    <a:pt x="149" y="753"/>
                  </a:lnTo>
                  <a:lnTo>
                    <a:pt x="149" y="752"/>
                  </a:lnTo>
                  <a:lnTo>
                    <a:pt x="143" y="753"/>
                  </a:lnTo>
                  <a:lnTo>
                    <a:pt x="140" y="753"/>
                  </a:lnTo>
                  <a:lnTo>
                    <a:pt x="132" y="753"/>
                  </a:lnTo>
                  <a:lnTo>
                    <a:pt x="130" y="753"/>
                  </a:lnTo>
                  <a:lnTo>
                    <a:pt x="123" y="719"/>
                  </a:lnTo>
                  <a:lnTo>
                    <a:pt x="123" y="719"/>
                  </a:lnTo>
                  <a:lnTo>
                    <a:pt x="123" y="719"/>
                  </a:lnTo>
                  <a:close/>
                </a:path>
              </a:pathLst>
            </a:custGeom>
            <a:solidFill>
              <a:srgbClr val="860864"/>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3" name="Freeform 46">
              <a:extLst>
                <a:ext uri="{FF2B5EF4-FFF2-40B4-BE49-F238E27FC236}">
                  <a16:creationId xmlns:a16="http://schemas.microsoft.com/office/drawing/2014/main" id="{D802F826-203B-4B05-BCDA-C1DCA1BCFFA7}"/>
                </a:ext>
              </a:extLst>
            </p:cNvPr>
            <p:cNvSpPr>
              <a:spLocks noEditPoints="1"/>
            </p:cNvSpPr>
            <p:nvPr/>
          </p:nvSpPr>
          <p:spPr bwMode="auto">
            <a:xfrm>
              <a:off x="1488" y="3437"/>
              <a:ext cx="201" cy="883"/>
            </a:xfrm>
            <a:custGeom>
              <a:avLst/>
              <a:gdLst/>
              <a:ahLst/>
              <a:cxnLst>
                <a:cxn ang="0">
                  <a:pos x="131" y="845"/>
                </a:cxn>
                <a:cxn ang="0">
                  <a:pos x="139" y="866"/>
                </a:cxn>
                <a:cxn ang="0">
                  <a:pos x="156" y="838"/>
                </a:cxn>
                <a:cxn ang="0">
                  <a:pos x="133" y="798"/>
                </a:cxn>
                <a:cxn ang="0">
                  <a:pos x="103" y="776"/>
                </a:cxn>
                <a:cxn ang="0">
                  <a:pos x="73" y="634"/>
                </a:cxn>
                <a:cxn ang="0">
                  <a:pos x="49" y="533"/>
                </a:cxn>
                <a:cxn ang="0">
                  <a:pos x="52" y="361"/>
                </a:cxn>
                <a:cxn ang="0">
                  <a:pos x="67" y="194"/>
                </a:cxn>
                <a:cxn ang="0">
                  <a:pos x="56" y="48"/>
                </a:cxn>
                <a:cxn ang="0">
                  <a:pos x="20" y="30"/>
                </a:cxn>
                <a:cxn ang="0">
                  <a:pos x="26" y="160"/>
                </a:cxn>
                <a:cxn ang="0">
                  <a:pos x="15" y="261"/>
                </a:cxn>
                <a:cxn ang="0">
                  <a:pos x="18" y="357"/>
                </a:cxn>
                <a:cxn ang="0">
                  <a:pos x="2" y="421"/>
                </a:cxn>
                <a:cxn ang="0">
                  <a:pos x="9" y="506"/>
                </a:cxn>
                <a:cxn ang="0">
                  <a:pos x="37" y="534"/>
                </a:cxn>
                <a:cxn ang="0">
                  <a:pos x="49" y="589"/>
                </a:cxn>
                <a:cxn ang="0">
                  <a:pos x="26" y="629"/>
                </a:cxn>
                <a:cxn ang="0">
                  <a:pos x="13" y="649"/>
                </a:cxn>
                <a:cxn ang="0">
                  <a:pos x="30" y="663"/>
                </a:cxn>
                <a:cxn ang="0">
                  <a:pos x="39" y="689"/>
                </a:cxn>
                <a:cxn ang="0">
                  <a:pos x="45" y="725"/>
                </a:cxn>
                <a:cxn ang="0">
                  <a:pos x="64" y="768"/>
                </a:cxn>
                <a:cxn ang="0">
                  <a:pos x="82" y="772"/>
                </a:cxn>
                <a:cxn ang="0">
                  <a:pos x="79" y="783"/>
                </a:cxn>
                <a:cxn ang="0">
                  <a:pos x="88" y="800"/>
                </a:cxn>
                <a:cxn ang="0">
                  <a:pos x="94" y="802"/>
                </a:cxn>
                <a:cxn ang="0">
                  <a:pos x="116" y="802"/>
                </a:cxn>
                <a:cxn ang="0">
                  <a:pos x="118" y="832"/>
                </a:cxn>
                <a:cxn ang="0">
                  <a:pos x="156" y="783"/>
                </a:cxn>
                <a:cxn ang="0">
                  <a:pos x="13" y="555"/>
                </a:cxn>
                <a:cxn ang="0">
                  <a:pos x="28" y="534"/>
                </a:cxn>
                <a:cxn ang="0">
                  <a:pos x="32" y="574"/>
                </a:cxn>
                <a:cxn ang="0">
                  <a:pos x="18" y="580"/>
                </a:cxn>
                <a:cxn ang="0">
                  <a:pos x="26" y="593"/>
                </a:cxn>
                <a:cxn ang="0">
                  <a:pos x="18" y="591"/>
                </a:cxn>
                <a:cxn ang="0">
                  <a:pos x="26" y="617"/>
                </a:cxn>
                <a:cxn ang="0">
                  <a:pos x="32" y="593"/>
                </a:cxn>
                <a:cxn ang="0">
                  <a:pos x="20" y="604"/>
                </a:cxn>
                <a:cxn ang="0">
                  <a:pos x="30" y="687"/>
                </a:cxn>
                <a:cxn ang="0">
                  <a:pos x="26" y="691"/>
                </a:cxn>
                <a:cxn ang="0">
                  <a:pos x="20" y="710"/>
                </a:cxn>
                <a:cxn ang="0">
                  <a:pos x="35" y="723"/>
                </a:cxn>
                <a:cxn ang="0">
                  <a:pos x="39" y="728"/>
                </a:cxn>
                <a:cxn ang="0">
                  <a:pos x="35" y="744"/>
                </a:cxn>
                <a:cxn ang="0">
                  <a:pos x="39" y="742"/>
                </a:cxn>
                <a:cxn ang="0">
                  <a:pos x="50" y="762"/>
                </a:cxn>
                <a:cxn ang="0">
                  <a:pos x="49" y="776"/>
                </a:cxn>
                <a:cxn ang="0">
                  <a:pos x="52" y="793"/>
                </a:cxn>
                <a:cxn ang="0">
                  <a:pos x="62" y="783"/>
                </a:cxn>
                <a:cxn ang="0">
                  <a:pos x="64" y="798"/>
                </a:cxn>
                <a:cxn ang="0">
                  <a:pos x="82" y="817"/>
                </a:cxn>
                <a:cxn ang="0">
                  <a:pos x="94" y="840"/>
                </a:cxn>
                <a:cxn ang="0">
                  <a:pos x="103" y="828"/>
                </a:cxn>
                <a:cxn ang="0">
                  <a:pos x="126" y="840"/>
                </a:cxn>
                <a:cxn ang="0">
                  <a:pos x="137" y="832"/>
                </a:cxn>
                <a:cxn ang="0">
                  <a:pos x="124" y="862"/>
                </a:cxn>
                <a:cxn ang="0">
                  <a:pos x="158" y="858"/>
                </a:cxn>
                <a:cxn ang="0">
                  <a:pos x="171" y="864"/>
                </a:cxn>
                <a:cxn ang="0">
                  <a:pos x="150" y="868"/>
                </a:cxn>
              </a:cxnLst>
              <a:rect l="0" t="0" r="r" b="b"/>
              <a:pathLst>
                <a:path w="201" h="883">
                  <a:moveTo>
                    <a:pt x="171" y="853"/>
                  </a:moveTo>
                  <a:lnTo>
                    <a:pt x="171" y="847"/>
                  </a:lnTo>
                  <a:lnTo>
                    <a:pt x="167" y="847"/>
                  </a:lnTo>
                  <a:lnTo>
                    <a:pt x="163" y="845"/>
                  </a:lnTo>
                  <a:lnTo>
                    <a:pt x="158" y="843"/>
                  </a:lnTo>
                  <a:lnTo>
                    <a:pt x="150" y="840"/>
                  </a:lnTo>
                  <a:lnTo>
                    <a:pt x="143" y="838"/>
                  </a:lnTo>
                  <a:lnTo>
                    <a:pt x="143" y="840"/>
                  </a:lnTo>
                  <a:lnTo>
                    <a:pt x="146" y="842"/>
                  </a:lnTo>
                  <a:lnTo>
                    <a:pt x="143" y="843"/>
                  </a:lnTo>
                  <a:lnTo>
                    <a:pt x="143" y="842"/>
                  </a:lnTo>
                  <a:lnTo>
                    <a:pt x="135" y="840"/>
                  </a:lnTo>
                  <a:lnTo>
                    <a:pt x="133" y="838"/>
                  </a:lnTo>
                  <a:lnTo>
                    <a:pt x="131" y="838"/>
                  </a:lnTo>
                  <a:lnTo>
                    <a:pt x="133" y="840"/>
                  </a:lnTo>
                  <a:lnTo>
                    <a:pt x="141" y="843"/>
                  </a:lnTo>
                  <a:lnTo>
                    <a:pt x="143" y="845"/>
                  </a:lnTo>
                  <a:lnTo>
                    <a:pt x="139" y="845"/>
                  </a:lnTo>
                  <a:lnTo>
                    <a:pt x="139" y="845"/>
                  </a:lnTo>
                  <a:lnTo>
                    <a:pt x="139" y="847"/>
                  </a:lnTo>
                  <a:lnTo>
                    <a:pt x="137" y="847"/>
                  </a:lnTo>
                  <a:lnTo>
                    <a:pt x="135" y="845"/>
                  </a:lnTo>
                  <a:lnTo>
                    <a:pt x="131" y="843"/>
                  </a:lnTo>
                  <a:lnTo>
                    <a:pt x="131" y="845"/>
                  </a:lnTo>
                  <a:lnTo>
                    <a:pt x="131" y="847"/>
                  </a:lnTo>
                  <a:lnTo>
                    <a:pt x="130" y="847"/>
                  </a:lnTo>
                  <a:lnTo>
                    <a:pt x="122" y="847"/>
                  </a:lnTo>
                  <a:lnTo>
                    <a:pt x="122" y="849"/>
                  </a:lnTo>
                  <a:lnTo>
                    <a:pt x="122" y="851"/>
                  </a:lnTo>
                  <a:lnTo>
                    <a:pt x="122" y="851"/>
                  </a:lnTo>
                  <a:lnTo>
                    <a:pt x="118" y="851"/>
                  </a:lnTo>
                  <a:lnTo>
                    <a:pt x="116" y="851"/>
                  </a:lnTo>
                  <a:lnTo>
                    <a:pt x="116" y="853"/>
                  </a:lnTo>
                  <a:lnTo>
                    <a:pt x="122" y="853"/>
                  </a:lnTo>
                  <a:lnTo>
                    <a:pt x="124" y="853"/>
                  </a:lnTo>
                  <a:lnTo>
                    <a:pt x="124" y="853"/>
                  </a:lnTo>
                  <a:lnTo>
                    <a:pt x="126" y="851"/>
                  </a:lnTo>
                  <a:lnTo>
                    <a:pt x="128" y="853"/>
                  </a:lnTo>
                  <a:lnTo>
                    <a:pt x="131" y="853"/>
                  </a:lnTo>
                  <a:lnTo>
                    <a:pt x="133" y="853"/>
                  </a:lnTo>
                  <a:lnTo>
                    <a:pt x="135" y="857"/>
                  </a:lnTo>
                  <a:lnTo>
                    <a:pt x="135" y="857"/>
                  </a:lnTo>
                  <a:lnTo>
                    <a:pt x="137" y="858"/>
                  </a:lnTo>
                  <a:lnTo>
                    <a:pt x="133" y="858"/>
                  </a:lnTo>
                  <a:lnTo>
                    <a:pt x="131" y="862"/>
                  </a:lnTo>
                  <a:lnTo>
                    <a:pt x="135" y="866"/>
                  </a:lnTo>
                  <a:lnTo>
                    <a:pt x="137" y="866"/>
                  </a:lnTo>
                  <a:lnTo>
                    <a:pt x="139" y="866"/>
                  </a:lnTo>
                  <a:lnTo>
                    <a:pt x="143" y="870"/>
                  </a:lnTo>
                  <a:lnTo>
                    <a:pt x="143" y="870"/>
                  </a:lnTo>
                  <a:lnTo>
                    <a:pt x="143" y="868"/>
                  </a:lnTo>
                  <a:lnTo>
                    <a:pt x="143" y="866"/>
                  </a:lnTo>
                  <a:lnTo>
                    <a:pt x="139" y="864"/>
                  </a:lnTo>
                  <a:lnTo>
                    <a:pt x="139" y="862"/>
                  </a:lnTo>
                  <a:lnTo>
                    <a:pt x="139" y="862"/>
                  </a:lnTo>
                  <a:lnTo>
                    <a:pt x="143" y="862"/>
                  </a:lnTo>
                  <a:lnTo>
                    <a:pt x="143" y="862"/>
                  </a:lnTo>
                  <a:lnTo>
                    <a:pt x="143" y="862"/>
                  </a:lnTo>
                  <a:lnTo>
                    <a:pt x="143" y="858"/>
                  </a:lnTo>
                  <a:lnTo>
                    <a:pt x="141" y="858"/>
                  </a:lnTo>
                  <a:lnTo>
                    <a:pt x="146" y="857"/>
                  </a:lnTo>
                  <a:lnTo>
                    <a:pt x="150" y="853"/>
                  </a:lnTo>
                  <a:lnTo>
                    <a:pt x="165" y="857"/>
                  </a:lnTo>
                  <a:lnTo>
                    <a:pt x="167" y="857"/>
                  </a:lnTo>
                  <a:lnTo>
                    <a:pt x="167" y="853"/>
                  </a:lnTo>
                  <a:lnTo>
                    <a:pt x="171" y="853"/>
                  </a:lnTo>
                  <a:lnTo>
                    <a:pt x="171" y="853"/>
                  </a:lnTo>
                  <a:lnTo>
                    <a:pt x="171" y="853"/>
                  </a:lnTo>
                  <a:lnTo>
                    <a:pt x="171" y="853"/>
                  </a:lnTo>
                  <a:close/>
                  <a:moveTo>
                    <a:pt x="167" y="845"/>
                  </a:moveTo>
                  <a:lnTo>
                    <a:pt x="165" y="845"/>
                  </a:lnTo>
                  <a:lnTo>
                    <a:pt x="156" y="838"/>
                  </a:lnTo>
                  <a:lnTo>
                    <a:pt x="150" y="836"/>
                  </a:lnTo>
                  <a:lnTo>
                    <a:pt x="146" y="836"/>
                  </a:lnTo>
                  <a:lnTo>
                    <a:pt x="143" y="834"/>
                  </a:lnTo>
                  <a:lnTo>
                    <a:pt x="141" y="832"/>
                  </a:lnTo>
                  <a:lnTo>
                    <a:pt x="139" y="828"/>
                  </a:lnTo>
                  <a:lnTo>
                    <a:pt x="139" y="826"/>
                  </a:lnTo>
                  <a:lnTo>
                    <a:pt x="143" y="823"/>
                  </a:lnTo>
                  <a:lnTo>
                    <a:pt x="146" y="823"/>
                  </a:lnTo>
                  <a:lnTo>
                    <a:pt x="150" y="823"/>
                  </a:lnTo>
                  <a:lnTo>
                    <a:pt x="150" y="817"/>
                  </a:lnTo>
                  <a:lnTo>
                    <a:pt x="150" y="815"/>
                  </a:lnTo>
                  <a:lnTo>
                    <a:pt x="146" y="815"/>
                  </a:lnTo>
                  <a:lnTo>
                    <a:pt x="141" y="817"/>
                  </a:lnTo>
                  <a:lnTo>
                    <a:pt x="139" y="819"/>
                  </a:lnTo>
                  <a:lnTo>
                    <a:pt x="135" y="819"/>
                  </a:lnTo>
                  <a:lnTo>
                    <a:pt x="131" y="815"/>
                  </a:lnTo>
                  <a:lnTo>
                    <a:pt x="131" y="811"/>
                  </a:lnTo>
                  <a:lnTo>
                    <a:pt x="131" y="809"/>
                  </a:lnTo>
                  <a:lnTo>
                    <a:pt x="133" y="806"/>
                  </a:lnTo>
                  <a:lnTo>
                    <a:pt x="135" y="804"/>
                  </a:lnTo>
                  <a:lnTo>
                    <a:pt x="131" y="804"/>
                  </a:lnTo>
                  <a:lnTo>
                    <a:pt x="130" y="802"/>
                  </a:lnTo>
                  <a:lnTo>
                    <a:pt x="131" y="798"/>
                  </a:lnTo>
                  <a:lnTo>
                    <a:pt x="133" y="798"/>
                  </a:lnTo>
                  <a:lnTo>
                    <a:pt x="137" y="802"/>
                  </a:lnTo>
                  <a:lnTo>
                    <a:pt x="139" y="800"/>
                  </a:lnTo>
                  <a:lnTo>
                    <a:pt x="143" y="798"/>
                  </a:lnTo>
                  <a:lnTo>
                    <a:pt x="143" y="794"/>
                  </a:lnTo>
                  <a:lnTo>
                    <a:pt x="143" y="793"/>
                  </a:lnTo>
                  <a:lnTo>
                    <a:pt x="143" y="789"/>
                  </a:lnTo>
                  <a:lnTo>
                    <a:pt x="146" y="789"/>
                  </a:lnTo>
                  <a:lnTo>
                    <a:pt x="150" y="793"/>
                  </a:lnTo>
                  <a:lnTo>
                    <a:pt x="150" y="789"/>
                  </a:lnTo>
                  <a:lnTo>
                    <a:pt x="156" y="789"/>
                  </a:lnTo>
                  <a:lnTo>
                    <a:pt x="160" y="809"/>
                  </a:lnTo>
                  <a:lnTo>
                    <a:pt x="160" y="811"/>
                  </a:lnTo>
                  <a:lnTo>
                    <a:pt x="160" y="811"/>
                  </a:lnTo>
                  <a:lnTo>
                    <a:pt x="167" y="845"/>
                  </a:lnTo>
                  <a:lnTo>
                    <a:pt x="167" y="845"/>
                  </a:lnTo>
                  <a:lnTo>
                    <a:pt x="167" y="845"/>
                  </a:lnTo>
                  <a:lnTo>
                    <a:pt x="167" y="845"/>
                  </a:lnTo>
                  <a:close/>
                  <a:moveTo>
                    <a:pt x="156" y="783"/>
                  </a:moveTo>
                  <a:lnTo>
                    <a:pt x="150" y="777"/>
                  </a:lnTo>
                  <a:lnTo>
                    <a:pt x="146" y="777"/>
                  </a:lnTo>
                  <a:lnTo>
                    <a:pt x="143" y="776"/>
                  </a:lnTo>
                  <a:lnTo>
                    <a:pt x="122" y="776"/>
                  </a:lnTo>
                  <a:lnTo>
                    <a:pt x="107" y="777"/>
                  </a:lnTo>
                  <a:lnTo>
                    <a:pt x="103" y="776"/>
                  </a:lnTo>
                  <a:lnTo>
                    <a:pt x="94" y="776"/>
                  </a:lnTo>
                  <a:lnTo>
                    <a:pt x="94" y="768"/>
                  </a:lnTo>
                  <a:lnTo>
                    <a:pt x="92" y="762"/>
                  </a:lnTo>
                  <a:lnTo>
                    <a:pt x="86" y="759"/>
                  </a:lnTo>
                  <a:lnTo>
                    <a:pt x="86" y="747"/>
                  </a:lnTo>
                  <a:lnTo>
                    <a:pt x="86" y="742"/>
                  </a:lnTo>
                  <a:lnTo>
                    <a:pt x="82" y="742"/>
                  </a:lnTo>
                  <a:lnTo>
                    <a:pt x="75" y="745"/>
                  </a:lnTo>
                  <a:lnTo>
                    <a:pt x="73" y="749"/>
                  </a:lnTo>
                  <a:lnTo>
                    <a:pt x="69" y="749"/>
                  </a:lnTo>
                  <a:lnTo>
                    <a:pt x="62" y="730"/>
                  </a:lnTo>
                  <a:lnTo>
                    <a:pt x="60" y="725"/>
                  </a:lnTo>
                  <a:lnTo>
                    <a:pt x="62" y="710"/>
                  </a:lnTo>
                  <a:lnTo>
                    <a:pt x="67" y="704"/>
                  </a:lnTo>
                  <a:lnTo>
                    <a:pt x="73" y="698"/>
                  </a:lnTo>
                  <a:lnTo>
                    <a:pt x="73" y="687"/>
                  </a:lnTo>
                  <a:lnTo>
                    <a:pt x="73" y="678"/>
                  </a:lnTo>
                  <a:lnTo>
                    <a:pt x="69" y="670"/>
                  </a:lnTo>
                  <a:lnTo>
                    <a:pt x="73" y="663"/>
                  </a:lnTo>
                  <a:lnTo>
                    <a:pt x="75" y="659"/>
                  </a:lnTo>
                  <a:lnTo>
                    <a:pt x="73" y="649"/>
                  </a:lnTo>
                  <a:lnTo>
                    <a:pt x="73" y="644"/>
                  </a:lnTo>
                  <a:lnTo>
                    <a:pt x="75" y="640"/>
                  </a:lnTo>
                  <a:lnTo>
                    <a:pt x="73" y="634"/>
                  </a:lnTo>
                  <a:lnTo>
                    <a:pt x="73" y="623"/>
                  </a:lnTo>
                  <a:lnTo>
                    <a:pt x="69" y="617"/>
                  </a:lnTo>
                  <a:lnTo>
                    <a:pt x="69" y="614"/>
                  </a:lnTo>
                  <a:lnTo>
                    <a:pt x="73" y="610"/>
                  </a:lnTo>
                  <a:lnTo>
                    <a:pt x="73" y="606"/>
                  </a:lnTo>
                  <a:lnTo>
                    <a:pt x="69" y="600"/>
                  </a:lnTo>
                  <a:lnTo>
                    <a:pt x="64" y="595"/>
                  </a:lnTo>
                  <a:lnTo>
                    <a:pt x="62" y="595"/>
                  </a:lnTo>
                  <a:lnTo>
                    <a:pt x="60" y="597"/>
                  </a:lnTo>
                  <a:lnTo>
                    <a:pt x="58" y="595"/>
                  </a:lnTo>
                  <a:lnTo>
                    <a:pt x="58" y="591"/>
                  </a:lnTo>
                  <a:lnTo>
                    <a:pt x="67" y="591"/>
                  </a:lnTo>
                  <a:lnTo>
                    <a:pt x="69" y="585"/>
                  </a:lnTo>
                  <a:lnTo>
                    <a:pt x="69" y="582"/>
                  </a:lnTo>
                  <a:lnTo>
                    <a:pt x="69" y="580"/>
                  </a:lnTo>
                  <a:lnTo>
                    <a:pt x="64" y="582"/>
                  </a:lnTo>
                  <a:lnTo>
                    <a:pt x="62" y="582"/>
                  </a:lnTo>
                  <a:lnTo>
                    <a:pt x="60" y="574"/>
                  </a:lnTo>
                  <a:lnTo>
                    <a:pt x="56" y="566"/>
                  </a:lnTo>
                  <a:lnTo>
                    <a:pt x="56" y="561"/>
                  </a:lnTo>
                  <a:lnTo>
                    <a:pt x="56" y="553"/>
                  </a:lnTo>
                  <a:lnTo>
                    <a:pt x="50" y="551"/>
                  </a:lnTo>
                  <a:lnTo>
                    <a:pt x="49" y="546"/>
                  </a:lnTo>
                  <a:lnTo>
                    <a:pt x="49" y="533"/>
                  </a:lnTo>
                  <a:lnTo>
                    <a:pt x="52" y="531"/>
                  </a:lnTo>
                  <a:lnTo>
                    <a:pt x="54" y="525"/>
                  </a:lnTo>
                  <a:lnTo>
                    <a:pt x="50" y="521"/>
                  </a:lnTo>
                  <a:lnTo>
                    <a:pt x="49" y="519"/>
                  </a:lnTo>
                  <a:lnTo>
                    <a:pt x="49" y="510"/>
                  </a:lnTo>
                  <a:lnTo>
                    <a:pt x="45" y="499"/>
                  </a:lnTo>
                  <a:lnTo>
                    <a:pt x="49" y="484"/>
                  </a:lnTo>
                  <a:lnTo>
                    <a:pt x="43" y="480"/>
                  </a:lnTo>
                  <a:lnTo>
                    <a:pt x="43" y="472"/>
                  </a:lnTo>
                  <a:lnTo>
                    <a:pt x="49" y="463"/>
                  </a:lnTo>
                  <a:lnTo>
                    <a:pt x="50" y="452"/>
                  </a:lnTo>
                  <a:lnTo>
                    <a:pt x="56" y="450"/>
                  </a:lnTo>
                  <a:lnTo>
                    <a:pt x="58" y="446"/>
                  </a:lnTo>
                  <a:lnTo>
                    <a:pt x="49" y="425"/>
                  </a:lnTo>
                  <a:lnTo>
                    <a:pt x="49" y="418"/>
                  </a:lnTo>
                  <a:lnTo>
                    <a:pt x="49" y="412"/>
                  </a:lnTo>
                  <a:lnTo>
                    <a:pt x="49" y="401"/>
                  </a:lnTo>
                  <a:lnTo>
                    <a:pt x="52" y="391"/>
                  </a:lnTo>
                  <a:lnTo>
                    <a:pt x="56" y="388"/>
                  </a:lnTo>
                  <a:lnTo>
                    <a:pt x="56" y="382"/>
                  </a:lnTo>
                  <a:lnTo>
                    <a:pt x="52" y="372"/>
                  </a:lnTo>
                  <a:lnTo>
                    <a:pt x="49" y="372"/>
                  </a:lnTo>
                  <a:lnTo>
                    <a:pt x="54" y="367"/>
                  </a:lnTo>
                  <a:lnTo>
                    <a:pt x="52" y="361"/>
                  </a:lnTo>
                  <a:lnTo>
                    <a:pt x="56" y="352"/>
                  </a:lnTo>
                  <a:lnTo>
                    <a:pt x="60" y="352"/>
                  </a:lnTo>
                  <a:lnTo>
                    <a:pt x="60" y="342"/>
                  </a:lnTo>
                  <a:lnTo>
                    <a:pt x="58" y="327"/>
                  </a:lnTo>
                  <a:lnTo>
                    <a:pt x="56" y="324"/>
                  </a:lnTo>
                  <a:lnTo>
                    <a:pt x="54" y="314"/>
                  </a:lnTo>
                  <a:lnTo>
                    <a:pt x="50" y="308"/>
                  </a:lnTo>
                  <a:lnTo>
                    <a:pt x="49" y="301"/>
                  </a:lnTo>
                  <a:lnTo>
                    <a:pt x="45" y="297"/>
                  </a:lnTo>
                  <a:lnTo>
                    <a:pt x="43" y="291"/>
                  </a:lnTo>
                  <a:lnTo>
                    <a:pt x="39" y="284"/>
                  </a:lnTo>
                  <a:lnTo>
                    <a:pt x="43" y="276"/>
                  </a:lnTo>
                  <a:lnTo>
                    <a:pt x="49" y="275"/>
                  </a:lnTo>
                  <a:lnTo>
                    <a:pt x="49" y="265"/>
                  </a:lnTo>
                  <a:lnTo>
                    <a:pt x="49" y="261"/>
                  </a:lnTo>
                  <a:lnTo>
                    <a:pt x="50" y="254"/>
                  </a:lnTo>
                  <a:lnTo>
                    <a:pt x="49" y="248"/>
                  </a:lnTo>
                  <a:lnTo>
                    <a:pt x="45" y="235"/>
                  </a:lnTo>
                  <a:lnTo>
                    <a:pt x="49" y="233"/>
                  </a:lnTo>
                  <a:lnTo>
                    <a:pt x="50" y="218"/>
                  </a:lnTo>
                  <a:lnTo>
                    <a:pt x="54" y="214"/>
                  </a:lnTo>
                  <a:lnTo>
                    <a:pt x="58" y="201"/>
                  </a:lnTo>
                  <a:lnTo>
                    <a:pt x="64" y="197"/>
                  </a:lnTo>
                  <a:lnTo>
                    <a:pt x="67" y="194"/>
                  </a:lnTo>
                  <a:lnTo>
                    <a:pt x="69" y="190"/>
                  </a:lnTo>
                  <a:lnTo>
                    <a:pt x="69" y="190"/>
                  </a:lnTo>
                  <a:lnTo>
                    <a:pt x="69" y="184"/>
                  </a:lnTo>
                  <a:lnTo>
                    <a:pt x="67" y="182"/>
                  </a:lnTo>
                  <a:lnTo>
                    <a:pt x="64" y="180"/>
                  </a:lnTo>
                  <a:lnTo>
                    <a:pt x="64" y="177"/>
                  </a:lnTo>
                  <a:lnTo>
                    <a:pt x="69" y="173"/>
                  </a:lnTo>
                  <a:lnTo>
                    <a:pt x="69" y="169"/>
                  </a:lnTo>
                  <a:lnTo>
                    <a:pt x="64" y="163"/>
                  </a:lnTo>
                  <a:lnTo>
                    <a:pt x="64" y="158"/>
                  </a:lnTo>
                  <a:lnTo>
                    <a:pt x="64" y="154"/>
                  </a:lnTo>
                  <a:lnTo>
                    <a:pt x="64" y="150"/>
                  </a:lnTo>
                  <a:lnTo>
                    <a:pt x="62" y="146"/>
                  </a:lnTo>
                  <a:lnTo>
                    <a:pt x="62" y="143"/>
                  </a:lnTo>
                  <a:lnTo>
                    <a:pt x="84" y="129"/>
                  </a:lnTo>
                  <a:lnTo>
                    <a:pt x="88" y="109"/>
                  </a:lnTo>
                  <a:lnTo>
                    <a:pt x="86" y="103"/>
                  </a:lnTo>
                  <a:lnTo>
                    <a:pt x="84" y="105"/>
                  </a:lnTo>
                  <a:lnTo>
                    <a:pt x="82" y="107"/>
                  </a:lnTo>
                  <a:lnTo>
                    <a:pt x="77" y="107"/>
                  </a:lnTo>
                  <a:lnTo>
                    <a:pt x="64" y="69"/>
                  </a:lnTo>
                  <a:lnTo>
                    <a:pt x="54" y="64"/>
                  </a:lnTo>
                  <a:lnTo>
                    <a:pt x="52" y="58"/>
                  </a:lnTo>
                  <a:lnTo>
                    <a:pt x="56" y="48"/>
                  </a:lnTo>
                  <a:lnTo>
                    <a:pt x="54" y="45"/>
                  </a:lnTo>
                  <a:lnTo>
                    <a:pt x="58" y="39"/>
                  </a:lnTo>
                  <a:lnTo>
                    <a:pt x="56" y="35"/>
                  </a:lnTo>
                  <a:lnTo>
                    <a:pt x="49" y="30"/>
                  </a:lnTo>
                  <a:lnTo>
                    <a:pt x="45" y="26"/>
                  </a:lnTo>
                  <a:lnTo>
                    <a:pt x="43" y="18"/>
                  </a:lnTo>
                  <a:lnTo>
                    <a:pt x="43" y="16"/>
                  </a:lnTo>
                  <a:lnTo>
                    <a:pt x="43" y="13"/>
                  </a:lnTo>
                  <a:lnTo>
                    <a:pt x="43" y="9"/>
                  </a:lnTo>
                  <a:lnTo>
                    <a:pt x="43" y="9"/>
                  </a:lnTo>
                  <a:lnTo>
                    <a:pt x="39" y="5"/>
                  </a:lnTo>
                  <a:lnTo>
                    <a:pt x="39" y="0"/>
                  </a:lnTo>
                  <a:lnTo>
                    <a:pt x="35" y="0"/>
                  </a:lnTo>
                  <a:lnTo>
                    <a:pt x="34" y="1"/>
                  </a:lnTo>
                  <a:lnTo>
                    <a:pt x="32" y="5"/>
                  </a:lnTo>
                  <a:lnTo>
                    <a:pt x="35" y="9"/>
                  </a:lnTo>
                  <a:lnTo>
                    <a:pt x="34" y="11"/>
                  </a:lnTo>
                  <a:lnTo>
                    <a:pt x="30" y="15"/>
                  </a:lnTo>
                  <a:lnTo>
                    <a:pt x="28" y="13"/>
                  </a:lnTo>
                  <a:lnTo>
                    <a:pt x="22" y="16"/>
                  </a:lnTo>
                  <a:lnTo>
                    <a:pt x="18" y="18"/>
                  </a:lnTo>
                  <a:lnTo>
                    <a:pt x="20" y="20"/>
                  </a:lnTo>
                  <a:lnTo>
                    <a:pt x="20" y="26"/>
                  </a:lnTo>
                  <a:lnTo>
                    <a:pt x="20" y="30"/>
                  </a:lnTo>
                  <a:lnTo>
                    <a:pt x="20" y="35"/>
                  </a:lnTo>
                  <a:lnTo>
                    <a:pt x="24" y="48"/>
                  </a:lnTo>
                  <a:lnTo>
                    <a:pt x="24" y="54"/>
                  </a:lnTo>
                  <a:lnTo>
                    <a:pt x="22" y="58"/>
                  </a:lnTo>
                  <a:lnTo>
                    <a:pt x="20" y="60"/>
                  </a:lnTo>
                  <a:lnTo>
                    <a:pt x="22" y="65"/>
                  </a:lnTo>
                  <a:lnTo>
                    <a:pt x="24" y="73"/>
                  </a:lnTo>
                  <a:lnTo>
                    <a:pt x="26" y="79"/>
                  </a:lnTo>
                  <a:lnTo>
                    <a:pt x="26" y="90"/>
                  </a:lnTo>
                  <a:lnTo>
                    <a:pt x="26" y="90"/>
                  </a:lnTo>
                  <a:lnTo>
                    <a:pt x="24" y="94"/>
                  </a:lnTo>
                  <a:lnTo>
                    <a:pt x="26" y="107"/>
                  </a:lnTo>
                  <a:lnTo>
                    <a:pt x="26" y="109"/>
                  </a:lnTo>
                  <a:lnTo>
                    <a:pt x="22" y="111"/>
                  </a:lnTo>
                  <a:lnTo>
                    <a:pt x="20" y="113"/>
                  </a:lnTo>
                  <a:lnTo>
                    <a:pt x="20" y="120"/>
                  </a:lnTo>
                  <a:lnTo>
                    <a:pt x="22" y="122"/>
                  </a:lnTo>
                  <a:lnTo>
                    <a:pt x="24" y="120"/>
                  </a:lnTo>
                  <a:lnTo>
                    <a:pt x="26" y="122"/>
                  </a:lnTo>
                  <a:lnTo>
                    <a:pt x="24" y="124"/>
                  </a:lnTo>
                  <a:lnTo>
                    <a:pt x="24" y="143"/>
                  </a:lnTo>
                  <a:lnTo>
                    <a:pt x="26" y="152"/>
                  </a:lnTo>
                  <a:lnTo>
                    <a:pt x="28" y="158"/>
                  </a:lnTo>
                  <a:lnTo>
                    <a:pt x="26" y="160"/>
                  </a:lnTo>
                  <a:lnTo>
                    <a:pt x="22" y="165"/>
                  </a:lnTo>
                  <a:lnTo>
                    <a:pt x="22" y="171"/>
                  </a:lnTo>
                  <a:lnTo>
                    <a:pt x="26" y="178"/>
                  </a:lnTo>
                  <a:lnTo>
                    <a:pt x="26" y="182"/>
                  </a:lnTo>
                  <a:lnTo>
                    <a:pt x="26" y="190"/>
                  </a:lnTo>
                  <a:lnTo>
                    <a:pt x="24" y="194"/>
                  </a:lnTo>
                  <a:lnTo>
                    <a:pt x="24" y="199"/>
                  </a:lnTo>
                  <a:lnTo>
                    <a:pt x="24" y="201"/>
                  </a:lnTo>
                  <a:lnTo>
                    <a:pt x="24" y="205"/>
                  </a:lnTo>
                  <a:lnTo>
                    <a:pt x="20" y="209"/>
                  </a:lnTo>
                  <a:lnTo>
                    <a:pt x="20" y="214"/>
                  </a:lnTo>
                  <a:lnTo>
                    <a:pt x="18" y="218"/>
                  </a:lnTo>
                  <a:lnTo>
                    <a:pt x="20" y="224"/>
                  </a:lnTo>
                  <a:lnTo>
                    <a:pt x="18" y="224"/>
                  </a:lnTo>
                  <a:lnTo>
                    <a:pt x="18" y="231"/>
                  </a:lnTo>
                  <a:lnTo>
                    <a:pt x="18" y="235"/>
                  </a:lnTo>
                  <a:lnTo>
                    <a:pt x="20" y="241"/>
                  </a:lnTo>
                  <a:lnTo>
                    <a:pt x="20" y="246"/>
                  </a:lnTo>
                  <a:lnTo>
                    <a:pt x="22" y="248"/>
                  </a:lnTo>
                  <a:lnTo>
                    <a:pt x="20" y="252"/>
                  </a:lnTo>
                  <a:lnTo>
                    <a:pt x="18" y="254"/>
                  </a:lnTo>
                  <a:lnTo>
                    <a:pt x="20" y="258"/>
                  </a:lnTo>
                  <a:lnTo>
                    <a:pt x="18" y="261"/>
                  </a:lnTo>
                  <a:lnTo>
                    <a:pt x="15" y="261"/>
                  </a:lnTo>
                  <a:lnTo>
                    <a:pt x="15" y="267"/>
                  </a:lnTo>
                  <a:lnTo>
                    <a:pt x="18" y="273"/>
                  </a:lnTo>
                  <a:lnTo>
                    <a:pt x="18" y="276"/>
                  </a:lnTo>
                  <a:lnTo>
                    <a:pt x="20" y="288"/>
                  </a:lnTo>
                  <a:lnTo>
                    <a:pt x="20" y="291"/>
                  </a:lnTo>
                  <a:lnTo>
                    <a:pt x="18" y="295"/>
                  </a:lnTo>
                  <a:lnTo>
                    <a:pt x="18" y="297"/>
                  </a:lnTo>
                  <a:lnTo>
                    <a:pt x="24" y="305"/>
                  </a:lnTo>
                  <a:lnTo>
                    <a:pt x="24" y="310"/>
                  </a:lnTo>
                  <a:lnTo>
                    <a:pt x="22" y="316"/>
                  </a:lnTo>
                  <a:lnTo>
                    <a:pt x="22" y="318"/>
                  </a:lnTo>
                  <a:lnTo>
                    <a:pt x="24" y="322"/>
                  </a:lnTo>
                  <a:lnTo>
                    <a:pt x="22" y="322"/>
                  </a:lnTo>
                  <a:lnTo>
                    <a:pt x="22" y="325"/>
                  </a:lnTo>
                  <a:lnTo>
                    <a:pt x="24" y="327"/>
                  </a:lnTo>
                  <a:lnTo>
                    <a:pt x="28" y="333"/>
                  </a:lnTo>
                  <a:lnTo>
                    <a:pt x="28" y="337"/>
                  </a:lnTo>
                  <a:lnTo>
                    <a:pt x="26" y="340"/>
                  </a:lnTo>
                  <a:lnTo>
                    <a:pt x="22" y="342"/>
                  </a:lnTo>
                  <a:lnTo>
                    <a:pt x="20" y="348"/>
                  </a:lnTo>
                  <a:lnTo>
                    <a:pt x="20" y="348"/>
                  </a:lnTo>
                  <a:lnTo>
                    <a:pt x="22" y="352"/>
                  </a:lnTo>
                  <a:lnTo>
                    <a:pt x="20" y="354"/>
                  </a:lnTo>
                  <a:lnTo>
                    <a:pt x="18" y="357"/>
                  </a:lnTo>
                  <a:lnTo>
                    <a:pt x="18" y="361"/>
                  </a:lnTo>
                  <a:lnTo>
                    <a:pt x="18" y="367"/>
                  </a:lnTo>
                  <a:lnTo>
                    <a:pt x="18" y="369"/>
                  </a:lnTo>
                  <a:lnTo>
                    <a:pt x="18" y="372"/>
                  </a:lnTo>
                  <a:lnTo>
                    <a:pt x="15" y="372"/>
                  </a:lnTo>
                  <a:lnTo>
                    <a:pt x="15" y="378"/>
                  </a:lnTo>
                  <a:lnTo>
                    <a:pt x="15" y="382"/>
                  </a:lnTo>
                  <a:lnTo>
                    <a:pt x="15" y="382"/>
                  </a:lnTo>
                  <a:lnTo>
                    <a:pt x="15" y="386"/>
                  </a:lnTo>
                  <a:lnTo>
                    <a:pt x="13" y="388"/>
                  </a:lnTo>
                  <a:lnTo>
                    <a:pt x="13" y="393"/>
                  </a:lnTo>
                  <a:lnTo>
                    <a:pt x="13" y="397"/>
                  </a:lnTo>
                  <a:lnTo>
                    <a:pt x="11" y="399"/>
                  </a:lnTo>
                  <a:lnTo>
                    <a:pt x="11" y="403"/>
                  </a:lnTo>
                  <a:lnTo>
                    <a:pt x="9" y="405"/>
                  </a:lnTo>
                  <a:lnTo>
                    <a:pt x="9" y="408"/>
                  </a:lnTo>
                  <a:lnTo>
                    <a:pt x="11" y="410"/>
                  </a:lnTo>
                  <a:lnTo>
                    <a:pt x="11" y="412"/>
                  </a:lnTo>
                  <a:lnTo>
                    <a:pt x="7" y="416"/>
                  </a:lnTo>
                  <a:lnTo>
                    <a:pt x="5" y="416"/>
                  </a:lnTo>
                  <a:lnTo>
                    <a:pt x="3" y="416"/>
                  </a:lnTo>
                  <a:lnTo>
                    <a:pt x="0" y="416"/>
                  </a:lnTo>
                  <a:lnTo>
                    <a:pt x="0" y="418"/>
                  </a:lnTo>
                  <a:lnTo>
                    <a:pt x="2" y="421"/>
                  </a:lnTo>
                  <a:lnTo>
                    <a:pt x="2" y="427"/>
                  </a:lnTo>
                  <a:lnTo>
                    <a:pt x="3" y="433"/>
                  </a:lnTo>
                  <a:lnTo>
                    <a:pt x="7" y="435"/>
                  </a:lnTo>
                  <a:lnTo>
                    <a:pt x="9" y="440"/>
                  </a:lnTo>
                  <a:lnTo>
                    <a:pt x="7" y="442"/>
                  </a:lnTo>
                  <a:lnTo>
                    <a:pt x="15" y="455"/>
                  </a:lnTo>
                  <a:lnTo>
                    <a:pt x="15" y="455"/>
                  </a:lnTo>
                  <a:lnTo>
                    <a:pt x="15" y="459"/>
                  </a:lnTo>
                  <a:lnTo>
                    <a:pt x="15" y="465"/>
                  </a:lnTo>
                  <a:lnTo>
                    <a:pt x="15" y="474"/>
                  </a:lnTo>
                  <a:lnTo>
                    <a:pt x="15" y="474"/>
                  </a:lnTo>
                  <a:lnTo>
                    <a:pt x="15" y="476"/>
                  </a:lnTo>
                  <a:lnTo>
                    <a:pt x="15" y="480"/>
                  </a:lnTo>
                  <a:lnTo>
                    <a:pt x="13" y="480"/>
                  </a:lnTo>
                  <a:lnTo>
                    <a:pt x="11" y="480"/>
                  </a:lnTo>
                  <a:lnTo>
                    <a:pt x="9" y="482"/>
                  </a:lnTo>
                  <a:lnTo>
                    <a:pt x="11" y="485"/>
                  </a:lnTo>
                  <a:lnTo>
                    <a:pt x="13" y="487"/>
                  </a:lnTo>
                  <a:lnTo>
                    <a:pt x="11" y="495"/>
                  </a:lnTo>
                  <a:lnTo>
                    <a:pt x="11" y="499"/>
                  </a:lnTo>
                  <a:lnTo>
                    <a:pt x="9" y="501"/>
                  </a:lnTo>
                  <a:lnTo>
                    <a:pt x="11" y="502"/>
                  </a:lnTo>
                  <a:lnTo>
                    <a:pt x="11" y="506"/>
                  </a:lnTo>
                  <a:lnTo>
                    <a:pt x="9" y="506"/>
                  </a:lnTo>
                  <a:lnTo>
                    <a:pt x="11" y="506"/>
                  </a:lnTo>
                  <a:lnTo>
                    <a:pt x="15" y="516"/>
                  </a:lnTo>
                  <a:lnTo>
                    <a:pt x="18" y="518"/>
                  </a:lnTo>
                  <a:lnTo>
                    <a:pt x="18" y="521"/>
                  </a:lnTo>
                  <a:lnTo>
                    <a:pt x="24" y="523"/>
                  </a:lnTo>
                  <a:lnTo>
                    <a:pt x="30" y="523"/>
                  </a:lnTo>
                  <a:lnTo>
                    <a:pt x="30" y="518"/>
                  </a:lnTo>
                  <a:lnTo>
                    <a:pt x="32" y="516"/>
                  </a:lnTo>
                  <a:lnTo>
                    <a:pt x="35" y="516"/>
                  </a:lnTo>
                  <a:lnTo>
                    <a:pt x="37" y="519"/>
                  </a:lnTo>
                  <a:lnTo>
                    <a:pt x="39" y="519"/>
                  </a:lnTo>
                  <a:lnTo>
                    <a:pt x="39" y="518"/>
                  </a:lnTo>
                  <a:lnTo>
                    <a:pt x="39" y="521"/>
                  </a:lnTo>
                  <a:lnTo>
                    <a:pt x="35" y="525"/>
                  </a:lnTo>
                  <a:lnTo>
                    <a:pt x="35" y="527"/>
                  </a:lnTo>
                  <a:lnTo>
                    <a:pt x="39" y="529"/>
                  </a:lnTo>
                  <a:lnTo>
                    <a:pt x="39" y="527"/>
                  </a:lnTo>
                  <a:lnTo>
                    <a:pt x="39" y="531"/>
                  </a:lnTo>
                  <a:lnTo>
                    <a:pt x="39" y="536"/>
                  </a:lnTo>
                  <a:lnTo>
                    <a:pt x="43" y="540"/>
                  </a:lnTo>
                  <a:lnTo>
                    <a:pt x="43" y="540"/>
                  </a:lnTo>
                  <a:lnTo>
                    <a:pt x="39" y="536"/>
                  </a:lnTo>
                  <a:lnTo>
                    <a:pt x="39" y="534"/>
                  </a:lnTo>
                  <a:lnTo>
                    <a:pt x="37" y="534"/>
                  </a:lnTo>
                  <a:lnTo>
                    <a:pt x="35" y="536"/>
                  </a:lnTo>
                  <a:lnTo>
                    <a:pt x="35" y="536"/>
                  </a:lnTo>
                  <a:lnTo>
                    <a:pt x="39" y="540"/>
                  </a:lnTo>
                  <a:lnTo>
                    <a:pt x="39" y="540"/>
                  </a:lnTo>
                  <a:lnTo>
                    <a:pt x="37" y="542"/>
                  </a:lnTo>
                  <a:lnTo>
                    <a:pt x="35" y="544"/>
                  </a:lnTo>
                  <a:lnTo>
                    <a:pt x="37" y="550"/>
                  </a:lnTo>
                  <a:lnTo>
                    <a:pt x="39" y="551"/>
                  </a:lnTo>
                  <a:lnTo>
                    <a:pt x="37" y="555"/>
                  </a:lnTo>
                  <a:lnTo>
                    <a:pt x="37" y="557"/>
                  </a:lnTo>
                  <a:lnTo>
                    <a:pt x="37" y="559"/>
                  </a:lnTo>
                  <a:lnTo>
                    <a:pt x="34" y="561"/>
                  </a:lnTo>
                  <a:lnTo>
                    <a:pt x="35" y="565"/>
                  </a:lnTo>
                  <a:lnTo>
                    <a:pt x="39" y="566"/>
                  </a:lnTo>
                  <a:lnTo>
                    <a:pt x="37" y="570"/>
                  </a:lnTo>
                  <a:lnTo>
                    <a:pt x="37" y="574"/>
                  </a:lnTo>
                  <a:lnTo>
                    <a:pt x="35" y="576"/>
                  </a:lnTo>
                  <a:lnTo>
                    <a:pt x="35" y="580"/>
                  </a:lnTo>
                  <a:lnTo>
                    <a:pt x="37" y="580"/>
                  </a:lnTo>
                  <a:lnTo>
                    <a:pt x="39" y="582"/>
                  </a:lnTo>
                  <a:lnTo>
                    <a:pt x="43" y="583"/>
                  </a:lnTo>
                  <a:lnTo>
                    <a:pt x="43" y="585"/>
                  </a:lnTo>
                  <a:lnTo>
                    <a:pt x="45" y="587"/>
                  </a:lnTo>
                  <a:lnTo>
                    <a:pt x="49" y="589"/>
                  </a:lnTo>
                  <a:lnTo>
                    <a:pt x="49" y="595"/>
                  </a:lnTo>
                  <a:lnTo>
                    <a:pt x="43" y="600"/>
                  </a:lnTo>
                  <a:lnTo>
                    <a:pt x="39" y="600"/>
                  </a:lnTo>
                  <a:lnTo>
                    <a:pt x="37" y="600"/>
                  </a:lnTo>
                  <a:lnTo>
                    <a:pt x="37" y="604"/>
                  </a:lnTo>
                  <a:lnTo>
                    <a:pt x="39" y="608"/>
                  </a:lnTo>
                  <a:lnTo>
                    <a:pt x="37" y="610"/>
                  </a:lnTo>
                  <a:lnTo>
                    <a:pt x="37" y="614"/>
                  </a:lnTo>
                  <a:lnTo>
                    <a:pt x="39" y="614"/>
                  </a:lnTo>
                  <a:lnTo>
                    <a:pt x="37" y="617"/>
                  </a:lnTo>
                  <a:lnTo>
                    <a:pt x="34" y="623"/>
                  </a:lnTo>
                  <a:lnTo>
                    <a:pt x="34" y="629"/>
                  </a:lnTo>
                  <a:lnTo>
                    <a:pt x="35" y="629"/>
                  </a:lnTo>
                  <a:lnTo>
                    <a:pt x="35" y="631"/>
                  </a:lnTo>
                  <a:lnTo>
                    <a:pt x="35" y="636"/>
                  </a:lnTo>
                  <a:lnTo>
                    <a:pt x="32" y="638"/>
                  </a:lnTo>
                  <a:lnTo>
                    <a:pt x="32" y="644"/>
                  </a:lnTo>
                  <a:lnTo>
                    <a:pt x="30" y="640"/>
                  </a:lnTo>
                  <a:lnTo>
                    <a:pt x="32" y="638"/>
                  </a:lnTo>
                  <a:lnTo>
                    <a:pt x="34" y="634"/>
                  </a:lnTo>
                  <a:lnTo>
                    <a:pt x="32" y="631"/>
                  </a:lnTo>
                  <a:lnTo>
                    <a:pt x="34" y="629"/>
                  </a:lnTo>
                  <a:lnTo>
                    <a:pt x="32" y="629"/>
                  </a:lnTo>
                  <a:lnTo>
                    <a:pt x="26" y="629"/>
                  </a:lnTo>
                  <a:lnTo>
                    <a:pt x="22" y="631"/>
                  </a:lnTo>
                  <a:lnTo>
                    <a:pt x="20" y="631"/>
                  </a:lnTo>
                  <a:lnTo>
                    <a:pt x="20" y="631"/>
                  </a:lnTo>
                  <a:lnTo>
                    <a:pt x="24" y="629"/>
                  </a:lnTo>
                  <a:lnTo>
                    <a:pt x="26" y="627"/>
                  </a:lnTo>
                  <a:lnTo>
                    <a:pt x="26" y="621"/>
                  </a:lnTo>
                  <a:lnTo>
                    <a:pt x="24" y="621"/>
                  </a:lnTo>
                  <a:lnTo>
                    <a:pt x="20" y="623"/>
                  </a:lnTo>
                  <a:lnTo>
                    <a:pt x="15" y="623"/>
                  </a:lnTo>
                  <a:lnTo>
                    <a:pt x="13" y="621"/>
                  </a:lnTo>
                  <a:lnTo>
                    <a:pt x="11" y="623"/>
                  </a:lnTo>
                  <a:lnTo>
                    <a:pt x="11" y="625"/>
                  </a:lnTo>
                  <a:lnTo>
                    <a:pt x="13" y="629"/>
                  </a:lnTo>
                  <a:lnTo>
                    <a:pt x="15" y="629"/>
                  </a:lnTo>
                  <a:lnTo>
                    <a:pt x="15" y="631"/>
                  </a:lnTo>
                  <a:lnTo>
                    <a:pt x="13" y="631"/>
                  </a:lnTo>
                  <a:lnTo>
                    <a:pt x="11" y="634"/>
                  </a:lnTo>
                  <a:lnTo>
                    <a:pt x="9" y="636"/>
                  </a:lnTo>
                  <a:lnTo>
                    <a:pt x="7" y="640"/>
                  </a:lnTo>
                  <a:lnTo>
                    <a:pt x="2" y="644"/>
                  </a:lnTo>
                  <a:lnTo>
                    <a:pt x="2" y="646"/>
                  </a:lnTo>
                  <a:lnTo>
                    <a:pt x="7" y="651"/>
                  </a:lnTo>
                  <a:lnTo>
                    <a:pt x="11" y="651"/>
                  </a:lnTo>
                  <a:lnTo>
                    <a:pt x="13" y="649"/>
                  </a:lnTo>
                  <a:lnTo>
                    <a:pt x="11" y="647"/>
                  </a:lnTo>
                  <a:lnTo>
                    <a:pt x="7" y="646"/>
                  </a:lnTo>
                  <a:lnTo>
                    <a:pt x="7" y="644"/>
                  </a:lnTo>
                  <a:lnTo>
                    <a:pt x="9" y="640"/>
                  </a:lnTo>
                  <a:lnTo>
                    <a:pt x="15" y="640"/>
                  </a:lnTo>
                  <a:lnTo>
                    <a:pt x="15" y="638"/>
                  </a:lnTo>
                  <a:lnTo>
                    <a:pt x="15" y="644"/>
                  </a:lnTo>
                  <a:lnTo>
                    <a:pt x="18" y="646"/>
                  </a:lnTo>
                  <a:lnTo>
                    <a:pt x="22" y="646"/>
                  </a:lnTo>
                  <a:lnTo>
                    <a:pt x="24" y="644"/>
                  </a:lnTo>
                  <a:lnTo>
                    <a:pt x="26" y="646"/>
                  </a:lnTo>
                  <a:lnTo>
                    <a:pt x="28" y="647"/>
                  </a:lnTo>
                  <a:lnTo>
                    <a:pt x="34" y="649"/>
                  </a:lnTo>
                  <a:lnTo>
                    <a:pt x="35" y="651"/>
                  </a:lnTo>
                  <a:lnTo>
                    <a:pt x="34" y="653"/>
                  </a:lnTo>
                  <a:lnTo>
                    <a:pt x="32" y="655"/>
                  </a:lnTo>
                  <a:lnTo>
                    <a:pt x="34" y="655"/>
                  </a:lnTo>
                  <a:lnTo>
                    <a:pt x="32" y="659"/>
                  </a:lnTo>
                  <a:lnTo>
                    <a:pt x="30" y="661"/>
                  </a:lnTo>
                  <a:lnTo>
                    <a:pt x="32" y="663"/>
                  </a:lnTo>
                  <a:lnTo>
                    <a:pt x="35" y="664"/>
                  </a:lnTo>
                  <a:lnTo>
                    <a:pt x="34" y="664"/>
                  </a:lnTo>
                  <a:lnTo>
                    <a:pt x="32" y="664"/>
                  </a:lnTo>
                  <a:lnTo>
                    <a:pt x="30" y="663"/>
                  </a:lnTo>
                  <a:lnTo>
                    <a:pt x="28" y="664"/>
                  </a:lnTo>
                  <a:lnTo>
                    <a:pt x="28" y="664"/>
                  </a:lnTo>
                  <a:lnTo>
                    <a:pt x="30" y="668"/>
                  </a:lnTo>
                  <a:lnTo>
                    <a:pt x="32" y="670"/>
                  </a:lnTo>
                  <a:lnTo>
                    <a:pt x="37" y="670"/>
                  </a:lnTo>
                  <a:lnTo>
                    <a:pt x="39" y="668"/>
                  </a:lnTo>
                  <a:lnTo>
                    <a:pt x="43" y="670"/>
                  </a:lnTo>
                  <a:lnTo>
                    <a:pt x="45" y="670"/>
                  </a:lnTo>
                  <a:lnTo>
                    <a:pt x="49" y="668"/>
                  </a:lnTo>
                  <a:lnTo>
                    <a:pt x="49" y="674"/>
                  </a:lnTo>
                  <a:lnTo>
                    <a:pt x="49" y="674"/>
                  </a:lnTo>
                  <a:lnTo>
                    <a:pt x="45" y="674"/>
                  </a:lnTo>
                  <a:lnTo>
                    <a:pt x="43" y="674"/>
                  </a:lnTo>
                  <a:lnTo>
                    <a:pt x="43" y="676"/>
                  </a:lnTo>
                  <a:lnTo>
                    <a:pt x="39" y="674"/>
                  </a:lnTo>
                  <a:lnTo>
                    <a:pt x="34" y="674"/>
                  </a:lnTo>
                  <a:lnTo>
                    <a:pt x="34" y="678"/>
                  </a:lnTo>
                  <a:lnTo>
                    <a:pt x="34" y="680"/>
                  </a:lnTo>
                  <a:lnTo>
                    <a:pt x="37" y="681"/>
                  </a:lnTo>
                  <a:lnTo>
                    <a:pt x="37" y="685"/>
                  </a:lnTo>
                  <a:lnTo>
                    <a:pt x="39" y="685"/>
                  </a:lnTo>
                  <a:lnTo>
                    <a:pt x="43" y="685"/>
                  </a:lnTo>
                  <a:lnTo>
                    <a:pt x="43" y="687"/>
                  </a:lnTo>
                  <a:lnTo>
                    <a:pt x="39" y="689"/>
                  </a:lnTo>
                  <a:lnTo>
                    <a:pt x="39" y="691"/>
                  </a:lnTo>
                  <a:lnTo>
                    <a:pt x="39" y="693"/>
                  </a:lnTo>
                  <a:lnTo>
                    <a:pt x="39" y="695"/>
                  </a:lnTo>
                  <a:lnTo>
                    <a:pt x="39" y="695"/>
                  </a:lnTo>
                  <a:lnTo>
                    <a:pt x="37" y="698"/>
                  </a:lnTo>
                  <a:lnTo>
                    <a:pt x="39" y="706"/>
                  </a:lnTo>
                  <a:lnTo>
                    <a:pt x="43" y="708"/>
                  </a:lnTo>
                  <a:lnTo>
                    <a:pt x="43" y="713"/>
                  </a:lnTo>
                  <a:lnTo>
                    <a:pt x="43" y="717"/>
                  </a:lnTo>
                  <a:lnTo>
                    <a:pt x="49" y="717"/>
                  </a:lnTo>
                  <a:lnTo>
                    <a:pt x="49" y="712"/>
                  </a:lnTo>
                  <a:lnTo>
                    <a:pt x="49" y="704"/>
                  </a:lnTo>
                  <a:lnTo>
                    <a:pt x="50" y="704"/>
                  </a:lnTo>
                  <a:lnTo>
                    <a:pt x="52" y="704"/>
                  </a:lnTo>
                  <a:lnTo>
                    <a:pt x="50" y="704"/>
                  </a:lnTo>
                  <a:lnTo>
                    <a:pt x="49" y="712"/>
                  </a:lnTo>
                  <a:lnTo>
                    <a:pt x="49" y="715"/>
                  </a:lnTo>
                  <a:lnTo>
                    <a:pt x="50" y="717"/>
                  </a:lnTo>
                  <a:lnTo>
                    <a:pt x="52" y="717"/>
                  </a:lnTo>
                  <a:lnTo>
                    <a:pt x="52" y="717"/>
                  </a:lnTo>
                  <a:lnTo>
                    <a:pt x="49" y="719"/>
                  </a:lnTo>
                  <a:lnTo>
                    <a:pt x="45" y="721"/>
                  </a:lnTo>
                  <a:lnTo>
                    <a:pt x="45" y="723"/>
                  </a:lnTo>
                  <a:lnTo>
                    <a:pt x="45" y="725"/>
                  </a:lnTo>
                  <a:lnTo>
                    <a:pt x="45" y="728"/>
                  </a:lnTo>
                  <a:lnTo>
                    <a:pt x="43" y="730"/>
                  </a:lnTo>
                  <a:lnTo>
                    <a:pt x="43" y="734"/>
                  </a:lnTo>
                  <a:lnTo>
                    <a:pt x="43" y="738"/>
                  </a:lnTo>
                  <a:lnTo>
                    <a:pt x="49" y="740"/>
                  </a:lnTo>
                  <a:lnTo>
                    <a:pt x="54" y="742"/>
                  </a:lnTo>
                  <a:lnTo>
                    <a:pt x="56" y="744"/>
                  </a:lnTo>
                  <a:lnTo>
                    <a:pt x="56" y="745"/>
                  </a:lnTo>
                  <a:lnTo>
                    <a:pt x="54" y="745"/>
                  </a:lnTo>
                  <a:lnTo>
                    <a:pt x="56" y="749"/>
                  </a:lnTo>
                  <a:lnTo>
                    <a:pt x="56" y="751"/>
                  </a:lnTo>
                  <a:lnTo>
                    <a:pt x="60" y="747"/>
                  </a:lnTo>
                  <a:lnTo>
                    <a:pt x="60" y="751"/>
                  </a:lnTo>
                  <a:lnTo>
                    <a:pt x="60" y="753"/>
                  </a:lnTo>
                  <a:lnTo>
                    <a:pt x="56" y="755"/>
                  </a:lnTo>
                  <a:lnTo>
                    <a:pt x="54" y="757"/>
                  </a:lnTo>
                  <a:lnTo>
                    <a:pt x="56" y="759"/>
                  </a:lnTo>
                  <a:lnTo>
                    <a:pt x="58" y="759"/>
                  </a:lnTo>
                  <a:lnTo>
                    <a:pt x="58" y="759"/>
                  </a:lnTo>
                  <a:lnTo>
                    <a:pt x="62" y="762"/>
                  </a:lnTo>
                  <a:lnTo>
                    <a:pt x="64" y="762"/>
                  </a:lnTo>
                  <a:lnTo>
                    <a:pt x="64" y="762"/>
                  </a:lnTo>
                  <a:lnTo>
                    <a:pt x="64" y="764"/>
                  </a:lnTo>
                  <a:lnTo>
                    <a:pt x="64" y="768"/>
                  </a:lnTo>
                  <a:lnTo>
                    <a:pt x="64" y="768"/>
                  </a:lnTo>
                  <a:lnTo>
                    <a:pt x="62" y="768"/>
                  </a:lnTo>
                  <a:lnTo>
                    <a:pt x="60" y="768"/>
                  </a:lnTo>
                  <a:lnTo>
                    <a:pt x="60" y="770"/>
                  </a:lnTo>
                  <a:lnTo>
                    <a:pt x="64" y="774"/>
                  </a:lnTo>
                  <a:lnTo>
                    <a:pt x="64" y="774"/>
                  </a:lnTo>
                  <a:lnTo>
                    <a:pt x="64" y="777"/>
                  </a:lnTo>
                  <a:lnTo>
                    <a:pt x="67" y="779"/>
                  </a:lnTo>
                  <a:lnTo>
                    <a:pt x="69" y="783"/>
                  </a:lnTo>
                  <a:lnTo>
                    <a:pt x="73" y="783"/>
                  </a:lnTo>
                  <a:lnTo>
                    <a:pt x="69" y="777"/>
                  </a:lnTo>
                  <a:lnTo>
                    <a:pt x="73" y="776"/>
                  </a:lnTo>
                  <a:lnTo>
                    <a:pt x="69" y="772"/>
                  </a:lnTo>
                  <a:lnTo>
                    <a:pt x="73" y="776"/>
                  </a:lnTo>
                  <a:lnTo>
                    <a:pt x="73" y="777"/>
                  </a:lnTo>
                  <a:lnTo>
                    <a:pt x="77" y="781"/>
                  </a:lnTo>
                  <a:lnTo>
                    <a:pt x="77" y="777"/>
                  </a:lnTo>
                  <a:lnTo>
                    <a:pt x="81" y="776"/>
                  </a:lnTo>
                  <a:lnTo>
                    <a:pt x="81" y="772"/>
                  </a:lnTo>
                  <a:lnTo>
                    <a:pt x="77" y="772"/>
                  </a:lnTo>
                  <a:lnTo>
                    <a:pt x="73" y="770"/>
                  </a:lnTo>
                  <a:lnTo>
                    <a:pt x="73" y="770"/>
                  </a:lnTo>
                  <a:lnTo>
                    <a:pt x="75" y="770"/>
                  </a:lnTo>
                  <a:lnTo>
                    <a:pt x="82" y="772"/>
                  </a:lnTo>
                  <a:lnTo>
                    <a:pt x="82" y="772"/>
                  </a:lnTo>
                  <a:lnTo>
                    <a:pt x="86" y="772"/>
                  </a:lnTo>
                  <a:lnTo>
                    <a:pt x="86" y="770"/>
                  </a:lnTo>
                  <a:lnTo>
                    <a:pt x="82" y="768"/>
                  </a:lnTo>
                  <a:lnTo>
                    <a:pt x="75" y="768"/>
                  </a:lnTo>
                  <a:lnTo>
                    <a:pt x="75" y="764"/>
                  </a:lnTo>
                  <a:lnTo>
                    <a:pt x="77" y="764"/>
                  </a:lnTo>
                  <a:lnTo>
                    <a:pt x="82" y="768"/>
                  </a:lnTo>
                  <a:lnTo>
                    <a:pt x="88" y="770"/>
                  </a:lnTo>
                  <a:lnTo>
                    <a:pt x="88" y="776"/>
                  </a:lnTo>
                  <a:lnTo>
                    <a:pt x="88" y="777"/>
                  </a:lnTo>
                  <a:lnTo>
                    <a:pt x="88" y="781"/>
                  </a:lnTo>
                  <a:lnTo>
                    <a:pt x="88" y="785"/>
                  </a:lnTo>
                  <a:lnTo>
                    <a:pt x="88" y="789"/>
                  </a:lnTo>
                  <a:lnTo>
                    <a:pt x="86" y="789"/>
                  </a:lnTo>
                  <a:lnTo>
                    <a:pt x="88" y="787"/>
                  </a:lnTo>
                  <a:lnTo>
                    <a:pt x="86" y="779"/>
                  </a:lnTo>
                  <a:lnTo>
                    <a:pt x="82" y="777"/>
                  </a:lnTo>
                  <a:lnTo>
                    <a:pt x="81" y="779"/>
                  </a:lnTo>
                  <a:lnTo>
                    <a:pt x="81" y="783"/>
                  </a:lnTo>
                  <a:lnTo>
                    <a:pt x="82" y="785"/>
                  </a:lnTo>
                  <a:lnTo>
                    <a:pt x="81" y="789"/>
                  </a:lnTo>
                  <a:lnTo>
                    <a:pt x="81" y="787"/>
                  </a:lnTo>
                  <a:lnTo>
                    <a:pt x="79" y="783"/>
                  </a:lnTo>
                  <a:lnTo>
                    <a:pt x="77" y="783"/>
                  </a:lnTo>
                  <a:lnTo>
                    <a:pt x="73" y="785"/>
                  </a:lnTo>
                  <a:lnTo>
                    <a:pt x="69" y="785"/>
                  </a:lnTo>
                  <a:lnTo>
                    <a:pt x="67" y="787"/>
                  </a:lnTo>
                  <a:lnTo>
                    <a:pt x="69" y="789"/>
                  </a:lnTo>
                  <a:lnTo>
                    <a:pt x="69" y="793"/>
                  </a:lnTo>
                  <a:lnTo>
                    <a:pt x="73" y="798"/>
                  </a:lnTo>
                  <a:lnTo>
                    <a:pt x="73" y="798"/>
                  </a:lnTo>
                  <a:lnTo>
                    <a:pt x="73" y="800"/>
                  </a:lnTo>
                  <a:lnTo>
                    <a:pt x="73" y="802"/>
                  </a:lnTo>
                  <a:lnTo>
                    <a:pt x="73" y="802"/>
                  </a:lnTo>
                  <a:lnTo>
                    <a:pt x="75" y="798"/>
                  </a:lnTo>
                  <a:lnTo>
                    <a:pt x="77" y="800"/>
                  </a:lnTo>
                  <a:lnTo>
                    <a:pt x="81" y="800"/>
                  </a:lnTo>
                  <a:lnTo>
                    <a:pt x="81" y="802"/>
                  </a:lnTo>
                  <a:lnTo>
                    <a:pt x="77" y="804"/>
                  </a:lnTo>
                  <a:lnTo>
                    <a:pt x="75" y="806"/>
                  </a:lnTo>
                  <a:lnTo>
                    <a:pt x="75" y="808"/>
                  </a:lnTo>
                  <a:lnTo>
                    <a:pt x="81" y="808"/>
                  </a:lnTo>
                  <a:lnTo>
                    <a:pt x="86" y="811"/>
                  </a:lnTo>
                  <a:lnTo>
                    <a:pt x="88" y="809"/>
                  </a:lnTo>
                  <a:lnTo>
                    <a:pt x="88" y="808"/>
                  </a:lnTo>
                  <a:lnTo>
                    <a:pt x="88" y="804"/>
                  </a:lnTo>
                  <a:lnTo>
                    <a:pt x="88" y="800"/>
                  </a:lnTo>
                  <a:lnTo>
                    <a:pt x="88" y="798"/>
                  </a:lnTo>
                  <a:lnTo>
                    <a:pt x="86" y="798"/>
                  </a:lnTo>
                  <a:lnTo>
                    <a:pt x="82" y="798"/>
                  </a:lnTo>
                  <a:lnTo>
                    <a:pt x="84" y="798"/>
                  </a:lnTo>
                  <a:lnTo>
                    <a:pt x="86" y="798"/>
                  </a:lnTo>
                  <a:lnTo>
                    <a:pt x="86" y="793"/>
                  </a:lnTo>
                  <a:lnTo>
                    <a:pt x="88" y="793"/>
                  </a:lnTo>
                  <a:lnTo>
                    <a:pt x="92" y="794"/>
                  </a:lnTo>
                  <a:lnTo>
                    <a:pt x="94" y="793"/>
                  </a:lnTo>
                  <a:lnTo>
                    <a:pt x="94" y="794"/>
                  </a:lnTo>
                  <a:lnTo>
                    <a:pt x="98" y="798"/>
                  </a:lnTo>
                  <a:lnTo>
                    <a:pt x="98" y="794"/>
                  </a:lnTo>
                  <a:lnTo>
                    <a:pt x="99" y="793"/>
                  </a:lnTo>
                  <a:lnTo>
                    <a:pt x="103" y="794"/>
                  </a:lnTo>
                  <a:lnTo>
                    <a:pt x="107" y="794"/>
                  </a:lnTo>
                  <a:lnTo>
                    <a:pt x="111" y="794"/>
                  </a:lnTo>
                  <a:lnTo>
                    <a:pt x="111" y="794"/>
                  </a:lnTo>
                  <a:lnTo>
                    <a:pt x="109" y="798"/>
                  </a:lnTo>
                  <a:lnTo>
                    <a:pt x="107" y="798"/>
                  </a:lnTo>
                  <a:lnTo>
                    <a:pt x="105" y="798"/>
                  </a:lnTo>
                  <a:lnTo>
                    <a:pt x="101" y="798"/>
                  </a:lnTo>
                  <a:lnTo>
                    <a:pt x="99" y="798"/>
                  </a:lnTo>
                  <a:lnTo>
                    <a:pt x="94" y="802"/>
                  </a:lnTo>
                  <a:lnTo>
                    <a:pt x="94" y="802"/>
                  </a:lnTo>
                  <a:lnTo>
                    <a:pt x="92" y="802"/>
                  </a:lnTo>
                  <a:lnTo>
                    <a:pt x="88" y="804"/>
                  </a:lnTo>
                  <a:lnTo>
                    <a:pt x="88" y="808"/>
                  </a:lnTo>
                  <a:lnTo>
                    <a:pt x="88" y="809"/>
                  </a:lnTo>
                  <a:lnTo>
                    <a:pt x="88" y="811"/>
                  </a:lnTo>
                  <a:lnTo>
                    <a:pt x="88" y="813"/>
                  </a:lnTo>
                  <a:lnTo>
                    <a:pt x="88" y="813"/>
                  </a:lnTo>
                  <a:lnTo>
                    <a:pt x="88" y="815"/>
                  </a:lnTo>
                  <a:lnTo>
                    <a:pt x="88" y="817"/>
                  </a:lnTo>
                  <a:lnTo>
                    <a:pt x="94" y="819"/>
                  </a:lnTo>
                  <a:lnTo>
                    <a:pt x="98" y="823"/>
                  </a:lnTo>
                  <a:lnTo>
                    <a:pt x="98" y="823"/>
                  </a:lnTo>
                  <a:lnTo>
                    <a:pt x="98" y="819"/>
                  </a:lnTo>
                  <a:lnTo>
                    <a:pt x="98" y="817"/>
                  </a:lnTo>
                  <a:lnTo>
                    <a:pt x="99" y="815"/>
                  </a:lnTo>
                  <a:lnTo>
                    <a:pt x="103" y="815"/>
                  </a:lnTo>
                  <a:lnTo>
                    <a:pt x="103" y="813"/>
                  </a:lnTo>
                  <a:lnTo>
                    <a:pt x="99" y="809"/>
                  </a:lnTo>
                  <a:lnTo>
                    <a:pt x="105" y="808"/>
                  </a:lnTo>
                  <a:lnTo>
                    <a:pt x="109" y="806"/>
                  </a:lnTo>
                  <a:lnTo>
                    <a:pt x="111" y="800"/>
                  </a:lnTo>
                  <a:lnTo>
                    <a:pt x="114" y="800"/>
                  </a:lnTo>
                  <a:lnTo>
                    <a:pt x="114" y="800"/>
                  </a:lnTo>
                  <a:lnTo>
                    <a:pt x="116" y="802"/>
                  </a:lnTo>
                  <a:lnTo>
                    <a:pt x="118" y="802"/>
                  </a:lnTo>
                  <a:lnTo>
                    <a:pt x="118" y="802"/>
                  </a:lnTo>
                  <a:lnTo>
                    <a:pt x="116" y="804"/>
                  </a:lnTo>
                  <a:lnTo>
                    <a:pt x="114" y="808"/>
                  </a:lnTo>
                  <a:lnTo>
                    <a:pt x="114" y="809"/>
                  </a:lnTo>
                  <a:lnTo>
                    <a:pt x="111" y="813"/>
                  </a:lnTo>
                  <a:lnTo>
                    <a:pt x="111" y="817"/>
                  </a:lnTo>
                  <a:lnTo>
                    <a:pt x="113" y="819"/>
                  </a:lnTo>
                  <a:lnTo>
                    <a:pt x="111" y="819"/>
                  </a:lnTo>
                  <a:lnTo>
                    <a:pt x="107" y="823"/>
                  </a:lnTo>
                  <a:lnTo>
                    <a:pt x="107" y="819"/>
                  </a:lnTo>
                  <a:lnTo>
                    <a:pt x="109" y="819"/>
                  </a:lnTo>
                  <a:lnTo>
                    <a:pt x="109" y="815"/>
                  </a:lnTo>
                  <a:lnTo>
                    <a:pt x="107" y="815"/>
                  </a:lnTo>
                  <a:lnTo>
                    <a:pt x="105" y="815"/>
                  </a:lnTo>
                  <a:lnTo>
                    <a:pt x="105" y="819"/>
                  </a:lnTo>
                  <a:lnTo>
                    <a:pt x="103" y="817"/>
                  </a:lnTo>
                  <a:lnTo>
                    <a:pt x="101" y="819"/>
                  </a:lnTo>
                  <a:lnTo>
                    <a:pt x="99" y="819"/>
                  </a:lnTo>
                  <a:lnTo>
                    <a:pt x="103" y="823"/>
                  </a:lnTo>
                  <a:lnTo>
                    <a:pt x="109" y="828"/>
                  </a:lnTo>
                  <a:lnTo>
                    <a:pt x="114" y="828"/>
                  </a:lnTo>
                  <a:lnTo>
                    <a:pt x="118" y="832"/>
                  </a:lnTo>
                  <a:lnTo>
                    <a:pt x="118" y="832"/>
                  </a:lnTo>
                  <a:lnTo>
                    <a:pt x="122" y="832"/>
                  </a:lnTo>
                  <a:lnTo>
                    <a:pt x="122" y="832"/>
                  </a:lnTo>
                  <a:lnTo>
                    <a:pt x="126" y="826"/>
                  </a:lnTo>
                  <a:lnTo>
                    <a:pt x="124" y="819"/>
                  </a:lnTo>
                  <a:lnTo>
                    <a:pt x="124" y="819"/>
                  </a:lnTo>
                  <a:lnTo>
                    <a:pt x="124" y="815"/>
                  </a:lnTo>
                  <a:lnTo>
                    <a:pt x="124" y="811"/>
                  </a:lnTo>
                  <a:lnTo>
                    <a:pt x="124" y="806"/>
                  </a:lnTo>
                  <a:lnTo>
                    <a:pt x="124" y="800"/>
                  </a:lnTo>
                  <a:lnTo>
                    <a:pt x="124" y="798"/>
                  </a:lnTo>
                  <a:lnTo>
                    <a:pt x="130" y="794"/>
                  </a:lnTo>
                  <a:lnTo>
                    <a:pt x="133" y="793"/>
                  </a:lnTo>
                  <a:lnTo>
                    <a:pt x="135" y="789"/>
                  </a:lnTo>
                  <a:lnTo>
                    <a:pt x="141" y="789"/>
                  </a:lnTo>
                  <a:lnTo>
                    <a:pt x="141" y="789"/>
                  </a:lnTo>
                  <a:lnTo>
                    <a:pt x="141" y="785"/>
                  </a:lnTo>
                  <a:lnTo>
                    <a:pt x="143" y="781"/>
                  </a:lnTo>
                  <a:lnTo>
                    <a:pt x="146" y="781"/>
                  </a:lnTo>
                  <a:lnTo>
                    <a:pt x="150" y="783"/>
                  </a:lnTo>
                  <a:lnTo>
                    <a:pt x="156" y="783"/>
                  </a:lnTo>
                  <a:lnTo>
                    <a:pt x="156" y="783"/>
                  </a:lnTo>
                  <a:lnTo>
                    <a:pt x="156" y="783"/>
                  </a:lnTo>
                  <a:lnTo>
                    <a:pt x="156" y="783"/>
                  </a:lnTo>
                  <a:lnTo>
                    <a:pt x="156" y="783"/>
                  </a:lnTo>
                  <a:close/>
                  <a:moveTo>
                    <a:pt x="192" y="881"/>
                  </a:moveTo>
                  <a:lnTo>
                    <a:pt x="192" y="883"/>
                  </a:lnTo>
                  <a:lnTo>
                    <a:pt x="195" y="881"/>
                  </a:lnTo>
                  <a:lnTo>
                    <a:pt x="192" y="881"/>
                  </a:lnTo>
                  <a:lnTo>
                    <a:pt x="192" y="881"/>
                  </a:lnTo>
                  <a:lnTo>
                    <a:pt x="192" y="881"/>
                  </a:lnTo>
                  <a:lnTo>
                    <a:pt x="192" y="881"/>
                  </a:lnTo>
                  <a:lnTo>
                    <a:pt x="192" y="881"/>
                  </a:lnTo>
                  <a:lnTo>
                    <a:pt x="192" y="881"/>
                  </a:lnTo>
                  <a:close/>
                  <a:moveTo>
                    <a:pt x="24" y="542"/>
                  </a:moveTo>
                  <a:lnTo>
                    <a:pt x="20" y="540"/>
                  </a:lnTo>
                  <a:lnTo>
                    <a:pt x="18" y="540"/>
                  </a:lnTo>
                  <a:lnTo>
                    <a:pt x="18" y="544"/>
                  </a:lnTo>
                  <a:lnTo>
                    <a:pt x="24" y="550"/>
                  </a:lnTo>
                  <a:lnTo>
                    <a:pt x="22" y="550"/>
                  </a:lnTo>
                  <a:lnTo>
                    <a:pt x="26" y="553"/>
                  </a:lnTo>
                  <a:lnTo>
                    <a:pt x="24" y="553"/>
                  </a:lnTo>
                  <a:lnTo>
                    <a:pt x="20" y="553"/>
                  </a:lnTo>
                  <a:lnTo>
                    <a:pt x="20" y="555"/>
                  </a:lnTo>
                  <a:lnTo>
                    <a:pt x="20" y="559"/>
                  </a:lnTo>
                  <a:lnTo>
                    <a:pt x="20" y="561"/>
                  </a:lnTo>
                  <a:lnTo>
                    <a:pt x="15" y="561"/>
                  </a:lnTo>
                  <a:lnTo>
                    <a:pt x="11" y="561"/>
                  </a:lnTo>
                  <a:lnTo>
                    <a:pt x="13" y="555"/>
                  </a:lnTo>
                  <a:lnTo>
                    <a:pt x="11" y="544"/>
                  </a:lnTo>
                  <a:lnTo>
                    <a:pt x="11" y="540"/>
                  </a:lnTo>
                  <a:lnTo>
                    <a:pt x="9" y="540"/>
                  </a:lnTo>
                  <a:lnTo>
                    <a:pt x="7" y="536"/>
                  </a:lnTo>
                  <a:lnTo>
                    <a:pt x="9" y="534"/>
                  </a:lnTo>
                  <a:lnTo>
                    <a:pt x="11" y="533"/>
                  </a:lnTo>
                  <a:lnTo>
                    <a:pt x="11" y="529"/>
                  </a:lnTo>
                  <a:lnTo>
                    <a:pt x="11" y="527"/>
                  </a:lnTo>
                  <a:lnTo>
                    <a:pt x="11" y="525"/>
                  </a:lnTo>
                  <a:lnTo>
                    <a:pt x="13" y="523"/>
                  </a:lnTo>
                  <a:lnTo>
                    <a:pt x="15" y="523"/>
                  </a:lnTo>
                  <a:lnTo>
                    <a:pt x="18" y="525"/>
                  </a:lnTo>
                  <a:lnTo>
                    <a:pt x="22" y="529"/>
                  </a:lnTo>
                  <a:lnTo>
                    <a:pt x="22" y="534"/>
                  </a:lnTo>
                  <a:lnTo>
                    <a:pt x="22" y="536"/>
                  </a:lnTo>
                  <a:lnTo>
                    <a:pt x="22" y="540"/>
                  </a:lnTo>
                  <a:lnTo>
                    <a:pt x="18" y="536"/>
                  </a:lnTo>
                  <a:lnTo>
                    <a:pt x="24" y="540"/>
                  </a:lnTo>
                  <a:lnTo>
                    <a:pt x="24" y="542"/>
                  </a:lnTo>
                  <a:lnTo>
                    <a:pt x="24" y="542"/>
                  </a:lnTo>
                  <a:lnTo>
                    <a:pt x="24" y="542"/>
                  </a:lnTo>
                  <a:lnTo>
                    <a:pt x="24" y="542"/>
                  </a:lnTo>
                  <a:lnTo>
                    <a:pt x="24" y="542"/>
                  </a:lnTo>
                  <a:close/>
                  <a:moveTo>
                    <a:pt x="28" y="534"/>
                  </a:moveTo>
                  <a:lnTo>
                    <a:pt x="30" y="534"/>
                  </a:lnTo>
                  <a:lnTo>
                    <a:pt x="32" y="536"/>
                  </a:lnTo>
                  <a:lnTo>
                    <a:pt x="30" y="536"/>
                  </a:lnTo>
                  <a:lnTo>
                    <a:pt x="28" y="534"/>
                  </a:lnTo>
                  <a:lnTo>
                    <a:pt x="28" y="534"/>
                  </a:lnTo>
                  <a:lnTo>
                    <a:pt x="28" y="534"/>
                  </a:lnTo>
                  <a:lnTo>
                    <a:pt x="28" y="534"/>
                  </a:lnTo>
                  <a:close/>
                  <a:moveTo>
                    <a:pt x="5" y="570"/>
                  </a:moveTo>
                  <a:lnTo>
                    <a:pt x="7" y="568"/>
                  </a:lnTo>
                  <a:lnTo>
                    <a:pt x="11" y="568"/>
                  </a:lnTo>
                  <a:lnTo>
                    <a:pt x="13" y="570"/>
                  </a:lnTo>
                  <a:lnTo>
                    <a:pt x="9" y="570"/>
                  </a:lnTo>
                  <a:lnTo>
                    <a:pt x="5" y="570"/>
                  </a:lnTo>
                  <a:lnTo>
                    <a:pt x="5" y="570"/>
                  </a:lnTo>
                  <a:lnTo>
                    <a:pt x="5" y="570"/>
                  </a:lnTo>
                  <a:lnTo>
                    <a:pt x="5" y="570"/>
                  </a:lnTo>
                  <a:close/>
                  <a:moveTo>
                    <a:pt x="32" y="574"/>
                  </a:moveTo>
                  <a:lnTo>
                    <a:pt x="35" y="570"/>
                  </a:lnTo>
                  <a:lnTo>
                    <a:pt x="35" y="574"/>
                  </a:lnTo>
                  <a:lnTo>
                    <a:pt x="34" y="576"/>
                  </a:lnTo>
                  <a:lnTo>
                    <a:pt x="32" y="574"/>
                  </a:lnTo>
                  <a:lnTo>
                    <a:pt x="32" y="574"/>
                  </a:lnTo>
                  <a:lnTo>
                    <a:pt x="32" y="574"/>
                  </a:lnTo>
                  <a:lnTo>
                    <a:pt x="32" y="574"/>
                  </a:lnTo>
                  <a:close/>
                  <a:moveTo>
                    <a:pt x="26" y="574"/>
                  </a:moveTo>
                  <a:lnTo>
                    <a:pt x="28" y="574"/>
                  </a:lnTo>
                  <a:lnTo>
                    <a:pt x="30" y="576"/>
                  </a:lnTo>
                  <a:lnTo>
                    <a:pt x="26" y="580"/>
                  </a:lnTo>
                  <a:lnTo>
                    <a:pt x="26" y="576"/>
                  </a:lnTo>
                  <a:lnTo>
                    <a:pt x="24" y="574"/>
                  </a:lnTo>
                  <a:lnTo>
                    <a:pt x="26" y="574"/>
                  </a:lnTo>
                  <a:lnTo>
                    <a:pt x="26" y="574"/>
                  </a:lnTo>
                  <a:lnTo>
                    <a:pt x="26" y="574"/>
                  </a:lnTo>
                  <a:lnTo>
                    <a:pt x="26" y="574"/>
                  </a:lnTo>
                  <a:close/>
                  <a:moveTo>
                    <a:pt x="18" y="570"/>
                  </a:moveTo>
                  <a:lnTo>
                    <a:pt x="18" y="570"/>
                  </a:lnTo>
                  <a:lnTo>
                    <a:pt x="22" y="570"/>
                  </a:lnTo>
                  <a:lnTo>
                    <a:pt x="18" y="574"/>
                  </a:lnTo>
                  <a:lnTo>
                    <a:pt x="18" y="570"/>
                  </a:lnTo>
                  <a:lnTo>
                    <a:pt x="18" y="570"/>
                  </a:lnTo>
                  <a:lnTo>
                    <a:pt x="18" y="570"/>
                  </a:lnTo>
                  <a:lnTo>
                    <a:pt x="18" y="570"/>
                  </a:lnTo>
                  <a:close/>
                  <a:moveTo>
                    <a:pt x="18" y="580"/>
                  </a:moveTo>
                  <a:lnTo>
                    <a:pt x="18" y="580"/>
                  </a:lnTo>
                  <a:lnTo>
                    <a:pt x="20" y="580"/>
                  </a:lnTo>
                  <a:lnTo>
                    <a:pt x="20" y="582"/>
                  </a:lnTo>
                  <a:lnTo>
                    <a:pt x="18" y="580"/>
                  </a:lnTo>
                  <a:lnTo>
                    <a:pt x="18" y="580"/>
                  </a:lnTo>
                  <a:lnTo>
                    <a:pt x="18" y="580"/>
                  </a:lnTo>
                  <a:lnTo>
                    <a:pt x="18" y="580"/>
                  </a:lnTo>
                  <a:close/>
                  <a:moveTo>
                    <a:pt x="15" y="583"/>
                  </a:moveTo>
                  <a:lnTo>
                    <a:pt x="15" y="582"/>
                  </a:lnTo>
                  <a:lnTo>
                    <a:pt x="18" y="582"/>
                  </a:lnTo>
                  <a:lnTo>
                    <a:pt x="18" y="583"/>
                  </a:lnTo>
                  <a:lnTo>
                    <a:pt x="18" y="585"/>
                  </a:lnTo>
                  <a:lnTo>
                    <a:pt x="15" y="585"/>
                  </a:lnTo>
                  <a:lnTo>
                    <a:pt x="15" y="585"/>
                  </a:lnTo>
                  <a:lnTo>
                    <a:pt x="15" y="583"/>
                  </a:lnTo>
                  <a:lnTo>
                    <a:pt x="15" y="583"/>
                  </a:lnTo>
                  <a:lnTo>
                    <a:pt x="15" y="583"/>
                  </a:lnTo>
                  <a:lnTo>
                    <a:pt x="15" y="583"/>
                  </a:lnTo>
                  <a:close/>
                  <a:moveTo>
                    <a:pt x="11" y="589"/>
                  </a:moveTo>
                  <a:lnTo>
                    <a:pt x="13" y="593"/>
                  </a:lnTo>
                  <a:lnTo>
                    <a:pt x="11" y="595"/>
                  </a:lnTo>
                  <a:lnTo>
                    <a:pt x="9" y="593"/>
                  </a:lnTo>
                  <a:lnTo>
                    <a:pt x="11" y="589"/>
                  </a:lnTo>
                  <a:lnTo>
                    <a:pt x="11" y="589"/>
                  </a:lnTo>
                  <a:lnTo>
                    <a:pt x="11" y="589"/>
                  </a:lnTo>
                  <a:lnTo>
                    <a:pt x="11" y="589"/>
                  </a:lnTo>
                  <a:close/>
                  <a:moveTo>
                    <a:pt x="28" y="589"/>
                  </a:moveTo>
                  <a:lnTo>
                    <a:pt x="30" y="593"/>
                  </a:lnTo>
                  <a:lnTo>
                    <a:pt x="26" y="593"/>
                  </a:lnTo>
                  <a:lnTo>
                    <a:pt x="28" y="589"/>
                  </a:lnTo>
                  <a:lnTo>
                    <a:pt x="28" y="589"/>
                  </a:lnTo>
                  <a:lnTo>
                    <a:pt x="28" y="589"/>
                  </a:lnTo>
                  <a:lnTo>
                    <a:pt x="28" y="589"/>
                  </a:lnTo>
                  <a:close/>
                  <a:moveTo>
                    <a:pt x="22" y="587"/>
                  </a:moveTo>
                  <a:lnTo>
                    <a:pt x="26" y="585"/>
                  </a:lnTo>
                  <a:lnTo>
                    <a:pt x="26" y="591"/>
                  </a:lnTo>
                  <a:lnTo>
                    <a:pt x="22" y="587"/>
                  </a:lnTo>
                  <a:lnTo>
                    <a:pt x="22" y="587"/>
                  </a:lnTo>
                  <a:lnTo>
                    <a:pt x="22" y="587"/>
                  </a:lnTo>
                  <a:lnTo>
                    <a:pt x="22" y="587"/>
                  </a:lnTo>
                  <a:close/>
                  <a:moveTo>
                    <a:pt x="15" y="615"/>
                  </a:moveTo>
                  <a:lnTo>
                    <a:pt x="15" y="615"/>
                  </a:lnTo>
                  <a:lnTo>
                    <a:pt x="18" y="619"/>
                  </a:lnTo>
                  <a:lnTo>
                    <a:pt x="15" y="619"/>
                  </a:lnTo>
                  <a:lnTo>
                    <a:pt x="15" y="615"/>
                  </a:lnTo>
                  <a:lnTo>
                    <a:pt x="15" y="615"/>
                  </a:lnTo>
                  <a:lnTo>
                    <a:pt x="15" y="615"/>
                  </a:lnTo>
                  <a:lnTo>
                    <a:pt x="15" y="615"/>
                  </a:lnTo>
                  <a:close/>
                  <a:moveTo>
                    <a:pt x="15" y="593"/>
                  </a:moveTo>
                  <a:lnTo>
                    <a:pt x="15" y="589"/>
                  </a:lnTo>
                  <a:lnTo>
                    <a:pt x="15" y="587"/>
                  </a:lnTo>
                  <a:lnTo>
                    <a:pt x="18" y="587"/>
                  </a:lnTo>
                  <a:lnTo>
                    <a:pt x="18" y="591"/>
                  </a:lnTo>
                  <a:lnTo>
                    <a:pt x="18" y="591"/>
                  </a:lnTo>
                  <a:lnTo>
                    <a:pt x="15" y="593"/>
                  </a:lnTo>
                  <a:lnTo>
                    <a:pt x="15" y="593"/>
                  </a:lnTo>
                  <a:lnTo>
                    <a:pt x="15" y="593"/>
                  </a:lnTo>
                  <a:lnTo>
                    <a:pt x="15" y="593"/>
                  </a:lnTo>
                  <a:close/>
                  <a:moveTo>
                    <a:pt x="7" y="599"/>
                  </a:moveTo>
                  <a:lnTo>
                    <a:pt x="3" y="597"/>
                  </a:lnTo>
                  <a:lnTo>
                    <a:pt x="3" y="595"/>
                  </a:lnTo>
                  <a:lnTo>
                    <a:pt x="7" y="595"/>
                  </a:lnTo>
                  <a:lnTo>
                    <a:pt x="9" y="597"/>
                  </a:lnTo>
                  <a:lnTo>
                    <a:pt x="7" y="599"/>
                  </a:lnTo>
                  <a:lnTo>
                    <a:pt x="7" y="599"/>
                  </a:lnTo>
                  <a:lnTo>
                    <a:pt x="7" y="599"/>
                  </a:lnTo>
                  <a:lnTo>
                    <a:pt x="7" y="599"/>
                  </a:lnTo>
                  <a:close/>
                  <a:moveTo>
                    <a:pt x="20" y="610"/>
                  </a:moveTo>
                  <a:lnTo>
                    <a:pt x="22" y="610"/>
                  </a:lnTo>
                  <a:lnTo>
                    <a:pt x="22" y="614"/>
                  </a:lnTo>
                  <a:lnTo>
                    <a:pt x="20" y="610"/>
                  </a:lnTo>
                  <a:lnTo>
                    <a:pt x="20" y="610"/>
                  </a:lnTo>
                  <a:lnTo>
                    <a:pt x="20" y="610"/>
                  </a:lnTo>
                  <a:lnTo>
                    <a:pt x="20" y="610"/>
                  </a:lnTo>
                  <a:close/>
                  <a:moveTo>
                    <a:pt x="24" y="615"/>
                  </a:moveTo>
                  <a:lnTo>
                    <a:pt x="28" y="615"/>
                  </a:lnTo>
                  <a:lnTo>
                    <a:pt x="26" y="617"/>
                  </a:lnTo>
                  <a:lnTo>
                    <a:pt x="24" y="615"/>
                  </a:lnTo>
                  <a:lnTo>
                    <a:pt x="24" y="615"/>
                  </a:lnTo>
                  <a:lnTo>
                    <a:pt x="24" y="615"/>
                  </a:lnTo>
                  <a:lnTo>
                    <a:pt x="24" y="615"/>
                  </a:lnTo>
                  <a:close/>
                  <a:moveTo>
                    <a:pt x="32" y="582"/>
                  </a:moveTo>
                  <a:lnTo>
                    <a:pt x="34" y="582"/>
                  </a:lnTo>
                  <a:lnTo>
                    <a:pt x="37" y="583"/>
                  </a:lnTo>
                  <a:lnTo>
                    <a:pt x="34" y="583"/>
                  </a:lnTo>
                  <a:lnTo>
                    <a:pt x="32" y="582"/>
                  </a:lnTo>
                  <a:lnTo>
                    <a:pt x="32" y="582"/>
                  </a:lnTo>
                  <a:lnTo>
                    <a:pt x="32" y="582"/>
                  </a:lnTo>
                  <a:lnTo>
                    <a:pt x="32" y="582"/>
                  </a:lnTo>
                  <a:close/>
                  <a:moveTo>
                    <a:pt x="39" y="585"/>
                  </a:moveTo>
                  <a:lnTo>
                    <a:pt x="39" y="585"/>
                  </a:lnTo>
                  <a:lnTo>
                    <a:pt x="43" y="589"/>
                  </a:lnTo>
                  <a:lnTo>
                    <a:pt x="45" y="593"/>
                  </a:lnTo>
                  <a:lnTo>
                    <a:pt x="43" y="595"/>
                  </a:lnTo>
                  <a:lnTo>
                    <a:pt x="43" y="599"/>
                  </a:lnTo>
                  <a:lnTo>
                    <a:pt x="39" y="599"/>
                  </a:lnTo>
                  <a:lnTo>
                    <a:pt x="39" y="599"/>
                  </a:lnTo>
                  <a:lnTo>
                    <a:pt x="35" y="597"/>
                  </a:lnTo>
                  <a:lnTo>
                    <a:pt x="34" y="600"/>
                  </a:lnTo>
                  <a:lnTo>
                    <a:pt x="34" y="597"/>
                  </a:lnTo>
                  <a:lnTo>
                    <a:pt x="32" y="593"/>
                  </a:lnTo>
                  <a:lnTo>
                    <a:pt x="34" y="587"/>
                  </a:lnTo>
                  <a:lnTo>
                    <a:pt x="39" y="585"/>
                  </a:lnTo>
                  <a:lnTo>
                    <a:pt x="39" y="585"/>
                  </a:lnTo>
                  <a:lnTo>
                    <a:pt x="39" y="585"/>
                  </a:lnTo>
                  <a:lnTo>
                    <a:pt x="39" y="585"/>
                  </a:lnTo>
                  <a:close/>
                  <a:moveTo>
                    <a:pt x="18" y="597"/>
                  </a:moveTo>
                  <a:lnTo>
                    <a:pt x="18" y="595"/>
                  </a:lnTo>
                  <a:lnTo>
                    <a:pt x="26" y="595"/>
                  </a:lnTo>
                  <a:lnTo>
                    <a:pt x="24" y="597"/>
                  </a:lnTo>
                  <a:lnTo>
                    <a:pt x="18" y="597"/>
                  </a:lnTo>
                  <a:lnTo>
                    <a:pt x="18" y="599"/>
                  </a:lnTo>
                  <a:lnTo>
                    <a:pt x="18" y="599"/>
                  </a:lnTo>
                  <a:lnTo>
                    <a:pt x="18" y="597"/>
                  </a:lnTo>
                  <a:lnTo>
                    <a:pt x="18" y="597"/>
                  </a:lnTo>
                  <a:lnTo>
                    <a:pt x="18" y="597"/>
                  </a:lnTo>
                  <a:lnTo>
                    <a:pt x="18" y="597"/>
                  </a:lnTo>
                  <a:close/>
                  <a:moveTo>
                    <a:pt x="20" y="604"/>
                  </a:moveTo>
                  <a:lnTo>
                    <a:pt x="18" y="600"/>
                  </a:lnTo>
                  <a:lnTo>
                    <a:pt x="24" y="600"/>
                  </a:lnTo>
                  <a:lnTo>
                    <a:pt x="26" y="600"/>
                  </a:lnTo>
                  <a:lnTo>
                    <a:pt x="26" y="604"/>
                  </a:lnTo>
                  <a:lnTo>
                    <a:pt x="20" y="604"/>
                  </a:lnTo>
                  <a:lnTo>
                    <a:pt x="20" y="604"/>
                  </a:lnTo>
                  <a:lnTo>
                    <a:pt x="20" y="604"/>
                  </a:lnTo>
                  <a:lnTo>
                    <a:pt x="20" y="604"/>
                  </a:lnTo>
                  <a:close/>
                  <a:moveTo>
                    <a:pt x="22" y="606"/>
                  </a:moveTo>
                  <a:lnTo>
                    <a:pt x="26" y="604"/>
                  </a:lnTo>
                  <a:lnTo>
                    <a:pt x="30" y="604"/>
                  </a:lnTo>
                  <a:lnTo>
                    <a:pt x="30" y="610"/>
                  </a:lnTo>
                  <a:lnTo>
                    <a:pt x="28" y="614"/>
                  </a:lnTo>
                  <a:lnTo>
                    <a:pt x="26" y="612"/>
                  </a:lnTo>
                  <a:lnTo>
                    <a:pt x="24" y="608"/>
                  </a:lnTo>
                  <a:lnTo>
                    <a:pt x="22" y="606"/>
                  </a:lnTo>
                  <a:lnTo>
                    <a:pt x="22" y="606"/>
                  </a:lnTo>
                  <a:lnTo>
                    <a:pt x="22" y="606"/>
                  </a:lnTo>
                  <a:lnTo>
                    <a:pt x="22" y="606"/>
                  </a:lnTo>
                  <a:close/>
                  <a:moveTo>
                    <a:pt x="18" y="615"/>
                  </a:moveTo>
                  <a:lnTo>
                    <a:pt x="18" y="614"/>
                  </a:lnTo>
                  <a:lnTo>
                    <a:pt x="20" y="615"/>
                  </a:lnTo>
                  <a:lnTo>
                    <a:pt x="22" y="615"/>
                  </a:lnTo>
                  <a:lnTo>
                    <a:pt x="24" y="619"/>
                  </a:lnTo>
                  <a:lnTo>
                    <a:pt x="20" y="619"/>
                  </a:lnTo>
                  <a:lnTo>
                    <a:pt x="18" y="615"/>
                  </a:lnTo>
                  <a:lnTo>
                    <a:pt x="18" y="615"/>
                  </a:lnTo>
                  <a:lnTo>
                    <a:pt x="18" y="615"/>
                  </a:lnTo>
                  <a:lnTo>
                    <a:pt x="18" y="615"/>
                  </a:lnTo>
                  <a:close/>
                  <a:moveTo>
                    <a:pt x="28" y="689"/>
                  </a:moveTo>
                  <a:lnTo>
                    <a:pt x="30" y="687"/>
                  </a:lnTo>
                  <a:lnTo>
                    <a:pt x="28" y="685"/>
                  </a:lnTo>
                  <a:lnTo>
                    <a:pt x="26" y="687"/>
                  </a:lnTo>
                  <a:lnTo>
                    <a:pt x="22" y="680"/>
                  </a:lnTo>
                  <a:lnTo>
                    <a:pt x="18" y="676"/>
                  </a:lnTo>
                  <a:lnTo>
                    <a:pt x="20" y="674"/>
                  </a:lnTo>
                  <a:lnTo>
                    <a:pt x="24" y="674"/>
                  </a:lnTo>
                  <a:lnTo>
                    <a:pt x="26" y="674"/>
                  </a:lnTo>
                  <a:lnTo>
                    <a:pt x="28" y="678"/>
                  </a:lnTo>
                  <a:lnTo>
                    <a:pt x="32" y="680"/>
                  </a:lnTo>
                  <a:lnTo>
                    <a:pt x="32" y="683"/>
                  </a:lnTo>
                  <a:lnTo>
                    <a:pt x="34" y="687"/>
                  </a:lnTo>
                  <a:lnTo>
                    <a:pt x="35" y="693"/>
                  </a:lnTo>
                  <a:lnTo>
                    <a:pt x="32" y="693"/>
                  </a:lnTo>
                  <a:lnTo>
                    <a:pt x="28" y="693"/>
                  </a:lnTo>
                  <a:lnTo>
                    <a:pt x="28" y="689"/>
                  </a:lnTo>
                  <a:lnTo>
                    <a:pt x="28" y="689"/>
                  </a:lnTo>
                  <a:lnTo>
                    <a:pt x="28" y="689"/>
                  </a:lnTo>
                  <a:lnTo>
                    <a:pt x="28" y="689"/>
                  </a:lnTo>
                  <a:close/>
                  <a:moveTo>
                    <a:pt x="15" y="681"/>
                  </a:moveTo>
                  <a:lnTo>
                    <a:pt x="15" y="680"/>
                  </a:lnTo>
                  <a:lnTo>
                    <a:pt x="15" y="678"/>
                  </a:lnTo>
                  <a:lnTo>
                    <a:pt x="18" y="678"/>
                  </a:lnTo>
                  <a:lnTo>
                    <a:pt x="22" y="687"/>
                  </a:lnTo>
                  <a:lnTo>
                    <a:pt x="26" y="691"/>
                  </a:lnTo>
                  <a:lnTo>
                    <a:pt x="26" y="695"/>
                  </a:lnTo>
                  <a:lnTo>
                    <a:pt x="24" y="698"/>
                  </a:lnTo>
                  <a:lnTo>
                    <a:pt x="20" y="695"/>
                  </a:lnTo>
                  <a:lnTo>
                    <a:pt x="20" y="691"/>
                  </a:lnTo>
                  <a:lnTo>
                    <a:pt x="20" y="689"/>
                  </a:lnTo>
                  <a:lnTo>
                    <a:pt x="18" y="687"/>
                  </a:lnTo>
                  <a:lnTo>
                    <a:pt x="15" y="685"/>
                  </a:lnTo>
                  <a:lnTo>
                    <a:pt x="15" y="681"/>
                  </a:lnTo>
                  <a:lnTo>
                    <a:pt x="15" y="681"/>
                  </a:lnTo>
                  <a:lnTo>
                    <a:pt x="15" y="681"/>
                  </a:lnTo>
                  <a:lnTo>
                    <a:pt x="15" y="681"/>
                  </a:lnTo>
                  <a:close/>
                  <a:moveTo>
                    <a:pt x="15" y="687"/>
                  </a:moveTo>
                  <a:lnTo>
                    <a:pt x="15" y="689"/>
                  </a:lnTo>
                  <a:lnTo>
                    <a:pt x="18" y="689"/>
                  </a:lnTo>
                  <a:lnTo>
                    <a:pt x="18" y="693"/>
                  </a:lnTo>
                  <a:lnTo>
                    <a:pt x="18" y="695"/>
                  </a:lnTo>
                  <a:lnTo>
                    <a:pt x="18" y="695"/>
                  </a:lnTo>
                  <a:lnTo>
                    <a:pt x="18" y="695"/>
                  </a:lnTo>
                  <a:lnTo>
                    <a:pt x="15" y="693"/>
                  </a:lnTo>
                  <a:lnTo>
                    <a:pt x="15" y="687"/>
                  </a:lnTo>
                  <a:lnTo>
                    <a:pt x="15" y="687"/>
                  </a:lnTo>
                  <a:lnTo>
                    <a:pt x="15" y="687"/>
                  </a:lnTo>
                  <a:lnTo>
                    <a:pt x="15" y="687"/>
                  </a:lnTo>
                  <a:close/>
                  <a:moveTo>
                    <a:pt x="20" y="710"/>
                  </a:moveTo>
                  <a:lnTo>
                    <a:pt x="18" y="708"/>
                  </a:lnTo>
                  <a:lnTo>
                    <a:pt x="20" y="706"/>
                  </a:lnTo>
                  <a:lnTo>
                    <a:pt x="18" y="698"/>
                  </a:lnTo>
                  <a:lnTo>
                    <a:pt x="20" y="698"/>
                  </a:lnTo>
                  <a:lnTo>
                    <a:pt x="20" y="698"/>
                  </a:lnTo>
                  <a:lnTo>
                    <a:pt x="24" y="700"/>
                  </a:lnTo>
                  <a:lnTo>
                    <a:pt x="26" y="704"/>
                  </a:lnTo>
                  <a:lnTo>
                    <a:pt x="24" y="704"/>
                  </a:lnTo>
                  <a:lnTo>
                    <a:pt x="20" y="710"/>
                  </a:lnTo>
                  <a:lnTo>
                    <a:pt x="20" y="710"/>
                  </a:lnTo>
                  <a:lnTo>
                    <a:pt x="20" y="710"/>
                  </a:lnTo>
                  <a:lnTo>
                    <a:pt x="20" y="710"/>
                  </a:lnTo>
                  <a:close/>
                  <a:moveTo>
                    <a:pt x="26" y="725"/>
                  </a:moveTo>
                  <a:lnTo>
                    <a:pt x="24" y="725"/>
                  </a:lnTo>
                  <a:lnTo>
                    <a:pt x="22" y="723"/>
                  </a:lnTo>
                  <a:lnTo>
                    <a:pt x="22" y="721"/>
                  </a:lnTo>
                  <a:lnTo>
                    <a:pt x="20" y="719"/>
                  </a:lnTo>
                  <a:lnTo>
                    <a:pt x="24" y="717"/>
                  </a:lnTo>
                  <a:lnTo>
                    <a:pt x="26" y="721"/>
                  </a:lnTo>
                  <a:lnTo>
                    <a:pt x="26" y="725"/>
                  </a:lnTo>
                  <a:lnTo>
                    <a:pt x="26" y="725"/>
                  </a:lnTo>
                  <a:lnTo>
                    <a:pt x="26" y="725"/>
                  </a:lnTo>
                  <a:lnTo>
                    <a:pt x="26" y="725"/>
                  </a:lnTo>
                  <a:close/>
                  <a:moveTo>
                    <a:pt x="35" y="723"/>
                  </a:moveTo>
                  <a:lnTo>
                    <a:pt x="35" y="725"/>
                  </a:lnTo>
                  <a:lnTo>
                    <a:pt x="34" y="725"/>
                  </a:lnTo>
                  <a:lnTo>
                    <a:pt x="30" y="725"/>
                  </a:lnTo>
                  <a:lnTo>
                    <a:pt x="28" y="719"/>
                  </a:lnTo>
                  <a:lnTo>
                    <a:pt x="24" y="712"/>
                  </a:lnTo>
                  <a:lnTo>
                    <a:pt x="28" y="712"/>
                  </a:lnTo>
                  <a:lnTo>
                    <a:pt x="32" y="710"/>
                  </a:lnTo>
                  <a:lnTo>
                    <a:pt x="32" y="706"/>
                  </a:lnTo>
                  <a:lnTo>
                    <a:pt x="30" y="708"/>
                  </a:lnTo>
                  <a:lnTo>
                    <a:pt x="28" y="708"/>
                  </a:lnTo>
                  <a:lnTo>
                    <a:pt x="28" y="706"/>
                  </a:lnTo>
                  <a:lnTo>
                    <a:pt x="28" y="704"/>
                  </a:lnTo>
                  <a:lnTo>
                    <a:pt x="26" y="700"/>
                  </a:lnTo>
                  <a:lnTo>
                    <a:pt x="26" y="698"/>
                  </a:lnTo>
                  <a:lnTo>
                    <a:pt x="28" y="695"/>
                  </a:lnTo>
                  <a:lnTo>
                    <a:pt x="34" y="695"/>
                  </a:lnTo>
                  <a:lnTo>
                    <a:pt x="37" y="698"/>
                  </a:lnTo>
                  <a:lnTo>
                    <a:pt x="39" y="704"/>
                  </a:lnTo>
                  <a:lnTo>
                    <a:pt x="39" y="710"/>
                  </a:lnTo>
                  <a:lnTo>
                    <a:pt x="39" y="717"/>
                  </a:lnTo>
                  <a:lnTo>
                    <a:pt x="39" y="717"/>
                  </a:lnTo>
                  <a:lnTo>
                    <a:pt x="43" y="723"/>
                  </a:lnTo>
                  <a:lnTo>
                    <a:pt x="43" y="728"/>
                  </a:lnTo>
                  <a:lnTo>
                    <a:pt x="39" y="728"/>
                  </a:lnTo>
                  <a:lnTo>
                    <a:pt x="37" y="728"/>
                  </a:lnTo>
                  <a:lnTo>
                    <a:pt x="37" y="725"/>
                  </a:lnTo>
                  <a:lnTo>
                    <a:pt x="35" y="723"/>
                  </a:lnTo>
                  <a:lnTo>
                    <a:pt x="35" y="723"/>
                  </a:lnTo>
                  <a:lnTo>
                    <a:pt x="35" y="723"/>
                  </a:lnTo>
                  <a:lnTo>
                    <a:pt x="35" y="723"/>
                  </a:lnTo>
                  <a:close/>
                  <a:moveTo>
                    <a:pt x="34" y="740"/>
                  </a:moveTo>
                  <a:lnTo>
                    <a:pt x="32" y="738"/>
                  </a:lnTo>
                  <a:lnTo>
                    <a:pt x="30" y="738"/>
                  </a:lnTo>
                  <a:lnTo>
                    <a:pt x="32" y="734"/>
                  </a:lnTo>
                  <a:lnTo>
                    <a:pt x="32" y="732"/>
                  </a:lnTo>
                  <a:lnTo>
                    <a:pt x="32" y="730"/>
                  </a:lnTo>
                  <a:lnTo>
                    <a:pt x="34" y="732"/>
                  </a:lnTo>
                  <a:lnTo>
                    <a:pt x="37" y="732"/>
                  </a:lnTo>
                  <a:lnTo>
                    <a:pt x="37" y="738"/>
                  </a:lnTo>
                  <a:lnTo>
                    <a:pt x="37" y="738"/>
                  </a:lnTo>
                  <a:lnTo>
                    <a:pt x="35" y="740"/>
                  </a:lnTo>
                  <a:lnTo>
                    <a:pt x="34" y="740"/>
                  </a:lnTo>
                  <a:lnTo>
                    <a:pt x="34" y="740"/>
                  </a:lnTo>
                  <a:lnTo>
                    <a:pt x="34" y="740"/>
                  </a:lnTo>
                  <a:lnTo>
                    <a:pt x="34" y="740"/>
                  </a:lnTo>
                  <a:close/>
                  <a:moveTo>
                    <a:pt x="30" y="745"/>
                  </a:moveTo>
                  <a:lnTo>
                    <a:pt x="30" y="744"/>
                  </a:lnTo>
                  <a:lnTo>
                    <a:pt x="35" y="744"/>
                  </a:lnTo>
                  <a:lnTo>
                    <a:pt x="32" y="745"/>
                  </a:lnTo>
                  <a:lnTo>
                    <a:pt x="30" y="745"/>
                  </a:lnTo>
                  <a:lnTo>
                    <a:pt x="30" y="745"/>
                  </a:lnTo>
                  <a:lnTo>
                    <a:pt x="30" y="745"/>
                  </a:lnTo>
                  <a:lnTo>
                    <a:pt x="30" y="745"/>
                  </a:lnTo>
                  <a:close/>
                  <a:moveTo>
                    <a:pt x="37" y="744"/>
                  </a:moveTo>
                  <a:lnTo>
                    <a:pt x="39" y="745"/>
                  </a:lnTo>
                  <a:lnTo>
                    <a:pt x="39" y="749"/>
                  </a:lnTo>
                  <a:lnTo>
                    <a:pt x="39" y="751"/>
                  </a:lnTo>
                  <a:lnTo>
                    <a:pt x="37" y="747"/>
                  </a:lnTo>
                  <a:lnTo>
                    <a:pt x="37" y="744"/>
                  </a:lnTo>
                  <a:lnTo>
                    <a:pt x="37" y="744"/>
                  </a:lnTo>
                  <a:lnTo>
                    <a:pt x="37" y="744"/>
                  </a:lnTo>
                  <a:lnTo>
                    <a:pt x="37" y="744"/>
                  </a:lnTo>
                  <a:close/>
                  <a:moveTo>
                    <a:pt x="39" y="742"/>
                  </a:moveTo>
                  <a:lnTo>
                    <a:pt x="39" y="740"/>
                  </a:lnTo>
                  <a:lnTo>
                    <a:pt x="43" y="740"/>
                  </a:lnTo>
                  <a:lnTo>
                    <a:pt x="43" y="744"/>
                  </a:lnTo>
                  <a:lnTo>
                    <a:pt x="49" y="744"/>
                  </a:lnTo>
                  <a:lnTo>
                    <a:pt x="49" y="749"/>
                  </a:lnTo>
                  <a:lnTo>
                    <a:pt x="50" y="753"/>
                  </a:lnTo>
                  <a:lnTo>
                    <a:pt x="49" y="747"/>
                  </a:lnTo>
                  <a:lnTo>
                    <a:pt x="43" y="747"/>
                  </a:lnTo>
                  <a:lnTo>
                    <a:pt x="39" y="742"/>
                  </a:lnTo>
                  <a:lnTo>
                    <a:pt x="39" y="742"/>
                  </a:lnTo>
                  <a:lnTo>
                    <a:pt x="39" y="742"/>
                  </a:lnTo>
                  <a:lnTo>
                    <a:pt x="39" y="742"/>
                  </a:lnTo>
                  <a:close/>
                  <a:moveTo>
                    <a:pt x="39" y="749"/>
                  </a:moveTo>
                  <a:lnTo>
                    <a:pt x="43" y="749"/>
                  </a:lnTo>
                  <a:lnTo>
                    <a:pt x="45" y="751"/>
                  </a:lnTo>
                  <a:lnTo>
                    <a:pt x="49" y="757"/>
                  </a:lnTo>
                  <a:lnTo>
                    <a:pt x="49" y="759"/>
                  </a:lnTo>
                  <a:lnTo>
                    <a:pt x="45" y="759"/>
                  </a:lnTo>
                  <a:lnTo>
                    <a:pt x="39" y="753"/>
                  </a:lnTo>
                  <a:lnTo>
                    <a:pt x="39" y="749"/>
                  </a:lnTo>
                  <a:lnTo>
                    <a:pt x="39" y="749"/>
                  </a:lnTo>
                  <a:lnTo>
                    <a:pt x="39" y="749"/>
                  </a:lnTo>
                  <a:lnTo>
                    <a:pt x="39" y="749"/>
                  </a:lnTo>
                  <a:close/>
                  <a:moveTo>
                    <a:pt x="43" y="768"/>
                  </a:moveTo>
                  <a:lnTo>
                    <a:pt x="39" y="768"/>
                  </a:lnTo>
                  <a:lnTo>
                    <a:pt x="37" y="768"/>
                  </a:lnTo>
                  <a:lnTo>
                    <a:pt x="39" y="764"/>
                  </a:lnTo>
                  <a:lnTo>
                    <a:pt x="39" y="762"/>
                  </a:lnTo>
                  <a:lnTo>
                    <a:pt x="39" y="759"/>
                  </a:lnTo>
                  <a:lnTo>
                    <a:pt x="39" y="759"/>
                  </a:lnTo>
                  <a:lnTo>
                    <a:pt x="43" y="759"/>
                  </a:lnTo>
                  <a:lnTo>
                    <a:pt x="45" y="759"/>
                  </a:lnTo>
                  <a:lnTo>
                    <a:pt x="50" y="762"/>
                  </a:lnTo>
                  <a:lnTo>
                    <a:pt x="50" y="764"/>
                  </a:lnTo>
                  <a:lnTo>
                    <a:pt x="49" y="764"/>
                  </a:lnTo>
                  <a:lnTo>
                    <a:pt x="49" y="768"/>
                  </a:lnTo>
                  <a:lnTo>
                    <a:pt x="43" y="768"/>
                  </a:lnTo>
                  <a:lnTo>
                    <a:pt x="43" y="768"/>
                  </a:lnTo>
                  <a:lnTo>
                    <a:pt x="43" y="768"/>
                  </a:lnTo>
                  <a:lnTo>
                    <a:pt x="43" y="768"/>
                  </a:lnTo>
                  <a:close/>
                  <a:moveTo>
                    <a:pt x="49" y="783"/>
                  </a:moveTo>
                  <a:lnTo>
                    <a:pt x="45" y="783"/>
                  </a:lnTo>
                  <a:lnTo>
                    <a:pt x="43" y="781"/>
                  </a:lnTo>
                  <a:lnTo>
                    <a:pt x="43" y="777"/>
                  </a:lnTo>
                  <a:lnTo>
                    <a:pt x="43" y="776"/>
                  </a:lnTo>
                  <a:lnTo>
                    <a:pt x="45" y="776"/>
                  </a:lnTo>
                  <a:lnTo>
                    <a:pt x="45" y="774"/>
                  </a:lnTo>
                  <a:lnTo>
                    <a:pt x="43" y="772"/>
                  </a:lnTo>
                  <a:lnTo>
                    <a:pt x="49" y="772"/>
                  </a:lnTo>
                  <a:lnTo>
                    <a:pt x="49" y="774"/>
                  </a:lnTo>
                  <a:lnTo>
                    <a:pt x="49" y="777"/>
                  </a:lnTo>
                  <a:lnTo>
                    <a:pt x="45" y="779"/>
                  </a:lnTo>
                  <a:lnTo>
                    <a:pt x="49" y="783"/>
                  </a:lnTo>
                  <a:lnTo>
                    <a:pt x="49" y="783"/>
                  </a:lnTo>
                  <a:lnTo>
                    <a:pt x="49" y="783"/>
                  </a:lnTo>
                  <a:lnTo>
                    <a:pt x="49" y="783"/>
                  </a:lnTo>
                  <a:close/>
                  <a:moveTo>
                    <a:pt x="49" y="776"/>
                  </a:moveTo>
                  <a:lnTo>
                    <a:pt x="49" y="774"/>
                  </a:lnTo>
                  <a:lnTo>
                    <a:pt x="50" y="774"/>
                  </a:lnTo>
                  <a:lnTo>
                    <a:pt x="52" y="776"/>
                  </a:lnTo>
                  <a:lnTo>
                    <a:pt x="54" y="777"/>
                  </a:lnTo>
                  <a:lnTo>
                    <a:pt x="54" y="781"/>
                  </a:lnTo>
                  <a:lnTo>
                    <a:pt x="52" y="783"/>
                  </a:lnTo>
                  <a:lnTo>
                    <a:pt x="50" y="781"/>
                  </a:lnTo>
                  <a:lnTo>
                    <a:pt x="50" y="781"/>
                  </a:lnTo>
                  <a:lnTo>
                    <a:pt x="49" y="779"/>
                  </a:lnTo>
                  <a:lnTo>
                    <a:pt x="49" y="776"/>
                  </a:lnTo>
                  <a:lnTo>
                    <a:pt x="49" y="776"/>
                  </a:lnTo>
                  <a:lnTo>
                    <a:pt x="49" y="776"/>
                  </a:lnTo>
                  <a:lnTo>
                    <a:pt x="49" y="776"/>
                  </a:lnTo>
                  <a:close/>
                  <a:moveTo>
                    <a:pt x="54" y="777"/>
                  </a:moveTo>
                  <a:lnTo>
                    <a:pt x="60" y="779"/>
                  </a:lnTo>
                  <a:lnTo>
                    <a:pt x="60" y="783"/>
                  </a:lnTo>
                  <a:lnTo>
                    <a:pt x="58" y="783"/>
                  </a:lnTo>
                  <a:lnTo>
                    <a:pt x="56" y="781"/>
                  </a:lnTo>
                  <a:lnTo>
                    <a:pt x="54" y="777"/>
                  </a:lnTo>
                  <a:lnTo>
                    <a:pt x="54" y="777"/>
                  </a:lnTo>
                  <a:lnTo>
                    <a:pt x="54" y="777"/>
                  </a:lnTo>
                  <a:lnTo>
                    <a:pt x="54" y="777"/>
                  </a:lnTo>
                  <a:close/>
                  <a:moveTo>
                    <a:pt x="54" y="789"/>
                  </a:moveTo>
                  <a:lnTo>
                    <a:pt x="52" y="793"/>
                  </a:lnTo>
                  <a:lnTo>
                    <a:pt x="50" y="789"/>
                  </a:lnTo>
                  <a:lnTo>
                    <a:pt x="52" y="789"/>
                  </a:lnTo>
                  <a:lnTo>
                    <a:pt x="52" y="785"/>
                  </a:lnTo>
                  <a:lnTo>
                    <a:pt x="54" y="785"/>
                  </a:lnTo>
                  <a:lnTo>
                    <a:pt x="56" y="787"/>
                  </a:lnTo>
                  <a:lnTo>
                    <a:pt x="54" y="789"/>
                  </a:lnTo>
                  <a:lnTo>
                    <a:pt x="54" y="789"/>
                  </a:lnTo>
                  <a:lnTo>
                    <a:pt x="54" y="789"/>
                  </a:lnTo>
                  <a:lnTo>
                    <a:pt x="54" y="789"/>
                  </a:lnTo>
                  <a:close/>
                  <a:moveTo>
                    <a:pt x="64" y="781"/>
                  </a:moveTo>
                  <a:lnTo>
                    <a:pt x="60" y="779"/>
                  </a:lnTo>
                  <a:lnTo>
                    <a:pt x="58" y="776"/>
                  </a:lnTo>
                  <a:lnTo>
                    <a:pt x="58" y="770"/>
                  </a:lnTo>
                  <a:lnTo>
                    <a:pt x="60" y="770"/>
                  </a:lnTo>
                  <a:lnTo>
                    <a:pt x="62" y="776"/>
                  </a:lnTo>
                  <a:lnTo>
                    <a:pt x="64" y="779"/>
                  </a:lnTo>
                  <a:lnTo>
                    <a:pt x="64" y="781"/>
                  </a:lnTo>
                  <a:lnTo>
                    <a:pt x="64" y="781"/>
                  </a:lnTo>
                  <a:lnTo>
                    <a:pt x="64" y="781"/>
                  </a:lnTo>
                  <a:lnTo>
                    <a:pt x="64" y="781"/>
                  </a:lnTo>
                  <a:lnTo>
                    <a:pt x="64" y="781"/>
                  </a:lnTo>
                  <a:close/>
                  <a:moveTo>
                    <a:pt x="64" y="787"/>
                  </a:moveTo>
                  <a:lnTo>
                    <a:pt x="62" y="785"/>
                  </a:lnTo>
                  <a:lnTo>
                    <a:pt x="62" y="783"/>
                  </a:lnTo>
                  <a:lnTo>
                    <a:pt x="64" y="783"/>
                  </a:lnTo>
                  <a:lnTo>
                    <a:pt x="64" y="787"/>
                  </a:lnTo>
                  <a:lnTo>
                    <a:pt x="64" y="787"/>
                  </a:lnTo>
                  <a:lnTo>
                    <a:pt x="64" y="787"/>
                  </a:lnTo>
                  <a:lnTo>
                    <a:pt x="64" y="787"/>
                  </a:lnTo>
                  <a:lnTo>
                    <a:pt x="64" y="787"/>
                  </a:lnTo>
                  <a:close/>
                  <a:moveTo>
                    <a:pt x="64" y="793"/>
                  </a:moveTo>
                  <a:lnTo>
                    <a:pt x="62" y="789"/>
                  </a:lnTo>
                  <a:lnTo>
                    <a:pt x="60" y="787"/>
                  </a:lnTo>
                  <a:lnTo>
                    <a:pt x="62" y="787"/>
                  </a:lnTo>
                  <a:lnTo>
                    <a:pt x="67" y="789"/>
                  </a:lnTo>
                  <a:lnTo>
                    <a:pt x="67" y="793"/>
                  </a:lnTo>
                  <a:lnTo>
                    <a:pt x="64" y="793"/>
                  </a:lnTo>
                  <a:lnTo>
                    <a:pt x="64" y="793"/>
                  </a:lnTo>
                  <a:lnTo>
                    <a:pt x="64" y="793"/>
                  </a:lnTo>
                  <a:lnTo>
                    <a:pt x="64" y="793"/>
                  </a:lnTo>
                  <a:close/>
                  <a:moveTo>
                    <a:pt x="69" y="802"/>
                  </a:moveTo>
                  <a:lnTo>
                    <a:pt x="69" y="800"/>
                  </a:lnTo>
                  <a:lnTo>
                    <a:pt x="67" y="800"/>
                  </a:lnTo>
                  <a:lnTo>
                    <a:pt x="64" y="798"/>
                  </a:lnTo>
                  <a:lnTo>
                    <a:pt x="62" y="798"/>
                  </a:lnTo>
                  <a:lnTo>
                    <a:pt x="60" y="798"/>
                  </a:lnTo>
                  <a:lnTo>
                    <a:pt x="64" y="794"/>
                  </a:lnTo>
                  <a:lnTo>
                    <a:pt x="64" y="798"/>
                  </a:lnTo>
                  <a:lnTo>
                    <a:pt x="69" y="794"/>
                  </a:lnTo>
                  <a:lnTo>
                    <a:pt x="73" y="798"/>
                  </a:lnTo>
                  <a:lnTo>
                    <a:pt x="69" y="802"/>
                  </a:lnTo>
                  <a:lnTo>
                    <a:pt x="69" y="802"/>
                  </a:lnTo>
                  <a:lnTo>
                    <a:pt x="69" y="802"/>
                  </a:lnTo>
                  <a:lnTo>
                    <a:pt x="69" y="802"/>
                  </a:lnTo>
                  <a:close/>
                  <a:moveTo>
                    <a:pt x="81" y="819"/>
                  </a:moveTo>
                  <a:lnTo>
                    <a:pt x="75" y="819"/>
                  </a:lnTo>
                  <a:lnTo>
                    <a:pt x="73" y="819"/>
                  </a:lnTo>
                  <a:lnTo>
                    <a:pt x="73" y="819"/>
                  </a:lnTo>
                  <a:lnTo>
                    <a:pt x="69" y="817"/>
                  </a:lnTo>
                  <a:lnTo>
                    <a:pt x="64" y="815"/>
                  </a:lnTo>
                  <a:lnTo>
                    <a:pt x="62" y="815"/>
                  </a:lnTo>
                  <a:lnTo>
                    <a:pt x="58" y="809"/>
                  </a:lnTo>
                  <a:lnTo>
                    <a:pt x="58" y="806"/>
                  </a:lnTo>
                  <a:lnTo>
                    <a:pt x="58" y="804"/>
                  </a:lnTo>
                  <a:lnTo>
                    <a:pt x="60" y="806"/>
                  </a:lnTo>
                  <a:lnTo>
                    <a:pt x="64" y="811"/>
                  </a:lnTo>
                  <a:lnTo>
                    <a:pt x="67" y="813"/>
                  </a:lnTo>
                  <a:lnTo>
                    <a:pt x="69" y="813"/>
                  </a:lnTo>
                  <a:lnTo>
                    <a:pt x="73" y="813"/>
                  </a:lnTo>
                  <a:lnTo>
                    <a:pt x="75" y="815"/>
                  </a:lnTo>
                  <a:lnTo>
                    <a:pt x="81" y="815"/>
                  </a:lnTo>
                  <a:lnTo>
                    <a:pt x="82" y="817"/>
                  </a:lnTo>
                  <a:lnTo>
                    <a:pt x="86" y="819"/>
                  </a:lnTo>
                  <a:lnTo>
                    <a:pt x="88" y="819"/>
                  </a:lnTo>
                  <a:lnTo>
                    <a:pt x="88" y="823"/>
                  </a:lnTo>
                  <a:lnTo>
                    <a:pt x="88" y="823"/>
                  </a:lnTo>
                  <a:lnTo>
                    <a:pt x="84" y="823"/>
                  </a:lnTo>
                  <a:lnTo>
                    <a:pt x="81" y="819"/>
                  </a:lnTo>
                  <a:lnTo>
                    <a:pt x="81" y="819"/>
                  </a:lnTo>
                  <a:lnTo>
                    <a:pt x="81" y="819"/>
                  </a:lnTo>
                  <a:lnTo>
                    <a:pt x="81" y="819"/>
                  </a:lnTo>
                  <a:close/>
                  <a:moveTo>
                    <a:pt x="69" y="823"/>
                  </a:moveTo>
                  <a:lnTo>
                    <a:pt x="69" y="823"/>
                  </a:lnTo>
                  <a:lnTo>
                    <a:pt x="69" y="826"/>
                  </a:lnTo>
                  <a:lnTo>
                    <a:pt x="67" y="823"/>
                  </a:lnTo>
                  <a:lnTo>
                    <a:pt x="69" y="823"/>
                  </a:lnTo>
                  <a:lnTo>
                    <a:pt x="69" y="823"/>
                  </a:lnTo>
                  <a:lnTo>
                    <a:pt x="69" y="823"/>
                  </a:lnTo>
                  <a:lnTo>
                    <a:pt x="69" y="823"/>
                  </a:lnTo>
                  <a:close/>
                  <a:moveTo>
                    <a:pt x="94" y="840"/>
                  </a:moveTo>
                  <a:lnTo>
                    <a:pt x="94" y="840"/>
                  </a:lnTo>
                  <a:lnTo>
                    <a:pt x="98" y="840"/>
                  </a:lnTo>
                  <a:lnTo>
                    <a:pt x="94" y="838"/>
                  </a:lnTo>
                  <a:lnTo>
                    <a:pt x="94" y="838"/>
                  </a:lnTo>
                  <a:lnTo>
                    <a:pt x="94" y="840"/>
                  </a:lnTo>
                  <a:lnTo>
                    <a:pt x="94" y="840"/>
                  </a:lnTo>
                  <a:lnTo>
                    <a:pt x="94" y="840"/>
                  </a:lnTo>
                  <a:lnTo>
                    <a:pt x="94" y="840"/>
                  </a:lnTo>
                  <a:close/>
                  <a:moveTo>
                    <a:pt x="103" y="842"/>
                  </a:moveTo>
                  <a:lnTo>
                    <a:pt x="99" y="842"/>
                  </a:lnTo>
                  <a:lnTo>
                    <a:pt x="98" y="840"/>
                  </a:lnTo>
                  <a:lnTo>
                    <a:pt x="98" y="838"/>
                  </a:lnTo>
                  <a:lnTo>
                    <a:pt x="98" y="836"/>
                  </a:lnTo>
                  <a:lnTo>
                    <a:pt x="92" y="836"/>
                  </a:lnTo>
                  <a:lnTo>
                    <a:pt x="88" y="836"/>
                  </a:lnTo>
                  <a:lnTo>
                    <a:pt x="86" y="832"/>
                  </a:lnTo>
                  <a:lnTo>
                    <a:pt x="82" y="832"/>
                  </a:lnTo>
                  <a:lnTo>
                    <a:pt x="81" y="826"/>
                  </a:lnTo>
                  <a:lnTo>
                    <a:pt x="77" y="826"/>
                  </a:lnTo>
                  <a:lnTo>
                    <a:pt x="77" y="823"/>
                  </a:lnTo>
                  <a:lnTo>
                    <a:pt x="79" y="823"/>
                  </a:lnTo>
                  <a:lnTo>
                    <a:pt x="81" y="823"/>
                  </a:lnTo>
                  <a:lnTo>
                    <a:pt x="82" y="823"/>
                  </a:lnTo>
                  <a:lnTo>
                    <a:pt x="84" y="826"/>
                  </a:lnTo>
                  <a:lnTo>
                    <a:pt x="88" y="823"/>
                  </a:lnTo>
                  <a:lnTo>
                    <a:pt x="92" y="823"/>
                  </a:lnTo>
                  <a:lnTo>
                    <a:pt x="98" y="826"/>
                  </a:lnTo>
                  <a:lnTo>
                    <a:pt x="99" y="828"/>
                  </a:lnTo>
                  <a:lnTo>
                    <a:pt x="99" y="832"/>
                  </a:lnTo>
                  <a:lnTo>
                    <a:pt x="103" y="828"/>
                  </a:lnTo>
                  <a:lnTo>
                    <a:pt x="107" y="832"/>
                  </a:lnTo>
                  <a:lnTo>
                    <a:pt x="107" y="832"/>
                  </a:lnTo>
                  <a:lnTo>
                    <a:pt x="105" y="832"/>
                  </a:lnTo>
                  <a:lnTo>
                    <a:pt x="103" y="834"/>
                  </a:lnTo>
                  <a:lnTo>
                    <a:pt x="105" y="834"/>
                  </a:lnTo>
                  <a:lnTo>
                    <a:pt x="105" y="836"/>
                  </a:lnTo>
                  <a:lnTo>
                    <a:pt x="101" y="840"/>
                  </a:lnTo>
                  <a:lnTo>
                    <a:pt x="103" y="842"/>
                  </a:lnTo>
                  <a:lnTo>
                    <a:pt x="103" y="842"/>
                  </a:lnTo>
                  <a:lnTo>
                    <a:pt x="103" y="842"/>
                  </a:lnTo>
                  <a:lnTo>
                    <a:pt x="103" y="842"/>
                  </a:lnTo>
                  <a:close/>
                  <a:moveTo>
                    <a:pt x="107" y="840"/>
                  </a:moveTo>
                  <a:lnTo>
                    <a:pt x="105" y="843"/>
                  </a:lnTo>
                  <a:lnTo>
                    <a:pt x="105" y="845"/>
                  </a:lnTo>
                  <a:lnTo>
                    <a:pt x="109" y="843"/>
                  </a:lnTo>
                  <a:lnTo>
                    <a:pt x="109" y="842"/>
                  </a:lnTo>
                  <a:lnTo>
                    <a:pt x="111" y="840"/>
                  </a:lnTo>
                  <a:lnTo>
                    <a:pt x="109" y="840"/>
                  </a:lnTo>
                  <a:lnTo>
                    <a:pt x="107" y="840"/>
                  </a:lnTo>
                  <a:lnTo>
                    <a:pt x="107" y="840"/>
                  </a:lnTo>
                  <a:lnTo>
                    <a:pt x="107" y="840"/>
                  </a:lnTo>
                  <a:lnTo>
                    <a:pt x="107" y="840"/>
                  </a:lnTo>
                  <a:close/>
                  <a:moveTo>
                    <a:pt x="128" y="836"/>
                  </a:moveTo>
                  <a:lnTo>
                    <a:pt x="126" y="840"/>
                  </a:lnTo>
                  <a:lnTo>
                    <a:pt x="128" y="842"/>
                  </a:lnTo>
                  <a:lnTo>
                    <a:pt x="126" y="843"/>
                  </a:lnTo>
                  <a:lnTo>
                    <a:pt x="122" y="843"/>
                  </a:lnTo>
                  <a:lnTo>
                    <a:pt x="122" y="842"/>
                  </a:lnTo>
                  <a:lnTo>
                    <a:pt x="118" y="842"/>
                  </a:lnTo>
                  <a:lnTo>
                    <a:pt x="118" y="840"/>
                  </a:lnTo>
                  <a:lnTo>
                    <a:pt x="114" y="840"/>
                  </a:lnTo>
                  <a:lnTo>
                    <a:pt x="113" y="842"/>
                  </a:lnTo>
                  <a:lnTo>
                    <a:pt x="111" y="838"/>
                  </a:lnTo>
                  <a:lnTo>
                    <a:pt x="109" y="838"/>
                  </a:lnTo>
                  <a:lnTo>
                    <a:pt x="109" y="834"/>
                  </a:lnTo>
                  <a:lnTo>
                    <a:pt x="114" y="834"/>
                  </a:lnTo>
                  <a:lnTo>
                    <a:pt x="116" y="834"/>
                  </a:lnTo>
                  <a:lnTo>
                    <a:pt x="122" y="836"/>
                  </a:lnTo>
                  <a:lnTo>
                    <a:pt x="122" y="838"/>
                  </a:lnTo>
                  <a:lnTo>
                    <a:pt x="124" y="836"/>
                  </a:lnTo>
                  <a:lnTo>
                    <a:pt x="126" y="836"/>
                  </a:lnTo>
                  <a:lnTo>
                    <a:pt x="128" y="836"/>
                  </a:lnTo>
                  <a:lnTo>
                    <a:pt x="128" y="836"/>
                  </a:lnTo>
                  <a:lnTo>
                    <a:pt x="128" y="836"/>
                  </a:lnTo>
                  <a:lnTo>
                    <a:pt x="128" y="836"/>
                  </a:lnTo>
                  <a:close/>
                  <a:moveTo>
                    <a:pt x="139" y="836"/>
                  </a:moveTo>
                  <a:lnTo>
                    <a:pt x="135" y="832"/>
                  </a:lnTo>
                  <a:lnTo>
                    <a:pt x="137" y="832"/>
                  </a:lnTo>
                  <a:lnTo>
                    <a:pt x="135" y="826"/>
                  </a:lnTo>
                  <a:lnTo>
                    <a:pt x="135" y="826"/>
                  </a:lnTo>
                  <a:lnTo>
                    <a:pt x="133" y="823"/>
                  </a:lnTo>
                  <a:lnTo>
                    <a:pt x="133" y="819"/>
                  </a:lnTo>
                  <a:lnTo>
                    <a:pt x="130" y="819"/>
                  </a:lnTo>
                  <a:lnTo>
                    <a:pt x="130" y="823"/>
                  </a:lnTo>
                  <a:lnTo>
                    <a:pt x="128" y="826"/>
                  </a:lnTo>
                  <a:lnTo>
                    <a:pt x="130" y="828"/>
                  </a:lnTo>
                  <a:lnTo>
                    <a:pt x="130" y="832"/>
                  </a:lnTo>
                  <a:lnTo>
                    <a:pt x="130" y="832"/>
                  </a:lnTo>
                  <a:lnTo>
                    <a:pt x="131" y="834"/>
                  </a:lnTo>
                  <a:lnTo>
                    <a:pt x="135" y="836"/>
                  </a:lnTo>
                  <a:lnTo>
                    <a:pt x="137" y="838"/>
                  </a:lnTo>
                  <a:lnTo>
                    <a:pt x="139" y="836"/>
                  </a:lnTo>
                  <a:lnTo>
                    <a:pt x="139" y="836"/>
                  </a:lnTo>
                  <a:lnTo>
                    <a:pt x="139" y="836"/>
                  </a:lnTo>
                  <a:lnTo>
                    <a:pt x="139" y="836"/>
                  </a:lnTo>
                  <a:close/>
                  <a:moveTo>
                    <a:pt x="124" y="862"/>
                  </a:moveTo>
                  <a:lnTo>
                    <a:pt x="128" y="862"/>
                  </a:lnTo>
                  <a:lnTo>
                    <a:pt x="130" y="862"/>
                  </a:lnTo>
                  <a:lnTo>
                    <a:pt x="126" y="864"/>
                  </a:lnTo>
                  <a:lnTo>
                    <a:pt x="124" y="862"/>
                  </a:lnTo>
                  <a:lnTo>
                    <a:pt x="124" y="862"/>
                  </a:lnTo>
                  <a:lnTo>
                    <a:pt x="124" y="862"/>
                  </a:lnTo>
                  <a:lnTo>
                    <a:pt x="124" y="862"/>
                  </a:lnTo>
                  <a:close/>
                  <a:moveTo>
                    <a:pt x="126" y="858"/>
                  </a:moveTo>
                  <a:lnTo>
                    <a:pt x="124" y="858"/>
                  </a:lnTo>
                  <a:lnTo>
                    <a:pt x="126" y="857"/>
                  </a:lnTo>
                  <a:lnTo>
                    <a:pt x="128" y="857"/>
                  </a:lnTo>
                  <a:lnTo>
                    <a:pt x="128" y="858"/>
                  </a:lnTo>
                  <a:lnTo>
                    <a:pt x="126" y="858"/>
                  </a:lnTo>
                  <a:lnTo>
                    <a:pt x="126" y="858"/>
                  </a:lnTo>
                  <a:lnTo>
                    <a:pt x="126" y="858"/>
                  </a:lnTo>
                  <a:lnTo>
                    <a:pt x="126" y="858"/>
                  </a:lnTo>
                  <a:close/>
                  <a:moveTo>
                    <a:pt x="199" y="879"/>
                  </a:moveTo>
                  <a:lnTo>
                    <a:pt x="195" y="877"/>
                  </a:lnTo>
                  <a:lnTo>
                    <a:pt x="199" y="875"/>
                  </a:lnTo>
                  <a:lnTo>
                    <a:pt x="195" y="874"/>
                  </a:lnTo>
                  <a:lnTo>
                    <a:pt x="201" y="874"/>
                  </a:lnTo>
                  <a:lnTo>
                    <a:pt x="201" y="877"/>
                  </a:lnTo>
                  <a:lnTo>
                    <a:pt x="201" y="879"/>
                  </a:lnTo>
                  <a:lnTo>
                    <a:pt x="199" y="879"/>
                  </a:lnTo>
                  <a:lnTo>
                    <a:pt x="199" y="879"/>
                  </a:lnTo>
                  <a:lnTo>
                    <a:pt x="199" y="879"/>
                  </a:lnTo>
                  <a:lnTo>
                    <a:pt x="199" y="879"/>
                  </a:lnTo>
                  <a:close/>
                  <a:moveTo>
                    <a:pt x="152" y="862"/>
                  </a:moveTo>
                  <a:lnTo>
                    <a:pt x="156" y="858"/>
                  </a:lnTo>
                  <a:lnTo>
                    <a:pt x="158" y="858"/>
                  </a:lnTo>
                  <a:lnTo>
                    <a:pt x="160" y="858"/>
                  </a:lnTo>
                  <a:lnTo>
                    <a:pt x="163" y="858"/>
                  </a:lnTo>
                  <a:lnTo>
                    <a:pt x="171" y="857"/>
                  </a:lnTo>
                  <a:lnTo>
                    <a:pt x="177" y="857"/>
                  </a:lnTo>
                  <a:lnTo>
                    <a:pt x="182" y="857"/>
                  </a:lnTo>
                  <a:lnTo>
                    <a:pt x="188" y="857"/>
                  </a:lnTo>
                  <a:lnTo>
                    <a:pt x="192" y="857"/>
                  </a:lnTo>
                  <a:lnTo>
                    <a:pt x="195" y="857"/>
                  </a:lnTo>
                  <a:lnTo>
                    <a:pt x="195" y="858"/>
                  </a:lnTo>
                  <a:lnTo>
                    <a:pt x="199" y="862"/>
                  </a:lnTo>
                  <a:lnTo>
                    <a:pt x="195" y="862"/>
                  </a:lnTo>
                  <a:lnTo>
                    <a:pt x="195" y="864"/>
                  </a:lnTo>
                  <a:lnTo>
                    <a:pt x="192" y="862"/>
                  </a:lnTo>
                  <a:lnTo>
                    <a:pt x="192" y="862"/>
                  </a:lnTo>
                  <a:lnTo>
                    <a:pt x="188" y="864"/>
                  </a:lnTo>
                  <a:lnTo>
                    <a:pt x="182" y="864"/>
                  </a:lnTo>
                  <a:lnTo>
                    <a:pt x="180" y="862"/>
                  </a:lnTo>
                  <a:lnTo>
                    <a:pt x="180" y="858"/>
                  </a:lnTo>
                  <a:lnTo>
                    <a:pt x="177" y="858"/>
                  </a:lnTo>
                  <a:lnTo>
                    <a:pt x="175" y="862"/>
                  </a:lnTo>
                  <a:lnTo>
                    <a:pt x="171" y="862"/>
                  </a:lnTo>
                  <a:lnTo>
                    <a:pt x="167" y="862"/>
                  </a:lnTo>
                  <a:lnTo>
                    <a:pt x="171" y="864"/>
                  </a:lnTo>
                  <a:lnTo>
                    <a:pt x="171" y="864"/>
                  </a:lnTo>
                  <a:lnTo>
                    <a:pt x="177" y="866"/>
                  </a:lnTo>
                  <a:lnTo>
                    <a:pt x="177" y="866"/>
                  </a:lnTo>
                  <a:lnTo>
                    <a:pt x="177" y="868"/>
                  </a:lnTo>
                  <a:lnTo>
                    <a:pt x="180" y="870"/>
                  </a:lnTo>
                  <a:lnTo>
                    <a:pt x="184" y="874"/>
                  </a:lnTo>
                  <a:lnTo>
                    <a:pt x="184" y="877"/>
                  </a:lnTo>
                  <a:lnTo>
                    <a:pt x="182" y="875"/>
                  </a:lnTo>
                  <a:lnTo>
                    <a:pt x="180" y="872"/>
                  </a:lnTo>
                  <a:lnTo>
                    <a:pt x="177" y="872"/>
                  </a:lnTo>
                  <a:lnTo>
                    <a:pt x="171" y="874"/>
                  </a:lnTo>
                  <a:lnTo>
                    <a:pt x="171" y="872"/>
                  </a:lnTo>
                  <a:lnTo>
                    <a:pt x="167" y="868"/>
                  </a:lnTo>
                  <a:lnTo>
                    <a:pt x="165" y="868"/>
                  </a:lnTo>
                  <a:lnTo>
                    <a:pt x="165" y="870"/>
                  </a:lnTo>
                  <a:lnTo>
                    <a:pt x="167" y="872"/>
                  </a:lnTo>
                  <a:lnTo>
                    <a:pt x="167" y="875"/>
                  </a:lnTo>
                  <a:lnTo>
                    <a:pt x="165" y="875"/>
                  </a:lnTo>
                  <a:lnTo>
                    <a:pt x="162" y="872"/>
                  </a:lnTo>
                  <a:lnTo>
                    <a:pt x="160" y="874"/>
                  </a:lnTo>
                  <a:lnTo>
                    <a:pt x="158" y="872"/>
                  </a:lnTo>
                  <a:lnTo>
                    <a:pt x="156" y="870"/>
                  </a:lnTo>
                  <a:lnTo>
                    <a:pt x="156" y="868"/>
                  </a:lnTo>
                  <a:lnTo>
                    <a:pt x="156" y="870"/>
                  </a:lnTo>
                  <a:lnTo>
                    <a:pt x="150" y="868"/>
                  </a:lnTo>
                  <a:lnTo>
                    <a:pt x="150" y="866"/>
                  </a:lnTo>
                  <a:lnTo>
                    <a:pt x="156" y="864"/>
                  </a:lnTo>
                  <a:lnTo>
                    <a:pt x="160" y="862"/>
                  </a:lnTo>
                  <a:lnTo>
                    <a:pt x="156" y="862"/>
                  </a:lnTo>
                  <a:lnTo>
                    <a:pt x="156" y="862"/>
                  </a:lnTo>
                  <a:lnTo>
                    <a:pt x="152" y="862"/>
                  </a:lnTo>
                  <a:lnTo>
                    <a:pt x="152" y="862"/>
                  </a:lnTo>
                  <a:lnTo>
                    <a:pt x="152" y="862"/>
                  </a:lnTo>
                  <a:close/>
                </a:path>
              </a:pathLst>
            </a:custGeom>
            <a:solidFill>
              <a:srgbClr val="860864"/>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4" name="Freeform 47">
              <a:extLst>
                <a:ext uri="{FF2B5EF4-FFF2-40B4-BE49-F238E27FC236}">
                  <a16:creationId xmlns:a16="http://schemas.microsoft.com/office/drawing/2014/main" id="{F3D09002-362F-431D-B7EC-8F6C3016F2BE}"/>
                </a:ext>
              </a:extLst>
            </p:cNvPr>
            <p:cNvSpPr>
              <a:spLocks/>
            </p:cNvSpPr>
            <p:nvPr/>
          </p:nvSpPr>
          <p:spPr bwMode="auto">
            <a:xfrm>
              <a:off x="4272" y="1950"/>
              <a:ext cx="574" cy="270"/>
            </a:xfrm>
            <a:custGeom>
              <a:avLst/>
              <a:gdLst/>
              <a:ahLst/>
              <a:cxnLst>
                <a:cxn ang="0">
                  <a:pos x="20" y="83"/>
                </a:cxn>
                <a:cxn ang="0">
                  <a:pos x="35" y="64"/>
                </a:cxn>
                <a:cxn ang="0">
                  <a:pos x="41" y="53"/>
                </a:cxn>
                <a:cxn ang="0">
                  <a:pos x="66" y="47"/>
                </a:cxn>
                <a:cxn ang="0">
                  <a:pos x="81" y="49"/>
                </a:cxn>
                <a:cxn ang="0">
                  <a:pos x="99" y="49"/>
                </a:cxn>
                <a:cxn ang="0">
                  <a:pos x="120" y="68"/>
                </a:cxn>
                <a:cxn ang="0">
                  <a:pos x="139" y="64"/>
                </a:cxn>
                <a:cxn ang="0">
                  <a:pos x="163" y="64"/>
                </a:cxn>
                <a:cxn ang="0">
                  <a:pos x="169" y="44"/>
                </a:cxn>
                <a:cxn ang="0">
                  <a:pos x="154" y="21"/>
                </a:cxn>
                <a:cxn ang="0">
                  <a:pos x="167" y="10"/>
                </a:cxn>
                <a:cxn ang="0">
                  <a:pos x="179" y="4"/>
                </a:cxn>
                <a:cxn ang="0">
                  <a:pos x="205" y="10"/>
                </a:cxn>
                <a:cxn ang="0">
                  <a:pos x="227" y="15"/>
                </a:cxn>
                <a:cxn ang="0">
                  <a:pos x="235" y="32"/>
                </a:cxn>
                <a:cxn ang="0">
                  <a:pos x="248" y="44"/>
                </a:cxn>
                <a:cxn ang="0">
                  <a:pos x="269" y="44"/>
                </a:cxn>
                <a:cxn ang="0">
                  <a:pos x="293" y="38"/>
                </a:cxn>
                <a:cxn ang="0">
                  <a:pos x="323" y="44"/>
                </a:cxn>
                <a:cxn ang="0">
                  <a:pos x="346" y="55"/>
                </a:cxn>
                <a:cxn ang="0">
                  <a:pos x="372" y="62"/>
                </a:cxn>
                <a:cxn ang="0">
                  <a:pos x="403" y="62"/>
                </a:cxn>
                <a:cxn ang="0">
                  <a:pos x="431" y="49"/>
                </a:cxn>
                <a:cxn ang="0">
                  <a:pos x="446" y="32"/>
                </a:cxn>
                <a:cxn ang="0">
                  <a:pos x="463" y="25"/>
                </a:cxn>
                <a:cxn ang="0">
                  <a:pos x="480" y="32"/>
                </a:cxn>
                <a:cxn ang="0">
                  <a:pos x="497" y="61"/>
                </a:cxn>
                <a:cxn ang="0">
                  <a:pos x="506" y="95"/>
                </a:cxn>
                <a:cxn ang="0">
                  <a:pos x="534" y="83"/>
                </a:cxn>
                <a:cxn ang="0">
                  <a:pos x="561" y="91"/>
                </a:cxn>
                <a:cxn ang="0">
                  <a:pos x="572" y="113"/>
                </a:cxn>
                <a:cxn ang="0">
                  <a:pos x="561" y="117"/>
                </a:cxn>
                <a:cxn ang="0">
                  <a:pos x="536" y="125"/>
                </a:cxn>
                <a:cxn ang="0">
                  <a:pos x="527" y="132"/>
                </a:cxn>
                <a:cxn ang="0">
                  <a:pos x="510" y="157"/>
                </a:cxn>
                <a:cxn ang="0">
                  <a:pos x="489" y="170"/>
                </a:cxn>
                <a:cxn ang="0">
                  <a:pos x="470" y="170"/>
                </a:cxn>
                <a:cxn ang="0">
                  <a:pos x="446" y="183"/>
                </a:cxn>
                <a:cxn ang="0">
                  <a:pos x="457" y="206"/>
                </a:cxn>
                <a:cxn ang="0">
                  <a:pos x="433" y="236"/>
                </a:cxn>
                <a:cxn ang="0">
                  <a:pos x="401" y="245"/>
                </a:cxn>
                <a:cxn ang="0">
                  <a:pos x="354" y="270"/>
                </a:cxn>
                <a:cxn ang="0">
                  <a:pos x="329" y="268"/>
                </a:cxn>
                <a:cxn ang="0">
                  <a:pos x="282" y="247"/>
                </a:cxn>
                <a:cxn ang="0">
                  <a:pos x="244" y="251"/>
                </a:cxn>
                <a:cxn ang="0">
                  <a:pos x="190" y="251"/>
                </a:cxn>
                <a:cxn ang="0">
                  <a:pos x="169" y="223"/>
                </a:cxn>
                <a:cxn ang="0">
                  <a:pos x="162" y="213"/>
                </a:cxn>
                <a:cxn ang="0">
                  <a:pos x="139" y="204"/>
                </a:cxn>
                <a:cxn ang="0">
                  <a:pos x="115" y="196"/>
                </a:cxn>
                <a:cxn ang="0">
                  <a:pos x="73" y="183"/>
                </a:cxn>
                <a:cxn ang="0">
                  <a:pos x="75" y="168"/>
                </a:cxn>
                <a:cxn ang="0">
                  <a:pos x="69" y="151"/>
                </a:cxn>
                <a:cxn ang="0">
                  <a:pos x="58" y="132"/>
                </a:cxn>
                <a:cxn ang="0">
                  <a:pos x="45" y="128"/>
                </a:cxn>
                <a:cxn ang="0">
                  <a:pos x="28" y="127"/>
                </a:cxn>
                <a:cxn ang="0">
                  <a:pos x="20" y="123"/>
                </a:cxn>
                <a:cxn ang="0">
                  <a:pos x="7" y="108"/>
                </a:cxn>
                <a:cxn ang="0">
                  <a:pos x="2" y="104"/>
                </a:cxn>
              </a:cxnLst>
              <a:rect l="0" t="0" r="r" b="b"/>
              <a:pathLst>
                <a:path w="574" h="270">
                  <a:moveTo>
                    <a:pt x="0" y="96"/>
                  </a:moveTo>
                  <a:lnTo>
                    <a:pt x="3" y="91"/>
                  </a:lnTo>
                  <a:lnTo>
                    <a:pt x="7" y="89"/>
                  </a:lnTo>
                  <a:lnTo>
                    <a:pt x="15" y="89"/>
                  </a:lnTo>
                  <a:lnTo>
                    <a:pt x="15" y="87"/>
                  </a:lnTo>
                  <a:lnTo>
                    <a:pt x="20" y="83"/>
                  </a:lnTo>
                  <a:lnTo>
                    <a:pt x="24" y="81"/>
                  </a:lnTo>
                  <a:lnTo>
                    <a:pt x="26" y="78"/>
                  </a:lnTo>
                  <a:lnTo>
                    <a:pt x="26" y="74"/>
                  </a:lnTo>
                  <a:lnTo>
                    <a:pt x="32" y="72"/>
                  </a:lnTo>
                  <a:lnTo>
                    <a:pt x="32" y="68"/>
                  </a:lnTo>
                  <a:lnTo>
                    <a:pt x="35" y="64"/>
                  </a:lnTo>
                  <a:lnTo>
                    <a:pt x="39" y="64"/>
                  </a:lnTo>
                  <a:lnTo>
                    <a:pt x="41" y="61"/>
                  </a:lnTo>
                  <a:lnTo>
                    <a:pt x="43" y="61"/>
                  </a:lnTo>
                  <a:lnTo>
                    <a:pt x="41" y="59"/>
                  </a:lnTo>
                  <a:lnTo>
                    <a:pt x="41" y="55"/>
                  </a:lnTo>
                  <a:lnTo>
                    <a:pt x="41" y="53"/>
                  </a:lnTo>
                  <a:lnTo>
                    <a:pt x="49" y="55"/>
                  </a:lnTo>
                  <a:lnTo>
                    <a:pt x="51" y="55"/>
                  </a:lnTo>
                  <a:lnTo>
                    <a:pt x="51" y="49"/>
                  </a:lnTo>
                  <a:lnTo>
                    <a:pt x="54" y="47"/>
                  </a:lnTo>
                  <a:lnTo>
                    <a:pt x="62" y="47"/>
                  </a:lnTo>
                  <a:lnTo>
                    <a:pt x="66" y="47"/>
                  </a:lnTo>
                  <a:lnTo>
                    <a:pt x="67" y="47"/>
                  </a:lnTo>
                  <a:lnTo>
                    <a:pt x="73" y="47"/>
                  </a:lnTo>
                  <a:lnTo>
                    <a:pt x="75" y="44"/>
                  </a:lnTo>
                  <a:lnTo>
                    <a:pt x="75" y="44"/>
                  </a:lnTo>
                  <a:lnTo>
                    <a:pt x="79" y="47"/>
                  </a:lnTo>
                  <a:lnTo>
                    <a:pt x="81" y="49"/>
                  </a:lnTo>
                  <a:lnTo>
                    <a:pt x="81" y="53"/>
                  </a:lnTo>
                  <a:lnTo>
                    <a:pt x="84" y="51"/>
                  </a:lnTo>
                  <a:lnTo>
                    <a:pt x="88" y="51"/>
                  </a:lnTo>
                  <a:lnTo>
                    <a:pt x="90" y="51"/>
                  </a:lnTo>
                  <a:lnTo>
                    <a:pt x="92" y="49"/>
                  </a:lnTo>
                  <a:lnTo>
                    <a:pt x="99" y="49"/>
                  </a:lnTo>
                  <a:lnTo>
                    <a:pt x="99" y="53"/>
                  </a:lnTo>
                  <a:lnTo>
                    <a:pt x="101" y="55"/>
                  </a:lnTo>
                  <a:lnTo>
                    <a:pt x="101" y="59"/>
                  </a:lnTo>
                  <a:lnTo>
                    <a:pt x="113" y="64"/>
                  </a:lnTo>
                  <a:lnTo>
                    <a:pt x="115" y="64"/>
                  </a:lnTo>
                  <a:lnTo>
                    <a:pt x="120" y="68"/>
                  </a:lnTo>
                  <a:lnTo>
                    <a:pt x="124" y="68"/>
                  </a:lnTo>
                  <a:lnTo>
                    <a:pt x="128" y="64"/>
                  </a:lnTo>
                  <a:lnTo>
                    <a:pt x="131" y="64"/>
                  </a:lnTo>
                  <a:lnTo>
                    <a:pt x="135" y="64"/>
                  </a:lnTo>
                  <a:lnTo>
                    <a:pt x="139" y="64"/>
                  </a:lnTo>
                  <a:lnTo>
                    <a:pt x="139" y="64"/>
                  </a:lnTo>
                  <a:lnTo>
                    <a:pt x="145" y="64"/>
                  </a:lnTo>
                  <a:lnTo>
                    <a:pt x="152" y="64"/>
                  </a:lnTo>
                  <a:lnTo>
                    <a:pt x="154" y="68"/>
                  </a:lnTo>
                  <a:lnTo>
                    <a:pt x="158" y="64"/>
                  </a:lnTo>
                  <a:lnTo>
                    <a:pt x="160" y="64"/>
                  </a:lnTo>
                  <a:lnTo>
                    <a:pt x="163" y="64"/>
                  </a:lnTo>
                  <a:lnTo>
                    <a:pt x="169" y="64"/>
                  </a:lnTo>
                  <a:lnTo>
                    <a:pt x="173" y="61"/>
                  </a:lnTo>
                  <a:lnTo>
                    <a:pt x="169" y="57"/>
                  </a:lnTo>
                  <a:lnTo>
                    <a:pt x="167" y="55"/>
                  </a:lnTo>
                  <a:lnTo>
                    <a:pt x="167" y="49"/>
                  </a:lnTo>
                  <a:lnTo>
                    <a:pt x="169" y="44"/>
                  </a:lnTo>
                  <a:lnTo>
                    <a:pt x="167" y="40"/>
                  </a:lnTo>
                  <a:lnTo>
                    <a:pt x="163" y="40"/>
                  </a:lnTo>
                  <a:lnTo>
                    <a:pt x="162" y="38"/>
                  </a:lnTo>
                  <a:lnTo>
                    <a:pt x="158" y="36"/>
                  </a:lnTo>
                  <a:lnTo>
                    <a:pt x="154" y="32"/>
                  </a:lnTo>
                  <a:lnTo>
                    <a:pt x="154" y="21"/>
                  </a:lnTo>
                  <a:lnTo>
                    <a:pt x="160" y="19"/>
                  </a:lnTo>
                  <a:lnTo>
                    <a:pt x="160" y="14"/>
                  </a:lnTo>
                  <a:lnTo>
                    <a:pt x="162" y="14"/>
                  </a:lnTo>
                  <a:lnTo>
                    <a:pt x="163" y="10"/>
                  </a:lnTo>
                  <a:lnTo>
                    <a:pt x="165" y="10"/>
                  </a:lnTo>
                  <a:lnTo>
                    <a:pt x="167" y="10"/>
                  </a:lnTo>
                  <a:lnTo>
                    <a:pt x="167" y="6"/>
                  </a:lnTo>
                  <a:lnTo>
                    <a:pt x="167" y="2"/>
                  </a:lnTo>
                  <a:lnTo>
                    <a:pt x="169" y="0"/>
                  </a:lnTo>
                  <a:lnTo>
                    <a:pt x="173" y="0"/>
                  </a:lnTo>
                  <a:lnTo>
                    <a:pt x="175" y="2"/>
                  </a:lnTo>
                  <a:lnTo>
                    <a:pt x="179" y="4"/>
                  </a:lnTo>
                  <a:lnTo>
                    <a:pt x="184" y="6"/>
                  </a:lnTo>
                  <a:lnTo>
                    <a:pt x="188" y="8"/>
                  </a:lnTo>
                  <a:lnTo>
                    <a:pt x="190" y="10"/>
                  </a:lnTo>
                  <a:lnTo>
                    <a:pt x="195" y="10"/>
                  </a:lnTo>
                  <a:lnTo>
                    <a:pt x="199" y="10"/>
                  </a:lnTo>
                  <a:lnTo>
                    <a:pt x="205" y="10"/>
                  </a:lnTo>
                  <a:lnTo>
                    <a:pt x="207" y="14"/>
                  </a:lnTo>
                  <a:lnTo>
                    <a:pt x="209" y="14"/>
                  </a:lnTo>
                  <a:lnTo>
                    <a:pt x="212" y="14"/>
                  </a:lnTo>
                  <a:lnTo>
                    <a:pt x="218" y="14"/>
                  </a:lnTo>
                  <a:lnTo>
                    <a:pt x="224" y="14"/>
                  </a:lnTo>
                  <a:lnTo>
                    <a:pt x="227" y="15"/>
                  </a:lnTo>
                  <a:lnTo>
                    <a:pt x="229" y="19"/>
                  </a:lnTo>
                  <a:lnTo>
                    <a:pt x="229" y="21"/>
                  </a:lnTo>
                  <a:lnTo>
                    <a:pt x="231" y="23"/>
                  </a:lnTo>
                  <a:lnTo>
                    <a:pt x="231" y="27"/>
                  </a:lnTo>
                  <a:lnTo>
                    <a:pt x="233" y="29"/>
                  </a:lnTo>
                  <a:lnTo>
                    <a:pt x="235" y="32"/>
                  </a:lnTo>
                  <a:lnTo>
                    <a:pt x="235" y="36"/>
                  </a:lnTo>
                  <a:lnTo>
                    <a:pt x="237" y="38"/>
                  </a:lnTo>
                  <a:lnTo>
                    <a:pt x="239" y="38"/>
                  </a:lnTo>
                  <a:lnTo>
                    <a:pt x="243" y="40"/>
                  </a:lnTo>
                  <a:lnTo>
                    <a:pt x="243" y="44"/>
                  </a:lnTo>
                  <a:lnTo>
                    <a:pt x="248" y="44"/>
                  </a:lnTo>
                  <a:lnTo>
                    <a:pt x="254" y="47"/>
                  </a:lnTo>
                  <a:lnTo>
                    <a:pt x="258" y="47"/>
                  </a:lnTo>
                  <a:lnTo>
                    <a:pt x="258" y="47"/>
                  </a:lnTo>
                  <a:lnTo>
                    <a:pt x="265" y="47"/>
                  </a:lnTo>
                  <a:lnTo>
                    <a:pt x="267" y="44"/>
                  </a:lnTo>
                  <a:lnTo>
                    <a:pt x="269" y="44"/>
                  </a:lnTo>
                  <a:lnTo>
                    <a:pt x="273" y="47"/>
                  </a:lnTo>
                  <a:lnTo>
                    <a:pt x="273" y="44"/>
                  </a:lnTo>
                  <a:lnTo>
                    <a:pt x="278" y="40"/>
                  </a:lnTo>
                  <a:lnTo>
                    <a:pt x="282" y="40"/>
                  </a:lnTo>
                  <a:lnTo>
                    <a:pt x="290" y="40"/>
                  </a:lnTo>
                  <a:lnTo>
                    <a:pt x="293" y="38"/>
                  </a:lnTo>
                  <a:lnTo>
                    <a:pt x="299" y="38"/>
                  </a:lnTo>
                  <a:lnTo>
                    <a:pt x="303" y="36"/>
                  </a:lnTo>
                  <a:lnTo>
                    <a:pt x="308" y="38"/>
                  </a:lnTo>
                  <a:lnTo>
                    <a:pt x="312" y="40"/>
                  </a:lnTo>
                  <a:lnTo>
                    <a:pt x="320" y="38"/>
                  </a:lnTo>
                  <a:lnTo>
                    <a:pt x="323" y="44"/>
                  </a:lnTo>
                  <a:lnTo>
                    <a:pt x="331" y="47"/>
                  </a:lnTo>
                  <a:lnTo>
                    <a:pt x="337" y="47"/>
                  </a:lnTo>
                  <a:lnTo>
                    <a:pt x="339" y="44"/>
                  </a:lnTo>
                  <a:lnTo>
                    <a:pt x="342" y="47"/>
                  </a:lnTo>
                  <a:lnTo>
                    <a:pt x="342" y="53"/>
                  </a:lnTo>
                  <a:lnTo>
                    <a:pt x="346" y="55"/>
                  </a:lnTo>
                  <a:lnTo>
                    <a:pt x="350" y="57"/>
                  </a:lnTo>
                  <a:lnTo>
                    <a:pt x="352" y="57"/>
                  </a:lnTo>
                  <a:lnTo>
                    <a:pt x="355" y="61"/>
                  </a:lnTo>
                  <a:lnTo>
                    <a:pt x="359" y="61"/>
                  </a:lnTo>
                  <a:lnTo>
                    <a:pt x="367" y="61"/>
                  </a:lnTo>
                  <a:lnTo>
                    <a:pt x="372" y="62"/>
                  </a:lnTo>
                  <a:lnTo>
                    <a:pt x="386" y="62"/>
                  </a:lnTo>
                  <a:lnTo>
                    <a:pt x="389" y="61"/>
                  </a:lnTo>
                  <a:lnTo>
                    <a:pt x="391" y="61"/>
                  </a:lnTo>
                  <a:lnTo>
                    <a:pt x="397" y="61"/>
                  </a:lnTo>
                  <a:lnTo>
                    <a:pt x="401" y="62"/>
                  </a:lnTo>
                  <a:lnTo>
                    <a:pt x="403" y="62"/>
                  </a:lnTo>
                  <a:lnTo>
                    <a:pt x="406" y="57"/>
                  </a:lnTo>
                  <a:lnTo>
                    <a:pt x="410" y="53"/>
                  </a:lnTo>
                  <a:lnTo>
                    <a:pt x="416" y="53"/>
                  </a:lnTo>
                  <a:lnTo>
                    <a:pt x="419" y="49"/>
                  </a:lnTo>
                  <a:lnTo>
                    <a:pt x="421" y="49"/>
                  </a:lnTo>
                  <a:lnTo>
                    <a:pt x="431" y="49"/>
                  </a:lnTo>
                  <a:lnTo>
                    <a:pt x="433" y="47"/>
                  </a:lnTo>
                  <a:lnTo>
                    <a:pt x="436" y="44"/>
                  </a:lnTo>
                  <a:lnTo>
                    <a:pt x="436" y="40"/>
                  </a:lnTo>
                  <a:lnTo>
                    <a:pt x="436" y="38"/>
                  </a:lnTo>
                  <a:lnTo>
                    <a:pt x="440" y="36"/>
                  </a:lnTo>
                  <a:lnTo>
                    <a:pt x="446" y="32"/>
                  </a:lnTo>
                  <a:lnTo>
                    <a:pt x="446" y="29"/>
                  </a:lnTo>
                  <a:lnTo>
                    <a:pt x="448" y="25"/>
                  </a:lnTo>
                  <a:lnTo>
                    <a:pt x="451" y="25"/>
                  </a:lnTo>
                  <a:lnTo>
                    <a:pt x="453" y="27"/>
                  </a:lnTo>
                  <a:lnTo>
                    <a:pt x="457" y="25"/>
                  </a:lnTo>
                  <a:lnTo>
                    <a:pt x="463" y="25"/>
                  </a:lnTo>
                  <a:lnTo>
                    <a:pt x="467" y="29"/>
                  </a:lnTo>
                  <a:lnTo>
                    <a:pt x="467" y="32"/>
                  </a:lnTo>
                  <a:lnTo>
                    <a:pt x="470" y="32"/>
                  </a:lnTo>
                  <a:lnTo>
                    <a:pt x="476" y="30"/>
                  </a:lnTo>
                  <a:lnTo>
                    <a:pt x="476" y="32"/>
                  </a:lnTo>
                  <a:lnTo>
                    <a:pt x="480" y="32"/>
                  </a:lnTo>
                  <a:lnTo>
                    <a:pt x="483" y="30"/>
                  </a:lnTo>
                  <a:lnTo>
                    <a:pt x="483" y="29"/>
                  </a:lnTo>
                  <a:lnTo>
                    <a:pt x="491" y="27"/>
                  </a:lnTo>
                  <a:lnTo>
                    <a:pt x="497" y="29"/>
                  </a:lnTo>
                  <a:lnTo>
                    <a:pt x="500" y="32"/>
                  </a:lnTo>
                  <a:lnTo>
                    <a:pt x="497" y="61"/>
                  </a:lnTo>
                  <a:lnTo>
                    <a:pt x="497" y="64"/>
                  </a:lnTo>
                  <a:lnTo>
                    <a:pt x="495" y="72"/>
                  </a:lnTo>
                  <a:lnTo>
                    <a:pt x="495" y="74"/>
                  </a:lnTo>
                  <a:lnTo>
                    <a:pt x="493" y="83"/>
                  </a:lnTo>
                  <a:lnTo>
                    <a:pt x="497" y="89"/>
                  </a:lnTo>
                  <a:lnTo>
                    <a:pt x="506" y="95"/>
                  </a:lnTo>
                  <a:lnTo>
                    <a:pt x="510" y="89"/>
                  </a:lnTo>
                  <a:lnTo>
                    <a:pt x="517" y="89"/>
                  </a:lnTo>
                  <a:lnTo>
                    <a:pt x="527" y="91"/>
                  </a:lnTo>
                  <a:lnTo>
                    <a:pt x="531" y="95"/>
                  </a:lnTo>
                  <a:lnTo>
                    <a:pt x="534" y="87"/>
                  </a:lnTo>
                  <a:lnTo>
                    <a:pt x="534" y="83"/>
                  </a:lnTo>
                  <a:lnTo>
                    <a:pt x="534" y="79"/>
                  </a:lnTo>
                  <a:lnTo>
                    <a:pt x="540" y="78"/>
                  </a:lnTo>
                  <a:lnTo>
                    <a:pt x="540" y="78"/>
                  </a:lnTo>
                  <a:lnTo>
                    <a:pt x="549" y="78"/>
                  </a:lnTo>
                  <a:lnTo>
                    <a:pt x="555" y="85"/>
                  </a:lnTo>
                  <a:lnTo>
                    <a:pt x="561" y="91"/>
                  </a:lnTo>
                  <a:lnTo>
                    <a:pt x="566" y="98"/>
                  </a:lnTo>
                  <a:lnTo>
                    <a:pt x="572" y="102"/>
                  </a:lnTo>
                  <a:lnTo>
                    <a:pt x="572" y="104"/>
                  </a:lnTo>
                  <a:lnTo>
                    <a:pt x="574" y="108"/>
                  </a:lnTo>
                  <a:lnTo>
                    <a:pt x="574" y="111"/>
                  </a:lnTo>
                  <a:lnTo>
                    <a:pt x="572" y="113"/>
                  </a:lnTo>
                  <a:lnTo>
                    <a:pt x="572" y="115"/>
                  </a:lnTo>
                  <a:lnTo>
                    <a:pt x="570" y="119"/>
                  </a:lnTo>
                  <a:lnTo>
                    <a:pt x="570" y="117"/>
                  </a:lnTo>
                  <a:lnTo>
                    <a:pt x="566" y="115"/>
                  </a:lnTo>
                  <a:lnTo>
                    <a:pt x="564" y="117"/>
                  </a:lnTo>
                  <a:lnTo>
                    <a:pt x="561" y="117"/>
                  </a:lnTo>
                  <a:lnTo>
                    <a:pt x="557" y="115"/>
                  </a:lnTo>
                  <a:lnTo>
                    <a:pt x="553" y="115"/>
                  </a:lnTo>
                  <a:lnTo>
                    <a:pt x="549" y="121"/>
                  </a:lnTo>
                  <a:lnTo>
                    <a:pt x="544" y="125"/>
                  </a:lnTo>
                  <a:lnTo>
                    <a:pt x="540" y="127"/>
                  </a:lnTo>
                  <a:lnTo>
                    <a:pt x="536" y="125"/>
                  </a:lnTo>
                  <a:lnTo>
                    <a:pt x="536" y="125"/>
                  </a:lnTo>
                  <a:lnTo>
                    <a:pt x="536" y="128"/>
                  </a:lnTo>
                  <a:lnTo>
                    <a:pt x="536" y="128"/>
                  </a:lnTo>
                  <a:lnTo>
                    <a:pt x="531" y="132"/>
                  </a:lnTo>
                  <a:lnTo>
                    <a:pt x="531" y="128"/>
                  </a:lnTo>
                  <a:lnTo>
                    <a:pt x="527" y="132"/>
                  </a:lnTo>
                  <a:lnTo>
                    <a:pt x="527" y="136"/>
                  </a:lnTo>
                  <a:lnTo>
                    <a:pt x="525" y="143"/>
                  </a:lnTo>
                  <a:lnTo>
                    <a:pt x="525" y="147"/>
                  </a:lnTo>
                  <a:lnTo>
                    <a:pt x="523" y="149"/>
                  </a:lnTo>
                  <a:lnTo>
                    <a:pt x="519" y="151"/>
                  </a:lnTo>
                  <a:lnTo>
                    <a:pt x="510" y="157"/>
                  </a:lnTo>
                  <a:lnTo>
                    <a:pt x="506" y="157"/>
                  </a:lnTo>
                  <a:lnTo>
                    <a:pt x="500" y="153"/>
                  </a:lnTo>
                  <a:lnTo>
                    <a:pt x="500" y="157"/>
                  </a:lnTo>
                  <a:lnTo>
                    <a:pt x="497" y="162"/>
                  </a:lnTo>
                  <a:lnTo>
                    <a:pt x="493" y="166"/>
                  </a:lnTo>
                  <a:lnTo>
                    <a:pt x="489" y="170"/>
                  </a:lnTo>
                  <a:lnTo>
                    <a:pt x="485" y="172"/>
                  </a:lnTo>
                  <a:lnTo>
                    <a:pt x="485" y="175"/>
                  </a:lnTo>
                  <a:lnTo>
                    <a:pt x="483" y="175"/>
                  </a:lnTo>
                  <a:lnTo>
                    <a:pt x="478" y="174"/>
                  </a:lnTo>
                  <a:lnTo>
                    <a:pt x="476" y="172"/>
                  </a:lnTo>
                  <a:lnTo>
                    <a:pt x="470" y="170"/>
                  </a:lnTo>
                  <a:lnTo>
                    <a:pt x="465" y="166"/>
                  </a:lnTo>
                  <a:lnTo>
                    <a:pt x="461" y="166"/>
                  </a:lnTo>
                  <a:lnTo>
                    <a:pt x="453" y="168"/>
                  </a:lnTo>
                  <a:lnTo>
                    <a:pt x="448" y="172"/>
                  </a:lnTo>
                  <a:lnTo>
                    <a:pt x="446" y="175"/>
                  </a:lnTo>
                  <a:lnTo>
                    <a:pt x="446" y="183"/>
                  </a:lnTo>
                  <a:lnTo>
                    <a:pt x="446" y="187"/>
                  </a:lnTo>
                  <a:lnTo>
                    <a:pt x="446" y="191"/>
                  </a:lnTo>
                  <a:lnTo>
                    <a:pt x="453" y="196"/>
                  </a:lnTo>
                  <a:lnTo>
                    <a:pt x="463" y="200"/>
                  </a:lnTo>
                  <a:lnTo>
                    <a:pt x="463" y="202"/>
                  </a:lnTo>
                  <a:lnTo>
                    <a:pt x="457" y="206"/>
                  </a:lnTo>
                  <a:lnTo>
                    <a:pt x="457" y="209"/>
                  </a:lnTo>
                  <a:lnTo>
                    <a:pt x="448" y="221"/>
                  </a:lnTo>
                  <a:lnTo>
                    <a:pt x="446" y="226"/>
                  </a:lnTo>
                  <a:lnTo>
                    <a:pt x="440" y="234"/>
                  </a:lnTo>
                  <a:lnTo>
                    <a:pt x="440" y="234"/>
                  </a:lnTo>
                  <a:lnTo>
                    <a:pt x="433" y="236"/>
                  </a:lnTo>
                  <a:lnTo>
                    <a:pt x="429" y="236"/>
                  </a:lnTo>
                  <a:lnTo>
                    <a:pt x="423" y="240"/>
                  </a:lnTo>
                  <a:lnTo>
                    <a:pt x="418" y="241"/>
                  </a:lnTo>
                  <a:lnTo>
                    <a:pt x="412" y="241"/>
                  </a:lnTo>
                  <a:lnTo>
                    <a:pt x="406" y="241"/>
                  </a:lnTo>
                  <a:lnTo>
                    <a:pt x="401" y="245"/>
                  </a:lnTo>
                  <a:lnTo>
                    <a:pt x="395" y="247"/>
                  </a:lnTo>
                  <a:lnTo>
                    <a:pt x="380" y="251"/>
                  </a:lnTo>
                  <a:lnTo>
                    <a:pt x="371" y="255"/>
                  </a:lnTo>
                  <a:lnTo>
                    <a:pt x="363" y="260"/>
                  </a:lnTo>
                  <a:lnTo>
                    <a:pt x="357" y="268"/>
                  </a:lnTo>
                  <a:lnTo>
                    <a:pt x="354" y="270"/>
                  </a:lnTo>
                  <a:lnTo>
                    <a:pt x="348" y="270"/>
                  </a:lnTo>
                  <a:lnTo>
                    <a:pt x="342" y="270"/>
                  </a:lnTo>
                  <a:lnTo>
                    <a:pt x="342" y="266"/>
                  </a:lnTo>
                  <a:lnTo>
                    <a:pt x="342" y="264"/>
                  </a:lnTo>
                  <a:lnTo>
                    <a:pt x="333" y="266"/>
                  </a:lnTo>
                  <a:lnTo>
                    <a:pt x="329" y="268"/>
                  </a:lnTo>
                  <a:lnTo>
                    <a:pt x="322" y="264"/>
                  </a:lnTo>
                  <a:lnTo>
                    <a:pt x="316" y="262"/>
                  </a:lnTo>
                  <a:lnTo>
                    <a:pt x="303" y="258"/>
                  </a:lnTo>
                  <a:lnTo>
                    <a:pt x="293" y="253"/>
                  </a:lnTo>
                  <a:lnTo>
                    <a:pt x="286" y="247"/>
                  </a:lnTo>
                  <a:lnTo>
                    <a:pt x="282" y="247"/>
                  </a:lnTo>
                  <a:lnTo>
                    <a:pt x="269" y="247"/>
                  </a:lnTo>
                  <a:lnTo>
                    <a:pt x="258" y="247"/>
                  </a:lnTo>
                  <a:lnTo>
                    <a:pt x="254" y="245"/>
                  </a:lnTo>
                  <a:lnTo>
                    <a:pt x="252" y="247"/>
                  </a:lnTo>
                  <a:lnTo>
                    <a:pt x="252" y="247"/>
                  </a:lnTo>
                  <a:lnTo>
                    <a:pt x="244" y="251"/>
                  </a:lnTo>
                  <a:lnTo>
                    <a:pt x="237" y="251"/>
                  </a:lnTo>
                  <a:lnTo>
                    <a:pt x="220" y="251"/>
                  </a:lnTo>
                  <a:lnTo>
                    <a:pt x="209" y="251"/>
                  </a:lnTo>
                  <a:lnTo>
                    <a:pt x="199" y="251"/>
                  </a:lnTo>
                  <a:lnTo>
                    <a:pt x="194" y="251"/>
                  </a:lnTo>
                  <a:lnTo>
                    <a:pt x="190" y="251"/>
                  </a:lnTo>
                  <a:lnTo>
                    <a:pt x="188" y="251"/>
                  </a:lnTo>
                  <a:lnTo>
                    <a:pt x="182" y="241"/>
                  </a:lnTo>
                  <a:lnTo>
                    <a:pt x="182" y="240"/>
                  </a:lnTo>
                  <a:lnTo>
                    <a:pt x="175" y="232"/>
                  </a:lnTo>
                  <a:lnTo>
                    <a:pt x="175" y="228"/>
                  </a:lnTo>
                  <a:lnTo>
                    <a:pt x="169" y="223"/>
                  </a:lnTo>
                  <a:lnTo>
                    <a:pt x="169" y="221"/>
                  </a:lnTo>
                  <a:lnTo>
                    <a:pt x="169" y="217"/>
                  </a:lnTo>
                  <a:lnTo>
                    <a:pt x="165" y="217"/>
                  </a:lnTo>
                  <a:lnTo>
                    <a:pt x="163" y="217"/>
                  </a:lnTo>
                  <a:lnTo>
                    <a:pt x="163" y="215"/>
                  </a:lnTo>
                  <a:lnTo>
                    <a:pt x="162" y="213"/>
                  </a:lnTo>
                  <a:lnTo>
                    <a:pt x="162" y="211"/>
                  </a:lnTo>
                  <a:lnTo>
                    <a:pt x="160" y="211"/>
                  </a:lnTo>
                  <a:lnTo>
                    <a:pt x="154" y="211"/>
                  </a:lnTo>
                  <a:lnTo>
                    <a:pt x="148" y="209"/>
                  </a:lnTo>
                  <a:lnTo>
                    <a:pt x="145" y="204"/>
                  </a:lnTo>
                  <a:lnTo>
                    <a:pt x="139" y="204"/>
                  </a:lnTo>
                  <a:lnTo>
                    <a:pt x="139" y="204"/>
                  </a:lnTo>
                  <a:lnTo>
                    <a:pt x="135" y="204"/>
                  </a:lnTo>
                  <a:lnTo>
                    <a:pt x="135" y="200"/>
                  </a:lnTo>
                  <a:lnTo>
                    <a:pt x="128" y="196"/>
                  </a:lnTo>
                  <a:lnTo>
                    <a:pt x="115" y="196"/>
                  </a:lnTo>
                  <a:lnTo>
                    <a:pt x="115" y="196"/>
                  </a:lnTo>
                  <a:lnTo>
                    <a:pt x="115" y="196"/>
                  </a:lnTo>
                  <a:lnTo>
                    <a:pt x="109" y="196"/>
                  </a:lnTo>
                  <a:lnTo>
                    <a:pt x="99" y="196"/>
                  </a:lnTo>
                  <a:lnTo>
                    <a:pt x="81" y="192"/>
                  </a:lnTo>
                  <a:lnTo>
                    <a:pt x="79" y="192"/>
                  </a:lnTo>
                  <a:lnTo>
                    <a:pt x="73" y="183"/>
                  </a:lnTo>
                  <a:lnTo>
                    <a:pt x="73" y="181"/>
                  </a:lnTo>
                  <a:lnTo>
                    <a:pt x="73" y="179"/>
                  </a:lnTo>
                  <a:lnTo>
                    <a:pt x="75" y="177"/>
                  </a:lnTo>
                  <a:lnTo>
                    <a:pt x="75" y="174"/>
                  </a:lnTo>
                  <a:lnTo>
                    <a:pt x="79" y="172"/>
                  </a:lnTo>
                  <a:lnTo>
                    <a:pt x="75" y="168"/>
                  </a:lnTo>
                  <a:lnTo>
                    <a:pt x="75" y="166"/>
                  </a:lnTo>
                  <a:lnTo>
                    <a:pt x="75" y="162"/>
                  </a:lnTo>
                  <a:lnTo>
                    <a:pt x="75" y="159"/>
                  </a:lnTo>
                  <a:lnTo>
                    <a:pt x="73" y="157"/>
                  </a:lnTo>
                  <a:lnTo>
                    <a:pt x="71" y="153"/>
                  </a:lnTo>
                  <a:lnTo>
                    <a:pt x="69" y="151"/>
                  </a:lnTo>
                  <a:lnTo>
                    <a:pt x="66" y="149"/>
                  </a:lnTo>
                  <a:lnTo>
                    <a:pt x="64" y="145"/>
                  </a:lnTo>
                  <a:lnTo>
                    <a:pt x="62" y="142"/>
                  </a:lnTo>
                  <a:lnTo>
                    <a:pt x="62" y="138"/>
                  </a:lnTo>
                  <a:lnTo>
                    <a:pt x="60" y="136"/>
                  </a:lnTo>
                  <a:lnTo>
                    <a:pt x="58" y="132"/>
                  </a:lnTo>
                  <a:lnTo>
                    <a:pt x="56" y="132"/>
                  </a:lnTo>
                  <a:lnTo>
                    <a:pt x="54" y="128"/>
                  </a:lnTo>
                  <a:lnTo>
                    <a:pt x="51" y="128"/>
                  </a:lnTo>
                  <a:lnTo>
                    <a:pt x="49" y="127"/>
                  </a:lnTo>
                  <a:lnTo>
                    <a:pt x="45" y="127"/>
                  </a:lnTo>
                  <a:lnTo>
                    <a:pt x="45" y="128"/>
                  </a:lnTo>
                  <a:lnTo>
                    <a:pt x="43" y="128"/>
                  </a:lnTo>
                  <a:lnTo>
                    <a:pt x="41" y="128"/>
                  </a:lnTo>
                  <a:lnTo>
                    <a:pt x="37" y="127"/>
                  </a:lnTo>
                  <a:lnTo>
                    <a:pt x="35" y="125"/>
                  </a:lnTo>
                  <a:lnTo>
                    <a:pt x="32" y="125"/>
                  </a:lnTo>
                  <a:lnTo>
                    <a:pt x="28" y="127"/>
                  </a:lnTo>
                  <a:lnTo>
                    <a:pt x="28" y="128"/>
                  </a:lnTo>
                  <a:lnTo>
                    <a:pt x="26" y="128"/>
                  </a:lnTo>
                  <a:lnTo>
                    <a:pt x="24" y="128"/>
                  </a:lnTo>
                  <a:lnTo>
                    <a:pt x="20" y="127"/>
                  </a:lnTo>
                  <a:lnTo>
                    <a:pt x="20" y="125"/>
                  </a:lnTo>
                  <a:lnTo>
                    <a:pt x="20" y="123"/>
                  </a:lnTo>
                  <a:lnTo>
                    <a:pt x="19" y="119"/>
                  </a:lnTo>
                  <a:lnTo>
                    <a:pt x="15" y="117"/>
                  </a:lnTo>
                  <a:lnTo>
                    <a:pt x="11" y="113"/>
                  </a:lnTo>
                  <a:lnTo>
                    <a:pt x="9" y="113"/>
                  </a:lnTo>
                  <a:lnTo>
                    <a:pt x="7" y="111"/>
                  </a:lnTo>
                  <a:lnTo>
                    <a:pt x="7" y="108"/>
                  </a:lnTo>
                  <a:lnTo>
                    <a:pt x="7" y="108"/>
                  </a:lnTo>
                  <a:lnTo>
                    <a:pt x="5" y="104"/>
                  </a:lnTo>
                  <a:lnTo>
                    <a:pt x="5" y="104"/>
                  </a:lnTo>
                  <a:lnTo>
                    <a:pt x="3" y="108"/>
                  </a:lnTo>
                  <a:lnTo>
                    <a:pt x="3" y="108"/>
                  </a:lnTo>
                  <a:lnTo>
                    <a:pt x="2" y="104"/>
                  </a:lnTo>
                  <a:lnTo>
                    <a:pt x="0" y="102"/>
                  </a:lnTo>
                  <a:lnTo>
                    <a:pt x="0" y="98"/>
                  </a:lnTo>
                  <a:lnTo>
                    <a:pt x="0" y="96"/>
                  </a:lnTo>
                  <a:lnTo>
                    <a:pt x="0" y="96"/>
                  </a:lnTo>
                  <a:lnTo>
                    <a:pt x="0" y="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5" name="Freeform 48">
              <a:extLst>
                <a:ext uri="{FF2B5EF4-FFF2-40B4-BE49-F238E27FC236}">
                  <a16:creationId xmlns:a16="http://schemas.microsoft.com/office/drawing/2014/main" id="{D5BA512D-1A2F-46AC-BA62-0B7C562BC906}"/>
                </a:ext>
              </a:extLst>
            </p:cNvPr>
            <p:cNvSpPr>
              <a:spLocks noEditPoints="1"/>
            </p:cNvSpPr>
            <p:nvPr/>
          </p:nvSpPr>
          <p:spPr bwMode="auto">
            <a:xfrm>
              <a:off x="4198" y="2934"/>
              <a:ext cx="42" cy="73"/>
            </a:xfrm>
            <a:custGeom>
              <a:avLst/>
              <a:gdLst/>
              <a:ahLst/>
              <a:cxnLst>
                <a:cxn ang="0">
                  <a:pos x="0" y="32"/>
                </a:cxn>
                <a:cxn ang="0">
                  <a:pos x="2" y="28"/>
                </a:cxn>
                <a:cxn ang="0">
                  <a:pos x="0" y="28"/>
                </a:cxn>
                <a:cxn ang="0">
                  <a:pos x="0" y="35"/>
                </a:cxn>
                <a:cxn ang="0">
                  <a:pos x="0" y="35"/>
                </a:cxn>
                <a:cxn ang="0">
                  <a:pos x="6" y="5"/>
                </a:cxn>
                <a:cxn ang="0">
                  <a:pos x="2" y="0"/>
                </a:cxn>
                <a:cxn ang="0">
                  <a:pos x="10" y="0"/>
                </a:cxn>
                <a:cxn ang="0">
                  <a:pos x="6" y="3"/>
                </a:cxn>
                <a:cxn ang="0">
                  <a:pos x="6" y="5"/>
                </a:cxn>
                <a:cxn ang="0">
                  <a:pos x="6" y="5"/>
                </a:cxn>
                <a:cxn ang="0">
                  <a:pos x="12" y="1"/>
                </a:cxn>
                <a:cxn ang="0">
                  <a:pos x="17" y="7"/>
                </a:cxn>
                <a:cxn ang="0">
                  <a:pos x="17" y="7"/>
                </a:cxn>
                <a:cxn ang="0">
                  <a:pos x="12" y="5"/>
                </a:cxn>
                <a:cxn ang="0">
                  <a:pos x="10" y="3"/>
                </a:cxn>
                <a:cxn ang="0">
                  <a:pos x="12" y="1"/>
                </a:cxn>
                <a:cxn ang="0">
                  <a:pos x="12" y="0"/>
                </a:cxn>
                <a:cxn ang="0">
                  <a:pos x="12" y="0"/>
                </a:cxn>
                <a:cxn ang="0">
                  <a:pos x="6" y="7"/>
                </a:cxn>
                <a:cxn ang="0">
                  <a:pos x="6" y="9"/>
                </a:cxn>
                <a:cxn ang="0">
                  <a:pos x="6" y="9"/>
                </a:cxn>
                <a:cxn ang="0">
                  <a:pos x="6" y="17"/>
                </a:cxn>
                <a:cxn ang="0">
                  <a:pos x="2" y="13"/>
                </a:cxn>
                <a:cxn ang="0">
                  <a:pos x="0" y="13"/>
                </a:cxn>
                <a:cxn ang="0">
                  <a:pos x="2" y="17"/>
                </a:cxn>
                <a:cxn ang="0">
                  <a:pos x="2" y="20"/>
                </a:cxn>
                <a:cxn ang="0">
                  <a:pos x="2" y="28"/>
                </a:cxn>
                <a:cxn ang="0">
                  <a:pos x="2" y="37"/>
                </a:cxn>
                <a:cxn ang="0">
                  <a:pos x="2" y="47"/>
                </a:cxn>
                <a:cxn ang="0">
                  <a:pos x="2" y="56"/>
                </a:cxn>
                <a:cxn ang="0">
                  <a:pos x="10" y="69"/>
                </a:cxn>
                <a:cxn ang="0">
                  <a:pos x="17" y="71"/>
                </a:cxn>
                <a:cxn ang="0">
                  <a:pos x="30" y="69"/>
                </a:cxn>
                <a:cxn ang="0">
                  <a:pos x="42" y="58"/>
                </a:cxn>
                <a:cxn ang="0">
                  <a:pos x="42" y="50"/>
                </a:cxn>
                <a:cxn ang="0">
                  <a:pos x="42" y="47"/>
                </a:cxn>
                <a:cxn ang="0">
                  <a:pos x="42" y="41"/>
                </a:cxn>
                <a:cxn ang="0">
                  <a:pos x="36" y="32"/>
                </a:cxn>
                <a:cxn ang="0">
                  <a:pos x="29" y="26"/>
                </a:cxn>
                <a:cxn ang="0">
                  <a:pos x="27" y="26"/>
                </a:cxn>
                <a:cxn ang="0">
                  <a:pos x="29" y="22"/>
                </a:cxn>
                <a:cxn ang="0">
                  <a:pos x="27" y="17"/>
                </a:cxn>
                <a:cxn ang="0">
                  <a:pos x="21" y="13"/>
                </a:cxn>
                <a:cxn ang="0">
                  <a:pos x="21" y="9"/>
                </a:cxn>
                <a:cxn ang="0">
                  <a:pos x="15" y="9"/>
                </a:cxn>
                <a:cxn ang="0">
                  <a:pos x="12" y="7"/>
                </a:cxn>
                <a:cxn ang="0">
                  <a:pos x="6" y="5"/>
                </a:cxn>
              </a:cxnLst>
              <a:rect l="0" t="0" r="r" b="b"/>
              <a:pathLst>
                <a:path w="42" h="73">
                  <a:moveTo>
                    <a:pt x="0" y="35"/>
                  </a:moveTo>
                  <a:lnTo>
                    <a:pt x="0" y="32"/>
                  </a:lnTo>
                  <a:lnTo>
                    <a:pt x="0" y="28"/>
                  </a:lnTo>
                  <a:lnTo>
                    <a:pt x="2" y="28"/>
                  </a:lnTo>
                  <a:lnTo>
                    <a:pt x="2" y="28"/>
                  </a:lnTo>
                  <a:lnTo>
                    <a:pt x="0" y="28"/>
                  </a:lnTo>
                  <a:lnTo>
                    <a:pt x="2" y="32"/>
                  </a:lnTo>
                  <a:lnTo>
                    <a:pt x="0" y="35"/>
                  </a:lnTo>
                  <a:lnTo>
                    <a:pt x="0" y="35"/>
                  </a:lnTo>
                  <a:lnTo>
                    <a:pt x="0" y="35"/>
                  </a:lnTo>
                  <a:lnTo>
                    <a:pt x="0" y="35"/>
                  </a:lnTo>
                  <a:close/>
                  <a:moveTo>
                    <a:pt x="6" y="5"/>
                  </a:moveTo>
                  <a:lnTo>
                    <a:pt x="2" y="1"/>
                  </a:lnTo>
                  <a:lnTo>
                    <a:pt x="2" y="0"/>
                  </a:lnTo>
                  <a:lnTo>
                    <a:pt x="6" y="0"/>
                  </a:lnTo>
                  <a:lnTo>
                    <a:pt x="10" y="0"/>
                  </a:lnTo>
                  <a:lnTo>
                    <a:pt x="6" y="3"/>
                  </a:lnTo>
                  <a:lnTo>
                    <a:pt x="6" y="3"/>
                  </a:lnTo>
                  <a:lnTo>
                    <a:pt x="6" y="5"/>
                  </a:lnTo>
                  <a:lnTo>
                    <a:pt x="6" y="5"/>
                  </a:lnTo>
                  <a:lnTo>
                    <a:pt x="6" y="5"/>
                  </a:lnTo>
                  <a:lnTo>
                    <a:pt x="6" y="5"/>
                  </a:lnTo>
                  <a:close/>
                  <a:moveTo>
                    <a:pt x="12" y="0"/>
                  </a:moveTo>
                  <a:lnTo>
                    <a:pt x="12" y="1"/>
                  </a:lnTo>
                  <a:lnTo>
                    <a:pt x="15" y="3"/>
                  </a:lnTo>
                  <a:lnTo>
                    <a:pt x="17" y="7"/>
                  </a:lnTo>
                  <a:lnTo>
                    <a:pt x="21" y="9"/>
                  </a:lnTo>
                  <a:lnTo>
                    <a:pt x="17" y="7"/>
                  </a:lnTo>
                  <a:lnTo>
                    <a:pt x="15" y="7"/>
                  </a:lnTo>
                  <a:lnTo>
                    <a:pt x="12" y="5"/>
                  </a:lnTo>
                  <a:lnTo>
                    <a:pt x="10" y="3"/>
                  </a:lnTo>
                  <a:lnTo>
                    <a:pt x="10" y="3"/>
                  </a:lnTo>
                  <a:lnTo>
                    <a:pt x="12" y="1"/>
                  </a:lnTo>
                  <a:lnTo>
                    <a:pt x="12" y="1"/>
                  </a:lnTo>
                  <a:lnTo>
                    <a:pt x="12" y="0"/>
                  </a:lnTo>
                  <a:lnTo>
                    <a:pt x="12" y="0"/>
                  </a:lnTo>
                  <a:lnTo>
                    <a:pt x="12" y="0"/>
                  </a:lnTo>
                  <a:lnTo>
                    <a:pt x="12" y="0"/>
                  </a:lnTo>
                  <a:close/>
                  <a:moveTo>
                    <a:pt x="6" y="5"/>
                  </a:moveTo>
                  <a:lnTo>
                    <a:pt x="6" y="7"/>
                  </a:lnTo>
                  <a:lnTo>
                    <a:pt x="10" y="9"/>
                  </a:lnTo>
                  <a:lnTo>
                    <a:pt x="6" y="9"/>
                  </a:lnTo>
                  <a:lnTo>
                    <a:pt x="6" y="9"/>
                  </a:lnTo>
                  <a:lnTo>
                    <a:pt x="6" y="9"/>
                  </a:lnTo>
                  <a:lnTo>
                    <a:pt x="6" y="13"/>
                  </a:lnTo>
                  <a:lnTo>
                    <a:pt x="6" y="17"/>
                  </a:lnTo>
                  <a:lnTo>
                    <a:pt x="2" y="17"/>
                  </a:lnTo>
                  <a:lnTo>
                    <a:pt x="2" y="13"/>
                  </a:lnTo>
                  <a:lnTo>
                    <a:pt x="0" y="13"/>
                  </a:lnTo>
                  <a:lnTo>
                    <a:pt x="0" y="13"/>
                  </a:lnTo>
                  <a:lnTo>
                    <a:pt x="2" y="17"/>
                  </a:lnTo>
                  <a:lnTo>
                    <a:pt x="2" y="17"/>
                  </a:lnTo>
                  <a:lnTo>
                    <a:pt x="2" y="17"/>
                  </a:lnTo>
                  <a:lnTo>
                    <a:pt x="2" y="20"/>
                  </a:lnTo>
                  <a:lnTo>
                    <a:pt x="2" y="26"/>
                  </a:lnTo>
                  <a:lnTo>
                    <a:pt x="2" y="28"/>
                  </a:lnTo>
                  <a:lnTo>
                    <a:pt x="2" y="35"/>
                  </a:lnTo>
                  <a:lnTo>
                    <a:pt x="2" y="37"/>
                  </a:lnTo>
                  <a:lnTo>
                    <a:pt x="0" y="39"/>
                  </a:lnTo>
                  <a:lnTo>
                    <a:pt x="2" y="47"/>
                  </a:lnTo>
                  <a:lnTo>
                    <a:pt x="2" y="47"/>
                  </a:lnTo>
                  <a:lnTo>
                    <a:pt x="2" y="56"/>
                  </a:lnTo>
                  <a:lnTo>
                    <a:pt x="6" y="66"/>
                  </a:lnTo>
                  <a:lnTo>
                    <a:pt x="10" y="69"/>
                  </a:lnTo>
                  <a:lnTo>
                    <a:pt x="15" y="73"/>
                  </a:lnTo>
                  <a:lnTo>
                    <a:pt x="17" y="71"/>
                  </a:lnTo>
                  <a:lnTo>
                    <a:pt x="23" y="71"/>
                  </a:lnTo>
                  <a:lnTo>
                    <a:pt x="30" y="69"/>
                  </a:lnTo>
                  <a:lnTo>
                    <a:pt x="36" y="64"/>
                  </a:lnTo>
                  <a:lnTo>
                    <a:pt x="42" y="58"/>
                  </a:lnTo>
                  <a:lnTo>
                    <a:pt x="42" y="54"/>
                  </a:lnTo>
                  <a:lnTo>
                    <a:pt x="42" y="50"/>
                  </a:lnTo>
                  <a:lnTo>
                    <a:pt x="42" y="50"/>
                  </a:lnTo>
                  <a:lnTo>
                    <a:pt x="42" y="47"/>
                  </a:lnTo>
                  <a:lnTo>
                    <a:pt x="42" y="45"/>
                  </a:lnTo>
                  <a:lnTo>
                    <a:pt x="42" y="41"/>
                  </a:lnTo>
                  <a:lnTo>
                    <a:pt x="38" y="39"/>
                  </a:lnTo>
                  <a:lnTo>
                    <a:pt x="36" y="32"/>
                  </a:lnTo>
                  <a:lnTo>
                    <a:pt x="32" y="26"/>
                  </a:lnTo>
                  <a:lnTo>
                    <a:pt x="29" y="26"/>
                  </a:lnTo>
                  <a:lnTo>
                    <a:pt x="29" y="26"/>
                  </a:lnTo>
                  <a:lnTo>
                    <a:pt x="27" y="26"/>
                  </a:lnTo>
                  <a:lnTo>
                    <a:pt x="29" y="22"/>
                  </a:lnTo>
                  <a:lnTo>
                    <a:pt x="29" y="22"/>
                  </a:lnTo>
                  <a:lnTo>
                    <a:pt x="27" y="20"/>
                  </a:lnTo>
                  <a:lnTo>
                    <a:pt x="27" y="17"/>
                  </a:lnTo>
                  <a:lnTo>
                    <a:pt x="23" y="17"/>
                  </a:lnTo>
                  <a:lnTo>
                    <a:pt x="21" y="13"/>
                  </a:lnTo>
                  <a:lnTo>
                    <a:pt x="21" y="13"/>
                  </a:lnTo>
                  <a:lnTo>
                    <a:pt x="21" y="9"/>
                  </a:lnTo>
                  <a:lnTo>
                    <a:pt x="15" y="9"/>
                  </a:lnTo>
                  <a:lnTo>
                    <a:pt x="15" y="9"/>
                  </a:lnTo>
                  <a:lnTo>
                    <a:pt x="12" y="9"/>
                  </a:lnTo>
                  <a:lnTo>
                    <a:pt x="12" y="7"/>
                  </a:lnTo>
                  <a:lnTo>
                    <a:pt x="6" y="5"/>
                  </a:lnTo>
                  <a:lnTo>
                    <a:pt x="6" y="5"/>
                  </a:lnTo>
                  <a:lnTo>
                    <a:pt x="6"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6" name="Freeform 49">
              <a:extLst>
                <a:ext uri="{FF2B5EF4-FFF2-40B4-BE49-F238E27FC236}">
                  <a16:creationId xmlns:a16="http://schemas.microsoft.com/office/drawing/2014/main" id="{D12F1AEC-A26F-4D02-B936-B3CDF6325A7B}"/>
                </a:ext>
              </a:extLst>
            </p:cNvPr>
            <p:cNvSpPr>
              <a:spLocks/>
            </p:cNvSpPr>
            <p:nvPr/>
          </p:nvSpPr>
          <p:spPr bwMode="auto">
            <a:xfrm>
              <a:off x="4208" y="2510"/>
              <a:ext cx="154" cy="81"/>
            </a:xfrm>
            <a:custGeom>
              <a:avLst/>
              <a:gdLst/>
              <a:ahLst/>
              <a:cxnLst>
                <a:cxn ang="0">
                  <a:pos x="9" y="0"/>
                </a:cxn>
                <a:cxn ang="0">
                  <a:pos x="15" y="4"/>
                </a:cxn>
                <a:cxn ang="0">
                  <a:pos x="20" y="7"/>
                </a:cxn>
                <a:cxn ang="0">
                  <a:pos x="28" y="4"/>
                </a:cxn>
                <a:cxn ang="0">
                  <a:pos x="37" y="7"/>
                </a:cxn>
                <a:cxn ang="0">
                  <a:pos x="43" y="7"/>
                </a:cxn>
                <a:cxn ang="0">
                  <a:pos x="52" y="15"/>
                </a:cxn>
                <a:cxn ang="0">
                  <a:pos x="58" y="19"/>
                </a:cxn>
                <a:cxn ang="0">
                  <a:pos x="62" y="26"/>
                </a:cxn>
                <a:cxn ang="0">
                  <a:pos x="66" y="19"/>
                </a:cxn>
                <a:cxn ang="0">
                  <a:pos x="67" y="19"/>
                </a:cxn>
                <a:cxn ang="0">
                  <a:pos x="77" y="22"/>
                </a:cxn>
                <a:cxn ang="0">
                  <a:pos x="81" y="30"/>
                </a:cxn>
                <a:cxn ang="0">
                  <a:pos x="92" y="30"/>
                </a:cxn>
                <a:cxn ang="0">
                  <a:pos x="92" y="41"/>
                </a:cxn>
                <a:cxn ang="0">
                  <a:pos x="101" y="43"/>
                </a:cxn>
                <a:cxn ang="0">
                  <a:pos x="107" y="41"/>
                </a:cxn>
                <a:cxn ang="0">
                  <a:pos x="116" y="37"/>
                </a:cxn>
                <a:cxn ang="0">
                  <a:pos x="122" y="43"/>
                </a:cxn>
                <a:cxn ang="0">
                  <a:pos x="131" y="51"/>
                </a:cxn>
                <a:cxn ang="0">
                  <a:pos x="139" y="49"/>
                </a:cxn>
                <a:cxn ang="0">
                  <a:pos x="147" y="49"/>
                </a:cxn>
                <a:cxn ang="0">
                  <a:pos x="150" y="53"/>
                </a:cxn>
                <a:cxn ang="0">
                  <a:pos x="154" y="68"/>
                </a:cxn>
                <a:cxn ang="0">
                  <a:pos x="139" y="81"/>
                </a:cxn>
                <a:cxn ang="0">
                  <a:pos x="130" y="79"/>
                </a:cxn>
                <a:cxn ang="0">
                  <a:pos x="107" y="71"/>
                </a:cxn>
                <a:cxn ang="0">
                  <a:pos x="94" y="71"/>
                </a:cxn>
                <a:cxn ang="0">
                  <a:pos x="88" y="62"/>
                </a:cxn>
                <a:cxn ang="0">
                  <a:pos x="69" y="62"/>
                </a:cxn>
                <a:cxn ang="0">
                  <a:pos x="58" y="62"/>
                </a:cxn>
                <a:cxn ang="0">
                  <a:pos x="47" y="58"/>
                </a:cxn>
                <a:cxn ang="0">
                  <a:pos x="37" y="53"/>
                </a:cxn>
                <a:cxn ang="0">
                  <a:pos x="22" y="41"/>
                </a:cxn>
                <a:cxn ang="0">
                  <a:pos x="13" y="37"/>
                </a:cxn>
                <a:cxn ang="0">
                  <a:pos x="5" y="34"/>
                </a:cxn>
                <a:cxn ang="0">
                  <a:pos x="0" y="30"/>
                </a:cxn>
                <a:cxn ang="0">
                  <a:pos x="5" y="17"/>
                </a:cxn>
                <a:cxn ang="0">
                  <a:pos x="9" y="0"/>
                </a:cxn>
                <a:cxn ang="0">
                  <a:pos x="9" y="0"/>
                </a:cxn>
              </a:cxnLst>
              <a:rect l="0" t="0" r="r" b="b"/>
              <a:pathLst>
                <a:path w="154" h="81">
                  <a:moveTo>
                    <a:pt x="9" y="0"/>
                  </a:moveTo>
                  <a:lnTo>
                    <a:pt x="9" y="0"/>
                  </a:lnTo>
                  <a:lnTo>
                    <a:pt x="13" y="4"/>
                  </a:lnTo>
                  <a:lnTo>
                    <a:pt x="15" y="4"/>
                  </a:lnTo>
                  <a:lnTo>
                    <a:pt x="19" y="4"/>
                  </a:lnTo>
                  <a:lnTo>
                    <a:pt x="20" y="7"/>
                  </a:lnTo>
                  <a:lnTo>
                    <a:pt x="22" y="4"/>
                  </a:lnTo>
                  <a:lnTo>
                    <a:pt x="28" y="4"/>
                  </a:lnTo>
                  <a:lnTo>
                    <a:pt x="34" y="4"/>
                  </a:lnTo>
                  <a:lnTo>
                    <a:pt x="37" y="7"/>
                  </a:lnTo>
                  <a:lnTo>
                    <a:pt x="39" y="7"/>
                  </a:lnTo>
                  <a:lnTo>
                    <a:pt x="43" y="7"/>
                  </a:lnTo>
                  <a:lnTo>
                    <a:pt x="49" y="15"/>
                  </a:lnTo>
                  <a:lnTo>
                    <a:pt x="52" y="15"/>
                  </a:lnTo>
                  <a:lnTo>
                    <a:pt x="58" y="17"/>
                  </a:lnTo>
                  <a:lnTo>
                    <a:pt x="58" y="19"/>
                  </a:lnTo>
                  <a:lnTo>
                    <a:pt x="62" y="22"/>
                  </a:lnTo>
                  <a:lnTo>
                    <a:pt x="62" y="26"/>
                  </a:lnTo>
                  <a:lnTo>
                    <a:pt x="64" y="24"/>
                  </a:lnTo>
                  <a:lnTo>
                    <a:pt x="66" y="19"/>
                  </a:lnTo>
                  <a:lnTo>
                    <a:pt x="67" y="19"/>
                  </a:lnTo>
                  <a:lnTo>
                    <a:pt x="67" y="19"/>
                  </a:lnTo>
                  <a:lnTo>
                    <a:pt x="73" y="19"/>
                  </a:lnTo>
                  <a:lnTo>
                    <a:pt x="77" y="22"/>
                  </a:lnTo>
                  <a:lnTo>
                    <a:pt x="77" y="26"/>
                  </a:lnTo>
                  <a:lnTo>
                    <a:pt x="81" y="30"/>
                  </a:lnTo>
                  <a:lnTo>
                    <a:pt x="86" y="30"/>
                  </a:lnTo>
                  <a:lnTo>
                    <a:pt x="92" y="30"/>
                  </a:lnTo>
                  <a:lnTo>
                    <a:pt x="90" y="37"/>
                  </a:lnTo>
                  <a:lnTo>
                    <a:pt x="92" y="41"/>
                  </a:lnTo>
                  <a:lnTo>
                    <a:pt x="96" y="41"/>
                  </a:lnTo>
                  <a:lnTo>
                    <a:pt x="101" y="43"/>
                  </a:lnTo>
                  <a:lnTo>
                    <a:pt x="101" y="41"/>
                  </a:lnTo>
                  <a:lnTo>
                    <a:pt x="107" y="41"/>
                  </a:lnTo>
                  <a:lnTo>
                    <a:pt x="109" y="37"/>
                  </a:lnTo>
                  <a:lnTo>
                    <a:pt x="116" y="37"/>
                  </a:lnTo>
                  <a:lnTo>
                    <a:pt x="122" y="41"/>
                  </a:lnTo>
                  <a:lnTo>
                    <a:pt x="122" y="43"/>
                  </a:lnTo>
                  <a:lnTo>
                    <a:pt x="130" y="47"/>
                  </a:lnTo>
                  <a:lnTo>
                    <a:pt x="131" y="51"/>
                  </a:lnTo>
                  <a:lnTo>
                    <a:pt x="133" y="53"/>
                  </a:lnTo>
                  <a:lnTo>
                    <a:pt x="139" y="49"/>
                  </a:lnTo>
                  <a:lnTo>
                    <a:pt x="141" y="51"/>
                  </a:lnTo>
                  <a:lnTo>
                    <a:pt x="147" y="49"/>
                  </a:lnTo>
                  <a:lnTo>
                    <a:pt x="150" y="49"/>
                  </a:lnTo>
                  <a:lnTo>
                    <a:pt x="150" y="53"/>
                  </a:lnTo>
                  <a:lnTo>
                    <a:pt x="150" y="62"/>
                  </a:lnTo>
                  <a:lnTo>
                    <a:pt x="154" y="68"/>
                  </a:lnTo>
                  <a:lnTo>
                    <a:pt x="150" y="77"/>
                  </a:lnTo>
                  <a:lnTo>
                    <a:pt x="139" y="81"/>
                  </a:lnTo>
                  <a:lnTo>
                    <a:pt x="133" y="75"/>
                  </a:lnTo>
                  <a:lnTo>
                    <a:pt x="130" y="79"/>
                  </a:lnTo>
                  <a:lnTo>
                    <a:pt x="113" y="71"/>
                  </a:lnTo>
                  <a:lnTo>
                    <a:pt x="107" y="71"/>
                  </a:lnTo>
                  <a:lnTo>
                    <a:pt x="105" y="75"/>
                  </a:lnTo>
                  <a:lnTo>
                    <a:pt x="94" y="71"/>
                  </a:lnTo>
                  <a:lnTo>
                    <a:pt x="88" y="68"/>
                  </a:lnTo>
                  <a:lnTo>
                    <a:pt x="88" y="62"/>
                  </a:lnTo>
                  <a:lnTo>
                    <a:pt x="79" y="62"/>
                  </a:lnTo>
                  <a:lnTo>
                    <a:pt x="69" y="62"/>
                  </a:lnTo>
                  <a:lnTo>
                    <a:pt x="66" y="62"/>
                  </a:lnTo>
                  <a:lnTo>
                    <a:pt x="58" y="62"/>
                  </a:lnTo>
                  <a:lnTo>
                    <a:pt x="52" y="58"/>
                  </a:lnTo>
                  <a:lnTo>
                    <a:pt x="47" y="58"/>
                  </a:lnTo>
                  <a:lnTo>
                    <a:pt x="43" y="54"/>
                  </a:lnTo>
                  <a:lnTo>
                    <a:pt x="37" y="53"/>
                  </a:lnTo>
                  <a:lnTo>
                    <a:pt x="30" y="47"/>
                  </a:lnTo>
                  <a:lnTo>
                    <a:pt x="22" y="41"/>
                  </a:lnTo>
                  <a:lnTo>
                    <a:pt x="15" y="37"/>
                  </a:lnTo>
                  <a:lnTo>
                    <a:pt x="13" y="37"/>
                  </a:lnTo>
                  <a:lnTo>
                    <a:pt x="9" y="37"/>
                  </a:lnTo>
                  <a:lnTo>
                    <a:pt x="5" y="34"/>
                  </a:lnTo>
                  <a:lnTo>
                    <a:pt x="0" y="34"/>
                  </a:lnTo>
                  <a:lnTo>
                    <a:pt x="0" y="30"/>
                  </a:lnTo>
                  <a:lnTo>
                    <a:pt x="5" y="22"/>
                  </a:lnTo>
                  <a:lnTo>
                    <a:pt x="5" y="17"/>
                  </a:lnTo>
                  <a:lnTo>
                    <a:pt x="9" y="7"/>
                  </a:lnTo>
                  <a:lnTo>
                    <a:pt x="9" y="0"/>
                  </a:lnTo>
                  <a:lnTo>
                    <a:pt x="9" y="0"/>
                  </a:lnTo>
                  <a:lnTo>
                    <a:pt x="9"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7" name="Freeform 50">
              <a:extLst>
                <a:ext uri="{FF2B5EF4-FFF2-40B4-BE49-F238E27FC236}">
                  <a16:creationId xmlns:a16="http://schemas.microsoft.com/office/drawing/2014/main" id="{78A37C3A-20B1-44A1-A9E5-33C74F8FEB05}"/>
                </a:ext>
              </a:extLst>
            </p:cNvPr>
            <p:cNvSpPr>
              <a:spLocks/>
            </p:cNvSpPr>
            <p:nvPr/>
          </p:nvSpPr>
          <p:spPr bwMode="auto">
            <a:xfrm>
              <a:off x="3566" y="1903"/>
              <a:ext cx="700" cy="364"/>
            </a:xfrm>
            <a:custGeom>
              <a:avLst/>
              <a:gdLst/>
              <a:ahLst/>
              <a:cxnLst>
                <a:cxn ang="0">
                  <a:pos x="17" y="213"/>
                </a:cxn>
                <a:cxn ang="0">
                  <a:pos x="0" y="170"/>
                </a:cxn>
                <a:cxn ang="0">
                  <a:pos x="34" y="164"/>
                </a:cxn>
                <a:cxn ang="0">
                  <a:pos x="51" y="130"/>
                </a:cxn>
                <a:cxn ang="0">
                  <a:pos x="68" y="125"/>
                </a:cxn>
                <a:cxn ang="0">
                  <a:pos x="79" y="121"/>
                </a:cxn>
                <a:cxn ang="0">
                  <a:pos x="113" y="130"/>
                </a:cxn>
                <a:cxn ang="0">
                  <a:pos x="132" y="138"/>
                </a:cxn>
                <a:cxn ang="0">
                  <a:pos x="158" y="130"/>
                </a:cxn>
                <a:cxn ang="0">
                  <a:pos x="184" y="130"/>
                </a:cxn>
                <a:cxn ang="0">
                  <a:pos x="201" y="140"/>
                </a:cxn>
                <a:cxn ang="0">
                  <a:pos x="235" y="140"/>
                </a:cxn>
                <a:cxn ang="0">
                  <a:pos x="226" y="109"/>
                </a:cxn>
                <a:cxn ang="0">
                  <a:pos x="222" y="91"/>
                </a:cxn>
                <a:cxn ang="0">
                  <a:pos x="237" y="68"/>
                </a:cxn>
                <a:cxn ang="0">
                  <a:pos x="222" y="62"/>
                </a:cxn>
                <a:cxn ang="0">
                  <a:pos x="235" y="53"/>
                </a:cxn>
                <a:cxn ang="0">
                  <a:pos x="256" y="44"/>
                </a:cxn>
                <a:cxn ang="0">
                  <a:pos x="290" y="36"/>
                </a:cxn>
                <a:cxn ang="0">
                  <a:pos x="309" y="27"/>
                </a:cxn>
                <a:cxn ang="0">
                  <a:pos x="337" y="10"/>
                </a:cxn>
                <a:cxn ang="0">
                  <a:pos x="363" y="2"/>
                </a:cxn>
                <a:cxn ang="0">
                  <a:pos x="388" y="17"/>
                </a:cxn>
                <a:cxn ang="0">
                  <a:pos x="395" y="32"/>
                </a:cxn>
                <a:cxn ang="0">
                  <a:pos x="408" y="28"/>
                </a:cxn>
                <a:cxn ang="0">
                  <a:pos x="429" y="36"/>
                </a:cxn>
                <a:cxn ang="0">
                  <a:pos x="442" y="44"/>
                </a:cxn>
                <a:cxn ang="0">
                  <a:pos x="467" y="32"/>
                </a:cxn>
                <a:cxn ang="0">
                  <a:pos x="485" y="27"/>
                </a:cxn>
                <a:cxn ang="0">
                  <a:pos x="570" y="100"/>
                </a:cxn>
                <a:cxn ang="0">
                  <a:pos x="595" y="108"/>
                </a:cxn>
                <a:cxn ang="0">
                  <a:pos x="623" y="102"/>
                </a:cxn>
                <a:cxn ang="0">
                  <a:pos x="653" y="121"/>
                </a:cxn>
                <a:cxn ang="0">
                  <a:pos x="662" y="138"/>
                </a:cxn>
                <a:cxn ang="0">
                  <a:pos x="687" y="136"/>
                </a:cxn>
                <a:cxn ang="0">
                  <a:pos x="689" y="158"/>
                </a:cxn>
                <a:cxn ang="0">
                  <a:pos x="681" y="198"/>
                </a:cxn>
                <a:cxn ang="0">
                  <a:pos x="645" y="200"/>
                </a:cxn>
                <a:cxn ang="0">
                  <a:pos x="634" y="241"/>
                </a:cxn>
                <a:cxn ang="0">
                  <a:pos x="621" y="251"/>
                </a:cxn>
                <a:cxn ang="0">
                  <a:pos x="604" y="262"/>
                </a:cxn>
                <a:cxn ang="0">
                  <a:pos x="613" y="290"/>
                </a:cxn>
                <a:cxn ang="0">
                  <a:pos x="613" y="319"/>
                </a:cxn>
                <a:cxn ang="0">
                  <a:pos x="549" y="309"/>
                </a:cxn>
                <a:cxn ang="0">
                  <a:pos x="502" y="309"/>
                </a:cxn>
                <a:cxn ang="0">
                  <a:pos x="463" y="320"/>
                </a:cxn>
                <a:cxn ang="0">
                  <a:pos x="442" y="336"/>
                </a:cxn>
                <a:cxn ang="0">
                  <a:pos x="395" y="360"/>
                </a:cxn>
                <a:cxn ang="0">
                  <a:pos x="310" y="298"/>
                </a:cxn>
                <a:cxn ang="0">
                  <a:pos x="171" y="352"/>
                </a:cxn>
                <a:cxn ang="0">
                  <a:pos x="128" y="336"/>
                </a:cxn>
                <a:cxn ang="0">
                  <a:pos x="109" y="326"/>
                </a:cxn>
                <a:cxn ang="0">
                  <a:pos x="94" y="309"/>
                </a:cxn>
                <a:cxn ang="0">
                  <a:pos x="79" y="290"/>
                </a:cxn>
                <a:cxn ang="0">
                  <a:pos x="101" y="290"/>
                </a:cxn>
                <a:cxn ang="0">
                  <a:pos x="92" y="275"/>
                </a:cxn>
                <a:cxn ang="0">
                  <a:pos x="117" y="270"/>
                </a:cxn>
                <a:cxn ang="0">
                  <a:pos x="122" y="258"/>
                </a:cxn>
                <a:cxn ang="0">
                  <a:pos x="120" y="238"/>
                </a:cxn>
                <a:cxn ang="0">
                  <a:pos x="103" y="236"/>
                </a:cxn>
                <a:cxn ang="0">
                  <a:pos x="92" y="232"/>
                </a:cxn>
                <a:cxn ang="0">
                  <a:pos x="75" y="236"/>
                </a:cxn>
                <a:cxn ang="0">
                  <a:pos x="58" y="247"/>
                </a:cxn>
              </a:cxnLst>
              <a:rect l="0" t="0" r="r" b="b"/>
              <a:pathLst>
                <a:path w="700" h="364">
                  <a:moveTo>
                    <a:pt x="54" y="247"/>
                  </a:moveTo>
                  <a:lnTo>
                    <a:pt x="49" y="241"/>
                  </a:lnTo>
                  <a:lnTo>
                    <a:pt x="43" y="243"/>
                  </a:lnTo>
                  <a:lnTo>
                    <a:pt x="37" y="238"/>
                  </a:lnTo>
                  <a:lnTo>
                    <a:pt x="37" y="238"/>
                  </a:lnTo>
                  <a:lnTo>
                    <a:pt x="45" y="238"/>
                  </a:lnTo>
                  <a:lnTo>
                    <a:pt x="37" y="222"/>
                  </a:lnTo>
                  <a:lnTo>
                    <a:pt x="30" y="217"/>
                  </a:lnTo>
                  <a:lnTo>
                    <a:pt x="17" y="213"/>
                  </a:lnTo>
                  <a:lnTo>
                    <a:pt x="15" y="217"/>
                  </a:lnTo>
                  <a:lnTo>
                    <a:pt x="9" y="211"/>
                  </a:lnTo>
                  <a:lnTo>
                    <a:pt x="9" y="207"/>
                  </a:lnTo>
                  <a:lnTo>
                    <a:pt x="9" y="202"/>
                  </a:lnTo>
                  <a:lnTo>
                    <a:pt x="0" y="200"/>
                  </a:lnTo>
                  <a:lnTo>
                    <a:pt x="4" y="194"/>
                  </a:lnTo>
                  <a:lnTo>
                    <a:pt x="4" y="181"/>
                  </a:lnTo>
                  <a:lnTo>
                    <a:pt x="0" y="179"/>
                  </a:lnTo>
                  <a:lnTo>
                    <a:pt x="0" y="170"/>
                  </a:lnTo>
                  <a:lnTo>
                    <a:pt x="4" y="170"/>
                  </a:lnTo>
                  <a:lnTo>
                    <a:pt x="9" y="162"/>
                  </a:lnTo>
                  <a:lnTo>
                    <a:pt x="9" y="158"/>
                  </a:lnTo>
                  <a:lnTo>
                    <a:pt x="11" y="155"/>
                  </a:lnTo>
                  <a:lnTo>
                    <a:pt x="21" y="164"/>
                  </a:lnTo>
                  <a:lnTo>
                    <a:pt x="21" y="168"/>
                  </a:lnTo>
                  <a:lnTo>
                    <a:pt x="28" y="170"/>
                  </a:lnTo>
                  <a:lnTo>
                    <a:pt x="34" y="170"/>
                  </a:lnTo>
                  <a:lnTo>
                    <a:pt x="34" y="164"/>
                  </a:lnTo>
                  <a:lnTo>
                    <a:pt x="36" y="162"/>
                  </a:lnTo>
                  <a:lnTo>
                    <a:pt x="30" y="149"/>
                  </a:lnTo>
                  <a:lnTo>
                    <a:pt x="36" y="145"/>
                  </a:lnTo>
                  <a:lnTo>
                    <a:pt x="43" y="145"/>
                  </a:lnTo>
                  <a:lnTo>
                    <a:pt x="43" y="143"/>
                  </a:lnTo>
                  <a:lnTo>
                    <a:pt x="39" y="140"/>
                  </a:lnTo>
                  <a:lnTo>
                    <a:pt x="41" y="136"/>
                  </a:lnTo>
                  <a:lnTo>
                    <a:pt x="47" y="132"/>
                  </a:lnTo>
                  <a:lnTo>
                    <a:pt x="51" y="130"/>
                  </a:lnTo>
                  <a:lnTo>
                    <a:pt x="53" y="126"/>
                  </a:lnTo>
                  <a:lnTo>
                    <a:pt x="54" y="125"/>
                  </a:lnTo>
                  <a:lnTo>
                    <a:pt x="58" y="125"/>
                  </a:lnTo>
                  <a:lnTo>
                    <a:pt x="58" y="121"/>
                  </a:lnTo>
                  <a:lnTo>
                    <a:pt x="58" y="119"/>
                  </a:lnTo>
                  <a:lnTo>
                    <a:pt x="58" y="117"/>
                  </a:lnTo>
                  <a:lnTo>
                    <a:pt x="64" y="121"/>
                  </a:lnTo>
                  <a:lnTo>
                    <a:pt x="68" y="121"/>
                  </a:lnTo>
                  <a:lnTo>
                    <a:pt x="68" y="125"/>
                  </a:lnTo>
                  <a:lnTo>
                    <a:pt x="64" y="126"/>
                  </a:lnTo>
                  <a:lnTo>
                    <a:pt x="68" y="128"/>
                  </a:lnTo>
                  <a:lnTo>
                    <a:pt x="69" y="126"/>
                  </a:lnTo>
                  <a:lnTo>
                    <a:pt x="71" y="125"/>
                  </a:lnTo>
                  <a:lnTo>
                    <a:pt x="73" y="121"/>
                  </a:lnTo>
                  <a:lnTo>
                    <a:pt x="75" y="125"/>
                  </a:lnTo>
                  <a:lnTo>
                    <a:pt x="77" y="125"/>
                  </a:lnTo>
                  <a:lnTo>
                    <a:pt x="77" y="121"/>
                  </a:lnTo>
                  <a:lnTo>
                    <a:pt x="79" y="121"/>
                  </a:lnTo>
                  <a:lnTo>
                    <a:pt x="83" y="119"/>
                  </a:lnTo>
                  <a:lnTo>
                    <a:pt x="88" y="119"/>
                  </a:lnTo>
                  <a:lnTo>
                    <a:pt x="88" y="121"/>
                  </a:lnTo>
                  <a:lnTo>
                    <a:pt x="94" y="125"/>
                  </a:lnTo>
                  <a:lnTo>
                    <a:pt x="101" y="125"/>
                  </a:lnTo>
                  <a:lnTo>
                    <a:pt x="103" y="125"/>
                  </a:lnTo>
                  <a:lnTo>
                    <a:pt x="105" y="125"/>
                  </a:lnTo>
                  <a:lnTo>
                    <a:pt x="109" y="126"/>
                  </a:lnTo>
                  <a:lnTo>
                    <a:pt x="113" y="130"/>
                  </a:lnTo>
                  <a:lnTo>
                    <a:pt x="115" y="130"/>
                  </a:lnTo>
                  <a:lnTo>
                    <a:pt x="118" y="134"/>
                  </a:lnTo>
                  <a:lnTo>
                    <a:pt x="122" y="140"/>
                  </a:lnTo>
                  <a:lnTo>
                    <a:pt x="126" y="140"/>
                  </a:lnTo>
                  <a:lnTo>
                    <a:pt x="128" y="142"/>
                  </a:lnTo>
                  <a:lnTo>
                    <a:pt x="128" y="145"/>
                  </a:lnTo>
                  <a:lnTo>
                    <a:pt x="130" y="145"/>
                  </a:lnTo>
                  <a:lnTo>
                    <a:pt x="133" y="143"/>
                  </a:lnTo>
                  <a:lnTo>
                    <a:pt x="132" y="138"/>
                  </a:lnTo>
                  <a:lnTo>
                    <a:pt x="133" y="136"/>
                  </a:lnTo>
                  <a:lnTo>
                    <a:pt x="137" y="140"/>
                  </a:lnTo>
                  <a:lnTo>
                    <a:pt x="147" y="142"/>
                  </a:lnTo>
                  <a:lnTo>
                    <a:pt x="147" y="145"/>
                  </a:lnTo>
                  <a:lnTo>
                    <a:pt x="150" y="145"/>
                  </a:lnTo>
                  <a:lnTo>
                    <a:pt x="154" y="142"/>
                  </a:lnTo>
                  <a:lnTo>
                    <a:pt x="156" y="136"/>
                  </a:lnTo>
                  <a:lnTo>
                    <a:pt x="158" y="134"/>
                  </a:lnTo>
                  <a:lnTo>
                    <a:pt x="158" y="130"/>
                  </a:lnTo>
                  <a:lnTo>
                    <a:pt x="164" y="130"/>
                  </a:lnTo>
                  <a:lnTo>
                    <a:pt x="165" y="132"/>
                  </a:lnTo>
                  <a:lnTo>
                    <a:pt x="167" y="130"/>
                  </a:lnTo>
                  <a:lnTo>
                    <a:pt x="171" y="128"/>
                  </a:lnTo>
                  <a:lnTo>
                    <a:pt x="175" y="134"/>
                  </a:lnTo>
                  <a:lnTo>
                    <a:pt x="177" y="136"/>
                  </a:lnTo>
                  <a:lnTo>
                    <a:pt x="182" y="136"/>
                  </a:lnTo>
                  <a:lnTo>
                    <a:pt x="181" y="130"/>
                  </a:lnTo>
                  <a:lnTo>
                    <a:pt x="184" y="130"/>
                  </a:lnTo>
                  <a:lnTo>
                    <a:pt x="188" y="130"/>
                  </a:lnTo>
                  <a:lnTo>
                    <a:pt x="190" y="128"/>
                  </a:lnTo>
                  <a:lnTo>
                    <a:pt x="196" y="130"/>
                  </a:lnTo>
                  <a:lnTo>
                    <a:pt x="196" y="132"/>
                  </a:lnTo>
                  <a:lnTo>
                    <a:pt x="196" y="134"/>
                  </a:lnTo>
                  <a:lnTo>
                    <a:pt x="192" y="136"/>
                  </a:lnTo>
                  <a:lnTo>
                    <a:pt x="196" y="140"/>
                  </a:lnTo>
                  <a:lnTo>
                    <a:pt x="199" y="142"/>
                  </a:lnTo>
                  <a:lnTo>
                    <a:pt x="201" y="140"/>
                  </a:lnTo>
                  <a:lnTo>
                    <a:pt x="203" y="142"/>
                  </a:lnTo>
                  <a:lnTo>
                    <a:pt x="211" y="142"/>
                  </a:lnTo>
                  <a:lnTo>
                    <a:pt x="216" y="145"/>
                  </a:lnTo>
                  <a:lnTo>
                    <a:pt x="220" y="145"/>
                  </a:lnTo>
                  <a:lnTo>
                    <a:pt x="222" y="140"/>
                  </a:lnTo>
                  <a:lnTo>
                    <a:pt x="222" y="136"/>
                  </a:lnTo>
                  <a:lnTo>
                    <a:pt x="226" y="134"/>
                  </a:lnTo>
                  <a:lnTo>
                    <a:pt x="229" y="138"/>
                  </a:lnTo>
                  <a:lnTo>
                    <a:pt x="235" y="140"/>
                  </a:lnTo>
                  <a:lnTo>
                    <a:pt x="243" y="138"/>
                  </a:lnTo>
                  <a:lnTo>
                    <a:pt x="245" y="134"/>
                  </a:lnTo>
                  <a:lnTo>
                    <a:pt x="243" y="121"/>
                  </a:lnTo>
                  <a:lnTo>
                    <a:pt x="241" y="119"/>
                  </a:lnTo>
                  <a:lnTo>
                    <a:pt x="235" y="119"/>
                  </a:lnTo>
                  <a:lnTo>
                    <a:pt x="231" y="115"/>
                  </a:lnTo>
                  <a:lnTo>
                    <a:pt x="231" y="113"/>
                  </a:lnTo>
                  <a:lnTo>
                    <a:pt x="226" y="111"/>
                  </a:lnTo>
                  <a:lnTo>
                    <a:pt x="226" y="109"/>
                  </a:lnTo>
                  <a:lnTo>
                    <a:pt x="220" y="109"/>
                  </a:lnTo>
                  <a:lnTo>
                    <a:pt x="220" y="108"/>
                  </a:lnTo>
                  <a:lnTo>
                    <a:pt x="220" y="104"/>
                  </a:lnTo>
                  <a:lnTo>
                    <a:pt x="220" y="102"/>
                  </a:lnTo>
                  <a:lnTo>
                    <a:pt x="222" y="102"/>
                  </a:lnTo>
                  <a:lnTo>
                    <a:pt x="222" y="100"/>
                  </a:lnTo>
                  <a:lnTo>
                    <a:pt x="226" y="96"/>
                  </a:lnTo>
                  <a:lnTo>
                    <a:pt x="226" y="93"/>
                  </a:lnTo>
                  <a:lnTo>
                    <a:pt x="222" y="91"/>
                  </a:lnTo>
                  <a:lnTo>
                    <a:pt x="220" y="87"/>
                  </a:lnTo>
                  <a:lnTo>
                    <a:pt x="226" y="81"/>
                  </a:lnTo>
                  <a:lnTo>
                    <a:pt x="229" y="77"/>
                  </a:lnTo>
                  <a:lnTo>
                    <a:pt x="239" y="76"/>
                  </a:lnTo>
                  <a:lnTo>
                    <a:pt x="241" y="77"/>
                  </a:lnTo>
                  <a:lnTo>
                    <a:pt x="245" y="76"/>
                  </a:lnTo>
                  <a:lnTo>
                    <a:pt x="245" y="72"/>
                  </a:lnTo>
                  <a:lnTo>
                    <a:pt x="241" y="72"/>
                  </a:lnTo>
                  <a:lnTo>
                    <a:pt x="237" y="68"/>
                  </a:lnTo>
                  <a:lnTo>
                    <a:pt x="233" y="68"/>
                  </a:lnTo>
                  <a:lnTo>
                    <a:pt x="231" y="72"/>
                  </a:lnTo>
                  <a:lnTo>
                    <a:pt x="228" y="68"/>
                  </a:lnTo>
                  <a:lnTo>
                    <a:pt x="222" y="68"/>
                  </a:lnTo>
                  <a:lnTo>
                    <a:pt x="222" y="66"/>
                  </a:lnTo>
                  <a:lnTo>
                    <a:pt x="226" y="64"/>
                  </a:lnTo>
                  <a:lnTo>
                    <a:pt x="229" y="64"/>
                  </a:lnTo>
                  <a:lnTo>
                    <a:pt x="228" y="61"/>
                  </a:lnTo>
                  <a:lnTo>
                    <a:pt x="222" y="62"/>
                  </a:lnTo>
                  <a:lnTo>
                    <a:pt x="220" y="61"/>
                  </a:lnTo>
                  <a:lnTo>
                    <a:pt x="220" y="59"/>
                  </a:lnTo>
                  <a:lnTo>
                    <a:pt x="220" y="53"/>
                  </a:lnTo>
                  <a:lnTo>
                    <a:pt x="220" y="53"/>
                  </a:lnTo>
                  <a:lnTo>
                    <a:pt x="226" y="53"/>
                  </a:lnTo>
                  <a:lnTo>
                    <a:pt x="226" y="51"/>
                  </a:lnTo>
                  <a:lnTo>
                    <a:pt x="229" y="51"/>
                  </a:lnTo>
                  <a:lnTo>
                    <a:pt x="229" y="53"/>
                  </a:lnTo>
                  <a:lnTo>
                    <a:pt x="235" y="53"/>
                  </a:lnTo>
                  <a:lnTo>
                    <a:pt x="239" y="57"/>
                  </a:lnTo>
                  <a:lnTo>
                    <a:pt x="241" y="53"/>
                  </a:lnTo>
                  <a:lnTo>
                    <a:pt x="241" y="51"/>
                  </a:lnTo>
                  <a:lnTo>
                    <a:pt x="243" y="47"/>
                  </a:lnTo>
                  <a:lnTo>
                    <a:pt x="246" y="47"/>
                  </a:lnTo>
                  <a:lnTo>
                    <a:pt x="246" y="53"/>
                  </a:lnTo>
                  <a:lnTo>
                    <a:pt x="250" y="51"/>
                  </a:lnTo>
                  <a:lnTo>
                    <a:pt x="250" y="47"/>
                  </a:lnTo>
                  <a:lnTo>
                    <a:pt x="256" y="44"/>
                  </a:lnTo>
                  <a:lnTo>
                    <a:pt x="261" y="44"/>
                  </a:lnTo>
                  <a:lnTo>
                    <a:pt x="265" y="44"/>
                  </a:lnTo>
                  <a:lnTo>
                    <a:pt x="271" y="42"/>
                  </a:lnTo>
                  <a:lnTo>
                    <a:pt x="271" y="40"/>
                  </a:lnTo>
                  <a:lnTo>
                    <a:pt x="275" y="38"/>
                  </a:lnTo>
                  <a:lnTo>
                    <a:pt x="280" y="38"/>
                  </a:lnTo>
                  <a:lnTo>
                    <a:pt x="284" y="36"/>
                  </a:lnTo>
                  <a:lnTo>
                    <a:pt x="286" y="34"/>
                  </a:lnTo>
                  <a:lnTo>
                    <a:pt x="290" y="36"/>
                  </a:lnTo>
                  <a:lnTo>
                    <a:pt x="290" y="34"/>
                  </a:lnTo>
                  <a:lnTo>
                    <a:pt x="290" y="32"/>
                  </a:lnTo>
                  <a:lnTo>
                    <a:pt x="293" y="28"/>
                  </a:lnTo>
                  <a:lnTo>
                    <a:pt x="295" y="28"/>
                  </a:lnTo>
                  <a:lnTo>
                    <a:pt x="295" y="28"/>
                  </a:lnTo>
                  <a:lnTo>
                    <a:pt x="299" y="25"/>
                  </a:lnTo>
                  <a:lnTo>
                    <a:pt x="301" y="28"/>
                  </a:lnTo>
                  <a:lnTo>
                    <a:pt x="305" y="28"/>
                  </a:lnTo>
                  <a:lnTo>
                    <a:pt x="309" y="27"/>
                  </a:lnTo>
                  <a:lnTo>
                    <a:pt x="310" y="25"/>
                  </a:lnTo>
                  <a:lnTo>
                    <a:pt x="320" y="19"/>
                  </a:lnTo>
                  <a:lnTo>
                    <a:pt x="322" y="19"/>
                  </a:lnTo>
                  <a:lnTo>
                    <a:pt x="324" y="17"/>
                  </a:lnTo>
                  <a:lnTo>
                    <a:pt x="327" y="17"/>
                  </a:lnTo>
                  <a:lnTo>
                    <a:pt x="329" y="13"/>
                  </a:lnTo>
                  <a:lnTo>
                    <a:pt x="333" y="13"/>
                  </a:lnTo>
                  <a:lnTo>
                    <a:pt x="337" y="13"/>
                  </a:lnTo>
                  <a:lnTo>
                    <a:pt x="337" y="10"/>
                  </a:lnTo>
                  <a:lnTo>
                    <a:pt x="335" y="8"/>
                  </a:lnTo>
                  <a:lnTo>
                    <a:pt x="337" y="8"/>
                  </a:lnTo>
                  <a:lnTo>
                    <a:pt x="342" y="8"/>
                  </a:lnTo>
                  <a:lnTo>
                    <a:pt x="342" y="4"/>
                  </a:lnTo>
                  <a:lnTo>
                    <a:pt x="346" y="2"/>
                  </a:lnTo>
                  <a:lnTo>
                    <a:pt x="350" y="2"/>
                  </a:lnTo>
                  <a:lnTo>
                    <a:pt x="352" y="0"/>
                  </a:lnTo>
                  <a:lnTo>
                    <a:pt x="357" y="4"/>
                  </a:lnTo>
                  <a:lnTo>
                    <a:pt x="363" y="2"/>
                  </a:lnTo>
                  <a:lnTo>
                    <a:pt x="365" y="4"/>
                  </a:lnTo>
                  <a:lnTo>
                    <a:pt x="371" y="4"/>
                  </a:lnTo>
                  <a:lnTo>
                    <a:pt x="374" y="4"/>
                  </a:lnTo>
                  <a:lnTo>
                    <a:pt x="378" y="4"/>
                  </a:lnTo>
                  <a:lnTo>
                    <a:pt x="380" y="8"/>
                  </a:lnTo>
                  <a:lnTo>
                    <a:pt x="382" y="8"/>
                  </a:lnTo>
                  <a:lnTo>
                    <a:pt x="382" y="12"/>
                  </a:lnTo>
                  <a:lnTo>
                    <a:pt x="384" y="15"/>
                  </a:lnTo>
                  <a:lnTo>
                    <a:pt x="388" y="17"/>
                  </a:lnTo>
                  <a:lnTo>
                    <a:pt x="388" y="19"/>
                  </a:lnTo>
                  <a:lnTo>
                    <a:pt x="388" y="23"/>
                  </a:lnTo>
                  <a:lnTo>
                    <a:pt x="388" y="27"/>
                  </a:lnTo>
                  <a:lnTo>
                    <a:pt x="388" y="28"/>
                  </a:lnTo>
                  <a:lnTo>
                    <a:pt x="384" y="28"/>
                  </a:lnTo>
                  <a:lnTo>
                    <a:pt x="388" y="32"/>
                  </a:lnTo>
                  <a:lnTo>
                    <a:pt x="388" y="32"/>
                  </a:lnTo>
                  <a:lnTo>
                    <a:pt x="391" y="32"/>
                  </a:lnTo>
                  <a:lnTo>
                    <a:pt x="395" y="32"/>
                  </a:lnTo>
                  <a:lnTo>
                    <a:pt x="397" y="32"/>
                  </a:lnTo>
                  <a:lnTo>
                    <a:pt x="397" y="28"/>
                  </a:lnTo>
                  <a:lnTo>
                    <a:pt x="401" y="28"/>
                  </a:lnTo>
                  <a:lnTo>
                    <a:pt x="401" y="32"/>
                  </a:lnTo>
                  <a:lnTo>
                    <a:pt x="405" y="32"/>
                  </a:lnTo>
                  <a:lnTo>
                    <a:pt x="405" y="28"/>
                  </a:lnTo>
                  <a:lnTo>
                    <a:pt x="403" y="25"/>
                  </a:lnTo>
                  <a:lnTo>
                    <a:pt x="405" y="25"/>
                  </a:lnTo>
                  <a:lnTo>
                    <a:pt x="408" y="28"/>
                  </a:lnTo>
                  <a:lnTo>
                    <a:pt x="412" y="34"/>
                  </a:lnTo>
                  <a:lnTo>
                    <a:pt x="412" y="40"/>
                  </a:lnTo>
                  <a:lnTo>
                    <a:pt x="414" y="38"/>
                  </a:lnTo>
                  <a:lnTo>
                    <a:pt x="418" y="36"/>
                  </a:lnTo>
                  <a:lnTo>
                    <a:pt x="416" y="34"/>
                  </a:lnTo>
                  <a:lnTo>
                    <a:pt x="414" y="32"/>
                  </a:lnTo>
                  <a:lnTo>
                    <a:pt x="418" y="32"/>
                  </a:lnTo>
                  <a:lnTo>
                    <a:pt x="425" y="36"/>
                  </a:lnTo>
                  <a:lnTo>
                    <a:pt x="429" y="36"/>
                  </a:lnTo>
                  <a:lnTo>
                    <a:pt x="431" y="32"/>
                  </a:lnTo>
                  <a:lnTo>
                    <a:pt x="433" y="34"/>
                  </a:lnTo>
                  <a:lnTo>
                    <a:pt x="433" y="38"/>
                  </a:lnTo>
                  <a:lnTo>
                    <a:pt x="429" y="40"/>
                  </a:lnTo>
                  <a:lnTo>
                    <a:pt x="429" y="44"/>
                  </a:lnTo>
                  <a:lnTo>
                    <a:pt x="433" y="47"/>
                  </a:lnTo>
                  <a:lnTo>
                    <a:pt x="433" y="47"/>
                  </a:lnTo>
                  <a:lnTo>
                    <a:pt x="437" y="44"/>
                  </a:lnTo>
                  <a:lnTo>
                    <a:pt x="442" y="44"/>
                  </a:lnTo>
                  <a:lnTo>
                    <a:pt x="448" y="44"/>
                  </a:lnTo>
                  <a:lnTo>
                    <a:pt x="450" y="47"/>
                  </a:lnTo>
                  <a:lnTo>
                    <a:pt x="452" y="44"/>
                  </a:lnTo>
                  <a:lnTo>
                    <a:pt x="452" y="42"/>
                  </a:lnTo>
                  <a:lnTo>
                    <a:pt x="455" y="40"/>
                  </a:lnTo>
                  <a:lnTo>
                    <a:pt x="461" y="40"/>
                  </a:lnTo>
                  <a:lnTo>
                    <a:pt x="463" y="36"/>
                  </a:lnTo>
                  <a:lnTo>
                    <a:pt x="467" y="34"/>
                  </a:lnTo>
                  <a:lnTo>
                    <a:pt x="467" y="32"/>
                  </a:lnTo>
                  <a:lnTo>
                    <a:pt x="467" y="28"/>
                  </a:lnTo>
                  <a:lnTo>
                    <a:pt x="472" y="25"/>
                  </a:lnTo>
                  <a:lnTo>
                    <a:pt x="474" y="25"/>
                  </a:lnTo>
                  <a:lnTo>
                    <a:pt x="478" y="19"/>
                  </a:lnTo>
                  <a:lnTo>
                    <a:pt x="482" y="19"/>
                  </a:lnTo>
                  <a:lnTo>
                    <a:pt x="487" y="19"/>
                  </a:lnTo>
                  <a:lnTo>
                    <a:pt x="487" y="19"/>
                  </a:lnTo>
                  <a:lnTo>
                    <a:pt x="487" y="23"/>
                  </a:lnTo>
                  <a:lnTo>
                    <a:pt x="485" y="27"/>
                  </a:lnTo>
                  <a:lnTo>
                    <a:pt x="484" y="28"/>
                  </a:lnTo>
                  <a:lnTo>
                    <a:pt x="484" y="28"/>
                  </a:lnTo>
                  <a:lnTo>
                    <a:pt x="516" y="53"/>
                  </a:lnTo>
                  <a:lnTo>
                    <a:pt x="563" y="109"/>
                  </a:lnTo>
                  <a:lnTo>
                    <a:pt x="568" y="109"/>
                  </a:lnTo>
                  <a:lnTo>
                    <a:pt x="570" y="108"/>
                  </a:lnTo>
                  <a:lnTo>
                    <a:pt x="570" y="106"/>
                  </a:lnTo>
                  <a:lnTo>
                    <a:pt x="570" y="104"/>
                  </a:lnTo>
                  <a:lnTo>
                    <a:pt x="570" y="100"/>
                  </a:lnTo>
                  <a:lnTo>
                    <a:pt x="574" y="100"/>
                  </a:lnTo>
                  <a:lnTo>
                    <a:pt x="580" y="102"/>
                  </a:lnTo>
                  <a:lnTo>
                    <a:pt x="576" y="104"/>
                  </a:lnTo>
                  <a:lnTo>
                    <a:pt x="580" y="106"/>
                  </a:lnTo>
                  <a:lnTo>
                    <a:pt x="583" y="108"/>
                  </a:lnTo>
                  <a:lnTo>
                    <a:pt x="585" y="111"/>
                  </a:lnTo>
                  <a:lnTo>
                    <a:pt x="587" y="111"/>
                  </a:lnTo>
                  <a:lnTo>
                    <a:pt x="591" y="109"/>
                  </a:lnTo>
                  <a:lnTo>
                    <a:pt x="595" y="108"/>
                  </a:lnTo>
                  <a:lnTo>
                    <a:pt x="598" y="111"/>
                  </a:lnTo>
                  <a:lnTo>
                    <a:pt x="604" y="109"/>
                  </a:lnTo>
                  <a:lnTo>
                    <a:pt x="604" y="109"/>
                  </a:lnTo>
                  <a:lnTo>
                    <a:pt x="608" y="108"/>
                  </a:lnTo>
                  <a:lnTo>
                    <a:pt x="610" y="108"/>
                  </a:lnTo>
                  <a:lnTo>
                    <a:pt x="608" y="104"/>
                  </a:lnTo>
                  <a:lnTo>
                    <a:pt x="610" y="102"/>
                  </a:lnTo>
                  <a:lnTo>
                    <a:pt x="615" y="102"/>
                  </a:lnTo>
                  <a:lnTo>
                    <a:pt x="623" y="102"/>
                  </a:lnTo>
                  <a:lnTo>
                    <a:pt x="629" y="104"/>
                  </a:lnTo>
                  <a:lnTo>
                    <a:pt x="632" y="108"/>
                  </a:lnTo>
                  <a:lnTo>
                    <a:pt x="638" y="113"/>
                  </a:lnTo>
                  <a:lnTo>
                    <a:pt x="638" y="117"/>
                  </a:lnTo>
                  <a:lnTo>
                    <a:pt x="640" y="117"/>
                  </a:lnTo>
                  <a:lnTo>
                    <a:pt x="644" y="119"/>
                  </a:lnTo>
                  <a:lnTo>
                    <a:pt x="647" y="121"/>
                  </a:lnTo>
                  <a:lnTo>
                    <a:pt x="649" y="121"/>
                  </a:lnTo>
                  <a:lnTo>
                    <a:pt x="653" y="121"/>
                  </a:lnTo>
                  <a:lnTo>
                    <a:pt x="653" y="125"/>
                  </a:lnTo>
                  <a:lnTo>
                    <a:pt x="649" y="126"/>
                  </a:lnTo>
                  <a:lnTo>
                    <a:pt x="653" y="128"/>
                  </a:lnTo>
                  <a:lnTo>
                    <a:pt x="653" y="132"/>
                  </a:lnTo>
                  <a:lnTo>
                    <a:pt x="653" y="134"/>
                  </a:lnTo>
                  <a:lnTo>
                    <a:pt x="657" y="134"/>
                  </a:lnTo>
                  <a:lnTo>
                    <a:pt x="659" y="134"/>
                  </a:lnTo>
                  <a:lnTo>
                    <a:pt x="662" y="136"/>
                  </a:lnTo>
                  <a:lnTo>
                    <a:pt x="662" y="138"/>
                  </a:lnTo>
                  <a:lnTo>
                    <a:pt x="664" y="136"/>
                  </a:lnTo>
                  <a:lnTo>
                    <a:pt x="666" y="134"/>
                  </a:lnTo>
                  <a:lnTo>
                    <a:pt x="676" y="134"/>
                  </a:lnTo>
                  <a:lnTo>
                    <a:pt x="681" y="132"/>
                  </a:lnTo>
                  <a:lnTo>
                    <a:pt x="683" y="128"/>
                  </a:lnTo>
                  <a:lnTo>
                    <a:pt x="687" y="126"/>
                  </a:lnTo>
                  <a:lnTo>
                    <a:pt x="687" y="126"/>
                  </a:lnTo>
                  <a:lnTo>
                    <a:pt x="687" y="132"/>
                  </a:lnTo>
                  <a:lnTo>
                    <a:pt x="687" y="136"/>
                  </a:lnTo>
                  <a:lnTo>
                    <a:pt x="689" y="136"/>
                  </a:lnTo>
                  <a:lnTo>
                    <a:pt x="693" y="140"/>
                  </a:lnTo>
                  <a:lnTo>
                    <a:pt x="698" y="142"/>
                  </a:lnTo>
                  <a:lnTo>
                    <a:pt x="700" y="143"/>
                  </a:lnTo>
                  <a:lnTo>
                    <a:pt x="696" y="145"/>
                  </a:lnTo>
                  <a:lnTo>
                    <a:pt x="694" y="149"/>
                  </a:lnTo>
                  <a:lnTo>
                    <a:pt x="689" y="153"/>
                  </a:lnTo>
                  <a:lnTo>
                    <a:pt x="689" y="157"/>
                  </a:lnTo>
                  <a:lnTo>
                    <a:pt x="689" y="158"/>
                  </a:lnTo>
                  <a:lnTo>
                    <a:pt x="687" y="162"/>
                  </a:lnTo>
                  <a:lnTo>
                    <a:pt x="683" y="164"/>
                  </a:lnTo>
                  <a:lnTo>
                    <a:pt x="679" y="168"/>
                  </a:lnTo>
                  <a:lnTo>
                    <a:pt x="679" y="170"/>
                  </a:lnTo>
                  <a:lnTo>
                    <a:pt x="679" y="177"/>
                  </a:lnTo>
                  <a:lnTo>
                    <a:pt x="683" y="187"/>
                  </a:lnTo>
                  <a:lnTo>
                    <a:pt x="687" y="190"/>
                  </a:lnTo>
                  <a:lnTo>
                    <a:pt x="687" y="194"/>
                  </a:lnTo>
                  <a:lnTo>
                    <a:pt x="681" y="198"/>
                  </a:lnTo>
                  <a:lnTo>
                    <a:pt x="677" y="198"/>
                  </a:lnTo>
                  <a:lnTo>
                    <a:pt x="674" y="204"/>
                  </a:lnTo>
                  <a:lnTo>
                    <a:pt x="670" y="204"/>
                  </a:lnTo>
                  <a:lnTo>
                    <a:pt x="668" y="204"/>
                  </a:lnTo>
                  <a:lnTo>
                    <a:pt x="668" y="200"/>
                  </a:lnTo>
                  <a:lnTo>
                    <a:pt x="664" y="200"/>
                  </a:lnTo>
                  <a:lnTo>
                    <a:pt x="659" y="202"/>
                  </a:lnTo>
                  <a:lnTo>
                    <a:pt x="653" y="202"/>
                  </a:lnTo>
                  <a:lnTo>
                    <a:pt x="645" y="200"/>
                  </a:lnTo>
                  <a:lnTo>
                    <a:pt x="642" y="198"/>
                  </a:lnTo>
                  <a:lnTo>
                    <a:pt x="640" y="200"/>
                  </a:lnTo>
                  <a:lnTo>
                    <a:pt x="638" y="207"/>
                  </a:lnTo>
                  <a:lnTo>
                    <a:pt x="638" y="213"/>
                  </a:lnTo>
                  <a:lnTo>
                    <a:pt x="638" y="219"/>
                  </a:lnTo>
                  <a:lnTo>
                    <a:pt x="634" y="228"/>
                  </a:lnTo>
                  <a:lnTo>
                    <a:pt x="634" y="236"/>
                  </a:lnTo>
                  <a:lnTo>
                    <a:pt x="632" y="238"/>
                  </a:lnTo>
                  <a:lnTo>
                    <a:pt x="634" y="241"/>
                  </a:lnTo>
                  <a:lnTo>
                    <a:pt x="640" y="241"/>
                  </a:lnTo>
                  <a:lnTo>
                    <a:pt x="638" y="247"/>
                  </a:lnTo>
                  <a:lnTo>
                    <a:pt x="638" y="249"/>
                  </a:lnTo>
                  <a:lnTo>
                    <a:pt x="634" y="249"/>
                  </a:lnTo>
                  <a:lnTo>
                    <a:pt x="632" y="249"/>
                  </a:lnTo>
                  <a:lnTo>
                    <a:pt x="629" y="249"/>
                  </a:lnTo>
                  <a:lnTo>
                    <a:pt x="629" y="247"/>
                  </a:lnTo>
                  <a:lnTo>
                    <a:pt x="625" y="249"/>
                  </a:lnTo>
                  <a:lnTo>
                    <a:pt x="621" y="251"/>
                  </a:lnTo>
                  <a:lnTo>
                    <a:pt x="613" y="253"/>
                  </a:lnTo>
                  <a:lnTo>
                    <a:pt x="608" y="255"/>
                  </a:lnTo>
                  <a:lnTo>
                    <a:pt x="604" y="255"/>
                  </a:lnTo>
                  <a:lnTo>
                    <a:pt x="604" y="253"/>
                  </a:lnTo>
                  <a:lnTo>
                    <a:pt x="600" y="255"/>
                  </a:lnTo>
                  <a:lnTo>
                    <a:pt x="597" y="258"/>
                  </a:lnTo>
                  <a:lnTo>
                    <a:pt x="597" y="260"/>
                  </a:lnTo>
                  <a:lnTo>
                    <a:pt x="600" y="262"/>
                  </a:lnTo>
                  <a:lnTo>
                    <a:pt x="604" y="262"/>
                  </a:lnTo>
                  <a:lnTo>
                    <a:pt x="608" y="262"/>
                  </a:lnTo>
                  <a:lnTo>
                    <a:pt x="608" y="266"/>
                  </a:lnTo>
                  <a:lnTo>
                    <a:pt x="608" y="266"/>
                  </a:lnTo>
                  <a:lnTo>
                    <a:pt x="608" y="271"/>
                  </a:lnTo>
                  <a:lnTo>
                    <a:pt x="608" y="275"/>
                  </a:lnTo>
                  <a:lnTo>
                    <a:pt x="610" y="277"/>
                  </a:lnTo>
                  <a:lnTo>
                    <a:pt x="610" y="281"/>
                  </a:lnTo>
                  <a:lnTo>
                    <a:pt x="613" y="287"/>
                  </a:lnTo>
                  <a:lnTo>
                    <a:pt x="613" y="290"/>
                  </a:lnTo>
                  <a:lnTo>
                    <a:pt x="619" y="292"/>
                  </a:lnTo>
                  <a:lnTo>
                    <a:pt x="619" y="300"/>
                  </a:lnTo>
                  <a:lnTo>
                    <a:pt x="617" y="302"/>
                  </a:lnTo>
                  <a:lnTo>
                    <a:pt x="615" y="305"/>
                  </a:lnTo>
                  <a:lnTo>
                    <a:pt x="619" y="309"/>
                  </a:lnTo>
                  <a:lnTo>
                    <a:pt x="617" y="311"/>
                  </a:lnTo>
                  <a:lnTo>
                    <a:pt x="617" y="311"/>
                  </a:lnTo>
                  <a:lnTo>
                    <a:pt x="613" y="315"/>
                  </a:lnTo>
                  <a:lnTo>
                    <a:pt x="613" y="319"/>
                  </a:lnTo>
                  <a:lnTo>
                    <a:pt x="610" y="320"/>
                  </a:lnTo>
                  <a:lnTo>
                    <a:pt x="604" y="319"/>
                  </a:lnTo>
                  <a:lnTo>
                    <a:pt x="595" y="311"/>
                  </a:lnTo>
                  <a:lnTo>
                    <a:pt x="591" y="311"/>
                  </a:lnTo>
                  <a:lnTo>
                    <a:pt x="583" y="307"/>
                  </a:lnTo>
                  <a:lnTo>
                    <a:pt x="570" y="307"/>
                  </a:lnTo>
                  <a:lnTo>
                    <a:pt x="566" y="309"/>
                  </a:lnTo>
                  <a:lnTo>
                    <a:pt x="557" y="307"/>
                  </a:lnTo>
                  <a:lnTo>
                    <a:pt x="549" y="309"/>
                  </a:lnTo>
                  <a:lnTo>
                    <a:pt x="544" y="309"/>
                  </a:lnTo>
                  <a:lnTo>
                    <a:pt x="540" y="309"/>
                  </a:lnTo>
                  <a:lnTo>
                    <a:pt x="536" y="311"/>
                  </a:lnTo>
                  <a:lnTo>
                    <a:pt x="533" y="311"/>
                  </a:lnTo>
                  <a:lnTo>
                    <a:pt x="521" y="311"/>
                  </a:lnTo>
                  <a:lnTo>
                    <a:pt x="516" y="309"/>
                  </a:lnTo>
                  <a:lnTo>
                    <a:pt x="512" y="307"/>
                  </a:lnTo>
                  <a:lnTo>
                    <a:pt x="506" y="307"/>
                  </a:lnTo>
                  <a:lnTo>
                    <a:pt x="502" y="309"/>
                  </a:lnTo>
                  <a:lnTo>
                    <a:pt x="501" y="307"/>
                  </a:lnTo>
                  <a:lnTo>
                    <a:pt x="495" y="307"/>
                  </a:lnTo>
                  <a:lnTo>
                    <a:pt x="495" y="309"/>
                  </a:lnTo>
                  <a:lnTo>
                    <a:pt x="495" y="311"/>
                  </a:lnTo>
                  <a:lnTo>
                    <a:pt x="495" y="315"/>
                  </a:lnTo>
                  <a:lnTo>
                    <a:pt x="495" y="320"/>
                  </a:lnTo>
                  <a:lnTo>
                    <a:pt x="487" y="322"/>
                  </a:lnTo>
                  <a:lnTo>
                    <a:pt x="478" y="322"/>
                  </a:lnTo>
                  <a:lnTo>
                    <a:pt x="463" y="320"/>
                  </a:lnTo>
                  <a:lnTo>
                    <a:pt x="461" y="319"/>
                  </a:lnTo>
                  <a:lnTo>
                    <a:pt x="455" y="317"/>
                  </a:lnTo>
                  <a:lnTo>
                    <a:pt x="452" y="322"/>
                  </a:lnTo>
                  <a:lnTo>
                    <a:pt x="453" y="324"/>
                  </a:lnTo>
                  <a:lnTo>
                    <a:pt x="448" y="326"/>
                  </a:lnTo>
                  <a:lnTo>
                    <a:pt x="448" y="328"/>
                  </a:lnTo>
                  <a:lnTo>
                    <a:pt x="446" y="328"/>
                  </a:lnTo>
                  <a:lnTo>
                    <a:pt x="442" y="334"/>
                  </a:lnTo>
                  <a:lnTo>
                    <a:pt x="442" y="336"/>
                  </a:lnTo>
                  <a:lnTo>
                    <a:pt x="433" y="343"/>
                  </a:lnTo>
                  <a:lnTo>
                    <a:pt x="431" y="347"/>
                  </a:lnTo>
                  <a:lnTo>
                    <a:pt x="429" y="351"/>
                  </a:lnTo>
                  <a:lnTo>
                    <a:pt x="425" y="358"/>
                  </a:lnTo>
                  <a:lnTo>
                    <a:pt x="418" y="364"/>
                  </a:lnTo>
                  <a:lnTo>
                    <a:pt x="414" y="364"/>
                  </a:lnTo>
                  <a:lnTo>
                    <a:pt x="408" y="360"/>
                  </a:lnTo>
                  <a:lnTo>
                    <a:pt x="401" y="358"/>
                  </a:lnTo>
                  <a:lnTo>
                    <a:pt x="395" y="360"/>
                  </a:lnTo>
                  <a:lnTo>
                    <a:pt x="388" y="364"/>
                  </a:lnTo>
                  <a:lnTo>
                    <a:pt x="384" y="364"/>
                  </a:lnTo>
                  <a:lnTo>
                    <a:pt x="376" y="341"/>
                  </a:lnTo>
                  <a:lnTo>
                    <a:pt x="363" y="339"/>
                  </a:lnTo>
                  <a:lnTo>
                    <a:pt x="363" y="315"/>
                  </a:lnTo>
                  <a:lnTo>
                    <a:pt x="354" y="315"/>
                  </a:lnTo>
                  <a:lnTo>
                    <a:pt x="352" y="305"/>
                  </a:lnTo>
                  <a:lnTo>
                    <a:pt x="341" y="298"/>
                  </a:lnTo>
                  <a:lnTo>
                    <a:pt x="310" y="298"/>
                  </a:lnTo>
                  <a:lnTo>
                    <a:pt x="284" y="302"/>
                  </a:lnTo>
                  <a:lnTo>
                    <a:pt x="269" y="290"/>
                  </a:lnTo>
                  <a:lnTo>
                    <a:pt x="256" y="287"/>
                  </a:lnTo>
                  <a:lnTo>
                    <a:pt x="228" y="266"/>
                  </a:lnTo>
                  <a:lnTo>
                    <a:pt x="179" y="275"/>
                  </a:lnTo>
                  <a:lnTo>
                    <a:pt x="196" y="364"/>
                  </a:lnTo>
                  <a:lnTo>
                    <a:pt x="192" y="364"/>
                  </a:lnTo>
                  <a:lnTo>
                    <a:pt x="184" y="364"/>
                  </a:lnTo>
                  <a:lnTo>
                    <a:pt x="171" y="352"/>
                  </a:lnTo>
                  <a:lnTo>
                    <a:pt x="158" y="343"/>
                  </a:lnTo>
                  <a:lnTo>
                    <a:pt x="147" y="341"/>
                  </a:lnTo>
                  <a:lnTo>
                    <a:pt x="137" y="345"/>
                  </a:lnTo>
                  <a:lnTo>
                    <a:pt x="126" y="356"/>
                  </a:lnTo>
                  <a:lnTo>
                    <a:pt x="126" y="351"/>
                  </a:lnTo>
                  <a:lnTo>
                    <a:pt x="126" y="347"/>
                  </a:lnTo>
                  <a:lnTo>
                    <a:pt x="128" y="341"/>
                  </a:lnTo>
                  <a:lnTo>
                    <a:pt x="128" y="336"/>
                  </a:lnTo>
                  <a:lnTo>
                    <a:pt x="128" y="336"/>
                  </a:lnTo>
                  <a:lnTo>
                    <a:pt x="128" y="334"/>
                  </a:lnTo>
                  <a:lnTo>
                    <a:pt x="128" y="334"/>
                  </a:lnTo>
                  <a:lnTo>
                    <a:pt x="122" y="334"/>
                  </a:lnTo>
                  <a:lnTo>
                    <a:pt x="120" y="332"/>
                  </a:lnTo>
                  <a:lnTo>
                    <a:pt x="117" y="332"/>
                  </a:lnTo>
                  <a:lnTo>
                    <a:pt x="113" y="332"/>
                  </a:lnTo>
                  <a:lnTo>
                    <a:pt x="113" y="332"/>
                  </a:lnTo>
                  <a:lnTo>
                    <a:pt x="109" y="328"/>
                  </a:lnTo>
                  <a:lnTo>
                    <a:pt x="109" y="326"/>
                  </a:lnTo>
                  <a:lnTo>
                    <a:pt x="109" y="324"/>
                  </a:lnTo>
                  <a:lnTo>
                    <a:pt x="107" y="322"/>
                  </a:lnTo>
                  <a:lnTo>
                    <a:pt x="105" y="322"/>
                  </a:lnTo>
                  <a:lnTo>
                    <a:pt x="101" y="324"/>
                  </a:lnTo>
                  <a:lnTo>
                    <a:pt x="100" y="324"/>
                  </a:lnTo>
                  <a:lnTo>
                    <a:pt x="100" y="319"/>
                  </a:lnTo>
                  <a:lnTo>
                    <a:pt x="100" y="315"/>
                  </a:lnTo>
                  <a:lnTo>
                    <a:pt x="94" y="311"/>
                  </a:lnTo>
                  <a:lnTo>
                    <a:pt x="94" y="309"/>
                  </a:lnTo>
                  <a:lnTo>
                    <a:pt x="92" y="307"/>
                  </a:lnTo>
                  <a:lnTo>
                    <a:pt x="90" y="303"/>
                  </a:lnTo>
                  <a:lnTo>
                    <a:pt x="88" y="302"/>
                  </a:lnTo>
                  <a:lnTo>
                    <a:pt x="88" y="300"/>
                  </a:lnTo>
                  <a:lnTo>
                    <a:pt x="83" y="298"/>
                  </a:lnTo>
                  <a:lnTo>
                    <a:pt x="83" y="298"/>
                  </a:lnTo>
                  <a:lnTo>
                    <a:pt x="79" y="294"/>
                  </a:lnTo>
                  <a:lnTo>
                    <a:pt x="79" y="292"/>
                  </a:lnTo>
                  <a:lnTo>
                    <a:pt x="79" y="290"/>
                  </a:lnTo>
                  <a:lnTo>
                    <a:pt x="83" y="292"/>
                  </a:lnTo>
                  <a:lnTo>
                    <a:pt x="88" y="290"/>
                  </a:lnTo>
                  <a:lnTo>
                    <a:pt x="88" y="292"/>
                  </a:lnTo>
                  <a:lnTo>
                    <a:pt x="92" y="292"/>
                  </a:lnTo>
                  <a:lnTo>
                    <a:pt x="94" y="292"/>
                  </a:lnTo>
                  <a:lnTo>
                    <a:pt x="96" y="290"/>
                  </a:lnTo>
                  <a:lnTo>
                    <a:pt x="98" y="290"/>
                  </a:lnTo>
                  <a:lnTo>
                    <a:pt x="100" y="292"/>
                  </a:lnTo>
                  <a:lnTo>
                    <a:pt x="101" y="290"/>
                  </a:lnTo>
                  <a:lnTo>
                    <a:pt x="100" y="290"/>
                  </a:lnTo>
                  <a:lnTo>
                    <a:pt x="96" y="290"/>
                  </a:lnTo>
                  <a:lnTo>
                    <a:pt x="96" y="290"/>
                  </a:lnTo>
                  <a:lnTo>
                    <a:pt x="96" y="287"/>
                  </a:lnTo>
                  <a:lnTo>
                    <a:pt x="92" y="283"/>
                  </a:lnTo>
                  <a:lnTo>
                    <a:pt x="92" y="281"/>
                  </a:lnTo>
                  <a:lnTo>
                    <a:pt x="94" y="279"/>
                  </a:lnTo>
                  <a:lnTo>
                    <a:pt x="94" y="275"/>
                  </a:lnTo>
                  <a:lnTo>
                    <a:pt x="92" y="275"/>
                  </a:lnTo>
                  <a:lnTo>
                    <a:pt x="94" y="271"/>
                  </a:lnTo>
                  <a:lnTo>
                    <a:pt x="100" y="271"/>
                  </a:lnTo>
                  <a:lnTo>
                    <a:pt x="103" y="270"/>
                  </a:lnTo>
                  <a:lnTo>
                    <a:pt x="105" y="271"/>
                  </a:lnTo>
                  <a:lnTo>
                    <a:pt x="109" y="270"/>
                  </a:lnTo>
                  <a:lnTo>
                    <a:pt x="113" y="270"/>
                  </a:lnTo>
                  <a:lnTo>
                    <a:pt x="113" y="271"/>
                  </a:lnTo>
                  <a:lnTo>
                    <a:pt x="115" y="270"/>
                  </a:lnTo>
                  <a:lnTo>
                    <a:pt x="117" y="270"/>
                  </a:lnTo>
                  <a:lnTo>
                    <a:pt x="120" y="273"/>
                  </a:lnTo>
                  <a:lnTo>
                    <a:pt x="124" y="273"/>
                  </a:lnTo>
                  <a:lnTo>
                    <a:pt x="128" y="271"/>
                  </a:lnTo>
                  <a:lnTo>
                    <a:pt x="128" y="270"/>
                  </a:lnTo>
                  <a:lnTo>
                    <a:pt x="126" y="268"/>
                  </a:lnTo>
                  <a:lnTo>
                    <a:pt x="122" y="268"/>
                  </a:lnTo>
                  <a:lnTo>
                    <a:pt x="118" y="262"/>
                  </a:lnTo>
                  <a:lnTo>
                    <a:pt x="120" y="260"/>
                  </a:lnTo>
                  <a:lnTo>
                    <a:pt x="122" y="258"/>
                  </a:lnTo>
                  <a:lnTo>
                    <a:pt x="124" y="256"/>
                  </a:lnTo>
                  <a:lnTo>
                    <a:pt x="122" y="256"/>
                  </a:lnTo>
                  <a:lnTo>
                    <a:pt x="120" y="255"/>
                  </a:lnTo>
                  <a:lnTo>
                    <a:pt x="120" y="253"/>
                  </a:lnTo>
                  <a:lnTo>
                    <a:pt x="122" y="249"/>
                  </a:lnTo>
                  <a:lnTo>
                    <a:pt x="122" y="247"/>
                  </a:lnTo>
                  <a:lnTo>
                    <a:pt x="120" y="241"/>
                  </a:lnTo>
                  <a:lnTo>
                    <a:pt x="118" y="241"/>
                  </a:lnTo>
                  <a:lnTo>
                    <a:pt x="120" y="238"/>
                  </a:lnTo>
                  <a:lnTo>
                    <a:pt x="120" y="238"/>
                  </a:lnTo>
                  <a:lnTo>
                    <a:pt x="118" y="238"/>
                  </a:lnTo>
                  <a:lnTo>
                    <a:pt x="117" y="236"/>
                  </a:lnTo>
                  <a:lnTo>
                    <a:pt x="117" y="234"/>
                  </a:lnTo>
                  <a:lnTo>
                    <a:pt x="109" y="232"/>
                  </a:lnTo>
                  <a:lnTo>
                    <a:pt x="109" y="232"/>
                  </a:lnTo>
                  <a:lnTo>
                    <a:pt x="105" y="234"/>
                  </a:lnTo>
                  <a:lnTo>
                    <a:pt x="105" y="234"/>
                  </a:lnTo>
                  <a:lnTo>
                    <a:pt x="103" y="236"/>
                  </a:lnTo>
                  <a:lnTo>
                    <a:pt x="103" y="238"/>
                  </a:lnTo>
                  <a:lnTo>
                    <a:pt x="101" y="238"/>
                  </a:lnTo>
                  <a:lnTo>
                    <a:pt x="98" y="238"/>
                  </a:lnTo>
                  <a:lnTo>
                    <a:pt x="98" y="236"/>
                  </a:lnTo>
                  <a:lnTo>
                    <a:pt x="96" y="236"/>
                  </a:lnTo>
                  <a:lnTo>
                    <a:pt x="94" y="238"/>
                  </a:lnTo>
                  <a:lnTo>
                    <a:pt x="92" y="236"/>
                  </a:lnTo>
                  <a:lnTo>
                    <a:pt x="92" y="232"/>
                  </a:lnTo>
                  <a:lnTo>
                    <a:pt x="92" y="232"/>
                  </a:lnTo>
                  <a:lnTo>
                    <a:pt x="90" y="232"/>
                  </a:lnTo>
                  <a:lnTo>
                    <a:pt x="88" y="232"/>
                  </a:lnTo>
                  <a:lnTo>
                    <a:pt x="88" y="232"/>
                  </a:lnTo>
                  <a:lnTo>
                    <a:pt x="83" y="232"/>
                  </a:lnTo>
                  <a:lnTo>
                    <a:pt x="79" y="234"/>
                  </a:lnTo>
                  <a:lnTo>
                    <a:pt x="79" y="238"/>
                  </a:lnTo>
                  <a:lnTo>
                    <a:pt x="79" y="238"/>
                  </a:lnTo>
                  <a:lnTo>
                    <a:pt x="77" y="236"/>
                  </a:lnTo>
                  <a:lnTo>
                    <a:pt x="75" y="236"/>
                  </a:lnTo>
                  <a:lnTo>
                    <a:pt x="73" y="238"/>
                  </a:lnTo>
                  <a:lnTo>
                    <a:pt x="71" y="238"/>
                  </a:lnTo>
                  <a:lnTo>
                    <a:pt x="69" y="241"/>
                  </a:lnTo>
                  <a:lnTo>
                    <a:pt x="66" y="243"/>
                  </a:lnTo>
                  <a:lnTo>
                    <a:pt x="64" y="241"/>
                  </a:lnTo>
                  <a:lnTo>
                    <a:pt x="64" y="247"/>
                  </a:lnTo>
                  <a:lnTo>
                    <a:pt x="62" y="247"/>
                  </a:lnTo>
                  <a:lnTo>
                    <a:pt x="60" y="247"/>
                  </a:lnTo>
                  <a:lnTo>
                    <a:pt x="58" y="247"/>
                  </a:lnTo>
                  <a:lnTo>
                    <a:pt x="58" y="247"/>
                  </a:lnTo>
                  <a:lnTo>
                    <a:pt x="54" y="247"/>
                  </a:lnTo>
                  <a:lnTo>
                    <a:pt x="54" y="247"/>
                  </a:lnTo>
                  <a:lnTo>
                    <a:pt x="54" y="247"/>
                  </a:lnTo>
                  <a:lnTo>
                    <a:pt x="54" y="247"/>
                  </a:lnTo>
                  <a:lnTo>
                    <a:pt x="54" y="2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8" name="Freeform 51">
              <a:extLst>
                <a:ext uri="{FF2B5EF4-FFF2-40B4-BE49-F238E27FC236}">
                  <a16:creationId xmlns:a16="http://schemas.microsoft.com/office/drawing/2014/main" id="{30436B8E-5187-413C-830D-A2C3A2542AA0}"/>
                </a:ext>
              </a:extLst>
            </p:cNvPr>
            <p:cNvSpPr>
              <a:spLocks/>
            </p:cNvSpPr>
            <p:nvPr/>
          </p:nvSpPr>
          <p:spPr bwMode="auto">
            <a:xfrm>
              <a:off x="3745" y="2173"/>
              <a:ext cx="301" cy="184"/>
            </a:xfrm>
            <a:custGeom>
              <a:avLst/>
              <a:gdLst/>
              <a:ahLst/>
              <a:cxnLst>
                <a:cxn ang="0">
                  <a:pos x="237" y="171"/>
                </a:cxn>
                <a:cxn ang="0">
                  <a:pos x="244" y="162"/>
                </a:cxn>
                <a:cxn ang="0">
                  <a:pos x="241" y="154"/>
                </a:cxn>
                <a:cxn ang="0">
                  <a:pos x="241" y="145"/>
                </a:cxn>
                <a:cxn ang="0">
                  <a:pos x="233" y="141"/>
                </a:cxn>
                <a:cxn ang="0">
                  <a:pos x="226" y="137"/>
                </a:cxn>
                <a:cxn ang="0">
                  <a:pos x="229" y="128"/>
                </a:cxn>
                <a:cxn ang="0">
                  <a:pos x="241" y="128"/>
                </a:cxn>
                <a:cxn ang="0">
                  <a:pos x="250" y="120"/>
                </a:cxn>
                <a:cxn ang="0">
                  <a:pos x="244" y="116"/>
                </a:cxn>
                <a:cxn ang="0">
                  <a:pos x="259" y="113"/>
                </a:cxn>
                <a:cxn ang="0">
                  <a:pos x="254" y="107"/>
                </a:cxn>
                <a:cxn ang="0">
                  <a:pos x="259" y="99"/>
                </a:cxn>
                <a:cxn ang="0">
                  <a:pos x="269" y="96"/>
                </a:cxn>
                <a:cxn ang="0">
                  <a:pos x="276" y="94"/>
                </a:cxn>
                <a:cxn ang="0">
                  <a:pos x="288" y="96"/>
                </a:cxn>
                <a:cxn ang="0">
                  <a:pos x="301" y="92"/>
                </a:cxn>
                <a:cxn ang="0">
                  <a:pos x="290" y="81"/>
                </a:cxn>
                <a:cxn ang="0">
                  <a:pos x="288" y="82"/>
                </a:cxn>
                <a:cxn ang="0">
                  <a:pos x="280" y="86"/>
                </a:cxn>
                <a:cxn ang="0">
                  <a:pos x="269" y="82"/>
                </a:cxn>
                <a:cxn ang="0">
                  <a:pos x="269" y="75"/>
                </a:cxn>
                <a:cxn ang="0">
                  <a:pos x="274" y="62"/>
                </a:cxn>
                <a:cxn ang="0">
                  <a:pos x="267" y="66"/>
                </a:cxn>
                <a:cxn ang="0">
                  <a:pos x="256" y="77"/>
                </a:cxn>
                <a:cxn ang="0">
                  <a:pos x="252" y="82"/>
                </a:cxn>
                <a:cxn ang="0">
                  <a:pos x="241" y="98"/>
                </a:cxn>
                <a:cxn ang="0">
                  <a:pos x="231" y="92"/>
                </a:cxn>
                <a:cxn ang="0">
                  <a:pos x="218" y="92"/>
                </a:cxn>
                <a:cxn ang="0">
                  <a:pos x="207" y="96"/>
                </a:cxn>
                <a:cxn ang="0">
                  <a:pos x="186" y="73"/>
                </a:cxn>
                <a:cxn ang="0">
                  <a:pos x="177" y="49"/>
                </a:cxn>
                <a:cxn ang="0">
                  <a:pos x="163" y="30"/>
                </a:cxn>
                <a:cxn ang="0">
                  <a:pos x="107" y="33"/>
                </a:cxn>
                <a:cxn ang="0">
                  <a:pos x="79" y="20"/>
                </a:cxn>
                <a:cxn ang="0">
                  <a:pos x="0" y="9"/>
                </a:cxn>
                <a:cxn ang="0">
                  <a:pos x="22" y="96"/>
                </a:cxn>
                <a:cxn ang="0">
                  <a:pos x="34" y="92"/>
                </a:cxn>
                <a:cxn ang="0">
                  <a:pos x="28" y="82"/>
                </a:cxn>
                <a:cxn ang="0">
                  <a:pos x="39" y="75"/>
                </a:cxn>
                <a:cxn ang="0">
                  <a:pos x="47" y="67"/>
                </a:cxn>
                <a:cxn ang="0">
                  <a:pos x="52" y="67"/>
                </a:cxn>
                <a:cxn ang="0">
                  <a:pos x="58" y="64"/>
                </a:cxn>
                <a:cxn ang="0">
                  <a:pos x="82" y="77"/>
                </a:cxn>
                <a:cxn ang="0">
                  <a:pos x="96" y="88"/>
                </a:cxn>
                <a:cxn ang="0">
                  <a:pos x="111" y="92"/>
                </a:cxn>
                <a:cxn ang="0">
                  <a:pos x="122" y="99"/>
                </a:cxn>
                <a:cxn ang="0">
                  <a:pos x="130" y="113"/>
                </a:cxn>
                <a:cxn ang="0">
                  <a:pos x="135" y="124"/>
                </a:cxn>
                <a:cxn ang="0">
                  <a:pos x="152" y="137"/>
                </a:cxn>
                <a:cxn ang="0">
                  <a:pos x="180" y="150"/>
                </a:cxn>
                <a:cxn ang="0">
                  <a:pos x="203" y="162"/>
                </a:cxn>
                <a:cxn ang="0">
                  <a:pos x="207" y="162"/>
                </a:cxn>
                <a:cxn ang="0">
                  <a:pos x="216" y="171"/>
                </a:cxn>
                <a:cxn ang="0">
                  <a:pos x="220" y="179"/>
                </a:cxn>
                <a:cxn ang="0">
                  <a:pos x="227" y="184"/>
                </a:cxn>
                <a:cxn ang="0">
                  <a:pos x="233" y="182"/>
                </a:cxn>
                <a:cxn ang="0">
                  <a:pos x="237" y="184"/>
                </a:cxn>
                <a:cxn ang="0">
                  <a:pos x="237" y="184"/>
                </a:cxn>
              </a:cxnLst>
              <a:rect l="0" t="0" r="r" b="b"/>
              <a:pathLst>
                <a:path w="301" h="184">
                  <a:moveTo>
                    <a:pt x="237" y="184"/>
                  </a:moveTo>
                  <a:lnTo>
                    <a:pt x="237" y="171"/>
                  </a:lnTo>
                  <a:lnTo>
                    <a:pt x="244" y="162"/>
                  </a:lnTo>
                  <a:lnTo>
                    <a:pt x="244" y="162"/>
                  </a:lnTo>
                  <a:lnTo>
                    <a:pt x="244" y="156"/>
                  </a:lnTo>
                  <a:lnTo>
                    <a:pt x="241" y="154"/>
                  </a:lnTo>
                  <a:lnTo>
                    <a:pt x="237" y="148"/>
                  </a:lnTo>
                  <a:lnTo>
                    <a:pt x="241" y="145"/>
                  </a:lnTo>
                  <a:lnTo>
                    <a:pt x="237" y="141"/>
                  </a:lnTo>
                  <a:lnTo>
                    <a:pt x="233" y="141"/>
                  </a:lnTo>
                  <a:lnTo>
                    <a:pt x="231" y="143"/>
                  </a:lnTo>
                  <a:lnTo>
                    <a:pt x="226" y="137"/>
                  </a:lnTo>
                  <a:lnTo>
                    <a:pt x="226" y="131"/>
                  </a:lnTo>
                  <a:lnTo>
                    <a:pt x="229" y="128"/>
                  </a:lnTo>
                  <a:lnTo>
                    <a:pt x="237" y="130"/>
                  </a:lnTo>
                  <a:lnTo>
                    <a:pt x="241" y="128"/>
                  </a:lnTo>
                  <a:lnTo>
                    <a:pt x="241" y="124"/>
                  </a:lnTo>
                  <a:lnTo>
                    <a:pt x="250" y="120"/>
                  </a:lnTo>
                  <a:lnTo>
                    <a:pt x="246" y="118"/>
                  </a:lnTo>
                  <a:lnTo>
                    <a:pt x="244" y="116"/>
                  </a:lnTo>
                  <a:lnTo>
                    <a:pt x="254" y="116"/>
                  </a:lnTo>
                  <a:lnTo>
                    <a:pt x="259" y="113"/>
                  </a:lnTo>
                  <a:lnTo>
                    <a:pt x="259" y="107"/>
                  </a:lnTo>
                  <a:lnTo>
                    <a:pt x="254" y="107"/>
                  </a:lnTo>
                  <a:lnTo>
                    <a:pt x="254" y="101"/>
                  </a:lnTo>
                  <a:lnTo>
                    <a:pt x="259" y="99"/>
                  </a:lnTo>
                  <a:lnTo>
                    <a:pt x="265" y="96"/>
                  </a:lnTo>
                  <a:lnTo>
                    <a:pt x="269" y="96"/>
                  </a:lnTo>
                  <a:lnTo>
                    <a:pt x="274" y="92"/>
                  </a:lnTo>
                  <a:lnTo>
                    <a:pt x="276" y="94"/>
                  </a:lnTo>
                  <a:lnTo>
                    <a:pt x="280" y="98"/>
                  </a:lnTo>
                  <a:lnTo>
                    <a:pt x="288" y="96"/>
                  </a:lnTo>
                  <a:lnTo>
                    <a:pt x="295" y="96"/>
                  </a:lnTo>
                  <a:lnTo>
                    <a:pt x="301" y="92"/>
                  </a:lnTo>
                  <a:lnTo>
                    <a:pt x="299" y="86"/>
                  </a:lnTo>
                  <a:lnTo>
                    <a:pt x="290" y="81"/>
                  </a:lnTo>
                  <a:lnTo>
                    <a:pt x="288" y="79"/>
                  </a:lnTo>
                  <a:lnTo>
                    <a:pt x="288" y="82"/>
                  </a:lnTo>
                  <a:lnTo>
                    <a:pt x="284" y="86"/>
                  </a:lnTo>
                  <a:lnTo>
                    <a:pt x="280" y="86"/>
                  </a:lnTo>
                  <a:lnTo>
                    <a:pt x="276" y="82"/>
                  </a:lnTo>
                  <a:lnTo>
                    <a:pt x="269" y="82"/>
                  </a:lnTo>
                  <a:lnTo>
                    <a:pt x="265" y="79"/>
                  </a:lnTo>
                  <a:lnTo>
                    <a:pt x="269" y="75"/>
                  </a:lnTo>
                  <a:lnTo>
                    <a:pt x="274" y="66"/>
                  </a:lnTo>
                  <a:lnTo>
                    <a:pt x="274" y="62"/>
                  </a:lnTo>
                  <a:lnTo>
                    <a:pt x="271" y="62"/>
                  </a:lnTo>
                  <a:lnTo>
                    <a:pt x="267" y="66"/>
                  </a:lnTo>
                  <a:lnTo>
                    <a:pt x="265" y="67"/>
                  </a:lnTo>
                  <a:lnTo>
                    <a:pt x="256" y="77"/>
                  </a:lnTo>
                  <a:lnTo>
                    <a:pt x="254" y="81"/>
                  </a:lnTo>
                  <a:lnTo>
                    <a:pt x="252" y="82"/>
                  </a:lnTo>
                  <a:lnTo>
                    <a:pt x="250" y="92"/>
                  </a:lnTo>
                  <a:lnTo>
                    <a:pt x="241" y="98"/>
                  </a:lnTo>
                  <a:lnTo>
                    <a:pt x="237" y="96"/>
                  </a:lnTo>
                  <a:lnTo>
                    <a:pt x="231" y="92"/>
                  </a:lnTo>
                  <a:lnTo>
                    <a:pt x="224" y="92"/>
                  </a:lnTo>
                  <a:lnTo>
                    <a:pt x="218" y="92"/>
                  </a:lnTo>
                  <a:lnTo>
                    <a:pt x="210" y="96"/>
                  </a:lnTo>
                  <a:lnTo>
                    <a:pt x="207" y="96"/>
                  </a:lnTo>
                  <a:lnTo>
                    <a:pt x="199" y="75"/>
                  </a:lnTo>
                  <a:lnTo>
                    <a:pt x="186" y="73"/>
                  </a:lnTo>
                  <a:lnTo>
                    <a:pt x="186" y="47"/>
                  </a:lnTo>
                  <a:lnTo>
                    <a:pt x="177" y="49"/>
                  </a:lnTo>
                  <a:lnTo>
                    <a:pt x="175" y="37"/>
                  </a:lnTo>
                  <a:lnTo>
                    <a:pt x="163" y="30"/>
                  </a:lnTo>
                  <a:lnTo>
                    <a:pt x="133" y="30"/>
                  </a:lnTo>
                  <a:lnTo>
                    <a:pt x="107" y="33"/>
                  </a:lnTo>
                  <a:lnTo>
                    <a:pt x="92" y="24"/>
                  </a:lnTo>
                  <a:lnTo>
                    <a:pt x="79" y="20"/>
                  </a:lnTo>
                  <a:lnTo>
                    <a:pt x="49" y="0"/>
                  </a:lnTo>
                  <a:lnTo>
                    <a:pt x="0" y="9"/>
                  </a:lnTo>
                  <a:lnTo>
                    <a:pt x="17" y="96"/>
                  </a:lnTo>
                  <a:lnTo>
                    <a:pt x="22" y="96"/>
                  </a:lnTo>
                  <a:lnTo>
                    <a:pt x="32" y="98"/>
                  </a:lnTo>
                  <a:lnTo>
                    <a:pt x="34" y="92"/>
                  </a:lnTo>
                  <a:lnTo>
                    <a:pt x="30" y="88"/>
                  </a:lnTo>
                  <a:lnTo>
                    <a:pt x="28" y="82"/>
                  </a:lnTo>
                  <a:lnTo>
                    <a:pt x="34" y="75"/>
                  </a:lnTo>
                  <a:lnTo>
                    <a:pt x="39" y="75"/>
                  </a:lnTo>
                  <a:lnTo>
                    <a:pt x="41" y="69"/>
                  </a:lnTo>
                  <a:lnTo>
                    <a:pt x="47" y="67"/>
                  </a:lnTo>
                  <a:lnTo>
                    <a:pt x="49" y="69"/>
                  </a:lnTo>
                  <a:lnTo>
                    <a:pt x="52" y="67"/>
                  </a:lnTo>
                  <a:lnTo>
                    <a:pt x="49" y="64"/>
                  </a:lnTo>
                  <a:lnTo>
                    <a:pt x="58" y="64"/>
                  </a:lnTo>
                  <a:lnTo>
                    <a:pt x="71" y="71"/>
                  </a:lnTo>
                  <a:lnTo>
                    <a:pt x="82" y="77"/>
                  </a:lnTo>
                  <a:lnTo>
                    <a:pt x="82" y="82"/>
                  </a:lnTo>
                  <a:lnTo>
                    <a:pt x="96" y="88"/>
                  </a:lnTo>
                  <a:lnTo>
                    <a:pt x="109" y="94"/>
                  </a:lnTo>
                  <a:lnTo>
                    <a:pt x="111" y="92"/>
                  </a:lnTo>
                  <a:lnTo>
                    <a:pt x="113" y="94"/>
                  </a:lnTo>
                  <a:lnTo>
                    <a:pt x="122" y="99"/>
                  </a:lnTo>
                  <a:lnTo>
                    <a:pt x="126" y="111"/>
                  </a:lnTo>
                  <a:lnTo>
                    <a:pt x="130" y="113"/>
                  </a:lnTo>
                  <a:lnTo>
                    <a:pt x="130" y="116"/>
                  </a:lnTo>
                  <a:lnTo>
                    <a:pt x="135" y="124"/>
                  </a:lnTo>
                  <a:lnTo>
                    <a:pt x="141" y="128"/>
                  </a:lnTo>
                  <a:lnTo>
                    <a:pt x="152" y="137"/>
                  </a:lnTo>
                  <a:lnTo>
                    <a:pt x="165" y="145"/>
                  </a:lnTo>
                  <a:lnTo>
                    <a:pt x="180" y="150"/>
                  </a:lnTo>
                  <a:lnTo>
                    <a:pt x="192" y="160"/>
                  </a:lnTo>
                  <a:lnTo>
                    <a:pt x="203" y="162"/>
                  </a:lnTo>
                  <a:lnTo>
                    <a:pt x="205" y="162"/>
                  </a:lnTo>
                  <a:lnTo>
                    <a:pt x="207" y="162"/>
                  </a:lnTo>
                  <a:lnTo>
                    <a:pt x="216" y="167"/>
                  </a:lnTo>
                  <a:lnTo>
                    <a:pt x="216" y="171"/>
                  </a:lnTo>
                  <a:lnTo>
                    <a:pt x="216" y="180"/>
                  </a:lnTo>
                  <a:lnTo>
                    <a:pt x="220" y="179"/>
                  </a:lnTo>
                  <a:lnTo>
                    <a:pt x="224" y="180"/>
                  </a:lnTo>
                  <a:lnTo>
                    <a:pt x="227" y="184"/>
                  </a:lnTo>
                  <a:lnTo>
                    <a:pt x="229" y="184"/>
                  </a:lnTo>
                  <a:lnTo>
                    <a:pt x="233" y="182"/>
                  </a:lnTo>
                  <a:lnTo>
                    <a:pt x="237" y="182"/>
                  </a:lnTo>
                  <a:lnTo>
                    <a:pt x="237" y="184"/>
                  </a:lnTo>
                  <a:lnTo>
                    <a:pt x="237" y="184"/>
                  </a:lnTo>
                  <a:lnTo>
                    <a:pt x="237" y="18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9" name="Freeform 52">
              <a:extLst>
                <a:ext uri="{FF2B5EF4-FFF2-40B4-BE49-F238E27FC236}">
                  <a16:creationId xmlns:a16="http://schemas.microsoft.com/office/drawing/2014/main" id="{7ACC54B3-218E-48A1-A5EE-71E2F340C802}"/>
                </a:ext>
              </a:extLst>
            </p:cNvPr>
            <p:cNvSpPr>
              <a:spLocks/>
            </p:cNvSpPr>
            <p:nvPr/>
          </p:nvSpPr>
          <p:spPr bwMode="auto">
            <a:xfrm>
              <a:off x="3692" y="2235"/>
              <a:ext cx="269" cy="169"/>
            </a:xfrm>
            <a:custGeom>
              <a:avLst/>
              <a:gdLst/>
              <a:ahLst/>
              <a:cxnLst>
                <a:cxn ang="0">
                  <a:pos x="269" y="105"/>
                </a:cxn>
                <a:cxn ang="0">
                  <a:pos x="256" y="100"/>
                </a:cxn>
                <a:cxn ang="0">
                  <a:pos x="218" y="83"/>
                </a:cxn>
                <a:cxn ang="0">
                  <a:pos x="188" y="60"/>
                </a:cxn>
                <a:cxn ang="0">
                  <a:pos x="179" y="49"/>
                </a:cxn>
                <a:cxn ang="0">
                  <a:pos x="164" y="30"/>
                </a:cxn>
                <a:cxn ang="0">
                  <a:pos x="135" y="19"/>
                </a:cxn>
                <a:cxn ang="0">
                  <a:pos x="111" y="0"/>
                </a:cxn>
                <a:cxn ang="0">
                  <a:pos x="102" y="5"/>
                </a:cxn>
                <a:cxn ang="0">
                  <a:pos x="92" y="11"/>
                </a:cxn>
                <a:cxn ang="0">
                  <a:pos x="83" y="26"/>
                </a:cxn>
                <a:cxn ang="0">
                  <a:pos x="75" y="34"/>
                </a:cxn>
                <a:cxn ang="0">
                  <a:pos x="45" y="22"/>
                </a:cxn>
                <a:cxn ang="0">
                  <a:pos x="11" y="15"/>
                </a:cxn>
                <a:cxn ang="0">
                  <a:pos x="2" y="30"/>
                </a:cxn>
                <a:cxn ang="0">
                  <a:pos x="7" y="39"/>
                </a:cxn>
                <a:cxn ang="0">
                  <a:pos x="11" y="54"/>
                </a:cxn>
                <a:cxn ang="0">
                  <a:pos x="13" y="69"/>
                </a:cxn>
                <a:cxn ang="0">
                  <a:pos x="17" y="69"/>
                </a:cxn>
                <a:cxn ang="0">
                  <a:pos x="26" y="69"/>
                </a:cxn>
                <a:cxn ang="0">
                  <a:pos x="28" y="79"/>
                </a:cxn>
                <a:cxn ang="0">
                  <a:pos x="32" y="81"/>
                </a:cxn>
                <a:cxn ang="0">
                  <a:pos x="24" y="79"/>
                </a:cxn>
                <a:cxn ang="0">
                  <a:pos x="24" y="88"/>
                </a:cxn>
                <a:cxn ang="0">
                  <a:pos x="26" y="85"/>
                </a:cxn>
                <a:cxn ang="0">
                  <a:pos x="36" y="92"/>
                </a:cxn>
                <a:cxn ang="0">
                  <a:pos x="39" y="103"/>
                </a:cxn>
                <a:cxn ang="0">
                  <a:pos x="45" y="130"/>
                </a:cxn>
                <a:cxn ang="0">
                  <a:pos x="58" y="120"/>
                </a:cxn>
                <a:cxn ang="0">
                  <a:pos x="71" y="113"/>
                </a:cxn>
                <a:cxn ang="0">
                  <a:pos x="87" y="105"/>
                </a:cxn>
                <a:cxn ang="0">
                  <a:pos x="100" y="109"/>
                </a:cxn>
                <a:cxn ang="0">
                  <a:pos x="122" y="120"/>
                </a:cxn>
                <a:cxn ang="0">
                  <a:pos x="135" y="122"/>
                </a:cxn>
                <a:cxn ang="0">
                  <a:pos x="141" y="130"/>
                </a:cxn>
                <a:cxn ang="0">
                  <a:pos x="162" y="139"/>
                </a:cxn>
                <a:cxn ang="0">
                  <a:pos x="177" y="149"/>
                </a:cxn>
                <a:cxn ang="0">
                  <a:pos x="177" y="160"/>
                </a:cxn>
                <a:cxn ang="0">
                  <a:pos x="184" y="162"/>
                </a:cxn>
                <a:cxn ang="0">
                  <a:pos x="194" y="162"/>
                </a:cxn>
                <a:cxn ang="0">
                  <a:pos x="201" y="169"/>
                </a:cxn>
                <a:cxn ang="0">
                  <a:pos x="209" y="167"/>
                </a:cxn>
                <a:cxn ang="0">
                  <a:pos x="215" y="160"/>
                </a:cxn>
                <a:cxn ang="0">
                  <a:pos x="228" y="152"/>
                </a:cxn>
                <a:cxn ang="0">
                  <a:pos x="235" y="147"/>
                </a:cxn>
                <a:cxn ang="0">
                  <a:pos x="239" y="133"/>
                </a:cxn>
                <a:cxn ang="0">
                  <a:pos x="239" y="126"/>
                </a:cxn>
                <a:cxn ang="0">
                  <a:pos x="247" y="122"/>
                </a:cxn>
                <a:cxn ang="0">
                  <a:pos x="260" y="117"/>
                </a:cxn>
                <a:cxn ang="0">
                  <a:pos x="269" y="118"/>
                </a:cxn>
                <a:cxn ang="0">
                  <a:pos x="269" y="118"/>
                </a:cxn>
              </a:cxnLst>
              <a:rect l="0" t="0" r="r" b="b"/>
              <a:pathLst>
                <a:path w="269" h="169">
                  <a:moveTo>
                    <a:pt x="269" y="118"/>
                  </a:moveTo>
                  <a:lnTo>
                    <a:pt x="269" y="109"/>
                  </a:lnTo>
                  <a:lnTo>
                    <a:pt x="269" y="105"/>
                  </a:lnTo>
                  <a:lnTo>
                    <a:pt x="262" y="100"/>
                  </a:lnTo>
                  <a:lnTo>
                    <a:pt x="258" y="100"/>
                  </a:lnTo>
                  <a:lnTo>
                    <a:pt x="256" y="100"/>
                  </a:lnTo>
                  <a:lnTo>
                    <a:pt x="245" y="98"/>
                  </a:lnTo>
                  <a:lnTo>
                    <a:pt x="233" y="88"/>
                  </a:lnTo>
                  <a:lnTo>
                    <a:pt x="218" y="83"/>
                  </a:lnTo>
                  <a:lnTo>
                    <a:pt x="205" y="73"/>
                  </a:lnTo>
                  <a:lnTo>
                    <a:pt x="194" y="66"/>
                  </a:lnTo>
                  <a:lnTo>
                    <a:pt x="188" y="60"/>
                  </a:lnTo>
                  <a:lnTo>
                    <a:pt x="184" y="54"/>
                  </a:lnTo>
                  <a:lnTo>
                    <a:pt x="184" y="49"/>
                  </a:lnTo>
                  <a:lnTo>
                    <a:pt x="179" y="49"/>
                  </a:lnTo>
                  <a:lnTo>
                    <a:pt x="175" y="36"/>
                  </a:lnTo>
                  <a:lnTo>
                    <a:pt x="166" y="30"/>
                  </a:lnTo>
                  <a:lnTo>
                    <a:pt x="164" y="30"/>
                  </a:lnTo>
                  <a:lnTo>
                    <a:pt x="162" y="30"/>
                  </a:lnTo>
                  <a:lnTo>
                    <a:pt x="149" y="26"/>
                  </a:lnTo>
                  <a:lnTo>
                    <a:pt x="135" y="19"/>
                  </a:lnTo>
                  <a:lnTo>
                    <a:pt x="135" y="13"/>
                  </a:lnTo>
                  <a:lnTo>
                    <a:pt x="124" y="9"/>
                  </a:lnTo>
                  <a:lnTo>
                    <a:pt x="111" y="0"/>
                  </a:lnTo>
                  <a:lnTo>
                    <a:pt x="102" y="0"/>
                  </a:lnTo>
                  <a:lnTo>
                    <a:pt x="105" y="5"/>
                  </a:lnTo>
                  <a:lnTo>
                    <a:pt x="102" y="5"/>
                  </a:lnTo>
                  <a:lnTo>
                    <a:pt x="100" y="5"/>
                  </a:lnTo>
                  <a:lnTo>
                    <a:pt x="94" y="5"/>
                  </a:lnTo>
                  <a:lnTo>
                    <a:pt x="92" y="11"/>
                  </a:lnTo>
                  <a:lnTo>
                    <a:pt x="87" y="11"/>
                  </a:lnTo>
                  <a:lnTo>
                    <a:pt x="81" y="20"/>
                  </a:lnTo>
                  <a:lnTo>
                    <a:pt x="83" y="26"/>
                  </a:lnTo>
                  <a:lnTo>
                    <a:pt x="87" y="30"/>
                  </a:lnTo>
                  <a:lnTo>
                    <a:pt x="85" y="36"/>
                  </a:lnTo>
                  <a:lnTo>
                    <a:pt x="75" y="34"/>
                  </a:lnTo>
                  <a:lnTo>
                    <a:pt x="66" y="34"/>
                  </a:lnTo>
                  <a:lnTo>
                    <a:pt x="58" y="36"/>
                  </a:lnTo>
                  <a:lnTo>
                    <a:pt x="45" y="22"/>
                  </a:lnTo>
                  <a:lnTo>
                    <a:pt x="32" y="13"/>
                  </a:lnTo>
                  <a:lnTo>
                    <a:pt x="21" y="11"/>
                  </a:lnTo>
                  <a:lnTo>
                    <a:pt x="11" y="15"/>
                  </a:lnTo>
                  <a:lnTo>
                    <a:pt x="0" y="26"/>
                  </a:lnTo>
                  <a:lnTo>
                    <a:pt x="0" y="28"/>
                  </a:lnTo>
                  <a:lnTo>
                    <a:pt x="2" y="30"/>
                  </a:lnTo>
                  <a:lnTo>
                    <a:pt x="6" y="34"/>
                  </a:lnTo>
                  <a:lnTo>
                    <a:pt x="6" y="36"/>
                  </a:lnTo>
                  <a:lnTo>
                    <a:pt x="7" y="39"/>
                  </a:lnTo>
                  <a:lnTo>
                    <a:pt x="11" y="45"/>
                  </a:lnTo>
                  <a:lnTo>
                    <a:pt x="11" y="51"/>
                  </a:lnTo>
                  <a:lnTo>
                    <a:pt x="11" y="54"/>
                  </a:lnTo>
                  <a:lnTo>
                    <a:pt x="11" y="64"/>
                  </a:lnTo>
                  <a:lnTo>
                    <a:pt x="11" y="68"/>
                  </a:lnTo>
                  <a:lnTo>
                    <a:pt x="13" y="69"/>
                  </a:lnTo>
                  <a:lnTo>
                    <a:pt x="19" y="75"/>
                  </a:lnTo>
                  <a:lnTo>
                    <a:pt x="19" y="73"/>
                  </a:lnTo>
                  <a:lnTo>
                    <a:pt x="17" y="69"/>
                  </a:lnTo>
                  <a:lnTo>
                    <a:pt x="19" y="69"/>
                  </a:lnTo>
                  <a:lnTo>
                    <a:pt x="24" y="69"/>
                  </a:lnTo>
                  <a:lnTo>
                    <a:pt x="26" y="69"/>
                  </a:lnTo>
                  <a:lnTo>
                    <a:pt x="28" y="69"/>
                  </a:lnTo>
                  <a:lnTo>
                    <a:pt x="26" y="73"/>
                  </a:lnTo>
                  <a:lnTo>
                    <a:pt x="28" y="79"/>
                  </a:lnTo>
                  <a:lnTo>
                    <a:pt x="30" y="75"/>
                  </a:lnTo>
                  <a:lnTo>
                    <a:pt x="32" y="79"/>
                  </a:lnTo>
                  <a:lnTo>
                    <a:pt x="32" y="81"/>
                  </a:lnTo>
                  <a:lnTo>
                    <a:pt x="28" y="81"/>
                  </a:lnTo>
                  <a:lnTo>
                    <a:pt x="26" y="81"/>
                  </a:lnTo>
                  <a:lnTo>
                    <a:pt x="24" y="79"/>
                  </a:lnTo>
                  <a:lnTo>
                    <a:pt x="21" y="83"/>
                  </a:lnTo>
                  <a:lnTo>
                    <a:pt x="21" y="85"/>
                  </a:lnTo>
                  <a:lnTo>
                    <a:pt x="24" y="88"/>
                  </a:lnTo>
                  <a:lnTo>
                    <a:pt x="23" y="85"/>
                  </a:lnTo>
                  <a:lnTo>
                    <a:pt x="26" y="83"/>
                  </a:lnTo>
                  <a:lnTo>
                    <a:pt x="26" y="85"/>
                  </a:lnTo>
                  <a:lnTo>
                    <a:pt x="30" y="85"/>
                  </a:lnTo>
                  <a:lnTo>
                    <a:pt x="32" y="88"/>
                  </a:lnTo>
                  <a:lnTo>
                    <a:pt x="36" y="92"/>
                  </a:lnTo>
                  <a:lnTo>
                    <a:pt x="39" y="96"/>
                  </a:lnTo>
                  <a:lnTo>
                    <a:pt x="39" y="100"/>
                  </a:lnTo>
                  <a:lnTo>
                    <a:pt x="39" y="103"/>
                  </a:lnTo>
                  <a:lnTo>
                    <a:pt x="39" y="113"/>
                  </a:lnTo>
                  <a:lnTo>
                    <a:pt x="41" y="120"/>
                  </a:lnTo>
                  <a:lnTo>
                    <a:pt x="45" y="130"/>
                  </a:lnTo>
                  <a:lnTo>
                    <a:pt x="47" y="128"/>
                  </a:lnTo>
                  <a:lnTo>
                    <a:pt x="56" y="126"/>
                  </a:lnTo>
                  <a:lnTo>
                    <a:pt x="58" y="120"/>
                  </a:lnTo>
                  <a:lnTo>
                    <a:pt x="60" y="118"/>
                  </a:lnTo>
                  <a:lnTo>
                    <a:pt x="64" y="118"/>
                  </a:lnTo>
                  <a:lnTo>
                    <a:pt x="71" y="113"/>
                  </a:lnTo>
                  <a:lnTo>
                    <a:pt x="79" y="109"/>
                  </a:lnTo>
                  <a:lnTo>
                    <a:pt x="87" y="113"/>
                  </a:lnTo>
                  <a:lnTo>
                    <a:pt x="87" y="105"/>
                  </a:lnTo>
                  <a:lnTo>
                    <a:pt x="90" y="105"/>
                  </a:lnTo>
                  <a:lnTo>
                    <a:pt x="96" y="109"/>
                  </a:lnTo>
                  <a:lnTo>
                    <a:pt x="100" y="109"/>
                  </a:lnTo>
                  <a:lnTo>
                    <a:pt x="105" y="113"/>
                  </a:lnTo>
                  <a:lnTo>
                    <a:pt x="111" y="115"/>
                  </a:lnTo>
                  <a:lnTo>
                    <a:pt x="122" y="120"/>
                  </a:lnTo>
                  <a:lnTo>
                    <a:pt x="126" y="120"/>
                  </a:lnTo>
                  <a:lnTo>
                    <a:pt x="128" y="118"/>
                  </a:lnTo>
                  <a:lnTo>
                    <a:pt x="135" y="122"/>
                  </a:lnTo>
                  <a:lnTo>
                    <a:pt x="141" y="122"/>
                  </a:lnTo>
                  <a:lnTo>
                    <a:pt x="141" y="128"/>
                  </a:lnTo>
                  <a:lnTo>
                    <a:pt x="141" y="130"/>
                  </a:lnTo>
                  <a:lnTo>
                    <a:pt x="145" y="130"/>
                  </a:lnTo>
                  <a:lnTo>
                    <a:pt x="152" y="130"/>
                  </a:lnTo>
                  <a:lnTo>
                    <a:pt x="162" y="139"/>
                  </a:lnTo>
                  <a:lnTo>
                    <a:pt x="169" y="143"/>
                  </a:lnTo>
                  <a:lnTo>
                    <a:pt x="175" y="143"/>
                  </a:lnTo>
                  <a:lnTo>
                    <a:pt x="177" y="149"/>
                  </a:lnTo>
                  <a:lnTo>
                    <a:pt x="175" y="150"/>
                  </a:lnTo>
                  <a:lnTo>
                    <a:pt x="177" y="156"/>
                  </a:lnTo>
                  <a:lnTo>
                    <a:pt x="177" y="160"/>
                  </a:lnTo>
                  <a:lnTo>
                    <a:pt x="177" y="162"/>
                  </a:lnTo>
                  <a:lnTo>
                    <a:pt x="179" y="162"/>
                  </a:lnTo>
                  <a:lnTo>
                    <a:pt x="184" y="162"/>
                  </a:lnTo>
                  <a:lnTo>
                    <a:pt x="186" y="164"/>
                  </a:lnTo>
                  <a:lnTo>
                    <a:pt x="190" y="164"/>
                  </a:lnTo>
                  <a:lnTo>
                    <a:pt x="194" y="162"/>
                  </a:lnTo>
                  <a:lnTo>
                    <a:pt x="196" y="162"/>
                  </a:lnTo>
                  <a:lnTo>
                    <a:pt x="201" y="164"/>
                  </a:lnTo>
                  <a:lnTo>
                    <a:pt x="201" y="169"/>
                  </a:lnTo>
                  <a:lnTo>
                    <a:pt x="203" y="169"/>
                  </a:lnTo>
                  <a:lnTo>
                    <a:pt x="205" y="167"/>
                  </a:lnTo>
                  <a:lnTo>
                    <a:pt x="209" y="167"/>
                  </a:lnTo>
                  <a:lnTo>
                    <a:pt x="215" y="164"/>
                  </a:lnTo>
                  <a:lnTo>
                    <a:pt x="215" y="162"/>
                  </a:lnTo>
                  <a:lnTo>
                    <a:pt x="215" y="160"/>
                  </a:lnTo>
                  <a:lnTo>
                    <a:pt x="215" y="156"/>
                  </a:lnTo>
                  <a:lnTo>
                    <a:pt x="220" y="152"/>
                  </a:lnTo>
                  <a:lnTo>
                    <a:pt x="228" y="152"/>
                  </a:lnTo>
                  <a:lnTo>
                    <a:pt x="230" y="150"/>
                  </a:lnTo>
                  <a:lnTo>
                    <a:pt x="231" y="147"/>
                  </a:lnTo>
                  <a:lnTo>
                    <a:pt x="235" y="147"/>
                  </a:lnTo>
                  <a:lnTo>
                    <a:pt x="235" y="143"/>
                  </a:lnTo>
                  <a:lnTo>
                    <a:pt x="235" y="139"/>
                  </a:lnTo>
                  <a:lnTo>
                    <a:pt x="239" y="133"/>
                  </a:lnTo>
                  <a:lnTo>
                    <a:pt x="239" y="130"/>
                  </a:lnTo>
                  <a:lnTo>
                    <a:pt x="239" y="128"/>
                  </a:lnTo>
                  <a:lnTo>
                    <a:pt x="239" y="126"/>
                  </a:lnTo>
                  <a:lnTo>
                    <a:pt x="239" y="124"/>
                  </a:lnTo>
                  <a:lnTo>
                    <a:pt x="241" y="122"/>
                  </a:lnTo>
                  <a:lnTo>
                    <a:pt x="247" y="122"/>
                  </a:lnTo>
                  <a:lnTo>
                    <a:pt x="248" y="122"/>
                  </a:lnTo>
                  <a:lnTo>
                    <a:pt x="254" y="117"/>
                  </a:lnTo>
                  <a:lnTo>
                    <a:pt x="260" y="117"/>
                  </a:lnTo>
                  <a:lnTo>
                    <a:pt x="263" y="118"/>
                  </a:lnTo>
                  <a:lnTo>
                    <a:pt x="265" y="117"/>
                  </a:lnTo>
                  <a:lnTo>
                    <a:pt x="269" y="118"/>
                  </a:lnTo>
                  <a:lnTo>
                    <a:pt x="269" y="118"/>
                  </a:lnTo>
                  <a:lnTo>
                    <a:pt x="269" y="118"/>
                  </a:lnTo>
                  <a:lnTo>
                    <a:pt x="269" y="11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0" name="Freeform 53">
              <a:extLst>
                <a:ext uri="{FF2B5EF4-FFF2-40B4-BE49-F238E27FC236}">
                  <a16:creationId xmlns:a16="http://schemas.microsoft.com/office/drawing/2014/main" id="{6D7BD9E6-52CA-4E17-BD43-658817786DE9}"/>
                </a:ext>
              </a:extLst>
            </p:cNvPr>
            <p:cNvSpPr>
              <a:spLocks/>
            </p:cNvSpPr>
            <p:nvPr/>
          </p:nvSpPr>
          <p:spPr bwMode="auto">
            <a:xfrm>
              <a:off x="3882" y="2363"/>
              <a:ext cx="252" cy="284"/>
            </a:xfrm>
            <a:custGeom>
              <a:avLst/>
              <a:gdLst/>
              <a:ahLst/>
              <a:cxnLst>
                <a:cxn ang="0">
                  <a:pos x="153" y="275"/>
                </a:cxn>
                <a:cxn ang="0">
                  <a:pos x="171" y="269"/>
                </a:cxn>
                <a:cxn ang="0">
                  <a:pos x="185" y="267"/>
                </a:cxn>
                <a:cxn ang="0">
                  <a:pos x="192" y="264"/>
                </a:cxn>
                <a:cxn ang="0">
                  <a:pos x="185" y="241"/>
                </a:cxn>
                <a:cxn ang="0">
                  <a:pos x="171" y="230"/>
                </a:cxn>
                <a:cxn ang="0">
                  <a:pos x="164" y="220"/>
                </a:cxn>
                <a:cxn ang="0">
                  <a:pos x="160" y="207"/>
                </a:cxn>
                <a:cxn ang="0">
                  <a:pos x="171" y="192"/>
                </a:cxn>
                <a:cxn ang="0">
                  <a:pos x="181" y="198"/>
                </a:cxn>
                <a:cxn ang="0">
                  <a:pos x="207" y="175"/>
                </a:cxn>
                <a:cxn ang="0">
                  <a:pos x="224" y="152"/>
                </a:cxn>
                <a:cxn ang="0">
                  <a:pos x="228" y="141"/>
                </a:cxn>
                <a:cxn ang="0">
                  <a:pos x="237" y="119"/>
                </a:cxn>
                <a:cxn ang="0">
                  <a:pos x="243" y="103"/>
                </a:cxn>
                <a:cxn ang="0">
                  <a:pos x="252" y="92"/>
                </a:cxn>
                <a:cxn ang="0">
                  <a:pos x="235" y="86"/>
                </a:cxn>
                <a:cxn ang="0">
                  <a:pos x="217" y="71"/>
                </a:cxn>
                <a:cxn ang="0">
                  <a:pos x="213" y="47"/>
                </a:cxn>
                <a:cxn ang="0">
                  <a:pos x="213" y="34"/>
                </a:cxn>
                <a:cxn ang="0">
                  <a:pos x="198" y="19"/>
                </a:cxn>
                <a:cxn ang="0">
                  <a:pos x="188" y="11"/>
                </a:cxn>
                <a:cxn ang="0">
                  <a:pos x="186" y="0"/>
                </a:cxn>
                <a:cxn ang="0">
                  <a:pos x="168" y="11"/>
                </a:cxn>
                <a:cxn ang="0">
                  <a:pos x="164" y="47"/>
                </a:cxn>
                <a:cxn ang="0">
                  <a:pos x="156" y="62"/>
                </a:cxn>
                <a:cxn ang="0">
                  <a:pos x="153" y="70"/>
                </a:cxn>
                <a:cxn ang="0">
                  <a:pos x="145" y="83"/>
                </a:cxn>
                <a:cxn ang="0">
                  <a:pos x="141" y="98"/>
                </a:cxn>
                <a:cxn ang="0">
                  <a:pos x="136" y="109"/>
                </a:cxn>
                <a:cxn ang="0">
                  <a:pos x="126" y="111"/>
                </a:cxn>
                <a:cxn ang="0">
                  <a:pos x="117" y="119"/>
                </a:cxn>
                <a:cxn ang="0">
                  <a:pos x="102" y="126"/>
                </a:cxn>
                <a:cxn ang="0">
                  <a:pos x="92" y="134"/>
                </a:cxn>
                <a:cxn ang="0">
                  <a:pos x="96" y="152"/>
                </a:cxn>
                <a:cxn ang="0">
                  <a:pos x="75" y="160"/>
                </a:cxn>
                <a:cxn ang="0">
                  <a:pos x="51" y="164"/>
                </a:cxn>
                <a:cxn ang="0">
                  <a:pos x="0" y="158"/>
                </a:cxn>
                <a:cxn ang="0">
                  <a:pos x="21" y="183"/>
                </a:cxn>
                <a:cxn ang="0">
                  <a:pos x="32" y="188"/>
                </a:cxn>
                <a:cxn ang="0">
                  <a:pos x="40" y="207"/>
                </a:cxn>
                <a:cxn ang="0">
                  <a:pos x="49" y="220"/>
                </a:cxn>
                <a:cxn ang="0">
                  <a:pos x="32" y="224"/>
                </a:cxn>
                <a:cxn ang="0">
                  <a:pos x="21" y="237"/>
                </a:cxn>
                <a:cxn ang="0">
                  <a:pos x="25" y="250"/>
                </a:cxn>
                <a:cxn ang="0">
                  <a:pos x="36" y="250"/>
                </a:cxn>
                <a:cxn ang="0">
                  <a:pos x="45" y="250"/>
                </a:cxn>
                <a:cxn ang="0">
                  <a:pos x="53" y="250"/>
                </a:cxn>
                <a:cxn ang="0">
                  <a:pos x="62" y="250"/>
                </a:cxn>
                <a:cxn ang="0">
                  <a:pos x="68" y="250"/>
                </a:cxn>
                <a:cxn ang="0">
                  <a:pos x="83" y="247"/>
                </a:cxn>
                <a:cxn ang="0">
                  <a:pos x="92" y="247"/>
                </a:cxn>
                <a:cxn ang="0">
                  <a:pos x="109" y="247"/>
                </a:cxn>
                <a:cxn ang="0">
                  <a:pos x="113" y="256"/>
                </a:cxn>
                <a:cxn ang="0">
                  <a:pos x="121" y="256"/>
                </a:cxn>
                <a:cxn ang="0">
                  <a:pos x="126" y="271"/>
                </a:cxn>
                <a:cxn ang="0">
                  <a:pos x="128" y="277"/>
                </a:cxn>
                <a:cxn ang="0">
                  <a:pos x="143" y="282"/>
                </a:cxn>
                <a:cxn ang="0">
                  <a:pos x="147" y="282"/>
                </a:cxn>
              </a:cxnLst>
              <a:rect l="0" t="0" r="r" b="b"/>
              <a:pathLst>
                <a:path w="252" h="284">
                  <a:moveTo>
                    <a:pt x="147" y="282"/>
                  </a:moveTo>
                  <a:lnTo>
                    <a:pt x="147" y="277"/>
                  </a:lnTo>
                  <a:lnTo>
                    <a:pt x="151" y="277"/>
                  </a:lnTo>
                  <a:lnTo>
                    <a:pt x="153" y="275"/>
                  </a:lnTo>
                  <a:lnTo>
                    <a:pt x="154" y="271"/>
                  </a:lnTo>
                  <a:lnTo>
                    <a:pt x="156" y="271"/>
                  </a:lnTo>
                  <a:lnTo>
                    <a:pt x="160" y="269"/>
                  </a:lnTo>
                  <a:lnTo>
                    <a:pt x="171" y="269"/>
                  </a:lnTo>
                  <a:lnTo>
                    <a:pt x="181" y="267"/>
                  </a:lnTo>
                  <a:lnTo>
                    <a:pt x="181" y="265"/>
                  </a:lnTo>
                  <a:lnTo>
                    <a:pt x="185" y="264"/>
                  </a:lnTo>
                  <a:lnTo>
                    <a:pt x="185" y="267"/>
                  </a:lnTo>
                  <a:lnTo>
                    <a:pt x="185" y="269"/>
                  </a:lnTo>
                  <a:lnTo>
                    <a:pt x="190" y="267"/>
                  </a:lnTo>
                  <a:lnTo>
                    <a:pt x="194" y="265"/>
                  </a:lnTo>
                  <a:lnTo>
                    <a:pt x="192" y="264"/>
                  </a:lnTo>
                  <a:lnTo>
                    <a:pt x="192" y="260"/>
                  </a:lnTo>
                  <a:lnTo>
                    <a:pt x="188" y="250"/>
                  </a:lnTo>
                  <a:lnTo>
                    <a:pt x="185" y="245"/>
                  </a:lnTo>
                  <a:lnTo>
                    <a:pt x="185" y="241"/>
                  </a:lnTo>
                  <a:lnTo>
                    <a:pt x="185" y="239"/>
                  </a:lnTo>
                  <a:lnTo>
                    <a:pt x="181" y="241"/>
                  </a:lnTo>
                  <a:lnTo>
                    <a:pt x="171" y="235"/>
                  </a:lnTo>
                  <a:lnTo>
                    <a:pt x="171" y="230"/>
                  </a:lnTo>
                  <a:lnTo>
                    <a:pt x="171" y="224"/>
                  </a:lnTo>
                  <a:lnTo>
                    <a:pt x="171" y="220"/>
                  </a:lnTo>
                  <a:lnTo>
                    <a:pt x="168" y="220"/>
                  </a:lnTo>
                  <a:lnTo>
                    <a:pt x="164" y="220"/>
                  </a:lnTo>
                  <a:lnTo>
                    <a:pt x="160" y="216"/>
                  </a:lnTo>
                  <a:lnTo>
                    <a:pt x="156" y="220"/>
                  </a:lnTo>
                  <a:lnTo>
                    <a:pt x="156" y="213"/>
                  </a:lnTo>
                  <a:lnTo>
                    <a:pt x="160" y="207"/>
                  </a:lnTo>
                  <a:lnTo>
                    <a:pt x="162" y="205"/>
                  </a:lnTo>
                  <a:lnTo>
                    <a:pt x="168" y="198"/>
                  </a:lnTo>
                  <a:lnTo>
                    <a:pt x="169" y="194"/>
                  </a:lnTo>
                  <a:lnTo>
                    <a:pt x="171" y="192"/>
                  </a:lnTo>
                  <a:lnTo>
                    <a:pt x="175" y="190"/>
                  </a:lnTo>
                  <a:lnTo>
                    <a:pt x="179" y="192"/>
                  </a:lnTo>
                  <a:lnTo>
                    <a:pt x="181" y="196"/>
                  </a:lnTo>
                  <a:lnTo>
                    <a:pt x="181" y="198"/>
                  </a:lnTo>
                  <a:lnTo>
                    <a:pt x="188" y="194"/>
                  </a:lnTo>
                  <a:lnTo>
                    <a:pt x="200" y="192"/>
                  </a:lnTo>
                  <a:lnTo>
                    <a:pt x="203" y="186"/>
                  </a:lnTo>
                  <a:lnTo>
                    <a:pt x="207" y="175"/>
                  </a:lnTo>
                  <a:lnTo>
                    <a:pt x="217" y="169"/>
                  </a:lnTo>
                  <a:lnTo>
                    <a:pt x="218" y="166"/>
                  </a:lnTo>
                  <a:lnTo>
                    <a:pt x="218" y="158"/>
                  </a:lnTo>
                  <a:lnTo>
                    <a:pt x="224" y="152"/>
                  </a:lnTo>
                  <a:lnTo>
                    <a:pt x="228" y="151"/>
                  </a:lnTo>
                  <a:lnTo>
                    <a:pt x="230" y="147"/>
                  </a:lnTo>
                  <a:lnTo>
                    <a:pt x="230" y="143"/>
                  </a:lnTo>
                  <a:lnTo>
                    <a:pt x="228" y="141"/>
                  </a:lnTo>
                  <a:lnTo>
                    <a:pt x="233" y="135"/>
                  </a:lnTo>
                  <a:lnTo>
                    <a:pt x="237" y="132"/>
                  </a:lnTo>
                  <a:lnTo>
                    <a:pt x="237" y="128"/>
                  </a:lnTo>
                  <a:lnTo>
                    <a:pt x="237" y="119"/>
                  </a:lnTo>
                  <a:lnTo>
                    <a:pt x="235" y="113"/>
                  </a:lnTo>
                  <a:lnTo>
                    <a:pt x="235" y="111"/>
                  </a:lnTo>
                  <a:lnTo>
                    <a:pt x="239" y="105"/>
                  </a:lnTo>
                  <a:lnTo>
                    <a:pt x="243" y="103"/>
                  </a:lnTo>
                  <a:lnTo>
                    <a:pt x="249" y="102"/>
                  </a:lnTo>
                  <a:lnTo>
                    <a:pt x="249" y="102"/>
                  </a:lnTo>
                  <a:lnTo>
                    <a:pt x="252" y="98"/>
                  </a:lnTo>
                  <a:lnTo>
                    <a:pt x="252" y="92"/>
                  </a:lnTo>
                  <a:lnTo>
                    <a:pt x="249" y="92"/>
                  </a:lnTo>
                  <a:lnTo>
                    <a:pt x="243" y="94"/>
                  </a:lnTo>
                  <a:lnTo>
                    <a:pt x="239" y="92"/>
                  </a:lnTo>
                  <a:lnTo>
                    <a:pt x="235" y="86"/>
                  </a:lnTo>
                  <a:lnTo>
                    <a:pt x="230" y="86"/>
                  </a:lnTo>
                  <a:lnTo>
                    <a:pt x="224" y="83"/>
                  </a:lnTo>
                  <a:lnTo>
                    <a:pt x="217" y="77"/>
                  </a:lnTo>
                  <a:lnTo>
                    <a:pt x="217" y="71"/>
                  </a:lnTo>
                  <a:lnTo>
                    <a:pt x="213" y="58"/>
                  </a:lnTo>
                  <a:lnTo>
                    <a:pt x="209" y="53"/>
                  </a:lnTo>
                  <a:lnTo>
                    <a:pt x="209" y="49"/>
                  </a:lnTo>
                  <a:lnTo>
                    <a:pt x="213" y="47"/>
                  </a:lnTo>
                  <a:lnTo>
                    <a:pt x="213" y="43"/>
                  </a:lnTo>
                  <a:lnTo>
                    <a:pt x="218" y="39"/>
                  </a:lnTo>
                  <a:lnTo>
                    <a:pt x="218" y="36"/>
                  </a:lnTo>
                  <a:lnTo>
                    <a:pt x="213" y="34"/>
                  </a:lnTo>
                  <a:lnTo>
                    <a:pt x="211" y="32"/>
                  </a:lnTo>
                  <a:lnTo>
                    <a:pt x="205" y="26"/>
                  </a:lnTo>
                  <a:lnTo>
                    <a:pt x="203" y="22"/>
                  </a:lnTo>
                  <a:lnTo>
                    <a:pt x="198" y="19"/>
                  </a:lnTo>
                  <a:lnTo>
                    <a:pt x="194" y="19"/>
                  </a:lnTo>
                  <a:lnTo>
                    <a:pt x="192" y="19"/>
                  </a:lnTo>
                  <a:lnTo>
                    <a:pt x="188" y="19"/>
                  </a:lnTo>
                  <a:lnTo>
                    <a:pt x="188" y="11"/>
                  </a:lnTo>
                  <a:lnTo>
                    <a:pt x="198" y="4"/>
                  </a:lnTo>
                  <a:lnTo>
                    <a:pt x="196" y="0"/>
                  </a:lnTo>
                  <a:lnTo>
                    <a:pt x="190" y="2"/>
                  </a:lnTo>
                  <a:lnTo>
                    <a:pt x="186" y="0"/>
                  </a:lnTo>
                  <a:lnTo>
                    <a:pt x="181" y="4"/>
                  </a:lnTo>
                  <a:lnTo>
                    <a:pt x="177" y="7"/>
                  </a:lnTo>
                  <a:lnTo>
                    <a:pt x="171" y="7"/>
                  </a:lnTo>
                  <a:lnTo>
                    <a:pt x="168" y="11"/>
                  </a:lnTo>
                  <a:lnTo>
                    <a:pt x="164" y="13"/>
                  </a:lnTo>
                  <a:lnTo>
                    <a:pt x="171" y="26"/>
                  </a:lnTo>
                  <a:lnTo>
                    <a:pt x="171" y="34"/>
                  </a:lnTo>
                  <a:lnTo>
                    <a:pt x="164" y="47"/>
                  </a:lnTo>
                  <a:lnTo>
                    <a:pt x="169" y="51"/>
                  </a:lnTo>
                  <a:lnTo>
                    <a:pt x="169" y="56"/>
                  </a:lnTo>
                  <a:lnTo>
                    <a:pt x="164" y="62"/>
                  </a:lnTo>
                  <a:lnTo>
                    <a:pt x="156" y="62"/>
                  </a:lnTo>
                  <a:lnTo>
                    <a:pt x="151" y="62"/>
                  </a:lnTo>
                  <a:lnTo>
                    <a:pt x="147" y="64"/>
                  </a:lnTo>
                  <a:lnTo>
                    <a:pt x="149" y="68"/>
                  </a:lnTo>
                  <a:lnTo>
                    <a:pt x="153" y="70"/>
                  </a:lnTo>
                  <a:lnTo>
                    <a:pt x="154" y="75"/>
                  </a:lnTo>
                  <a:lnTo>
                    <a:pt x="154" y="79"/>
                  </a:lnTo>
                  <a:lnTo>
                    <a:pt x="149" y="81"/>
                  </a:lnTo>
                  <a:lnTo>
                    <a:pt x="145" y="83"/>
                  </a:lnTo>
                  <a:lnTo>
                    <a:pt x="143" y="83"/>
                  </a:lnTo>
                  <a:lnTo>
                    <a:pt x="143" y="92"/>
                  </a:lnTo>
                  <a:lnTo>
                    <a:pt x="141" y="94"/>
                  </a:lnTo>
                  <a:lnTo>
                    <a:pt x="141" y="98"/>
                  </a:lnTo>
                  <a:lnTo>
                    <a:pt x="139" y="100"/>
                  </a:lnTo>
                  <a:lnTo>
                    <a:pt x="141" y="107"/>
                  </a:lnTo>
                  <a:lnTo>
                    <a:pt x="137" y="113"/>
                  </a:lnTo>
                  <a:lnTo>
                    <a:pt x="136" y="109"/>
                  </a:lnTo>
                  <a:lnTo>
                    <a:pt x="132" y="109"/>
                  </a:lnTo>
                  <a:lnTo>
                    <a:pt x="132" y="111"/>
                  </a:lnTo>
                  <a:lnTo>
                    <a:pt x="128" y="111"/>
                  </a:lnTo>
                  <a:lnTo>
                    <a:pt x="126" y="111"/>
                  </a:lnTo>
                  <a:lnTo>
                    <a:pt x="121" y="111"/>
                  </a:lnTo>
                  <a:lnTo>
                    <a:pt x="121" y="113"/>
                  </a:lnTo>
                  <a:lnTo>
                    <a:pt x="113" y="117"/>
                  </a:lnTo>
                  <a:lnTo>
                    <a:pt x="117" y="119"/>
                  </a:lnTo>
                  <a:lnTo>
                    <a:pt x="113" y="122"/>
                  </a:lnTo>
                  <a:lnTo>
                    <a:pt x="107" y="126"/>
                  </a:lnTo>
                  <a:lnTo>
                    <a:pt x="105" y="122"/>
                  </a:lnTo>
                  <a:lnTo>
                    <a:pt x="102" y="126"/>
                  </a:lnTo>
                  <a:lnTo>
                    <a:pt x="100" y="126"/>
                  </a:lnTo>
                  <a:lnTo>
                    <a:pt x="98" y="130"/>
                  </a:lnTo>
                  <a:lnTo>
                    <a:pt x="94" y="132"/>
                  </a:lnTo>
                  <a:lnTo>
                    <a:pt x="92" y="134"/>
                  </a:lnTo>
                  <a:lnTo>
                    <a:pt x="92" y="139"/>
                  </a:lnTo>
                  <a:lnTo>
                    <a:pt x="94" y="145"/>
                  </a:lnTo>
                  <a:lnTo>
                    <a:pt x="94" y="151"/>
                  </a:lnTo>
                  <a:lnTo>
                    <a:pt x="96" y="152"/>
                  </a:lnTo>
                  <a:lnTo>
                    <a:pt x="94" y="156"/>
                  </a:lnTo>
                  <a:lnTo>
                    <a:pt x="89" y="158"/>
                  </a:lnTo>
                  <a:lnTo>
                    <a:pt x="81" y="158"/>
                  </a:lnTo>
                  <a:lnTo>
                    <a:pt x="75" y="160"/>
                  </a:lnTo>
                  <a:lnTo>
                    <a:pt x="68" y="160"/>
                  </a:lnTo>
                  <a:lnTo>
                    <a:pt x="60" y="162"/>
                  </a:lnTo>
                  <a:lnTo>
                    <a:pt x="58" y="164"/>
                  </a:lnTo>
                  <a:lnTo>
                    <a:pt x="51" y="164"/>
                  </a:lnTo>
                  <a:lnTo>
                    <a:pt x="45" y="166"/>
                  </a:lnTo>
                  <a:lnTo>
                    <a:pt x="25" y="166"/>
                  </a:lnTo>
                  <a:lnTo>
                    <a:pt x="0" y="158"/>
                  </a:lnTo>
                  <a:lnTo>
                    <a:pt x="0" y="158"/>
                  </a:lnTo>
                  <a:lnTo>
                    <a:pt x="9" y="171"/>
                  </a:lnTo>
                  <a:lnTo>
                    <a:pt x="11" y="177"/>
                  </a:lnTo>
                  <a:lnTo>
                    <a:pt x="17" y="181"/>
                  </a:lnTo>
                  <a:lnTo>
                    <a:pt x="21" y="183"/>
                  </a:lnTo>
                  <a:lnTo>
                    <a:pt x="21" y="186"/>
                  </a:lnTo>
                  <a:lnTo>
                    <a:pt x="28" y="186"/>
                  </a:lnTo>
                  <a:lnTo>
                    <a:pt x="32" y="186"/>
                  </a:lnTo>
                  <a:lnTo>
                    <a:pt x="32" y="188"/>
                  </a:lnTo>
                  <a:lnTo>
                    <a:pt x="38" y="190"/>
                  </a:lnTo>
                  <a:lnTo>
                    <a:pt x="38" y="196"/>
                  </a:lnTo>
                  <a:lnTo>
                    <a:pt x="40" y="201"/>
                  </a:lnTo>
                  <a:lnTo>
                    <a:pt x="40" y="207"/>
                  </a:lnTo>
                  <a:lnTo>
                    <a:pt x="40" y="207"/>
                  </a:lnTo>
                  <a:lnTo>
                    <a:pt x="45" y="207"/>
                  </a:lnTo>
                  <a:lnTo>
                    <a:pt x="49" y="211"/>
                  </a:lnTo>
                  <a:lnTo>
                    <a:pt x="49" y="220"/>
                  </a:lnTo>
                  <a:lnTo>
                    <a:pt x="45" y="222"/>
                  </a:lnTo>
                  <a:lnTo>
                    <a:pt x="43" y="220"/>
                  </a:lnTo>
                  <a:lnTo>
                    <a:pt x="34" y="222"/>
                  </a:lnTo>
                  <a:lnTo>
                    <a:pt x="32" y="224"/>
                  </a:lnTo>
                  <a:lnTo>
                    <a:pt x="25" y="226"/>
                  </a:lnTo>
                  <a:lnTo>
                    <a:pt x="25" y="230"/>
                  </a:lnTo>
                  <a:lnTo>
                    <a:pt x="25" y="233"/>
                  </a:lnTo>
                  <a:lnTo>
                    <a:pt x="21" y="237"/>
                  </a:lnTo>
                  <a:lnTo>
                    <a:pt x="25" y="241"/>
                  </a:lnTo>
                  <a:lnTo>
                    <a:pt x="25" y="250"/>
                  </a:lnTo>
                  <a:lnTo>
                    <a:pt x="25" y="250"/>
                  </a:lnTo>
                  <a:lnTo>
                    <a:pt x="25" y="250"/>
                  </a:lnTo>
                  <a:lnTo>
                    <a:pt x="25" y="254"/>
                  </a:lnTo>
                  <a:lnTo>
                    <a:pt x="26" y="254"/>
                  </a:lnTo>
                  <a:lnTo>
                    <a:pt x="32" y="250"/>
                  </a:lnTo>
                  <a:lnTo>
                    <a:pt x="36" y="250"/>
                  </a:lnTo>
                  <a:lnTo>
                    <a:pt x="38" y="252"/>
                  </a:lnTo>
                  <a:lnTo>
                    <a:pt x="38" y="252"/>
                  </a:lnTo>
                  <a:lnTo>
                    <a:pt x="41" y="250"/>
                  </a:lnTo>
                  <a:lnTo>
                    <a:pt x="45" y="250"/>
                  </a:lnTo>
                  <a:lnTo>
                    <a:pt x="45" y="250"/>
                  </a:lnTo>
                  <a:lnTo>
                    <a:pt x="49" y="250"/>
                  </a:lnTo>
                  <a:lnTo>
                    <a:pt x="51" y="250"/>
                  </a:lnTo>
                  <a:lnTo>
                    <a:pt x="53" y="250"/>
                  </a:lnTo>
                  <a:lnTo>
                    <a:pt x="55" y="250"/>
                  </a:lnTo>
                  <a:lnTo>
                    <a:pt x="57" y="247"/>
                  </a:lnTo>
                  <a:lnTo>
                    <a:pt x="60" y="250"/>
                  </a:lnTo>
                  <a:lnTo>
                    <a:pt x="62" y="250"/>
                  </a:lnTo>
                  <a:lnTo>
                    <a:pt x="62" y="247"/>
                  </a:lnTo>
                  <a:lnTo>
                    <a:pt x="64" y="247"/>
                  </a:lnTo>
                  <a:lnTo>
                    <a:pt x="64" y="250"/>
                  </a:lnTo>
                  <a:lnTo>
                    <a:pt x="68" y="250"/>
                  </a:lnTo>
                  <a:lnTo>
                    <a:pt x="70" y="252"/>
                  </a:lnTo>
                  <a:lnTo>
                    <a:pt x="73" y="252"/>
                  </a:lnTo>
                  <a:lnTo>
                    <a:pt x="77" y="247"/>
                  </a:lnTo>
                  <a:lnTo>
                    <a:pt x="83" y="247"/>
                  </a:lnTo>
                  <a:lnTo>
                    <a:pt x="87" y="250"/>
                  </a:lnTo>
                  <a:lnTo>
                    <a:pt x="89" y="247"/>
                  </a:lnTo>
                  <a:lnTo>
                    <a:pt x="92" y="247"/>
                  </a:lnTo>
                  <a:lnTo>
                    <a:pt x="92" y="247"/>
                  </a:lnTo>
                  <a:lnTo>
                    <a:pt x="92" y="247"/>
                  </a:lnTo>
                  <a:lnTo>
                    <a:pt x="98" y="247"/>
                  </a:lnTo>
                  <a:lnTo>
                    <a:pt x="102" y="247"/>
                  </a:lnTo>
                  <a:lnTo>
                    <a:pt x="109" y="247"/>
                  </a:lnTo>
                  <a:lnTo>
                    <a:pt x="113" y="250"/>
                  </a:lnTo>
                  <a:lnTo>
                    <a:pt x="113" y="252"/>
                  </a:lnTo>
                  <a:lnTo>
                    <a:pt x="113" y="256"/>
                  </a:lnTo>
                  <a:lnTo>
                    <a:pt x="113" y="256"/>
                  </a:lnTo>
                  <a:lnTo>
                    <a:pt x="113" y="256"/>
                  </a:lnTo>
                  <a:lnTo>
                    <a:pt x="113" y="258"/>
                  </a:lnTo>
                  <a:lnTo>
                    <a:pt x="117" y="258"/>
                  </a:lnTo>
                  <a:lnTo>
                    <a:pt x="121" y="256"/>
                  </a:lnTo>
                  <a:lnTo>
                    <a:pt x="121" y="260"/>
                  </a:lnTo>
                  <a:lnTo>
                    <a:pt x="124" y="264"/>
                  </a:lnTo>
                  <a:lnTo>
                    <a:pt x="126" y="271"/>
                  </a:lnTo>
                  <a:lnTo>
                    <a:pt x="126" y="271"/>
                  </a:lnTo>
                  <a:lnTo>
                    <a:pt x="126" y="275"/>
                  </a:lnTo>
                  <a:lnTo>
                    <a:pt x="124" y="277"/>
                  </a:lnTo>
                  <a:lnTo>
                    <a:pt x="126" y="277"/>
                  </a:lnTo>
                  <a:lnTo>
                    <a:pt x="128" y="277"/>
                  </a:lnTo>
                  <a:lnTo>
                    <a:pt x="130" y="281"/>
                  </a:lnTo>
                  <a:lnTo>
                    <a:pt x="132" y="281"/>
                  </a:lnTo>
                  <a:lnTo>
                    <a:pt x="136" y="281"/>
                  </a:lnTo>
                  <a:lnTo>
                    <a:pt x="143" y="282"/>
                  </a:lnTo>
                  <a:lnTo>
                    <a:pt x="143" y="284"/>
                  </a:lnTo>
                  <a:lnTo>
                    <a:pt x="147" y="282"/>
                  </a:lnTo>
                  <a:lnTo>
                    <a:pt x="147" y="282"/>
                  </a:lnTo>
                  <a:lnTo>
                    <a:pt x="147" y="28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1" name="Freeform 54">
              <a:extLst>
                <a:ext uri="{FF2B5EF4-FFF2-40B4-BE49-F238E27FC236}">
                  <a16:creationId xmlns:a16="http://schemas.microsoft.com/office/drawing/2014/main" id="{3D84FA84-30A3-4777-9807-2AFB3982ACC5}"/>
                </a:ext>
              </a:extLst>
            </p:cNvPr>
            <p:cNvSpPr>
              <a:spLocks/>
            </p:cNvSpPr>
            <p:nvPr/>
          </p:nvSpPr>
          <p:spPr bwMode="auto">
            <a:xfrm>
              <a:off x="3861" y="2325"/>
              <a:ext cx="247" cy="207"/>
            </a:xfrm>
            <a:custGeom>
              <a:avLst/>
              <a:gdLst/>
              <a:ahLst/>
              <a:cxnLst>
                <a:cxn ang="0">
                  <a:pos x="228" y="17"/>
                </a:cxn>
                <a:cxn ang="0">
                  <a:pos x="238" y="17"/>
                </a:cxn>
                <a:cxn ang="0">
                  <a:pos x="241" y="27"/>
                </a:cxn>
                <a:cxn ang="0">
                  <a:pos x="234" y="38"/>
                </a:cxn>
                <a:cxn ang="0">
                  <a:pos x="204" y="43"/>
                </a:cxn>
                <a:cxn ang="0">
                  <a:pos x="190" y="51"/>
                </a:cxn>
                <a:cxn ang="0">
                  <a:pos x="194" y="74"/>
                </a:cxn>
                <a:cxn ang="0">
                  <a:pos x="192" y="96"/>
                </a:cxn>
                <a:cxn ang="0">
                  <a:pos x="174" y="102"/>
                </a:cxn>
                <a:cxn ang="0">
                  <a:pos x="174" y="109"/>
                </a:cxn>
                <a:cxn ang="0">
                  <a:pos x="170" y="121"/>
                </a:cxn>
                <a:cxn ang="0">
                  <a:pos x="164" y="132"/>
                </a:cxn>
                <a:cxn ang="0">
                  <a:pos x="162" y="141"/>
                </a:cxn>
                <a:cxn ang="0">
                  <a:pos x="157" y="149"/>
                </a:cxn>
                <a:cxn ang="0">
                  <a:pos x="149" y="151"/>
                </a:cxn>
                <a:cxn ang="0">
                  <a:pos x="143" y="153"/>
                </a:cxn>
                <a:cxn ang="0">
                  <a:pos x="134" y="162"/>
                </a:cxn>
                <a:cxn ang="0">
                  <a:pos x="123" y="166"/>
                </a:cxn>
                <a:cxn ang="0">
                  <a:pos x="115" y="172"/>
                </a:cxn>
                <a:cxn ang="0">
                  <a:pos x="115" y="185"/>
                </a:cxn>
                <a:cxn ang="0">
                  <a:pos x="115" y="198"/>
                </a:cxn>
                <a:cxn ang="0">
                  <a:pos x="94" y="202"/>
                </a:cxn>
                <a:cxn ang="0">
                  <a:pos x="78" y="204"/>
                </a:cxn>
                <a:cxn ang="0">
                  <a:pos x="44" y="207"/>
                </a:cxn>
                <a:cxn ang="0">
                  <a:pos x="34" y="177"/>
                </a:cxn>
                <a:cxn ang="0">
                  <a:pos x="30" y="158"/>
                </a:cxn>
                <a:cxn ang="0">
                  <a:pos x="10" y="149"/>
                </a:cxn>
                <a:cxn ang="0">
                  <a:pos x="4" y="128"/>
                </a:cxn>
                <a:cxn ang="0">
                  <a:pos x="8" y="115"/>
                </a:cxn>
                <a:cxn ang="0">
                  <a:pos x="0" y="104"/>
                </a:cxn>
                <a:cxn ang="0">
                  <a:pos x="0" y="96"/>
                </a:cxn>
                <a:cxn ang="0">
                  <a:pos x="8" y="87"/>
                </a:cxn>
                <a:cxn ang="0">
                  <a:pos x="6" y="81"/>
                </a:cxn>
                <a:cxn ang="0">
                  <a:pos x="8" y="70"/>
                </a:cxn>
                <a:cxn ang="0">
                  <a:pos x="14" y="70"/>
                </a:cxn>
                <a:cxn ang="0">
                  <a:pos x="23" y="70"/>
                </a:cxn>
                <a:cxn ang="0">
                  <a:pos x="30" y="77"/>
                </a:cxn>
                <a:cxn ang="0">
                  <a:pos x="38" y="76"/>
                </a:cxn>
                <a:cxn ang="0">
                  <a:pos x="44" y="68"/>
                </a:cxn>
                <a:cxn ang="0">
                  <a:pos x="57" y="60"/>
                </a:cxn>
                <a:cxn ang="0">
                  <a:pos x="64" y="57"/>
                </a:cxn>
                <a:cxn ang="0">
                  <a:pos x="70" y="42"/>
                </a:cxn>
                <a:cxn ang="0">
                  <a:pos x="68" y="34"/>
                </a:cxn>
                <a:cxn ang="0">
                  <a:pos x="76" y="30"/>
                </a:cxn>
                <a:cxn ang="0">
                  <a:pos x="89" y="27"/>
                </a:cxn>
                <a:cxn ang="0">
                  <a:pos x="98" y="27"/>
                </a:cxn>
                <a:cxn ang="0">
                  <a:pos x="110" y="30"/>
                </a:cxn>
                <a:cxn ang="0">
                  <a:pos x="119" y="28"/>
                </a:cxn>
                <a:cxn ang="0">
                  <a:pos x="132" y="34"/>
                </a:cxn>
                <a:cxn ang="0">
                  <a:pos x="140" y="28"/>
                </a:cxn>
                <a:cxn ang="0">
                  <a:pos x="145" y="30"/>
                </a:cxn>
                <a:cxn ang="0">
                  <a:pos x="151" y="27"/>
                </a:cxn>
                <a:cxn ang="0">
                  <a:pos x="157" y="21"/>
                </a:cxn>
                <a:cxn ang="0">
                  <a:pos x="162" y="21"/>
                </a:cxn>
                <a:cxn ang="0">
                  <a:pos x="164" y="11"/>
                </a:cxn>
                <a:cxn ang="0">
                  <a:pos x="170" y="0"/>
                </a:cxn>
                <a:cxn ang="0">
                  <a:pos x="181" y="4"/>
                </a:cxn>
                <a:cxn ang="0">
                  <a:pos x="181" y="13"/>
                </a:cxn>
                <a:cxn ang="0">
                  <a:pos x="187" y="21"/>
                </a:cxn>
                <a:cxn ang="0">
                  <a:pos x="190" y="38"/>
                </a:cxn>
                <a:cxn ang="0">
                  <a:pos x="198" y="42"/>
                </a:cxn>
                <a:cxn ang="0">
                  <a:pos x="207" y="34"/>
                </a:cxn>
                <a:cxn ang="0">
                  <a:pos x="215" y="27"/>
                </a:cxn>
              </a:cxnLst>
              <a:rect l="0" t="0" r="r" b="b"/>
              <a:pathLst>
                <a:path w="247" h="207">
                  <a:moveTo>
                    <a:pt x="215" y="27"/>
                  </a:moveTo>
                  <a:lnTo>
                    <a:pt x="222" y="21"/>
                  </a:lnTo>
                  <a:lnTo>
                    <a:pt x="228" y="17"/>
                  </a:lnTo>
                  <a:lnTo>
                    <a:pt x="228" y="23"/>
                  </a:lnTo>
                  <a:lnTo>
                    <a:pt x="238" y="21"/>
                  </a:lnTo>
                  <a:lnTo>
                    <a:pt x="238" y="17"/>
                  </a:lnTo>
                  <a:lnTo>
                    <a:pt x="247" y="17"/>
                  </a:lnTo>
                  <a:lnTo>
                    <a:pt x="247" y="21"/>
                  </a:lnTo>
                  <a:lnTo>
                    <a:pt x="241" y="27"/>
                  </a:lnTo>
                  <a:lnTo>
                    <a:pt x="247" y="27"/>
                  </a:lnTo>
                  <a:lnTo>
                    <a:pt x="239" y="34"/>
                  </a:lnTo>
                  <a:lnTo>
                    <a:pt x="234" y="38"/>
                  </a:lnTo>
                  <a:lnTo>
                    <a:pt x="213" y="42"/>
                  </a:lnTo>
                  <a:lnTo>
                    <a:pt x="209" y="40"/>
                  </a:lnTo>
                  <a:lnTo>
                    <a:pt x="204" y="43"/>
                  </a:lnTo>
                  <a:lnTo>
                    <a:pt x="198" y="47"/>
                  </a:lnTo>
                  <a:lnTo>
                    <a:pt x="194" y="47"/>
                  </a:lnTo>
                  <a:lnTo>
                    <a:pt x="190" y="51"/>
                  </a:lnTo>
                  <a:lnTo>
                    <a:pt x="187" y="53"/>
                  </a:lnTo>
                  <a:lnTo>
                    <a:pt x="194" y="66"/>
                  </a:lnTo>
                  <a:lnTo>
                    <a:pt x="194" y="74"/>
                  </a:lnTo>
                  <a:lnTo>
                    <a:pt x="187" y="87"/>
                  </a:lnTo>
                  <a:lnTo>
                    <a:pt x="192" y="91"/>
                  </a:lnTo>
                  <a:lnTo>
                    <a:pt x="192" y="96"/>
                  </a:lnTo>
                  <a:lnTo>
                    <a:pt x="187" y="102"/>
                  </a:lnTo>
                  <a:lnTo>
                    <a:pt x="179" y="102"/>
                  </a:lnTo>
                  <a:lnTo>
                    <a:pt x="174" y="102"/>
                  </a:lnTo>
                  <a:lnTo>
                    <a:pt x="168" y="104"/>
                  </a:lnTo>
                  <a:lnTo>
                    <a:pt x="170" y="108"/>
                  </a:lnTo>
                  <a:lnTo>
                    <a:pt x="174" y="109"/>
                  </a:lnTo>
                  <a:lnTo>
                    <a:pt x="177" y="115"/>
                  </a:lnTo>
                  <a:lnTo>
                    <a:pt x="177" y="119"/>
                  </a:lnTo>
                  <a:lnTo>
                    <a:pt x="170" y="121"/>
                  </a:lnTo>
                  <a:lnTo>
                    <a:pt x="168" y="123"/>
                  </a:lnTo>
                  <a:lnTo>
                    <a:pt x="164" y="123"/>
                  </a:lnTo>
                  <a:lnTo>
                    <a:pt x="164" y="132"/>
                  </a:lnTo>
                  <a:lnTo>
                    <a:pt x="164" y="134"/>
                  </a:lnTo>
                  <a:lnTo>
                    <a:pt x="164" y="138"/>
                  </a:lnTo>
                  <a:lnTo>
                    <a:pt x="162" y="141"/>
                  </a:lnTo>
                  <a:lnTo>
                    <a:pt x="164" y="147"/>
                  </a:lnTo>
                  <a:lnTo>
                    <a:pt x="160" y="155"/>
                  </a:lnTo>
                  <a:lnTo>
                    <a:pt x="157" y="149"/>
                  </a:lnTo>
                  <a:lnTo>
                    <a:pt x="155" y="149"/>
                  </a:lnTo>
                  <a:lnTo>
                    <a:pt x="155" y="151"/>
                  </a:lnTo>
                  <a:lnTo>
                    <a:pt x="149" y="151"/>
                  </a:lnTo>
                  <a:lnTo>
                    <a:pt x="147" y="151"/>
                  </a:lnTo>
                  <a:lnTo>
                    <a:pt x="143" y="151"/>
                  </a:lnTo>
                  <a:lnTo>
                    <a:pt x="143" y="153"/>
                  </a:lnTo>
                  <a:lnTo>
                    <a:pt x="134" y="158"/>
                  </a:lnTo>
                  <a:lnTo>
                    <a:pt x="138" y="158"/>
                  </a:lnTo>
                  <a:lnTo>
                    <a:pt x="134" y="162"/>
                  </a:lnTo>
                  <a:lnTo>
                    <a:pt x="128" y="166"/>
                  </a:lnTo>
                  <a:lnTo>
                    <a:pt x="126" y="164"/>
                  </a:lnTo>
                  <a:lnTo>
                    <a:pt x="123" y="166"/>
                  </a:lnTo>
                  <a:lnTo>
                    <a:pt x="121" y="168"/>
                  </a:lnTo>
                  <a:lnTo>
                    <a:pt x="119" y="172"/>
                  </a:lnTo>
                  <a:lnTo>
                    <a:pt x="115" y="172"/>
                  </a:lnTo>
                  <a:lnTo>
                    <a:pt x="113" y="173"/>
                  </a:lnTo>
                  <a:lnTo>
                    <a:pt x="113" y="179"/>
                  </a:lnTo>
                  <a:lnTo>
                    <a:pt x="115" y="185"/>
                  </a:lnTo>
                  <a:lnTo>
                    <a:pt x="115" y="190"/>
                  </a:lnTo>
                  <a:lnTo>
                    <a:pt x="117" y="194"/>
                  </a:lnTo>
                  <a:lnTo>
                    <a:pt x="115" y="198"/>
                  </a:lnTo>
                  <a:lnTo>
                    <a:pt x="108" y="198"/>
                  </a:lnTo>
                  <a:lnTo>
                    <a:pt x="100" y="198"/>
                  </a:lnTo>
                  <a:lnTo>
                    <a:pt x="94" y="202"/>
                  </a:lnTo>
                  <a:lnTo>
                    <a:pt x="87" y="202"/>
                  </a:lnTo>
                  <a:lnTo>
                    <a:pt x="79" y="204"/>
                  </a:lnTo>
                  <a:lnTo>
                    <a:pt x="78" y="204"/>
                  </a:lnTo>
                  <a:lnTo>
                    <a:pt x="70" y="204"/>
                  </a:lnTo>
                  <a:lnTo>
                    <a:pt x="64" y="207"/>
                  </a:lnTo>
                  <a:lnTo>
                    <a:pt x="44" y="207"/>
                  </a:lnTo>
                  <a:lnTo>
                    <a:pt x="17" y="198"/>
                  </a:lnTo>
                  <a:lnTo>
                    <a:pt x="32" y="179"/>
                  </a:lnTo>
                  <a:lnTo>
                    <a:pt x="34" y="177"/>
                  </a:lnTo>
                  <a:lnTo>
                    <a:pt x="32" y="172"/>
                  </a:lnTo>
                  <a:lnTo>
                    <a:pt x="32" y="166"/>
                  </a:lnTo>
                  <a:lnTo>
                    <a:pt x="30" y="158"/>
                  </a:lnTo>
                  <a:lnTo>
                    <a:pt x="14" y="158"/>
                  </a:lnTo>
                  <a:lnTo>
                    <a:pt x="14" y="153"/>
                  </a:lnTo>
                  <a:lnTo>
                    <a:pt x="10" y="149"/>
                  </a:lnTo>
                  <a:lnTo>
                    <a:pt x="14" y="145"/>
                  </a:lnTo>
                  <a:lnTo>
                    <a:pt x="8" y="136"/>
                  </a:lnTo>
                  <a:lnTo>
                    <a:pt x="4" y="128"/>
                  </a:lnTo>
                  <a:lnTo>
                    <a:pt x="4" y="123"/>
                  </a:lnTo>
                  <a:lnTo>
                    <a:pt x="10" y="115"/>
                  </a:lnTo>
                  <a:lnTo>
                    <a:pt x="8" y="115"/>
                  </a:lnTo>
                  <a:lnTo>
                    <a:pt x="4" y="113"/>
                  </a:lnTo>
                  <a:lnTo>
                    <a:pt x="4" y="109"/>
                  </a:lnTo>
                  <a:lnTo>
                    <a:pt x="0" y="104"/>
                  </a:lnTo>
                  <a:lnTo>
                    <a:pt x="0" y="102"/>
                  </a:lnTo>
                  <a:lnTo>
                    <a:pt x="4" y="96"/>
                  </a:lnTo>
                  <a:lnTo>
                    <a:pt x="0" y="96"/>
                  </a:lnTo>
                  <a:lnTo>
                    <a:pt x="0" y="92"/>
                  </a:lnTo>
                  <a:lnTo>
                    <a:pt x="4" y="92"/>
                  </a:lnTo>
                  <a:lnTo>
                    <a:pt x="8" y="87"/>
                  </a:lnTo>
                  <a:lnTo>
                    <a:pt x="8" y="87"/>
                  </a:lnTo>
                  <a:lnTo>
                    <a:pt x="8" y="83"/>
                  </a:lnTo>
                  <a:lnTo>
                    <a:pt x="6" y="81"/>
                  </a:lnTo>
                  <a:lnTo>
                    <a:pt x="8" y="79"/>
                  </a:lnTo>
                  <a:lnTo>
                    <a:pt x="6" y="76"/>
                  </a:lnTo>
                  <a:lnTo>
                    <a:pt x="8" y="70"/>
                  </a:lnTo>
                  <a:lnTo>
                    <a:pt x="6" y="70"/>
                  </a:lnTo>
                  <a:lnTo>
                    <a:pt x="8" y="70"/>
                  </a:lnTo>
                  <a:lnTo>
                    <a:pt x="14" y="70"/>
                  </a:lnTo>
                  <a:lnTo>
                    <a:pt x="15" y="74"/>
                  </a:lnTo>
                  <a:lnTo>
                    <a:pt x="19" y="74"/>
                  </a:lnTo>
                  <a:lnTo>
                    <a:pt x="23" y="70"/>
                  </a:lnTo>
                  <a:lnTo>
                    <a:pt x="25" y="70"/>
                  </a:lnTo>
                  <a:lnTo>
                    <a:pt x="30" y="74"/>
                  </a:lnTo>
                  <a:lnTo>
                    <a:pt x="30" y="77"/>
                  </a:lnTo>
                  <a:lnTo>
                    <a:pt x="32" y="79"/>
                  </a:lnTo>
                  <a:lnTo>
                    <a:pt x="34" y="76"/>
                  </a:lnTo>
                  <a:lnTo>
                    <a:pt x="38" y="76"/>
                  </a:lnTo>
                  <a:lnTo>
                    <a:pt x="44" y="72"/>
                  </a:lnTo>
                  <a:lnTo>
                    <a:pt x="44" y="70"/>
                  </a:lnTo>
                  <a:lnTo>
                    <a:pt x="44" y="68"/>
                  </a:lnTo>
                  <a:lnTo>
                    <a:pt x="44" y="64"/>
                  </a:lnTo>
                  <a:lnTo>
                    <a:pt x="49" y="60"/>
                  </a:lnTo>
                  <a:lnTo>
                    <a:pt x="57" y="60"/>
                  </a:lnTo>
                  <a:lnTo>
                    <a:pt x="59" y="59"/>
                  </a:lnTo>
                  <a:lnTo>
                    <a:pt x="61" y="57"/>
                  </a:lnTo>
                  <a:lnTo>
                    <a:pt x="64" y="57"/>
                  </a:lnTo>
                  <a:lnTo>
                    <a:pt x="64" y="51"/>
                  </a:lnTo>
                  <a:lnTo>
                    <a:pt x="64" y="47"/>
                  </a:lnTo>
                  <a:lnTo>
                    <a:pt x="70" y="42"/>
                  </a:lnTo>
                  <a:lnTo>
                    <a:pt x="70" y="38"/>
                  </a:lnTo>
                  <a:lnTo>
                    <a:pt x="68" y="36"/>
                  </a:lnTo>
                  <a:lnTo>
                    <a:pt x="68" y="34"/>
                  </a:lnTo>
                  <a:lnTo>
                    <a:pt x="70" y="32"/>
                  </a:lnTo>
                  <a:lnTo>
                    <a:pt x="70" y="30"/>
                  </a:lnTo>
                  <a:lnTo>
                    <a:pt x="76" y="30"/>
                  </a:lnTo>
                  <a:lnTo>
                    <a:pt x="78" y="30"/>
                  </a:lnTo>
                  <a:lnTo>
                    <a:pt x="83" y="27"/>
                  </a:lnTo>
                  <a:lnTo>
                    <a:pt x="89" y="27"/>
                  </a:lnTo>
                  <a:lnTo>
                    <a:pt x="93" y="27"/>
                  </a:lnTo>
                  <a:lnTo>
                    <a:pt x="94" y="27"/>
                  </a:lnTo>
                  <a:lnTo>
                    <a:pt x="98" y="27"/>
                  </a:lnTo>
                  <a:lnTo>
                    <a:pt x="104" y="27"/>
                  </a:lnTo>
                  <a:lnTo>
                    <a:pt x="108" y="27"/>
                  </a:lnTo>
                  <a:lnTo>
                    <a:pt x="110" y="30"/>
                  </a:lnTo>
                  <a:lnTo>
                    <a:pt x="111" y="30"/>
                  </a:lnTo>
                  <a:lnTo>
                    <a:pt x="115" y="28"/>
                  </a:lnTo>
                  <a:lnTo>
                    <a:pt x="119" y="28"/>
                  </a:lnTo>
                  <a:lnTo>
                    <a:pt x="123" y="34"/>
                  </a:lnTo>
                  <a:lnTo>
                    <a:pt x="126" y="34"/>
                  </a:lnTo>
                  <a:lnTo>
                    <a:pt x="132" y="34"/>
                  </a:lnTo>
                  <a:lnTo>
                    <a:pt x="134" y="30"/>
                  </a:lnTo>
                  <a:lnTo>
                    <a:pt x="138" y="28"/>
                  </a:lnTo>
                  <a:lnTo>
                    <a:pt x="140" y="28"/>
                  </a:lnTo>
                  <a:lnTo>
                    <a:pt x="143" y="27"/>
                  </a:lnTo>
                  <a:lnTo>
                    <a:pt x="143" y="27"/>
                  </a:lnTo>
                  <a:lnTo>
                    <a:pt x="145" y="30"/>
                  </a:lnTo>
                  <a:lnTo>
                    <a:pt x="153" y="30"/>
                  </a:lnTo>
                  <a:lnTo>
                    <a:pt x="153" y="27"/>
                  </a:lnTo>
                  <a:lnTo>
                    <a:pt x="151" y="27"/>
                  </a:lnTo>
                  <a:lnTo>
                    <a:pt x="151" y="23"/>
                  </a:lnTo>
                  <a:lnTo>
                    <a:pt x="155" y="21"/>
                  </a:lnTo>
                  <a:lnTo>
                    <a:pt x="157" y="21"/>
                  </a:lnTo>
                  <a:lnTo>
                    <a:pt x="158" y="21"/>
                  </a:lnTo>
                  <a:lnTo>
                    <a:pt x="158" y="21"/>
                  </a:lnTo>
                  <a:lnTo>
                    <a:pt x="162" y="21"/>
                  </a:lnTo>
                  <a:lnTo>
                    <a:pt x="164" y="17"/>
                  </a:lnTo>
                  <a:lnTo>
                    <a:pt x="164" y="11"/>
                  </a:lnTo>
                  <a:lnTo>
                    <a:pt x="164" y="11"/>
                  </a:lnTo>
                  <a:lnTo>
                    <a:pt x="168" y="8"/>
                  </a:lnTo>
                  <a:lnTo>
                    <a:pt x="168" y="2"/>
                  </a:lnTo>
                  <a:lnTo>
                    <a:pt x="170" y="0"/>
                  </a:lnTo>
                  <a:lnTo>
                    <a:pt x="174" y="0"/>
                  </a:lnTo>
                  <a:lnTo>
                    <a:pt x="177" y="2"/>
                  </a:lnTo>
                  <a:lnTo>
                    <a:pt x="181" y="4"/>
                  </a:lnTo>
                  <a:lnTo>
                    <a:pt x="181" y="6"/>
                  </a:lnTo>
                  <a:lnTo>
                    <a:pt x="181" y="11"/>
                  </a:lnTo>
                  <a:lnTo>
                    <a:pt x="181" y="13"/>
                  </a:lnTo>
                  <a:lnTo>
                    <a:pt x="185" y="13"/>
                  </a:lnTo>
                  <a:lnTo>
                    <a:pt x="187" y="17"/>
                  </a:lnTo>
                  <a:lnTo>
                    <a:pt x="187" y="21"/>
                  </a:lnTo>
                  <a:lnTo>
                    <a:pt x="187" y="27"/>
                  </a:lnTo>
                  <a:lnTo>
                    <a:pt x="187" y="34"/>
                  </a:lnTo>
                  <a:lnTo>
                    <a:pt x="190" y="38"/>
                  </a:lnTo>
                  <a:lnTo>
                    <a:pt x="190" y="40"/>
                  </a:lnTo>
                  <a:lnTo>
                    <a:pt x="194" y="42"/>
                  </a:lnTo>
                  <a:lnTo>
                    <a:pt x="198" y="42"/>
                  </a:lnTo>
                  <a:lnTo>
                    <a:pt x="202" y="38"/>
                  </a:lnTo>
                  <a:lnTo>
                    <a:pt x="202" y="36"/>
                  </a:lnTo>
                  <a:lnTo>
                    <a:pt x="207" y="34"/>
                  </a:lnTo>
                  <a:lnTo>
                    <a:pt x="211" y="30"/>
                  </a:lnTo>
                  <a:lnTo>
                    <a:pt x="211" y="27"/>
                  </a:lnTo>
                  <a:lnTo>
                    <a:pt x="215" y="27"/>
                  </a:lnTo>
                  <a:lnTo>
                    <a:pt x="215" y="27"/>
                  </a:lnTo>
                  <a:lnTo>
                    <a:pt x="215" y="2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2" name="Freeform 55">
              <a:extLst>
                <a:ext uri="{FF2B5EF4-FFF2-40B4-BE49-F238E27FC236}">
                  <a16:creationId xmlns:a16="http://schemas.microsoft.com/office/drawing/2014/main" id="{9BFD3125-4987-4F1F-A61A-59DD2F7D88A9}"/>
                </a:ext>
              </a:extLst>
            </p:cNvPr>
            <p:cNvSpPr>
              <a:spLocks noEditPoints="1"/>
            </p:cNvSpPr>
            <p:nvPr/>
          </p:nvSpPr>
          <p:spPr bwMode="auto">
            <a:xfrm>
              <a:off x="3560" y="2261"/>
              <a:ext cx="100" cy="85"/>
            </a:xfrm>
            <a:custGeom>
              <a:avLst/>
              <a:gdLst/>
              <a:ahLst/>
              <a:cxnLst>
                <a:cxn ang="0">
                  <a:pos x="2" y="15"/>
                </a:cxn>
                <a:cxn ang="0">
                  <a:pos x="19" y="19"/>
                </a:cxn>
                <a:cxn ang="0">
                  <a:pos x="30" y="23"/>
                </a:cxn>
                <a:cxn ang="0">
                  <a:pos x="30" y="11"/>
                </a:cxn>
                <a:cxn ang="0">
                  <a:pos x="27" y="0"/>
                </a:cxn>
                <a:cxn ang="0">
                  <a:pos x="40" y="10"/>
                </a:cxn>
                <a:cxn ang="0">
                  <a:pos x="51" y="13"/>
                </a:cxn>
                <a:cxn ang="0">
                  <a:pos x="59" y="10"/>
                </a:cxn>
                <a:cxn ang="0">
                  <a:pos x="68" y="4"/>
                </a:cxn>
                <a:cxn ang="0">
                  <a:pos x="74" y="13"/>
                </a:cxn>
                <a:cxn ang="0">
                  <a:pos x="83" y="25"/>
                </a:cxn>
                <a:cxn ang="0">
                  <a:pos x="87" y="30"/>
                </a:cxn>
                <a:cxn ang="0">
                  <a:pos x="96" y="32"/>
                </a:cxn>
                <a:cxn ang="0">
                  <a:pos x="96" y="36"/>
                </a:cxn>
                <a:cxn ang="0">
                  <a:pos x="89" y="36"/>
                </a:cxn>
                <a:cxn ang="0">
                  <a:pos x="83" y="49"/>
                </a:cxn>
                <a:cxn ang="0">
                  <a:pos x="83" y="55"/>
                </a:cxn>
                <a:cxn ang="0">
                  <a:pos x="83" y="59"/>
                </a:cxn>
                <a:cxn ang="0">
                  <a:pos x="83" y="64"/>
                </a:cxn>
                <a:cxn ang="0">
                  <a:pos x="81" y="74"/>
                </a:cxn>
                <a:cxn ang="0">
                  <a:pos x="81" y="66"/>
                </a:cxn>
                <a:cxn ang="0">
                  <a:pos x="77" y="66"/>
                </a:cxn>
                <a:cxn ang="0">
                  <a:pos x="77" y="74"/>
                </a:cxn>
                <a:cxn ang="0">
                  <a:pos x="77" y="75"/>
                </a:cxn>
                <a:cxn ang="0">
                  <a:pos x="75" y="85"/>
                </a:cxn>
                <a:cxn ang="0">
                  <a:pos x="72" y="81"/>
                </a:cxn>
                <a:cxn ang="0">
                  <a:pos x="64" y="75"/>
                </a:cxn>
                <a:cxn ang="0">
                  <a:pos x="64" y="68"/>
                </a:cxn>
                <a:cxn ang="0">
                  <a:pos x="68" y="64"/>
                </a:cxn>
                <a:cxn ang="0">
                  <a:pos x="62" y="59"/>
                </a:cxn>
                <a:cxn ang="0">
                  <a:pos x="60" y="57"/>
                </a:cxn>
                <a:cxn ang="0">
                  <a:pos x="55" y="59"/>
                </a:cxn>
                <a:cxn ang="0">
                  <a:pos x="49" y="64"/>
                </a:cxn>
                <a:cxn ang="0">
                  <a:pos x="45" y="70"/>
                </a:cxn>
                <a:cxn ang="0">
                  <a:pos x="40" y="72"/>
                </a:cxn>
                <a:cxn ang="0">
                  <a:pos x="38" y="75"/>
                </a:cxn>
                <a:cxn ang="0">
                  <a:pos x="36" y="74"/>
                </a:cxn>
                <a:cxn ang="0">
                  <a:pos x="38" y="68"/>
                </a:cxn>
                <a:cxn ang="0">
                  <a:pos x="40" y="62"/>
                </a:cxn>
                <a:cxn ang="0">
                  <a:pos x="28" y="57"/>
                </a:cxn>
                <a:cxn ang="0">
                  <a:pos x="19" y="45"/>
                </a:cxn>
                <a:cxn ang="0">
                  <a:pos x="21" y="42"/>
                </a:cxn>
                <a:cxn ang="0">
                  <a:pos x="13" y="30"/>
                </a:cxn>
                <a:cxn ang="0">
                  <a:pos x="11" y="23"/>
                </a:cxn>
                <a:cxn ang="0">
                  <a:pos x="2" y="19"/>
                </a:cxn>
                <a:cxn ang="0">
                  <a:pos x="2" y="19"/>
                </a:cxn>
                <a:cxn ang="0">
                  <a:pos x="30" y="75"/>
                </a:cxn>
                <a:cxn ang="0">
                  <a:pos x="19" y="60"/>
                </a:cxn>
                <a:cxn ang="0">
                  <a:pos x="13" y="55"/>
                </a:cxn>
                <a:cxn ang="0">
                  <a:pos x="6" y="51"/>
                </a:cxn>
                <a:cxn ang="0">
                  <a:pos x="0" y="55"/>
                </a:cxn>
                <a:cxn ang="0">
                  <a:pos x="2" y="55"/>
                </a:cxn>
                <a:cxn ang="0">
                  <a:pos x="6" y="57"/>
                </a:cxn>
                <a:cxn ang="0">
                  <a:pos x="6" y="64"/>
                </a:cxn>
                <a:cxn ang="0">
                  <a:pos x="15" y="72"/>
                </a:cxn>
                <a:cxn ang="0">
                  <a:pos x="25" y="75"/>
                </a:cxn>
                <a:cxn ang="0">
                  <a:pos x="30" y="75"/>
                </a:cxn>
                <a:cxn ang="0">
                  <a:pos x="30" y="75"/>
                </a:cxn>
              </a:cxnLst>
              <a:rect l="0" t="0" r="r" b="b"/>
              <a:pathLst>
                <a:path w="100" h="85">
                  <a:moveTo>
                    <a:pt x="2" y="19"/>
                  </a:moveTo>
                  <a:lnTo>
                    <a:pt x="2" y="15"/>
                  </a:lnTo>
                  <a:lnTo>
                    <a:pt x="10" y="11"/>
                  </a:lnTo>
                  <a:lnTo>
                    <a:pt x="19" y="19"/>
                  </a:lnTo>
                  <a:lnTo>
                    <a:pt x="25" y="19"/>
                  </a:lnTo>
                  <a:lnTo>
                    <a:pt x="30" y="23"/>
                  </a:lnTo>
                  <a:lnTo>
                    <a:pt x="32" y="15"/>
                  </a:lnTo>
                  <a:lnTo>
                    <a:pt x="30" y="11"/>
                  </a:lnTo>
                  <a:lnTo>
                    <a:pt x="25" y="10"/>
                  </a:lnTo>
                  <a:lnTo>
                    <a:pt x="27" y="0"/>
                  </a:lnTo>
                  <a:lnTo>
                    <a:pt x="32" y="4"/>
                  </a:lnTo>
                  <a:lnTo>
                    <a:pt x="40" y="10"/>
                  </a:lnTo>
                  <a:lnTo>
                    <a:pt x="43" y="13"/>
                  </a:lnTo>
                  <a:lnTo>
                    <a:pt x="51" y="13"/>
                  </a:lnTo>
                  <a:lnTo>
                    <a:pt x="53" y="11"/>
                  </a:lnTo>
                  <a:lnTo>
                    <a:pt x="59" y="10"/>
                  </a:lnTo>
                  <a:lnTo>
                    <a:pt x="64" y="0"/>
                  </a:lnTo>
                  <a:lnTo>
                    <a:pt x="68" y="4"/>
                  </a:lnTo>
                  <a:lnTo>
                    <a:pt x="74" y="10"/>
                  </a:lnTo>
                  <a:lnTo>
                    <a:pt x="74" y="13"/>
                  </a:lnTo>
                  <a:lnTo>
                    <a:pt x="77" y="19"/>
                  </a:lnTo>
                  <a:lnTo>
                    <a:pt x="83" y="25"/>
                  </a:lnTo>
                  <a:lnTo>
                    <a:pt x="83" y="28"/>
                  </a:lnTo>
                  <a:lnTo>
                    <a:pt x="87" y="30"/>
                  </a:lnTo>
                  <a:lnTo>
                    <a:pt x="91" y="30"/>
                  </a:lnTo>
                  <a:lnTo>
                    <a:pt x="96" y="32"/>
                  </a:lnTo>
                  <a:lnTo>
                    <a:pt x="100" y="36"/>
                  </a:lnTo>
                  <a:lnTo>
                    <a:pt x="96" y="36"/>
                  </a:lnTo>
                  <a:lnTo>
                    <a:pt x="94" y="36"/>
                  </a:lnTo>
                  <a:lnTo>
                    <a:pt x="89" y="36"/>
                  </a:lnTo>
                  <a:lnTo>
                    <a:pt x="83" y="43"/>
                  </a:lnTo>
                  <a:lnTo>
                    <a:pt x="83" y="49"/>
                  </a:lnTo>
                  <a:lnTo>
                    <a:pt x="83" y="51"/>
                  </a:lnTo>
                  <a:lnTo>
                    <a:pt x="83" y="55"/>
                  </a:lnTo>
                  <a:lnTo>
                    <a:pt x="83" y="57"/>
                  </a:lnTo>
                  <a:lnTo>
                    <a:pt x="83" y="59"/>
                  </a:lnTo>
                  <a:lnTo>
                    <a:pt x="83" y="62"/>
                  </a:lnTo>
                  <a:lnTo>
                    <a:pt x="83" y="64"/>
                  </a:lnTo>
                  <a:lnTo>
                    <a:pt x="83" y="70"/>
                  </a:lnTo>
                  <a:lnTo>
                    <a:pt x="81" y="74"/>
                  </a:lnTo>
                  <a:lnTo>
                    <a:pt x="81" y="72"/>
                  </a:lnTo>
                  <a:lnTo>
                    <a:pt x="81" y="66"/>
                  </a:lnTo>
                  <a:lnTo>
                    <a:pt x="79" y="64"/>
                  </a:lnTo>
                  <a:lnTo>
                    <a:pt x="77" y="66"/>
                  </a:lnTo>
                  <a:lnTo>
                    <a:pt x="75" y="68"/>
                  </a:lnTo>
                  <a:lnTo>
                    <a:pt x="77" y="74"/>
                  </a:lnTo>
                  <a:lnTo>
                    <a:pt x="77" y="75"/>
                  </a:lnTo>
                  <a:lnTo>
                    <a:pt x="77" y="75"/>
                  </a:lnTo>
                  <a:lnTo>
                    <a:pt x="77" y="85"/>
                  </a:lnTo>
                  <a:lnTo>
                    <a:pt x="75" y="85"/>
                  </a:lnTo>
                  <a:lnTo>
                    <a:pt x="74" y="85"/>
                  </a:lnTo>
                  <a:lnTo>
                    <a:pt x="72" y="81"/>
                  </a:lnTo>
                  <a:lnTo>
                    <a:pt x="68" y="81"/>
                  </a:lnTo>
                  <a:lnTo>
                    <a:pt x="64" y="75"/>
                  </a:lnTo>
                  <a:lnTo>
                    <a:pt x="68" y="70"/>
                  </a:lnTo>
                  <a:lnTo>
                    <a:pt x="64" y="68"/>
                  </a:lnTo>
                  <a:lnTo>
                    <a:pt x="64" y="66"/>
                  </a:lnTo>
                  <a:lnTo>
                    <a:pt x="68" y="64"/>
                  </a:lnTo>
                  <a:lnTo>
                    <a:pt x="64" y="60"/>
                  </a:lnTo>
                  <a:lnTo>
                    <a:pt x="62" y="59"/>
                  </a:lnTo>
                  <a:lnTo>
                    <a:pt x="60" y="59"/>
                  </a:lnTo>
                  <a:lnTo>
                    <a:pt x="60" y="57"/>
                  </a:lnTo>
                  <a:lnTo>
                    <a:pt x="59" y="57"/>
                  </a:lnTo>
                  <a:lnTo>
                    <a:pt x="55" y="59"/>
                  </a:lnTo>
                  <a:lnTo>
                    <a:pt x="51" y="60"/>
                  </a:lnTo>
                  <a:lnTo>
                    <a:pt x="49" y="64"/>
                  </a:lnTo>
                  <a:lnTo>
                    <a:pt x="49" y="64"/>
                  </a:lnTo>
                  <a:lnTo>
                    <a:pt x="45" y="70"/>
                  </a:lnTo>
                  <a:lnTo>
                    <a:pt x="43" y="70"/>
                  </a:lnTo>
                  <a:lnTo>
                    <a:pt x="40" y="72"/>
                  </a:lnTo>
                  <a:lnTo>
                    <a:pt x="40" y="74"/>
                  </a:lnTo>
                  <a:lnTo>
                    <a:pt x="38" y="75"/>
                  </a:lnTo>
                  <a:lnTo>
                    <a:pt x="36" y="74"/>
                  </a:lnTo>
                  <a:lnTo>
                    <a:pt x="36" y="74"/>
                  </a:lnTo>
                  <a:lnTo>
                    <a:pt x="36" y="70"/>
                  </a:lnTo>
                  <a:lnTo>
                    <a:pt x="38" y="68"/>
                  </a:lnTo>
                  <a:lnTo>
                    <a:pt x="34" y="62"/>
                  </a:lnTo>
                  <a:lnTo>
                    <a:pt x="40" y="62"/>
                  </a:lnTo>
                  <a:lnTo>
                    <a:pt x="34" y="57"/>
                  </a:lnTo>
                  <a:lnTo>
                    <a:pt x="28" y="57"/>
                  </a:lnTo>
                  <a:lnTo>
                    <a:pt x="21" y="55"/>
                  </a:lnTo>
                  <a:lnTo>
                    <a:pt x="19" y="45"/>
                  </a:lnTo>
                  <a:lnTo>
                    <a:pt x="21" y="45"/>
                  </a:lnTo>
                  <a:lnTo>
                    <a:pt x="21" y="42"/>
                  </a:lnTo>
                  <a:lnTo>
                    <a:pt x="13" y="34"/>
                  </a:lnTo>
                  <a:lnTo>
                    <a:pt x="13" y="30"/>
                  </a:lnTo>
                  <a:lnTo>
                    <a:pt x="15" y="26"/>
                  </a:lnTo>
                  <a:lnTo>
                    <a:pt x="11" y="23"/>
                  </a:lnTo>
                  <a:lnTo>
                    <a:pt x="6" y="21"/>
                  </a:lnTo>
                  <a:lnTo>
                    <a:pt x="2" y="19"/>
                  </a:lnTo>
                  <a:lnTo>
                    <a:pt x="2" y="19"/>
                  </a:lnTo>
                  <a:lnTo>
                    <a:pt x="2" y="19"/>
                  </a:lnTo>
                  <a:lnTo>
                    <a:pt x="2" y="19"/>
                  </a:lnTo>
                  <a:close/>
                  <a:moveTo>
                    <a:pt x="30" y="75"/>
                  </a:moveTo>
                  <a:lnTo>
                    <a:pt x="25" y="60"/>
                  </a:lnTo>
                  <a:lnTo>
                    <a:pt x="19" y="60"/>
                  </a:lnTo>
                  <a:lnTo>
                    <a:pt x="15" y="55"/>
                  </a:lnTo>
                  <a:lnTo>
                    <a:pt x="13" y="55"/>
                  </a:lnTo>
                  <a:lnTo>
                    <a:pt x="10" y="55"/>
                  </a:lnTo>
                  <a:lnTo>
                    <a:pt x="6" y="51"/>
                  </a:lnTo>
                  <a:lnTo>
                    <a:pt x="2" y="55"/>
                  </a:lnTo>
                  <a:lnTo>
                    <a:pt x="0" y="55"/>
                  </a:lnTo>
                  <a:lnTo>
                    <a:pt x="2" y="55"/>
                  </a:lnTo>
                  <a:lnTo>
                    <a:pt x="2" y="55"/>
                  </a:lnTo>
                  <a:lnTo>
                    <a:pt x="6" y="57"/>
                  </a:lnTo>
                  <a:lnTo>
                    <a:pt x="6" y="57"/>
                  </a:lnTo>
                  <a:lnTo>
                    <a:pt x="10" y="60"/>
                  </a:lnTo>
                  <a:lnTo>
                    <a:pt x="6" y="64"/>
                  </a:lnTo>
                  <a:lnTo>
                    <a:pt x="15" y="68"/>
                  </a:lnTo>
                  <a:lnTo>
                    <a:pt x="15" y="72"/>
                  </a:lnTo>
                  <a:lnTo>
                    <a:pt x="21" y="74"/>
                  </a:lnTo>
                  <a:lnTo>
                    <a:pt x="25" y="75"/>
                  </a:lnTo>
                  <a:lnTo>
                    <a:pt x="30" y="75"/>
                  </a:lnTo>
                  <a:lnTo>
                    <a:pt x="30" y="75"/>
                  </a:lnTo>
                  <a:lnTo>
                    <a:pt x="30" y="75"/>
                  </a:lnTo>
                  <a:lnTo>
                    <a:pt x="30"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3" name="Freeform 56">
              <a:extLst>
                <a:ext uri="{FF2B5EF4-FFF2-40B4-BE49-F238E27FC236}">
                  <a16:creationId xmlns:a16="http://schemas.microsoft.com/office/drawing/2014/main" id="{1350F790-A2CC-4D8E-8B1A-9C718119A868}"/>
                </a:ext>
              </a:extLst>
            </p:cNvPr>
            <p:cNvSpPr>
              <a:spLocks noEditPoints="1"/>
            </p:cNvSpPr>
            <p:nvPr/>
          </p:nvSpPr>
          <p:spPr bwMode="auto">
            <a:xfrm>
              <a:off x="3560" y="2261"/>
              <a:ext cx="100" cy="85"/>
            </a:xfrm>
            <a:custGeom>
              <a:avLst/>
              <a:gdLst/>
              <a:ahLst/>
              <a:cxnLst>
                <a:cxn ang="0">
                  <a:pos x="2" y="15"/>
                </a:cxn>
                <a:cxn ang="0">
                  <a:pos x="19" y="19"/>
                </a:cxn>
                <a:cxn ang="0">
                  <a:pos x="30" y="23"/>
                </a:cxn>
                <a:cxn ang="0">
                  <a:pos x="30" y="11"/>
                </a:cxn>
                <a:cxn ang="0">
                  <a:pos x="27" y="0"/>
                </a:cxn>
                <a:cxn ang="0">
                  <a:pos x="40" y="10"/>
                </a:cxn>
                <a:cxn ang="0">
                  <a:pos x="51" y="13"/>
                </a:cxn>
                <a:cxn ang="0">
                  <a:pos x="59" y="10"/>
                </a:cxn>
                <a:cxn ang="0">
                  <a:pos x="68" y="4"/>
                </a:cxn>
                <a:cxn ang="0">
                  <a:pos x="74" y="13"/>
                </a:cxn>
                <a:cxn ang="0">
                  <a:pos x="83" y="25"/>
                </a:cxn>
                <a:cxn ang="0">
                  <a:pos x="87" y="30"/>
                </a:cxn>
                <a:cxn ang="0">
                  <a:pos x="96" y="32"/>
                </a:cxn>
                <a:cxn ang="0">
                  <a:pos x="96" y="36"/>
                </a:cxn>
                <a:cxn ang="0">
                  <a:pos x="89" y="36"/>
                </a:cxn>
                <a:cxn ang="0">
                  <a:pos x="83" y="49"/>
                </a:cxn>
                <a:cxn ang="0">
                  <a:pos x="83" y="55"/>
                </a:cxn>
                <a:cxn ang="0">
                  <a:pos x="83" y="59"/>
                </a:cxn>
                <a:cxn ang="0">
                  <a:pos x="83" y="64"/>
                </a:cxn>
                <a:cxn ang="0">
                  <a:pos x="81" y="74"/>
                </a:cxn>
                <a:cxn ang="0">
                  <a:pos x="81" y="66"/>
                </a:cxn>
                <a:cxn ang="0">
                  <a:pos x="77" y="66"/>
                </a:cxn>
                <a:cxn ang="0">
                  <a:pos x="77" y="74"/>
                </a:cxn>
                <a:cxn ang="0">
                  <a:pos x="77" y="75"/>
                </a:cxn>
                <a:cxn ang="0">
                  <a:pos x="75" y="85"/>
                </a:cxn>
                <a:cxn ang="0">
                  <a:pos x="72" y="81"/>
                </a:cxn>
                <a:cxn ang="0">
                  <a:pos x="64" y="75"/>
                </a:cxn>
                <a:cxn ang="0">
                  <a:pos x="64" y="68"/>
                </a:cxn>
                <a:cxn ang="0">
                  <a:pos x="68" y="64"/>
                </a:cxn>
                <a:cxn ang="0">
                  <a:pos x="62" y="59"/>
                </a:cxn>
                <a:cxn ang="0">
                  <a:pos x="60" y="57"/>
                </a:cxn>
                <a:cxn ang="0">
                  <a:pos x="55" y="59"/>
                </a:cxn>
                <a:cxn ang="0">
                  <a:pos x="49" y="64"/>
                </a:cxn>
                <a:cxn ang="0">
                  <a:pos x="45" y="70"/>
                </a:cxn>
                <a:cxn ang="0">
                  <a:pos x="40" y="72"/>
                </a:cxn>
                <a:cxn ang="0">
                  <a:pos x="38" y="75"/>
                </a:cxn>
                <a:cxn ang="0">
                  <a:pos x="36" y="74"/>
                </a:cxn>
                <a:cxn ang="0">
                  <a:pos x="38" y="68"/>
                </a:cxn>
                <a:cxn ang="0">
                  <a:pos x="40" y="62"/>
                </a:cxn>
                <a:cxn ang="0">
                  <a:pos x="28" y="57"/>
                </a:cxn>
                <a:cxn ang="0">
                  <a:pos x="19" y="45"/>
                </a:cxn>
                <a:cxn ang="0">
                  <a:pos x="21" y="42"/>
                </a:cxn>
                <a:cxn ang="0">
                  <a:pos x="13" y="30"/>
                </a:cxn>
                <a:cxn ang="0">
                  <a:pos x="11" y="23"/>
                </a:cxn>
                <a:cxn ang="0">
                  <a:pos x="2" y="19"/>
                </a:cxn>
                <a:cxn ang="0">
                  <a:pos x="2" y="19"/>
                </a:cxn>
                <a:cxn ang="0">
                  <a:pos x="30" y="75"/>
                </a:cxn>
                <a:cxn ang="0">
                  <a:pos x="19" y="60"/>
                </a:cxn>
                <a:cxn ang="0">
                  <a:pos x="13" y="55"/>
                </a:cxn>
                <a:cxn ang="0">
                  <a:pos x="6" y="51"/>
                </a:cxn>
                <a:cxn ang="0">
                  <a:pos x="0" y="55"/>
                </a:cxn>
                <a:cxn ang="0">
                  <a:pos x="2" y="55"/>
                </a:cxn>
                <a:cxn ang="0">
                  <a:pos x="6" y="57"/>
                </a:cxn>
                <a:cxn ang="0">
                  <a:pos x="6" y="64"/>
                </a:cxn>
                <a:cxn ang="0">
                  <a:pos x="15" y="72"/>
                </a:cxn>
                <a:cxn ang="0">
                  <a:pos x="25" y="75"/>
                </a:cxn>
                <a:cxn ang="0">
                  <a:pos x="30" y="75"/>
                </a:cxn>
                <a:cxn ang="0">
                  <a:pos x="30" y="75"/>
                </a:cxn>
              </a:cxnLst>
              <a:rect l="0" t="0" r="r" b="b"/>
              <a:pathLst>
                <a:path w="100" h="85">
                  <a:moveTo>
                    <a:pt x="2" y="19"/>
                  </a:moveTo>
                  <a:lnTo>
                    <a:pt x="2" y="15"/>
                  </a:lnTo>
                  <a:lnTo>
                    <a:pt x="10" y="11"/>
                  </a:lnTo>
                  <a:lnTo>
                    <a:pt x="19" y="19"/>
                  </a:lnTo>
                  <a:lnTo>
                    <a:pt x="25" y="19"/>
                  </a:lnTo>
                  <a:lnTo>
                    <a:pt x="30" y="23"/>
                  </a:lnTo>
                  <a:lnTo>
                    <a:pt x="32" y="15"/>
                  </a:lnTo>
                  <a:lnTo>
                    <a:pt x="30" y="11"/>
                  </a:lnTo>
                  <a:lnTo>
                    <a:pt x="25" y="10"/>
                  </a:lnTo>
                  <a:lnTo>
                    <a:pt x="27" y="0"/>
                  </a:lnTo>
                  <a:lnTo>
                    <a:pt x="32" y="4"/>
                  </a:lnTo>
                  <a:lnTo>
                    <a:pt x="40" y="10"/>
                  </a:lnTo>
                  <a:lnTo>
                    <a:pt x="43" y="13"/>
                  </a:lnTo>
                  <a:lnTo>
                    <a:pt x="51" y="13"/>
                  </a:lnTo>
                  <a:lnTo>
                    <a:pt x="53" y="11"/>
                  </a:lnTo>
                  <a:lnTo>
                    <a:pt x="59" y="10"/>
                  </a:lnTo>
                  <a:lnTo>
                    <a:pt x="64" y="0"/>
                  </a:lnTo>
                  <a:lnTo>
                    <a:pt x="68" y="4"/>
                  </a:lnTo>
                  <a:lnTo>
                    <a:pt x="74" y="10"/>
                  </a:lnTo>
                  <a:lnTo>
                    <a:pt x="74" y="13"/>
                  </a:lnTo>
                  <a:lnTo>
                    <a:pt x="77" y="19"/>
                  </a:lnTo>
                  <a:lnTo>
                    <a:pt x="83" y="25"/>
                  </a:lnTo>
                  <a:lnTo>
                    <a:pt x="83" y="28"/>
                  </a:lnTo>
                  <a:lnTo>
                    <a:pt x="87" y="30"/>
                  </a:lnTo>
                  <a:lnTo>
                    <a:pt x="91" y="30"/>
                  </a:lnTo>
                  <a:lnTo>
                    <a:pt x="96" y="32"/>
                  </a:lnTo>
                  <a:lnTo>
                    <a:pt x="100" y="36"/>
                  </a:lnTo>
                  <a:lnTo>
                    <a:pt x="96" y="36"/>
                  </a:lnTo>
                  <a:lnTo>
                    <a:pt x="94" y="36"/>
                  </a:lnTo>
                  <a:lnTo>
                    <a:pt x="89" y="36"/>
                  </a:lnTo>
                  <a:lnTo>
                    <a:pt x="83" y="43"/>
                  </a:lnTo>
                  <a:lnTo>
                    <a:pt x="83" y="49"/>
                  </a:lnTo>
                  <a:lnTo>
                    <a:pt x="83" y="51"/>
                  </a:lnTo>
                  <a:lnTo>
                    <a:pt x="83" y="55"/>
                  </a:lnTo>
                  <a:lnTo>
                    <a:pt x="83" y="57"/>
                  </a:lnTo>
                  <a:lnTo>
                    <a:pt x="83" y="59"/>
                  </a:lnTo>
                  <a:lnTo>
                    <a:pt x="83" y="62"/>
                  </a:lnTo>
                  <a:lnTo>
                    <a:pt x="83" y="64"/>
                  </a:lnTo>
                  <a:lnTo>
                    <a:pt x="83" y="70"/>
                  </a:lnTo>
                  <a:lnTo>
                    <a:pt x="81" y="74"/>
                  </a:lnTo>
                  <a:lnTo>
                    <a:pt x="81" y="72"/>
                  </a:lnTo>
                  <a:lnTo>
                    <a:pt x="81" y="66"/>
                  </a:lnTo>
                  <a:lnTo>
                    <a:pt x="79" y="64"/>
                  </a:lnTo>
                  <a:lnTo>
                    <a:pt x="77" y="66"/>
                  </a:lnTo>
                  <a:lnTo>
                    <a:pt x="75" y="68"/>
                  </a:lnTo>
                  <a:lnTo>
                    <a:pt x="77" y="74"/>
                  </a:lnTo>
                  <a:lnTo>
                    <a:pt x="77" y="75"/>
                  </a:lnTo>
                  <a:lnTo>
                    <a:pt x="77" y="75"/>
                  </a:lnTo>
                  <a:lnTo>
                    <a:pt x="77" y="85"/>
                  </a:lnTo>
                  <a:lnTo>
                    <a:pt x="75" y="85"/>
                  </a:lnTo>
                  <a:lnTo>
                    <a:pt x="74" y="85"/>
                  </a:lnTo>
                  <a:lnTo>
                    <a:pt x="72" y="81"/>
                  </a:lnTo>
                  <a:lnTo>
                    <a:pt x="68" y="81"/>
                  </a:lnTo>
                  <a:lnTo>
                    <a:pt x="64" y="75"/>
                  </a:lnTo>
                  <a:lnTo>
                    <a:pt x="68" y="70"/>
                  </a:lnTo>
                  <a:lnTo>
                    <a:pt x="64" y="68"/>
                  </a:lnTo>
                  <a:lnTo>
                    <a:pt x="64" y="66"/>
                  </a:lnTo>
                  <a:lnTo>
                    <a:pt x="68" y="64"/>
                  </a:lnTo>
                  <a:lnTo>
                    <a:pt x="64" y="60"/>
                  </a:lnTo>
                  <a:lnTo>
                    <a:pt x="62" y="59"/>
                  </a:lnTo>
                  <a:lnTo>
                    <a:pt x="60" y="59"/>
                  </a:lnTo>
                  <a:lnTo>
                    <a:pt x="60" y="57"/>
                  </a:lnTo>
                  <a:lnTo>
                    <a:pt x="59" y="57"/>
                  </a:lnTo>
                  <a:lnTo>
                    <a:pt x="55" y="59"/>
                  </a:lnTo>
                  <a:lnTo>
                    <a:pt x="51" y="60"/>
                  </a:lnTo>
                  <a:lnTo>
                    <a:pt x="49" y="64"/>
                  </a:lnTo>
                  <a:lnTo>
                    <a:pt x="49" y="64"/>
                  </a:lnTo>
                  <a:lnTo>
                    <a:pt x="45" y="70"/>
                  </a:lnTo>
                  <a:lnTo>
                    <a:pt x="43" y="70"/>
                  </a:lnTo>
                  <a:lnTo>
                    <a:pt x="40" y="72"/>
                  </a:lnTo>
                  <a:lnTo>
                    <a:pt x="40" y="74"/>
                  </a:lnTo>
                  <a:lnTo>
                    <a:pt x="38" y="75"/>
                  </a:lnTo>
                  <a:lnTo>
                    <a:pt x="36" y="74"/>
                  </a:lnTo>
                  <a:lnTo>
                    <a:pt x="36" y="74"/>
                  </a:lnTo>
                  <a:lnTo>
                    <a:pt x="36" y="70"/>
                  </a:lnTo>
                  <a:lnTo>
                    <a:pt x="38" y="68"/>
                  </a:lnTo>
                  <a:lnTo>
                    <a:pt x="34" y="62"/>
                  </a:lnTo>
                  <a:lnTo>
                    <a:pt x="40" y="62"/>
                  </a:lnTo>
                  <a:lnTo>
                    <a:pt x="34" y="57"/>
                  </a:lnTo>
                  <a:lnTo>
                    <a:pt x="28" y="57"/>
                  </a:lnTo>
                  <a:lnTo>
                    <a:pt x="21" y="55"/>
                  </a:lnTo>
                  <a:lnTo>
                    <a:pt x="19" y="45"/>
                  </a:lnTo>
                  <a:lnTo>
                    <a:pt x="21" y="45"/>
                  </a:lnTo>
                  <a:lnTo>
                    <a:pt x="21" y="42"/>
                  </a:lnTo>
                  <a:lnTo>
                    <a:pt x="13" y="34"/>
                  </a:lnTo>
                  <a:lnTo>
                    <a:pt x="13" y="30"/>
                  </a:lnTo>
                  <a:lnTo>
                    <a:pt x="15" y="26"/>
                  </a:lnTo>
                  <a:lnTo>
                    <a:pt x="11" y="23"/>
                  </a:lnTo>
                  <a:lnTo>
                    <a:pt x="6" y="21"/>
                  </a:lnTo>
                  <a:lnTo>
                    <a:pt x="2" y="19"/>
                  </a:lnTo>
                  <a:lnTo>
                    <a:pt x="2" y="19"/>
                  </a:lnTo>
                  <a:lnTo>
                    <a:pt x="2" y="19"/>
                  </a:lnTo>
                  <a:lnTo>
                    <a:pt x="2" y="19"/>
                  </a:lnTo>
                  <a:close/>
                  <a:moveTo>
                    <a:pt x="30" y="75"/>
                  </a:moveTo>
                  <a:lnTo>
                    <a:pt x="25" y="60"/>
                  </a:lnTo>
                  <a:lnTo>
                    <a:pt x="19" y="60"/>
                  </a:lnTo>
                  <a:lnTo>
                    <a:pt x="15" y="55"/>
                  </a:lnTo>
                  <a:lnTo>
                    <a:pt x="13" y="55"/>
                  </a:lnTo>
                  <a:lnTo>
                    <a:pt x="10" y="55"/>
                  </a:lnTo>
                  <a:lnTo>
                    <a:pt x="6" y="51"/>
                  </a:lnTo>
                  <a:lnTo>
                    <a:pt x="2" y="55"/>
                  </a:lnTo>
                  <a:lnTo>
                    <a:pt x="0" y="55"/>
                  </a:lnTo>
                  <a:lnTo>
                    <a:pt x="2" y="55"/>
                  </a:lnTo>
                  <a:lnTo>
                    <a:pt x="2" y="55"/>
                  </a:lnTo>
                  <a:lnTo>
                    <a:pt x="6" y="57"/>
                  </a:lnTo>
                  <a:lnTo>
                    <a:pt x="6" y="57"/>
                  </a:lnTo>
                  <a:lnTo>
                    <a:pt x="10" y="60"/>
                  </a:lnTo>
                  <a:lnTo>
                    <a:pt x="6" y="64"/>
                  </a:lnTo>
                  <a:lnTo>
                    <a:pt x="15" y="68"/>
                  </a:lnTo>
                  <a:lnTo>
                    <a:pt x="15" y="72"/>
                  </a:lnTo>
                  <a:lnTo>
                    <a:pt x="21" y="74"/>
                  </a:lnTo>
                  <a:lnTo>
                    <a:pt x="25" y="75"/>
                  </a:lnTo>
                  <a:lnTo>
                    <a:pt x="30" y="75"/>
                  </a:lnTo>
                  <a:lnTo>
                    <a:pt x="30" y="75"/>
                  </a:lnTo>
                  <a:lnTo>
                    <a:pt x="30" y="75"/>
                  </a:lnTo>
                  <a:lnTo>
                    <a:pt x="30"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4" name="Freeform 57">
              <a:extLst>
                <a:ext uri="{FF2B5EF4-FFF2-40B4-BE49-F238E27FC236}">
                  <a16:creationId xmlns:a16="http://schemas.microsoft.com/office/drawing/2014/main" id="{CB9F16B7-EFC5-4D78-912E-B51EB74AA47D}"/>
                </a:ext>
              </a:extLst>
            </p:cNvPr>
            <p:cNvSpPr>
              <a:spLocks/>
            </p:cNvSpPr>
            <p:nvPr/>
          </p:nvSpPr>
          <p:spPr bwMode="auto">
            <a:xfrm>
              <a:off x="3549" y="2316"/>
              <a:ext cx="380" cy="301"/>
            </a:xfrm>
            <a:custGeom>
              <a:avLst/>
              <a:gdLst/>
              <a:ahLst/>
              <a:cxnLst>
                <a:cxn ang="0">
                  <a:pos x="19" y="4"/>
                </a:cxn>
                <a:cxn ang="0">
                  <a:pos x="36" y="19"/>
                </a:cxn>
                <a:cxn ang="0">
                  <a:pos x="49" y="19"/>
                </a:cxn>
                <a:cxn ang="0">
                  <a:pos x="58" y="7"/>
                </a:cxn>
                <a:cxn ang="0">
                  <a:pos x="71" y="0"/>
                </a:cxn>
                <a:cxn ang="0">
                  <a:pos x="75" y="9"/>
                </a:cxn>
                <a:cxn ang="0">
                  <a:pos x="85" y="24"/>
                </a:cxn>
                <a:cxn ang="0">
                  <a:pos x="92" y="32"/>
                </a:cxn>
                <a:cxn ang="0">
                  <a:pos x="100" y="49"/>
                </a:cxn>
                <a:cxn ang="0">
                  <a:pos x="118" y="49"/>
                </a:cxn>
                <a:cxn ang="0">
                  <a:pos x="147" y="64"/>
                </a:cxn>
                <a:cxn ang="0">
                  <a:pos x="188" y="62"/>
                </a:cxn>
                <a:cxn ang="0">
                  <a:pos x="198" y="43"/>
                </a:cxn>
                <a:cxn ang="0">
                  <a:pos x="222" y="28"/>
                </a:cxn>
                <a:cxn ang="0">
                  <a:pos x="241" y="28"/>
                </a:cxn>
                <a:cxn ang="0">
                  <a:pos x="269" y="37"/>
                </a:cxn>
                <a:cxn ang="0">
                  <a:pos x="286" y="49"/>
                </a:cxn>
                <a:cxn ang="0">
                  <a:pos x="318" y="68"/>
                </a:cxn>
                <a:cxn ang="0">
                  <a:pos x="318" y="85"/>
                </a:cxn>
                <a:cxn ang="0">
                  <a:pos x="320" y="98"/>
                </a:cxn>
                <a:cxn ang="0">
                  <a:pos x="312" y="111"/>
                </a:cxn>
                <a:cxn ang="0">
                  <a:pos x="322" y="124"/>
                </a:cxn>
                <a:cxn ang="0">
                  <a:pos x="322" y="156"/>
                </a:cxn>
                <a:cxn ang="0">
                  <a:pos x="344" y="179"/>
                </a:cxn>
                <a:cxn ang="0">
                  <a:pos x="341" y="224"/>
                </a:cxn>
                <a:cxn ang="0">
                  <a:pos x="361" y="233"/>
                </a:cxn>
                <a:cxn ang="0">
                  <a:pos x="369" y="252"/>
                </a:cxn>
                <a:cxn ang="0">
                  <a:pos x="376" y="267"/>
                </a:cxn>
                <a:cxn ang="0">
                  <a:pos x="354" y="277"/>
                </a:cxn>
                <a:cxn ang="0">
                  <a:pos x="354" y="297"/>
                </a:cxn>
                <a:cxn ang="0">
                  <a:pos x="337" y="297"/>
                </a:cxn>
                <a:cxn ang="0">
                  <a:pos x="329" y="295"/>
                </a:cxn>
                <a:cxn ang="0">
                  <a:pos x="301" y="292"/>
                </a:cxn>
                <a:cxn ang="0">
                  <a:pos x="282" y="288"/>
                </a:cxn>
                <a:cxn ang="0">
                  <a:pos x="265" y="273"/>
                </a:cxn>
                <a:cxn ang="0">
                  <a:pos x="258" y="260"/>
                </a:cxn>
                <a:cxn ang="0">
                  <a:pos x="239" y="262"/>
                </a:cxn>
                <a:cxn ang="0">
                  <a:pos x="211" y="267"/>
                </a:cxn>
                <a:cxn ang="0">
                  <a:pos x="194" y="262"/>
                </a:cxn>
                <a:cxn ang="0">
                  <a:pos x="181" y="252"/>
                </a:cxn>
                <a:cxn ang="0">
                  <a:pos x="162" y="247"/>
                </a:cxn>
                <a:cxn ang="0">
                  <a:pos x="145" y="228"/>
                </a:cxn>
                <a:cxn ang="0">
                  <a:pos x="143" y="224"/>
                </a:cxn>
                <a:cxn ang="0">
                  <a:pos x="130" y="199"/>
                </a:cxn>
                <a:cxn ang="0">
                  <a:pos x="117" y="199"/>
                </a:cxn>
                <a:cxn ang="0">
                  <a:pos x="113" y="196"/>
                </a:cxn>
                <a:cxn ang="0">
                  <a:pos x="109" y="203"/>
                </a:cxn>
                <a:cxn ang="0">
                  <a:pos x="98" y="198"/>
                </a:cxn>
                <a:cxn ang="0">
                  <a:pos x="88" y="173"/>
                </a:cxn>
                <a:cxn ang="0">
                  <a:pos x="75" y="150"/>
                </a:cxn>
                <a:cxn ang="0">
                  <a:pos x="51" y="141"/>
                </a:cxn>
                <a:cxn ang="0">
                  <a:pos x="49" y="130"/>
                </a:cxn>
                <a:cxn ang="0">
                  <a:pos x="41" y="120"/>
                </a:cxn>
                <a:cxn ang="0">
                  <a:pos x="45" y="101"/>
                </a:cxn>
                <a:cxn ang="0">
                  <a:pos x="49" y="88"/>
                </a:cxn>
                <a:cxn ang="0">
                  <a:pos x="51" y="83"/>
                </a:cxn>
                <a:cxn ang="0">
                  <a:pos x="30" y="77"/>
                </a:cxn>
                <a:cxn ang="0">
                  <a:pos x="24" y="62"/>
                </a:cxn>
                <a:cxn ang="0">
                  <a:pos x="17" y="52"/>
                </a:cxn>
                <a:cxn ang="0">
                  <a:pos x="11" y="28"/>
                </a:cxn>
                <a:cxn ang="0">
                  <a:pos x="4" y="11"/>
                </a:cxn>
                <a:cxn ang="0">
                  <a:pos x="11" y="0"/>
                </a:cxn>
              </a:cxnLst>
              <a:rect l="0" t="0" r="r" b="b"/>
              <a:pathLst>
                <a:path w="380" h="301">
                  <a:moveTo>
                    <a:pt x="11" y="0"/>
                  </a:moveTo>
                  <a:lnTo>
                    <a:pt x="11" y="0"/>
                  </a:lnTo>
                  <a:lnTo>
                    <a:pt x="15" y="0"/>
                  </a:lnTo>
                  <a:lnTo>
                    <a:pt x="17" y="0"/>
                  </a:lnTo>
                  <a:lnTo>
                    <a:pt x="19" y="4"/>
                  </a:lnTo>
                  <a:lnTo>
                    <a:pt x="17" y="7"/>
                  </a:lnTo>
                  <a:lnTo>
                    <a:pt x="24" y="11"/>
                  </a:lnTo>
                  <a:lnTo>
                    <a:pt x="24" y="15"/>
                  </a:lnTo>
                  <a:lnTo>
                    <a:pt x="30" y="17"/>
                  </a:lnTo>
                  <a:lnTo>
                    <a:pt x="36" y="19"/>
                  </a:lnTo>
                  <a:lnTo>
                    <a:pt x="41" y="19"/>
                  </a:lnTo>
                  <a:lnTo>
                    <a:pt x="41" y="19"/>
                  </a:lnTo>
                  <a:lnTo>
                    <a:pt x="41" y="19"/>
                  </a:lnTo>
                  <a:lnTo>
                    <a:pt x="47" y="17"/>
                  </a:lnTo>
                  <a:lnTo>
                    <a:pt x="49" y="19"/>
                  </a:lnTo>
                  <a:lnTo>
                    <a:pt x="51" y="17"/>
                  </a:lnTo>
                  <a:lnTo>
                    <a:pt x="51" y="15"/>
                  </a:lnTo>
                  <a:lnTo>
                    <a:pt x="54" y="13"/>
                  </a:lnTo>
                  <a:lnTo>
                    <a:pt x="54" y="13"/>
                  </a:lnTo>
                  <a:lnTo>
                    <a:pt x="58" y="7"/>
                  </a:lnTo>
                  <a:lnTo>
                    <a:pt x="60" y="7"/>
                  </a:lnTo>
                  <a:lnTo>
                    <a:pt x="62" y="4"/>
                  </a:lnTo>
                  <a:lnTo>
                    <a:pt x="66" y="4"/>
                  </a:lnTo>
                  <a:lnTo>
                    <a:pt x="70" y="0"/>
                  </a:lnTo>
                  <a:lnTo>
                    <a:pt x="71" y="0"/>
                  </a:lnTo>
                  <a:lnTo>
                    <a:pt x="71" y="4"/>
                  </a:lnTo>
                  <a:lnTo>
                    <a:pt x="73" y="4"/>
                  </a:lnTo>
                  <a:lnTo>
                    <a:pt x="75" y="4"/>
                  </a:lnTo>
                  <a:lnTo>
                    <a:pt x="79" y="7"/>
                  </a:lnTo>
                  <a:lnTo>
                    <a:pt x="75" y="9"/>
                  </a:lnTo>
                  <a:lnTo>
                    <a:pt x="75" y="11"/>
                  </a:lnTo>
                  <a:lnTo>
                    <a:pt x="79" y="13"/>
                  </a:lnTo>
                  <a:lnTo>
                    <a:pt x="75" y="19"/>
                  </a:lnTo>
                  <a:lnTo>
                    <a:pt x="79" y="24"/>
                  </a:lnTo>
                  <a:lnTo>
                    <a:pt x="85" y="24"/>
                  </a:lnTo>
                  <a:lnTo>
                    <a:pt x="85" y="28"/>
                  </a:lnTo>
                  <a:lnTo>
                    <a:pt x="88" y="28"/>
                  </a:lnTo>
                  <a:lnTo>
                    <a:pt x="88" y="28"/>
                  </a:lnTo>
                  <a:lnTo>
                    <a:pt x="88" y="28"/>
                  </a:lnTo>
                  <a:lnTo>
                    <a:pt x="92" y="32"/>
                  </a:lnTo>
                  <a:lnTo>
                    <a:pt x="92" y="37"/>
                  </a:lnTo>
                  <a:lnTo>
                    <a:pt x="92" y="41"/>
                  </a:lnTo>
                  <a:lnTo>
                    <a:pt x="92" y="43"/>
                  </a:lnTo>
                  <a:lnTo>
                    <a:pt x="96" y="43"/>
                  </a:lnTo>
                  <a:lnTo>
                    <a:pt x="100" y="49"/>
                  </a:lnTo>
                  <a:lnTo>
                    <a:pt x="103" y="49"/>
                  </a:lnTo>
                  <a:lnTo>
                    <a:pt x="105" y="49"/>
                  </a:lnTo>
                  <a:lnTo>
                    <a:pt x="113" y="47"/>
                  </a:lnTo>
                  <a:lnTo>
                    <a:pt x="115" y="49"/>
                  </a:lnTo>
                  <a:lnTo>
                    <a:pt x="118" y="49"/>
                  </a:lnTo>
                  <a:lnTo>
                    <a:pt x="118" y="52"/>
                  </a:lnTo>
                  <a:lnTo>
                    <a:pt x="122" y="56"/>
                  </a:lnTo>
                  <a:lnTo>
                    <a:pt x="130" y="60"/>
                  </a:lnTo>
                  <a:lnTo>
                    <a:pt x="134" y="60"/>
                  </a:lnTo>
                  <a:lnTo>
                    <a:pt x="147" y="64"/>
                  </a:lnTo>
                  <a:lnTo>
                    <a:pt x="152" y="64"/>
                  </a:lnTo>
                  <a:lnTo>
                    <a:pt x="164" y="60"/>
                  </a:lnTo>
                  <a:lnTo>
                    <a:pt x="173" y="60"/>
                  </a:lnTo>
                  <a:lnTo>
                    <a:pt x="184" y="60"/>
                  </a:lnTo>
                  <a:lnTo>
                    <a:pt x="188" y="62"/>
                  </a:lnTo>
                  <a:lnTo>
                    <a:pt x="188" y="56"/>
                  </a:lnTo>
                  <a:lnTo>
                    <a:pt x="188" y="52"/>
                  </a:lnTo>
                  <a:lnTo>
                    <a:pt x="186" y="49"/>
                  </a:lnTo>
                  <a:lnTo>
                    <a:pt x="188" y="47"/>
                  </a:lnTo>
                  <a:lnTo>
                    <a:pt x="198" y="43"/>
                  </a:lnTo>
                  <a:lnTo>
                    <a:pt x="199" y="39"/>
                  </a:lnTo>
                  <a:lnTo>
                    <a:pt x="201" y="37"/>
                  </a:lnTo>
                  <a:lnTo>
                    <a:pt x="205" y="37"/>
                  </a:lnTo>
                  <a:lnTo>
                    <a:pt x="213" y="32"/>
                  </a:lnTo>
                  <a:lnTo>
                    <a:pt x="222" y="28"/>
                  </a:lnTo>
                  <a:lnTo>
                    <a:pt x="228" y="32"/>
                  </a:lnTo>
                  <a:lnTo>
                    <a:pt x="228" y="24"/>
                  </a:lnTo>
                  <a:lnTo>
                    <a:pt x="231" y="24"/>
                  </a:lnTo>
                  <a:lnTo>
                    <a:pt x="237" y="28"/>
                  </a:lnTo>
                  <a:lnTo>
                    <a:pt x="241" y="28"/>
                  </a:lnTo>
                  <a:lnTo>
                    <a:pt x="248" y="32"/>
                  </a:lnTo>
                  <a:lnTo>
                    <a:pt x="252" y="34"/>
                  </a:lnTo>
                  <a:lnTo>
                    <a:pt x="263" y="39"/>
                  </a:lnTo>
                  <a:lnTo>
                    <a:pt x="267" y="39"/>
                  </a:lnTo>
                  <a:lnTo>
                    <a:pt x="269" y="37"/>
                  </a:lnTo>
                  <a:lnTo>
                    <a:pt x="277" y="41"/>
                  </a:lnTo>
                  <a:lnTo>
                    <a:pt x="282" y="41"/>
                  </a:lnTo>
                  <a:lnTo>
                    <a:pt x="282" y="47"/>
                  </a:lnTo>
                  <a:lnTo>
                    <a:pt x="282" y="49"/>
                  </a:lnTo>
                  <a:lnTo>
                    <a:pt x="286" y="49"/>
                  </a:lnTo>
                  <a:lnTo>
                    <a:pt x="294" y="49"/>
                  </a:lnTo>
                  <a:lnTo>
                    <a:pt x="303" y="58"/>
                  </a:lnTo>
                  <a:lnTo>
                    <a:pt x="310" y="60"/>
                  </a:lnTo>
                  <a:lnTo>
                    <a:pt x="314" y="62"/>
                  </a:lnTo>
                  <a:lnTo>
                    <a:pt x="318" y="68"/>
                  </a:lnTo>
                  <a:lnTo>
                    <a:pt x="316" y="68"/>
                  </a:lnTo>
                  <a:lnTo>
                    <a:pt x="318" y="73"/>
                  </a:lnTo>
                  <a:lnTo>
                    <a:pt x="318" y="77"/>
                  </a:lnTo>
                  <a:lnTo>
                    <a:pt x="320" y="81"/>
                  </a:lnTo>
                  <a:lnTo>
                    <a:pt x="318" y="85"/>
                  </a:lnTo>
                  <a:lnTo>
                    <a:pt x="320" y="88"/>
                  </a:lnTo>
                  <a:lnTo>
                    <a:pt x="318" y="90"/>
                  </a:lnTo>
                  <a:lnTo>
                    <a:pt x="320" y="92"/>
                  </a:lnTo>
                  <a:lnTo>
                    <a:pt x="320" y="96"/>
                  </a:lnTo>
                  <a:lnTo>
                    <a:pt x="320" y="98"/>
                  </a:lnTo>
                  <a:lnTo>
                    <a:pt x="314" y="101"/>
                  </a:lnTo>
                  <a:lnTo>
                    <a:pt x="310" y="101"/>
                  </a:lnTo>
                  <a:lnTo>
                    <a:pt x="312" y="105"/>
                  </a:lnTo>
                  <a:lnTo>
                    <a:pt x="316" y="105"/>
                  </a:lnTo>
                  <a:lnTo>
                    <a:pt x="312" y="111"/>
                  </a:lnTo>
                  <a:lnTo>
                    <a:pt x="312" y="113"/>
                  </a:lnTo>
                  <a:lnTo>
                    <a:pt x="314" y="117"/>
                  </a:lnTo>
                  <a:lnTo>
                    <a:pt x="314" y="122"/>
                  </a:lnTo>
                  <a:lnTo>
                    <a:pt x="320" y="124"/>
                  </a:lnTo>
                  <a:lnTo>
                    <a:pt x="322" y="124"/>
                  </a:lnTo>
                  <a:lnTo>
                    <a:pt x="316" y="130"/>
                  </a:lnTo>
                  <a:lnTo>
                    <a:pt x="314" y="135"/>
                  </a:lnTo>
                  <a:lnTo>
                    <a:pt x="320" y="145"/>
                  </a:lnTo>
                  <a:lnTo>
                    <a:pt x="324" y="154"/>
                  </a:lnTo>
                  <a:lnTo>
                    <a:pt x="322" y="156"/>
                  </a:lnTo>
                  <a:lnTo>
                    <a:pt x="324" y="160"/>
                  </a:lnTo>
                  <a:lnTo>
                    <a:pt x="324" y="166"/>
                  </a:lnTo>
                  <a:lnTo>
                    <a:pt x="341" y="166"/>
                  </a:lnTo>
                  <a:lnTo>
                    <a:pt x="344" y="173"/>
                  </a:lnTo>
                  <a:lnTo>
                    <a:pt x="344" y="179"/>
                  </a:lnTo>
                  <a:lnTo>
                    <a:pt x="344" y="184"/>
                  </a:lnTo>
                  <a:lnTo>
                    <a:pt x="344" y="186"/>
                  </a:lnTo>
                  <a:lnTo>
                    <a:pt x="329" y="205"/>
                  </a:lnTo>
                  <a:lnTo>
                    <a:pt x="341" y="218"/>
                  </a:lnTo>
                  <a:lnTo>
                    <a:pt x="341" y="224"/>
                  </a:lnTo>
                  <a:lnTo>
                    <a:pt x="346" y="228"/>
                  </a:lnTo>
                  <a:lnTo>
                    <a:pt x="350" y="230"/>
                  </a:lnTo>
                  <a:lnTo>
                    <a:pt x="352" y="231"/>
                  </a:lnTo>
                  <a:lnTo>
                    <a:pt x="359" y="233"/>
                  </a:lnTo>
                  <a:lnTo>
                    <a:pt x="361" y="233"/>
                  </a:lnTo>
                  <a:lnTo>
                    <a:pt x="361" y="235"/>
                  </a:lnTo>
                  <a:lnTo>
                    <a:pt x="369" y="237"/>
                  </a:lnTo>
                  <a:lnTo>
                    <a:pt x="369" y="243"/>
                  </a:lnTo>
                  <a:lnTo>
                    <a:pt x="369" y="248"/>
                  </a:lnTo>
                  <a:lnTo>
                    <a:pt x="369" y="252"/>
                  </a:lnTo>
                  <a:lnTo>
                    <a:pt x="369" y="254"/>
                  </a:lnTo>
                  <a:lnTo>
                    <a:pt x="374" y="254"/>
                  </a:lnTo>
                  <a:lnTo>
                    <a:pt x="380" y="258"/>
                  </a:lnTo>
                  <a:lnTo>
                    <a:pt x="380" y="265"/>
                  </a:lnTo>
                  <a:lnTo>
                    <a:pt x="376" y="267"/>
                  </a:lnTo>
                  <a:lnTo>
                    <a:pt x="374" y="267"/>
                  </a:lnTo>
                  <a:lnTo>
                    <a:pt x="365" y="267"/>
                  </a:lnTo>
                  <a:lnTo>
                    <a:pt x="361" y="271"/>
                  </a:lnTo>
                  <a:lnTo>
                    <a:pt x="356" y="273"/>
                  </a:lnTo>
                  <a:lnTo>
                    <a:pt x="354" y="277"/>
                  </a:lnTo>
                  <a:lnTo>
                    <a:pt x="356" y="279"/>
                  </a:lnTo>
                  <a:lnTo>
                    <a:pt x="352" y="282"/>
                  </a:lnTo>
                  <a:lnTo>
                    <a:pt x="354" y="288"/>
                  </a:lnTo>
                  <a:lnTo>
                    <a:pt x="354" y="295"/>
                  </a:lnTo>
                  <a:lnTo>
                    <a:pt x="354" y="297"/>
                  </a:lnTo>
                  <a:lnTo>
                    <a:pt x="352" y="297"/>
                  </a:lnTo>
                  <a:lnTo>
                    <a:pt x="352" y="297"/>
                  </a:lnTo>
                  <a:lnTo>
                    <a:pt x="348" y="301"/>
                  </a:lnTo>
                  <a:lnTo>
                    <a:pt x="344" y="297"/>
                  </a:lnTo>
                  <a:lnTo>
                    <a:pt x="337" y="297"/>
                  </a:lnTo>
                  <a:lnTo>
                    <a:pt x="337" y="292"/>
                  </a:lnTo>
                  <a:lnTo>
                    <a:pt x="335" y="292"/>
                  </a:lnTo>
                  <a:lnTo>
                    <a:pt x="331" y="297"/>
                  </a:lnTo>
                  <a:lnTo>
                    <a:pt x="331" y="297"/>
                  </a:lnTo>
                  <a:lnTo>
                    <a:pt x="329" y="295"/>
                  </a:lnTo>
                  <a:lnTo>
                    <a:pt x="327" y="295"/>
                  </a:lnTo>
                  <a:lnTo>
                    <a:pt x="324" y="295"/>
                  </a:lnTo>
                  <a:lnTo>
                    <a:pt x="316" y="295"/>
                  </a:lnTo>
                  <a:lnTo>
                    <a:pt x="310" y="292"/>
                  </a:lnTo>
                  <a:lnTo>
                    <a:pt x="301" y="292"/>
                  </a:lnTo>
                  <a:lnTo>
                    <a:pt x="295" y="288"/>
                  </a:lnTo>
                  <a:lnTo>
                    <a:pt x="294" y="288"/>
                  </a:lnTo>
                  <a:lnTo>
                    <a:pt x="290" y="292"/>
                  </a:lnTo>
                  <a:lnTo>
                    <a:pt x="286" y="288"/>
                  </a:lnTo>
                  <a:lnTo>
                    <a:pt x="282" y="288"/>
                  </a:lnTo>
                  <a:lnTo>
                    <a:pt x="273" y="290"/>
                  </a:lnTo>
                  <a:lnTo>
                    <a:pt x="271" y="286"/>
                  </a:lnTo>
                  <a:lnTo>
                    <a:pt x="269" y="286"/>
                  </a:lnTo>
                  <a:lnTo>
                    <a:pt x="269" y="280"/>
                  </a:lnTo>
                  <a:lnTo>
                    <a:pt x="265" y="273"/>
                  </a:lnTo>
                  <a:lnTo>
                    <a:pt x="263" y="267"/>
                  </a:lnTo>
                  <a:lnTo>
                    <a:pt x="260" y="262"/>
                  </a:lnTo>
                  <a:lnTo>
                    <a:pt x="260" y="260"/>
                  </a:lnTo>
                  <a:lnTo>
                    <a:pt x="258" y="260"/>
                  </a:lnTo>
                  <a:lnTo>
                    <a:pt x="258" y="260"/>
                  </a:lnTo>
                  <a:lnTo>
                    <a:pt x="252" y="258"/>
                  </a:lnTo>
                  <a:lnTo>
                    <a:pt x="248" y="260"/>
                  </a:lnTo>
                  <a:lnTo>
                    <a:pt x="243" y="263"/>
                  </a:lnTo>
                  <a:lnTo>
                    <a:pt x="239" y="263"/>
                  </a:lnTo>
                  <a:lnTo>
                    <a:pt x="239" y="262"/>
                  </a:lnTo>
                  <a:lnTo>
                    <a:pt x="239" y="263"/>
                  </a:lnTo>
                  <a:lnTo>
                    <a:pt x="231" y="267"/>
                  </a:lnTo>
                  <a:lnTo>
                    <a:pt x="224" y="273"/>
                  </a:lnTo>
                  <a:lnTo>
                    <a:pt x="218" y="267"/>
                  </a:lnTo>
                  <a:lnTo>
                    <a:pt x="211" y="267"/>
                  </a:lnTo>
                  <a:lnTo>
                    <a:pt x="207" y="267"/>
                  </a:lnTo>
                  <a:lnTo>
                    <a:pt x="205" y="267"/>
                  </a:lnTo>
                  <a:lnTo>
                    <a:pt x="198" y="263"/>
                  </a:lnTo>
                  <a:lnTo>
                    <a:pt x="194" y="263"/>
                  </a:lnTo>
                  <a:lnTo>
                    <a:pt x="194" y="262"/>
                  </a:lnTo>
                  <a:lnTo>
                    <a:pt x="188" y="260"/>
                  </a:lnTo>
                  <a:lnTo>
                    <a:pt x="182" y="254"/>
                  </a:lnTo>
                  <a:lnTo>
                    <a:pt x="184" y="252"/>
                  </a:lnTo>
                  <a:lnTo>
                    <a:pt x="184" y="252"/>
                  </a:lnTo>
                  <a:lnTo>
                    <a:pt x="181" y="252"/>
                  </a:lnTo>
                  <a:lnTo>
                    <a:pt x="181" y="248"/>
                  </a:lnTo>
                  <a:lnTo>
                    <a:pt x="173" y="248"/>
                  </a:lnTo>
                  <a:lnTo>
                    <a:pt x="173" y="248"/>
                  </a:lnTo>
                  <a:lnTo>
                    <a:pt x="167" y="247"/>
                  </a:lnTo>
                  <a:lnTo>
                    <a:pt x="162" y="247"/>
                  </a:lnTo>
                  <a:lnTo>
                    <a:pt x="158" y="245"/>
                  </a:lnTo>
                  <a:lnTo>
                    <a:pt x="150" y="231"/>
                  </a:lnTo>
                  <a:lnTo>
                    <a:pt x="150" y="228"/>
                  </a:lnTo>
                  <a:lnTo>
                    <a:pt x="149" y="228"/>
                  </a:lnTo>
                  <a:lnTo>
                    <a:pt x="145" y="228"/>
                  </a:lnTo>
                  <a:lnTo>
                    <a:pt x="147" y="224"/>
                  </a:lnTo>
                  <a:lnTo>
                    <a:pt x="147" y="228"/>
                  </a:lnTo>
                  <a:lnTo>
                    <a:pt x="149" y="228"/>
                  </a:lnTo>
                  <a:lnTo>
                    <a:pt x="147" y="224"/>
                  </a:lnTo>
                  <a:lnTo>
                    <a:pt x="143" y="224"/>
                  </a:lnTo>
                  <a:lnTo>
                    <a:pt x="143" y="222"/>
                  </a:lnTo>
                  <a:lnTo>
                    <a:pt x="143" y="216"/>
                  </a:lnTo>
                  <a:lnTo>
                    <a:pt x="134" y="209"/>
                  </a:lnTo>
                  <a:lnTo>
                    <a:pt x="134" y="205"/>
                  </a:lnTo>
                  <a:lnTo>
                    <a:pt x="130" y="199"/>
                  </a:lnTo>
                  <a:lnTo>
                    <a:pt x="130" y="199"/>
                  </a:lnTo>
                  <a:lnTo>
                    <a:pt x="122" y="203"/>
                  </a:lnTo>
                  <a:lnTo>
                    <a:pt x="120" y="203"/>
                  </a:lnTo>
                  <a:lnTo>
                    <a:pt x="118" y="199"/>
                  </a:lnTo>
                  <a:lnTo>
                    <a:pt x="117" y="199"/>
                  </a:lnTo>
                  <a:lnTo>
                    <a:pt x="113" y="199"/>
                  </a:lnTo>
                  <a:lnTo>
                    <a:pt x="113" y="198"/>
                  </a:lnTo>
                  <a:lnTo>
                    <a:pt x="115" y="196"/>
                  </a:lnTo>
                  <a:lnTo>
                    <a:pt x="113" y="196"/>
                  </a:lnTo>
                  <a:lnTo>
                    <a:pt x="113" y="196"/>
                  </a:lnTo>
                  <a:lnTo>
                    <a:pt x="109" y="196"/>
                  </a:lnTo>
                  <a:lnTo>
                    <a:pt x="113" y="198"/>
                  </a:lnTo>
                  <a:lnTo>
                    <a:pt x="113" y="199"/>
                  </a:lnTo>
                  <a:lnTo>
                    <a:pt x="109" y="203"/>
                  </a:lnTo>
                  <a:lnTo>
                    <a:pt x="109" y="203"/>
                  </a:lnTo>
                  <a:lnTo>
                    <a:pt x="105" y="199"/>
                  </a:lnTo>
                  <a:lnTo>
                    <a:pt x="105" y="199"/>
                  </a:lnTo>
                  <a:lnTo>
                    <a:pt x="103" y="199"/>
                  </a:lnTo>
                  <a:lnTo>
                    <a:pt x="102" y="199"/>
                  </a:lnTo>
                  <a:lnTo>
                    <a:pt x="98" y="198"/>
                  </a:lnTo>
                  <a:lnTo>
                    <a:pt x="94" y="194"/>
                  </a:lnTo>
                  <a:lnTo>
                    <a:pt x="94" y="182"/>
                  </a:lnTo>
                  <a:lnTo>
                    <a:pt x="88" y="182"/>
                  </a:lnTo>
                  <a:lnTo>
                    <a:pt x="85" y="179"/>
                  </a:lnTo>
                  <a:lnTo>
                    <a:pt x="88" y="173"/>
                  </a:lnTo>
                  <a:lnTo>
                    <a:pt x="90" y="169"/>
                  </a:lnTo>
                  <a:lnTo>
                    <a:pt x="88" y="160"/>
                  </a:lnTo>
                  <a:lnTo>
                    <a:pt x="85" y="158"/>
                  </a:lnTo>
                  <a:lnTo>
                    <a:pt x="79" y="154"/>
                  </a:lnTo>
                  <a:lnTo>
                    <a:pt x="75" y="150"/>
                  </a:lnTo>
                  <a:lnTo>
                    <a:pt x="75" y="150"/>
                  </a:lnTo>
                  <a:lnTo>
                    <a:pt x="62" y="141"/>
                  </a:lnTo>
                  <a:lnTo>
                    <a:pt x="58" y="141"/>
                  </a:lnTo>
                  <a:lnTo>
                    <a:pt x="56" y="145"/>
                  </a:lnTo>
                  <a:lnTo>
                    <a:pt x="51" y="141"/>
                  </a:lnTo>
                  <a:lnTo>
                    <a:pt x="54" y="139"/>
                  </a:lnTo>
                  <a:lnTo>
                    <a:pt x="51" y="137"/>
                  </a:lnTo>
                  <a:lnTo>
                    <a:pt x="54" y="133"/>
                  </a:lnTo>
                  <a:lnTo>
                    <a:pt x="51" y="130"/>
                  </a:lnTo>
                  <a:lnTo>
                    <a:pt x="49" y="130"/>
                  </a:lnTo>
                  <a:lnTo>
                    <a:pt x="45" y="126"/>
                  </a:lnTo>
                  <a:lnTo>
                    <a:pt x="43" y="126"/>
                  </a:lnTo>
                  <a:lnTo>
                    <a:pt x="41" y="126"/>
                  </a:lnTo>
                  <a:lnTo>
                    <a:pt x="41" y="122"/>
                  </a:lnTo>
                  <a:lnTo>
                    <a:pt x="41" y="120"/>
                  </a:lnTo>
                  <a:lnTo>
                    <a:pt x="41" y="117"/>
                  </a:lnTo>
                  <a:lnTo>
                    <a:pt x="41" y="117"/>
                  </a:lnTo>
                  <a:lnTo>
                    <a:pt x="41" y="109"/>
                  </a:lnTo>
                  <a:lnTo>
                    <a:pt x="45" y="107"/>
                  </a:lnTo>
                  <a:lnTo>
                    <a:pt x="45" y="101"/>
                  </a:lnTo>
                  <a:lnTo>
                    <a:pt x="47" y="101"/>
                  </a:lnTo>
                  <a:lnTo>
                    <a:pt x="51" y="101"/>
                  </a:lnTo>
                  <a:lnTo>
                    <a:pt x="51" y="92"/>
                  </a:lnTo>
                  <a:lnTo>
                    <a:pt x="49" y="92"/>
                  </a:lnTo>
                  <a:lnTo>
                    <a:pt x="49" y="88"/>
                  </a:lnTo>
                  <a:lnTo>
                    <a:pt x="51" y="88"/>
                  </a:lnTo>
                  <a:lnTo>
                    <a:pt x="54" y="86"/>
                  </a:lnTo>
                  <a:lnTo>
                    <a:pt x="54" y="86"/>
                  </a:lnTo>
                  <a:lnTo>
                    <a:pt x="54" y="85"/>
                  </a:lnTo>
                  <a:lnTo>
                    <a:pt x="51" y="83"/>
                  </a:lnTo>
                  <a:lnTo>
                    <a:pt x="47" y="85"/>
                  </a:lnTo>
                  <a:lnTo>
                    <a:pt x="43" y="83"/>
                  </a:lnTo>
                  <a:lnTo>
                    <a:pt x="38" y="81"/>
                  </a:lnTo>
                  <a:lnTo>
                    <a:pt x="34" y="81"/>
                  </a:lnTo>
                  <a:lnTo>
                    <a:pt x="30" y="77"/>
                  </a:lnTo>
                  <a:lnTo>
                    <a:pt x="30" y="73"/>
                  </a:lnTo>
                  <a:lnTo>
                    <a:pt x="26" y="71"/>
                  </a:lnTo>
                  <a:lnTo>
                    <a:pt x="24" y="68"/>
                  </a:lnTo>
                  <a:lnTo>
                    <a:pt x="24" y="66"/>
                  </a:lnTo>
                  <a:lnTo>
                    <a:pt x="24" y="62"/>
                  </a:lnTo>
                  <a:lnTo>
                    <a:pt x="21" y="58"/>
                  </a:lnTo>
                  <a:lnTo>
                    <a:pt x="19" y="58"/>
                  </a:lnTo>
                  <a:lnTo>
                    <a:pt x="19" y="58"/>
                  </a:lnTo>
                  <a:lnTo>
                    <a:pt x="19" y="56"/>
                  </a:lnTo>
                  <a:lnTo>
                    <a:pt x="17" y="52"/>
                  </a:lnTo>
                  <a:lnTo>
                    <a:pt x="13" y="43"/>
                  </a:lnTo>
                  <a:lnTo>
                    <a:pt x="7" y="41"/>
                  </a:lnTo>
                  <a:lnTo>
                    <a:pt x="7" y="39"/>
                  </a:lnTo>
                  <a:lnTo>
                    <a:pt x="7" y="34"/>
                  </a:lnTo>
                  <a:lnTo>
                    <a:pt x="11" y="28"/>
                  </a:lnTo>
                  <a:lnTo>
                    <a:pt x="9" y="28"/>
                  </a:lnTo>
                  <a:lnTo>
                    <a:pt x="4" y="24"/>
                  </a:lnTo>
                  <a:lnTo>
                    <a:pt x="4" y="22"/>
                  </a:lnTo>
                  <a:lnTo>
                    <a:pt x="6" y="19"/>
                  </a:lnTo>
                  <a:lnTo>
                    <a:pt x="4" y="11"/>
                  </a:lnTo>
                  <a:lnTo>
                    <a:pt x="2" y="7"/>
                  </a:lnTo>
                  <a:lnTo>
                    <a:pt x="0" y="5"/>
                  </a:lnTo>
                  <a:lnTo>
                    <a:pt x="6" y="4"/>
                  </a:lnTo>
                  <a:lnTo>
                    <a:pt x="7" y="0"/>
                  </a:lnTo>
                  <a:lnTo>
                    <a:pt x="11" y="0"/>
                  </a:lnTo>
                  <a:lnTo>
                    <a:pt x="11" y="0"/>
                  </a:lnTo>
                  <a:lnTo>
                    <a:pt x="11" y="0"/>
                  </a:lnTo>
                  <a:lnTo>
                    <a:pt x="1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5" name="Freeform 58">
              <a:extLst>
                <a:ext uri="{FF2B5EF4-FFF2-40B4-BE49-F238E27FC236}">
                  <a16:creationId xmlns:a16="http://schemas.microsoft.com/office/drawing/2014/main" id="{D650C401-C3EF-42F6-BC40-5B4B01D38F9E}"/>
                </a:ext>
              </a:extLst>
            </p:cNvPr>
            <p:cNvSpPr>
              <a:spLocks/>
            </p:cNvSpPr>
            <p:nvPr/>
          </p:nvSpPr>
          <p:spPr bwMode="auto">
            <a:xfrm>
              <a:off x="3534" y="2278"/>
              <a:ext cx="68" cy="58"/>
            </a:xfrm>
            <a:custGeom>
              <a:avLst/>
              <a:gdLst/>
              <a:ahLst/>
              <a:cxnLst>
                <a:cxn ang="0">
                  <a:pos x="0" y="2"/>
                </a:cxn>
                <a:cxn ang="0">
                  <a:pos x="5" y="2"/>
                </a:cxn>
                <a:cxn ang="0">
                  <a:pos x="15" y="0"/>
                </a:cxn>
                <a:cxn ang="0">
                  <a:pos x="17" y="0"/>
                </a:cxn>
                <a:cxn ang="0">
                  <a:pos x="28" y="0"/>
                </a:cxn>
                <a:cxn ang="0">
                  <a:pos x="32" y="2"/>
                </a:cxn>
                <a:cxn ang="0">
                  <a:pos x="39" y="6"/>
                </a:cxn>
                <a:cxn ang="0">
                  <a:pos x="43" y="8"/>
                </a:cxn>
                <a:cxn ang="0">
                  <a:pos x="41" y="11"/>
                </a:cxn>
                <a:cxn ang="0">
                  <a:pos x="41" y="17"/>
                </a:cxn>
                <a:cxn ang="0">
                  <a:pos x="49" y="23"/>
                </a:cxn>
                <a:cxn ang="0">
                  <a:pos x="49" y="26"/>
                </a:cxn>
                <a:cxn ang="0">
                  <a:pos x="47" y="28"/>
                </a:cxn>
                <a:cxn ang="0">
                  <a:pos x="49" y="36"/>
                </a:cxn>
                <a:cxn ang="0">
                  <a:pos x="58" y="40"/>
                </a:cxn>
                <a:cxn ang="0">
                  <a:pos x="64" y="40"/>
                </a:cxn>
                <a:cxn ang="0">
                  <a:pos x="68" y="45"/>
                </a:cxn>
                <a:cxn ang="0">
                  <a:pos x="64" y="45"/>
                </a:cxn>
                <a:cxn ang="0">
                  <a:pos x="68" y="51"/>
                </a:cxn>
                <a:cxn ang="0">
                  <a:pos x="64" y="53"/>
                </a:cxn>
                <a:cxn ang="0">
                  <a:pos x="64" y="57"/>
                </a:cxn>
                <a:cxn ang="0">
                  <a:pos x="58" y="58"/>
                </a:cxn>
                <a:cxn ang="0">
                  <a:pos x="53" y="43"/>
                </a:cxn>
                <a:cxn ang="0">
                  <a:pos x="47" y="43"/>
                </a:cxn>
                <a:cxn ang="0">
                  <a:pos x="43" y="36"/>
                </a:cxn>
                <a:cxn ang="0">
                  <a:pos x="41" y="36"/>
                </a:cxn>
                <a:cxn ang="0">
                  <a:pos x="37" y="38"/>
                </a:cxn>
                <a:cxn ang="0">
                  <a:pos x="34" y="34"/>
                </a:cxn>
                <a:cxn ang="0">
                  <a:pos x="30" y="36"/>
                </a:cxn>
                <a:cxn ang="0">
                  <a:pos x="28" y="36"/>
                </a:cxn>
                <a:cxn ang="0">
                  <a:pos x="24" y="34"/>
                </a:cxn>
                <a:cxn ang="0">
                  <a:pos x="24" y="30"/>
                </a:cxn>
                <a:cxn ang="0">
                  <a:pos x="19" y="30"/>
                </a:cxn>
                <a:cxn ang="0">
                  <a:pos x="13" y="30"/>
                </a:cxn>
                <a:cxn ang="0">
                  <a:pos x="7" y="26"/>
                </a:cxn>
                <a:cxn ang="0">
                  <a:pos x="7" y="19"/>
                </a:cxn>
                <a:cxn ang="0">
                  <a:pos x="9" y="13"/>
                </a:cxn>
                <a:cxn ang="0">
                  <a:pos x="7" y="8"/>
                </a:cxn>
                <a:cxn ang="0">
                  <a:pos x="4" y="8"/>
                </a:cxn>
                <a:cxn ang="0">
                  <a:pos x="4" y="6"/>
                </a:cxn>
                <a:cxn ang="0">
                  <a:pos x="0" y="2"/>
                </a:cxn>
                <a:cxn ang="0">
                  <a:pos x="0" y="2"/>
                </a:cxn>
                <a:cxn ang="0">
                  <a:pos x="0" y="2"/>
                </a:cxn>
              </a:cxnLst>
              <a:rect l="0" t="0" r="r" b="b"/>
              <a:pathLst>
                <a:path w="68" h="58">
                  <a:moveTo>
                    <a:pt x="0" y="2"/>
                  </a:moveTo>
                  <a:lnTo>
                    <a:pt x="5" y="2"/>
                  </a:lnTo>
                  <a:lnTo>
                    <a:pt x="15" y="0"/>
                  </a:lnTo>
                  <a:lnTo>
                    <a:pt x="17" y="0"/>
                  </a:lnTo>
                  <a:lnTo>
                    <a:pt x="28" y="0"/>
                  </a:lnTo>
                  <a:lnTo>
                    <a:pt x="32" y="2"/>
                  </a:lnTo>
                  <a:lnTo>
                    <a:pt x="39" y="6"/>
                  </a:lnTo>
                  <a:lnTo>
                    <a:pt x="43" y="8"/>
                  </a:lnTo>
                  <a:lnTo>
                    <a:pt x="41" y="11"/>
                  </a:lnTo>
                  <a:lnTo>
                    <a:pt x="41" y="17"/>
                  </a:lnTo>
                  <a:lnTo>
                    <a:pt x="49" y="23"/>
                  </a:lnTo>
                  <a:lnTo>
                    <a:pt x="49" y="26"/>
                  </a:lnTo>
                  <a:lnTo>
                    <a:pt x="47" y="28"/>
                  </a:lnTo>
                  <a:lnTo>
                    <a:pt x="49" y="36"/>
                  </a:lnTo>
                  <a:lnTo>
                    <a:pt x="58" y="40"/>
                  </a:lnTo>
                  <a:lnTo>
                    <a:pt x="64" y="40"/>
                  </a:lnTo>
                  <a:lnTo>
                    <a:pt x="68" y="45"/>
                  </a:lnTo>
                  <a:lnTo>
                    <a:pt x="64" y="45"/>
                  </a:lnTo>
                  <a:lnTo>
                    <a:pt x="68" y="51"/>
                  </a:lnTo>
                  <a:lnTo>
                    <a:pt x="64" y="53"/>
                  </a:lnTo>
                  <a:lnTo>
                    <a:pt x="64" y="57"/>
                  </a:lnTo>
                  <a:lnTo>
                    <a:pt x="58" y="58"/>
                  </a:lnTo>
                  <a:lnTo>
                    <a:pt x="53" y="43"/>
                  </a:lnTo>
                  <a:lnTo>
                    <a:pt x="47" y="43"/>
                  </a:lnTo>
                  <a:lnTo>
                    <a:pt x="43" y="36"/>
                  </a:lnTo>
                  <a:lnTo>
                    <a:pt x="41" y="36"/>
                  </a:lnTo>
                  <a:lnTo>
                    <a:pt x="37" y="38"/>
                  </a:lnTo>
                  <a:lnTo>
                    <a:pt x="34" y="34"/>
                  </a:lnTo>
                  <a:lnTo>
                    <a:pt x="30" y="36"/>
                  </a:lnTo>
                  <a:lnTo>
                    <a:pt x="28" y="36"/>
                  </a:lnTo>
                  <a:lnTo>
                    <a:pt x="24" y="34"/>
                  </a:lnTo>
                  <a:lnTo>
                    <a:pt x="24" y="30"/>
                  </a:lnTo>
                  <a:lnTo>
                    <a:pt x="19" y="30"/>
                  </a:lnTo>
                  <a:lnTo>
                    <a:pt x="13" y="30"/>
                  </a:lnTo>
                  <a:lnTo>
                    <a:pt x="7" y="26"/>
                  </a:lnTo>
                  <a:lnTo>
                    <a:pt x="7" y="19"/>
                  </a:lnTo>
                  <a:lnTo>
                    <a:pt x="9" y="13"/>
                  </a:lnTo>
                  <a:lnTo>
                    <a:pt x="7" y="8"/>
                  </a:lnTo>
                  <a:lnTo>
                    <a:pt x="4" y="8"/>
                  </a:lnTo>
                  <a:lnTo>
                    <a:pt x="4" y="6"/>
                  </a:lnTo>
                  <a:lnTo>
                    <a:pt x="0" y="2"/>
                  </a:lnTo>
                  <a:lnTo>
                    <a:pt x="0" y="2"/>
                  </a:lnTo>
                  <a:lnTo>
                    <a:pt x="0"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6" name="Freeform 59">
              <a:extLst>
                <a:ext uri="{FF2B5EF4-FFF2-40B4-BE49-F238E27FC236}">
                  <a16:creationId xmlns:a16="http://schemas.microsoft.com/office/drawing/2014/main" id="{5E23157F-E741-4DFD-96EF-D80B040B6908}"/>
                </a:ext>
              </a:extLst>
            </p:cNvPr>
            <p:cNvSpPr>
              <a:spLocks/>
            </p:cNvSpPr>
            <p:nvPr/>
          </p:nvSpPr>
          <p:spPr bwMode="auto">
            <a:xfrm>
              <a:off x="3534" y="2278"/>
              <a:ext cx="68" cy="58"/>
            </a:xfrm>
            <a:custGeom>
              <a:avLst/>
              <a:gdLst/>
              <a:ahLst/>
              <a:cxnLst>
                <a:cxn ang="0">
                  <a:pos x="0" y="2"/>
                </a:cxn>
                <a:cxn ang="0">
                  <a:pos x="5" y="2"/>
                </a:cxn>
                <a:cxn ang="0">
                  <a:pos x="15" y="0"/>
                </a:cxn>
                <a:cxn ang="0">
                  <a:pos x="17" y="0"/>
                </a:cxn>
                <a:cxn ang="0">
                  <a:pos x="28" y="0"/>
                </a:cxn>
                <a:cxn ang="0">
                  <a:pos x="32" y="2"/>
                </a:cxn>
                <a:cxn ang="0">
                  <a:pos x="39" y="6"/>
                </a:cxn>
                <a:cxn ang="0">
                  <a:pos x="43" y="8"/>
                </a:cxn>
                <a:cxn ang="0">
                  <a:pos x="41" y="11"/>
                </a:cxn>
                <a:cxn ang="0">
                  <a:pos x="41" y="17"/>
                </a:cxn>
                <a:cxn ang="0">
                  <a:pos x="49" y="23"/>
                </a:cxn>
                <a:cxn ang="0">
                  <a:pos x="49" y="26"/>
                </a:cxn>
                <a:cxn ang="0">
                  <a:pos x="47" y="28"/>
                </a:cxn>
                <a:cxn ang="0">
                  <a:pos x="49" y="36"/>
                </a:cxn>
                <a:cxn ang="0">
                  <a:pos x="58" y="40"/>
                </a:cxn>
                <a:cxn ang="0">
                  <a:pos x="64" y="40"/>
                </a:cxn>
                <a:cxn ang="0">
                  <a:pos x="68" y="45"/>
                </a:cxn>
                <a:cxn ang="0">
                  <a:pos x="64" y="45"/>
                </a:cxn>
                <a:cxn ang="0">
                  <a:pos x="68" y="51"/>
                </a:cxn>
                <a:cxn ang="0">
                  <a:pos x="64" y="53"/>
                </a:cxn>
                <a:cxn ang="0">
                  <a:pos x="64" y="57"/>
                </a:cxn>
                <a:cxn ang="0">
                  <a:pos x="58" y="58"/>
                </a:cxn>
                <a:cxn ang="0">
                  <a:pos x="53" y="43"/>
                </a:cxn>
                <a:cxn ang="0">
                  <a:pos x="47" y="43"/>
                </a:cxn>
                <a:cxn ang="0">
                  <a:pos x="43" y="36"/>
                </a:cxn>
                <a:cxn ang="0">
                  <a:pos x="41" y="36"/>
                </a:cxn>
                <a:cxn ang="0">
                  <a:pos x="37" y="38"/>
                </a:cxn>
                <a:cxn ang="0">
                  <a:pos x="34" y="34"/>
                </a:cxn>
                <a:cxn ang="0">
                  <a:pos x="30" y="36"/>
                </a:cxn>
                <a:cxn ang="0">
                  <a:pos x="28" y="36"/>
                </a:cxn>
                <a:cxn ang="0">
                  <a:pos x="24" y="34"/>
                </a:cxn>
                <a:cxn ang="0">
                  <a:pos x="24" y="30"/>
                </a:cxn>
                <a:cxn ang="0">
                  <a:pos x="19" y="30"/>
                </a:cxn>
                <a:cxn ang="0">
                  <a:pos x="13" y="30"/>
                </a:cxn>
                <a:cxn ang="0">
                  <a:pos x="7" y="26"/>
                </a:cxn>
                <a:cxn ang="0">
                  <a:pos x="7" y="19"/>
                </a:cxn>
                <a:cxn ang="0">
                  <a:pos x="9" y="13"/>
                </a:cxn>
                <a:cxn ang="0">
                  <a:pos x="7" y="8"/>
                </a:cxn>
                <a:cxn ang="0">
                  <a:pos x="4" y="8"/>
                </a:cxn>
                <a:cxn ang="0">
                  <a:pos x="4" y="6"/>
                </a:cxn>
                <a:cxn ang="0">
                  <a:pos x="0" y="2"/>
                </a:cxn>
                <a:cxn ang="0">
                  <a:pos x="0" y="2"/>
                </a:cxn>
                <a:cxn ang="0">
                  <a:pos x="0" y="2"/>
                </a:cxn>
              </a:cxnLst>
              <a:rect l="0" t="0" r="r" b="b"/>
              <a:pathLst>
                <a:path w="68" h="58">
                  <a:moveTo>
                    <a:pt x="0" y="2"/>
                  </a:moveTo>
                  <a:lnTo>
                    <a:pt x="5" y="2"/>
                  </a:lnTo>
                  <a:lnTo>
                    <a:pt x="15" y="0"/>
                  </a:lnTo>
                  <a:lnTo>
                    <a:pt x="17" y="0"/>
                  </a:lnTo>
                  <a:lnTo>
                    <a:pt x="28" y="0"/>
                  </a:lnTo>
                  <a:lnTo>
                    <a:pt x="32" y="2"/>
                  </a:lnTo>
                  <a:lnTo>
                    <a:pt x="39" y="6"/>
                  </a:lnTo>
                  <a:lnTo>
                    <a:pt x="43" y="8"/>
                  </a:lnTo>
                  <a:lnTo>
                    <a:pt x="41" y="11"/>
                  </a:lnTo>
                  <a:lnTo>
                    <a:pt x="41" y="17"/>
                  </a:lnTo>
                  <a:lnTo>
                    <a:pt x="49" y="23"/>
                  </a:lnTo>
                  <a:lnTo>
                    <a:pt x="49" y="26"/>
                  </a:lnTo>
                  <a:lnTo>
                    <a:pt x="47" y="28"/>
                  </a:lnTo>
                  <a:lnTo>
                    <a:pt x="49" y="36"/>
                  </a:lnTo>
                  <a:lnTo>
                    <a:pt x="58" y="40"/>
                  </a:lnTo>
                  <a:lnTo>
                    <a:pt x="64" y="40"/>
                  </a:lnTo>
                  <a:lnTo>
                    <a:pt x="68" y="45"/>
                  </a:lnTo>
                  <a:lnTo>
                    <a:pt x="64" y="45"/>
                  </a:lnTo>
                  <a:lnTo>
                    <a:pt x="68" y="51"/>
                  </a:lnTo>
                  <a:lnTo>
                    <a:pt x="64" y="53"/>
                  </a:lnTo>
                  <a:lnTo>
                    <a:pt x="64" y="57"/>
                  </a:lnTo>
                  <a:lnTo>
                    <a:pt x="58" y="58"/>
                  </a:lnTo>
                  <a:lnTo>
                    <a:pt x="53" y="43"/>
                  </a:lnTo>
                  <a:lnTo>
                    <a:pt x="47" y="43"/>
                  </a:lnTo>
                  <a:lnTo>
                    <a:pt x="43" y="36"/>
                  </a:lnTo>
                  <a:lnTo>
                    <a:pt x="41" y="36"/>
                  </a:lnTo>
                  <a:lnTo>
                    <a:pt x="37" y="38"/>
                  </a:lnTo>
                  <a:lnTo>
                    <a:pt x="34" y="34"/>
                  </a:lnTo>
                  <a:lnTo>
                    <a:pt x="30" y="36"/>
                  </a:lnTo>
                  <a:lnTo>
                    <a:pt x="28" y="36"/>
                  </a:lnTo>
                  <a:lnTo>
                    <a:pt x="24" y="34"/>
                  </a:lnTo>
                  <a:lnTo>
                    <a:pt x="24" y="30"/>
                  </a:lnTo>
                  <a:lnTo>
                    <a:pt x="19" y="30"/>
                  </a:lnTo>
                  <a:lnTo>
                    <a:pt x="13" y="30"/>
                  </a:lnTo>
                  <a:lnTo>
                    <a:pt x="7" y="26"/>
                  </a:lnTo>
                  <a:lnTo>
                    <a:pt x="7" y="19"/>
                  </a:lnTo>
                  <a:lnTo>
                    <a:pt x="9" y="13"/>
                  </a:lnTo>
                  <a:lnTo>
                    <a:pt x="7" y="8"/>
                  </a:lnTo>
                  <a:lnTo>
                    <a:pt x="4" y="8"/>
                  </a:lnTo>
                  <a:lnTo>
                    <a:pt x="4" y="6"/>
                  </a:lnTo>
                  <a:lnTo>
                    <a:pt x="0" y="2"/>
                  </a:lnTo>
                  <a:lnTo>
                    <a:pt x="0" y="2"/>
                  </a:lnTo>
                  <a:lnTo>
                    <a:pt x="0"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7" name="Freeform 60">
              <a:extLst>
                <a:ext uri="{FF2B5EF4-FFF2-40B4-BE49-F238E27FC236}">
                  <a16:creationId xmlns:a16="http://schemas.microsoft.com/office/drawing/2014/main" id="{4033D879-F78D-4D33-92D3-950DA033A9C4}"/>
                </a:ext>
              </a:extLst>
            </p:cNvPr>
            <p:cNvSpPr>
              <a:spLocks noEditPoints="1"/>
            </p:cNvSpPr>
            <p:nvPr/>
          </p:nvSpPr>
          <p:spPr bwMode="auto">
            <a:xfrm>
              <a:off x="3227" y="2261"/>
              <a:ext cx="344" cy="138"/>
            </a:xfrm>
            <a:custGeom>
              <a:avLst/>
              <a:gdLst/>
              <a:ahLst/>
              <a:cxnLst>
                <a:cxn ang="0">
                  <a:pos x="17" y="15"/>
                </a:cxn>
                <a:cxn ang="0">
                  <a:pos x="26" y="2"/>
                </a:cxn>
                <a:cxn ang="0">
                  <a:pos x="49" y="17"/>
                </a:cxn>
                <a:cxn ang="0">
                  <a:pos x="47" y="26"/>
                </a:cxn>
                <a:cxn ang="0">
                  <a:pos x="19" y="40"/>
                </a:cxn>
                <a:cxn ang="0">
                  <a:pos x="15" y="36"/>
                </a:cxn>
                <a:cxn ang="0">
                  <a:pos x="6" y="30"/>
                </a:cxn>
                <a:cxn ang="0">
                  <a:pos x="269" y="17"/>
                </a:cxn>
                <a:cxn ang="0">
                  <a:pos x="243" y="21"/>
                </a:cxn>
                <a:cxn ang="0">
                  <a:pos x="216" y="26"/>
                </a:cxn>
                <a:cxn ang="0">
                  <a:pos x="188" y="15"/>
                </a:cxn>
                <a:cxn ang="0">
                  <a:pos x="177" y="6"/>
                </a:cxn>
                <a:cxn ang="0">
                  <a:pos x="160" y="0"/>
                </a:cxn>
                <a:cxn ang="0">
                  <a:pos x="130" y="4"/>
                </a:cxn>
                <a:cxn ang="0">
                  <a:pos x="104" y="17"/>
                </a:cxn>
                <a:cxn ang="0">
                  <a:pos x="81" y="21"/>
                </a:cxn>
                <a:cxn ang="0">
                  <a:pos x="60" y="23"/>
                </a:cxn>
                <a:cxn ang="0">
                  <a:pos x="64" y="34"/>
                </a:cxn>
                <a:cxn ang="0">
                  <a:pos x="56" y="43"/>
                </a:cxn>
                <a:cxn ang="0">
                  <a:pos x="32" y="45"/>
                </a:cxn>
                <a:cxn ang="0">
                  <a:pos x="9" y="53"/>
                </a:cxn>
                <a:cxn ang="0">
                  <a:pos x="19" y="62"/>
                </a:cxn>
                <a:cxn ang="0">
                  <a:pos x="24" y="72"/>
                </a:cxn>
                <a:cxn ang="0">
                  <a:pos x="23" y="81"/>
                </a:cxn>
                <a:cxn ang="0">
                  <a:pos x="17" y="81"/>
                </a:cxn>
                <a:cxn ang="0">
                  <a:pos x="19" y="94"/>
                </a:cxn>
                <a:cxn ang="0">
                  <a:pos x="30" y="106"/>
                </a:cxn>
                <a:cxn ang="0">
                  <a:pos x="32" y="117"/>
                </a:cxn>
                <a:cxn ang="0">
                  <a:pos x="45" y="123"/>
                </a:cxn>
                <a:cxn ang="0">
                  <a:pos x="43" y="124"/>
                </a:cxn>
                <a:cxn ang="0">
                  <a:pos x="55" y="123"/>
                </a:cxn>
                <a:cxn ang="0">
                  <a:pos x="66" y="126"/>
                </a:cxn>
                <a:cxn ang="0">
                  <a:pos x="75" y="136"/>
                </a:cxn>
                <a:cxn ang="0">
                  <a:pos x="94" y="130"/>
                </a:cxn>
                <a:cxn ang="0">
                  <a:pos x="119" y="126"/>
                </a:cxn>
                <a:cxn ang="0">
                  <a:pos x="154" y="134"/>
                </a:cxn>
                <a:cxn ang="0">
                  <a:pos x="175" y="123"/>
                </a:cxn>
                <a:cxn ang="0">
                  <a:pos x="194" y="123"/>
                </a:cxn>
                <a:cxn ang="0">
                  <a:pos x="194" y="138"/>
                </a:cxn>
                <a:cxn ang="0">
                  <a:pos x="205" y="121"/>
                </a:cxn>
                <a:cxn ang="0">
                  <a:pos x="237" y="117"/>
                </a:cxn>
                <a:cxn ang="0">
                  <a:pos x="262" y="117"/>
                </a:cxn>
                <a:cxn ang="0">
                  <a:pos x="296" y="109"/>
                </a:cxn>
                <a:cxn ang="0">
                  <a:pos x="322" y="106"/>
                </a:cxn>
                <a:cxn ang="0">
                  <a:pos x="344" y="111"/>
                </a:cxn>
                <a:cxn ang="0">
                  <a:pos x="331" y="87"/>
                </a:cxn>
                <a:cxn ang="0">
                  <a:pos x="329" y="64"/>
                </a:cxn>
                <a:cxn ang="0">
                  <a:pos x="331" y="47"/>
                </a:cxn>
                <a:cxn ang="0">
                  <a:pos x="316" y="28"/>
                </a:cxn>
                <a:cxn ang="0">
                  <a:pos x="297" y="11"/>
                </a:cxn>
                <a:cxn ang="0">
                  <a:pos x="280" y="11"/>
                </a:cxn>
                <a:cxn ang="0">
                  <a:pos x="41" y="126"/>
                </a:cxn>
                <a:cxn ang="0">
                  <a:pos x="41" y="126"/>
                </a:cxn>
                <a:cxn ang="0">
                  <a:pos x="8" y="43"/>
                </a:cxn>
                <a:cxn ang="0">
                  <a:pos x="0" y="45"/>
                </a:cxn>
              </a:cxnLst>
              <a:rect l="0" t="0" r="r" b="b"/>
              <a:pathLst>
                <a:path w="344" h="138">
                  <a:moveTo>
                    <a:pt x="6" y="30"/>
                  </a:moveTo>
                  <a:lnTo>
                    <a:pt x="9" y="30"/>
                  </a:lnTo>
                  <a:lnTo>
                    <a:pt x="11" y="26"/>
                  </a:lnTo>
                  <a:lnTo>
                    <a:pt x="11" y="21"/>
                  </a:lnTo>
                  <a:lnTo>
                    <a:pt x="17" y="17"/>
                  </a:lnTo>
                  <a:lnTo>
                    <a:pt x="17" y="15"/>
                  </a:lnTo>
                  <a:lnTo>
                    <a:pt x="13" y="13"/>
                  </a:lnTo>
                  <a:lnTo>
                    <a:pt x="13" y="8"/>
                  </a:lnTo>
                  <a:lnTo>
                    <a:pt x="17" y="4"/>
                  </a:lnTo>
                  <a:lnTo>
                    <a:pt x="21" y="4"/>
                  </a:lnTo>
                  <a:lnTo>
                    <a:pt x="23" y="2"/>
                  </a:lnTo>
                  <a:lnTo>
                    <a:pt x="26" y="2"/>
                  </a:lnTo>
                  <a:lnTo>
                    <a:pt x="32" y="6"/>
                  </a:lnTo>
                  <a:lnTo>
                    <a:pt x="34" y="4"/>
                  </a:lnTo>
                  <a:lnTo>
                    <a:pt x="38" y="4"/>
                  </a:lnTo>
                  <a:lnTo>
                    <a:pt x="40" y="11"/>
                  </a:lnTo>
                  <a:lnTo>
                    <a:pt x="45" y="17"/>
                  </a:lnTo>
                  <a:lnTo>
                    <a:pt x="49" y="17"/>
                  </a:lnTo>
                  <a:lnTo>
                    <a:pt x="55" y="21"/>
                  </a:lnTo>
                  <a:lnTo>
                    <a:pt x="56" y="23"/>
                  </a:lnTo>
                  <a:lnTo>
                    <a:pt x="56" y="26"/>
                  </a:lnTo>
                  <a:lnTo>
                    <a:pt x="55" y="28"/>
                  </a:lnTo>
                  <a:lnTo>
                    <a:pt x="49" y="28"/>
                  </a:lnTo>
                  <a:lnTo>
                    <a:pt x="47" y="26"/>
                  </a:lnTo>
                  <a:lnTo>
                    <a:pt x="43" y="26"/>
                  </a:lnTo>
                  <a:lnTo>
                    <a:pt x="41" y="28"/>
                  </a:lnTo>
                  <a:lnTo>
                    <a:pt x="34" y="28"/>
                  </a:lnTo>
                  <a:lnTo>
                    <a:pt x="30" y="30"/>
                  </a:lnTo>
                  <a:lnTo>
                    <a:pt x="30" y="34"/>
                  </a:lnTo>
                  <a:lnTo>
                    <a:pt x="19" y="40"/>
                  </a:lnTo>
                  <a:lnTo>
                    <a:pt x="11" y="47"/>
                  </a:lnTo>
                  <a:lnTo>
                    <a:pt x="11" y="43"/>
                  </a:lnTo>
                  <a:lnTo>
                    <a:pt x="13" y="38"/>
                  </a:lnTo>
                  <a:lnTo>
                    <a:pt x="15" y="38"/>
                  </a:lnTo>
                  <a:lnTo>
                    <a:pt x="19" y="36"/>
                  </a:lnTo>
                  <a:lnTo>
                    <a:pt x="15" y="36"/>
                  </a:lnTo>
                  <a:lnTo>
                    <a:pt x="13" y="36"/>
                  </a:lnTo>
                  <a:lnTo>
                    <a:pt x="11" y="36"/>
                  </a:lnTo>
                  <a:lnTo>
                    <a:pt x="8" y="34"/>
                  </a:lnTo>
                  <a:lnTo>
                    <a:pt x="6" y="30"/>
                  </a:lnTo>
                  <a:lnTo>
                    <a:pt x="6" y="30"/>
                  </a:lnTo>
                  <a:lnTo>
                    <a:pt x="6" y="30"/>
                  </a:lnTo>
                  <a:lnTo>
                    <a:pt x="6" y="30"/>
                  </a:lnTo>
                  <a:lnTo>
                    <a:pt x="6" y="30"/>
                  </a:lnTo>
                  <a:close/>
                  <a:moveTo>
                    <a:pt x="277" y="8"/>
                  </a:moveTo>
                  <a:lnTo>
                    <a:pt x="277" y="10"/>
                  </a:lnTo>
                  <a:lnTo>
                    <a:pt x="275" y="15"/>
                  </a:lnTo>
                  <a:lnTo>
                    <a:pt x="269" y="17"/>
                  </a:lnTo>
                  <a:lnTo>
                    <a:pt x="264" y="21"/>
                  </a:lnTo>
                  <a:lnTo>
                    <a:pt x="262" y="23"/>
                  </a:lnTo>
                  <a:lnTo>
                    <a:pt x="256" y="23"/>
                  </a:lnTo>
                  <a:lnTo>
                    <a:pt x="252" y="26"/>
                  </a:lnTo>
                  <a:lnTo>
                    <a:pt x="247" y="23"/>
                  </a:lnTo>
                  <a:lnTo>
                    <a:pt x="243" y="21"/>
                  </a:lnTo>
                  <a:lnTo>
                    <a:pt x="241" y="21"/>
                  </a:lnTo>
                  <a:lnTo>
                    <a:pt x="241" y="21"/>
                  </a:lnTo>
                  <a:lnTo>
                    <a:pt x="237" y="21"/>
                  </a:lnTo>
                  <a:lnTo>
                    <a:pt x="232" y="23"/>
                  </a:lnTo>
                  <a:lnTo>
                    <a:pt x="222" y="26"/>
                  </a:lnTo>
                  <a:lnTo>
                    <a:pt x="216" y="26"/>
                  </a:lnTo>
                  <a:lnTo>
                    <a:pt x="213" y="21"/>
                  </a:lnTo>
                  <a:lnTo>
                    <a:pt x="209" y="23"/>
                  </a:lnTo>
                  <a:lnTo>
                    <a:pt x="201" y="21"/>
                  </a:lnTo>
                  <a:lnTo>
                    <a:pt x="198" y="21"/>
                  </a:lnTo>
                  <a:lnTo>
                    <a:pt x="194" y="15"/>
                  </a:lnTo>
                  <a:lnTo>
                    <a:pt x="188" y="15"/>
                  </a:lnTo>
                  <a:lnTo>
                    <a:pt x="188" y="17"/>
                  </a:lnTo>
                  <a:lnTo>
                    <a:pt x="186" y="17"/>
                  </a:lnTo>
                  <a:lnTo>
                    <a:pt x="183" y="13"/>
                  </a:lnTo>
                  <a:lnTo>
                    <a:pt x="181" y="8"/>
                  </a:lnTo>
                  <a:lnTo>
                    <a:pt x="179" y="6"/>
                  </a:lnTo>
                  <a:lnTo>
                    <a:pt x="177" y="6"/>
                  </a:lnTo>
                  <a:lnTo>
                    <a:pt x="173" y="11"/>
                  </a:lnTo>
                  <a:lnTo>
                    <a:pt x="169" y="10"/>
                  </a:lnTo>
                  <a:lnTo>
                    <a:pt x="168" y="11"/>
                  </a:lnTo>
                  <a:lnTo>
                    <a:pt x="162" y="4"/>
                  </a:lnTo>
                  <a:lnTo>
                    <a:pt x="162" y="0"/>
                  </a:lnTo>
                  <a:lnTo>
                    <a:pt x="160" y="0"/>
                  </a:lnTo>
                  <a:lnTo>
                    <a:pt x="156" y="2"/>
                  </a:lnTo>
                  <a:lnTo>
                    <a:pt x="151" y="2"/>
                  </a:lnTo>
                  <a:lnTo>
                    <a:pt x="147" y="2"/>
                  </a:lnTo>
                  <a:lnTo>
                    <a:pt x="143" y="2"/>
                  </a:lnTo>
                  <a:lnTo>
                    <a:pt x="136" y="2"/>
                  </a:lnTo>
                  <a:lnTo>
                    <a:pt x="130" y="4"/>
                  </a:lnTo>
                  <a:lnTo>
                    <a:pt x="120" y="8"/>
                  </a:lnTo>
                  <a:lnTo>
                    <a:pt x="119" y="8"/>
                  </a:lnTo>
                  <a:lnTo>
                    <a:pt x="109" y="10"/>
                  </a:lnTo>
                  <a:lnTo>
                    <a:pt x="109" y="11"/>
                  </a:lnTo>
                  <a:lnTo>
                    <a:pt x="105" y="13"/>
                  </a:lnTo>
                  <a:lnTo>
                    <a:pt x="104" y="17"/>
                  </a:lnTo>
                  <a:lnTo>
                    <a:pt x="102" y="17"/>
                  </a:lnTo>
                  <a:lnTo>
                    <a:pt x="100" y="21"/>
                  </a:lnTo>
                  <a:lnTo>
                    <a:pt x="98" y="21"/>
                  </a:lnTo>
                  <a:lnTo>
                    <a:pt x="98" y="23"/>
                  </a:lnTo>
                  <a:lnTo>
                    <a:pt x="90" y="26"/>
                  </a:lnTo>
                  <a:lnTo>
                    <a:pt x="81" y="21"/>
                  </a:lnTo>
                  <a:lnTo>
                    <a:pt x="79" y="21"/>
                  </a:lnTo>
                  <a:lnTo>
                    <a:pt x="75" y="21"/>
                  </a:lnTo>
                  <a:lnTo>
                    <a:pt x="72" y="21"/>
                  </a:lnTo>
                  <a:lnTo>
                    <a:pt x="66" y="23"/>
                  </a:lnTo>
                  <a:lnTo>
                    <a:pt x="64" y="21"/>
                  </a:lnTo>
                  <a:lnTo>
                    <a:pt x="60" y="23"/>
                  </a:lnTo>
                  <a:lnTo>
                    <a:pt x="60" y="26"/>
                  </a:lnTo>
                  <a:lnTo>
                    <a:pt x="60" y="32"/>
                  </a:lnTo>
                  <a:lnTo>
                    <a:pt x="66" y="32"/>
                  </a:lnTo>
                  <a:lnTo>
                    <a:pt x="72" y="32"/>
                  </a:lnTo>
                  <a:lnTo>
                    <a:pt x="70" y="34"/>
                  </a:lnTo>
                  <a:lnTo>
                    <a:pt x="64" y="34"/>
                  </a:lnTo>
                  <a:lnTo>
                    <a:pt x="55" y="36"/>
                  </a:lnTo>
                  <a:lnTo>
                    <a:pt x="55" y="40"/>
                  </a:lnTo>
                  <a:lnTo>
                    <a:pt x="55" y="42"/>
                  </a:lnTo>
                  <a:lnTo>
                    <a:pt x="60" y="40"/>
                  </a:lnTo>
                  <a:lnTo>
                    <a:pt x="60" y="43"/>
                  </a:lnTo>
                  <a:lnTo>
                    <a:pt x="56" y="43"/>
                  </a:lnTo>
                  <a:lnTo>
                    <a:pt x="49" y="43"/>
                  </a:lnTo>
                  <a:lnTo>
                    <a:pt x="45" y="42"/>
                  </a:lnTo>
                  <a:lnTo>
                    <a:pt x="41" y="43"/>
                  </a:lnTo>
                  <a:lnTo>
                    <a:pt x="38" y="42"/>
                  </a:lnTo>
                  <a:lnTo>
                    <a:pt x="36" y="42"/>
                  </a:lnTo>
                  <a:lnTo>
                    <a:pt x="32" y="45"/>
                  </a:lnTo>
                  <a:lnTo>
                    <a:pt x="30" y="45"/>
                  </a:lnTo>
                  <a:lnTo>
                    <a:pt x="26" y="42"/>
                  </a:lnTo>
                  <a:lnTo>
                    <a:pt x="23" y="42"/>
                  </a:lnTo>
                  <a:lnTo>
                    <a:pt x="13" y="47"/>
                  </a:lnTo>
                  <a:lnTo>
                    <a:pt x="11" y="51"/>
                  </a:lnTo>
                  <a:lnTo>
                    <a:pt x="9" y="53"/>
                  </a:lnTo>
                  <a:lnTo>
                    <a:pt x="11" y="55"/>
                  </a:lnTo>
                  <a:lnTo>
                    <a:pt x="11" y="59"/>
                  </a:lnTo>
                  <a:lnTo>
                    <a:pt x="9" y="60"/>
                  </a:lnTo>
                  <a:lnTo>
                    <a:pt x="11" y="64"/>
                  </a:lnTo>
                  <a:lnTo>
                    <a:pt x="17" y="62"/>
                  </a:lnTo>
                  <a:lnTo>
                    <a:pt x="19" y="62"/>
                  </a:lnTo>
                  <a:lnTo>
                    <a:pt x="23" y="60"/>
                  </a:lnTo>
                  <a:lnTo>
                    <a:pt x="26" y="62"/>
                  </a:lnTo>
                  <a:lnTo>
                    <a:pt x="23" y="66"/>
                  </a:lnTo>
                  <a:lnTo>
                    <a:pt x="23" y="68"/>
                  </a:lnTo>
                  <a:lnTo>
                    <a:pt x="24" y="72"/>
                  </a:lnTo>
                  <a:lnTo>
                    <a:pt x="24" y="72"/>
                  </a:lnTo>
                  <a:lnTo>
                    <a:pt x="24" y="75"/>
                  </a:lnTo>
                  <a:lnTo>
                    <a:pt x="24" y="75"/>
                  </a:lnTo>
                  <a:lnTo>
                    <a:pt x="26" y="75"/>
                  </a:lnTo>
                  <a:lnTo>
                    <a:pt x="30" y="75"/>
                  </a:lnTo>
                  <a:lnTo>
                    <a:pt x="26" y="77"/>
                  </a:lnTo>
                  <a:lnTo>
                    <a:pt x="23" y="81"/>
                  </a:lnTo>
                  <a:lnTo>
                    <a:pt x="24" y="81"/>
                  </a:lnTo>
                  <a:lnTo>
                    <a:pt x="26" y="81"/>
                  </a:lnTo>
                  <a:lnTo>
                    <a:pt x="24" y="85"/>
                  </a:lnTo>
                  <a:lnTo>
                    <a:pt x="23" y="87"/>
                  </a:lnTo>
                  <a:lnTo>
                    <a:pt x="21" y="87"/>
                  </a:lnTo>
                  <a:lnTo>
                    <a:pt x="17" y="81"/>
                  </a:lnTo>
                  <a:lnTo>
                    <a:pt x="17" y="81"/>
                  </a:lnTo>
                  <a:lnTo>
                    <a:pt x="15" y="85"/>
                  </a:lnTo>
                  <a:lnTo>
                    <a:pt x="17" y="89"/>
                  </a:lnTo>
                  <a:lnTo>
                    <a:pt x="15" y="91"/>
                  </a:lnTo>
                  <a:lnTo>
                    <a:pt x="15" y="92"/>
                  </a:lnTo>
                  <a:lnTo>
                    <a:pt x="19" y="94"/>
                  </a:lnTo>
                  <a:lnTo>
                    <a:pt x="21" y="92"/>
                  </a:lnTo>
                  <a:lnTo>
                    <a:pt x="24" y="96"/>
                  </a:lnTo>
                  <a:lnTo>
                    <a:pt x="26" y="96"/>
                  </a:lnTo>
                  <a:lnTo>
                    <a:pt x="30" y="96"/>
                  </a:lnTo>
                  <a:lnTo>
                    <a:pt x="30" y="102"/>
                  </a:lnTo>
                  <a:lnTo>
                    <a:pt x="30" y="106"/>
                  </a:lnTo>
                  <a:lnTo>
                    <a:pt x="30" y="109"/>
                  </a:lnTo>
                  <a:lnTo>
                    <a:pt x="30" y="109"/>
                  </a:lnTo>
                  <a:lnTo>
                    <a:pt x="32" y="109"/>
                  </a:lnTo>
                  <a:lnTo>
                    <a:pt x="38" y="113"/>
                  </a:lnTo>
                  <a:lnTo>
                    <a:pt x="36" y="117"/>
                  </a:lnTo>
                  <a:lnTo>
                    <a:pt x="32" y="117"/>
                  </a:lnTo>
                  <a:lnTo>
                    <a:pt x="32" y="119"/>
                  </a:lnTo>
                  <a:lnTo>
                    <a:pt x="34" y="119"/>
                  </a:lnTo>
                  <a:lnTo>
                    <a:pt x="40" y="119"/>
                  </a:lnTo>
                  <a:lnTo>
                    <a:pt x="49" y="119"/>
                  </a:lnTo>
                  <a:lnTo>
                    <a:pt x="49" y="119"/>
                  </a:lnTo>
                  <a:lnTo>
                    <a:pt x="45" y="123"/>
                  </a:lnTo>
                  <a:lnTo>
                    <a:pt x="41" y="124"/>
                  </a:lnTo>
                  <a:lnTo>
                    <a:pt x="36" y="123"/>
                  </a:lnTo>
                  <a:lnTo>
                    <a:pt x="34" y="126"/>
                  </a:lnTo>
                  <a:lnTo>
                    <a:pt x="36" y="126"/>
                  </a:lnTo>
                  <a:lnTo>
                    <a:pt x="40" y="124"/>
                  </a:lnTo>
                  <a:lnTo>
                    <a:pt x="43" y="124"/>
                  </a:lnTo>
                  <a:lnTo>
                    <a:pt x="45" y="124"/>
                  </a:lnTo>
                  <a:lnTo>
                    <a:pt x="45" y="126"/>
                  </a:lnTo>
                  <a:lnTo>
                    <a:pt x="47" y="126"/>
                  </a:lnTo>
                  <a:lnTo>
                    <a:pt x="49" y="124"/>
                  </a:lnTo>
                  <a:lnTo>
                    <a:pt x="51" y="123"/>
                  </a:lnTo>
                  <a:lnTo>
                    <a:pt x="55" y="123"/>
                  </a:lnTo>
                  <a:lnTo>
                    <a:pt x="55" y="124"/>
                  </a:lnTo>
                  <a:lnTo>
                    <a:pt x="60" y="124"/>
                  </a:lnTo>
                  <a:lnTo>
                    <a:pt x="64" y="126"/>
                  </a:lnTo>
                  <a:lnTo>
                    <a:pt x="64" y="124"/>
                  </a:lnTo>
                  <a:lnTo>
                    <a:pt x="66" y="124"/>
                  </a:lnTo>
                  <a:lnTo>
                    <a:pt x="66" y="126"/>
                  </a:lnTo>
                  <a:lnTo>
                    <a:pt x="64" y="126"/>
                  </a:lnTo>
                  <a:lnTo>
                    <a:pt x="66" y="130"/>
                  </a:lnTo>
                  <a:lnTo>
                    <a:pt x="66" y="130"/>
                  </a:lnTo>
                  <a:lnTo>
                    <a:pt x="70" y="134"/>
                  </a:lnTo>
                  <a:lnTo>
                    <a:pt x="72" y="134"/>
                  </a:lnTo>
                  <a:lnTo>
                    <a:pt x="75" y="136"/>
                  </a:lnTo>
                  <a:lnTo>
                    <a:pt x="81" y="134"/>
                  </a:lnTo>
                  <a:lnTo>
                    <a:pt x="81" y="134"/>
                  </a:lnTo>
                  <a:lnTo>
                    <a:pt x="85" y="134"/>
                  </a:lnTo>
                  <a:lnTo>
                    <a:pt x="88" y="130"/>
                  </a:lnTo>
                  <a:lnTo>
                    <a:pt x="90" y="134"/>
                  </a:lnTo>
                  <a:lnTo>
                    <a:pt x="94" y="130"/>
                  </a:lnTo>
                  <a:lnTo>
                    <a:pt x="92" y="126"/>
                  </a:lnTo>
                  <a:lnTo>
                    <a:pt x="94" y="126"/>
                  </a:lnTo>
                  <a:lnTo>
                    <a:pt x="92" y="121"/>
                  </a:lnTo>
                  <a:lnTo>
                    <a:pt x="102" y="121"/>
                  </a:lnTo>
                  <a:lnTo>
                    <a:pt x="109" y="121"/>
                  </a:lnTo>
                  <a:lnTo>
                    <a:pt x="119" y="126"/>
                  </a:lnTo>
                  <a:lnTo>
                    <a:pt x="120" y="126"/>
                  </a:lnTo>
                  <a:lnTo>
                    <a:pt x="126" y="134"/>
                  </a:lnTo>
                  <a:lnTo>
                    <a:pt x="130" y="136"/>
                  </a:lnTo>
                  <a:lnTo>
                    <a:pt x="147" y="134"/>
                  </a:lnTo>
                  <a:lnTo>
                    <a:pt x="152" y="134"/>
                  </a:lnTo>
                  <a:lnTo>
                    <a:pt x="154" y="134"/>
                  </a:lnTo>
                  <a:lnTo>
                    <a:pt x="156" y="134"/>
                  </a:lnTo>
                  <a:lnTo>
                    <a:pt x="158" y="130"/>
                  </a:lnTo>
                  <a:lnTo>
                    <a:pt x="158" y="130"/>
                  </a:lnTo>
                  <a:lnTo>
                    <a:pt x="168" y="119"/>
                  </a:lnTo>
                  <a:lnTo>
                    <a:pt x="168" y="119"/>
                  </a:lnTo>
                  <a:lnTo>
                    <a:pt x="175" y="123"/>
                  </a:lnTo>
                  <a:lnTo>
                    <a:pt x="181" y="124"/>
                  </a:lnTo>
                  <a:lnTo>
                    <a:pt x="186" y="123"/>
                  </a:lnTo>
                  <a:lnTo>
                    <a:pt x="186" y="121"/>
                  </a:lnTo>
                  <a:lnTo>
                    <a:pt x="192" y="119"/>
                  </a:lnTo>
                  <a:lnTo>
                    <a:pt x="194" y="119"/>
                  </a:lnTo>
                  <a:lnTo>
                    <a:pt x="194" y="123"/>
                  </a:lnTo>
                  <a:lnTo>
                    <a:pt x="192" y="126"/>
                  </a:lnTo>
                  <a:lnTo>
                    <a:pt x="188" y="130"/>
                  </a:lnTo>
                  <a:lnTo>
                    <a:pt x="188" y="130"/>
                  </a:lnTo>
                  <a:lnTo>
                    <a:pt x="192" y="134"/>
                  </a:lnTo>
                  <a:lnTo>
                    <a:pt x="192" y="138"/>
                  </a:lnTo>
                  <a:lnTo>
                    <a:pt x="194" y="138"/>
                  </a:lnTo>
                  <a:lnTo>
                    <a:pt x="198" y="138"/>
                  </a:lnTo>
                  <a:lnTo>
                    <a:pt x="201" y="136"/>
                  </a:lnTo>
                  <a:lnTo>
                    <a:pt x="201" y="134"/>
                  </a:lnTo>
                  <a:lnTo>
                    <a:pt x="203" y="130"/>
                  </a:lnTo>
                  <a:lnTo>
                    <a:pt x="203" y="124"/>
                  </a:lnTo>
                  <a:lnTo>
                    <a:pt x="205" y="121"/>
                  </a:lnTo>
                  <a:lnTo>
                    <a:pt x="211" y="123"/>
                  </a:lnTo>
                  <a:lnTo>
                    <a:pt x="213" y="123"/>
                  </a:lnTo>
                  <a:lnTo>
                    <a:pt x="222" y="119"/>
                  </a:lnTo>
                  <a:lnTo>
                    <a:pt x="226" y="119"/>
                  </a:lnTo>
                  <a:lnTo>
                    <a:pt x="226" y="117"/>
                  </a:lnTo>
                  <a:lnTo>
                    <a:pt x="237" y="117"/>
                  </a:lnTo>
                  <a:lnTo>
                    <a:pt x="241" y="117"/>
                  </a:lnTo>
                  <a:lnTo>
                    <a:pt x="243" y="119"/>
                  </a:lnTo>
                  <a:lnTo>
                    <a:pt x="248" y="121"/>
                  </a:lnTo>
                  <a:lnTo>
                    <a:pt x="256" y="121"/>
                  </a:lnTo>
                  <a:lnTo>
                    <a:pt x="256" y="119"/>
                  </a:lnTo>
                  <a:lnTo>
                    <a:pt x="262" y="117"/>
                  </a:lnTo>
                  <a:lnTo>
                    <a:pt x="265" y="115"/>
                  </a:lnTo>
                  <a:lnTo>
                    <a:pt x="271" y="113"/>
                  </a:lnTo>
                  <a:lnTo>
                    <a:pt x="277" y="113"/>
                  </a:lnTo>
                  <a:lnTo>
                    <a:pt x="280" y="111"/>
                  </a:lnTo>
                  <a:lnTo>
                    <a:pt x="288" y="111"/>
                  </a:lnTo>
                  <a:lnTo>
                    <a:pt x="296" y="109"/>
                  </a:lnTo>
                  <a:lnTo>
                    <a:pt x="301" y="109"/>
                  </a:lnTo>
                  <a:lnTo>
                    <a:pt x="301" y="111"/>
                  </a:lnTo>
                  <a:lnTo>
                    <a:pt x="307" y="106"/>
                  </a:lnTo>
                  <a:lnTo>
                    <a:pt x="312" y="106"/>
                  </a:lnTo>
                  <a:lnTo>
                    <a:pt x="314" y="106"/>
                  </a:lnTo>
                  <a:lnTo>
                    <a:pt x="322" y="106"/>
                  </a:lnTo>
                  <a:lnTo>
                    <a:pt x="328" y="106"/>
                  </a:lnTo>
                  <a:lnTo>
                    <a:pt x="331" y="106"/>
                  </a:lnTo>
                  <a:lnTo>
                    <a:pt x="335" y="109"/>
                  </a:lnTo>
                  <a:lnTo>
                    <a:pt x="335" y="111"/>
                  </a:lnTo>
                  <a:lnTo>
                    <a:pt x="337" y="111"/>
                  </a:lnTo>
                  <a:lnTo>
                    <a:pt x="344" y="111"/>
                  </a:lnTo>
                  <a:lnTo>
                    <a:pt x="344" y="109"/>
                  </a:lnTo>
                  <a:lnTo>
                    <a:pt x="341" y="106"/>
                  </a:lnTo>
                  <a:lnTo>
                    <a:pt x="337" y="96"/>
                  </a:lnTo>
                  <a:lnTo>
                    <a:pt x="331" y="94"/>
                  </a:lnTo>
                  <a:lnTo>
                    <a:pt x="331" y="92"/>
                  </a:lnTo>
                  <a:lnTo>
                    <a:pt x="331" y="87"/>
                  </a:lnTo>
                  <a:lnTo>
                    <a:pt x="335" y="81"/>
                  </a:lnTo>
                  <a:lnTo>
                    <a:pt x="335" y="79"/>
                  </a:lnTo>
                  <a:lnTo>
                    <a:pt x="329" y="77"/>
                  </a:lnTo>
                  <a:lnTo>
                    <a:pt x="329" y="75"/>
                  </a:lnTo>
                  <a:lnTo>
                    <a:pt x="331" y="72"/>
                  </a:lnTo>
                  <a:lnTo>
                    <a:pt x="329" y="64"/>
                  </a:lnTo>
                  <a:lnTo>
                    <a:pt x="328" y="60"/>
                  </a:lnTo>
                  <a:lnTo>
                    <a:pt x="326" y="59"/>
                  </a:lnTo>
                  <a:lnTo>
                    <a:pt x="331" y="57"/>
                  </a:lnTo>
                  <a:lnTo>
                    <a:pt x="331" y="53"/>
                  </a:lnTo>
                  <a:lnTo>
                    <a:pt x="335" y="51"/>
                  </a:lnTo>
                  <a:lnTo>
                    <a:pt x="331" y="47"/>
                  </a:lnTo>
                  <a:lnTo>
                    <a:pt x="331" y="45"/>
                  </a:lnTo>
                  <a:lnTo>
                    <a:pt x="328" y="45"/>
                  </a:lnTo>
                  <a:lnTo>
                    <a:pt x="320" y="45"/>
                  </a:lnTo>
                  <a:lnTo>
                    <a:pt x="314" y="42"/>
                  </a:lnTo>
                  <a:lnTo>
                    <a:pt x="314" y="34"/>
                  </a:lnTo>
                  <a:lnTo>
                    <a:pt x="316" y="28"/>
                  </a:lnTo>
                  <a:lnTo>
                    <a:pt x="314" y="23"/>
                  </a:lnTo>
                  <a:lnTo>
                    <a:pt x="311" y="23"/>
                  </a:lnTo>
                  <a:lnTo>
                    <a:pt x="311" y="21"/>
                  </a:lnTo>
                  <a:lnTo>
                    <a:pt x="307" y="17"/>
                  </a:lnTo>
                  <a:lnTo>
                    <a:pt x="305" y="17"/>
                  </a:lnTo>
                  <a:lnTo>
                    <a:pt x="297" y="11"/>
                  </a:lnTo>
                  <a:lnTo>
                    <a:pt x="294" y="10"/>
                  </a:lnTo>
                  <a:lnTo>
                    <a:pt x="290" y="11"/>
                  </a:lnTo>
                  <a:lnTo>
                    <a:pt x="288" y="13"/>
                  </a:lnTo>
                  <a:lnTo>
                    <a:pt x="282" y="11"/>
                  </a:lnTo>
                  <a:lnTo>
                    <a:pt x="280" y="13"/>
                  </a:lnTo>
                  <a:lnTo>
                    <a:pt x="280" y="11"/>
                  </a:lnTo>
                  <a:lnTo>
                    <a:pt x="280" y="10"/>
                  </a:lnTo>
                  <a:lnTo>
                    <a:pt x="277" y="8"/>
                  </a:lnTo>
                  <a:lnTo>
                    <a:pt x="277" y="8"/>
                  </a:lnTo>
                  <a:lnTo>
                    <a:pt x="277" y="8"/>
                  </a:lnTo>
                  <a:lnTo>
                    <a:pt x="277" y="8"/>
                  </a:lnTo>
                  <a:close/>
                  <a:moveTo>
                    <a:pt x="41" y="126"/>
                  </a:moveTo>
                  <a:lnTo>
                    <a:pt x="43" y="126"/>
                  </a:lnTo>
                  <a:lnTo>
                    <a:pt x="45" y="126"/>
                  </a:lnTo>
                  <a:lnTo>
                    <a:pt x="45" y="126"/>
                  </a:lnTo>
                  <a:lnTo>
                    <a:pt x="43" y="130"/>
                  </a:lnTo>
                  <a:lnTo>
                    <a:pt x="41" y="126"/>
                  </a:lnTo>
                  <a:lnTo>
                    <a:pt x="41" y="126"/>
                  </a:lnTo>
                  <a:lnTo>
                    <a:pt x="41" y="126"/>
                  </a:lnTo>
                  <a:lnTo>
                    <a:pt x="41" y="126"/>
                  </a:lnTo>
                  <a:close/>
                  <a:moveTo>
                    <a:pt x="0" y="45"/>
                  </a:moveTo>
                  <a:lnTo>
                    <a:pt x="6" y="47"/>
                  </a:lnTo>
                  <a:lnTo>
                    <a:pt x="8" y="47"/>
                  </a:lnTo>
                  <a:lnTo>
                    <a:pt x="8" y="43"/>
                  </a:lnTo>
                  <a:lnTo>
                    <a:pt x="6" y="43"/>
                  </a:lnTo>
                  <a:lnTo>
                    <a:pt x="6" y="45"/>
                  </a:lnTo>
                  <a:lnTo>
                    <a:pt x="0" y="45"/>
                  </a:lnTo>
                  <a:lnTo>
                    <a:pt x="0" y="45"/>
                  </a:lnTo>
                  <a:lnTo>
                    <a:pt x="0" y="45"/>
                  </a:lnTo>
                  <a:lnTo>
                    <a:pt x="0" y="4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8" name="Freeform 61">
              <a:extLst>
                <a:ext uri="{FF2B5EF4-FFF2-40B4-BE49-F238E27FC236}">
                  <a16:creationId xmlns:a16="http://schemas.microsoft.com/office/drawing/2014/main" id="{0FEF58FA-D779-4F1B-95B7-13E51C812FF9}"/>
                </a:ext>
              </a:extLst>
            </p:cNvPr>
            <p:cNvSpPr>
              <a:spLocks/>
            </p:cNvSpPr>
            <p:nvPr/>
          </p:nvSpPr>
          <p:spPr bwMode="auto">
            <a:xfrm>
              <a:off x="3475" y="2368"/>
              <a:ext cx="179" cy="174"/>
            </a:xfrm>
            <a:custGeom>
              <a:avLst/>
              <a:gdLst/>
              <a:ahLst/>
              <a:cxnLst>
                <a:cxn ang="0">
                  <a:pos x="177" y="149"/>
                </a:cxn>
                <a:cxn ang="0">
                  <a:pos x="172" y="144"/>
                </a:cxn>
                <a:cxn ang="0">
                  <a:pos x="164" y="134"/>
                </a:cxn>
                <a:cxn ang="0">
                  <a:pos x="164" y="123"/>
                </a:cxn>
                <a:cxn ang="0">
                  <a:pos x="164" y="110"/>
                </a:cxn>
                <a:cxn ang="0">
                  <a:pos x="157" y="104"/>
                </a:cxn>
                <a:cxn ang="0">
                  <a:pos x="151" y="100"/>
                </a:cxn>
                <a:cxn ang="0">
                  <a:pos x="136" y="91"/>
                </a:cxn>
                <a:cxn ang="0">
                  <a:pos x="128" y="91"/>
                </a:cxn>
                <a:cxn ang="0">
                  <a:pos x="128" y="87"/>
                </a:cxn>
                <a:cxn ang="0">
                  <a:pos x="127" y="80"/>
                </a:cxn>
                <a:cxn ang="0">
                  <a:pos x="123" y="76"/>
                </a:cxn>
                <a:cxn ang="0">
                  <a:pos x="117" y="74"/>
                </a:cxn>
                <a:cxn ang="0">
                  <a:pos x="117" y="70"/>
                </a:cxn>
                <a:cxn ang="0">
                  <a:pos x="117" y="65"/>
                </a:cxn>
                <a:cxn ang="0">
                  <a:pos x="123" y="57"/>
                </a:cxn>
                <a:cxn ang="0">
                  <a:pos x="123" y="51"/>
                </a:cxn>
                <a:cxn ang="0">
                  <a:pos x="127" y="42"/>
                </a:cxn>
                <a:cxn ang="0">
                  <a:pos x="127" y="36"/>
                </a:cxn>
                <a:cxn ang="0">
                  <a:pos x="130" y="34"/>
                </a:cxn>
                <a:cxn ang="0">
                  <a:pos x="130" y="34"/>
                </a:cxn>
                <a:cxn ang="0">
                  <a:pos x="123" y="34"/>
                </a:cxn>
                <a:cxn ang="0">
                  <a:pos x="113" y="29"/>
                </a:cxn>
                <a:cxn ang="0">
                  <a:pos x="108" y="27"/>
                </a:cxn>
                <a:cxn ang="0">
                  <a:pos x="104" y="19"/>
                </a:cxn>
                <a:cxn ang="0">
                  <a:pos x="102" y="14"/>
                </a:cxn>
                <a:cxn ang="0">
                  <a:pos x="98" y="6"/>
                </a:cxn>
                <a:cxn ang="0">
                  <a:pos x="89" y="6"/>
                </a:cxn>
                <a:cxn ang="0">
                  <a:pos x="89" y="4"/>
                </a:cxn>
                <a:cxn ang="0">
                  <a:pos x="80" y="0"/>
                </a:cxn>
                <a:cxn ang="0">
                  <a:pos x="68" y="0"/>
                </a:cxn>
                <a:cxn ang="0">
                  <a:pos x="61" y="0"/>
                </a:cxn>
                <a:cxn ang="0">
                  <a:pos x="57" y="6"/>
                </a:cxn>
                <a:cxn ang="0">
                  <a:pos x="53" y="10"/>
                </a:cxn>
                <a:cxn ang="0">
                  <a:pos x="40" y="16"/>
                </a:cxn>
                <a:cxn ang="0">
                  <a:pos x="38" y="29"/>
                </a:cxn>
                <a:cxn ang="0">
                  <a:pos x="40" y="40"/>
                </a:cxn>
                <a:cxn ang="0">
                  <a:pos x="40" y="49"/>
                </a:cxn>
                <a:cxn ang="0">
                  <a:pos x="36" y="61"/>
                </a:cxn>
                <a:cxn ang="0">
                  <a:pos x="0" y="87"/>
                </a:cxn>
                <a:cxn ang="0">
                  <a:pos x="0" y="87"/>
                </a:cxn>
                <a:cxn ang="0">
                  <a:pos x="29" y="114"/>
                </a:cxn>
                <a:cxn ang="0">
                  <a:pos x="147" y="174"/>
                </a:cxn>
                <a:cxn ang="0">
                  <a:pos x="155" y="157"/>
                </a:cxn>
                <a:cxn ang="0">
                  <a:pos x="170" y="157"/>
                </a:cxn>
                <a:cxn ang="0">
                  <a:pos x="176" y="155"/>
                </a:cxn>
                <a:cxn ang="0">
                  <a:pos x="179" y="149"/>
                </a:cxn>
                <a:cxn ang="0">
                  <a:pos x="179" y="149"/>
                </a:cxn>
              </a:cxnLst>
              <a:rect l="0" t="0" r="r" b="b"/>
              <a:pathLst>
                <a:path w="179" h="174">
                  <a:moveTo>
                    <a:pt x="179" y="149"/>
                  </a:moveTo>
                  <a:lnTo>
                    <a:pt x="177" y="149"/>
                  </a:lnTo>
                  <a:lnTo>
                    <a:pt x="176" y="147"/>
                  </a:lnTo>
                  <a:lnTo>
                    <a:pt x="172" y="144"/>
                  </a:lnTo>
                  <a:lnTo>
                    <a:pt x="172" y="134"/>
                  </a:lnTo>
                  <a:lnTo>
                    <a:pt x="164" y="134"/>
                  </a:lnTo>
                  <a:lnTo>
                    <a:pt x="162" y="129"/>
                  </a:lnTo>
                  <a:lnTo>
                    <a:pt x="164" y="123"/>
                  </a:lnTo>
                  <a:lnTo>
                    <a:pt x="168" y="119"/>
                  </a:lnTo>
                  <a:lnTo>
                    <a:pt x="164" y="110"/>
                  </a:lnTo>
                  <a:lnTo>
                    <a:pt x="160" y="108"/>
                  </a:lnTo>
                  <a:lnTo>
                    <a:pt x="157" y="104"/>
                  </a:lnTo>
                  <a:lnTo>
                    <a:pt x="153" y="100"/>
                  </a:lnTo>
                  <a:lnTo>
                    <a:pt x="151" y="100"/>
                  </a:lnTo>
                  <a:lnTo>
                    <a:pt x="138" y="91"/>
                  </a:lnTo>
                  <a:lnTo>
                    <a:pt x="136" y="91"/>
                  </a:lnTo>
                  <a:lnTo>
                    <a:pt x="134" y="95"/>
                  </a:lnTo>
                  <a:lnTo>
                    <a:pt x="128" y="91"/>
                  </a:lnTo>
                  <a:lnTo>
                    <a:pt x="130" y="89"/>
                  </a:lnTo>
                  <a:lnTo>
                    <a:pt x="128" y="87"/>
                  </a:lnTo>
                  <a:lnTo>
                    <a:pt x="130" y="83"/>
                  </a:lnTo>
                  <a:lnTo>
                    <a:pt x="127" y="80"/>
                  </a:lnTo>
                  <a:lnTo>
                    <a:pt x="127" y="78"/>
                  </a:lnTo>
                  <a:lnTo>
                    <a:pt x="123" y="76"/>
                  </a:lnTo>
                  <a:lnTo>
                    <a:pt x="121" y="74"/>
                  </a:lnTo>
                  <a:lnTo>
                    <a:pt x="117" y="74"/>
                  </a:lnTo>
                  <a:lnTo>
                    <a:pt x="117" y="70"/>
                  </a:lnTo>
                  <a:lnTo>
                    <a:pt x="117" y="70"/>
                  </a:lnTo>
                  <a:lnTo>
                    <a:pt x="117" y="66"/>
                  </a:lnTo>
                  <a:lnTo>
                    <a:pt x="117" y="65"/>
                  </a:lnTo>
                  <a:lnTo>
                    <a:pt x="117" y="59"/>
                  </a:lnTo>
                  <a:lnTo>
                    <a:pt x="123" y="57"/>
                  </a:lnTo>
                  <a:lnTo>
                    <a:pt x="123" y="51"/>
                  </a:lnTo>
                  <a:lnTo>
                    <a:pt x="123" y="51"/>
                  </a:lnTo>
                  <a:lnTo>
                    <a:pt x="127" y="49"/>
                  </a:lnTo>
                  <a:lnTo>
                    <a:pt x="127" y="42"/>
                  </a:lnTo>
                  <a:lnTo>
                    <a:pt x="127" y="42"/>
                  </a:lnTo>
                  <a:lnTo>
                    <a:pt x="127" y="36"/>
                  </a:lnTo>
                  <a:lnTo>
                    <a:pt x="127" y="36"/>
                  </a:lnTo>
                  <a:lnTo>
                    <a:pt x="130" y="34"/>
                  </a:lnTo>
                  <a:lnTo>
                    <a:pt x="130" y="34"/>
                  </a:lnTo>
                  <a:lnTo>
                    <a:pt x="130" y="34"/>
                  </a:lnTo>
                  <a:lnTo>
                    <a:pt x="127" y="31"/>
                  </a:lnTo>
                  <a:lnTo>
                    <a:pt x="123" y="34"/>
                  </a:lnTo>
                  <a:lnTo>
                    <a:pt x="121" y="31"/>
                  </a:lnTo>
                  <a:lnTo>
                    <a:pt x="113" y="29"/>
                  </a:lnTo>
                  <a:lnTo>
                    <a:pt x="112" y="29"/>
                  </a:lnTo>
                  <a:lnTo>
                    <a:pt x="108" y="27"/>
                  </a:lnTo>
                  <a:lnTo>
                    <a:pt x="106" y="21"/>
                  </a:lnTo>
                  <a:lnTo>
                    <a:pt x="104" y="19"/>
                  </a:lnTo>
                  <a:lnTo>
                    <a:pt x="102" y="17"/>
                  </a:lnTo>
                  <a:lnTo>
                    <a:pt x="102" y="14"/>
                  </a:lnTo>
                  <a:lnTo>
                    <a:pt x="102" y="10"/>
                  </a:lnTo>
                  <a:lnTo>
                    <a:pt x="98" y="6"/>
                  </a:lnTo>
                  <a:lnTo>
                    <a:pt x="96" y="6"/>
                  </a:lnTo>
                  <a:lnTo>
                    <a:pt x="89" y="6"/>
                  </a:lnTo>
                  <a:lnTo>
                    <a:pt x="89" y="6"/>
                  </a:lnTo>
                  <a:lnTo>
                    <a:pt x="89" y="4"/>
                  </a:lnTo>
                  <a:lnTo>
                    <a:pt x="85" y="0"/>
                  </a:lnTo>
                  <a:lnTo>
                    <a:pt x="80" y="0"/>
                  </a:lnTo>
                  <a:lnTo>
                    <a:pt x="74" y="0"/>
                  </a:lnTo>
                  <a:lnTo>
                    <a:pt x="68" y="0"/>
                  </a:lnTo>
                  <a:lnTo>
                    <a:pt x="64" y="0"/>
                  </a:lnTo>
                  <a:lnTo>
                    <a:pt x="61" y="0"/>
                  </a:lnTo>
                  <a:lnTo>
                    <a:pt x="55" y="6"/>
                  </a:lnTo>
                  <a:lnTo>
                    <a:pt x="57" y="6"/>
                  </a:lnTo>
                  <a:lnTo>
                    <a:pt x="53" y="10"/>
                  </a:lnTo>
                  <a:lnTo>
                    <a:pt x="53" y="10"/>
                  </a:lnTo>
                  <a:lnTo>
                    <a:pt x="48" y="14"/>
                  </a:lnTo>
                  <a:lnTo>
                    <a:pt x="40" y="16"/>
                  </a:lnTo>
                  <a:lnTo>
                    <a:pt x="38" y="21"/>
                  </a:lnTo>
                  <a:lnTo>
                    <a:pt x="38" y="29"/>
                  </a:lnTo>
                  <a:lnTo>
                    <a:pt x="40" y="34"/>
                  </a:lnTo>
                  <a:lnTo>
                    <a:pt x="40" y="40"/>
                  </a:lnTo>
                  <a:lnTo>
                    <a:pt x="38" y="48"/>
                  </a:lnTo>
                  <a:lnTo>
                    <a:pt x="40" y="49"/>
                  </a:lnTo>
                  <a:lnTo>
                    <a:pt x="40" y="55"/>
                  </a:lnTo>
                  <a:lnTo>
                    <a:pt x="36" y="61"/>
                  </a:lnTo>
                  <a:lnTo>
                    <a:pt x="34" y="61"/>
                  </a:lnTo>
                  <a:lnTo>
                    <a:pt x="0" y="87"/>
                  </a:lnTo>
                  <a:lnTo>
                    <a:pt x="0" y="87"/>
                  </a:lnTo>
                  <a:lnTo>
                    <a:pt x="0" y="87"/>
                  </a:lnTo>
                  <a:lnTo>
                    <a:pt x="12" y="110"/>
                  </a:lnTo>
                  <a:lnTo>
                    <a:pt x="29" y="114"/>
                  </a:lnTo>
                  <a:lnTo>
                    <a:pt x="113" y="174"/>
                  </a:lnTo>
                  <a:lnTo>
                    <a:pt x="147" y="174"/>
                  </a:lnTo>
                  <a:lnTo>
                    <a:pt x="151" y="164"/>
                  </a:lnTo>
                  <a:lnTo>
                    <a:pt x="155" y="157"/>
                  </a:lnTo>
                  <a:lnTo>
                    <a:pt x="164" y="153"/>
                  </a:lnTo>
                  <a:lnTo>
                    <a:pt x="170" y="157"/>
                  </a:lnTo>
                  <a:lnTo>
                    <a:pt x="176" y="155"/>
                  </a:lnTo>
                  <a:lnTo>
                    <a:pt x="176" y="155"/>
                  </a:lnTo>
                  <a:lnTo>
                    <a:pt x="177" y="151"/>
                  </a:lnTo>
                  <a:lnTo>
                    <a:pt x="179" y="149"/>
                  </a:lnTo>
                  <a:lnTo>
                    <a:pt x="179" y="149"/>
                  </a:lnTo>
                  <a:lnTo>
                    <a:pt x="179" y="1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9" name="Freeform 62">
              <a:extLst>
                <a:ext uri="{FF2B5EF4-FFF2-40B4-BE49-F238E27FC236}">
                  <a16:creationId xmlns:a16="http://schemas.microsoft.com/office/drawing/2014/main" id="{03C49F40-6655-473D-BACB-E6C5DBDC9493}"/>
                </a:ext>
              </a:extLst>
            </p:cNvPr>
            <p:cNvSpPr>
              <a:spLocks/>
            </p:cNvSpPr>
            <p:nvPr/>
          </p:nvSpPr>
          <p:spPr bwMode="auto">
            <a:xfrm>
              <a:off x="3475" y="2368"/>
              <a:ext cx="179" cy="174"/>
            </a:xfrm>
            <a:custGeom>
              <a:avLst/>
              <a:gdLst/>
              <a:ahLst/>
              <a:cxnLst>
                <a:cxn ang="0">
                  <a:pos x="177" y="149"/>
                </a:cxn>
                <a:cxn ang="0">
                  <a:pos x="172" y="144"/>
                </a:cxn>
                <a:cxn ang="0">
                  <a:pos x="164" y="134"/>
                </a:cxn>
                <a:cxn ang="0">
                  <a:pos x="164" y="123"/>
                </a:cxn>
                <a:cxn ang="0">
                  <a:pos x="164" y="110"/>
                </a:cxn>
                <a:cxn ang="0">
                  <a:pos x="157" y="104"/>
                </a:cxn>
                <a:cxn ang="0">
                  <a:pos x="151" y="100"/>
                </a:cxn>
                <a:cxn ang="0">
                  <a:pos x="136" y="91"/>
                </a:cxn>
                <a:cxn ang="0">
                  <a:pos x="128" y="91"/>
                </a:cxn>
                <a:cxn ang="0">
                  <a:pos x="128" y="87"/>
                </a:cxn>
                <a:cxn ang="0">
                  <a:pos x="127" y="80"/>
                </a:cxn>
                <a:cxn ang="0">
                  <a:pos x="123" y="76"/>
                </a:cxn>
                <a:cxn ang="0">
                  <a:pos x="117" y="74"/>
                </a:cxn>
                <a:cxn ang="0">
                  <a:pos x="117" y="70"/>
                </a:cxn>
                <a:cxn ang="0">
                  <a:pos x="117" y="65"/>
                </a:cxn>
                <a:cxn ang="0">
                  <a:pos x="123" y="57"/>
                </a:cxn>
                <a:cxn ang="0">
                  <a:pos x="123" y="51"/>
                </a:cxn>
                <a:cxn ang="0">
                  <a:pos x="127" y="42"/>
                </a:cxn>
                <a:cxn ang="0">
                  <a:pos x="127" y="36"/>
                </a:cxn>
                <a:cxn ang="0">
                  <a:pos x="130" y="34"/>
                </a:cxn>
                <a:cxn ang="0">
                  <a:pos x="130" y="34"/>
                </a:cxn>
                <a:cxn ang="0">
                  <a:pos x="123" y="34"/>
                </a:cxn>
                <a:cxn ang="0">
                  <a:pos x="113" y="29"/>
                </a:cxn>
                <a:cxn ang="0">
                  <a:pos x="108" y="27"/>
                </a:cxn>
                <a:cxn ang="0">
                  <a:pos x="104" y="19"/>
                </a:cxn>
                <a:cxn ang="0">
                  <a:pos x="102" y="14"/>
                </a:cxn>
                <a:cxn ang="0">
                  <a:pos x="98" y="6"/>
                </a:cxn>
                <a:cxn ang="0">
                  <a:pos x="89" y="6"/>
                </a:cxn>
                <a:cxn ang="0">
                  <a:pos x="89" y="4"/>
                </a:cxn>
                <a:cxn ang="0">
                  <a:pos x="80" y="0"/>
                </a:cxn>
                <a:cxn ang="0">
                  <a:pos x="68" y="0"/>
                </a:cxn>
                <a:cxn ang="0">
                  <a:pos x="61" y="0"/>
                </a:cxn>
                <a:cxn ang="0">
                  <a:pos x="57" y="6"/>
                </a:cxn>
                <a:cxn ang="0">
                  <a:pos x="53" y="10"/>
                </a:cxn>
                <a:cxn ang="0">
                  <a:pos x="40" y="16"/>
                </a:cxn>
                <a:cxn ang="0">
                  <a:pos x="38" y="29"/>
                </a:cxn>
                <a:cxn ang="0">
                  <a:pos x="40" y="40"/>
                </a:cxn>
                <a:cxn ang="0">
                  <a:pos x="40" y="49"/>
                </a:cxn>
                <a:cxn ang="0">
                  <a:pos x="36" y="61"/>
                </a:cxn>
                <a:cxn ang="0">
                  <a:pos x="0" y="87"/>
                </a:cxn>
                <a:cxn ang="0">
                  <a:pos x="0" y="87"/>
                </a:cxn>
                <a:cxn ang="0">
                  <a:pos x="29" y="114"/>
                </a:cxn>
                <a:cxn ang="0">
                  <a:pos x="147" y="174"/>
                </a:cxn>
                <a:cxn ang="0">
                  <a:pos x="155" y="157"/>
                </a:cxn>
                <a:cxn ang="0">
                  <a:pos x="170" y="157"/>
                </a:cxn>
                <a:cxn ang="0">
                  <a:pos x="176" y="155"/>
                </a:cxn>
                <a:cxn ang="0">
                  <a:pos x="179" y="149"/>
                </a:cxn>
                <a:cxn ang="0">
                  <a:pos x="179" y="149"/>
                </a:cxn>
              </a:cxnLst>
              <a:rect l="0" t="0" r="r" b="b"/>
              <a:pathLst>
                <a:path w="179" h="174">
                  <a:moveTo>
                    <a:pt x="179" y="149"/>
                  </a:moveTo>
                  <a:lnTo>
                    <a:pt x="177" y="149"/>
                  </a:lnTo>
                  <a:lnTo>
                    <a:pt x="176" y="147"/>
                  </a:lnTo>
                  <a:lnTo>
                    <a:pt x="172" y="144"/>
                  </a:lnTo>
                  <a:lnTo>
                    <a:pt x="172" y="134"/>
                  </a:lnTo>
                  <a:lnTo>
                    <a:pt x="164" y="134"/>
                  </a:lnTo>
                  <a:lnTo>
                    <a:pt x="162" y="129"/>
                  </a:lnTo>
                  <a:lnTo>
                    <a:pt x="164" y="123"/>
                  </a:lnTo>
                  <a:lnTo>
                    <a:pt x="168" y="119"/>
                  </a:lnTo>
                  <a:lnTo>
                    <a:pt x="164" y="110"/>
                  </a:lnTo>
                  <a:lnTo>
                    <a:pt x="160" y="108"/>
                  </a:lnTo>
                  <a:lnTo>
                    <a:pt x="157" y="104"/>
                  </a:lnTo>
                  <a:lnTo>
                    <a:pt x="153" y="100"/>
                  </a:lnTo>
                  <a:lnTo>
                    <a:pt x="151" y="100"/>
                  </a:lnTo>
                  <a:lnTo>
                    <a:pt x="138" y="91"/>
                  </a:lnTo>
                  <a:lnTo>
                    <a:pt x="136" y="91"/>
                  </a:lnTo>
                  <a:lnTo>
                    <a:pt x="134" y="95"/>
                  </a:lnTo>
                  <a:lnTo>
                    <a:pt x="128" y="91"/>
                  </a:lnTo>
                  <a:lnTo>
                    <a:pt x="130" y="89"/>
                  </a:lnTo>
                  <a:lnTo>
                    <a:pt x="128" y="87"/>
                  </a:lnTo>
                  <a:lnTo>
                    <a:pt x="130" y="83"/>
                  </a:lnTo>
                  <a:lnTo>
                    <a:pt x="127" y="80"/>
                  </a:lnTo>
                  <a:lnTo>
                    <a:pt x="127" y="78"/>
                  </a:lnTo>
                  <a:lnTo>
                    <a:pt x="123" y="76"/>
                  </a:lnTo>
                  <a:lnTo>
                    <a:pt x="121" y="74"/>
                  </a:lnTo>
                  <a:lnTo>
                    <a:pt x="117" y="74"/>
                  </a:lnTo>
                  <a:lnTo>
                    <a:pt x="117" y="70"/>
                  </a:lnTo>
                  <a:lnTo>
                    <a:pt x="117" y="70"/>
                  </a:lnTo>
                  <a:lnTo>
                    <a:pt x="117" y="66"/>
                  </a:lnTo>
                  <a:lnTo>
                    <a:pt x="117" y="65"/>
                  </a:lnTo>
                  <a:lnTo>
                    <a:pt x="117" y="59"/>
                  </a:lnTo>
                  <a:lnTo>
                    <a:pt x="123" y="57"/>
                  </a:lnTo>
                  <a:lnTo>
                    <a:pt x="123" y="51"/>
                  </a:lnTo>
                  <a:lnTo>
                    <a:pt x="123" y="51"/>
                  </a:lnTo>
                  <a:lnTo>
                    <a:pt x="127" y="49"/>
                  </a:lnTo>
                  <a:lnTo>
                    <a:pt x="127" y="42"/>
                  </a:lnTo>
                  <a:lnTo>
                    <a:pt x="127" y="42"/>
                  </a:lnTo>
                  <a:lnTo>
                    <a:pt x="127" y="36"/>
                  </a:lnTo>
                  <a:lnTo>
                    <a:pt x="127" y="36"/>
                  </a:lnTo>
                  <a:lnTo>
                    <a:pt x="130" y="34"/>
                  </a:lnTo>
                  <a:lnTo>
                    <a:pt x="130" y="34"/>
                  </a:lnTo>
                  <a:lnTo>
                    <a:pt x="130" y="34"/>
                  </a:lnTo>
                  <a:lnTo>
                    <a:pt x="127" y="31"/>
                  </a:lnTo>
                  <a:lnTo>
                    <a:pt x="123" y="34"/>
                  </a:lnTo>
                  <a:lnTo>
                    <a:pt x="121" y="31"/>
                  </a:lnTo>
                  <a:lnTo>
                    <a:pt x="113" y="29"/>
                  </a:lnTo>
                  <a:lnTo>
                    <a:pt x="112" y="29"/>
                  </a:lnTo>
                  <a:lnTo>
                    <a:pt x="108" y="27"/>
                  </a:lnTo>
                  <a:lnTo>
                    <a:pt x="106" y="21"/>
                  </a:lnTo>
                  <a:lnTo>
                    <a:pt x="104" y="19"/>
                  </a:lnTo>
                  <a:lnTo>
                    <a:pt x="102" y="17"/>
                  </a:lnTo>
                  <a:lnTo>
                    <a:pt x="102" y="14"/>
                  </a:lnTo>
                  <a:lnTo>
                    <a:pt x="102" y="10"/>
                  </a:lnTo>
                  <a:lnTo>
                    <a:pt x="98" y="6"/>
                  </a:lnTo>
                  <a:lnTo>
                    <a:pt x="96" y="6"/>
                  </a:lnTo>
                  <a:lnTo>
                    <a:pt x="89" y="6"/>
                  </a:lnTo>
                  <a:lnTo>
                    <a:pt x="89" y="6"/>
                  </a:lnTo>
                  <a:lnTo>
                    <a:pt x="89" y="4"/>
                  </a:lnTo>
                  <a:lnTo>
                    <a:pt x="85" y="0"/>
                  </a:lnTo>
                  <a:lnTo>
                    <a:pt x="80" y="0"/>
                  </a:lnTo>
                  <a:lnTo>
                    <a:pt x="74" y="0"/>
                  </a:lnTo>
                  <a:lnTo>
                    <a:pt x="68" y="0"/>
                  </a:lnTo>
                  <a:lnTo>
                    <a:pt x="64" y="0"/>
                  </a:lnTo>
                  <a:lnTo>
                    <a:pt x="61" y="0"/>
                  </a:lnTo>
                  <a:lnTo>
                    <a:pt x="55" y="6"/>
                  </a:lnTo>
                  <a:lnTo>
                    <a:pt x="57" y="6"/>
                  </a:lnTo>
                  <a:lnTo>
                    <a:pt x="53" y="10"/>
                  </a:lnTo>
                  <a:lnTo>
                    <a:pt x="53" y="10"/>
                  </a:lnTo>
                  <a:lnTo>
                    <a:pt x="48" y="14"/>
                  </a:lnTo>
                  <a:lnTo>
                    <a:pt x="40" y="16"/>
                  </a:lnTo>
                  <a:lnTo>
                    <a:pt x="38" y="21"/>
                  </a:lnTo>
                  <a:lnTo>
                    <a:pt x="38" y="29"/>
                  </a:lnTo>
                  <a:lnTo>
                    <a:pt x="40" y="34"/>
                  </a:lnTo>
                  <a:lnTo>
                    <a:pt x="40" y="40"/>
                  </a:lnTo>
                  <a:lnTo>
                    <a:pt x="38" y="48"/>
                  </a:lnTo>
                  <a:lnTo>
                    <a:pt x="40" y="49"/>
                  </a:lnTo>
                  <a:lnTo>
                    <a:pt x="40" y="55"/>
                  </a:lnTo>
                  <a:lnTo>
                    <a:pt x="36" y="61"/>
                  </a:lnTo>
                  <a:lnTo>
                    <a:pt x="34" y="61"/>
                  </a:lnTo>
                  <a:lnTo>
                    <a:pt x="0" y="87"/>
                  </a:lnTo>
                  <a:lnTo>
                    <a:pt x="0" y="87"/>
                  </a:lnTo>
                  <a:lnTo>
                    <a:pt x="0" y="87"/>
                  </a:lnTo>
                  <a:lnTo>
                    <a:pt x="12" y="110"/>
                  </a:lnTo>
                  <a:lnTo>
                    <a:pt x="29" y="114"/>
                  </a:lnTo>
                  <a:lnTo>
                    <a:pt x="113" y="174"/>
                  </a:lnTo>
                  <a:lnTo>
                    <a:pt x="147" y="174"/>
                  </a:lnTo>
                  <a:lnTo>
                    <a:pt x="151" y="164"/>
                  </a:lnTo>
                  <a:lnTo>
                    <a:pt x="155" y="157"/>
                  </a:lnTo>
                  <a:lnTo>
                    <a:pt x="164" y="153"/>
                  </a:lnTo>
                  <a:lnTo>
                    <a:pt x="170" y="157"/>
                  </a:lnTo>
                  <a:lnTo>
                    <a:pt x="176" y="155"/>
                  </a:lnTo>
                  <a:lnTo>
                    <a:pt x="176" y="155"/>
                  </a:lnTo>
                  <a:lnTo>
                    <a:pt x="177" y="151"/>
                  </a:lnTo>
                  <a:lnTo>
                    <a:pt x="179" y="149"/>
                  </a:lnTo>
                  <a:lnTo>
                    <a:pt x="179" y="149"/>
                  </a:lnTo>
                  <a:lnTo>
                    <a:pt x="179" y="1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0" name="Freeform 63">
              <a:extLst>
                <a:ext uri="{FF2B5EF4-FFF2-40B4-BE49-F238E27FC236}">
                  <a16:creationId xmlns:a16="http://schemas.microsoft.com/office/drawing/2014/main" id="{3A4DE662-5D38-47A2-BFA8-8EDF320AD76F}"/>
                </a:ext>
              </a:extLst>
            </p:cNvPr>
            <p:cNvSpPr>
              <a:spLocks/>
            </p:cNvSpPr>
            <p:nvPr/>
          </p:nvSpPr>
          <p:spPr bwMode="auto">
            <a:xfrm>
              <a:off x="3624" y="2521"/>
              <a:ext cx="30" cy="32"/>
            </a:xfrm>
            <a:custGeom>
              <a:avLst/>
              <a:gdLst/>
              <a:ahLst/>
              <a:cxnLst>
                <a:cxn ang="0">
                  <a:pos x="0" y="21"/>
                </a:cxn>
                <a:cxn ang="0">
                  <a:pos x="4" y="11"/>
                </a:cxn>
                <a:cxn ang="0">
                  <a:pos x="8" y="2"/>
                </a:cxn>
                <a:cxn ang="0">
                  <a:pos x="15" y="0"/>
                </a:cxn>
                <a:cxn ang="0">
                  <a:pos x="21" y="2"/>
                </a:cxn>
                <a:cxn ang="0">
                  <a:pos x="27" y="2"/>
                </a:cxn>
                <a:cxn ang="0">
                  <a:pos x="27" y="2"/>
                </a:cxn>
                <a:cxn ang="0">
                  <a:pos x="27" y="2"/>
                </a:cxn>
                <a:cxn ang="0">
                  <a:pos x="28" y="9"/>
                </a:cxn>
                <a:cxn ang="0">
                  <a:pos x="19" y="13"/>
                </a:cxn>
                <a:cxn ang="0">
                  <a:pos x="27" y="17"/>
                </a:cxn>
                <a:cxn ang="0">
                  <a:pos x="27" y="15"/>
                </a:cxn>
                <a:cxn ang="0">
                  <a:pos x="27" y="19"/>
                </a:cxn>
                <a:cxn ang="0">
                  <a:pos x="27" y="23"/>
                </a:cxn>
                <a:cxn ang="0">
                  <a:pos x="28" y="25"/>
                </a:cxn>
                <a:cxn ang="0">
                  <a:pos x="28" y="25"/>
                </a:cxn>
                <a:cxn ang="0">
                  <a:pos x="27" y="25"/>
                </a:cxn>
                <a:cxn ang="0">
                  <a:pos x="30" y="26"/>
                </a:cxn>
                <a:cxn ang="0">
                  <a:pos x="19" y="32"/>
                </a:cxn>
                <a:cxn ang="0">
                  <a:pos x="19" y="26"/>
                </a:cxn>
                <a:cxn ang="0">
                  <a:pos x="2" y="21"/>
                </a:cxn>
                <a:cxn ang="0">
                  <a:pos x="0" y="21"/>
                </a:cxn>
                <a:cxn ang="0">
                  <a:pos x="0" y="21"/>
                </a:cxn>
                <a:cxn ang="0">
                  <a:pos x="0" y="21"/>
                </a:cxn>
              </a:cxnLst>
              <a:rect l="0" t="0" r="r" b="b"/>
              <a:pathLst>
                <a:path w="30" h="32">
                  <a:moveTo>
                    <a:pt x="0" y="21"/>
                  </a:moveTo>
                  <a:lnTo>
                    <a:pt x="4" y="11"/>
                  </a:lnTo>
                  <a:lnTo>
                    <a:pt x="8" y="2"/>
                  </a:lnTo>
                  <a:lnTo>
                    <a:pt x="15" y="0"/>
                  </a:lnTo>
                  <a:lnTo>
                    <a:pt x="21" y="2"/>
                  </a:lnTo>
                  <a:lnTo>
                    <a:pt x="27" y="2"/>
                  </a:lnTo>
                  <a:lnTo>
                    <a:pt x="27" y="2"/>
                  </a:lnTo>
                  <a:lnTo>
                    <a:pt x="27" y="2"/>
                  </a:lnTo>
                  <a:lnTo>
                    <a:pt x="28" y="9"/>
                  </a:lnTo>
                  <a:lnTo>
                    <a:pt x="19" y="13"/>
                  </a:lnTo>
                  <a:lnTo>
                    <a:pt x="27" y="17"/>
                  </a:lnTo>
                  <a:lnTo>
                    <a:pt x="27" y="15"/>
                  </a:lnTo>
                  <a:lnTo>
                    <a:pt x="27" y="19"/>
                  </a:lnTo>
                  <a:lnTo>
                    <a:pt x="27" y="23"/>
                  </a:lnTo>
                  <a:lnTo>
                    <a:pt x="28" y="25"/>
                  </a:lnTo>
                  <a:lnTo>
                    <a:pt x="28" y="25"/>
                  </a:lnTo>
                  <a:lnTo>
                    <a:pt x="27" y="25"/>
                  </a:lnTo>
                  <a:lnTo>
                    <a:pt x="30" y="26"/>
                  </a:lnTo>
                  <a:lnTo>
                    <a:pt x="19" y="32"/>
                  </a:lnTo>
                  <a:lnTo>
                    <a:pt x="19" y="26"/>
                  </a:lnTo>
                  <a:lnTo>
                    <a:pt x="2" y="21"/>
                  </a:lnTo>
                  <a:lnTo>
                    <a:pt x="0" y="21"/>
                  </a:lnTo>
                  <a:lnTo>
                    <a:pt x="0" y="21"/>
                  </a:lnTo>
                  <a:lnTo>
                    <a:pt x="0"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1" name="Freeform 64">
              <a:extLst>
                <a:ext uri="{FF2B5EF4-FFF2-40B4-BE49-F238E27FC236}">
                  <a16:creationId xmlns:a16="http://schemas.microsoft.com/office/drawing/2014/main" id="{CAEDC08B-F0E0-4156-A7F3-99C55F763E80}"/>
                </a:ext>
              </a:extLst>
            </p:cNvPr>
            <p:cNvSpPr>
              <a:spLocks/>
            </p:cNvSpPr>
            <p:nvPr/>
          </p:nvSpPr>
          <p:spPr bwMode="auto">
            <a:xfrm>
              <a:off x="3624" y="2521"/>
              <a:ext cx="30" cy="32"/>
            </a:xfrm>
            <a:custGeom>
              <a:avLst/>
              <a:gdLst/>
              <a:ahLst/>
              <a:cxnLst>
                <a:cxn ang="0">
                  <a:pos x="0" y="21"/>
                </a:cxn>
                <a:cxn ang="0">
                  <a:pos x="4" y="11"/>
                </a:cxn>
                <a:cxn ang="0">
                  <a:pos x="8" y="2"/>
                </a:cxn>
                <a:cxn ang="0">
                  <a:pos x="15" y="0"/>
                </a:cxn>
                <a:cxn ang="0">
                  <a:pos x="21" y="2"/>
                </a:cxn>
                <a:cxn ang="0">
                  <a:pos x="27" y="2"/>
                </a:cxn>
                <a:cxn ang="0">
                  <a:pos x="27" y="2"/>
                </a:cxn>
                <a:cxn ang="0">
                  <a:pos x="27" y="2"/>
                </a:cxn>
                <a:cxn ang="0">
                  <a:pos x="28" y="9"/>
                </a:cxn>
                <a:cxn ang="0">
                  <a:pos x="19" y="13"/>
                </a:cxn>
                <a:cxn ang="0">
                  <a:pos x="27" y="17"/>
                </a:cxn>
                <a:cxn ang="0">
                  <a:pos x="27" y="15"/>
                </a:cxn>
                <a:cxn ang="0">
                  <a:pos x="27" y="19"/>
                </a:cxn>
                <a:cxn ang="0">
                  <a:pos x="27" y="23"/>
                </a:cxn>
                <a:cxn ang="0">
                  <a:pos x="28" y="25"/>
                </a:cxn>
                <a:cxn ang="0">
                  <a:pos x="28" y="25"/>
                </a:cxn>
                <a:cxn ang="0">
                  <a:pos x="27" y="25"/>
                </a:cxn>
                <a:cxn ang="0">
                  <a:pos x="30" y="26"/>
                </a:cxn>
                <a:cxn ang="0">
                  <a:pos x="19" y="32"/>
                </a:cxn>
                <a:cxn ang="0">
                  <a:pos x="19" y="26"/>
                </a:cxn>
                <a:cxn ang="0">
                  <a:pos x="2" y="21"/>
                </a:cxn>
                <a:cxn ang="0">
                  <a:pos x="0" y="21"/>
                </a:cxn>
                <a:cxn ang="0">
                  <a:pos x="0" y="21"/>
                </a:cxn>
                <a:cxn ang="0">
                  <a:pos x="0" y="21"/>
                </a:cxn>
              </a:cxnLst>
              <a:rect l="0" t="0" r="r" b="b"/>
              <a:pathLst>
                <a:path w="30" h="32">
                  <a:moveTo>
                    <a:pt x="0" y="21"/>
                  </a:moveTo>
                  <a:lnTo>
                    <a:pt x="4" y="11"/>
                  </a:lnTo>
                  <a:lnTo>
                    <a:pt x="8" y="2"/>
                  </a:lnTo>
                  <a:lnTo>
                    <a:pt x="15" y="0"/>
                  </a:lnTo>
                  <a:lnTo>
                    <a:pt x="21" y="2"/>
                  </a:lnTo>
                  <a:lnTo>
                    <a:pt x="27" y="2"/>
                  </a:lnTo>
                  <a:lnTo>
                    <a:pt x="27" y="2"/>
                  </a:lnTo>
                  <a:lnTo>
                    <a:pt x="27" y="2"/>
                  </a:lnTo>
                  <a:lnTo>
                    <a:pt x="28" y="9"/>
                  </a:lnTo>
                  <a:lnTo>
                    <a:pt x="19" y="13"/>
                  </a:lnTo>
                  <a:lnTo>
                    <a:pt x="27" y="17"/>
                  </a:lnTo>
                  <a:lnTo>
                    <a:pt x="27" y="15"/>
                  </a:lnTo>
                  <a:lnTo>
                    <a:pt x="27" y="19"/>
                  </a:lnTo>
                  <a:lnTo>
                    <a:pt x="27" y="23"/>
                  </a:lnTo>
                  <a:lnTo>
                    <a:pt x="28" y="25"/>
                  </a:lnTo>
                  <a:lnTo>
                    <a:pt x="28" y="25"/>
                  </a:lnTo>
                  <a:lnTo>
                    <a:pt x="27" y="25"/>
                  </a:lnTo>
                  <a:lnTo>
                    <a:pt x="30" y="26"/>
                  </a:lnTo>
                  <a:lnTo>
                    <a:pt x="19" y="32"/>
                  </a:lnTo>
                  <a:lnTo>
                    <a:pt x="19" y="26"/>
                  </a:lnTo>
                  <a:lnTo>
                    <a:pt x="2" y="21"/>
                  </a:lnTo>
                  <a:lnTo>
                    <a:pt x="0" y="21"/>
                  </a:lnTo>
                  <a:lnTo>
                    <a:pt x="0" y="21"/>
                  </a:lnTo>
                  <a:lnTo>
                    <a:pt x="0"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2" name="Freeform 65">
              <a:extLst>
                <a:ext uri="{FF2B5EF4-FFF2-40B4-BE49-F238E27FC236}">
                  <a16:creationId xmlns:a16="http://schemas.microsoft.com/office/drawing/2014/main" id="{D0131914-B75F-47B9-A06E-FEF1FF2CE8F7}"/>
                </a:ext>
              </a:extLst>
            </p:cNvPr>
            <p:cNvSpPr>
              <a:spLocks/>
            </p:cNvSpPr>
            <p:nvPr/>
          </p:nvSpPr>
          <p:spPr bwMode="auto">
            <a:xfrm>
              <a:off x="3355" y="2410"/>
              <a:ext cx="41" cy="21"/>
            </a:xfrm>
            <a:custGeom>
              <a:avLst/>
              <a:gdLst/>
              <a:ahLst/>
              <a:cxnLst>
                <a:cxn ang="0">
                  <a:pos x="6" y="21"/>
                </a:cxn>
                <a:cxn ang="0">
                  <a:pos x="0" y="17"/>
                </a:cxn>
                <a:cxn ang="0">
                  <a:pos x="0" y="15"/>
                </a:cxn>
                <a:cxn ang="0">
                  <a:pos x="0" y="11"/>
                </a:cxn>
                <a:cxn ang="0">
                  <a:pos x="0" y="11"/>
                </a:cxn>
                <a:cxn ang="0">
                  <a:pos x="2" y="7"/>
                </a:cxn>
                <a:cxn ang="0">
                  <a:pos x="6" y="9"/>
                </a:cxn>
                <a:cxn ang="0">
                  <a:pos x="9" y="9"/>
                </a:cxn>
                <a:cxn ang="0">
                  <a:pos x="9" y="7"/>
                </a:cxn>
                <a:cxn ang="0">
                  <a:pos x="9" y="6"/>
                </a:cxn>
                <a:cxn ang="0">
                  <a:pos x="15" y="6"/>
                </a:cxn>
                <a:cxn ang="0">
                  <a:pos x="17" y="7"/>
                </a:cxn>
                <a:cxn ang="0">
                  <a:pos x="23" y="7"/>
                </a:cxn>
                <a:cxn ang="0">
                  <a:pos x="32" y="4"/>
                </a:cxn>
                <a:cxn ang="0">
                  <a:pos x="38" y="0"/>
                </a:cxn>
                <a:cxn ang="0">
                  <a:pos x="40" y="0"/>
                </a:cxn>
                <a:cxn ang="0">
                  <a:pos x="41" y="0"/>
                </a:cxn>
                <a:cxn ang="0">
                  <a:pos x="40" y="2"/>
                </a:cxn>
                <a:cxn ang="0">
                  <a:pos x="34" y="6"/>
                </a:cxn>
                <a:cxn ang="0">
                  <a:pos x="30" y="7"/>
                </a:cxn>
                <a:cxn ang="0">
                  <a:pos x="32" y="11"/>
                </a:cxn>
                <a:cxn ang="0">
                  <a:pos x="32" y="15"/>
                </a:cxn>
                <a:cxn ang="0">
                  <a:pos x="26" y="15"/>
                </a:cxn>
                <a:cxn ang="0">
                  <a:pos x="23" y="17"/>
                </a:cxn>
                <a:cxn ang="0">
                  <a:pos x="21" y="19"/>
                </a:cxn>
                <a:cxn ang="0">
                  <a:pos x="15" y="19"/>
                </a:cxn>
                <a:cxn ang="0">
                  <a:pos x="15" y="21"/>
                </a:cxn>
                <a:cxn ang="0">
                  <a:pos x="9" y="21"/>
                </a:cxn>
                <a:cxn ang="0">
                  <a:pos x="6" y="21"/>
                </a:cxn>
                <a:cxn ang="0">
                  <a:pos x="6" y="21"/>
                </a:cxn>
                <a:cxn ang="0">
                  <a:pos x="6" y="21"/>
                </a:cxn>
              </a:cxnLst>
              <a:rect l="0" t="0" r="r" b="b"/>
              <a:pathLst>
                <a:path w="41" h="21">
                  <a:moveTo>
                    <a:pt x="6" y="21"/>
                  </a:moveTo>
                  <a:lnTo>
                    <a:pt x="0" y="17"/>
                  </a:lnTo>
                  <a:lnTo>
                    <a:pt x="0" y="15"/>
                  </a:lnTo>
                  <a:lnTo>
                    <a:pt x="0" y="11"/>
                  </a:lnTo>
                  <a:lnTo>
                    <a:pt x="0" y="11"/>
                  </a:lnTo>
                  <a:lnTo>
                    <a:pt x="2" y="7"/>
                  </a:lnTo>
                  <a:lnTo>
                    <a:pt x="6" y="9"/>
                  </a:lnTo>
                  <a:lnTo>
                    <a:pt x="9" y="9"/>
                  </a:lnTo>
                  <a:lnTo>
                    <a:pt x="9" y="7"/>
                  </a:lnTo>
                  <a:lnTo>
                    <a:pt x="9" y="6"/>
                  </a:lnTo>
                  <a:lnTo>
                    <a:pt x="15" y="6"/>
                  </a:lnTo>
                  <a:lnTo>
                    <a:pt x="17" y="7"/>
                  </a:lnTo>
                  <a:lnTo>
                    <a:pt x="23" y="7"/>
                  </a:lnTo>
                  <a:lnTo>
                    <a:pt x="32" y="4"/>
                  </a:lnTo>
                  <a:lnTo>
                    <a:pt x="38" y="0"/>
                  </a:lnTo>
                  <a:lnTo>
                    <a:pt x="40" y="0"/>
                  </a:lnTo>
                  <a:lnTo>
                    <a:pt x="41" y="0"/>
                  </a:lnTo>
                  <a:lnTo>
                    <a:pt x="40" y="2"/>
                  </a:lnTo>
                  <a:lnTo>
                    <a:pt x="34" y="6"/>
                  </a:lnTo>
                  <a:lnTo>
                    <a:pt x="30" y="7"/>
                  </a:lnTo>
                  <a:lnTo>
                    <a:pt x="32" y="11"/>
                  </a:lnTo>
                  <a:lnTo>
                    <a:pt x="32" y="15"/>
                  </a:lnTo>
                  <a:lnTo>
                    <a:pt x="26" y="15"/>
                  </a:lnTo>
                  <a:lnTo>
                    <a:pt x="23" y="17"/>
                  </a:lnTo>
                  <a:lnTo>
                    <a:pt x="21" y="19"/>
                  </a:lnTo>
                  <a:lnTo>
                    <a:pt x="15" y="19"/>
                  </a:lnTo>
                  <a:lnTo>
                    <a:pt x="15" y="21"/>
                  </a:lnTo>
                  <a:lnTo>
                    <a:pt x="9" y="21"/>
                  </a:lnTo>
                  <a:lnTo>
                    <a:pt x="6" y="21"/>
                  </a:lnTo>
                  <a:lnTo>
                    <a:pt x="6" y="21"/>
                  </a:lnTo>
                  <a:lnTo>
                    <a:pt x="6"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3" name="Freeform 66">
              <a:extLst>
                <a:ext uri="{FF2B5EF4-FFF2-40B4-BE49-F238E27FC236}">
                  <a16:creationId xmlns:a16="http://schemas.microsoft.com/office/drawing/2014/main" id="{F9018A32-57E2-43C7-9CBA-3063D0A76811}"/>
                </a:ext>
              </a:extLst>
            </p:cNvPr>
            <p:cNvSpPr>
              <a:spLocks/>
            </p:cNvSpPr>
            <p:nvPr/>
          </p:nvSpPr>
          <p:spPr bwMode="auto">
            <a:xfrm>
              <a:off x="3355" y="2410"/>
              <a:ext cx="41" cy="21"/>
            </a:xfrm>
            <a:custGeom>
              <a:avLst/>
              <a:gdLst/>
              <a:ahLst/>
              <a:cxnLst>
                <a:cxn ang="0">
                  <a:pos x="6" y="21"/>
                </a:cxn>
                <a:cxn ang="0">
                  <a:pos x="0" y="17"/>
                </a:cxn>
                <a:cxn ang="0">
                  <a:pos x="0" y="15"/>
                </a:cxn>
                <a:cxn ang="0">
                  <a:pos x="0" y="11"/>
                </a:cxn>
                <a:cxn ang="0">
                  <a:pos x="0" y="11"/>
                </a:cxn>
                <a:cxn ang="0">
                  <a:pos x="2" y="7"/>
                </a:cxn>
                <a:cxn ang="0">
                  <a:pos x="6" y="9"/>
                </a:cxn>
                <a:cxn ang="0">
                  <a:pos x="9" y="9"/>
                </a:cxn>
                <a:cxn ang="0">
                  <a:pos x="9" y="7"/>
                </a:cxn>
                <a:cxn ang="0">
                  <a:pos x="9" y="6"/>
                </a:cxn>
                <a:cxn ang="0">
                  <a:pos x="15" y="6"/>
                </a:cxn>
                <a:cxn ang="0">
                  <a:pos x="17" y="7"/>
                </a:cxn>
                <a:cxn ang="0">
                  <a:pos x="23" y="7"/>
                </a:cxn>
                <a:cxn ang="0">
                  <a:pos x="32" y="4"/>
                </a:cxn>
                <a:cxn ang="0">
                  <a:pos x="38" y="0"/>
                </a:cxn>
                <a:cxn ang="0">
                  <a:pos x="40" y="0"/>
                </a:cxn>
                <a:cxn ang="0">
                  <a:pos x="41" y="0"/>
                </a:cxn>
                <a:cxn ang="0">
                  <a:pos x="40" y="2"/>
                </a:cxn>
                <a:cxn ang="0">
                  <a:pos x="34" y="6"/>
                </a:cxn>
                <a:cxn ang="0">
                  <a:pos x="30" y="7"/>
                </a:cxn>
                <a:cxn ang="0">
                  <a:pos x="32" y="11"/>
                </a:cxn>
                <a:cxn ang="0">
                  <a:pos x="32" y="15"/>
                </a:cxn>
                <a:cxn ang="0">
                  <a:pos x="26" y="15"/>
                </a:cxn>
                <a:cxn ang="0">
                  <a:pos x="23" y="17"/>
                </a:cxn>
                <a:cxn ang="0">
                  <a:pos x="21" y="19"/>
                </a:cxn>
                <a:cxn ang="0">
                  <a:pos x="15" y="19"/>
                </a:cxn>
                <a:cxn ang="0">
                  <a:pos x="15" y="21"/>
                </a:cxn>
                <a:cxn ang="0">
                  <a:pos x="9" y="21"/>
                </a:cxn>
                <a:cxn ang="0">
                  <a:pos x="6" y="21"/>
                </a:cxn>
                <a:cxn ang="0">
                  <a:pos x="6" y="21"/>
                </a:cxn>
                <a:cxn ang="0">
                  <a:pos x="6" y="21"/>
                </a:cxn>
              </a:cxnLst>
              <a:rect l="0" t="0" r="r" b="b"/>
              <a:pathLst>
                <a:path w="41" h="21">
                  <a:moveTo>
                    <a:pt x="6" y="21"/>
                  </a:moveTo>
                  <a:lnTo>
                    <a:pt x="0" y="17"/>
                  </a:lnTo>
                  <a:lnTo>
                    <a:pt x="0" y="15"/>
                  </a:lnTo>
                  <a:lnTo>
                    <a:pt x="0" y="11"/>
                  </a:lnTo>
                  <a:lnTo>
                    <a:pt x="0" y="11"/>
                  </a:lnTo>
                  <a:lnTo>
                    <a:pt x="2" y="7"/>
                  </a:lnTo>
                  <a:lnTo>
                    <a:pt x="6" y="9"/>
                  </a:lnTo>
                  <a:lnTo>
                    <a:pt x="9" y="9"/>
                  </a:lnTo>
                  <a:lnTo>
                    <a:pt x="9" y="7"/>
                  </a:lnTo>
                  <a:lnTo>
                    <a:pt x="9" y="6"/>
                  </a:lnTo>
                  <a:lnTo>
                    <a:pt x="15" y="6"/>
                  </a:lnTo>
                  <a:lnTo>
                    <a:pt x="17" y="7"/>
                  </a:lnTo>
                  <a:lnTo>
                    <a:pt x="23" y="7"/>
                  </a:lnTo>
                  <a:lnTo>
                    <a:pt x="32" y="4"/>
                  </a:lnTo>
                  <a:lnTo>
                    <a:pt x="38" y="0"/>
                  </a:lnTo>
                  <a:lnTo>
                    <a:pt x="40" y="0"/>
                  </a:lnTo>
                  <a:lnTo>
                    <a:pt x="41" y="0"/>
                  </a:lnTo>
                  <a:lnTo>
                    <a:pt x="40" y="2"/>
                  </a:lnTo>
                  <a:lnTo>
                    <a:pt x="34" y="6"/>
                  </a:lnTo>
                  <a:lnTo>
                    <a:pt x="30" y="7"/>
                  </a:lnTo>
                  <a:lnTo>
                    <a:pt x="32" y="11"/>
                  </a:lnTo>
                  <a:lnTo>
                    <a:pt x="32" y="15"/>
                  </a:lnTo>
                  <a:lnTo>
                    <a:pt x="26" y="15"/>
                  </a:lnTo>
                  <a:lnTo>
                    <a:pt x="23" y="17"/>
                  </a:lnTo>
                  <a:lnTo>
                    <a:pt x="21" y="19"/>
                  </a:lnTo>
                  <a:lnTo>
                    <a:pt x="15" y="19"/>
                  </a:lnTo>
                  <a:lnTo>
                    <a:pt x="15" y="21"/>
                  </a:lnTo>
                  <a:lnTo>
                    <a:pt x="9" y="21"/>
                  </a:lnTo>
                  <a:lnTo>
                    <a:pt x="6" y="21"/>
                  </a:lnTo>
                  <a:lnTo>
                    <a:pt x="6" y="21"/>
                  </a:lnTo>
                  <a:lnTo>
                    <a:pt x="6"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4" name="Freeform 67">
              <a:extLst>
                <a:ext uri="{FF2B5EF4-FFF2-40B4-BE49-F238E27FC236}">
                  <a16:creationId xmlns:a16="http://schemas.microsoft.com/office/drawing/2014/main" id="{65E2051E-833F-4A9A-A6AE-25852C861E3C}"/>
                </a:ext>
              </a:extLst>
            </p:cNvPr>
            <p:cNvSpPr>
              <a:spLocks/>
            </p:cNvSpPr>
            <p:nvPr/>
          </p:nvSpPr>
          <p:spPr bwMode="auto">
            <a:xfrm>
              <a:off x="3413" y="2372"/>
              <a:ext cx="115" cy="108"/>
            </a:xfrm>
            <a:custGeom>
              <a:avLst/>
              <a:gdLst/>
              <a:ahLst/>
              <a:cxnLst>
                <a:cxn ang="0">
                  <a:pos x="93" y="59"/>
                </a:cxn>
                <a:cxn ang="0">
                  <a:pos x="98" y="51"/>
                </a:cxn>
                <a:cxn ang="0">
                  <a:pos x="96" y="45"/>
                </a:cxn>
                <a:cxn ang="0">
                  <a:pos x="98" y="32"/>
                </a:cxn>
                <a:cxn ang="0">
                  <a:pos x="96" y="17"/>
                </a:cxn>
                <a:cxn ang="0">
                  <a:pos x="106" y="10"/>
                </a:cxn>
                <a:cxn ang="0">
                  <a:pos x="111" y="6"/>
                </a:cxn>
                <a:cxn ang="0">
                  <a:pos x="111" y="0"/>
                </a:cxn>
                <a:cxn ang="0">
                  <a:pos x="98" y="2"/>
                </a:cxn>
                <a:cxn ang="0">
                  <a:pos x="87" y="6"/>
                </a:cxn>
                <a:cxn ang="0">
                  <a:pos x="78" y="6"/>
                </a:cxn>
                <a:cxn ang="0">
                  <a:pos x="68" y="10"/>
                </a:cxn>
                <a:cxn ang="0">
                  <a:pos x="59" y="12"/>
                </a:cxn>
                <a:cxn ang="0">
                  <a:pos x="53" y="8"/>
                </a:cxn>
                <a:cxn ang="0">
                  <a:pos x="38" y="8"/>
                </a:cxn>
                <a:cxn ang="0">
                  <a:pos x="34" y="10"/>
                </a:cxn>
                <a:cxn ang="0">
                  <a:pos x="23" y="13"/>
                </a:cxn>
                <a:cxn ang="0">
                  <a:pos x="15" y="15"/>
                </a:cxn>
                <a:cxn ang="0">
                  <a:pos x="14" y="25"/>
                </a:cxn>
                <a:cxn ang="0">
                  <a:pos x="10" y="30"/>
                </a:cxn>
                <a:cxn ang="0">
                  <a:pos x="4" y="30"/>
                </a:cxn>
                <a:cxn ang="0">
                  <a:pos x="0" y="30"/>
                </a:cxn>
                <a:cxn ang="0">
                  <a:pos x="4" y="42"/>
                </a:cxn>
                <a:cxn ang="0">
                  <a:pos x="4" y="51"/>
                </a:cxn>
                <a:cxn ang="0">
                  <a:pos x="12" y="59"/>
                </a:cxn>
                <a:cxn ang="0">
                  <a:pos x="15" y="62"/>
                </a:cxn>
                <a:cxn ang="0">
                  <a:pos x="17" y="72"/>
                </a:cxn>
                <a:cxn ang="0">
                  <a:pos x="14" y="76"/>
                </a:cxn>
                <a:cxn ang="0">
                  <a:pos x="8" y="81"/>
                </a:cxn>
                <a:cxn ang="0">
                  <a:pos x="4" y="85"/>
                </a:cxn>
                <a:cxn ang="0">
                  <a:pos x="8" y="89"/>
                </a:cxn>
                <a:cxn ang="0">
                  <a:pos x="8" y="100"/>
                </a:cxn>
                <a:cxn ang="0">
                  <a:pos x="15" y="102"/>
                </a:cxn>
                <a:cxn ang="0">
                  <a:pos x="19" y="106"/>
                </a:cxn>
                <a:cxn ang="0">
                  <a:pos x="59" y="83"/>
                </a:cxn>
                <a:cxn ang="0">
                  <a:pos x="59" y="83"/>
                </a:cxn>
              </a:cxnLst>
              <a:rect l="0" t="0" r="r" b="b"/>
              <a:pathLst>
                <a:path w="115" h="108">
                  <a:moveTo>
                    <a:pt x="59" y="83"/>
                  </a:moveTo>
                  <a:lnTo>
                    <a:pt x="93" y="59"/>
                  </a:lnTo>
                  <a:lnTo>
                    <a:pt x="93" y="57"/>
                  </a:lnTo>
                  <a:lnTo>
                    <a:pt x="98" y="51"/>
                  </a:lnTo>
                  <a:lnTo>
                    <a:pt x="98" y="45"/>
                  </a:lnTo>
                  <a:lnTo>
                    <a:pt x="96" y="45"/>
                  </a:lnTo>
                  <a:lnTo>
                    <a:pt x="98" y="36"/>
                  </a:lnTo>
                  <a:lnTo>
                    <a:pt x="98" y="32"/>
                  </a:lnTo>
                  <a:lnTo>
                    <a:pt x="96" y="25"/>
                  </a:lnTo>
                  <a:lnTo>
                    <a:pt x="96" y="17"/>
                  </a:lnTo>
                  <a:lnTo>
                    <a:pt x="98" y="12"/>
                  </a:lnTo>
                  <a:lnTo>
                    <a:pt x="106" y="10"/>
                  </a:lnTo>
                  <a:lnTo>
                    <a:pt x="110" y="6"/>
                  </a:lnTo>
                  <a:lnTo>
                    <a:pt x="111" y="6"/>
                  </a:lnTo>
                  <a:lnTo>
                    <a:pt x="115" y="2"/>
                  </a:lnTo>
                  <a:lnTo>
                    <a:pt x="111" y="0"/>
                  </a:lnTo>
                  <a:lnTo>
                    <a:pt x="106" y="0"/>
                  </a:lnTo>
                  <a:lnTo>
                    <a:pt x="98" y="2"/>
                  </a:lnTo>
                  <a:lnTo>
                    <a:pt x="91" y="2"/>
                  </a:lnTo>
                  <a:lnTo>
                    <a:pt x="87" y="6"/>
                  </a:lnTo>
                  <a:lnTo>
                    <a:pt x="81" y="6"/>
                  </a:lnTo>
                  <a:lnTo>
                    <a:pt x="78" y="6"/>
                  </a:lnTo>
                  <a:lnTo>
                    <a:pt x="74" y="8"/>
                  </a:lnTo>
                  <a:lnTo>
                    <a:pt x="68" y="10"/>
                  </a:lnTo>
                  <a:lnTo>
                    <a:pt x="68" y="12"/>
                  </a:lnTo>
                  <a:lnTo>
                    <a:pt x="59" y="12"/>
                  </a:lnTo>
                  <a:lnTo>
                    <a:pt x="53" y="10"/>
                  </a:lnTo>
                  <a:lnTo>
                    <a:pt x="53" y="8"/>
                  </a:lnTo>
                  <a:lnTo>
                    <a:pt x="49" y="8"/>
                  </a:lnTo>
                  <a:lnTo>
                    <a:pt x="38" y="8"/>
                  </a:lnTo>
                  <a:lnTo>
                    <a:pt x="36" y="10"/>
                  </a:lnTo>
                  <a:lnTo>
                    <a:pt x="34" y="10"/>
                  </a:lnTo>
                  <a:lnTo>
                    <a:pt x="25" y="13"/>
                  </a:lnTo>
                  <a:lnTo>
                    <a:pt x="23" y="13"/>
                  </a:lnTo>
                  <a:lnTo>
                    <a:pt x="17" y="12"/>
                  </a:lnTo>
                  <a:lnTo>
                    <a:pt x="15" y="15"/>
                  </a:lnTo>
                  <a:lnTo>
                    <a:pt x="15" y="23"/>
                  </a:lnTo>
                  <a:lnTo>
                    <a:pt x="14" y="25"/>
                  </a:lnTo>
                  <a:lnTo>
                    <a:pt x="14" y="27"/>
                  </a:lnTo>
                  <a:lnTo>
                    <a:pt x="10" y="30"/>
                  </a:lnTo>
                  <a:lnTo>
                    <a:pt x="6" y="30"/>
                  </a:lnTo>
                  <a:lnTo>
                    <a:pt x="4" y="30"/>
                  </a:lnTo>
                  <a:lnTo>
                    <a:pt x="0" y="30"/>
                  </a:lnTo>
                  <a:lnTo>
                    <a:pt x="0" y="30"/>
                  </a:lnTo>
                  <a:lnTo>
                    <a:pt x="0" y="36"/>
                  </a:lnTo>
                  <a:lnTo>
                    <a:pt x="4" y="42"/>
                  </a:lnTo>
                  <a:lnTo>
                    <a:pt x="4" y="47"/>
                  </a:lnTo>
                  <a:lnTo>
                    <a:pt x="4" y="51"/>
                  </a:lnTo>
                  <a:lnTo>
                    <a:pt x="4" y="59"/>
                  </a:lnTo>
                  <a:lnTo>
                    <a:pt x="12" y="59"/>
                  </a:lnTo>
                  <a:lnTo>
                    <a:pt x="14" y="62"/>
                  </a:lnTo>
                  <a:lnTo>
                    <a:pt x="15" y="62"/>
                  </a:lnTo>
                  <a:lnTo>
                    <a:pt x="15" y="70"/>
                  </a:lnTo>
                  <a:lnTo>
                    <a:pt x="17" y="72"/>
                  </a:lnTo>
                  <a:lnTo>
                    <a:pt x="15" y="76"/>
                  </a:lnTo>
                  <a:lnTo>
                    <a:pt x="14" y="76"/>
                  </a:lnTo>
                  <a:lnTo>
                    <a:pt x="10" y="76"/>
                  </a:lnTo>
                  <a:lnTo>
                    <a:pt x="8" y="81"/>
                  </a:lnTo>
                  <a:lnTo>
                    <a:pt x="4" y="85"/>
                  </a:lnTo>
                  <a:lnTo>
                    <a:pt x="4" y="85"/>
                  </a:lnTo>
                  <a:lnTo>
                    <a:pt x="6" y="87"/>
                  </a:lnTo>
                  <a:lnTo>
                    <a:pt x="8" y="89"/>
                  </a:lnTo>
                  <a:lnTo>
                    <a:pt x="8" y="96"/>
                  </a:lnTo>
                  <a:lnTo>
                    <a:pt x="8" y="100"/>
                  </a:lnTo>
                  <a:lnTo>
                    <a:pt x="10" y="100"/>
                  </a:lnTo>
                  <a:lnTo>
                    <a:pt x="15" y="102"/>
                  </a:lnTo>
                  <a:lnTo>
                    <a:pt x="19" y="106"/>
                  </a:lnTo>
                  <a:lnTo>
                    <a:pt x="19" y="106"/>
                  </a:lnTo>
                  <a:lnTo>
                    <a:pt x="25" y="108"/>
                  </a:lnTo>
                  <a:lnTo>
                    <a:pt x="59" y="83"/>
                  </a:lnTo>
                  <a:lnTo>
                    <a:pt x="59" y="83"/>
                  </a:lnTo>
                  <a:lnTo>
                    <a:pt x="59" y="83"/>
                  </a:lnTo>
                  <a:lnTo>
                    <a:pt x="59"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5" name="Freeform 68">
              <a:extLst>
                <a:ext uri="{FF2B5EF4-FFF2-40B4-BE49-F238E27FC236}">
                  <a16:creationId xmlns:a16="http://schemas.microsoft.com/office/drawing/2014/main" id="{8D3D710C-B04A-4EF5-902D-9445B4D9AD3A}"/>
                </a:ext>
              </a:extLst>
            </p:cNvPr>
            <p:cNvSpPr>
              <a:spLocks/>
            </p:cNvSpPr>
            <p:nvPr/>
          </p:nvSpPr>
          <p:spPr bwMode="auto">
            <a:xfrm>
              <a:off x="3413" y="2372"/>
              <a:ext cx="115" cy="108"/>
            </a:xfrm>
            <a:custGeom>
              <a:avLst/>
              <a:gdLst/>
              <a:ahLst/>
              <a:cxnLst>
                <a:cxn ang="0">
                  <a:pos x="93" y="59"/>
                </a:cxn>
                <a:cxn ang="0">
                  <a:pos x="98" y="51"/>
                </a:cxn>
                <a:cxn ang="0">
                  <a:pos x="96" y="45"/>
                </a:cxn>
                <a:cxn ang="0">
                  <a:pos x="98" y="32"/>
                </a:cxn>
                <a:cxn ang="0">
                  <a:pos x="96" y="17"/>
                </a:cxn>
                <a:cxn ang="0">
                  <a:pos x="106" y="10"/>
                </a:cxn>
                <a:cxn ang="0">
                  <a:pos x="111" y="6"/>
                </a:cxn>
                <a:cxn ang="0">
                  <a:pos x="111" y="0"/>
                </a:cxn>
                <a:cxn ang="0">
                  <a:pos x="98" y="2"/>
                </a:cxn>
                <a:cxn ang="0">
                  <a:pos x="87" y="6"/>
                </a:cxn>
                <a:cxn ang="0">
                  <a:pos x="78" y="6"/>
                </a:cxn>
                <a:cxn ang="0">
                  <a:pos x="68" y="10"/>
                </a:cxn>
                <a:cxn ang="0">
                  <a:pos x="59" y="12"/>
                </a:cxn>
                <a:cxn ang="0">
                  <a:pos x="53" y="8"/>
                </a:cxn>
                <a:cxn ang="0">
                  <a:pos x="38" y="8"/>
                </a:cxn>
                <a:cxn ang="0">
                  <a:pos x="34" y="10"/>
                </a:cxn>
                <a:cxn ang="0">
                  <a:pos x="23" y="13"/>
                </a:cxn>
                <a:cxn ang="0">
                  <a:pos x="15" y="15"/>
                </a:cxn>
                <a:cxn ang="0">
                  <a:pos x="14" y="25"/>
                </a:cxn>
                <a:cxn ang="0">
                  <a:pos x="10" y="30"/>
                </a:cxn>
                <a:cxn ang="0">
                  <a:pos x="4" y="30"/>
                </a:cxn>
                <a:cxn ang="0">
                  <a:pos x="0" y="30"/>
                </a:cxn>
                <a:cxn ang="0">
                  <a:pos x="4" y="42"/>
                </a:cxn>
                <a:cxn ang="0">
                  <a:pos x="4" y="51"/>
                </a:cxn>
                <a:cxn ang="0">
                  <a:pos x="12" y="59"/>
                </a:cxn>
                <a:cxn ang="0">
                  <a:pos x="15" y="62"/>
                </a:cxn>
                <a:cxn ang="0">
                  <a:pos x="17" y="72"/>
                </a:cxn>
                <a:cxn ang="0">
                  <a:pos x="14" y="76"/>
                </a:cxn>
                <a:cxn ang="0">
                  <a:pos x="8" y="81"/>
                </a:cxn>
                <a:cxn ang="0">
                  <a:pos x="4" y="85"/>
                </a:cxn>
                <a:cxn ang="0">
                  <a:pos x="8" y="89"/>
                </a:cxn>
                <a:cxn ang="0">
                  <a:pos x="8" y="100"/>
                </a:cxn>
                <a:cxn ang="0">
                  <a:pos x="15" y="102"/>
                </a:cxn>
                <a:cxn ang="0">
                  <a:pos x="19" y="106"/>
                </a:cxn>
                <a:cxn ang="0">
                  <a:pos x="59" y="83"/>
                </a:cxn>
                <a:cxn ang="0">
                  <a:pos x="59" y="83"/>
                </a:cxn>
              </a:cxnLst>
              <a:rect l="0" t="0" r="r" b="b"/>
              <a:pathLst>
                <a:path w="115" h="108">
                  <a:moveTo>
                    <a:pt x="59" y="83"/>
                  </a:moveTo>
                  <a:lnTo>
                    <a:pt x="93" y="59"/>
                  </a:lnTo>
                  <a:lnTo>
                    <a:pt x="93" y="57"/>
                  </a:lnTo>
                  <a:lnTo>
                    <a:pt x="98" y="51"/>
                  </a:lnTo>
                  <a:lnTo>
                    <a:pt x="98" y="45"/>
                  </a:lnTo>
                  <a:lnTo>
                    <a:pt x="96" y="45"/>
                  </a:lnTo>
                  <a:lnTo>
                    <a:pt x="98" y="36"/>
                  </a:lnTo>
                  <a:lnTo>
                    <a:pt x="98" y="32"/>
                  </a:lnTo>
                  <a:lnTo>
                    <a:pt x="96" y="25"/>
                  </a:lnTo>
                  <a:lnTo>
                    <a:pt x="96" y="17"/>
                  </a:lnTo>
                  <a:lnTo>
                    <a:pt x="98" y="12"/>
                  </a:lnTo>
                  <a:lnTo>
                    <a:pt x="106" y="10"/>
                  </a:lnTo>
                  <a:lnTo>
                    <a:pt x="110" y="6"/>
                  </a:lnTo>
                  <a:lnTo>
                    <a:pt x="111" y="6"/>
                  </a:lnTo>
                  <a:lnTo>
                    <a:pt x="115" y="2"/>
                  </a:lnTo>
                  <a:lnTo>
                    <a:pt x="111" y="0"/>
                  </a:lnTo>
                  <a:lnTo>
                    <a:pt x="106" y="0"/>
                  </a:lnTo>
                  <a:lnTo>
                    <a:pt x="98" y="2"/>
                  </a:lnTo>
                  <a:lnTo>
                    <a:pt x="91" y="2"/>
                  </a:lnTo>
                  <a:lnTo>
                    <a:pt x="87" y="6"/>
                  </a:lnTo>
                  <a:lnTo>
                    <a:pt x="81" y="6"/>
                  </a:lnTo>
                  <a:lnTo>
                    <a:pt x="78" y="6"/>
                  </a:lnTo>
                  <a:lnTo>
                    <a:pt x="74" y="8"/>
                  </a:lnTo>
                  <a:lnTo>
                    <a:pt x="68" y="10"/>
                  </a:lnTo>
                  <a:lnTo>
                    <a:pt x="68" y="12"/>
                  </a:lnTo>
                  <a:lnTo>
                    <a:pt x="59" y="12"/>
                  </a:lnTo>
                  <a:lnTo>
                    <a:pt x="53" y="10"/>
                  </a:lnTo>
                  <a:lnTo>
                    <a:pt x="53" y="8"/>
                  </a:lnTo>
                  <a:lnTo>
                    <a:pt x="49" y="8"/>
                  </a:lnTo>
                  <a:lnTo>
                    <a:pt x="38" y="8"/>
                  </a:lnTo>
                  <a:lnTo>
                    <a:pt x="36" y="10"/>
                  </a:lnTo>
                  <a:lnTo>
                    <a:pt x="34" y="10"/>
                  </a:lnTo>
                  <a:lnTo>
                    <a:pt x="25" y="13"/>
                  </a:lnTo>
                  <a:lnTo>
                    <a:pt x="23" y="13"/>
                  </a:lnTo>
                  <a:lnTo>
                    <a:pt x="17" y="12"/>
                  </a:lnTo>
                  <a:lnTo>
                    <a:pt x="15" y="15"/>
                  </a:lnTo>
                  <a:lnTo>
                    <a:pt x="15" y="23"/>
                  </a:lnTo>
                  <a:lnTo>
                    <a:pt x="14" y="25"/>
                  </a:lnTo>
                  <a:lnTo>
                    <a:pt x="14" y="27"/>
                  </a:lnTo>
                  <a:lnTo>
                    <a:pt x="10" y="30"/>
                  </a:lnTo>
                  <a:lnTo>
                    <a:pt x="6" y="30"/>
                  </a:lnTo>
                  <a:lnTo>
                    <a:pt x="4" y="30"/>
                  </a:lnTo>
                  <a:lnTo>
                    <a:pt x="0" y="30"/>
                  </a:lnTo>
                  <a:lnTo>
                    <a:pt x="0" y="30"/>
                  </a:lnTo>
                  <a:lnTo>
                    <a:pt x="0" y="36"/>
                  </a:lnTo>
                  <a:lnTo>
                    <a:pt x="4" y="42"/>
                  </a:lnTo>
                  <a:lnTo>
                    <a:pt x="4" y="47"/>
                  </a:lnTo>
                  <a:lnTo>
                    <a:pt x="4" y="51"/>
                  </a:lnTo>
                  <a:lnTo>
                    <a:pt x="4" y="59"/>
                  </a:lnTo>
                  <a:lnTo>
                    <a:pt x="12" y="59"/>
                  </a:lnTo>
                  <a:lnTo>
                    <a:pt x="14" y="62"/>
                  </a:lnTo>
                  <a:lnTo>
                    <a:pt x="15" y="62"/>
                  </a:lnTo>
                  <a:lnTo>
                    <a:pt x="15" y="70"/>
                  </a:lnTo>
                  <a:lnTo>
                    <a:pt x="17" y="72"/>
                  </a:lnTo>
                  <a:lnTo>
                    <a:pt x="15" y="76"/>
                  </a:lnTo>
                  <a:lnTo>
                    <a:pt x="14" y="76"/>
                  </a:lnTo>
                  <a:lnTo>
                    <a:pt x="10" y="76"/>
                  </a:lnTo>
                  <a:lnTo>
                    <a:pt x="8" y="81"/>
                  </a:lnTo>
                  <a:lnTo>
                    <a:pt x="4" y="85"/>
                  </a:lnTo>
                  <a:lnTo>
                    <a:pt x="4" y="85"/>
                  </a:lnTo>
                  <a:lnTo>
                    <a:pt x="6" y="87"/>
                  </a:lnTo>
                  <a:lnTo>
                    <a:pt x="8" y="89"/>
                  </a:lnTo>
                  <a:lnTo>
                    <a:pt x="8" y="96"/>
                  </a:lnTo>
                  <a:lnTo>
                    <a:pt x="8" y="100"/>
                  </a:lnTo>
                  <a:lnTo>
                    <a:pt x="10" y="100"/>
                  </a:lnTo>
                  <a:lnTo>
                    <a:pt x="15" y="102"/>
                  </a:lnTo>
                  <a:lnTo>
                    <a:pt x="19" y="106"/>
                  </a:lnTo>
                  <a:lnTo>
                    <a:pt x="19" y="106"/>
                  </a:lnTo>
                  <a:lnTo>
                    <a:pt x="25" y="108"/>
                  </a:lnTo>
                  <a:lnTo>
                    <a:pt x="59" y="83"/>
                  </a:lnTo>
                  <a:lnTo>
                    <a:pt x="59" y="83"/>
                  </a:lnTo>
                  <a:lnTo>
                    <a:pt x="59" y="83"/>
                  </a:lnTo>
                  <a:lnTo>
                    <a:pt x="59"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6" name="Freeform 69">
              <a:extLst>
                <a:ext uri="{FF2B5EF4-FFF2-40B4-BE49-F238E27FC236}">
                  <a16:creationId xmlns:a16="http://schemas.microsoft.com/office/drawing/2014/main" id="{4A126B09-E68A-4F23-A61D-8B5628E8332F}"/>
                </a:ext>
              </a:extLst>
            </p:cNvPr>
            <p:cNvSpPr>
              <a:spLocks/>
            </p:cNvSpPr>
            <p:nvPr/>
          </p:nvSpPr>
          <p:spPr bwMode="auto">
            <a:xfrm>
              <a:off x="3391" y="2457"/>
              <a:ext cx="26" cy="79"/>
            </a:xfrm>
            <a:custGeom>
              <a:avLst/>
              <a:gdLst/>
              <a:ahLst/>
              <a:cxnLst>
                <a:cxn ang="0">
                  <a:pos x="17" y="79"/>
                </a:cxn>
                <a:cxn ang="0">
                  <a:pos x="19" y="77"/>
                </a:cxn>
                <a:cxn ang="0">
                  <a:pos x="19" y="77"/>
                </a:cxn>
                <a:cxn ang="0">
                  <a:pos x="19" y="73"/>
                </a:cxn>
                <a:cxn ang="0">
                  <a:pos x="20" y="72"/>
                </a:cxn>
                <a:cxn ang="0">
                  <a:pos x="20" y="68"/>
                </a:cxn>
                <a:cxn ang="0">
                  <a:pos x="22" y="64"/>
                </a:cxn>
                <a:cxn ang="0">
                  <a:pos x="22" y="58"/>
                </a:cxn>
                <a:cxn ang="0">
                  <a:pos x="22" y="58"/>
                </a:cxn>
                <a:cxn ang="0">
                  <a:pos x="22" y="55"/>
                </a:cxn>
                <a:cxn ang="0">
                  <a:pos x="22" y="49"/>
                </a:cxn>
                <a:cxn ang="0">
                  <a:pos x="22" y="47"/>
                </a:cxn>
                <a:cxn ang="0">
                  <a:pos x="22" y="40"/>
                </a:cxn>
                <a:cxn ang="0">
                  <a:pos x="22" y="40"/>
                </a:cxn>
                <a:cxn ang="0">
                  <a:pos x="20" y="40"/>
                </a:cxn>
                <a:cxn ang="0">
                  <a:pos x="19" y="40"/>
                </a:cxn>
                <a:cxn ang="0">
                  <a:pos x="17" y="40"/>
                </a:cxn>
                <a:cxn ang="0">
                  <a:pos x="17" y="34"/>
                </a:cxn>
                <a:cxn ang="0">
                  <a:pos x="17" y="25"/>
                </a:cxn>
                <a:cxn ang="0">
                  <a:pos x="17" y="23"/>
                </a:cxn>
                <a:cxn ang="0">
                  <a:pos x="17" y="17"/>
                </a:cxn>
                <a:cxn ang="0">
                  <a:pos x="22" y="17"/>
                </a:cxn>
                <a:cxn ang="0">
                  <a:pos x="22" y="21"/>
                </a:cxn>
                <a:cxn ang="0">
                  <a:pos x="22" y="21"/>
                </a:cxn>
                <a:cxn ang="0">
                  <a:pos x="26" y="21"/>
                </a:cxn>
                <a:cxn ang="0">
                  <a:pos x="26" y="17"/>
                </a:cxn>
                <a:cxn ang="0">
                  <a:pos x="26" y="17"/>
                </a:cxn>
                <a:cxn ang="0">
                  <a:pos x="26" y="17"/>
                </a:cxn>
                <a:cxn ang="0">
                  <a:pos x="22" y="11"/>
                </a:cxn>
                <a:cxn ang="0">
                  <a:pos x="26" y="8"/>
                </a:cxn>
                <a:cxn ang="0">
                  <a:pos x="26" y="2"/>
                </a:cxn>
                <a:cxn ang="0">
                  <a:pos x="26" y="0"/>
                </a:cxn>
                <a:cxn ang="0">
                  <a:pos x="26" y="0"/>
                </a:cxn>
                <a:cxn ang="0">
                  <a:pos x="22" y="4"/>
                </a:cxn>
                <a:cxn ang="0">
                  <a:pos x="19" y="4"/>
                </a:cxn>
                <a:cxn ang="0">
                  <a:pos x="17" y="4"/>
                </a:cxn>
                <a:cxn ang="0">
                  <a:pos x="13" y="8"/>
                </a:cxn>
                <a:cxn ang="0">
                  <a:pos x="9" y="21"/>
                </a:cxn>
                <a:cxn ang="0">
                  <a:pos x="5" y="32"/>
                </a:cxn>
                <a:cxn ang="0">
                  <a:pos x="0" y="40"/>
                </a:cxn>
                <a:cxn ang="0">
                  <a:pos x="4" y="40"/>
                </a:cxn>
                <a:cxn ang="0">
                  <a:pos x="5" y="45"/>
                </a:cxn>
                <a:cxn ang="0">
                  <a:pos x="7" y="53"/>
                </a:cxn>
                <a:cxn ang="0">
                  <a:pos x="13" y="60"/>
                </a:cxn>
                <a:cxn ang="0">
                  <a:pos x="17" y="70"/>
                </a:cxn>
                <a:cxn ang="0">
                  <a:pos x="17" y="73"/>
                </a:cxn>
                <a:cxn ang="0">
                  <a:pos x="17" y="79"/>
                </a:cxn>
                <a:cxn ang="0">
                  <a:pos x="17" y="79"/>
                </a:cxn>
                <a:cxn ang="0">
                  <a:pos x="17" y="79"/>
                </a:cxn>
              </a:cxnLst>
              <a:rect l="0" t="0" r="r" b="b"/>
              <a:pathLst>
                <a:path w="26" h="79">
                  <a:moveTo>
                    <a:pt x="17" y="79"/>
                  </a:moveTo>
                  <a:lnTo>
                    <a:pt x="19" y="77"/>
                  </a:lnTo>
                  <a:lnTo>
                    <a:pt x="19" y="77"/>
                  </a:lnTo>
                  <a:lnTo>
                    <a:pt x="19" y="73"/>
                  </a:lnTo>
                  <a:lnTo>
                    <a:pt x="20" y="72"/>
                  </a:lnTo>
                  <a:lnTo>
                    <a:pt x="20" y="68"/>
                  </a:lnTo>
                  <a:lnTo>
                    <a:pt x="22" y="64"/>
                  </a:lnTo>
                  <a:lnTo>
                    <a:pt x="22" y="58"/>
                  </a:lnTo>
                  <a:lnTo>
                    <a:pt x="22" y="58"/>
                  </a:lnTo>
                  <a:lnTo>
                    <a:pt x="22" y="55"/>
                  </a:lnTo>
                  <a:lnTo>
                    <a:pt x="22" y="49"/>
                  </a:lnTo>
                  <a:lnTo>
                    <a:pt x="22" y="47"/>
                  </a:lnTo>
                  <a:lnTo>
                    <a:pt x="22" y="40"/>
                  </a:lnTo>
                  <a:lnTo>
                    <a:pt x="22" y="40"/>
                  </a:lnTo>
                  <a:lnTo>
                    <a:pt x="20" y="40"/>
                  </a:lnTo>
                  <a:lnTo>
                    <a:pt x="19" y="40"/>
                  </a:lnTo>
                  <a:lnTo>
                    <a:pt x="17" y="40"/>
                  </a:lnTo>
                  <a:lnTo>
                    <a:pt x="17" y="34"/>
                  </a:lnTo>
                  <a:lnTo>
                    <a:pt x="17" y="25"/>
                  </a:lnTo>
                  <a:lnTo>
                    <a:pt x="17" y="23"/>
                  </a:lnTo>
                  <a:lnTo>
                    <a:pt x="17" y="17"/>
                  </a:lnTo>
                  <a:lnTo>
                    <a:pt x="22" y="17"/>
                  </a:lnTo>
                  <a:lnTo>
                    <a:pt x="22" y="21"/>
                  </a:lnTo>
                  <a:lnTo>
                    <a:pt x="22" y="21"/>
                  </a:lnTo>
                  <a:lnTo>
                    <a:pt x="26" y="21"/>
                  </a:lnTo>
                  <a:lnTo>
                    <a:pt x="26" y="17"/>
                  </a:lnTo>
                  <a:lnTo>
                    <a:pt x="26" y="17"/>
                  </a:lnTo>
                  <a:lnTo>
                    <a:pt x="26" y="17"/>
                  </a:lnTo>
                  <a:lnTo>
                    <a:pt x="22" y="11"/>
                  </a:lnTo>
                  <a:lnTo>
                    <a:pt x="26" y="8"/>
                  </a:lnTo>
                  <a:lnTo>
                    <a:pt x="26" y="2"/>
                  </a:lnTo>
                  <a:lnTo>
                    <a:pt x="26" y="0"/>
                  </a:lnTo>
                  <a:lnTo>
                    <a:pt x="26" y="0"/>
                  </a:lnTo>
                  <a:lnTo>
                    <a:pt x="22" y="4"/>
                  </a:lnTo>
                  <a:lnTo>
                    <a:pt x="19" y="4"/>
                  </a:lnTo>
                  <a:lnTo>
                    <a:pt x="17" y="4"/>
                  </a:lnTo>
                  <a:lnTo>
                    <a:pt x="13" y="8"/>
                  </a:lnTo>
                  <a:lnTo>
                    <a:pt x="9" y="21"/>
                  </a:lnTo>
                  <a:lnTo>
                    <a:pt x="5" y="32"/>
                  </a:lnTo>
                  <a:lnTo>
                    <a:pt x="0" y="40"/>
                  </a:lnTo>
                  <a:lnTo>
                    <a:pt x="4" y="40"/>
                  </a:lnTo>
                  <a:lnTo>
                    <a:pt x="5" y="45"/>
                  </a:lnTo>
                  <a:lnTo>
                    <a:pt x="7" y="53"/>
                  </a:lnTo>
                  <a:lnTo>
                    <a:pt x="13" y="60"/>
                  </a:lnTo>
                  <a:lnTo>
                    <a:pt x="17" y="70"/>
                  </a:lnTo>
                  <a:lnTo>
                    <a:pt x="17" y="73"/>
                  </a:lnTo>
                  <a:lnTo>
                    <a:pt x="17" y="79"/>
                  </a:lnTo>
                  <a:lnTo>
                    <a:pt x="17" y="79"/>
                  </a:lnTo>
                  <a:lnTo>
                    <a:pt x="17"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7" name="Freeform 70">
              <a:extLst>
                <a:ext uri="{FF2B5EF4-FFF2-40B4-BE49-F238E27FC236}">
                  <a16:creationId xmlns:a16="http://schemas.microsoft.com/office/drawing/2014/main" id="{758D3F52-7772-489C-9455-921BC3233474}"/>
                </a:ext>
              </a:extLst>
            </p:cNvPr>
            <p:cNvSpPr>
              <a:spLocks/>
            </p:cNvSpPr>
            <p:nvPr/>
          </p:nvSpPr>
          <p:spPr bwMode="auto">
            <a:xfrm>
              <a:off x="3391" y="2457"/>
              <a:ext cx="26" cy="79"/>
            </a:xfrm>
            <a:custGeom>
              <a:avLst/>
              <a:gdLst/>
              <a:ahLst/>
              <a:cxnLst>
                <a:cxn ang="0">
                  <a:pos x="17" y="79"/>
                </a:cxn>
                <a:cxn ang="0">
                  <a:pos x="19" y="77"/>
                </a:cxn>
                <a:cxn ang="0">
                  <a:pos x="19" y="77"/>
                </a:cxn>
                <a:cxn ang="0">
                  <a:pos x="19" y="73"/>
                </a:cxn>
                <a:cxn ang="0">
                  <a:pos x="20" y="72"/>
                </a:cxn>
                <a:cxn ang="0">
                  <a:pos x="20" y="68"/>
                </a:cxn>
                <a:cxn ang="0">
                  <a:pos x="22" y="64"/>
                </a:cxn>
                <a:cxn ang="0">
                  <a:pos x="22" y="58"/>
                </a:cxn>
                <a:cxn ang="0">
                  <a:pos x="22" y="58"/>
                </a:cxn>
                <a:cxn ang="0">
                  <a:pos x="22" y="55"/>
                </a:cxn>
                <a:cxn ang="0">
                  <a:pos x="22" y="49"/>
                </a:cxn>
                <a:cxn ang="0">
                  <a:pos x="22" y="47"/>
                </a:cxn>
                <a:cxn ang="0">
                  <a:pos x="22" y="40"/>
                </a:cxn>
                <a:cxn ang="0">
                  <a:pos x="22" y="40"/>
                </a:cxn>
                <a:cxn ang="0">
                  <a:pos x="20" y="40"/>
                </a:cxn>
                <a:cxn ang="0">
                  <a:pos x="19" y="40"/>
                </a:cxn>
                <a:cxn ang="0">
                  <a:pos x="17" y="40"/>
                </a:cxn>
                <a:cxn ang="0">
                  <a:pos x="17" y="34"/>
                </a:cxn>
                <a:cxn ang="0">
                  <a:pos x="17" y="25"/>
                </a:cxn>
                <a:cxn ang="0">
                  <a:pos x="17" y="23"/>
                </a:cxn>
                <a:cxn ang="0">
                  <a:pos x="17" y="17"/>
                </a:cxn>
                <a:cxn ang="0">
                  <a:pos x="22" y="17"/>
                </a:cxn>
                <a:cxn ang="0">
                  <a:pos x="22" y="21"/>
                </a:cxn>
                <a:cxn ang="0">
                  <a:pos x="22" y="21"/>
                </a:cxn>
                <a:cxn ang="0">
                  <a:pos x="26" y="21"/>
                </a:cxn>
                <a:cxn ang="0">
                  <a:pos x="26" y="17"/>
                </a:cxn>
                <a:cxn ang="0">
                  <a:pos x="26" y="17"/>
                </a:cxn>
                <a:cxn ang="0">
                  <a:pos x="26" y="17"/>
                </a:cxn>
                <a:cxn ang="0">
                  <a:pos x="22" y="11"/>
                </a:cxn>
                <a:cxn ang="0">
                  <a:pos x="26" y="8"/>
                </a:cxn>
                <a:cxn ang="0">
                  <a:pos x="26" y="2"/>
                </a:cxn>
                <a:cxn ang="0">
                  <a:pos x="26" y="0"/>
                </a:cxn>
                <a:cxn ang="0">
                  <a:pos x="26" y="0"/>
                </a:cxn>
                <a:cxn ang="0">
                  <a:pos x="22" y="4"/>
                </a:cxn>
                <a:cxn ang="0">
                  <a:pos x="19" y="4"/>
                </a:cxn>
                <a:cxn ang="0">
                  <a:pos x="17" y="4"/>
                </a:cxn>
                <a:cxn ang="0">
                  <a:pos x="13" y="8"/>
                </a:cxn>
                <a:cxn ang="0">
                  <a:pos x="9" y="21"/>
                </a:cxn>
                <a:cxn ang="0">
                  <a:pos x="5" y="32"/>
                </a:cxn>
                <a:cxn ang="0">
                  <a:pos x="0" y="40"/>
                </a:cxn>
                <a:cxn ang="0">
                  <a:pos x="4" y="40"/>
                </a:cxn>
                <a:cxn ang="0">
                  <a:pos x="5" y="45"/>
                </a:cxn>
                <a:cxn ang="0">
                  <a:pos x="7" y="53"/>
                </a:cxn>
                <a:cxn ang="0">
                  <a:pos x="13" y="60"/>
                </a:cxn>
                <a:cxn ang="0">
                  <a:pos x="17" y="70"/>
                </a:cxn>
                <a:cxn ang="0">
                  <a:pos x="17" y="73"/>
                </a:cxn>
                <a:cxn ang="0">
                  <a:pos x="17" y="79"/>
                </a:cxn>
                <a:cxn ang="0">
                  <a:pos x="17" y="79"/>
                </a:cxn>
                <a:cxn ang="0">
                  <a:pos x="17" y="79"/>
                </a:cxn>
              </a:cxnLst>
              <a:rect l="0" t="0" r="r" b="b"/>
              <a:pathLst>
                <a:path w="26" h="79">
                  <a:moveTo>
                    <a:pt x="17" y="79"/>
                  </a:moveTo>
                  <a:lnTo>
                    <a:pt x="19" y="77"/>
                  </a:lnTo>
                  <a:lnTo>
                    <a:pt x="19" y="77"/>
                  </a:lnTo>
                  <a:lnTo>
                    <a:pt x="19" y="73"/>
                  </a:lnTo>
                  <a:lnTo>
                    <a:pt x="20" y="72"/>
                  </a:lnTo>
                  <a:lnTo>
                    <a:pt x="20" y="68"/>
                  </a:lnTo>
                  <a:lnTo>
                    <a:pt x="22" y="64"/>
                  </a:lnTo>
                  <a:lnTo>
                    <a:pt x="22" y="58"/>
                  </a:lnTo>
                  <a:lnTo>
                    <a:pt x="22" y="58"/>
                  </a:lnTo>
                  <a:lnTo>
                    <a:pt x="22" y="55"/>
                  </a:lnTo>
                  <a:lnTo>
                    <a:pt x="22" y="49"/>
                  </a:lnTo>
                  <a:lnTo>
                    <a:pt x="22" y="47"/>
                  </a:lnTo>
                  <a:lnTo>
                    <a:pt x="22" y="40"/>
                  </a:lnTo>
                  <a:lnTo>
                    <a:pt x="22" y="40"/>
                  </a:lnTo>
                  <a:lnTo>
                    <a:pt x="20" y="40"/>
                  </a:lnTo>
                  <a:lnTo>
                    <a:pt x="19" y="40"/>
                  </a:lnTo>
                  <a:lnTo>
                    <a:pt x="17" y="40"/>
                  </a:lnTo>
                  <a:lnTo>
                    <a:pt x="17" y="34"/>
                  </a:lnTo>
                  <a:lnTo>
                    <a:pt x="17" y="25"/>
                  </a:lnTo>
                  <a:lnTo>
                    <a:pt x="17" y="23"/>
                  </a:lnTo>
                  <a:lnTo>
                    <a:pt x="17" y="17"/>
                  </a:lnTo>
                  <a:lnTo>
                    <a:pt x="22" y="17"/>
                  </a:lnTo>
                  <a:lnTo>
                    <a:pt x="22" y="21"/>
                  </a:lnTo>
                  <a:lnTo>
                    <a:pt x="22" y="21"/>
                  </a:lnTo>
                  <a:lnTo>
                    <a:pt x="26" y="21"/>
                  </a:lnTo>
                  <a:lnTo>
                    <a:pt x="26" y="17"/>
                  </a:lnTo>
                  <a:lnTo>
                    <a:pt x="26" y="17"/>
                  </a:lnTo>
                  <a:lnTo>
                    <a:pt x="26" y="17"/>
                  </a:lnTo>
                  <a:lnTo>
                    <a:pt x="22" y="11"/>
                  </a:lnTo>
                  <a:lnTo>
                    <a:pt x="26" y="8"/>
                  </a:lnTo>
                  <a:lnTo>
                    <a:pt x="26" y="2"/>
                  </a:lnTo>
                  <a:lnTo>
                    <a:pt x="26" y="0"/>
                  </a:lnTo>
                  <a:lnTo>
                    <a:pt x="26" y="0"/>
                  </a:lnTo>
                  <a:lnTo>
                    <a:pt x="22" y="4"/>
                  </a:lnTo>
                  <a:lnTo>
                    <a:pt x="19" y="4"/>
                  </a:lnTo>
                  <a:lnTo>
                    <a:pt x="17" y="4"/>
                  </a:lnTo>
                  <a:lnTo>
                    <a:pt x="13" y="8"/>
                  </a:lnTo>
                  <a:lnTo>
                    <a:pt x="9" y="21"/>
                  </a:lnTo>
                  <a:lnTo>
                    <a:pt x="5" y="32"/>
                  </a:lnTo>
                  <a:lnTo>
                    <a:pt x="0" y="40"/>
                  </a:lnTo>
                  <a:lnTo>
                    <a:pt x="4" y="40"/>
                  </a:lnTo>
                  <a:lnTo>
                    <a:pt x="5" y="45"/>
                  </a:lnTo>
                  <a:lnTo>
                    <a:pt x="7" y="53"/>
                  </a:lnTo>
                  <a:lnTo>
                    <a:pt x="13" y="60"/>
                  </a:lnTo>
                  <a:lnTo>
                    <a:pt x="17" y="70"/>
                  </a:lnTo>
                  <a:lnTo>
                    <a:pt x="17" y="73"/>
                  </a:lnTo>
                  <a:lnTo>
                    <a:pt x="17" y="79"/>
                  </a:lnTo>
                  <a:lnTo>
                    <a:pt x="17" y="79"/>
                  </a:lnTo>
                  <a:lnTo>
                    <a:pt x="17"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8" name="Freeform 71">
              <a:extLst>
                <a:ext uri="{FF2B5EF4-FFF2-40B4-BE49-F238E27FC236}">
                  <a16:creationId xmlns:a16="http://schemas.microsoft.com/office/drawing/2014/main" id="{DB641CF0-03C1-49A5-A942-506A15704AA9}"/>
                </a:ext>
              </a:extLst>
            </p:cNvPr>
            <p:cNvSpPr>
              <a:spLocks/>
            </p:cNvSpPr>
            <p:nvPr/>
          </p:nvSpPr>
          <p:spPr bwMode="auto">
            <a:xfrm>
              <a:off x="3413" y="2457"/>
              <a:ext cx="10" cy="17"/>
            </a:xfrm>
            <a:custGeom>
              <a:avLst/>
              <a:gdLst/>
              <a:ahLst/>
              <a:cxnLst>
                <a:cxn ang="0">
                  <a:pos x="2" y="17"/>
                </a:cxn>
                <a:cxn ang="0">
                  <a:pos x="2" y="15"/>
                </a:cxn>
                <a:cxn ang="0">
                  <a:pos x="0" y="11"/>
                </a:cxn>
                <a:cxn ang="0">
                  <a:pos x="2" y="8"/>
                </a:cxn>
                <a:cxn ang="0">
                  <a:pos x="2" y="2"/>
                </a:cxn>
                <a:cxn ang="0">
                  <a:pos x="4" y="0"/>
                </a:cxn>
                <a:cxn ang="0">
                  <a:pos x="4" y="0"/>
                </a:cxn>
                <a:cxn ang="0">
                  <a:pos x="6" y="2"/>
                </a:cxn>
                <a:cxn ang="0">
                  <a:pos x="10" y="4"/>
                </a:cxn>
                <a:cxn ang="0">
                  <a:pos x="10" y="11"/>
                </a:cxn>
                <a:cxn ang="0">
                  <a:pos x="10" y="13"/>
                </a:cxn>
                <a:cxn ang="0">
                  <a:pos x="10" y="11"/>
                </a:cxn>
                <a:cxn ang="0">
                  <a:pos x="6" y="15"/>
                </a:cxn>
                <a:cxn ang="0">
                  <a:pos x="4" y="17"/>
                </a:cxn>
                <a:cxn ang="0">
                  <a:pos x="2" y="17"/>
                </a:cxn>
                <a:cxn ang="0">
                  <a:pos x="2" y="17"/>
                </a:cxn>
                <a:cxn ang="0">
                  <a:pos x="2" y="17"/>
                </a:cxn>
              </a:cxnLst>
              <a:rect l="0" t="0" r="r" b="b"/>
              <a:pathLst>
                <a:path w="10" h="17">
                  <a:moveTo>
                    <a:pt x="2" y="17"/>
                  </a:moveTo>
                  <a:lnTo>
                    <a:pt x="2" y="15"/>
                  </a:lnTo>
                  <a:lnTo>
                    <a:pt x="0" y="11"/>
                  </a:lnTo>
                  <a:lnTo>
                    <a:pt x="2" y="8"/>
                  </a:lnTo>
                  <a:lnTo>
                    <a:pt x="2" y="2"/>
                  </a:lnTo>
                  <a:lnTo>
                    <a:pt x="4" y="0"/>
                  </a:lnTo>
                  <a:lnTo>
                    <a:pt x="4" y="0"/>
                  </a:lnTo>
                  <a:lnTo>
                    <a:pt x="6" y="2"/>
                  </a:lnTo>
                  <a:lnTo>
                    <a:pt x="10" y="4"/>
                  </a:lnTo>
                  <a:lnTo>
                    <a:pt x="10" y="11"/>
                  </a:lnTo>
                  <a:lnTo>
                    <a:pt x="10" y="13"/>
                  </a:lnTo>
                  <a:lnTo>
                    <a:pt x="10" y="11"/>
                  </a:lnTo>
                  <a:lnTo>
                    <a:pt x="6" y="15"/>
                  </a:lnTo>
                  <a:lnTo>
                    <a:pt x="4" y="17"/>
                  </a:lnTo>
                  <a:lnTo>
                    <a:pt x="2" y="17"/>
                  </a:lnTo>
                  <a:lnTo>
                    <a:pt x="2" y="17"/>
                  </a:lnTo>
                  <a:lnTo>
                    <a:pt x="2"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9" name="Freeform 72">
              <a:extLst>
                <a:ext uri="{FF2B5EF4-FFF2-40B4-BE49-F238E27FC236}">
                  <a16:creationId xmlns:a16="http://schemas.microsoft.com/office/drawing/2014/main" id="{442747CC-E639-4D74-AFCC-DA09157AE785}"/>
                </a:ext>
              </a:extLst>
            </p:cNvPr>
            <p:cNvSpPr>
              <a:spLocks/>
            </p:cNvSpPr>
            <p:nvPr/>
          </p:nvSpPr>
          <p:spPr bwMode="auto">
            <a:xfrm>
              <a:off x="3408" y="2474"/>
              <a:ext cx="9" cy="21"/>
            </a:xfrm>
            <a:custGeom>
              <a:avLst/>
              <a:gdLst/>
              <a:ahLst/>
              <a:cxnLst>
                <a:cxn ang="0">
                  <a:pos x="7" y="19"/>
                </a:cxn>
                <a:cxn ang="0">
                  <a:pos x="3" y="19"/>
                </a:cxn>
                <a:cxn ang="0">
                  <a:pos x="2" y="21"/>
                </a:cxn>
                <a:cxn ang="0">
                  <a:pos x="0" y="19"/>
                </a:cxn>
                <a:cxn ang="0">
                  <a:pos x="0" y="15"/>
                </a:cxn>
                <a:cxn ang="0">
                  <a:pos x="0" y="8"/>
                </a:cxn>
                <a:cxn ang="0">
                  <a:pos x="0" y="4"/>
                </a:cxn>
                <a:cxn ang="0">
                  <a:pos x="0" y="0"/>
                </a:cxn>
                <a:cxn ang="0">
                  <a:pos x="5" y="0"/>
                </a:cxn>
                <a:cxn ang="0">
                  <a:pos x="5" y="4"/>
                </a:cxn>
                <a:cxn ang="0">
                  <a:pos x="7" y="4"/>
                </a:cxn>
                <a:cxn ang="0">
                  <a:pos x="9" y="2"/>
                </a:cxn>
                <a:cxn ang="0">
                  <a:pos x="9" y="2"/>
                </a:cxn>
                <a:cxn ang="0">
                  <a:pos x="9" y="4"/>
                </a:cxn>
                <a:cxn ang="0">
                  <a:pos x="9" y="8"/>
                </a:cxn>
                <a:cxn ang="0">
                  <a:pos x="9" y="11"/>
                </a:cxn>
                <a:cxn ang="0">
                  <a:pos x="9" y="13"/>
                </a:cxn>
                <a:cxn ang="0">
                  <a:pos x="7" y="19"/>
                </a:cxn>
                <a:cxn ang="0">
                  <a:pos x="7" y="19"/>
                </a:cxn>
                <a:cxn ang="0">
                  <a:pos x="7" y="19"/>
                </a:cxn>
                <a:cxn ang="0">
                  <a:pos x="7" y="19"/>
                </a:cxn>
              </a:cxnLst>
              <a:rect l="0" t="0" r="r" b="b"/>
              <a:pathLst>
                <a:path w="9" h="21">
                  <a:moveTo>
                    <a:pt x="7" y="19"/>
                  </a:moveTo>
                  <a:lnTo>
                    <a:pt x="3" y="19"/>
                  </a:lnTo>
                  <a:lnTo>
                    <a:pt x="2" y="21"/>
                  </a:lnTo>
                  <a:lnTo>
                    <a:pt x="0" y="19"/>
                  </a:lnTo>
                  <a:lnTo>
                    <a:pt x="0" y="15"/>
                  </a:lnTo>
                  <a:lnTo>
                    <a:pt x="0" y="8"/>
                  </a:lnTo>
                  <a:lnTo>
                    <a:pt x="0" y="4"/>
                  </a:lnTo>
                  <a:lnTo>
                    <a:pt x="0" y="0"/>
                  </a:lnTo>
                  <a:lnTo>
                    <a:pt x="5" y="0"/>
                  </a:lnTo>
                  <a:lnTo>
                    <a:pt x="5" y="4"/>
                  </a:lnTo>
                  <a:lnTo>
                    <a:pt x="7" y="4"/>
                  </a:lnTo>
                  <a:lnTo>
                    <a:pt x="9" y="2"/>
                  </a:lnTo>
                  <a:lnTo>
                    <a:pt x="9" y="2"/>
                  </a:lnTo>
                  <a:lnTo>
                    <a:pt x="9" y="4"/>
                  </a:lnTo>
                  <a:lnTo>
                    <a:pt x="9" y="8"/>
                  </a:lnTo>
                  <a:lnTo>
                    <a:pt x="9" y="11"/>
                  </a:lnTo>
                  <a:lnTo>
                    <a:pt x="9" y="13"/>
                  </a:lnTo>
                  <a:lnTo>
                    <a:pt x="7" y="19"/>
                  </a:lnTo>
                  <a:lnTo>
                    <a:pt x="7" y="19"/>
                  </a:lnTo>
                  <a:lnTo>
                    <a:pt x="7" y="19"/>
                  </a:lnTo>
                  <a:lnTo>
                    <a:pt x="7"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0" name="Freeform 73">
              <a:extLst>
                <a:ext uri="{FF2B5EF4-FFF2-40B4-BE49-F238E27FC236}">
                  <a16:creationId xmlns:a16="http://schemas.microsoft.com/office/drawing/2014/main" id="{7A82086A-05A4-442A-BB8A-8C277BB4CCC3}"/>
                </a:ext>
              </a:extLst>
            </p:cNvPr>
            <p:cNvSpPr>
              <a:spLocks/>
            </p:cNvSpPr>
            <p:nvPr/>
          </p:nvSpPr>
          <p:spPr bwMode="auto">
            <a:xfrm>
              <a:off x="3408" y="2431"/>
              <a:ext cx="26" cy="26"/>
            </a:xfrm>
            <a:custGeom>
              <a:avLst/>
              <a:gdLst/>
              <a:ahLst/>
              <a:cxnLst>
                <a:cxn ang="0">
                  <a:pos x="0" y="26"/>
                </a:cxn>
                <a:cxn ang="0">
                  <a:pos x="2" y="26"/>
                </a:cxn>
                <a:cxn ang="0">
                  <a:pos x="7" y="26"/>
                </a:cxn>
                <a:cxn ang="0">
                  <a:pos x="11" y="24"/>
                </a:cxn>
                <a:cxn ang="0">
                  <a:pos x="11" y="24"/>
                </a:cxn>
                <a:cxn ang="0">
                  <a:pos x="17" y="20"/>
                </a:cxn>
                <a:cxn ang="0">
                  <a:pos x="17" y="17"/>
                </a:cxn>
                <a:cxn ang="0">
                  <a:pos x="20" y="15"/>
                </a:cxn>
                <a:cxn ang="0">
                  <a:pos x="22" y="15"/>
                </a:cxn>
                <a:cxn ang="0">
                  <a:pos x="26" y="13"/>
                </a:cxn>
                <a:cxn ang="0">
                  <a:pos x="22" y="11"/>
                </a:cxn>
                <a:cxn ang="0">
                  <a:pos x="22" y="5"/>
                </a:cxn>
                <a:cxn ang="0">
                  <a:pos x="20" y="5"/>
                </a:cxn>
                <a:cxn ang="0">
                  <a:pos x="19" y="0"/>
                </a:cxn>
                <a:cxn ang="0">
                  <a:pos x="11" y="0"/>
                </a:cxn>
                <a:cxn ang="0">
                  <a:pos x="11" y="3"/>
                </a:cxn>
                <a:cxn ang="0">
                  <a:pos x="7" y="3"/>
                </a:cxn>
                <a:cxn ang="0">
                  <a:pos x="5" y="13"/>
                </a:cxn>
                <a:cxn ang="0">
                  <a:pos x="5" y="17"/>
                </a:cxn>
                <a:cxn ang="0">
                  <a:pos x="0" y="22"/>
                </a:cxn>
                <a:cxn ang="0">
                  <a:pos x="0" y="26"/>
                </a:cxn>
                <a:cxn ang="0">
                  <a:pos x="0" y="26"/>
                </a:cxn>
                <a:cxn ang="0">
                  <a:pos x="0" y="26"/>
                </a:cxn>
                <a:cxn ang="0">
                  <a:pos x="0" y="26"/>
                </a:cxn>
              </a:cxnLst>
              <a:rect l="0" t="0" r="r" b="b"/>
              <a:pathLst>
                <a:path w="26" h="26">
                  <a:moveTo>
                    <a:pt x="0" y="26"/>
                  </a:moveTo>
                  <a:lnTo>
                    <a:pt x="2" y="26"/>
                  </a:lnTo>
                  <a:lnTo>
                    <a:pt x="7" y="26"/>
                  </a:lnTo>
                  <a:lnTo>
                    <a:pt x="11" y="24"/>
                  </a:lnTo>
                  <a:lnTo>
                    <a:pt x="11" y="24"/>
                  </a:lnTo>
                  <a:lnTo>
                    <a:pt x="17" y="20"/>
                  </a:lnTo>
                  <a:lnTo>
                    <a:pt x="17" y="17"/>
                  </a:lnTo>
                  <a:lnTo>
                    <a:pt x="20" y="15"/>
                  </a:lnTo>
                  <a:lnTo>
                    <a:pt x="22" y="15"/>
                  </a:lnTo>
                  <a:lnTo>
                    <a:pt x="26" y="13"/>
                  </a:lnTo>
                  <a:lnTo>
                    <a:pt x="22" y="11"/>
                  </a:lnTo>
                  <a:lnTo>
                    <a:pt x="22" y="5"/>
                  </a:lnTo>
                  <a:lnTo>
                    <a:pt x="20" y="5"/>
                  </a:lnTo>
                  <a:lnTo>
                    <a:pt x="19" y="0"/>
                  </a:lnTo>
                  <a:lnTo>
                    <a:pt x="11" y="0"/>
                  </a:lnTo>
                  <a:lnTo>
                    <a:pt x="11" y="3"/>
                  </a:lnTo>
                  <a:lnTo>
                    <a:pt x="7" y="3"/>
                  </a:lnTo>
                  <a:lnTo>
                    <a:pt x="5" y="13"/>
                  </a:lnTo>
                  <a:lnTo>
                    <a:pt x="5" y="17"/>
                  </a:lnTo>
                  <a:lnTo>
                    <a:pt x="0" y="22"/>
                  </a:lnTo>
                  <a:lnTo>
                    <a:pt x="0" y="26"/>
                  </a:lnTo>
                  <a:lnTo>
                    <a:pt x="0" y="26"/>
                  </a:lnTo>
                  <a:lnTo>
                    <a:pt x="0" y="26"/>
                  </a:lnTo>
                  <a:lnTo>
                    <a:pt x="0"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1" name="Freeform 74">
              <a:extLst>
                <a:ext uri="{FF2B5EF4-FFF2-40B4-BE49-F238E27FC236}">
                  <a16:creationId xmlns:a16="http://schemas.microsoft.com/office/drawing/2014/main" id="{E4BB49B0-6245-4BFD-9233-93BFD88404D8}"/>
                </a:ext>
              </a:extLst>
            </p:cNvPr>
            <p:cNvSpPr>
              <a:spLocks/>
            </p:cNvSpPr>
            <p:nvPr/>
          </p:nvSpPr>
          <p:spPr bwMode="auto">
            <a:xfrm>
              <a:off x="3408" y="2431"/>
              <a:ext cx="26" cy="26"/>
            </a:xfrm>
            <a:custGeom>
              <a:avLst/>
              <a:gdLst/>
              <a:ahLst/>
              <a:cxnLst>
                <a:cxn ang="0">
                  <a:pos x="0" y="26"/>
                </a:cxn>
                <a:cxn ang="0">
                  <a:pos x="2" y="26"/>
                </a:cxn>
                <a:cxn ang="0">
                  <a:pos x="7" y="26"/>
                </a:cxn>
                <a:cxn ang="0">
                  <a:pos x="11" y="24"/>
                </a:cxn>
                <a:cxn ang="0">
                  <a:pos x="11" y="24"/>
                </a:cxn>
                <a:cxn ang="0">
                  <a:pos x="17" y="20"/>
                </a:cxn>
                <a:cxn ang="0">
                  <a:pos x="17" y="17"/>
                </a:cxn>
                <a:cxn ang="0">
                  <a:pos x="20" y="15"/>
                </a:cxn>
                <a:cxn ang="0">
                  <a:pos x="22" y="15"/>
                </a:cxn>
                <a:cxn ang="0">
                  <a:pos x="26" y="13"/>
                </a:cxn>
                <a:cxn ang="0">
                  <a:pos x="22" y="11"/>
                </a:cxn>
                <a:cxn ang="0">
                  <a:pos x="22" y="5"/>
                </a:cxn>
                <a:cxn ang="0">
                  <a:pos x="20" y="5"/>
                </a:cxn>
                <a:cxn ang="0">
                  <a:pos x="19" y="0"/>
                </a:cxn>
                <a:cxn ang="0">
                  <a:pos x="11" y="0"/>
                </a:cxn>
                <a:cxn ang="0">
                  <a:pos x="11" y="3"/>
                </a:cxn>
                <a:cxn ang="0">
                  <a:pos x="7" y="3"/>
                </a:cxn>
                <a:cxn ang="0">
                  <a:pos x="5" y="13"/>
                </a:cxn>
                <a:cxn ang="0">
                  <a:pos x="5" y="17"/>
                </a:cxn>
                <a:cxn ang="0">
                  <a:pos x="0" y="22"/>
                </a:cxn>
                <a:cxn ang="0">
                  <a:pos x="0" y="26"/>
                </a:cxn>
                <a:cxn ang="0">
                  <a:pos x="0" y="26"/>
                </a:cxn>
                <a:cxn ang="0">
                  <a:pos x="0" y="26"/>
                </a:cxn>
                <a:cxn ang="0">
                  <a:pos x="0" y="26"/>
                </a:cxn>
              </a:cxnLst>
              <a:rect l="0" t="0" r="r" b="b"/>
              <a:pathLst>
                <a:path w="26" h="26">
                  <a:moveTo>
                    <a:pt x="0" y="26"/>
                  </a:moveTo>
                  <a:lnTo>
                    <a:pt x="2" y="26"/>
                  </a:lnTo>
                  <a:lnTo>
                    <a:pt x="7" y="26"/>
                  </a:lnTo>
                  <a:lnTo>
                    <a:pt x="11" y="24"/>
                  </a:lnTo>
                  <a:lnTo>
                    <a:pt x="11" y="24"/>
                  </a:lnTo>
                  <a:lnTo>
                    <a:pt x="17" y="20"/>
                  </a:lnTo>
                  <a:lnTo>
                    <a:pt x="17" y="17"/>
                  </a:lnTo>
                  <a:lnTo>
                    <a:pt x="20" y="15"/>
                  </a:lnTo>
                  <a:lnTo>
                    <a:pt x="22" y="15"/>
                  </a:lnTo>
                  <a:lnTo>
                    <a:pt x="26" y="13"/>
                  </a:lnTo>
                  <a:lnTo>
                    <a:pt x="22" y="11"/>
                  </a:lnTo>
                  <a:lnTo>
                    <a:pt x="22" y="5"/>
                  </a:lnTo>
                  <a:lnTo>
                    <a:pt x="20" y="5"/>
                  </a:lnTo>
                  <a:lnTo>
                    <a:pt x="19" y="0"/>
                  </a:lnTo>
                  <a:lnTo>
                    <a:pt x="11" y="0"/>
                  </a:lnTo>
                  <a:lnTo>
                    <a:pt x="11" y="3"/>
                  </a:lnTo>
                  <a:lnTo>
                    <a:pt x="7" y="3"/>
                  </a:lnTo>
                  <a:lnTo>
                    <a:pt x="5" y="13"/>
                  </a:lnTo>
                  <a:lnTo>
                    <a:pt x="5" y="17"/>
                  </a:lnTo>
                  <a:lnTo>
                    <a:pt x="0" y="22"/>
                  </a:lnTo>
                  <a:lnTo>
                    <a:pt x="0" y="26"/>
                  </a:lnTo>
                  <a:lnTo>
                    <a:pt x="0" y="26"/>
                  </a:lnTo>
                  <a:lnTo>
                    <a:pt x="0" y="26"/>
                  </a:lnTo>
                  <a:lnTo>
                    <a:pt x="0"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2" name="Freeform 75">
              <a:extLst>
                <a:ext uri="{FF2B5EF4-FFF2-40B4-BE49-F238E27FC236}">
                  <a16:creationId xmlns:a16="http://schemas.microsoft.com/office/drawing/2014/main" id="{E8852338-7281-443F-8BCB-CF05DD7D39B2}"/>
                </a:ext>
              </a:extLst>
            </p:cNvPr>
            <p:cNvSpPr>
              <a:spLocks/>
            </p:cNvSpPr>
            <p:nvPr/>
          </p:nvSpPr>
          <p:spPr bwMode="auto">
            <a:xfrm>
              <a:off x="3408" y="2453"/>
              <a:ext cx="79" cy="94"/>
            </a:xfrm>
            <a:custGeom>
              <a:avLst/>
              <a:gdLst/>
              <a:ahLst/>
              <a:cxnLst>
                <a:cxn ang="0">
                  <a:pos x="0" y="83"/>
                </a:cxn>
                <a:cxn ang="0">
                  <a:pos x="0" y="83"/>
                </a:cxn>
                <a:cxn ang="0">
                  <a:pos x="0" y="79"/>
                </a:cxn>
                <a:cxn ang="0">
                  <a:pos x="3" y="76"/>
                </a:cxn>
                <a:cxn ang="0">
                  <a:pos x="3" y="74"/>
                </a:cxn>
                <a:cxn ang="0">
                  <a:pos x="5" y="68"/>
                </a:cxn>
                <a:cxn ang="0">
                  <a:pos x="5" y="62"/>
                </a:cxn>
                <a:cxn ang="0">
                  <a:pos x="5" y="62"/>
                </a:cxn>
                <a:cxn ang="0">
                  <a:pos x="5" y="59"/>
                </a:cxn>
                <a:cxn ang="0">
                  <a:pos x="5" y="53"/>
                </a:cxn>
                <a:cxn ang="0">
                  <a:pos x="5" y="51"/>
                </a:cxn>
                <a:cxn ang="0">
                  <a:pos x="9" y="34"/>
                </a:cxn>
                <a:cxn ang="0">
                  <a:pos x="9" y="32"/>
                </a:cxn>
                <a:cxn ang="0">
                  <a:pos x="9" y="29"/>
                </a:cxn>
                <a:cxn ang="0">
                  <a:pos x="9" y="25"/>
                </a:cxn>
                <a:cxn ang="0">
                  <a:pos x="9" y="23"/>
                </a:cxn>
                <a:cxn ang="0">
                  <a:pos x="9" y="19"/>
                </a:cxn>
                <a:cxn ang="0">
                  <a:pos x="9" y="19"/>
                </a:cxn>
                <a:cxn ang="0">
                  <a:pos x="11" y="19"/>
                </a:cxn>
                <a:cxn ang="0">
                  <a:pos x="15" y="13"/>
                </a:cxn>
                <a:cxn ang="0">
                  <a:pos x="15" y="17"/>
                </a:cxn>
                <a:cxn ang="0">
                  <a:pos x="20" y="19"/>
                </a:cxn>
                <a:cxn ang="0">
                  <a:pos x="24" y="23"/>
                </a:cxn>
                <a:cxn ang="0">
                  <a:pos x="26" y="23"/>
                </a:cxn>
                <a:cxn ang="0">
                  <a:pos x="30" y="23"/>
                </a:cxn>
                <a:cxn ang="0">
                  <a:pos x="67" y="0"/>
                </a:cxn>
                <a:cxn ang="0">
                  <a:pos x="79" y="23"/>
                </a:cxn>
                <a:cxn ang="0">
                  <a:pos x="77" y="23"/>
                </a:cxn>
                <a:cxn ang="0">
                  <a:pos x="69" y="30"/>
                </a:cxn>
                <a:cxn ang="0">
                  <a:pos x="41" y="40"/>
                </a:cxn>
                <a:cxn ang="0">
                  <a:pos x="64" y="64"/>
                </a:cxn>
                <a:cxn ang="0">
                  <a:pos x="54" y="74"/>
                </a:cxn>
                <a:cxn ang="0">
                  <a:pos x="54" y="79"/>
                </a:cxn>
                <a:cxn ang="0">
                  <a:pos x="39" y="79"/>
                </a:cxn>
                <a:cxn ang="0">
                  <a:pos x="24" y="94"/>
                </a:cxn>
                <a:cxn ang="0">
                  <a:pos x="5" y="89"/>
                </a:cxn>
                <a:cxn ang="0">
                  <a:pos x="0" y="89"/>
                </a:cxn>
                <a:cxn ang="0">
                  <a:pos x="0" y="89"/>
                </a:cxn>
                <a:cxn ang="0">
                  <a:pos x="0" y="83"/>
                </a:cxn>
                <a:cxn ang="0">
                  <a:pos x="0" y="83"/>
                </a:cxn>
                <a:cxn ang="0">
                  <a:pos x="0" y="83"/>
                </a:cxn>
                <a:cxn ang="0">
                  <a:pos x="0" y="83"/>
                </a:cxn>
                <a:cxn ang="0">
                  <a:pos x="0" y="83"/>
                </a:cxn>
              </a:cxnLst>
              <a:rect l="0" t="0" r="r" b="b"/>
              <a:pathLst>
                <a:path w="79" h="94">
                  <a:moveTo>
                    <a:pt x="0" y="83"/>
                  </a:moveTo>
                  <a:lnTo>
                    <a:pt x="0" y="83"/>
                  </a:lnTo>
                  <a:lnTo>
                    <a:pt x="0" y="79"/>
                  </a:lnTo>
                  <a:lnTo>
                    <a:pt x="3" y="76"/>
                  </a:lnTo>
                  <a:lnTo>
                    <a:pt x="3" y="74"/>
                  </a:lnTo>
                  <a:lnTo>
                    <a:pt x="5" y="68"/>
                  </a:lnTo>
                  <a:lnTo>
                    <a:pt x="5" y="62"/>
                  </a:lnTo>
                  <a:lnTo>
                    <a:pt x="5" y="62"/>
                  </a:lnTo>
                  <a:lnTo>
                    <a:pt x="5" y="59"/>
                  </a:lnTo>
                  <a:lnTo>
                    <a:pt x="5" y="53"/>
                  </a:lnTo>
                  <a:lnTo>
                    <a:pt x="5" y="51"/>
                  </a:lnTo>
                  <a:lnTo>
                    <a:pt x="9" y="34"/>
                  </a:lnTo>
                  <a:lnTo>
                    <a:pt x="9" y="32"/>
                  </a:lnTo>
                  <a:lnTo>
                    <a:pt x="9" y="29"/>
                  </a:lnTo>
                  <a:lnTo>
                    <a:pt x="9" y="25"/>
                  </a:lnTo>
                  <a:lnTo>
                    <a:pt x="9" y="23"/>
                  </a:lnTo>
                  <a:lnTo>
                    <a:pt x="9" y="19"/>
                  </a:lnTo>
                  <a:lnTo>
                    <a:pt x="9" y="19"/>
                  </a:lnTo>
                  <a:lnTo>
                    <a:pt x="11" y="19"/>
                  </a:lnTo>
                  <a:lnTo>
                    <a:pt x="15" y="13"/>
                  </a:lnTo>
                  <a:lnTo>
                    <a:pt x="15" y="17"/>
                  </a:lnTo>
                  <a:lnTo>
                    <a:pt x="20" y="19"/>
                  </a:lnTo>
                  <a:lnTo>
                    <a:pt x="24" y="23"/>
                  </a:lnTo>
                  <a:lnTo>
                    <a:pt x="26" y="23"/>
                  </a:lnTo>
                  <a:lnTo>
                    <a:pt x="30" y="23"/>
                  </a:lnTo>
                  <a:lnTo>
                    <a:pt x="67" y="0"/>
                  </a:lnTo>
                  <a:lnTo>
                    <a:pt x="79" y="23"/>
                  </a:lnTo>
                  <a:lnTo>
                    <a:pt x="77" y="23"/>
                  </a:lnTo>
                  <a:lnTo>
                    <a:pt x="69" y="30"/>
                  </a:lnTo>
                  <a:lnTo>
                    <a:pt x="41" y="40"/>
                  </a:lnTo>
                  <a:lnTo>
                    <a:pt x="64" y="64"/>
                  </a:lnTo>
                  <a:lnTo>
                    <a:pt x="54" y="74"/>
                  </a:lnTo>
                  <a:lnTo>
                    <a:pt x="54" y="79"/>
                  </a:lnTo>
                  <a:lnTo>
                    <a:pt x="39" y="79"/>
                  </a:lnTo>
                  <a:lnTo>
                    <a:pt x="24" y="94"/>
                  </a:lnTo>
                  <a:lnTo>
                    <a:pt x="5" y="89"/>
                  </a:lnTo>
                  <a:lnTo>
                    <a:pt x="0" y="89"/>
                  </a:lnTo>
                  <a:lnTo>
                    <a:pt x="0" y="89"/>
                  </a:lnTo>
                  <a:lnTo>
                    <a:pt x="0" y="83"/>
                  </a:lnTo>
                  <a:lnTo>
                    <a:pt x="0" y="83"/>
                  </a:lnTo>
                  <a:lnTo>
                    <a:pt x="0" y="83"/>
                  </a:lnTo>
                  <a:lnTo>
                    <a:pt x="0" y="83"/>
                  </a:lnTo>
                  <a:lnTo>
                    <a:pt x="0"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3" name="Freeform 76">
              <a:extLst>
                <a:ext uri="{FF2B5EF4-FFF2-40B4-BE49-F238E27FC236}">
                  <a16:creationId xmlns:a16="http://schemas.microsoft.com/office/drawing/2014/main" id="{0AED0134-29C8-4BA6-81D3-97809ED8D7CC}"/>
                </a:ext>
              </a:extLst>
            </p:cNvPr>
            <p:cNvSpPr>
              <a:spLocks/>
            </p:cNvSpPr>
            <p:nvPr/>
          </p:nvSpPr>
          <p:spPr bwMode="auto">
            <a:xfrm>
              <a:off x="3408" y="2453"/>
              <a:ext cx="79" cy="94"/>
            </a:xfrm>
            <a:custGeom>
              <a:avLst/>
              <a:gdLst/>
              <a:ahLst/>
              <a:cxnLst>
                <a:cxn ang="0">
                  <a:pos x="0" y="83"/>
                </a:cxn>
                <a:cxn ang="0">
                  <a:pos x="0" y="83"/>
                </a:cxn>
                <a:cxn ang="0">
                  <a:pos x="0" y="79"/>
                </a:cxn>
                <a:cxn ang="0">
                  <a:pos x="3" y="76"/>
                </a:cxn>
                <a:cxn ang="0">
                  <a:pos x="3" y="74"/>
                </a:cxn>
                <a:cxn ang="0">
                  <a:pos x="5" y="68"/>
                </a:cxn>
                <a:cxn ang="0">
                  <a:pos x="5" y="62"/>
                </a:cxn>
                <a:cxn ang="0">
                  <a:pos x="5" y="62"/>
                </a:cxn>
                <a:cxn ang="0">
                  <a:pos x="5" y="59"/>
                </a:cxn>
                <a:cxn ang="0">
                  <a:pos x="5" y="53"/>
                </a:cxn>
                <a:cxn ang="0">
                  <a:pos x="5" y="51"/>
                </a:cxn>
                <a:cxn ang="0">
                  <a:pos x="9" y="34"/>
                </a:cxn>
                <a:cxn ang="0">
                  <a:pos x="9" y="32"/>
                </a:cxn>
                <a:cxn ang="0">
                  <a:pos x="9" y="29"/>
                </a:cxn>
                <a:cxn ang="0">
                  <a:pos x="9" y="25"/>
                </a:cxn>
                <a:cxn ang="0">
                  <a:pos x="9" y="23"/>
                </a:cxn>
                <a:cxn ang="0">
                  <a:pos x="9" y="19"/>
                </a:cxn>
                <a:cxn ang="0">
                  <a:pos x="9" y="19"/>
                </a:cxn>
                <a:cxn ang="0">
                  <a:pos x="11" y="19"/>
                </a:cxn>
                <a:cxn ang="0">
                  <a:pos x="15" y="13"/>
                </a:cxn>
                <a:cxn ang="0">
                  <a:pos x="15" y="17"/>
                </a:cxn>
                <a:cxn ang="0">
                  <a:pos x="20" y="19"/>
                </a:cxn>
                <a:cxn ang="0">
                  <a:pos x="24" y="23"/>
                </a:cxn>
                <a:cxn ang="0">
                  <a:pos x="26" y="23"/>
                </a:cxn>
                <a:cxn ang="0">
                  <a:pos x="30" y="23"/>
                </a:cxn>
                <a:cxn ang="0">
                  <a:pos x="67" y="0"/>
                </a:cxn>
                <a:cxn ang="0">
                  <a:pos x="79" y="23"/>
                </a:cxn>
                <a:cxn ang="0">
                  <a:pos x="77" y="23"/>
                </a:cxn>
                <a:cxn ang="0">
                  <a:pos x="69" y="30"/>
                </a:cxn>
                <a:cxn ang="0">
                  <a:pos x="41" y="40"/>
                </a:cxn>
                <a:cxn ang="0">
                  <a:pos x="64" y="64"/>
                </a:cxn>
                <a:cxn ang="0">
                  <a:pos x="54" y="74"/>
                </a:cxn>
                <a:cxn ang="0">
                  <a:pos x="54" y="79"/>
                </a:cxn>
                <a:cxn ang="0">
                  <a:pos x="39" y="79"/>
                </a:cxn>
                <a:cxn ang="0">
                  <a:pos x="24" y="94"/>
                </a:cxn>
                <a:cxn ang="0">
                  <a:pos x="5" y="89"/>
                </a:cxn>
                <a:cxn ang="0">
                  <a:pos x="0" y="89"/>
                </a:cxn>
                <a:cxn ang="0">
                  <a:pos x="0" y="89"/>
                </a:cxn>
                <a:cxn ang="0">
                  <a:pos x="0" y="83"/>
                </a:cxn>
                <a:cxn ang="0">
                  <a:pos x="0" y="83"/>
                </a:cxn>
                <a:cxn ang="0">
                  <a:pos x="0" y="83"/>
                </a:cxn>
                <a:cxn ang="0">
                  <a:pos x="0" y="83"/>
                </a:cxn>
                <a:cxn ang="0">
                  <a:pos x="0" y="83"/>
                </a:cxn>
              </a:cxnLst>
              <a:rect l="0" t="0" r="r" b="b"/>
              <a:pathLst>
                <a:path w="79" h="94">
                  <a:moveTo>
                    <a:pt x="0" y="83"/>
                  </a:moveTo>
                  <a:lnTo>
                    <a:pt x="0" y="83"/>
                  </a:lnTo>
                  <a:lnTo>
                    <a:pt x="0" y="79"/>
                  </a:lnTo>
                  <a:lnTo>
                    <a:pt x="3" y="76"/>
                  </a:lnTo>
                  <a:lnTo>
                    <a:pt x="3" y="74"/>
                  </a:lnTo>
                  <a:lnTo>
                    <a:pt x="5" y="68"/>
                  </a:lnTo>
                  <a:lnTo>
                    <a:pt x="5" y="62"/>
                  </a:lnTo>
                  <a:lnTo>
                    <a:pt x="5" y="62"/>
                  </a:lnTo>
                  <a:lnTo>
                    <a:pt x="5" y="59"/>
                  </a:lnTo>
                  <a:lnTo>
                    <a:pt x="5" y="53"/>
                  </a:lnTo>
                  <a:lnTo>
                    <a:pt x="5" y="51"/>
                  </a:lnTo>
                  <a:lnTo>
                    <a:pt x="9" y="34"/>
                  </a:lnTo>
                  <a:lnTo>
                    <a:pt x="9" y="32"/>
                  </a:lnTo>
                  <a:lnTo>
                    <a:pt x="9" y="29"/>
                  </a:lnTo>
                  <a:lnTo>
                    <a:pt x="9" y="25"/>
                  </a:lnTo>
                  <a:lnTo>
                    <a:pt x="9" y="23"/>
                  </a:lnTo>
                  <a:lnTo>
                    <a:pt x="9" y="19"/>
                  </a:lnTo>
                  <a:lnTo>
                    <a:pt x="9" y="19"/>
                  </a:lnTo>
                  <a:lnTo>
                    <a:pt x="11" y="19"/>
                  </a:lnTo>
                  <a:lnTo>
                    <a:pt x="15" y="13"/>
                  </a:lnTo>
                  <a:lnTo>
                    <a:pt x="15" y="17"/>
                  </a:lnTo>
                  <a:lnTo>
                    <a:pt x="20" y="19"/>
                  </a:lnTo>
                  <a:lnTo>
                    <a:pt x="24" y="23"/>
                  </a:lnTo>
                  <a:lnTo>
                    <a:pt x="26" y="23"/>
                  </a:lnTo>
                  <a:lnTo>
                    <a:pt x="30" y="23"/>
                  </a:lnTo>
                  <a:lnTo>
                    <a:pt x="67" y="0"/>
                  </a:lnTo>
                  <a:lnTo>
                    <a:pt x="79" y="23"/>
                  </a:lnTo>
                  <a:lnTo>
                    <a:pt x="77" y="23"/>
                  </a:lnTo>
                  <a:lnTo>
                    <a:pt x="69" y="30"/>
                  </a:lnTo>
                  <a:lnTo>
                    <a:pt x="41" y="40"/>
                  </a:lnTo>
                  <a:lnTo>
                    <a:pt x="64" y="64"/>
                  </a:lnTo>
                  <a:lnTo>
                    <a:pt x="54" y="74"/>
                  </a:lnTo>
                  <a:lnTo>
                    <a:pt x="54" y="79"/>
                  </a:lnTo>
                  <a:lnTo>
                    <a:pt x="39" y="79"/>
                  </a:lnTo>
                  <a:lnTo>
                    <a:pt x="24" y="94"/>
                  </a:lnTo>
                  <a:lnTo>
                    <a:pt x="5" y="89"/>
                  </a:lnTo>
                  <a:lnTo>
                    <a:pt x="0" y="89"/>
                  </a:lnTo>
                  <a:lnTo>
                    <a:pt x="0" y="89"/>
                  </a:lnTo>
                  <a:lnTo>
                    <a:pt x="0" y="83"/>
                  </a:lnTo>
                  <a:lnTo>
                    <a:pt x="0" y="83"/>
                  </a:lnTo>
                  <a:lnTo>
                    <a:pt x="0" y="83"/>
                  </a:lnTo>
                  <a:lnTo>
                    <a:pt x="0" y="83"/>
                  </a:lnTo>
                  <a:lnTo>
                    <a:pt x="0"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4" name="Freeform 77">
              <a:extLst>
                <a:ext uri="{FF2B5EF4-FFF2-40B4-BE49-F238E27FC236}">
                  <a16:creationId xmlns:a16="http://schemas.microsoft.com/office/drawing/2014/main" id="{304771BE-F025-41B2-994A-227700EAFAA6}"/>
                </a:ext>
              </a:extLst>
            </p:cNvPr>
            <p:cNvSpPr>
              <a:spLocks/>
            </p:cNvSpPr>
            <p:nvPr/>
          </p:nvSpPr>
          <p:spPr bwMode="auto">
            <a:xfrm>
              <a:off x="3703" y="2595"/>
              <a:ext cx="15" cy="32"/>
            </a:xfrm>
            <a:custGeom>
              <a:avLst/>
              <a:gdLst/>
              <a:ahLst/>
              <a:cxnLst>
                <a:cxn ang="0">
                  <a:pos x="12" y="32"/>
                </a:cxn>
                <a:cxn ang="0">
                  <a:pos x="6" y="32"/>
                </a:cxn>
                <a:cxn ang="0">
                  <a:pos x="0" y="28"/>
                </a:cxn>
                <a:cxn ang="0">
                  <a:pos x="0" y="28"/>
                </a:cxn>
                <a:cxn ang="0">
                  <a:pos x="0" y="28"/>
                </a:cxn>
                <a:cxn ang="0">
                  <a:pos x="0" y="22"/>
                </a:cxn>
                <a:cxn ang="0">
                  <a:pos x="0" y="22"/>
                </a:cxn>
                <a:cxn ang="0">
                  <a:pos x="0" y="18"/>
                </a:cxn>
                <a:cxn ang="0">
                  <a:pos x="0" y="13"/>
                </a:cxn>
                <a:cxn ang="0">
                  <a:pos x="0" y="13"/>
                </a:cxn>
                <a:cxn ang="0">
                  <a:pos x="2" y="13"/>
                </a:cxn>
                <a:cxn ang="0">
                  <a:pos x="0" y="7"/>
                </a:cxn>
                <a:cxn ang="0">
                  <a:pos x="2" y="7"/>
                </a:cxn>
                <a:cxn ang="0">
                  <a:pos x="0" y="7"/>
                </a:cxn>
                <a:cxn ang="0">
                  <a:pos x="2" y="3"/>
                </a:cxn>
                <a:cxn ang="0">
                  <a:pos x="2" y="3"/>
                </a:cxn>
                <a:cxn ang="0">
                  <a:pos x="6" y="3"/>
                </a:cxn>
                <a:cxn ang="0">
                  <a:pos x="6" y="0"/>
                </a:cxn>
                <a:cxn ang="0">
                  <a:pos x="6" y="0"/>
                </a:cxn>
                <a:cxn ang="0">
                  <a:pos x="12" y="3"/>
                </a:cxn>
                <a:cxn ang="0">
                  <a:pos x="12" y="7"/>
                </a:cxn>
                <a:cxn ang="0">
                  <a:pos x="12" y="7"/>
                </a:cxn>
                <a:cxn ang="0">
                  <a:pos x="12" y="7"/>
                </a:cxn>
                <a:cxn ang="0">
                  <a:pos x="12" y="13"/>
                </a:cxn>
                <a:cxn ang="0">
                  <a:pos x="12" y="13"/>
                </a:cxn>
                <a:cxn ang="0">
                  <a:pos x="12" y="18"/>
                </a:cxn>
                <a:cxn ang="0">
                  <a:pos x="12" y="18"/>
                </a:cxn>
                <a:cxn ang="0">
                  <a:pos x="15" y="22"/>
                </a:cxn>
                <a:cxn ang="0">
                  <a:pos x="12" y="32"/>
                </a:cxn>
                <a:cxn ang="0">
                  <a:pos x="12" y="32"/>
                </a:cxn>
                <a:cxn ang="0">
                  <a:pos x="12" y="32"/>
                </a:cxn>
                <a:cxn ang="0">
                  <a:pos x="12" y="32"/>
                </a:cxn>
                <a:cxn ang="0">
                  <a:pos x="12" y="32"/>
                </a:cxn>
              </a:cxnLst>
              <a:rect l="0" t="0" r="r" b="b"/>
              <a:pathLst>
                <a:path w="15" h="32">
                  <a:moveTo>
                    <a:pt x="12" y="32"/>
                  </a:moveTo>
                  <a:lnTo>
                    <a:pt x="6" y="32"/>
                  </a:lnTo>
                  <a:lnTo>
                    <a:pt x="0" y="28"/>
                  </a:lnTo>
                  <a:lnTo>
                    <a:pt x="0" y="28"/>
                  </a:lnTo>
                  <a:lnTo>
                    <a:pt x="0" y="28"/>
                  </a:lnTo>
                  <a:lnTo>
                    <a:pt x="0" y="22"/>
                  </a:lnTo>
                  <a:lnTo>
                    <a:pt x="0" y="22"/>
                  </a:lnTo>
                  <a:lnTo>
                    <a:pt x="0" y="18"/>
                  </a:lnTo>
                  <a:lnTo>
                    <a:pt x="0" y="13"/>
                  </a:lnTo>
                  <a:lnTo>
                    <a:pt x="0" y="13"/>
                  </a:lnTo>
                  <a:lnTo>
                    <a:pt x="2" y="13"/>
                  </a:lnTo>
                  <a:lnTo>
                    <a:pt x="0" y="7"/>
                  </a:lnTo>
                  <a:lnTo>
                    <a:pt x="2" y="7"/>
                  </a:lnTo>
                  <a:lnTo>
                    <a:pt x="0" y="7"/>
                  </a:lnTo>
                  <a:lnTo>
                    <a:pt x="2" y="3"/>
                  </a:lnTo>
                  <a:lnTo>
                    <a:pt x="2" y="3"/>
                  </a:lnTo>
                  <a:lnTo>
                    <a:pt x="6" y="3"/>
                  </a:lnTo>
                  <a:lnTo>
                    <a:pt x="6" y="0"/>
                  </a:lnTo>
                  <a:lnTo>
                    <a:pt x="6" y="0"/>
                  </a:lnTo>
                  <a:lnTo>
                    <a:pt x="12" y="3"/>
                  </a:lnTo>
                  <a:lnTo>
                    <a:pt x="12" y="7"/>
                  </a:lnTo>
                  <a:lnTo>
                    <a:pt x="12" y="7"/>
                  </a:lnTo>
                  <a:lnTo>
                    <a:pt x="12" y="7"/>
                  </a:lnTo>
                  <a:lnTo>
                    <a:pt x="12" y="13"/>
                  </a:lnTo>
                  <a:lnTo>
                    <a:pt x="12" y="13"/>
                  </a:lnTo>
                  <a:lnTo>
                    <a:pt x="12" y="18"/>
                  </a:lnTo>
                  <a:lnTo>
                    <a:pt x="12" y="18"/>
                  </a:lnTo>
                  <a:lnTo>
                    <a:pt x="15" y="22"/>
                  </a:lnTo>
                  <a:lnTo>
                    <a:pt x="12" y="32"/>
                  </a:lnTo>
                  <a:lnTo>
                    <a:pt x="12" y="32"/>
                  </a:lnTo>
                  <a:lnTo>
                    <a:pt x="12" y="32"/>
                  </a:lnTo>
                  <a:lnTo>
                    <a:pt x="12" y="32"/>
                  </a:lnTo>
                  <a:lnTo>
                    <a:pt x="12"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5" name="Freeform 78">
              <a:extLst>
                <a:ext uri="{FF2B5EF4-FFF2-40B4-BE49-F238E27FC236}">
                  <a16:creationId xmlns:a16="http://schemas.microsoft.com/office/drawing/2014/main" id="{E0668B1C-19C2-46F4-80D1-0E9AB2A5129A}"/>
                </a:ext>
              </a:extLst>
            </p:cNvPr>
            <p:cNvSpPr>
              <a:spLocks/>
            </p:cNvSpPr>
            <p:nvPr/>
          </p:nvSpPr>
          <p:spPr bwMode="auto">
            <a:xfrm>
              <a:off x="3703" y="2595"/>
              <a:ext cx="15" cy="32"/>
            </a:xfrm>
            <a:custGeom>
              <a:avLst/>
              <a:gdLst/>
              <a:ahLst/>
              <a:cxnLst>
                <a:cxn ang="0">
                  <a:pos x="12" y="32"/>
                </a:cxn>
                <a:cxn ang="0">
                  <a:pos x="6" y="32"/>
                </a:cxn>
                <a:cxn ang="0">
                  <a:pos x="0" y="28"/>
                </a:cxn>
                <a:cxn ang="0">
                  <a:pos x="0" y="28"/>
                </a:cxn>
                <a:cxn ang="0">
                  <a:pos x="0" y="28"/>
                </a:cxn>
                <a:cxn ang="0">
                  <a:pos x="0" y="22"/>
                </a:cxn>
                <a:cxn ang="0">
                  <a:pos x="0" y="22"/>
                </a:cxn>
                <a:cxn ang="0">
                  <a:pos x="0" y="18"/>
                </a:cxn>
                <a:cxn ang="0">
                  <a:pos x="0" y="13"/>
                </a:cxn>
                <a:cxn ang="0">
                  <a:pos x="0" y="13"/>
                </a:cxn>
                <a:cxn ang="0">
                  <a:pos x="2" y="13"/>
                </a:cxn>
                <a:cxn ang="0">
                  <a:pos x="0" y="7"/>
                </a:cxn>
                <a:cxn ang="0">
                  <a:pos x="2" y="7"/>
                </a:cxn>
                <a:cxn ang="0">
                  <a:pos x="0" y="7"/>
                </a:cxn>
                <a:cxn ang="0">
                  <a:pos x="2" y="3"/>
                </a:cxn>
                <a:cxn ang="0">
                  <a:pos x="2" y="3"/>
                </a:cxn>
                <a:cxn ang="0">
                  <a:pos x="6" y="3"/>
                </a:cxn>
                <a:cxn ang="0">
                  <a:pos x="6" y="0"/>
                </a:cxn>
                <a:cxn ang="0">
                  <a:pos x="6" y="0"/>
                </a:cxn>
                <a:cxn ang="0">
                  <a:pos x="12" y="3"/>
                </a:cxn>
                <a:cxn ang="0">
                  <a:pos x="12" y="7"/>
                </a:cxn>
                <a:cxn ang="0">
                  <a:pos x="12" y="7"/>
                </a:cxn>
                <a:cxn ang="0">
                  <a:pos x="12" y="7"/>
                </a:cxn>
                <a:cxn ang="0">
                  <a:pos x="12" y="13"/>
                </a:cxn>
                <a:cxn ang="0">
                  <a:pos x="12" y="13"/>
                </a:cxn>
                <a:cxn ang="0">
                  <a:pos x="12" y="18"/>
                </a:cxn>
                <a:cxn ang="0">
                  <a:pos x="12" y="18"/>
                </a:cxn>
                <a:cxn ang="0">
                  <a:pos x="15" y="22"/>
                </a:cxn>
                <a:cxn ang="0">
                  <a:pos x="12" y="32"/>
                </a:cxn>
                <a:cxn ang="0">
                  <a:pos x="12" y="32"/>
                </a:cxn>
                <a:cxn ang="0">
                  <a:pos x="12" y="32"/>
                </a:cxn>
                <a:cxn ang="0">
                  <a:pos x="12" y="32"/>
                </a:cxn>
                <a:cxn ang="0">
                  <a:pos x="12" y="32"/>
                </a:cxn>
              </a:cxnLst>
              <a:rect l="0" t="0" r="r" b="b"/>
              <a:pathLst>
                <a:path w="15" h="32">
                  <a:moveTo>
                    <a:pt x="12" y="32"/>
                  </a:moveTo>
                  <a:lnTo>
                    <a:pt x="6" y="32"/>
                  </a:lnTo>
                  <a:lnTo>
                    <a:pt x="0" y="28"/>
                  </a:lnTo>
                  <a:lnTo>
                    <a:pt x="0" y="28"/>
                  </a:lnTo>
                  <a:lnTo>
                    <a:pt x="0" y="28"/>
                  </a:lnTo>
                  <a:lnTo>
                    <a:pt x="0" y="22"/>
                  </a:lnTo>
                  <a:lnTo>
                    <a:pt x="0" y="22"/>
                  </a:lnTo>
                  <a:lnTo>
                    <a:pt x="0" y="18"/>
                  </a:lnTo>
                  <a:lnTo>
                    <a:pt x="0" y="13"/>
                  </a:lnTo>
                  <a:lnTo>
                    <a:pt x="0" y="13"/>
                  </a:lnTo>
                  <a:lnTo>
                    <a:pt x="2" y="13"/>
                  </a:lnTo>
                  <a:lnTo>
                    <a:pt x="0" y="7"/>
                  </a:lnTo>
                  <a:lnTo>
                    <a:pt x="2" y="7"/>
                  </a:lnTo>
                  <a:lnTo>
                    <a:pt x="0" y="7"/>
                  </a:lnTo>
                  <a:lnTo>
                    <a:pt x="2" y="3"/>
                  </a:lnTo>
                  <a:lnTo>
                    <a:pt x="2" y="3"/>
                  </a:lnTo>
                  <a:lnTo>
                    <a:pt x="6" y="3"/>
                  </a:lnTo>
                  <a:lnTo>
                    <a:pt x="6" y="0"/>
                  </a:lnTo>
                  <a:lnTo>
                    <a:pt x="6" y="0"/>
                  </a:lnTo>
                  <a:lnTo>
                    <a:pt x="12" y="3"/>
                  </a:lnTo>
                  <a:lnTo>
                    <a:pt x="12" y="7"/>
                  </a:lnTo>
                  <a:lnTo>
                    <a:pt x="12" y="7"/>
                  </a:lnTo>
                  <a:lnTo>
                    <a:pt x="12" y="7"/>
                  </a:lnTo>
                  <a:lnTo>
                    <a:pt x="12" y="13"/>
                  </a:lnTo>
                  <a:lnTo>
                    <a:pt x="12" y="13"/>
                  </a:lnTo>
                  <a:lnTo>
                    <a:pt x="12" y="18"/>
                  </a:lnTo>
                  <a:lnTo>
                    <a:pt x="12" y="18"/>
                  </a:lnTo>
                  <a:lnTo>
                    <a:pt x="15" y="22"/>
                  </a:lnTo>
                  <a:lnTo>
                    <a:pt x="12" y="32"/>
                  </a:lnTo>
                  <a:lnTo>
                    <a:pt x="12" y="32"/>
                  </a:lnTo>
                  <a:lnTo>
                    <a:pt x="12" y="32"/>
                  </a:lnTo>
                  <a:lnTo>
                    <a:pt x="12" y="32"/>
                  </a:lnTo>
                  <a:lnTo>
                    <a:pt x="12"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6" name="Freeform 79">
              <a:extLst>
                <a:ext uri="{FF2B5EF4-FFF2-40B4-BE49-F238E27FC236}">
                  <a16:creationId xmlns:a16="http://schemas.microsoft.com/office/drawing/2014/main" id="{69C1A31D-B032-418F-AB71-D70A5438BBEE}"/>
                </a:ext>
              </a:extLst>
            </p:cNvPr>
            <p:cNvSpPr>
              <a:spLocks noEditPoints="1"/>
            </p:cNvSpPr>
            <p:nvPr/>
          </p:nvSpPr>
          <p:spPr bwMode="auto">
            <a:xfrm>
              <a:off x="3122" y="1822"/>
              <a:ext cx="101" cy="70"/>
            </a:xfrm>
            <a:custGeom>
              <a:avLst/>
              <a:gdLst/>
              <a:ahLst/>
              <a:cxnLst>
                <a:cxn ang="0">
                  <a:pos x="99" y="62"/>
                </a:cxn>
                <a:cxn ang="0">
                  <a:pos x="92" y="38"/>
                </a:cxn>
                <a:cxn ang="0">
                  <a:pos x="97" y="17"/>
                </a:cxn>
                <a:cxn ang="0">
                  <a:pos x="101" y="12"/>
                </a:cxn>
                <a:cxn ang="0">
                  <a:pos x="82" y="10"/>
                </a:cxn>
                <a:cxn ang="0">
                  <a:pos x="65" y="4"/>
                </a:cxn>
                <a:cxn ang="0">
                  <a:pos x="60" y="4"/>
                </a:cxn>
                <a:cxn ang="0">
                  <a:pos x="58" y="6"/>
                </a:cxn>
                <a:cxn ang="0">
                  <a:pos x="47" y="8"/>
                </a:cxn>
                <a:cxn ang="0">
                  <a:pos x="41" y="10"/>
                </a:cxn>
                <a:cxn ang="0">
                  <a:pos x="35" y="13"/>
                </a:cxn>
                <a:cxn ang="0">
                  <a:pos x="26" y="32"/>
                </a:cxn>
                <a:cxn ang="0">
                  <a:pos x="32" y="32"/>
                </a:cxn>
                <a:cxn ang="0">
                  <a:pos x="30" y="38"/>
                </a:cxn>
                <a:cxn ang="0">
                  <a:pos x="39" y="47"/>
                </a:cxn>
                <a:cxn ang="0">
                  <a:pos x="45" y="44"/>
                </a:cxn>
                <a:cxn ang="0">
                  <a:pos x="45" y="57"/>
                </a:cxn>
                <a:cxn ang="0">
                  <a:pos x="60" y="55"/>
                </a:cxn>
                <a:cxn ang="0">
                  <a:pos x="65" y="53"/>
                </a:cxn>
                <a:cxn ang="0">
                  <a:pos x="75" y="62"/>
                </a:cxn>
                <a:cxn ang="0">
                  <a:pos x="84" y="70"/>
                </a:cxn>
                <a:cxn ang="0">
                  <a:pos x="96" y="68"/>
                </a:cxn>
                <a:cxn ang="0">
                  <a:pos x="20" y="25"/>
                </a:cxn>
                <a:cxn ang="0">
                  <a:pos x="20" y="27"/>
                </a:cxn>
                <a:cxn ang="0">
                  <a:pos x="20" y="25"/>
                </a:cxn>
                <a:cxn ang="0">
                  <a:pos x="11" y="28"/>
                </a:cxn>
                <a:cxn ang="0">
                  <a:pos x="5" y="28"/>
                </a:cxn>
                <a:cxn ang="0">
                  <a:pos x="11" y="25"/>
                </a:cxn>
                <a:cxn ang="0">
                  <a:pos x="18" y="27"/>
                </a:cxn>
                <a:cxn ang="0">
                  <a:pos x="15" y="32"/>
                </a:cxn>
                <a:cxn ang="0">
                  <a:pos x="13" y="34"/>
                </a:cxn>
                <a:cxn ang="0">
                  <a:pos x="20" y="34"/>
                </a:cxn>
                <a:cxn ang="0">
                  <a:pos x="26" y="38"/>
                </a:cxn>
                <a:cxn ang="0">
                  <a:pos x="20" y="36"/>
                </a:cxn>
                <a:cxn ang="0">
                  <a:pos x="5" y="59"/>
                </a:cxn>
                <a:cxn ang="0">
                  <a:pos x="11" y="47"/>
                </a:cxn>
                <a:cxn ang="0">
                  <a:pos x="20" y="44"/>
                </a:cxn>
                <a:cxn ang="0">
                  <a:pos x="22" y="42"/>
                </a:cxn>
                <a:cxn ang="0">
                  <a:pos x="13" y="38"/>
                </a:cxn>
                <a:cxn ang="0">
                  <a:pos x="7" y="38"/>
                </a:cxn>
                <a:cxn ang="0">
                  <a:pos x="1" y="38"/>
                </a:cxn>
                <a:cxn ang="0">
                  <a:pos x="5" y="42"/>
                </a:cxn>
                <a:cxn ang="0">
                  <a:pos x="1" y="47"/>
                </a:cxn>
                <a:cxn ang="0">
                  <a:pos x="5" y="53"/>
                </a:cxn>
                <a:cxn ang="0">
                  <a:pos x="5" y="57"/>
                </a:cxn>
              </a:cxnLst>
              <a:rect l="0" t="0" r="r" b="b"/>
              <a:pathLst>
                <a:path w="101" h="70">
                  <a:moveTo>
                    <a:pt x="96" y="68"/>
                  </a:moveTo>
                  <a:lnTo>
                    <a:pt x="99" y="64"/>
                  </a:lnTo>
                  <a:lnTo>
                    <a:pt x="99" y="62"/>
                  </a:lnTo>
                  <a:lnTo>
                    <a:pt x="101" y="59"/>
                  </a:lnTo>
                  <a:lnTo>
                    <a:pt x="101" y="55"/>
                  </a:lnTo>
                  <a:lnTo>
                    <a:pt x="92" y="38"/>
                  </a:lnTo>
                  <a:lnTo>
                    <a:pt x="92" y="25"/>
                  </a:lnTo>
                  <a:lnTo>
                    <a:pt x="96" y="23"/>
                  </a:lnTo>
                  <a:lnTo>
                    <a:pt x="97" y="17"/>
                  </a:lnTo>
                  <a:lnTo>
                    <a:pt x="101" y="13"/>
                  </a:lnTo>
                  <a:lnTo>
                    <a:pt x="101" y="12"/>
                  </a:lnTo>
                  <a:lnTo>
                    <a:pt x="101" y="12"/>
                  </a:lnTo>
                  <a:lnTo>
                    <a:pt x="99" y="8"/>
                  </a:lnTo>
                  <a:lnTo>
                    <a:pt x="99" y="10"/>
                  </a:lnTo>
                  <a:lnTo>
                    <a:pt x="82" y="10"/>
                  </a:lnTo>
                  <a:lnTo>
                    <a:pt x="77" y="6"/>
                  </a:lnTo>
                  <a:lnTo>
                    <a:pt x="71" y="6"/>
                  </a:lnTo>
                  <a:lnTo>
                    <a:pt x="65" y="4"/>
                  </a:lnTo>
                  <a:lnTo>
                    <a:pt x="62" y="4"/>
                  </a:lnTo>
                  <a:lnTo>
                    <a:pt x="60" y="0"/>
                  </a:lnTo>
                  <a:lnTo>
                    <a:pt x="60" y="4"/>
                  </a:lnTo>
                  <a:lnTo>
                    <a:pt x="56" y="4"/>
                  </a:lnTo>
                  <a:lnTo>
                    <a:pt x="56" y="4"/>
                  </a:lnTo>
                  <a:lnTo>
                    <a:pt x="58" y="6"/>
                  </a:lnTo>
                  <a:lnTo>
                    <a:pt x="54" y="10"/>
                  </a:lnTo>
                  <a:lnTo>
                    <a:pt x="54" y="8"/>
                  </a:lnTo>
                  <a:lnTo>
                    <a:pt x="47" y="8"/>
                  </a:lnTo>
                  <a:lnTo>
                    <a:pt x="45" y="6"/>
                  </a:lnTo>
                  <a:lnTo>
                    <a:pt x="45" y="10"/>
                  </a:lnTo>
                  <a:lnTo>
                    <a:pt x="41" y="10"/>
                  </a:lnTo>
                  <a:lnTo>
                    <a:pt x="37" y="10"/>
                  </a:lnTo>
                  <a:lnTo>
                    <a:pt x="35" y="13"/>
                  </a:lnTo>
                  <a:lnTo>
                    <a:pt x="35" y="13"/>
                  </a:lnTo>
                  <a:lnTo>
                    <a:pt x="30" y="15"/>
                  </a:lnTo>
                  <a:lnTo>
                    <a:pt x="26" y="19"/>
                  </a:lnTo>
                  <a:lnTo>
                    <a:pt x="26" y="32"/>
                  </a:lnTo>
                  <a:lnTo>
                    <a:pt x="30" y="32"/>
                  </a:lnTo>
                  <a:lnTo>
                    <a:pt x="32" y="32"/>
                  </a:lnTo>
                  <a:lnTo>
                    <a:pt x="32" y="32"/>
                  </a:lnTo>
                  <a:lnTo>
                    <a:pt x="32" y="34"/>
                  </a:lnTo>
                  <a:lnTo>
                    <a:pt x="30" y="34"/>
                  </a:lnTo>
                  <a:lnTo>
                    <a:pt x="30" y="38"/>
                  </a:lnTo>
                  <a:lnTo>
                    <a:pt x="32" y="44"/>
                  </a:lnTo>
                  <a:lnTo>
                    <a:pt x="37" y="47"/>
                  </a:lnTo>
                  <a:lnTo>
                    <a:pt x="39" y="47"/>
                  </a:lnTo>
                  <a:lnTo>
                    <a:pt x="39" y="44"/>
                  </a:lnTo>
                  <a:lnTo>
                    <a:pt x="43" y="44"/>
                  </a:lnTo>
                  <a:lnTo>
                    <a:pt x="45" y="44"/>
                  </a:lnTo>
                  <a:lnTo>
                    <a:pt x="43" y="55"/>
                  </a:lnTo>
                  <a:lnTo>
                    <a:pt x="43" y="57"/>
                  </a:lnTo>
                  <a:lnTo>
                    <a:pt x="45" y="57"/>
                  </a:lnTo>
                  <a:lnTo>
                    <a:pt x="50" y="53"/>
                  </a:lnTo>
                  <a:lnTo>
                    <a:pt x="56" y="53"/>
                  </a:lnTo>
                  <a:lnTo>
                    <a:pt x="60" y="55"/>
                  </a:lnTo>
                  <a:lnTo>
                    <a:pt x="62" y="55"/>
                  </a:lnTo>
                  <a:lnTo>
                    <a:pt x="62" y="53"/>
                  </a:lnTo>
                  <a:lnTo>
                    <a:pt x="65" y="53"/>
                  </a:lnTo>
                  <a:lnTo>
                    <a:pt x="65" y="57"/>
                  </a:lnTo>
                  <a:lnTo>
                    <a:pt x="71" y="57"/>
                  </a:lnTo>
                  <a:lnTo>
                    <a:pt x="75" y="62"/>
                  </a:lnTo>
                  <a:lnTo>
                    <a:pt x="77" y="64"/>
                  </a:lnTo>
                  <a:lnTo>
                    <a:pt x="81" y="68"/>
                  </a:lnTo>
                  <a:lnTo>
                    <a:pt x="84" y="70"/>
                  </a:lnTo>
                  <a:lnTo>
                    <a:pt x="90" y="68"/>
                  </a:lnTo>
                  <a:lnTo>
                    <a:pt x="96" y="68"/>
                  </a:lnTo>
                  <a:lnTo>
                    <a:pt x="96" y="68"/>
                  </a:lnTo>
                  <a:lnTo>
                    <a:pt x="96" y="68"/>
                  </a:lnTo>
                  <a:lnTo>
                    <a:pt x="96" y="68"/>
                  </a:lnTo>
                  <a:close/>
                  <a:moveTo>
                    <a:pt x="20" y="25"/>
                  </a:moveTo>
                  <a:lnTo>
                    <a:pt x="22" y="25"/>
                  </a:lnTo>
                  <a:lnTo>
                    <a:pt x="22" y="27"/>
                  </a:lnTo>
                  <a:lnTo>
                    <a:pt x="20" y="27"/>
                  </a:lnTo>
                  <a:lnTo>
                    <a:pt x="20" y="25"/>
                  </a:lnTo>
                  <a:lnTo>
                    <a:pt x="20" y="25"/>
                  </a:lnTo>
                  <a:lnTo>
                    <a:pt x="20" y="25"/>
                  </a:lnTo>
                  <a:lnTo>
                    <a:pt x="20" y="25"/>
                  </a:lnTo>
                  <a:close/>
                  <a:moveTo>
                    <a:pt x="13" y="34"/>
                  </a:moveTo>
                  <a:lnTo>
                    <a:pt x="11" y="28"/>
                  </a:lnTo>
                  <a:lnTo>
                    <a:pt x="7" y="28"/>
                  </a:lnTo>
                  <a:lnTo>
                    <a:pt x="5" y="32"/>
                  </a:lnTo>
                  <a:lnTo>
                    <a:pt x="5" y="28"/>
                  </a:lnTo>
                  <a:lnTo>
                    <a:pt x="9" y="28"/>
                  </a:lnTo>
                  <a:lnTo>
                    <a:pt x="11" y="25"/>
                  </a:lnTo>
                  <a:lnTo>
                    <a:pt x="11" y="25"/>
                  </a:lnTo>
                  <a:lnTo>
                    <a:pt x="13" y="25"/>
                  </a:lnTo>
                  <a:lnTo>
                    <a:pt x="15" y="27"/>
                  </a:lnTo>
                  <a:lnTo>
                    <a:pt x="18" y="27"/>
                  </a:lnTo>
                  <a:lnTo>
                    <a:pt x="20" y="28"/>
                  </a:lnTo>
                  <a:lnTo>
                    <a:pt x="18" y="28"/>
                  </a:lnTo>
                  <a:lnTo>
                    <a:pt x="15" y="32"/>
                  </a:lnTo>
                  <a:lnTo>
                    <a:pt x="13" y="34"/>
                  </a:lnTo>
                  <a:lnTo>
                    <a:pt x="13" y="34"/>
                  </a:lnTo>
                  <a:lnTo>
                    <a:pt x="13" y="34"/>
                  </a:lnTo>
                  <a:lnTo>
                    <a:pt x="13" y="34"/>
                  </a:lnTo>
                  <a:close/>
                  <a:moveTo>
                    <a:pt x="20" y="36"/>
                  </a:moveTo>
                  <a:lnTo>
                    <a:pt x="20" y="34"/>
                  </a:lnTo>
                  <a:lnTo>
                    <a:pt x="26" y="34"/>
                  </a:lnTo>
                  <a:lnTo>
                    <a:pt x="26" y="38"/>
                  </a:lnTo>
                  <a:lnTo>
                    <a:pt x="26" y="38"/>
                  </a:lnTo>
                  <a:lnTo>
                    <a:pt x="20" y="36"/>
                  </a:lnTo>
                  <a:lnTo>
                    <a:pt x="20" y="36"/>
                  </a:lnTo>
                  <a:lnTo>
                    <a:pt x="20" y="36"/>
                  </a:lnTo>
                  <a:lnTo>
                    <a:pt x="20" y="36"/>
                  </a:lnTo>
                  <a:close/>
                  <a:moveTo>
                    <a:pt x="5" y="57"/>
                  </a:moveTo>
                  <a:lnTo>
                    <a:pt x="5" y="59"/>
                  </a:lnTo>
                  <a:lnTo>
                    <a:pt x="7" y="55"/>
                  </a:lnTo>
                  <a:lnTo>
                    <a:pt x="7" y="53"/>
                  </a:lnTo>
                  <a:lnTo>
                    <a:pt x="11" y="47"/>
                  </a:lnTo>
                  <a:lnTo>
                    <a:pt x="17" y="47"/>
                  </a:lnTo>
                  <a:lnTo>
                    <a:pt x="18" y="44"/>
                  </a:lnTo>
                  <a:lnTo>
                    <a:pt x="20" y="44"/>
                  </a:lnTo>
                  <a:lnTo>
                    <a:pt x="22" y="44"/>
                  </a:lnTo>
                  <a:lnTo>
                    <a:pt x="22" y="44"/>
                  </a:lnTo>
                  <a:lnTo>
                    <a:pt x="22" y="42"/>
                  </a:lnTo>
                  <a:lnTo>
                    <a:pt x="20" y="38"/>
                  </a:lnTo>
                  <a:lnTo>
                    <a:pt x="18" y="38"/>
                  </a:lnTo>
                  <a:lnTo>
                    <a:pt x="13" y="38"/>
                  </a:lnTo>
                  <a:lnTo>
                    <a:pt x="11" y="36"/>
                  </a:lnTo>
                  <a:lnTo>
                    <a:pt x="9" y="38"/>
                  </a:lnTo>
                  <a:lnTo>
                    <a:pt x="7" y="38"/>
                  </a:lnTo>
                  <a:lnTo>
                    <a:pt x="5" y="42"/>
                  </a:lnTo>
                  <a:lnTo>
                    <a:pt x="5" y="38"/>
                  </a:lnTo>
                  <a:lnTo>
                    <a:pt x="1" y="38"/>
                  </a:lnTo>
                  <a:lnTo>
                    <a:pt x="1" y="38"/>
                  </a:lnTo>
                  <a:lnTo>
                    <a:pt x="0" y="42"/>
                  </a:lnTo>
                  <a:lnTo>
                    <a:pt x="5" y="42"/>
                  </a:lnTo>
                  <a:lnTo>
                    <a:pt x="5" y="44"/>
                  </a:lnTo>
                  <a:lnTo>
                    <a:pt x="1" y="44"/>
                  </a:lnTo>
                  <a:lnTo>
                    <a:pt x="1" y="47"/>
                  </a:lnTo>
                  <a:lnTo>
                    <a:pt x="5" y="47"/>
                  </a:lnTo>
                  <a:lnTo>
                    <a:pt x="7" y="49"/>
                  </a:lnTo>
                  <a:lnTo>
                    <a:pt x="5" y="53"/>
                  </a:lnTo>
                  <a:lnTo>
                    <a:pt x="5" y="53"/>
                  </a:lnTo>
                  <a:lnTo>
                    <a:pt x="5" y="57"/>
                  </a:lnTo>
                  <a:lnTo>
                    <a:pt x="5" y="57"/>
                  </a:lnTo>
                  <a:lnTo>
                    <a:pt x="5"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7" name="Freeform 80">
              <a:extLst>
                <a:ext uri="{FF2B5EF4-FFF2-40B4-BE49-F238E27FC236}">
                  <a16:creationId xmlns:a16="http://schemas.microsoft.com/office/drawing/2014/main" id="{902A9131-8C3D-4F64-9BE9-F8641047CA81}"/>
                </a:ext>
              </a:extLst>
            </p:cNvPr>
            <p:cNvSpPr>
              <a:spLocks/>
            </p:cNvSpPr>
            <p:nvPr/>
          </p:nvSpPr>
          <p:spPr bwMode="auto">
            <a:xfrm>
              <a:off x="3112" y="1877"/>
              <a:ext cx="115" cy="62"/>
            </a:xfrm>
            <a:custGeom>
              <a:avLst/>
              <a:gdLst/>
              <a:ahLst/>
              <a:cxnLst>
                <a:cxn ang="0">
                  <a:pos x="115" y="43"/>
                </a:cxn>
                <a:cxn ang="0">
                  <a:pos x="111" y="34"/>
                </a:cxn>
                <a:cxn ang="0">
                  <a:pos x="107" y="28"/>
                </a:cxn>
                <a:cxn ang="0">
                  <a:pos x="107" y="21"/>
                </a:cxn>
                <a:cxn ang="0">
                  <a:pos x="107" y="21"/>
                </a:cxn>
                <a:cxn ang="0">
                  <a:pos x="96" y="15"/>
                </a:cxn>
                <a:cxn ang="0">
                  <a:pos x="87" y="13"/>
                </a:cxn>
                <a:cxn ang="0">
                  <a:pos x="83" y="7"/>
                </a:cxn>
                <a:cxn ang="0">
                  <a:pos x="74" y="4"/>
                </a:cxn>
                <a:cxn ang="0">
                  <a:pos x="70" y="0"/>
                </a:cxn>
                <a:cxn ang="0">
                  <a:pos x="66" y="2"/>
                </a:cxn>
                <a:cxn ang="0">
                  <a:pos x="59" y="0"/>
                </a:cxn>
                <a:cxn ang="0">
                  <a:pos x="51" y="4"/>
                </a:cxn>
                <a:cxn ang="0">
                  <a:pos x="53" y="15"/>
                </a:cxn>
                <a:cxn ang="0">
                  <a:pos x="43" y="28"/>
                </a:cxn>
                <a:cxn ang="0">
                  <a:pos x="34" y="24"/>
                </a:cxn>
                <a:cxn ang="0">
                  <a:pos x="27" y="13"/>
                </a:cxn>
                <a:cxn ang="0">
                  <a:pos x="25" y="7"/>
                </a:cxn>
                <a:cxn ang="0">
                  <a:pos x="15" y="11"/>
                </a:cxn>
                <a:cxn ang="0">
                  <a:pos x="10" y="15"/>
                </a:cxn>
                <a:cxn ang="0">
                  <a:pos x="10" y="21"/>
                </a:cxn>
                <a:cxn ang="0">
                  <a:pos x="6" y="28"/>
                </a:cxn>
                <a:cxn ang="0">
                  <a:pos x="2" y="38"/>
                </a:cxn>
                <a:cxn ang="0">
                  <a:pos x="0" y="43"/>
                </a:cxn>
                <a:cxn ang="0">
                  <a:pos x="4" y="53"/>
                </a:cxn>
                <a:cxn ang="0">
                  <a:pos x="6" y="53"/>
                </a:cxn>
                <a:cxn ang="0">
                  <a:pos x="13" y="45"/>
                </a:cxn>
                <a:cxn ang="0">
                  <a:pos x="28" y="45"/>
                </a:cxn>
                <a:cxn ang="0">
                  <a:pos x="34" y="45"/>
                </a:cxn>
                <a:cxn ang="0">
                  <a:pos x="42" y="43"/>
                </a:cxn>
                <a:cxn ang="0">
                  <a:pos x="45" y="45"/>
                </a:cxn>
                <a:cxn ang="0">
                  <a:pos x="55" y="49"/>
                </a:cxn>
                <a:cxn ang="0">
                  <a:pos x="62" y="45"/>
                </a:cxn>
                <a:cxn ang="0">
                  <a:pos x="75" y="49"/>
                </a:cxn>
                <a:cxn ang="0">
                  <a:pos x="83" y="54"/>
                </a:cxn>
                <a:cxn ang="0">
                  <a:pos x="92" y="60"/>
                </a:cxn>
                <a:cxn ang="0">
                  <a:pos x="94" y="62"/>
                </a:cxn>
                <a:cxn ang="0">
                  <a:pos x="107" y="58"/>
                </a:cxn>
                <a:cxn ang="0">
                  <a:pos x="111" y="53"/>
                </a:cxn>
                <a:cxn ang="0">
                  <a:pos x="115" y="49"/>
                </a:cxn>
                <a:cxn ang="0">
                  <a:pos x="115" y="49"/>
                </a:cxn>
              </a:cxnLst>
              <a:rect l="0" t="0" r="r" b="b"/>
              <a:pathLst>
                <a:path w="115" h="62">
                  <a:moveTo>
                    <a:pt x="115" y="49"/>
                  </a:moveTo>
                  <a:lnTo>
                    <a:pt x="115" y="43"/>
                  </a:lnTo>
                  <a:lnTo>
                    <a:pt x="113" y="39"/>
                  </a:lnTo>
                  <a:lnTo>
                    <a:pt x="111" y="34"/>
                  </a:lnTo>
                  <a:lnTo>
                    <a:pt x="111" y="32"/>
                  </a:lnTo>
                  <a:lnTo>
                    <a:pt x="107" y="28"/>
                  </a:lnTo>
                  <a:lnTo>
                    <a:pt x="107" y="24"/>
                  </a:lnTo>
                  <a:lnTo>
                    <a:pt x="107" y="21"/>
                  </a:lnTo>
                  <a:lnTo>
                    <a:pt x="106" y="21"/>
                  </a:lnTo>
                  <a:lnTo>
                    <a:pt x="107" y="21"/>
                  </a:lnTo>
                  <a:lnTo>
                    <a:pt x="106" y="15"/>
                  </a:lnTo>
                  <a:lnTo>
                    <a:pt x="96" y="15"/>
                  </a:lnTo>
                  <a:lnTo>
                    <a:pt x="91" y="15"/>
                  </a:lnTo>
                  <a:lnTo>
                    <a:pt x="87" y="13"/>
                  </a:lnTo>
                  <a:lnTo>
                    <a:pt x="83" y="11"/>
                  </a:lnTo>
                  <a:lnTo>
                    <a:pt x="83" y="7"/>
                  </a:lnTo>
                  <a:lnTo>
                    <a:pt x="77" y="4"/>
                  </a:lnTo>
                  <a:lnTo>
                    <a:pt x="74" y="4"/>
                  </a:lnTo>
                  <a:lnTo>
                    <a:pt x="74" y="0"/>
                  </a:lnTo>
                  <a:lnTo>
                    <a:pt x="70" y="0"/>
                  </a:lnTo>
                  <a:lnTo>
                    <a:pt x="70" y="2"/>
                  </a:lnTo>
                  <a:lnTo>
                    <a:pt x="66" y="2"/>
                  </a:lnTo>
                  <a:lnTo>
                    <a:pt x="62" y="0"/>
                  </a:lnTo>
                  <a:lnTo>
                    <a:pt x="59" y="0"/>
                  </a:lnTo>
                  <a:lnTo>
                    <a:pt x="53" y="4"/>
                  </a:lnTo>
                  <a:lnTo>
                    <a:pt x="51" y="4"/>
                  </a:lnTo>
                  <a:lnTo>
                    <a:pt x="51" y="9"/>
                  </a:lnTo>
                  <a:lnTo>
                    <a:pt x="53" y="15"/>
                  </a:lnTo>
                  <a:lnTo>
                    <a:pt x="51" y="24"/>
                  </a:lnTo>
                  <a:lnTo>
                    <a:pt x="43" y="28"/>
                  </a:lnTo>
                  <a:lnTo>
                    <a:pt x="40" y="28"/>
                  </a:lnTo>
                  <a:lnTo>
                    <a:pt x="34" y="24"/>
                  </a:lnTo>
                  <a:lnTo>
                    <a:pt x="34" y="21"/>
                  </a:lnTo>
                  <a:lnTo>
                    <a:pt x="27" y="13"/>
                  </a:lnTo>
                  <a:lnTo>
                    <a:pt x="27" y="7"/>
                  </a:lnTo>
                  <a:lnTo>
                    <a:pt x="25" y="7"/>
                  </a:lnTo>
                  <a:lnTo>
                    <a:pt x="21" y="11"/>
                  </a:lnTo>
                  <a:lnTo>
                    <a:pt x="15" y="11"/>
                  </a:lnTo>
                  <a:lnTo>
                    <a:pt x="13" y="13"/>
                  </a:lnTo>
                  <a:lnTo>
                    <a:pt x="10" y="15"/>
                  </a:lnTo>
                  <a:lnTo>
                    <a:pt x="10" y="19"/>
                  </a:lnTo>
                  <a:lnTo>
                    <a:pt x="10" y="21"/>
                  </a:lnTo>
                  <a:lnTo>
                    <a:pt x="6" y="21"/>
                  </a:lnTo>
                  <a:lnTo>
                    <a:pt x="6" y="28"/>
                  </a:lnTo>
                  <a:lnTo>
                    <a:pt x="2" y="34"/>
                  </a:lnTo>
                  <a:lnTo>
                    <a:pt x="2" y="38"/>
                  </a:lnTo>
                  <a:lnTo>
                    <a:pt x="2" y="41"/>
                  </a:lnTo>
                  <a:lnTo>
                    <a:pt x="0" y="43"/>
                  </a:lnTo>
                  <a:lnTo>
                    <a:pt x="2" y="53"/>
                  </a:lnTo>
                  <a:lnTo>
                    <a:pt x="4" y="53"/>
                  </a:lnTo>
                  <a:lnTo>
                    <a:pt x="4" y="54"/>
                  </a:lnTo>
                  <a:lnTo>
                    <a:pt x="6" y="53"/>
                  </a:lnTo>
                  <a:lnTo>
                    <a:pt x="10" y="49"/>
                  </a:lnTo>
                  <a:lnTo>
                    <a:pt x="13" y="45"/>
                  </a:lnTo>
                  <a:lnTo>
                    <a:pt x="21" y="43"/>
                  </a:lnTo>
                  <a:lnTo>
                    <a:pt x="28" y="45"/>
                  </a:lnTo>
                  <a:lnTo>
                    <a:pt x="30" y="43"/>
                  </a:lnTo>
                  <a:lnTo>
                    <a:pt x="34" y="45"/>
                  </a:lnTo>
                  <a:lnTo>
                    <a:pt x="38" y="43"/>
                  </a:lnTo>
                  <a:lnTo>
                    <a:pt x="42" y="43"/>
                  </a:lnTo>
                  <a:lnTo>
                    <a:pt x="42" y="45"/>
                  </a:lnTo>
                  <a:lnTo>
                    <a:pt x="45" y="45"/>
                  </a:lnTo>
                  <a:lnTo>
                    <a:pt x="49" y="49"/>
                  </a:lnTo>
                  <a:lnTo>
                    <a:pt x="55" y="49"/>
                  </a:lnTo>
                  <a:lnTo>
                    <a:pt x="55" y="49"/>
                  </a:lnTo>
                  <a:lnTo>
                    <a:pt x="62" y="45"/>
                  </a:lnTo>
                  <a:lnTo>
                    <a:pt x="68" y="49"/>
                  </a:lnTo>
                  <a:lnTo>
                    <a:pt x="75" y="49"/>
                  </a:lnTo>
                  <a:lnTo>
                    <a:pt x="79" y="54"/>
                  </a:lnTo>
                  <a:lnTo>
                    <a:pt x="83" y="54"/>
                  </a:lnTo>
                  <a:lnTo>
                    <a:pt x="87" y="60"/>
                  </a:lnTo>
                  <a:lnTo>
                    <a:pt x="92" y="60"/>
                  </a:lnTo>
                  <a:lnTo>
                    <a:pt x="94" y="62"/>
                  </a:lnTo>
                  <a:lnTo>
                    <a:pt x="94" y="62"/>
                  </a:lnTo>
                  <a:lnTo>
                    <a:pt x="100" y="60"/>
                  </a:lnTo>
                  <a:lnTo>
                    <a:pt x="107" y="58"/>
                  </a:lnTo>
                  <a:lnTo>
                    <a:pt x="107" y="53"/>
                  </a:lnTo>
                  <a:lnTo>
                    <a:pt x="111" y="53"/>
                  </a:lnTo>
                  <a:lnTo>
                    <a:pt x="113" y="49"/>
                  </a:lnTo>
                  <a:lnTo>
                    <a:pt x="115" y="49"/>
                  </a:lnTo>
                  <a:lnTo>
                    <a:pt x="115" y="49"/>
                  </a:lnTo>
                  <a:lnTo>
                    <a:pt x="115" y="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8" name="Freeform 81">
              <a:extLst>
                <a:ext uri="{FF2B5EF4-FFF2-40B4-BE49-F238E27FC236}">
                  <a16:creationId xmlns:a16="http://schemas.microsoft.com/office/drawing/2014/main" id="{C5D43052-2285-41A1-83F6-483FFB0AF967}"/>
                </a:ext>
              </a:extLst>
            </p:cNvPr>
            <p:cNvSpPr>
              <a:spLocks/>
            </p:cNvSpPr>
            <p:nvPr/>
          </p:nvSpPr>
          <p:spPr bwMode="auto">
            <a:xfrm>
              <a:off x="3118" y="1918"/>
              <a:ext cx="88" cy="68"/>
            </a:xfrm>
            <a:custGeom>
              <a:avLst/>
              <a:gdLst/>
              <a:ahLst/>
              <a:cxnLst>
                <a:cxn ang="0">
                  <a:pos x="28" y="44"/>
                </a:cxn>
                <a:cxn ang="0">
                  <a:pos x="28" y="38"/>
                </a:cxn>
                <a:cxn ang="0">
                  <a:pos x="24" y="36"/>
                </a:cxn>
                <a:cxn ang="0">
                  <a:pos x="15" y="36"/>
                </a:cxn>
                <a:cxn ang="0">
                  <a:pos x="5" y="23"/>
                </a:cxn>
                <a:cxn ang="0">
                  <a:pos x="0" y="27"/>
                </a:cxn>
                <a:cxn ang="0">
                  <a:pos x="0" y="17"/>
                </a:cxn>
                <a:cxn ang="0">
                  <a:pos x="2" y="12"/>
                </a:cxn>
                <a:cxn ang="0">
                  <a:pos x="9" y="2"/>
                </a:cxn>
                <a:cxn ang="0">
                  <a:pos x="24" y="2"/>
                </a:cxn>
                <a:cxn ang="0">
                  <a:pos x="30" y="2"/>
                </a:cxn>
                <a:cxn ang="0">
                  <a:pos x="37" y="0"/>
                </a:cxn>
                <a:cxn ang="0">
                  <a:pos x="39" y="2"/>
                </a:cxn>
                <a:cxn ang="0">
                  <a:pos x="49" y="6"/>
                </a:cxn>
                <a:cxn ang="0">
                  <a:pos x="58" y="2"/>
                </a:cxn>
                <a:cxn ang="0">
                  <a:pos x="69" y="6"/>
                </a:cxn>
                <a:cxn ang="0">
                  <a:pos x="79" y="12"/>
                </a:cxn>
                <a:cxn ang="0">
                  <a:pos x="88" y="17"/>
                </a:cxn>
                <a:cxn ang="0">
                  <a:pos x="86" y="27"/>
                </a:cxn>
                <a:cxn ang="0">
                  <a:pos x="88" y="30"/>
                </a:cxn>
                <a:cxn ang="0">
                  <a:pos x="79" y="40"/>
                </a:cxn>
                <a:cxn ang="0">
                  <a:pos x="75" y="47"/>
                </a:cxn>
                <a:cxn ang="0">
                  <a:pos x="79" y="53"/>
                </a:cxn>
                <a:cxn ang="0">
                  <a:pos x="73" y="51"/>
                </a:cxn>
                <a:cxn ang="0">
                  <a:pos x="68" y="59"/>
                </a:cxn>
                <a:cxn ang="0">
                  <a:pos x="64" y="64"/>
                </a:cxn>
                <a:cxn ang="0">
                  <a:pos x="58" y="66"/>
                </a:cxn>
                <a:cxn ang="0">
                  <a:pos x="45" y="66"/>
                </a:cxn>
                <a:cxn ang="0">
                  <a:pos x="39" y="66"/>
                </a:cxn>
                <a:cxn ang="0">
                  <a:pos x="39" y="53"/>
                </a:cxn>
                <a:cxn ang="0">
                  <a:pos x="32" y="49"/>
                </a:cxn>
                <a:cxn ang="0">
                  <a:pos x="28" y="49"/>
                </a:cxn>
              </a:cxnLst>
              <a:rect l="0" t="0" r="r" b="b"/>
              <a:pathLst>
                <a:path w="88" h="68">
                  <a:moveTo>
                    <a:pt x="28" y="49"/>
                  </a:moveTo>
                  <a:lnTo>
                    <a:pt x="28" y="44"/>
                  </a:lnTo>
                  <a:lnTo>
                    <a:pt x="30" y="40"/>
                  </a:lnTo>
                  <a:lnTo>
                    <a:pt x="28" y="38"/>
                  </a:lnTo>
                  <a:lnTo>
                    <a:pt x="24" y="38"/>
                  </a:lnTo>
                  <a:lnTo>
                    <a:pt x="24" y="36"/>
                  </a:lnTo>
                  <a:lnTo>
                    <a:pt x="24" y="32"/>
                  </a:lnTo>
                  <a:lnTo>
                    <a:pt x="15" y="36"/>
                  </a:lnTo>
                  <a:lnTo>
                    <a:pt x="11" y="30"/>
                  </a:lnTo>
                  <a:lnTo>
                    <a:pt x="5" y="23"/>
                  </a:lnTo>
                  <a:lnTo>
                    <a:pt x="0" y="27"/>
                  </a:lnTo>
                  <a:lnTo>
                    <a:pt x="0" y="27"/>
                  </a:lnTo>
                  <a:lnTo>
                    <a:pt x="0" y="21"/>
                  </a:lnTo>
                  <a:lnTo>
                    <a:pt x="0" y="17"/>
                  </a:lnTo>
                  <a:lnTo>
                    <a:pt x="0" y="12"/>
                  </a:lnTo>
                  <a:lnTo>
                    <a:pt x="2" y="12"/>
                  </a:lnTo>
                  <a:lnTo>
                    <a:pt x="4" y="8"/>
                  </a:lnTo>
                  <a:lnTo>
                    <a:pt x="9" y="2"/>
                  </a:lnTo>
                  <a:lnTo>
                    <a:pt x="15" y="0"/>
                  </a:lnTo>
                  <a:lnTo>
                    <a:pt x="24" y="2"/>
                  </a:lnTo>
                  <a:lnTo>
                    <a:pt x="26" y="0"/>
                  </a:lnTo>
                  <a:lnTo>
                    <a:pt x="30" y="2"/>
                  </a:lnTo>
                  <a:lnTo>
                    <a:pt x="34" y="0"/>
                  </a:lnTo>
                  <a:lnTo>
                    <a:pt x="37" y="0"/>
                  </a:lnTo>
                  <a:lnTo>
                    <a:pt x="37" y="2"/>
                  </a:lnTo>
                  <a:lnTo>
                    <a:pt x="39" y="2"/>
                  </a:lnTo>
                  <a:lnTo>
                    <a:pt x="43" y="6"/>
                  </a:lnTo>
                  <a:lnTo>
                    <a:pt x="49" y="6"/>
                  </a:lnTo>
                  <a:lnTo>
                    <a:pt x="51" y="6"/>
                  </a:lnTo>
                  <a:lnTo>
                    <a:pt x="58" y="2"/>
                  </a:lnTo>
                  <a:lnTo>
                    <a:pt x="64" y="6"/>
                  </a:lnTo>
                  <a:lnTo>
                    <a:pt x="69" y="6"/>
                  </a:lnTo>
                  <a:lnTo>
                    <a:pt x="73" y="12"/>
                  </a:lnTo>
                  <a:lnTo>
                    <a:pt x="79" y="12"/>
                  </a:lnTo>
                  <a:lnTo>
                    <a:pt x="83" y="17"/>
                  </a:lnTo>
                  <a:lnTo>
                    <a:pt x="88" y="17"/>
                  </a:lnTo>
                  <a:lnTo>
                    <a:pt x="88" y="21"/>
                  </a:lnTo>
                  <a:lnTo>
                    <a:pt x="86" y="27"/>
                  </a:lnTo>
                  <a:lnTo>
                    <a:pt x="88" y="27"/>
                  </a:lnTo>
                  <a:lnTo>
                    <a:pt x="88" y="30"/>
                  </a:lnTo>
                  <a:lnTo>
                    <a:pt x="83" y="36"/>
                  </a:lnTo>
                  <a:lnTo>
                    <a:pt x="79" y="40"/>
                  </a:lnTo>
                  <a:lnTo>
                    <a:pt x="75" y="42"/>
                  </a:lnTo>
                  <a:lnTo>
                    <a:pt x="75" y="47"/>
                  </a:lnTo>
                  <a:lnTo>
                    <a:pt x="79" y="49"/>
                  </a:lnTo>
                  <a:lnTo>
                    <a:pt x="79" y="53"/>
                  </a:lnTo>
                  <a:lnTo>
                    <a:pt x="75" y="53"/>
                  </a:lnTo>
                  <a:lnTo>
                    <a:pt x="73" y="51"/>
                  </a:lnTo>
                  <a:lnTo>
                    <a:pt x="69" y="53"/>
                  </a:lnTo>
                  <a:lnTo>
                    <a:pt x="68" y="59"/>
                  </a:lnTo>
                  <a:lnTo>
                    <a:pt x="64" y="59"/>
                  </a:lnTo>
                  <a:lnTo>
                    <a:pt x="64" y="64"/>
                  </a:lnTo>
                  <a:lnTo>
                    <a:pt x="64" y="64"/>
                  </a:lnTo>
                  <a:lnTo>
                    <a:pt x="58" y="66"/>
                  </a:lnTo>
                  <a:lnTo>
                    <a:pt x="53" y="64"/>
                  </a:lnTo>
                  <a:lnTo>
                    <a:pt x="45" y="66"/>
                  </a:lnTo>
                  <a:lnTo>
                    <a:pt x="43" y="68"/>
                  </a:lnTo>
                  <a:lnTo>
                    <a:pt x="39" y="66"/>
                  </a:lnTo>
                  <a:lnTo>
                    <a:pt x="39" y="61"/>
                  </a:lnTo>
                  <a:lnTo>
                    <a:pt x="39" y="53"/>
                  </a:lnTo>
                  <a:lnTo>
                    <a:pt x="36" y="53"/>
                  </a:lnTo>
                  <a:lnTo>
                    <a:pt x="32" y="49"/>
                  </a:lnTo>
                  <a:lnTo>
                    <a:pt x="28" y="49"/>
                  </a:lnTo>
                  <a:lnTo>
                    <a:pt x="28" y="49"/>
                  </a:lnTo>
                  <a:lnTo>
                    <a:pt x="28" y="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9" name="Freeform 82">
              <a:extLst>
                <a:ext uri="{FF2B5EF4-FFF2-40B4-BE49-F238E27FC236}">
                  <a16:creationId xmlns:a16="http://schemas.microsoft.com/office/drawing/2014/main" id="{229AB4F4-177C-4DC2-8089-58A1A25D7962}"/>
                </a:ext>
              </a:extLst>
            </p:cNvPr>
            <p:cNvSpPr>
              <a:spLocks/>
            </p:cNvSpPr>
            <p:nvPr/>
          </p:nvSpPr>
          <p:spPr bwMode="auto">
            <a:xfrm>
              <a:off x="3159" y="1924"/>
              <a:ext cx="158" cy="117"/>
            </a:xfrm>
            <a:custGeom>
              <a:avLst/>
              <a:gdLst/>
              <a:ahLst/>
              <a:cxnLst>
                <a:cxn ang="0">
                  <a:pos x="2" y="56"/>
                </a:cxn>
                <a:cxn ang="0">
                  <a:pos x="17" y="56"/>
                </a:cxn>
                <a:cxn ang="0">
                  <a:pos x="23" y="55"/>
                </a:cxn>
                <a:cxn ang="0">
                  <a:pos x="27" y="49"/>
                </a:cxn>
                <a:cxn ang="0">
                  <a:pos x="32" y="43"/>
                </a:cxn>
                <a:cxn ang="0">
                  <a:pos x="38" y="45"/>
                </a:cxn>
                <a:cxn ang="0">
                  <a:pos x="34" y="40"/>
                </a:cxn>
                <a:cxn ang="0">
                  <a:pos x="38" y="32"/>
                </a:cxn>
                <a:cxn ang="0">
                  <a:pos x="47" y="24"/>
                </a:cxn>
                <a:cxn ang="0">
                  <a:pos x="45" y="19"/>
                </a:cxn>
                <a:cxn ang="0">
                  <a:pos x="53" y="11"/>
                </a:cxn>
                <a:cxn ang="0">
                  <a:pos x="62" y="6"/>
                </a:cxn>
                <a:cxn ang="0">
                  <a:pos x="68" y="0"/>
                </a:cxn>
                <a:cxn ang="0">
                  <a:pos x="76" y="0"/>
                </a:cxn>
                <a:cxn ang="0">
                  <a:pos x="83" y="6"/>
                </a:cxn>
                <a:cxn ang="0">
                  <a:pos x="92" y="4"/>
                </a:cxn>
                <a:cxn ang="0">
                  <a:pos x="102" y="6"/>
                </a:cxn>
                <a:cxn ang="0">
                  <a:pos x="108" y="6"/>
                </a:cxn>
                <a:cxn ang="0">
                  <a:pos x="119" y="9"/>
                </a:cxn>
                <a:cxn ang="0">
                  <a:pos x="119" y="19"/>
                </a:cxn>
                <a:cxn ang="0">
                  <a:pos x="123" y="28"/>
                </a:cxn>
                <a:cxn ang="0">
                  <a:pos x="130" y="36"/>
                </a:cxn>
                <a:cxn ang="0">
                  <a:pos x="138" y="45"/>
                </a:cxn>
                <a:cxn ang="0">
                  <a:pos x="147" y="53"/>
                </a:cxn>
                <a:cxn ang="0">
                  <a:pos x="153" y="64"/>
                </a:cxn>
                <a:cxn ang="0">
                  <a:pos x="156" y="68"/>
                </a:cxn>
                <a:cxn ang="0">
                  <a:pos x="143" y="77"/>
                </a:cxn>
                <a:cxn ang="0">
                  <a:pos x="138" y="73"/>
                </a:cxn>
                <a:cxn ang="0">
                  <a:pos x="141" y="85"/>
                </a:cxn>
                <a:cxn ang="0">
                  <a:pos x="143" y="96"/>
                </a:cxn>
                <a:cxn ang="0">
                  <a:pos x="143" y="98"/>
                </a:cxn>
                <a:cxn ang="0">
                  <a:pos x="130" y="102"/>
                </a:cxn>
                <a:cxn ang="0">
                  <a:pos x="128" y="113"/>
                </a:cxn>
                <a:cxn ang="0">
                  <a:pos x="121" y="113"/>
                </a:cxn>
                <a:cxn ang="0">
                  <a:pos x="111" y="113"/>
                </a:cxn>
                <a:cxn ang="0">
                  <a:pos x="104" y="117"/>
                </a:cxn>
                <a:cxn ang="0">
                  <a:pos x="98" y="113"/>
                </a:cxn>
                <a:cxn ang="0">
                  <a:pos x="89" y="113"/>
                </a:cxn>
                <a:cxn ang="0">
                  <a:pos x="81" y="113"/>
                </a:cxn>
                <a:cxn ang="0">
                  <a:pos x="76" y="113"/>
                </a:cxn>
                <a:cxn ang="0">
                  <a:pos x="66" y="113"/>
                </a:cxn>
                <a:cxn ang="0">
                  <a:pos x="62" y="107"/>
                </a:cxn>
                <a:cxn ang="0">
                  <a:pos x="45" y="105"/>
                </a:cxn>
                <a:cxn ang="0">
                  <a:pos x="40" y="107"/>
                </a:cxn>
                <a:cxn ang="0">
                  <a:pos x="21" y="111"/>
                </a:cxn>
                <a:cxn ang="0">
                  <a:pos x="12" y="107"/>
                </a:cxn>
                <a:cxn ang="0">
                  <a:pos x="8" y="107"/>
                </a:cxn>
                <a:cxn ang="0">
                  <a:pos x="2" y="96"/>
                </a:cxn>
                <a:cxn ang="0">
                  <a:pos x="8" y="92"/>
                </a:cxn>
                <a:cxn ang="0">
                  <a:pos x="8" y="77"/>
                </a:cxn>
                <a:cxn ang="0">
                  <a:pos x="2" y="68"/>
                </a:cxn>
                <a:cxn ang="0">
                  <a:pos x="0" y="60"/>
                </a:cxn>
                <a:cxn ang="0">
                  <a:pos x="0" y="60"/>
                </a:cxn>
              </a:cxnLst>
              <a:rect l="0" t="0" r="r" b="b"/>
              <a:pathLst>
                <a:path w="158" h="117">
                  <a:moveTo>
                    <a:pt x="0" y="60"/>
                  </a:moveTo>
                  <a:lnTo>
                    <a:pt x="2" y="56"/>
                  </a:lnTo>
                  <a:lnTo>
                    <a:pt x="12" y="55"/>
                  </a:lnTo>
                  <a:lnTo>
                    <a:pt x="17" y="56"/>
                  </a:lnTo>
                  <a:lnTo>
                    <a:pt x="21" y="55"/>
                  </a:lnTo>
                  <a:lnTo>
                    <a:pt x="23" y="55"/>
                  </a:lnTo>
                  <a:lnTo>
                    <a:pt x="21" y="49"/>
                  </a:lnTo>
                  <a:lnTo>
                    <a:pt x="27" y="49"/>
                  </a:lnTo>
                  <a:lnTo>
                    <a:pt x="28" y="45"/>
                  </a:lnTo>
                  <a:lnTo>
                    <a:pt x="32" y="43"/>
                  </a:lnTo>
                  <a:lnTo>
                    <a:pt x="34" y="45"/>
                  </a:lnTo>
                  <a:lnTo>
                    <a:pt x="38" y="45"/>
                  </a:lnTo>
                  <a:lnTo>
                    <a:pt x="38" y="41"/>
                  </a:lnTo>
                  <a:lnTo>
                    <a:pt x="34" y="40"/>
                  </a:lnTo>
                  <a:lnTo>
                    <a:pt x="34" y="34"/>
                  </a:lnTo>
                  <a:lnTo>
                    <a:pt x="38" y="32"/>
                  </a:lnTo>
                  <a:lnTo>
                    <a:pt x="42" y="28"/>
                  </a:lnTo>
                  <a:lnTo>
                    <a:pt x="47" y="24"/>
                  </a:lnTo>
                  <a:lnTo>
                    <a:pt x="47" y="21"/>
                  </a:lnTo>
                  <a:lnTo>
                    <a:pt x="45" y="19"/>
                  </a:lnTo>
                  <a:lnTo>
                    <a:pt x="47" y="13"/>
                  </a:lnTo>
                  <a:lnTo>
                    <a:pt x="53" y="11"/>
                  </a:lnTo>
                  <a:lnTo>
                    <a:pt x="62" y="9"/>
                  </a:lnTo>
                  <a:lnTo>
                    <a:pt x="62" y="6"/>
                  </a:lnTo>
                  <a:lnTo>
                    <a:pt x="66" y="4"/>
                  </a:lnTo>
                  <a:lnTo>
                    <a:pt x="68" y="0"/>
                  </a:lnTo>
                  <a:lnTo>
                    <a:pt x="72" y="0"/>
                  </a:lnTo>
                  <a:lnTo>
                    <a:pt x="76" y="0"/>
                  </a:lnTo>
                  <a:lnTo>
                    <a:pt x="79" y="0"/>
                  </a:lnTo>
                  <a:lnTo>
                    <a:pt x="83" y="6"/>
                  </a:lnTo>
                  <a:lnTo>
                    <a:pt x="89" y="4"/>
                  </a:lnTo>
                  <a:lnTo>
                    <a:pt x="92" y="4"/>
                  </a:lnTo>
                  <a:lnTo>
                    <a:pt x="96" y="9"/>
                  </a:lnTo>
                  <a:lnTo>
                    <a:pt x="102" y="6"/>
                  </a:lnTo>
                  <a:lnTo>
                    <a:pt x="108" y="4"/>
                  </a:lnTo>
                  <a:lnTo>
                    <a:pt x="108" y="6"/>
                  </a:lnTo>
                  <a:lnTo>
                    <a:pt x="111" y="6"/>
                  </a:lnTo>
                  <a:lnTo>
                    <a:pt x="119" y="9"/>
                  </a:lnTo>
                  <a:lnTo>
                    <a:pt x="121" y="13"/>
                  </a:lnTo>
                  <a:lnTo>
                    <a:pt x="119" y="19"/>
                  </a:lnTo>
                  <a:lnTo>
                    <a:pt x="123" y="21"/>
                  </a:lnTo>
                  <a:lnTo>
                    <a:pt x="123" y="28"/>
                  </a:lnTo>
                  <a:lnTo>
                    <a:pt x="126" y="32"/>
                  </a:lnTo>
                  <a:lnTo>
                    <a:pt x="130" y="36"/>
                  </a:lnTo>
                  <a:lnTo>
                    <a:pt x="134" y="43"/>
                  </a:lnTo>
                  <a:lnTo>
                    <a:pt x="138" y="45"/>
                  </a:lnTo>
                  <a:lnTo>
                    <a:pt x="138" y="53"/>
                  </a:lnTo>
                  <a:lnTo>
                    <a:pt x="147" y="53"/>
                  </a:lnTo>
                  <a:lnTo>
                    <a:pt x="153" y="60"/>
                  </a:lnTo>
                  <a:lnTo>
                    <a:pt x="153" y="64"/>
                  </a:lnTo>
                  <a:lnTo>
                    <a:pt x="158" y="64"/>
                  </a:lnTo>
                  <a:lnTo>
                    <a:pt x="156" y="68"/>
                  </a:lnTo>
                  <a:lnTo>
                    <a:pt x="153" y="73"/>
                  </a:lnTo>
                  <a:lnTo>
                    <a:pt x="143" y="77"/>
                  </a:lnTo>
                  <a:lnTo>
                    <a:pt x="138" y="72"/>
                  </a:lnTo>
                  <a:lnTo>
                    <a:pt x="138" y="73"/>
                  </a:lnTo>
                  <a:lnTo>
                    <a:pt x="138" y="79"/>
                  </a:lnTo>
                  <a:lnTo>
                    <a:pt x="141" y="85"/>
                  </a:lnTo>
                  <a:lnTo>
                    <a:pt x="141" y="88"/>
                  </a:lnTo>
                  <a:lnTo>
                    <a:pt x="143" y="96"/>
                  </a:lnTo>
                  <a:lnTo>
                    <a:pt x="143" y="98"/>
                  </a:lnTo>
                  <a:lnTo>
                    <a:pt x="143" y="98"/>
                  </a:lnTo>
                  <a:lnTo>
                    <a:pt x="136" y="100"/>
                  </a:lnTo>
                  <a:lnTo>
                    <a:pt x="130" y="102"/>
                  </a:lnTo>
                  <a:lnTo>
                    <a:pt x="128" y="107"/>
                  </a:lnTo>
                  <a:lnTo>
                    <a:pt x="128" y="113"/>
                  </a:lnTo>
                  <a:lnTo>
                    <a:pt x="123" y="117"/>
                  </a:lnTo>
                  <a:lnTo>
                    <a:pt x="121" y="113"/>
                  </a:lnTo>
                  <a:lnTo>
                    <a:pt x="115" y="113"/>
                  </a:lnTo>
                  <a:lnTo>
                    <a:pt x="111" y="113"/>
                  </a:lnTo>
                  <a:lnTo>
                    <a:pt x="108" y="113"/>
                  </a:lnTo>
                  <a:lnTo>
                    <a:pt x="104" y="117"/>
                  </a:lnTo>
                  <a:lnTo>
                    <a:pt x="102" y="117"/>
                  </a:lnTo>
                  <a:lnTo>
                    <a:pt x="98" y="113"/>
                  </a:lnTo>
                  <a:lnTo>
                    <a:pt x="96" y="111"/>
                  </a:lnTo>
                  <a:lnTo>
                    <a:pt x="89" y="113"/>
                  </a:lnTo>
                  <a:lnTo>
                    <a:pt x="87" y="113"/>
                  </a:lnTo>
                  <a:lnTo>
                    <a:pt x="81" y="113"/>
                  </a:lnTo>
                  <a:lnTo>
                    <a:pt x="79" y="113"/>
                  </a:lnTo>
                  <a:lnTo>
                    <a:pt x="76" y="113"/>
                  </a:lnTo>
                  <a:lnTo>
                    <a:pt x="74" y="113"/>
                  </a:lnTo>
                  <a:lnTo>
                    <a:pt x="66" y="113"/>
                  </a:lnTo>
                  <a:lnTo>
                    <a:pt x="66" y="113"/>
                  </a:lnTo>
                  <a:lnTo>
                    <a:pt x="62" y="107"/>
                  </a:lnTo>
                  <a:lnTo>
                    <a:pt x="51" y="107"/>
                  </a:lnTo>
                  <a:lnTo>
                    <a:pt x="45" y="105"/>
                  </a:lnTo>
                  <a:lnTo>
                    <a:pt x="44" y="105"/>
                  </a:lnTo>
                  <a:lnTo>
                    <a:pt x="40" y="107"/>
                  </a:lnTo>
                  <a:lnTo>
                    <a:pt x="34" y="107"/>
                  </a:lnTo>
                  <a:lnTo>
                    <a:pt x="21" y="111"/>
                  </a:lnTo>
                  <a:lnTo>
                    <a:pt x="17" y="113"/>
                  </a:lnTo>
                  <a:lnTo>
                    <a:pt x="12" y="107"/>
                  </a:lnTo>
                  <a:lnTo>
                    <a:pt x="8" y="111"/>
                  </a:lnTo>
                  <a:lnTo>
                    <a:pt x="8" y="107"/>
                  </a:lnTo>
                  <a:lnTo>
                    <a:pt x="2" y="102"/>
                  </a:lnTo>
                  <a:lnTo>
                    <a:pt x="2" y="96"/>
                  </a:lnTo>
                  <a:lnTo>
                    <a:pt x="6" y="92"/>
                  </a:lnTo>
                  <a:lnTo>
                    <a:pt x="8" y="92"/>
                  </a:lnTo>
                  <a:lnTo>
                    <a:pt x="8" y="79"/>
                  </a:lnTo>
                  <a:lnTo>
                    <a:pt x="8" y="77"/>
                  </a:lnTo>
                  <a:lnTo>
                    <a:pt x="8" y="73"/>
                  </a:lnTo>
                  <a:lnTo>
                    <a:pt x="2" y="68"/>
                  </a:lnTo>
                  <a:lnTo>
                    <a:pt x="2" y="60"/>
                  </a:lnTo>
                  <a:lnTo>
                    <a:pt x="0" y="60"/>
                  </a:lnTo>
                  <a:lnTo>
                    <a:pt x="0" y="60"/>
                  </a:lnTo>
                  <a:lnTo>
                    <a:pt x="0"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0" name="Freeform 83">
              <a:extLst>
                <a:ext uri="{FF2B5EF4-FFF2-40B4-BE49-F238E27FC236}">
                  <a16:creationId xmlns:a16="http://schemas.microsoft.com/office/drawing/2014/main" id="{A572D764-B44B-411C-8155-FAAE0DCCF981}"/>
                </a:ext>
              </a:extLst>
            </p:cNvPr>
            <p:cNvSpPr>
              <a:spLocks/>
            </p:cNvSpPr>
            <p:nvPr/>
          </p:nvSpPr>
          <p:spPr bwMode="auto">
            <a:xfrm>
              <a:off x="3148" y="2018"/>
              <a:ext cx="307" cy="190"/>
            </a:xfrm>
            <a:custGeom>
              <a:avLst/>
              <a:gdLst/>
              <a:ahLst/>
              <a:cxnLst>
                <a:cxn ang="0">
                  <a:pos x="45" y="17"/>
                </a:cxn>
                <a:cxn ang="0">
                  <a:pos x="71" y="17"/>
                </a:cxn>
                <a:cxn ang="0">
                  <a:pos x="88" y="21"/>
                </a:cxn>
                <a:cxn ang="0">
                  <a:pos x="109" y="21"/>
                </a:cxn>
                <a:cxn ang="0">
                  <a:pos x="126" y="21"/>
                </a:cxn>
                <a:cxn ang="0">
                  <a:pos x="139" y="10"/>
                </a:cxn>
                <a:cxn ang="0">
                  <a:pos x="162" y="4"/>
                </a:cxn>
                <a:cxn ang="0">
                  <a:pos x="192" y="0"/>
                </a:cxn>
                <a:cxn ang="0">
                  <a:pos x="211" y="21"/>
                </a:cxn>
                <a:cxn ang="0">
                  <a:pos x="222" y="42"/>
                </a:cxn>
                <a:cxn ang="0">
                  <a:pos x="247" y="47"/>
                </a:cxn>
                <a:cxn ang="0">
                  <a:pos x="267" y="59"/>
                </a:cxn>
                <a:cxn ang="0">
                  <a:pos x="290" y="59"/>
                </a:cxn>
                <a:cxn ang="0">
                  <a:pos x="307" y="66"/>
                </a:cxn>
                <a:cxn ang="0">
                  <a:pos x="305" y="89"/>
                </a:cxn>
                <a:cxn ang="0">
                  <a:pos x="292" y="107"/>
                </a:cxn>
                <a:cxn ang="0">
                  <a:pos x="280" y="123"/>
                </a:cxn>
                <a:cxn ang="0">
                  <a:pos x="265" y="130"/>
                </a:cxn>
                <a:cxn ang="0">
                  <a:pos x="250" y="138"/>
                </a:cxn>
                <a:cxn ang="0">
                  <a:pos x="231" y="136"/>
                </a:cxn>
                <a:cxn ang="0">
                  <a:pos x="228" y="149"/>
                </a:cxn>
                <a:cxn ang="0">
                  <a:pos x="230" y="143"/>
                </a:cxn>
                <a:cxn ang="0">
                  <a:pos x="216" y="153"/>
                </a:cxn>
                <a:cxn ang="0">
                  <a:pos x="205" y="153"/>
                </a:cxn>
                <a:cxn ang="0">
                  <a:pos x="220" y="156"/>
                </a:cxn>
                <a:cxn ang="0">
                  <a:pos x="222" y="162"/>
                </a:cxn>
                <a:cxn ang="0">
                  <a:pos x="228" y="170"/>
                </a:cxn>
                <a:cxn ang="0">
                  <a:pos x="222" y="153"/>
                </a:cxn>
                <a:cxn ang="0">
                  <a:pos x="237" y="172"/>
                </a:cxn>
                <a:cxn ang="0">
                  <a:pos x="252" y="164"/>
                </a:cxn>
                <a:cxn ang="0">
                  <a:pos x="256" y="173"/>
                </a:cxn>
                <a:cxn ang="0">
                  <a:pos x="228" y="183"/>
                </a:cxn>
                <a:cxn ang="0">
                  <a:pos x="203" y="185"/>
                </a:cxn>
                <a:cxn ang="0">
                  <a:pos x="192" y="172"/>
                </a:cxn>
                <a:cxn ang="0">
                  <a:pos x="203" y="160"/>
                </a:cxn>
                <a:cxn ang="0">
                  <a:pos x="199" y="153"/>
                </a:cxn>
                <a:cxn ang="0">
                  <a:pos x="181" y="153"/>
                </a:cxn>
                <a:cxn ang="0">
                  <a:pos x="171" y="143"/>
                </a:cxn>
                <a:cxn ang="0">
                  <a:pos x="179" y="143"/>
                </a:cxn>
                <a:cxn ang="0">
                  <a:pos x="173" y="138"/>
                </a:cxn>
                <a:cxn ang="0">
                  <a:pos x="166" y="140"/>
                </a:cxn>
                <a:cxn ang="0">
                  <a:pos x="152" y="149"/>
                </a:cxn>
                <a:cxn ang="0">
                  <a:pos x="139" y="164"/>
                </a:cxn>
                <a:cxn ang="0">
                  <a:pos x="137" y="173"/>
                </a:cxn>
                <a:cxn ang="0">
                  <a:pos x="120" y="173"/>
                </a:cxn>
                <a:cxn ang="0">
                  <a:pos x="117" y="162"/>
                </a:cxn>
                <a:cxn ang="0">
                  <a:pos x="126" y="143"/>
                </a:cxn>
                <a:cxn ang="0">
                  <a:pos x="137" y="140"/>
                </a:cxn>
                <a:cxn ang="0">
                  <a:pos x="126" y="123"/>
                </a:cxn>
                <a:cxn ang="0">
                  <a:pos x="113" y="102"/>
                </a:cxn>
                <a:cxn ang="0">
                  <a:pos x="92" y="98"/>
                </a:cxn>
                <a:cxn ang="0">
                  <a:pos x="79" y="98"/>
                </a:cxn>
                <a:cxn ang="0">
                  <a:pos x="77" y="107"/>
                </a:cxn>
                <a:cxn ang="0">
                  <a:pos x="49" y="119"/>
                </a:cxn>
                <a:cxn ang="0">
                  <a:pos x="26" y="109"/>
                </a:cxn>
                <a:cxn ang="0">
                  <a:pos x="9" y="107"/>
                </a:cxn>
                <a:cxn ang="0">
                  <a:pos x="6" y="85"/>
                </a:cxn>
                <a:cxn ang="0">
                  <a:pos x="23" y="55"/>
                </a:cxn>
                <a:cxn ang="0">
                  <a:pos x="26" y="42"/>
                </a:cxn>
                <a:cxn ang="0">
                  <a:pos x="19" y="21"/>
                </a:cxn>
              </a:cxnLst>
              <a:rect l="0" t="0" r="r" b="b"/>
              <a:pathLst>
                <a:path w="307" h="190">
                  <a:moveTo>
                    <a:pt x="19" y="19"/>
                  </a:moveTo>
                  <a:lnTo>
                    <a:pt x="23" y="17"/>
                  </a:lnTo>
                  <a:lnTo>
                    <a:pt x="28" y="21"/>
                  </a:lnTo>
                  <a:lnTo>
                    <a:pt x="30" y="19"/>
                  </a:lnTo>
                  <a:lnTo>
                    <a:pt x="45" y="17"/>
                  </a:lnTo>
                  <a:lnTo>
                    <a:pt x="51" y="17"/>
                  </a:lnTo>
                  <a:lnTo>
                    <a:pt x="53" y="13"/>
                  </a:lnTo>
                  <a:lnTo>
                    <a:pt x="56" y="13"/>
                  </a:lnTo>
                  <a:lnTo>
                    <a:pt x="62" y="17"/>
                  </a:lnTo>
                  <a:lnTo>
                    <a:pt x="71" y="17"/>
                  </a:lnTo>
                  <a:lnTo>
                    <a:pt x="77" y="21"/>
                  </a:lnTo>
                  <a:lnTo>
                    <a:pt x="77" y="21"/>
                  </a:lnTo>
                  <a:lnTo>
                    <a:pt x="83" y="21"/>
                  </a:lnTo>
                  <a:lnTo>
                    <a:pt x="87" y="21"/>
                  </a:lnTo>
                  <a:lnTo>
                    <a:pt x="88" y="21"/>
                  </a:lnTo>
                  <a:lnTo>
                    <a:pt x="92" y="21"/>
                  </a:lnTo>
                  <a:lnTo>
                    <a:pt x="96" y="21"/>
                  </a:lnTo>
                  <a:lnTo>
                    <a:pt x="98" y="21"/>
                  </a:lnTo>
                  <a:lnTo>
                    <a:pt x="105" y="19"/>
                  </a:lnTo>
                  <a:lnTo>
                    <a:pt x="109" y="21"/>
                  </a:lnTo>
                  <a:lnTo>
                    <a:pt x="111" y="25"/>
                  </a:lnTo>
                  <a:lnTo>
                    <a:pt x="113" y="25"/>
                  </a:lnTo>
                  <a:lnTo>
                    <a:pt x="119" y="21"/>
                  </a:lnTo>
                  <a:lnTo>
                    <a:pt x="122" y="21"/>
                  </a:lnTo>
                  <a:lnTo>
                    <a:pt x="126" y="21"/>
                  </a:lnTo>
                  <a:lnTo>
                    <a:pt x="130" y="21"/>
                  </a:lnTo>
                  <a:lnTo>
                    <a:pt x="132" y="25"/>
                  </a:lnTo>
                  <a:lnTo>
                    <a:pt x="137" y="21"/>
                  </a:lnTo>
                  <a:lnTo>
                    <a:pt x="137" y="17"/>
                  </a:lnTo>
                  <a:lnTo>
                    <a:pt x="139" y="10"/>
                  </a:lnTo>
                  <a:lnTo>
                    <a:pt x="145" y="8"/>
                  </a:lnTo>
                  <a:lnTo>
                    <a:pt x="152" y="6"/>
                  </a:lnTo>
                  <a:lnTo>
                    <a:pt x="156" y="8"/>
                  </a:lnTo>
                  <a:lnTo>
                    <a:pt x="162" y="6"/>
                  </a:lnTo>
                  <a:lnTo>
                    <a:pt x="162" y="4"/>
                  </a:lnTo>
                  <a:lnTo>
                    <a:pt x="166" y="0"/>
                  </a:lnTo>
                  <a:lnTo>
                    <a:pt x="173" y="4"/>
                  </a:lnTo>
                  <a:lnTo>
                    <a:pt x="183" y="4"/>
                  </a:lnTo>
                  <a:lnTo>
                    <a:pt x="186" y="0"/>
                  </a:lnTo>
                  <a:lnTo>
                    <a:pt x="192" y="0"/>
                  </a:lnTo>
                  <a:lnTo>
                    <a:pt x="196" y="10"/>
                  </a:lnTo>
                  <a:lnTo>
                    <a:pt x="198" y="13"/>
                  </a:lnTo>
                  <a:lnTo>
                    <a:pt x="196" y="17"/>
                  </a:lnTo>
                  <a:lnTo>
                    <a:pt x="201" y="25"/>
                  </a:lnTo>
                  <a:lnTo>
                    <a:pt x="211" y="21"/>
                  </a:lnTo>
                  <a:lnTo>
                    <a:pt x="216" y="25"/>
                  </a:lnTo>
                  <a:lnTo>
                    <a:pt x="216" y="30"/>
                  </a:lnTo>
                  <a:lnTo>
                    <a:pt x="220" y="30"/>
                  </a:lnTo>
                  <a:lnTo>
                    <a:pt x="220" y="34"/>
                  </a:lnTo>
                  <a:lnTo>
                    <a:pt x="222" y="42"/>
                  </a:lnTo>
                  <a:lnTo>
                    <a:pt x="230" y="49"/>
                  </a:lnTo>
                  <a:lnTo>
                    <a:pt x="235" y="45"/>
                  </a:lnTo>
                  <a:lnTo>
                    <a:pt x="239" y="49"/>
                  </a:lnTo>
                  <a:lnTo>
                    <a:pt x="243" y="47"/>
                  </a:lnTo>
                  <a:lnTo>
                    <a:pt x="247" y="47"/>
                  </a:lnTo>
                  <a:lnTo>
                    <a:pt x="252" y="43"/>
                  </a:lnTo>
                  <a:lnTo>
                    <a:pt x="256" y="42"/>
                  </a:lnTo>
                  <a:lnTo>
                    <a:pt x="262" y="53"/>
                  </a:lnTo>
                  <a:lnTo>
                    <a:pt x="265" y="55"/>
                  </a:lnTo>
                  <a:lnTo>
                    <a:pt x="267" y="59"/>
                  </a:lnTo>
                  <a:lnTo>
                    <a:pt x="269" y="55"/>
                  </a:lnTo>
                  <a:lnTo>
                    <a:pt x="277" y="59"/>
                  </a:lnTo>
                  <a:lnTo>
                    <a:pt x="282" y="59"/>
                  </a:lnTo>
                  <a:lnTo>
                    <a:pt x="286" y="59"/>
                  </a:lnTo>
                  <a:lnTo>
                    <a:pt x="290" y="59"/>
                  </a:lnTo>
                  <a:lnTo>
                    <a:pt x="295" y="64"/>
                  </a:lnTo>
                  <a:lnTo>
                    <a:pt x="299" y="64"/>
                  </a:lnTo>
                  <a:lnTo>
                    <a:pt x="305" y="60"/>
                  </a:lnTo>
                  <a:lnTo>
                    <a:pt x="305" y="64"/>
                  </a:lnTo>
                  <a:lnTo>
                    <a:pt x="307" y="66"/>
                  </a:lnTo>
                  <a:lnTo>
                    <a:pt x="307" y="72"/>
                  </a:lnTo>
                  <a:lnTo>
                    <a:pt x="305" y="75"/>
                  </a:lnTo>
                  <a:lnTo>
                    <a:pt x="299" y="75"/>
                  </a:lnTo>
                  <a:lnTo>
                    <a:pt x="297" y="85"/>
                  </a:lnTo>
                  <a:lnTo>
                    <a:pt x="305" y="89"/>
                  </a:lnTo>
                  <a:lnTo>
                    <a:pt x="305" y="92"/>
                  </a:lnTo>
                  <a:lnTo>
                    <a:pt x="305" y="100"/>
                  </a:lnTo>
                  <a:lnTo>
                    <a:pt x="305" y="106"/>
                  </a:lnTo>
                  <a:lnTo>
                    <a:pt x="299" y="107"/>
                  </a:lnTo>
                  <a:lnTo>
                    <a:pt x="292" y="107"/>
                  </a:lnTo>
                  <a:lnTo>
                    <a:pt x="286" y="115"/>
                  </a:lnTo>
                  <a:lnTo>
                    <a:pt x="284" y="115"/>
                  </a:lnTo>
                  <a:lnTo>
                    <a:pt x="284" y="123"/>
                  </a:lnTo>
                  <a:lnTo>
                    <a:pt x="280" y="124"/>
                  </a:lnTo>
                  <a:lnTo>
                    <a:pt x="280" y="123"/>
                  </a:lnTo>
                  <a:lnTo>
                    <a:pt x="279" y="123"/>
                  </a:lnTo>
                  <a:lnTo>
                    <a:pt x="273" y="124"/>
                  </a:lnTo>
                  <a:lnTo>
                    <a:pt x="267" y="124"/>
                  </a:lnTo>
                  <a:lnTo>
                    <a:pt x="265" y="126"/>
                  </a:lnTo>
                  <a:lnTo>
                    <a:pt x="265" y="130"/>
                  </a:lnTo>
                  <a:lnTo>
                    <a:pt x="262" y="130"/>
                  </a:lnTo>
                  <a:lnTo>
                    <a:pt x="260" y="132"/>
                  </a:lnTo>
                  <a:lnTo>
                    <a:pt x="252" y="138"/>
                  </a:lnTo>
                  <a:lnTo>
                    <a:pt x="252" y="136"/>
                  </a:lnTo>
                  <a:lnTo>
                    <a:pt x="250" y="138"/>
                  </a:lnTo>
                  <a:lnTo>
                    <a:pt x="247" y="140"/>
                  </a:lnTo>
                  <a:lnTo>
                    <a:pt x="241" y="138"/>
                  </a:lnTo>
                  <a:lnTo>
                    <a:pt x="237" y="141"/>
                  </a:lnTo>
                  <a:lnTo>
                    <a:pt x="235" y="141"/>
                  </a:lnTo>
                  <a:lnTo>
                    <a:pt x="231" y="136"/>
                  </a:lnTo>
                  <a:lnTo>
                    <a:pt x="230" y="136"/>
                  </a:lnTo>
                  <a:lnTo>
                    <a:pt x="231" y="140"/>
                  </a:lnTo>
                  <a:lnTo>
                    <a:pt x="235" y="141"/>
                  </a:lnTo>
                  <a:lnTo>
                    <a:pt x="235" y="143"/>
                  </a:lnTo>
                  <a:lnTo>
                    <a:pt x="228" y="149"/>
                  </a:lnTo>
                  <a:lnTo>
                    <a:pt x="226" y="149"/>
                  </a:lnTo>
                  <a:lnTo>
                    <a:pt x="226" y="149"/>
                  </a:lnTo>
                  <a:lnTo>
                    <a:pt x="226" y="149"/>
                  </a:lnTo>
                  <a:lnTo>
                    <a:pt x="231" y="143"/>
                  </a:lnTo>
                  <a:lnTo>
                    <a:pt x="230" y="143"/>
                  </a:lnTo>
                  <a:lnTo>
                    <a:pt x="228" y="141"/>
                  </a:lnTo>
                  <a:lnTo>
                    <a:pt x="228" y="143"/>
                  </a:lnTo>
                  <a:lnTo>
                    <a:pt x="222" y="149"/>
                  </a:lnTo>
                  <a:lnTo>
                    <a:pt x="220" y="149"/>
                  </a:lnTo>
                  <a:lnTo>
                    <a:pt x="216" y="153"/>
                  </a:lnTo>
                  <a:lnTo>
                    <a:pt x="215" y="153"/>
                  </a:lnTo>
                  <a:lnTo>
                    <a:pt x="213" y="149"/>
                  </a:lnTo>
                  <a:lnTo>
                    <a:pt x="209" y="153"/>
                  </a:lnTo>
                  <a:lnTo>
                    <a:pt x="205" y="153"/>
                  </a:lnTo>
                  <a:lnTo>
                    <a:pt x="205" y="153"/>
                  </a:lnTo>
                  <a:lnTo>
                    <a:pt x="207" y="153"/>
                  </a:lnTo>
                  <a:lnTo>
                    <a:pt x="213" y="153"/>
                  </a:lnTo>
                  <a:lnTo>
                    <a:pt x="216" y="156"/>
                  </a:lnTo>
                  <a:lnTo>
                    <a:pt x="216" y="158"/>
                  </a:lnTo>
                  <a:lnTo>
                    <a:pt x="220" y="156"/>
                  </a:lnTo>
                  <a:lnTo>
                    <a:pt x="222" y="158"/>
                  </a:lnTo>
                  <a:lnTo>
                    <a:pt x="220" y="160"/>
                  </a:lnTo>
                  <a:lnTo>
                    <a:pt x="220" y="162"/>
                  </a:lnTo>
                  <a:lnTo>
                    <a:pt x="222" y="162"/>
                  </a:lnTo>
                  <a:lnTo>
                    <a:pt x="222" y="162"/>
                  </a:lnTo>
                  <a:lnTo>
                    <a:pt x="222" y="164"/>
                  </a:lnTo>
                  <a:lnTo>
                    <a:pt x="226" y="162"/>
                  </a:lnTo>
                  <a:lnTo>
                    <a:pt x="226" y="164"/>
                  </a:lnTo>
                  <a:lnTo>
                    <a:pt x="226" y="168"/>
                  </a:lnTo>
                  <a:lnTo>
                    <a:pt x="228" y="170"/>
                  </a:lnTo>
                  <a:lnTo>
                    <a:pt x="235" y="172"/>
                  </a:lnTo>
                  <a:lnTo>
                    <a:pt x="235" y="172"/>
                  </a:lnTo>
                  <a:lnTo>
                    <a:pt x="228" y="164"/>
                  </a:lnTo>
                  <a:lnTo>
                    <a:pt x="222" y="156"/>
                  </a:lnTo>
                  <a:lnTo>
                    <a:pt x="222" y="153"/>
                  </a:lnTo>
                  <a:lnTo>
                    <a:pt x="222" y="153"/>
                  </a:lnTo>
                  <a:lnTo>
                    <a:pt x="226" y="155"/>
                  </a:lnTo>
                  <a:lnTo>
                    <a:pt x="226" y="160"/>
                  </a:lnTo>
                  <a:lnTo>
                    <a:pt x="235" y="170"/>
                  </a:lnTo>
                  <a:lnTo>
                    <a:pt x="237" y="172"/>
                  </a:lnTo>
                  <a:lnTo>
                    <a:pt x="241" y="168"/>
                  </a:lnTo>
                  <a:lnTo>
                    <a:pt x="243" y="168"/>
                  </a:lnTo>
                  <a:lnTo>
                    <a:pt x="247" y="170"/>
                  </a:lnTo>
                  <a:lnTo>
                    <a:pt x="248" y="166"/>
                  </a:lnTo>
                  <a:lnTo>
                    <a:pt x="252" y="164"/>
                  </a:lnTo>
                  <a:lnTo>
                    <a:pt x="260" y="166"/>
                  </a:lnTo>
                  <a:lnTo>
                    <a:pt x="256" y="168"/>
                  </a:lnTo>
                  <a:lnTo>
                    <a:pt x="256" y="170"/>
                  </a:lnTo>
                  <a:lnTo>
                    <a:pt x="256" y="173"/>
                  </a:lnTo>
                  <a:lnTo>
                    <a:pt x="256" y="173"/>
                  </a:lnTo>
                  <a:lnTo>
                    <a:pt x="248" y="173"/>
                  </a:lnTo>
                  <a:lnTo>
                    <a:pt x="241" y="173"/>
                  </a:lnTo>
                  <a:lnTo>
                    <a:pt x="237" y="177"/>
                  </a:lnTo>
                  <a:lnTo>
                    <a:pt x="235" y="183"/>
                  </a:lnTo>
                  <a:lnTo>
                    <a:pt x="228" y="183"/>
                  </a:lnTo>
                  <a:lnTo>
                    <a:pt x="220" y="187"/>
                  </a:lnTo>
                  <a:lnTo>
                    <a:pt x="213" y="190"/>
                  </a:lnTo>
                  <a:lnTo>
                    <a:pt x="205" y="190"/>
                  </a:lnTo>
                  <a:lnTo>
                    <a:pt x="203" y="187"/>
                  </a:lnTo>
                  <a:lnTo>
                    <a:pt x="203" y="185"/>
                  </a:lnTo>
                  <a:lnTo>
                    <a:pt x="205" y="179"/>
                  </a:lnTo>
                  <a:lnTo>
                    <a:pt x="205" y="177"/>
                  </a:lnTo>
                  <a:lnTo>
                    <a:pt x="199" y="173"/>
                  </a:lnTo>
                  <a:lnTo>
                    <a:pt x="198" y="173"/>
                  </a:lnTo>
                  <a:lnTo>
                    <a:pt x="192" y="172"/>
                  </a:lnTo>
                  <a:lnTo>
                    <a:pt x="192" y="173"/>
                  </a:lnTo>
                  <a:lnTo>
                    <a:pt x="186" y="172"/>
                  </a:lnTo>
                  <a:lnTo>
                    <a:pt x="192" y="166"/>
                  </a:lnTo>
                  <a:lnTo>
                    <a:pt x="198" y="162"/>
                  </a:lnTo>
                  <a:lnTo>
                    <a:pt x="203" y="160"/>
                  </a:lnTo>
                  <a:lnTo>
                    <a:pt x="205" y="158"/>
                  </a:lnTo>
                  <a:lnTo>
                    <a:pt x="203" y="156"/>
                  </a:lnTo>
                  <a:lnTo>
                    <a:pt x="201" y="153"/>
                  </a:lnTo>
                  <a:lnTo>
                    <a:pt x="199" y="153"/>
                  </a:lnTo>
                  <a:lnTo>
                    <a:pt x="199" y="153"/>
                  </a:lnTo>
                  <a:lnTo>
                    <a:pt x="196" y="153"/>
                  </a:lnTo>
                  <a:lnTo>
                    <a:pt x="192" y="149"/>
                  </a:lnTo>
                  <a:lnTo>
                    <a:pt x="186" y="153"/>
                  </a:lnTo>
                  <a:lnTo>
                    <a:pt x="183" y="153"/>
                  </a:lnTo>
                  <a:lnTo>
                    <a:pt x="181" y="153"/>
                  </a:lnTo>
                  <a:lnTo>
                    <a:pt x="177" y="153"/>
                  </a:lnTo>
                  <a:lnTo>
                    <a:pt x="175" y="149"/>
                  </a:lnTo>
                  <a:lnTo>
                    <a:pt x="177" y="149"/>
                  </a:lnTo>
                  <a:lnTo>
                    <a:pt x="177" y="147"/>
                  </a:lnTo>
                  <a:lnTo>
                    <a:pt x="171" y="143"/>
                  </a:lnTo>
                  <a:lnTo>
                    <a:pt x="166" y="143"/>
                  </a:lnTo>
                  <a:lnTo>
                    <a:pt x="166" y="143"/>
                  </a:lnTo>
                  <a:lnTo>
                    <a:pt x="167" y="143"/>
                  </a:lnTo>
                  <a:lnTo>
                    <a:pt x="175" y="141"/>
                  </a:lnTo>
                  <a:lnTo>
                    <a:pt x="179" y="143"/>
                  </a:lnTo>
                  <a:lnTo>
                    <a:pt x="181" y="141"/>
                  </a:lnTo>
                  <a:lnTo>
                    <a:pt x="183" y="140"/>
                  </a:lnTo>
                  <a:lnTo>
                    <a:pt x="179" y="141"/>
                  </a:lnTo>
                  <a:lnTo>
                    <a:pt x="175" y="140"/>
                  </a:lnTo>
                  <a:lnTo>
                    <a:pt x="173" y="138"/>
                  </a:lnTo>
                  <a:lnTo>
                    <a:pt x="171" y="136"/>
                  </a:lnTo>
                  <a:lnTo>
                    <a:pt x="169" y="138"/>
                  </a:lnTo>
                  <a:lnTo>
                    <a:pt x="169" y="140"/>
                  </a:lnTo>
                  <a:lnTo>
                    <a:pt x="166" y="140"/>
                  </a:lnTo>
                  <a:lnTo>
                    <a:pt x="166" y="140"/>
                  </a:lnTo>
                  <a:lnTo>
                    <a:pt x="166" y="138"/>
                  </a:lnTo>
                  <a:lnTo>
                    <a:pt x="162" y="141"/>
                  </a:lnTo>
                  <a:lnTo>
                    <a:pt x="156" y="143"/>
                  </a:lnTo>
                  <a:lnTo>
                    <a:pt x="152" y="143"/>
                  </a:lnTo>
                  <a:lnTo>
                    <a:pt x="152" y="149"/>
                  </a:lnTo>
                  <a:lnTo>
                    <a:pt x="149" y="153"/>
                  </a:lnTo>
                  <a:lnTo>
                    <a:pt x="147" y="153"/>
                  </a:lnTo>
                  <a:lnTo>
                    <a:pt x="149" y="155"/>
                  </a:lnTo>
                  <a:lnTo>
                    <a:pt x="141" y="164"/>
                  </a:lnTo>
                  <a:lnTo>
                    <a:pt x="139" y="164"/>
                  </a:lnTo>
                  <a:lnTo>
                    <a:pt x="137" y="162"/>
                  </a:lnTo>
                  <a:lnTo>
                    <a:pt x="137" y="164"/>
                  </a:lnTo>
                  <a:lnTo>
                    <a:pt x="135" y="168"/>
                  </a:lnTo>
                  <a:lnTo>
                    <a:pt x="139" y="170"/>
                  </a:lnTo>
                  <a:lnTo>
                    <a:pt x="137" y="173"/>
                  </a:lnTo>
                  <a:lnTo>
                    <a:pt x="137" y="173"/>
                  </a:lnTo>
                  <a:lnTo>
                    <a:pt x="134" y="170"/>
                  </a:lnTo>
                  <a:lnTo>
                    <a:pt x="128" y="172"/>
                  </a:lnTo>
                  <a:lnTo>
                    <a:pt x="126" y="173"/>
                  </a:lnTo>
                  <a:lnTo>
                    <a:pt x="120" y="173"/>
                  </a:lnTo>
                  <a:lnTo>
                    <a:pt x="113" y="172"/>
                  </a:lnTo>
                  <a:lnTo>
                    <a:pt x="111" y="166"/>
                  </a:lnTo>
                  <a:lnTo>
                    <a:pt x="113" y="164"/>
                  </a:lnTo>
                  <a:lnTo>
                    <a:pt x="117" y="166"/>
                  </a:lnTo>
                  <a:lnTo>
                    <a:pt x="117" y="162"/>
                  </a:lnTo>
                  <a:lnTo>
                    <a:pt x="120" y="155"/>
                  </a:lnTo>
                  <a:lnTo>
                    <a:pt x="122" y="155"/>
                  </a:lnTo>
                  <a:lnTo>
                    <a:pt x="122" y="153"/>
                  </a:lnTo>
                  <a:lnTo>
                    <a:pt x="122" y="143"/>
                  </a:lnTo>
                  <a:lnTo>
                    <a:pt x="126" y="143"/>
                  </a:lnTo>
                  <a:lnTo>
                    <a:pt x="130" y="143"/>
                  </a:lnTo>
                  <a:lnTo>
                    <a:pt x="134" y="143"/>
                  </a:lnTo>
                  <a:lnTo>
                    <a:pt x="139" y="143"/>
                  </a:lnTo>
                  <a:lnTo>
                    <a:pt x="139" y="143"/>
                  </a:lnTo>
                  <a:lnTo>
                    <a:pt x="137" y="140"/>
                  </a:lnTo>
                  <a:lnTo>
                    <a:pt x="139" y="138"/>
                  </a:lnTo>
                  <a:lnTo>
                    <a:pt x="137" y="134"/>
                  </a:lnTo>
                  <a:lnTo>
                    <a:pt x="132" y="130"/>
                  </a:lnTo>
                  <a:lnTo>
                    <a:pt x="128" y="126"/>
                  </a:lnTo>
                  <a:lnTo>
                    <a:pt x="126" y="123"/>
                  </a:lnTo>
                  <a:lnTo>
                    <a:pt x="122" y="123"/>
                  </a:lnTo>
                  <a:lnTo>
                    <a:pt x="122" y="119"/>
                  </a:lnTo>
                  <a:lnTo>
                    <a:pt x="122" y="109"/>
                  </a:lnTo>
                  <a:lnTo>
                    <a:pt x="119" y="109"/>
                  </a:lnTo>
                  <a:lnTo>
                    <a:pt x="113" y="102"/>
                  </a:lnTo>
                  <a:lnTo>
                    <a:pt x="111" y="102"/>
                  </a:lnTo>
                  <a:lnTo>
                    <a:pt x="109" y="106"/>
                  </a:lnTo>
                  <a:lnTo>
                    <a:pt x="103" y="104"/>
                  </a:lnTo>
                  <a:lnTo>
                    <a:pt x="96" y="98"/>
                  </a:lnTo>
                  <a:lnTo>
                    <a:pt x="92" y="98"/>
                  </a:lnTo>
                  <a:lnTo>
                    <a:pt x="88" y="94"/>
                  </a:lnTo>
                  <a:lnTo>
                    <a:pt x="87" y="98"/>
                  </a:lnTo>
                  <a:lnTo>
                    <a:pt x="83" y="98"/>
                  </a:lnTo>
                  <a:lnTo>
                    <a:pt x="83" y="98"/>
                  </a:lnTo>
                  <a:lnTo>
                    <a:pt x="79" y="98"/>
                  </a:lnTo>
                  <a:lnTo>
                    <a:pt x="79" y="98"/>
                  </a:lnTo>
                  <a:lnTo>
                    <a:pt x="75" y="98"/>
                  </a:lnTo>
                  <a:lnTo>
                    <a:pt x="77" y="100"/>
                  </a:lnTo>
                  <a:lnTo>
                    <a:pt x="75" y="104"/>
                  </a:lnTo>
                  <a:lnTo>
                    <a:pt x="77" y="107"/>
                  </a:lnTo>
                  <a:lnTo>
                    <a:pt x="71" y="109"/>
                  </a:lnTo>
                  <a:lnTo>
                    <a:pt x="68" y="109"/>
                  </a:lnTo>
                  <a:lnTo>
                    <a:pt x="56" y="113"/>
                  </a:lnTo>
                  <a:lnTo>
                    <a:pt x="53" y="115"/>
                  </a:lnTo>
                  <a:lnTo>
                    <a:pt x="49" y="119"/>
                  </a:lnTo>
                  <a:lnTo>
                    <a:pt x="43" y="119"/>
                  </a:lnTo>
                  <a:lnTo>
                    <a:pt x="38" y="119"/>
                  </a:lnTo>
                  <a:lnTo>
                    <a:pt x="36" y="115"/>
                  </a:lnTo>
                  <a:lnTo>
                    <a:pt x="32" y="113"/>
                  </a:lnTo>
                  <a:lnTo>
                    <a:pt x="26" y="109"/>
                  </a:lnTo>
                  <a:lnTo>
                    <a:pt x="19" y="107"/>
                  </a:lnTo>
                  <a:lnTo>
                    <a:pt x="17" y="107"/>
                  </a:lnTo>
                  <a:lnTo>
                    <a:pt x="13" y="109"/>
                  </a:lnTo>
                  <a:lnTo>
                    <a:pt x="11" y="109"/>
                  </a:lnTo>
                  <a:lnTo>
                    <a:pt x="9" y="107"/>
                  </a:lnTo>
                  <a:lnTo>
                    <a:pt x="4" y="104"/>
                  </a:lnTo>
                  <a:lnTo>
                    <a:pt x="0" y="100"/>
                  </a:lnTo>
                  <a:lnTo>
                    <a:pt x="0" y="98"/>
                  </a:lnTo>
                  <a:lnTo>
                    <a:pt x="2" y="92"/>
                  </a:lnTo>
                  <a:lnTo>
                    <a:pt x="6" y="85"/>
                  </a:lnTo>
                  <a:lnTo>
                    <a:pt x="9" y="85"/>
                  </a:lnTo>
                  <a:lnTo>
                    <a:pt x="9" y="79"/>
                  </a:lnTo>
                  <a:lnTo>
                    <a:pt x="7" y="74"/>
                  </a:lnTo>
                  <a:lnTo>
                    <a:pt x="19" y="60"/>
                  </a:lnTo>
                  <a:lnTo>
                    <a:pt x="23" y="55"/>
                  </a:lnTo>
                  <a:lnTo>
                    <a:pt x="23" y="53"/>
                  </a:lnTo>
                  <a:lnTo>
                    <a:pt x="26" y="53"/>
                  </a:lnTo>
                  <a:lnTo>
                    <a:pt x="28" y="47"/>
                  </a:lnTo>
                  <a:lnTo>
                    <a:pt x="26" y="45"/>
                  </a:lnTo>
                  <a:lnTo>
                    <a:pt x="26" y="42"/>
                  </a:lnTo>
                  <a:lnTo>
                    <a:pt x="26" y="40"/>
                  </a:lnTo>
                  <a:lnTo>
                    <a:pt x="23" y="38"/>
                  </a:lnTo>
                  <a:lnTo>
                    <a:pt x="23" y="30"/>
                  </a:lnTo>
                  <a:lnTo>
                    <a:pt x="19" y="30"/>
                  </a:lnTo>
                  <a:lnTo>
                    <a:pt x="19" y="21"/>
                  </a:lnTo>
                  <a:lnTo>
                    <a:pt x="19" y="19"/>
                  </a:lnTo>
                  <a:lnTo>
                    <a:pt x="19" y="19"/>
                  </a:lnTo>
                  <a:lnTo>
                    <a:pt x="19"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1" name="Freeform 84">
              <a:extLst>
                <a:ext uri="{FF2B5EF4-FFF2-40B4-BE49-F238E27FC236}">
                  <a16:creationId xmlns:a16="http://schemas.microsoft.com/office/drawing/2014/main" id="{5B2A5267-3A14-4315-90DA-E89FBFCEC084}"/>
                </a:ext>
              </a:extLst>
            </p:cNvPr>
            <p:cNvSpPr>
              <a:spLocks/>
            </p:cNvSpPr>
            <p:nvPr/>
          </p:nvSpPr>
          <p:spPr bwMode="auto">
            <a:xfrm>
              <a:off x="3227" y="2114"/>
              <a:ext cx="64" cy="68"/>
            </a:xfrm>
            <a:custGeom>
              <a:avLst/>
              <a:gdLst/>
              <a:ahLst/>
              <a:cxnLst>
                <a:cxn ang="0">
                  <a:pos x="2" y="11"/>
                </a:cxn>
                <a:cxn ang="0">
                  <a:pos x="0" y="10"/>
                </a:cxn>
                <a:cxn ang="0">
                  <a:pos x="2" y="6"/>
                </a:cxn>
                <a:cxn ang="0">
                  <a:pos x="0" y="2"/>
                </a:cxn>
                <a:cxn ang="0">
                  <a:pos x="4" y="2"/>
                </a:cxn>
                <a:cxn ang="0">
                  <a:pos x="4" y="2"/>
                </a:cxn>
                <a:cxn ang="0">
                  <a:pos x="8" y="4"/>
                </a:cxn>
                <a:cxn ang="0">
                  <a:pos x="9" y="2"/>
                </a:cxn>
                <a:cxn ang="0">
                  <a:pos x="13" y="2"/>
                </a:cxn>
                <a:cxn ang="0">
                  <a:pos x="13" y="0"/>
                </a:cxn>
                <a:cxn ang="0">
                  <a:pos x="17" y="4"/>
                </a:cxn>
                <a:cxn ang="0">
                  <a:pos x="21" y="4"/>
                </a:cxn>
                <a:cxn ang="0">
                  <a:pos x="28" y="10"/>
                </a:cxn>
                <a:cxn ang="0">
                  <a:pos x="34" y="10"/>
                </a:cxn>
                <a:cxn ang="0">
                  <a:pos x="36" y="8"/>
                </a:cxn>
                <a:cxn ang="0">
                  <a:pos x="38" y="8"/>
                </a:cxn>
                <a:cxn ang="0">
                  <a:pos x="41" y="13"/>
                </a:cxn>
                <a:cxn ang="0">
                  <a:pos x="45" y="15"/>
                </a:cxn>
                <a:cxn ang="0">
                  <a:pos x="47" y="23"/>
                </a:cxn>
                <a:cxn ang="0">
                  <a:pos x="47" y="27"/>
                </a:cxn>
                <a:cxn ang="0">
                  <a:pos x="51" y="27"/>
                </a:cxn>
                <a:cxn ang="0">
                  <a:pos x="53" y="30"/>
                </a:cxn>
                <a:cxn ang="0">
                  <a:pos x="56" y="34"/>
                </a:cxn>
                <a:cxn ang="0">
                  <a:pos x="62" y="38"/>
                </a:cxn>
                <a:cxn ang="0">
                  <a:pos x="64" y="42"/>
                </a:cxn>
                <a:cxn ang="0">
                  <a:pos x="62" y="42"/>
                </a:cxn>
                <a:cxn ang="0">
                  <a:pos x="64" y="45"/>
                </a:cxn>
                <a:cxn ang="0">
                  <a:pos x="64" y="47"/>
                </a:cxn>
                <a:cxn ang="0">
                  <a:pos x="58" y="47"/>
                </a:cxn>
                <a:cxn ang="0">
                  <a:pos x="55" y="45"/>
                </a:cxn>
                <a:cxn ang="0">
                  <a:pos x="51" y="47"/>
                </a:cxn>
                <a:cxn ang="0">
                  <a:pos x="47" y="47"/>
                </a:cxn>
                <a:cxn ang="0">
                  <a:pos x="45" y="55"/>
                </a:cxn>
                <a:cxn ang="0">
                  <a:pos x="45" y="57"/>
                </a:cxn>
                <a:cxn ang="0">
                  <a:pos x="45" y="57"/>
                </a:cxn>
                <a:cxn ang="0">
                  <a:pos x="41" y="64"/>
                </a:cxn>
                <a:cxn ang="0">
                  <a:pos x="41" y="68"/>
                </a:cxn>
                <a:cxn ang="0">
                  <a:pos x="38" y="66"/>
                </a:cxn>
                <a:cxn ang="0">
                  <a:pos x="36" y="68"/>
                </a:cxn>
                <a:cxn ang="0">
                  <a:pos x="36" y="68"/>
                </a:cxn>
                <a:cxn ang="0">
                  <a:pos x="32" y="62"/>
                </a:cxn>
                <a:cxn ang="0">
                  <a:pos x="34" y="45"/>
                </a:cxn>
                <a:cxn ang="0">
                  <a:pos x="30" y="42"/>
                </a:cxn>
                <a:cxn ang="0">
                  <a:pos x="28" y="36"/>
                </a:cxn>
                <a:cxn ang="0">
                  <a:pos x="21" y="28"/>
                </a:cxn>
                <a:cxn ang="0">
                  <a:pos x="17" y="27"/>
                </a:cxn>
                <a:cxn ang="0">
                  <a:pos x="11" y="19"/>
                </a:cxn>
                <a:cxn ang="0">
                  <a:pos x="9" y="10"/>
                </a:cxn>
                <a:cxn ang="0">
                  <a:pos x="2" y="11"/>
                </a:cxn>
                <a:cxn ang="0">
                  <a:pos x="2" y="11"/>
                </a:cxn>
                <a:cxn ang="0">
                  <a:pos x="2" y="11"/>
                </a:cxn>
              </a:cxnLst>
              <a:rect l="0" t="0" r="r" b="b"/>
              <a:pathLst>
                <a:path w="64" h="68">
                  <a:moveTo>
                    <a:pt x="2" y="11"/>
                  </a:moveTo>
                  <a:lnTo>
                    <a:pt x="0" y="10"/>
                  </a:lnTo>
                  <a:lnTo>
                    <a:pt x="2" y="6"/>
                  </a:lnTo>
                  <a:lnTo>
                    <a:pt x="0" y="2"/>
                  </a:lnTo>
                  <a:lnTo>
                    <a:pt x="4" y="2"/>
                  </a:lnTo>
                  <a:lnTo>
                    <a:pt x="4" y="2"/>
                  </a:lnTo>
                  <a:lnTo>
                    <a:pt x="8" y="4"/>
                  </a:lnTo>
                  <a:lnTo>
                    <a:pt x="9" y="2"/>
                  </a:lnTo>
                  <a:lnTo>
                    <a:pt x="13" y="2"/>
                  </a:lnTo>
                  <a:lnTo>
                    <a:pt x="13" y="0"/>
                  </a:lnTo>
                  <a:lnTo>
                    <a:pt x="17" y="4"/>
                  </a:lnTo>
                  <a:lnTo>
                    <a:pt x="21" y="4"/>
                  </a:lnTo>
                  <a:lnTo>
                    <a:pt x="28" y="10"/>
                  </a:lnTo>
                  <a:lnTo>
                    <a:pt x="34" y="10"/>
                  </a:lnTo>
                  <a:lnTo>
                    <a:pt x="36" y="8"/>
                  </a:lnTo>
                  <a:lnTo>
                    <a:pt x="38" y="8"/>
                  </a:lnTo>
                  <a:lnTo>
                    <a:pt x="41" y="13"/>
                  </a:lnTo>
                  <a:lnTo>
                    <a:pt x="45" y="15"/>
                  </a:lnTo>
                  <a:lnTo>
                    <a:pt x="47" y="23"/>
                  </a:lnTo>
                  <a:lnTo>
                    <a:pt x="47" y="27"/>
                  </a:lnTo>
                  <a:lnTo>
                    <a:pt x="51" y="27"/>
                  </a:lnTo>
                  <a:lnTo>
                    <a:pt x="53" y="30"/>
                  </a:lnTo>
                  <a:lnTo>
                    <a:pt x="56" y="34"/>
                  </a:lnTo>
                  <a:lnTo>
                    <a:pt x="62" y="38"/>
                  </a:lnTo>
                  <a:lnTo>
                    <a:pt x="64" y="42"/>
                  </a:lnTo>
                  <a:lnTo>
                    <a:pt x="62" y="42"/>
                  </a:lnTo>
                  <a:lnTo>
                    <a:pt x="64" y="45"/>
                  </a:lnTo>
                  <a:lnTo>
                    <a:pt x="64" y="47"/>
                  </a:lnTo>
                  <a:lnTo>
                    <a:pt x="58" y="47"/>
                  </a:lnTo>
                  <a:lnTo>
                    <a:pt x="55" y="45"/>
                  </a:lnTo>
                  <a:lnTo>
                    <a:pt x="51" y="47"/>
                  </a:lnTo>
                  <a:lnTo>
                    <a:pt x="47" y="47"/>
                  </a:lnTo>
                  <a:lnTo>
                    <a:pt x="45" y="55"/>
                  </a:lnTo>
                  <a:lnTo>
                    <a:pt x="45" y="57"/>
                  </a:lnTo>
                  <a:lnTo>
                    <a:pt x="45" y="57"/>
                  </a:lnTo>
                  <a:lnTo>
                    <a:pt x="41" y="64"/>
                  </a:lnTo>
                  <a:lnTo>
                    <a:pt x="41" y="68"/>
                  </a:lnTo>
                  <a:lnTo>
                    <a:pt x="38" y="66"/>
                  </a:lnTo>
                  <a:lnTo>
                    <a:pt x="36" y="68"/>
                  </a:lnTo>
                  <a:lnTo>
                    <a:pt x="36" y="68"/>
                  </a:lnTo>
                  <a:lnTo>
                    <a:pt x="32" y="62"/>
                  </a:lnTo>
                  <a:lnTo>
                    <a:pt x="34" y="45"/>
                  </a:lnTo>
                  <a:lnTo>
                    <a:pt x="30" y="42"/>
                  </a:lnTo>
                  <a:lnTo>
                    <a:pt x="28" y="36"/>
                  </a:lnTo>
                  <a:lnTo>
                    <a:pt x="21" y="28"/>
                  </a:lnTo>
                  <a:lnTo>
                    <a:pt x="17" y="27"/>
                  </a:lnTo>
                  <a:lnTo>
                    <a:pt x="11" y="19"/>
                  </a:lnTo>
                  <a:lnTo>
                    <a:pt x="9" y="10"/>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2" name="Freeform 85">
              <a:extLst>
                <a:ext uri="{FF2B5EF4-FFF2-40B4-BE49-F238E27FC236}">
                  <a16:creationId xmlns:a16="http://schemas.microsoft.com/office/drawing/2014/main" id="{51ABA080-1033-478F-9DBE-7BD39DAE3B18}"/>
                </a:ext>
              </a:extLst>
            </p:cNvPr>
            <p:cNvSpPr>
              <a:spLocks/>
            </p:cNvSpPr>
            <p:nvPr/>
          </p:nvSpPr>
          <p:spPr bwMode="auto">
            <a:xfrm>
              <a:off x="3165" y="2214"/>
              <a:ext cx="105" cy="70"/>
            </a:xfrm>
            <a:custGeom>
              <a:avLst/>
              <a:gdLst/>
              <a:ahLst/>
              <a:cxnLst>
                <a:cxn ang="0">
                  <a:pos x="7" y="0"/>
                </a:cxn>
                <a:cxn ang="0">
                  <a:pos x="9" y="6"/>
                </a:cxn>
                <a:cxn ang="0">
                  <a:pos x="9" y="11"/>
                </a:cxn>
                <a:cxn ang="0">
                  <a:pos x="19" y="8"/>
                </a:cxn>
                <a:cxn ang="0">
                  <a:pos x="22" y="9"/>
                </a:cxn>
                <a:cxn ang="0">
                  <a:pos x="34" y="9"/>
                </a:cxn>
                <a:cxn ang="0">
                  <a:pos x="41" y="9"/>
                </a:cxn>
                <a:cxn ang="0">
                  <a:pos x="47" y="11"/>
                </a:cxn>
                <a:cxn ang="0">
                  <a:pos x="56" y="9"/>
                </a:cxn>
                <a:cxn ang="0">
                  <a:pos x="62" y="6"/>
                </a:cxn>
                <a:cxn ang="0">
                  <a:pos x="79" y="0"/>
                </a:cxn>
                <a:cxn ang="0">
                  <a:pos x="90" y="4"/>
                </a:cxn>
                <a:cxn ang="0">
                  <a:pos x="96" y="4"/>
                </a:cxn>
                <a:cxn ang="0">
                  <a:pos x="102" y="8"/>
                </a:cxn>
                <a:cxn ang="0">
                  <a:pos x="105" y="9"/>
                </a:cxn>
                <a:cxn ang="0">
                  <a:pos x="103" y="19"/>
                </a:cxn>
                <a:cxn ang="0">
                  <a:pos x="94" y="23"/>
                </a:cxn>
                <a:cxn ang="0">
                  <a:pos x="94" y="34"/>
                </a:cxn>
                <a:cxn ang="0">
                  <a:pos x="90" y="40"/>
                </a:cxn>
                <a:cxn ang="0">
                  <a:pos x="96" y="47"/>
                </a:cxn>
                <a:cxn ang="0">
                  <a:pos x="98" y="51"/>
                </a:cxn>
                <a:cxn ang="0">
                  <a:pos x="92" y="53"/>
                </a:cxn>
                <a:cxn ang="0">
                  <a:pos x="83" y="49"/>
                </a:cxn>
                <a:cxn ang="0">
                  <a:pos x="77" y="51"/>
                </a:cxn>
                <a:cxn ang="0">
                  <a:pos x="73" y="55"/>
                </a:cxn>
                <a:cxn ang="0">
                  <a:pos x="66" y="58"/>
                </a:cxn>
                <a:cxn ang="0">
                  <a:pos x="68" y="66"/>
                </a:cxn>
                <a:cxn ang="0">
                  <a:pos x="58" y="68"/>
                </a:cxn>
                <a:cxn ang="0">
                  <a:pos x="51" y="68"/>
                </a:cxn>
                <a:cxn ang="0">
                  <a:pos x="45" y="70"/>
                </a:cxn>
                <a:cxn ang="0">
                  <a:pos x="41" y="66"/>
                </a:cxn>
                <a:cxn ang="0">
                  <a:pos x="32" y="66"/>
                </a:cxn>
                <a:cxn ang="0">
                  <a:pos x="24" y="70"/>
                </a:cxn>
                <a:cxn ang="0">
                  <a:pos x="17" y="70"/>
                </a:cxn>
                <a:cxn ang="0">
                  <a:pos x="17" y="66"/>
                </a:cxn>
                <a:cxn ang="0">
                  <a:pos x="11" y="51"/>
                </a:cxn>
                <a:cxn ang="0">
                  <a:pos x="4" y="45"/>
                </a:cxn>
                <a:cxn ang="0">
                  <a:pos x="2" y="40"/>
                </a:cxn>
                <a:cxn ang="0">
                  <a:pos x="9" y="30"/>
                </a:cxn>
                <a:cxn ang="0">
                  <a:pos x="7" y="21"/>
                </a:cxn>
                <a:cxn ang="0">
                  <a:pos x="0" y="8"/>
                </a:cxn>
                <a:cxn ang="0">
                  <a:pos x="2" y="0"/>
                </a:cxn>
                <a:cxn ang="0">
                  <a:pos x="2" y="0"/>
                </a:cxn>
              </a:cxnLst>
              <a:rect l="0" t="0" r="r" b="b"/>
              <a:pathLst>
                <a:path w="105" h="70">
                  <a:moveTo>
                    <a:pt x="2" y="0"/>
                  </a:moveTo>
                  <a:lnTo>
                    <a:pt x="7" y="0"/>
                  </a:lnTo>
                  <a:lnTo>
                    <a:pt x="9" y="4"/>
                  </a:lnTo>
                  <a:lnTo>
                    <a:pt x="9" y="6"/>
                  </a:lnTo>
                  <a:lnTo>
                    <a:pt x="7" y="8"/>
                  </a:lnTo>
                  <a:lnTo>
                    <a:pt x="9" y="11"/>
                  </a:lnTo>
                  <a:lnTo>
                    <a:pt x="13" y="8"/>
                  </a:lnTo>
                  <a:lnTo>
                    <a:pt x="19" y="8"/>
                  </a:lnTo>
                  <a:lnTo>
                    <a:pt x="21" y="11"/>
                  </a:lnTo>
                  <a:lnTo>
                    <a:pt x="22" y="9"/>
                  </a:lnTo>
                  <a:lnTo>
                    <a:pt x="28" y="13"/>
                  </a:lnTo>
                  <a:lnTo>
                    <a:pt x="34" y="9"/>
                  </a:lnTo>
                  <a:lnTo>
                    <a:pt x="38" y="11"/>
                  </a:lnTo>
                  <a:lnTo>
                    <a:pt x="41" y="9"/>
                  </a:lnTo>
                  <a:lnTo>
                    <a:pt x="43" y="11"/>
                  </a:lnTo>
                  <a:lnTo>
                    <a:pt x="47" y="11"/>
                  </a:lnTo>
                  <a:lnTo>
                    <a:pt x="54" y="11"/>
                  </a:lnTo>
                  <a:lnTo>
                    <a:pt x="56" y="9"/>
                  </a:lnTo>
                  <a:lnTo>
                    <a:pt x="62" y="9"/>
                  </a:lnTo>
                  <a:lnTo>
                    <a:pt x="62" y="6"/>
                  </a:lnTo>
                  <a:lnTo>
                    <a:pt x="73" y="0"/>
                  </a:lnTo>
                  <a:lnTo>
                    <a:pt x="79" y="0"/>
                  </a:lnTo>
                  <a:lnTo>
                    <a:pt x="85" y="0"/>
                  </a:lnTo>
                  <a:lnTo>
                    <a:pt x="90" y="4"/>
                  </a:lnTo>
                  <a:lnTo>
                    <a:pt x="92" y="6"/>
                  </a:lnTo>
                  <a:lnTo>
                    <a:pt x="96" y="4"/>
                  </a:lnTo>
                  <a:lnTo>
                    <a:pt x="100" y="6"/>
                  </a:lnTo>
                  <a:lnTo>
                    <a:pt x="102" y="8"/>
                  </a:lnTo>
                  <a:lnTo>
                    <a:pt x="105" y="8"/>
                  </a:lnTo>
                  <a:lnTo>
                    <a:pt x="105" y="9"/>
                  </a:lnTo>
                  <a:lnTo>
                    <a:pt x="105" y="17"/>
                  </a:lnTo>
                  <a:lnTo>
                    <a:pt x="103" y="19"/>
                  </a:lnTo>
                  <a:lnTo>
                    <a:pt x="100" y="19"/>
                  </a:lnTo>
                  <a:lnTo>
                    <a:pt x="94" y="23"/>
                  </a:lnTo>
                  <a:lnTo>
                    <a:pt x="94" y="30"/>
                  </a:lnTo>
                  <a:lnTo>
                    <a:pt x="94" y="34"/>
                  </a:lnTo>
                  <a:lnTo>
                    <a:pt x="90" y="40"/>
                  </a:lnTo>
                  <a:lnTo>
                    <a:pt x="90" y="40"/>
                  </a:lnTo>
                  <a:lnTo>
                    <a:pt x="92" y="43"/>
                  </a:lnTo>
                  <a:lnTo>
                    <a:pt x="96" y="47"/>
                  </a:lnTo>
                  <a:lnTo>
                    <a:pt x="98" y="51"/>
                  </a:lnTo>
                  <a:lnTo>
                    <a:pt x="98" y="51"/>
                  </a:lnTo>
                  <a:lnTo>
                    <a:pt x="94" y="51"/>
                  </a:lnTo>
                  <a:lnTo>
                    <a:pt x="92" y="53"/>
                  </a:lnTo>
                  <a:lnTo>
                    <a:pt x="86" y="49"/>
                  </a:lnTo>
                  <a:lnTo>
                    <a:pt x="83" y="49"/>
                  </a:lnTo>
                  <a:lnTo>
                    <a:pt x="81" y="51"/>
                  </a:lnTo>
                  <a:lnTo>
                    <a:pt x="77" y="51"/>
                  </a:lnTo>
                  <a:lnTo>
                    <a:pt x="73" y="55"/>
                  </a:lnTo>
                  <a:lnTo>
                    <a:pt x="73" y="55"/>
                  </a:lnTo>
                  <a:lnTo>
                    <a:pt x="71" y="55"/>
                  </a:lnTo>
                  <a:lnTo>
                    <a:pt x="66" y="58"/>
                  </a:lnTo>
                  <a:lnTo>
                    <a:pt x="66" y="62"/>
                  </a:lnTo>
                  <a:lnTo>
                    <a:pt x="68" y="66"/>
                  </a:lnTo>
                  <a:lnTo>
                    <a:pt x="66" y="68"/>
                  </a:lnTo>
                  <a:lnTo>
                    <a:pt x="58" y="68"/>
                  </a:lnTo>
                  <a:lnTo>
                    <a:pt x="54" y="70"/>
                  </a:lnTo>
                  <a:lnTo>
                    <a:pt x="51" y="68"/>
                  </a:lnTo>
                  <a:lnTo>
                    <a:pt x="47" y="68"/>
                  </a:lnTo>
                  <a:lnTo>
                    <a:pt x="45" y="70"/>
                  </a:lnTo>
                  <a:lnTo>
                    <a:pt x="41" y="70"/>
                  </a:lnTo>
                  <a:lnTo>
                    <a:pt x="41" y="66"/>
                  </a:lnTo>
                  <a:lnTo>
                    <a:pt x="38" y="66"/>
                  </a:lnTo>
                  <a:lnTo>
                    <a:pt x="32" y="66"/>
                  </a:lnTo>
                  <a:lnTo>
                    <a:pt x="30" y="70"/>
                  </a:lnTo>
                  <a:lnTo>
                    <a:pt x="24" y="70"/>
                  </a:lnTo>
                  <a:lnTo>
                    <a:pt x="19" y="70"/>
                  </a:lnTo>
                  <a:lnTo>
                    <a:pt x="17" y="70"/>
                  </a:lnTo>
                  <a:lnTo>
                    <a:pt x="17" y="70"/>
                  </a:lnTo>
                  <a:lnTo>
                    <a:pt x="17" y="66"/>
                  </a:lnTo>
                  <a:lnTo>
                    <a:pt x="17" y="60"/>
                  </a:lnTo>
                  <a:lnTo>
                    <a:pt x="11" y="51"/>
                  </a:lnTo>
                  <a:lnTo>
                    <a:pt x="4" y="45"/>
                  </a:lnTo>
                  <a:lnTo>
                    <a:pt x="4" y="45"/>
                  </a:lnTo>
                  <a:lnTo>
                    <a:pt x="4" y="43"/>
                  </a:lnTo>
                  <a:lnTo>
                    <a:pt x="2" y="40"/>
                  </a:lnTo>
                  <a:lnTo>
                    <a:pt x="2" y="34"/>
                  </a:lnTo>
                  <a:lnTo>
                    <a:pt x="9" y="30"/>
                  </a:lnTo>
                  <a:lnTo>
                    <a:pt x="9" y="26"/>
                  </a:lnTo>
                  <a:lnTo>
                    <a:pt x="7" y="21"/>
                  </a:lnTo>
                  <a:lnTo>
                    <a:pt x="2" y="15"/>
                  </a:lnTo>
                  <a:lnTo>
                    <a:pt x="0" y="8"/>
                  </a:lnTo>
                  <a:lnTo>
                    <a:pt x="2" y="4"/>
                  </a:lnTo>
                  <a:lnTo>
                    <a:pt x="2" y="0"/>
                  </a:lnTo>
                  <a:lnTo>
                    <a:pt x="2" y="0"/>
                  </a:lnTo>
                  <a:lnTo>
                    <a:pt x="2"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3" name="Freeform 86">
              <a:extLst>
                <a:ext uri="{FF2B5EF4-FFF2-40B4-BE49-F238E27FC236}">
                  <a16:creationId xmlns:a16="http://schemas.microsoft.com/office/drawing/2014/main" id="{144F266D-033E-4462-8AEC-219B61D4B3C4}"/>
                </a:ext>
              </a:extLst>
            </p:cNvPr>
            <p:cNvSpPr>
              <a:spLocks/>
            </p:cNvSpPr>
            <p:nvPr/>
          </p:nvSpPr>
          <p:spPr bwMode="auto">
            <a:xfrm>
              <a:off x="3133" y="2261"/>
              <a:ext cx="47" cy="38"/>
            </a:xfrm>
            <a:custGeom>
              <a:avLst/>
              <a:gdLst/>
              <a:ahLst/>
              <a:cxnLst>
                <a:cxn ang="0">
                  <a:pos x="34" y="0"/>
                </a:cxn>
                <a:cxn ang="0">
                  <a:pos x="41" y="6"/>
                </a:cxn>
                <a:cxn ang="0">
                  <a:pos x="47" y="15"/>
                </a:cxn>
                <a:cxn ang="0">
                  <a:pos x="47" y="21"/>
                </a:cxn>
                <a:cxn ang="0">
                  <a:pos x="47" y="25"/>
                </a:cxn>
                <a:cxn ang="0">
                  <a:pos x="45" y="25"/>
                </a:cxn>
                <a:cxn ang="0">
                  <a:pos x="41" y="25"/>
                </a:cxn>
                <a:cxn ang="0">
                  <a:pos x="38" y="28"/>
                </a:cxn>
                <a:cxn ang="0">
                  <a:pos x="28" y="28"/>
                </a:cxn>
                <a:cxn ang="0">
                  <a:pos x="24" y="28"/>
                </a:cxn>
                <a:cxn ang="0">
                  <a:pos x="24" y="30"/>
                </a:cxn>
                <a:cxn ang="0">
                  <a:pos x="19" y="32"/>
                </a:cxn>
                <a:cxn ang="0">
                  <a:pos x="11" y="38"/>
                </a:cxn>
                <a:cxn ang="0">
                  <a:pos x="11" y="38"/>
                </a:cxn>
                <a:cxn ang="0">
                  <a:pos x="7" y="36"/>
                </a:cxn>
                <a:cxn ang="0">
                  <a:pos x="6" y="30"/>
                </a:cxn>
                <a:cxn ang="0">
                  <a:pos x="2" y="25"/>
                </a:cxn>
                <a:cxn ang="0">
                  <a:pos x="0" y="19"/>
                </a:cxn>
                <a:cxn ang="0">
                  <a:pos x="2" y="13"/>
                </a:cxn>
                <a:cxn ang="0">
                  <a:pos x="2" y="13"/>
                </a:cxn>
                <a:cxn ang="0">
                  <a:pos x="4" y="11"/>
                </a:cxn>
                <a:cxn ang="0">
                  <a:pos x="4" y="10"/>
                </a:cxn>
                <a:cxn ang="0">
                  <a:pos x="7" y="6"/>
                </a:cxn>
                <a:cxn ang="0">
                  <a:pos x="11" y="6"/>
                </a:cxn>
                <a:cxn ang="0">
                  <a:pos x="15" y="4"/>
                </a:cxn>
                <a:cxn ang="0">
                  <a:pos x="22" y="0"/>
                </a:cxn>
                <a:cxn ang="0">
                  <a:pos x="24" y="4"/>
                </a:cxn>
                <a:cxn ang="0">
                  <a:pos x="30" y="0"/>
                </a:cxn>
                <a:cxn ang="0">
                  <a:pos x="34" y="0"/>
                </a:cxn>
                <a:cxn ang="0">
                  <a:pos x="34" y="0"/>
                </a:cxn>
                <a:cxn ang="0">
                  <a:pos x="34" y="0"/>
                </a:cxn>
              </a:cxnLst>
              <a:rect l="0" t="0" r="r" b="b"/>
              <a:pathLst>
                <a:path w="47" h="38">
                  <a:moveTo>
                    <a:pt x="34" y="0"/>
                  </a:moveTo>
                  <a:lnTo>
                    <a:pt x="41" y="6"/>
                  </a:lnTo>
                  <a:lnTo>
                    <a:pt x="47" y="15"/>
                  </a:lnTo>
                  <a:lnTo>
                    <a:pt x="47" y="21"/>
                  </a:lnTo>
                  <a:lnTo>
                    <a:pt x="47" y="25"/>
                  </a:lnTo>
                  <a:lnTo>
                    <a:pt x="45" y="25"/>
                  </a:lnTo>
                  <a:lnTo>
                    <a:pt x="41" y="25"/>
                  </a:lnTo>
                  <a:lnTo>
                    <a:pt x="38" y="28"/>
                  </a:lnTo>
                  <a:lnTo>
                    <a:pt x="28" y="28"/>
                  </a:lnTo>
                  <a:lnTo>
                    <a:pt x="24" y="28"/>
                  </a:lnTo>
                  <a:lnTo>
                    <a:pt x="24" y="30"/>
                  </a:lnTo>
                  <a:lnTo>
                    <a:pt x="19" y="32"/>
                  </a:lnTo>
                  <a:lnTo>
                    <a:pt x="11" y="38"/>
                  </a:lnTo>
                  <a:lnTo>
                    <a:pt x="11" y="38"/>
                  </a:lnTo>
                  <a:lnTo>
                    <a:pt x="7" y="36"/>
                  </a:lnTo>
                  <a:lnTo>
                    <a:pt x="6" y="30"/>
                  </a:lnTo>
                  <a:lnTo>
                    <a:pt x="2" y="25"/>
                  </a:lnTo>
                  <a:lnTo>
                    <a:pt x="0" y="19"/>
                  </a:lnTo>
                  <a:lnTo>
                    <a:pt x="2" y="13"/>
                  </a:lnTo>
                  <a:lnTo>
                    <a:pt x="2" y="13"/>
                  </a:lnTo>
                  <a:lnTo>
                    <a:pt x="4" y="11"/>
                  </a:lnTo>
                  <a:lnTo>
                    <a:pt x="4" y="10"/>
                  </a:lnTo>
                  <a:lnTo>
                    <a:pt x="7" y="6"/>
                  </a:lnTo>
                  <a:lnTo>
                    <a:pt x="11" y="6"/>
                  </a:lnTo>
                  <a:lnTo>
                    <a:pt x="15" y="4"/>
                  </a:lnTo>
                  <a:lnTo>
                    <a:pt x="22" y="0"/>
                  </a:lnTo>
                  <a:lnTo>
                    <a:pt x="24" y="4"/>
                  </a:lnTo>
                  <a:lnTo>
                    <a:pt x="30" y="0"/>
                  </a:lnTo>
                  <a:lnTo>
                    <a:pt x="34" y="0"/>
                  </a:lnTo>
                  <a:lnTo>
                    <a:pt x="34" y="0"/>
                  </a:lnTo>
                  <a:lnTo>
                    <a:pt x="3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4" name="Freeform 87">
              <a:extLst>
                <a:ext uri="{FF2B5EF4-FFF2-40B4-BE49-F238E27FC236}">
                  <a16:creationId xmlns:a16="http://schemas.microsoft.com/office/drawing/2014/main" id="{C5901666-1F15-4886-8D4D-3C877F9159B0}"/>
                </a:ext>
              </a:extLst>
            </p:cNvPr>
            <p:cNvSpPr>
              <a:spLocks/>
            </p:cNvSpPr>
            <p:nvPr/>
          </p:nvSpPr>
          <p:spPr bwMode="auto">
            <a:xfrm>
              <a:off x="3112" y="2257"/>
              <a:ext cx="32" cy="63"/>
            </a:xfrm>
            <a:custGeom>
              <a:avLst/>
              <a:gdLst/>
              <a:ahLst/>
              <a:cxnLst>
                <a:cxn ang="0">
                  <a:pos x="25" y="19"/>
                </a:cxn>
                <a:cxn ang="0">
                  <a:pos x="21" y="23"/>
                </a:cxn>
                <a:cxn ang="0">
                  <a:pos x="25" y="30"/>
                </a:cxn>
                <a:cxn ang="0">
                  <a:pos x="27" y="34"/>
                </a:cxn>
                <a:cxn ang="0">
                  <a:pos x="28" y="40"/>
                </a:cxn>
                <a:cxn ang="0">
                  <a:pos x="32" y="42"/>
                </a:cxn>
                <a:cxn ang="0">
                  <a:pos x="32" y="47"/>
                </a:cxn>
                <a:cxn ang="0">
                  <a:pos x="28" y="51"/>
                </a:cxn>
                <a:cxn ang="0">
                  <a:pos x="21" y="53"/>
                </a:cxn>
                <a:cxn ang="0">
                  <a:pos x="21" y="59"/>
                </a:cxn>
                <a:cxn ang="0">
                  <a:pos x="19" y="63"/>
                </a:cxn>
                <a:cxn ang="0">
                  <a:pos x="17" y="63"/>
                </a:cxn>
                <a:cxn ang="0">
                  <a:pos x="13" y="63"/>
                </a:cxn>
                <a:cxn ang="0">
                  <a:pos x="10" y="53"/>
                </a:cxn>
                <a:cxn ang="0">
                  <a:pos x="2" y="53"/>
                </a:cxn>
                <a:cxn ang="0">
                  <a:pos x="2" y="51"/>
                </a:cxn>
                <a:cxn ang="0">
                  <a:pos x="2" y="47"/>
                </a:cxn>
                <a:cxn ang="0">
                  <a:pos x="2" y="46"/>
                </a:cxn>
                <a:cxn ang="0">
                  <a:pos x="2" y="40"/>
                </a:cxn>
                <a:cxn ang="0">
                  <a:pos x="2" y="36"/>
                </a:cxn>
                <a:cxn ang="0">
                  <a:pos x="2" y="30"/>
                </a:cxn>
                <a:cxn ang="0">
                  <a:pos x="2" y="23"/>
                </a:cxn>
                <a:cxn ang="0">
                  <a:pos x="6" y="23"/>
                </a:cxn>
                <a:cxn ang="0">
                  <a:pos x="6" y="19"/>
                </a:cxn>
                <a:cxn ang="0">
                  <a:pos x="0" y="15"/>
                </a:cxn>
                <a:cxn ang="0">
                  <a:pos x="0" y="10"/>
                </a:cxn>
                <a:cxn ang="0">
                  <a:pos x="2" y="4"/>
                </a:cxn>
                <a:cxn ang="0">
                  <a:pos x="6" y="0"/>
                </a:cxn>
                <a:cxn ang="0">
                  <a:pos x="6" y="0"/>
                </a:cxn>
                <a:cxn ang="0">
                  <a:pos x="10" y="4"/>
                </a:cxn>
                <a:cxn ang="0">
                  <a:pos x="11" y="0"/>
                </a:cxn>
                <a:cxn ang="0">
                  <a:pos x="13" y="0"/>
                </a:cxn>
                <a:cxn ang="0">
                  <a:pos x="13" y="0"/>
                </a:cxn>
                <a:cxn ang="0">
                  <a:pos x="17" y="4"/>
                </a:cxn>
                <a:cxn ang="0">
                  <a:pos x="19" y="6"/>
                </a:cxn>
                <a:cxn ang="0">
                  <a:pos x="21" y="8"/>
                </a:cxn>
                <a:cxn ang="0">
                  <a:pos x="21" y="10"/>
                </a:cxn>
                <a:cxn ang="0">
                  <a:pos x="21" y="15"/>
                </a:cxn>
                <a:cxn ang="0">
                  <a:pos x="25" y="19"/>
                </a:cxn>
                <a:cxn ang="0">
                  <a:pos x="25" y="19"/>
                </a:cxn>
                <a:cxn ang="0">
                  <a:pos x="25" y="19"/>
                </a:cxn>
              </a:cxnLst>
              <a:rect l="0" t="0" r="r" b="b"/>
              <a:pathLst>
                <a:path w="32" h="63">
                  <a:moveTo>
                    <a:pt x="25" y="19"/>
                  </a:moveTo>
                  <a:lnTo>
                    <a:pt x="21" y="23"/>
                  </a:lnTo>
                  <a:lnTo>
                    <a:pt x="25" y="30"/>
                  </a:lnTo>
                  <a:lnTo>
                    <a:pt x="27" y="34"/>
                  </a:lnTo>
                  <a:lnTo>
                    <a:pt x="28" y="40"/>
                  </a:lnTo>
                  <a:lnTo>
                    <a:pt x="32" y="42"/>
                  </a:lnTo>
                  <a:lnTo>
                    <a:pt x="32" y="47"/>
                  </a:lnTo>
                  <a:lnTo>
                    <a:pt x="28" y="51"/>
                  </a:lnTo>
                  <a:lnTo>
                    <a:pt x="21" y="53"/>
                  </a:lnTo>
                  <a:lnTo>
                    <a:pt x="21" y="59"/>
                  </a:lnTo>
                  <a:lnTo>
                    <a:pt x="19" y="63"/>
                  </a:lnTo>
                  <a:lnTo>
                    <a:pt x="17" y="63"/>
                  </a:lnTo>
                  <a:lnTo>
                    <a:pt x="13" y="63"/>
                  </a:lnTo>
                  <a:lnTo>
                    <a:pt x="10" y="53"/>
                  </a:lnTo>
                  <a:lnTo>
                    <a:pt x="2" y="53"/>
                  </a:lnTo>
                  <a:lnTo>
                    <a:pt x="2" y="51"/>
                  </a:lnTo>
                  <a:lnTo>
                    <a:pt x="2" y="47"/>
                  </a:lnTo>
                  <a:lnTo>
                    <a:pt x="2" y="46"/>
                  </a:lnTo>
                  <a:lnTo>
                    <a:pt x="2" y="40"/>
                  </a:lnTo>
                  <a:lnTo>
                    <a:pt x="2" y="36"/>
                  </a:lnTo>
                  <a:lnTo>
                    <a:pt x="2" y="30"/>
                  </a:lnTo>
                  <a:lnTo>
                    <a:pt x="2" y="23"/>
                  </a:lnTo>
                  <a:lnTo>
                    <a:pt x="6" y="23"/>
                  </a:lnTo>
                  <a:lnTo>
                    <a:pt x="6" y="19"/>
                  </a:lnTo>
                  <a:lnTo>
                    <a:pt x="0" y="15"/>
                  </a:lnTo>
                  <a:lnTo>
                    <a:pt x="0" y="10"/>
                  </a:lnTo>
                  <a:lnTo>
                    <a:pt x="2" y="4"/>
                  </a:lnTo>
                  <a:lnTo>
                    <a:pt x="6" y="0"/>
                  </a:lnTo>
                  <a:lnTo>
                    <a:pt x="6" y="0"/>
                  </a:lnTo>
                  <a:lnTo>
                    <a:pt x="10" y="4"/>
                  </a:lnTo>
                  <a:lnTo>
                    <a:pt x="11" y="0"/>
                  </a:lnTo>
                  <a:lnTo>
                    <a:pt x="13" y="0"/>
                  </a:lnTo>
                  <a:lnTo>
                    <a:pt x="13" y="0"/>
                  </a:lnTo>
                  <a:lnTo>
                    <a:pt x="17" y="4"/>
                  </a:lnTo>
                  <a:lnTo>
                    <a:pt x="19" y="6"/>
                  </a:lnTo>
                  <a:lnTo>
                    <a:pt x="21" y="8"/>
                  </a:lnTo>
                  <a:lnTo>
                    <a:pt x="21" y="10"/>
                  </a:lnTo>
                  <a:lnTo>
                    <a:pt x="21" y="15"/>
                  </a:lnTo>
                  <a:lnTo>
                    <a:pt x="25" y="19"/>
                  </a:lnTo>
                  <a:lnTo>
                    <a:pt x="25" y="19"/>
                  </a:lnTo>
                  <a:lnTo>
                    <a:pt x="25"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5" name="Freeform 88">
              <a:extLst>
                <a:ext uri="{FF2B5EF4-FFF2-40B4-BE49-F238E27FC236}">
                  <a16:creationId xmlns:a16="http://schemas.microsoft.com/office/drawing/2014/main" id="{E250DF13-466D-4A2B-8D1C-A40C45772FAE}"/>
                </a:ext>
              </a:extLst>
            </p:cNvPr>
            <p:cNvSpPr>
              <a:spLocks/>
            </p:cNvSpPr>
            <p:nvPr/>
          </p:nvSpPr>
          <p:spPr bwMode="auto">
            <a:xfrm>
              <a:off x="3101" y="2178"/>
              <a:ext cx="73" cy="94"/>
            </a:xfrm>
            <a:custGeom>
              <a:avLst/>
              <a:gdLst/>
              <a:ahLst/>
              <a:cxnLst>
                <a:cxn ang="0">
                  <a:pos x="2" y="6"/>
                </a:cxn>
                <a:cxn ang="0">
                  <a:pos x="9" y="4"/>
                </a:cxn>
                <a:cxn ang="0">
                  <a:pos x="15" y="0"/>
                </a:cxn>
                <a:cxn ang="0">
                  <a:pos x="21" y="0"/>
                </a:cxn>
                <a:cxn ang="0">
                  <a:pos x="28" y="4"/>
                </a:cxn>
                <a:cxn ang="0">
                  <a:pos x="36" y="15"/>
                </a:cxn>
                <a:cxn ang="0">
                  <a:pos x="45" y="21"/>
                </a:cxn>
                <a:cxn ang="0">
                  <a:pos x="45" y="27"/>
                </a:cxn>
                <a:cxn ang="0">
                  <a:pos x="53" y="32"/>
                </a:cxn>
                <a:cxn ang="0">
                  <a:pos x="58" y="34"/>
                </a:cxn>
                <a:cxn ang="0">
                  <a:pos x="70" y="30"/>
                </a:cxn>
                <a:cxn ang="0">
                  <a:pos x="66" y="38"/>
                </a:cxn>
                <a:cxn ang="0">
                  <a:pos x="66" y="47"/>
                </a:cxn>
                <a:cxn ang="0">
                  <a:pos x="73" y="59"/>
                </a:cxn>
                <a:cxn ang="0">
                  <a:pos x="73" y="66"/>
                </a:cxn>
                <a:cxn ang="0">
                  <a:pos x="68" y="76"/>
                </a:cxn>
                <a:cxn ang="0">
                  <a:pos x="70" y="81"/>
                </a:cxn>
                <a:cxn ang="0">
                  <a:pos x="60" y="85"/>
                </a:cxn>
                <a:cxn ang="0">
                  <a:pos x="49" y="85"/>
                </a:cxn>
                <a:cxn ang="0">
                  <a:pos x="43" y="87"/>
                </a:cxn>
                <a:cxn ang="0">
                  <a:pos x="39" y="93"/>
                </a:cxn>
                <a:cxn ang="0">
                  <a:pos x="36" y="93"/>
                </a:cxn>
                <a:cxn ang="0">
                  <a:pos x="36" y="85"/>
                </a:cxn>
                <a:cxn ang="0">
                  <a:pos x="30" y="81"/>
                </a:cxn>
                <a:cxn ang="0">
                  <a:pos x="28" y="76"/>
                </a:cxn>
                <a:cxn ang="0">
                  <a:pos x="28" y="72"/>
                </a:cxn>
                <a:cxn ang="0">
                  <a:pos x="24" y="66"/>
                </a:cxn>
                <a:cxn ang="0">
                  <a:pos x="19" y="66"/>
                </a:cxn>
                <a:cxn ang="0">
                  <a:pos x="15" y="61"/>
                </a:cxn>
                <a:cxn ang="0">
                  <a:pos x="13" y="55"/>
                </a:cxn>
                <a:cxn ang="0">
                  <a:pos x="9" y="47"/>
                </a:cxn>
                <a:cxn ang="0">
                  <a:pos x="15" y="47"/>
                </a:cxn>
                <a:cxn ang="0">
                  <a:pos x="13" y="44"/>
                </a:cxn>
                <a:cxn ang="0">
                  <a:pos x="6" y="38"/>
                </a:cxn>
                <a:cxn ang="0">
                  <a:pos x="9" y="32"/>
                </a:cxn>
                <a:cxn ang="0">
                  <a:pos x="7" y="27"/>
                </a:cxn>
                <a:cxn ang="0">
                  <a:pos x="4" y="27"/>
                </a:cxn>
                <a:cxn ang="0">
                  <a:pos x="7" y="21"/>
                </a:cxn>
                <a:cxn ang="0">
                  <a:pos x="9" y="21"/>
                </a:cxn>
                <a:cxn ang="0">
                  <a:pos x="4" y="19"/>
                </a:cxn>
                <a:cxn ang="0">
                  <a:pos x="0" y="8"/>
                </a:cxn>
                <a:cxn ang="0">
                  <a:pos x="0" y="8"/>
                </a:cxn>
              </a:cxnLst>
              <a:rect l="0" t="0" r="r" b="b"/>
              <a:pathLst>
                <a:path w="73" h="94">
                  <a:moveTo>
                    <a:pt x="0" y="8"/>
                  </a:moveTo>
                  <a:lnTo>
                    <a:pt x="2" y="6"/>
                  </a:lnTo>
                  <a:lnTo>
                    <a:pt x="7" y="4"/>
                  </a:lnTo>
                  <a:lnTo>
                    <a:pt x="9" y="4"/>
                  </a:lnTo>
                  <a:lnTo>
                    <a:pt x="11" y="2"/>
                  </a:lnTo>
                  <a:lnTo>
                    <a:pt x="15" y="0"/>
                  </a:lnTo>
                  <a:lnTo>
                    <a:pt x="19" y="0"/>
                  </a:lnTo>
                  <a:lnTo>
                    <a:pt x="21" y="0"/>
                  </a:lnTo>
                  <a:lnTo>
                    <a:pt x="28" y="2"/>
                  </a:lnTo>
                  <a:lnTo>
                    <a:pt x="28" y="4"/>
                  </a:lnTo>
                  <a:lnTo>
                    <a:pt x="36" y="12"/>
                  </a:lnTo>
                  <a:lnTo>
                    <a:pt x="36" y="15"/>
                  </a:lnTo>
                  <a:lnTo>
                    <a:pt x="41" y="15"/>
                  </a:lnTo>
                  <a:lnTo>
                    <a:pt x="45" y="21"/>
                  </a:lnTo>
                  <a:lnTo>
                    <a:pt x="45" y="25"/>
                  </a:lnTo>
                  <a:lnTo>
                    <a:pt x="45" y="27"/>
                  </a:lnTo>
                  <a:lnTo>
                    <a:pt x="49" y="28"/>
                  </a:lnTo>
                  <a:lnTo>
                    <a:pt x="53" y="32"/>
                  </a:lnTo>
                  <a:lnTo>
                    <a:pt x="58" y="30"/>
                  </a:lnTo>
                  <a:lnTo>
                    <a:pt x="58" y="34"/>
                  </a:lnTo>
                  <a:lnTo>
                    <a:pt x="62" y="28"/>
                  </a:lnTo>
                  <a:lnTo>
                    <a:pt x="70" y="30"/>
                  </a:lnTo>
                  <a:lnTo>
                    <a:pt x="66" y="34"/>
                  </a:lnTo>
                  <a:lnTo>
                    <a:pt x="66" y="38"/>
                  </a:lnTo>
                  <a:lnTo>
                    <a:pt x="68" y="44"/>
                  </a:lnTo>
                  <a:lnTo>
                    <a:pt x="66" y="47"/>
                  </a:lnTo>
                  <a:lnTo>
                    <a:pt x="68" y="53"/>
                  </a:lnTo>
                  <a:lnTo>
                    <a:pt x="73" y="59"/>
                  </a:lnTo>
                  <a:lnTo>
                    <a:pt x="73" y="62"/>
                  </a:lnTo>
                  <a:lnTo>
                    <a:pt x="73" y="66"/>
                  </a:lnTo>
                  <a:lnTo>
                    <a:pt x="68" y="72"/>
                  </a:lnTo>
                  <a:lnTo>
                    <a:pt x="68" y="76"/>
                  </a:lnTo>
                  <a:lnTo>
                    <a:pt x="70" y="79"/>
                  </a:lnTo>
                  <a:lnTo>
                    <a:pt x="70" y="81"/>
                  </a:lnTo>
                  <a:lnTo>
                    <a:pt x="66" y="81"/>
                  </a:lnTo>
                  <a:lnTo>
                    <a:pt x="60" y="85"/>
                  </a:lnTo>
                  <a:lnTo>
                    <a:pt x="58" y="81"/>
                  </a:lnTo>
                  <a:lnTo>
                    <a:pt x="49" y="85"/>
                  </a:lnTo>
                  <a:lnTo>
                    <a:pt x="45" y="85"/>
                  </a:lnTo>
                  <a:lnTo>
                    <a:pt x="43" y="87"/>
                  </a:lnTo>
                  <a:lnTo>
                    <a:pt x="39" y="89"/>
                  </a:lnTo>
                  <a:lnTo>
                    <a:pt x="39" y="93"/>
                  </a:lnTo>
                  <a:lnTo>
                    <a:pt x="38" y="94"/>
                  </a:lnTo>
                  <a:lnTo>
                    <a:pt x="36" y="93"/>
                  </a:lnTo>
                  <a:lnTo>
                    <a:pt x="36" y="85"/>
                  </a:lnTo>
                  <a:lnTo>
                    <a:pt x="36" y="85"/>
                  </a:lnTo>
                  <a:lnTo>
                    <a:pt x="32" y="81"/>
                  </a:lnTo>
                  <a:lnTo>
                    <a:pt x="30" y="81"/>
                  </a:lnTo>
                  <a:lnTo>
                    <a:pt x="28" y="77"/>
                  </a:lnTo>
                  <a:lnTo>
                    <a:pt x="28" y="76"/>
                  </a:lnTo>
                  <a:lnTo>
                    <a:pt x="28" y="74"/>
                  </a:lnTo>
                  <a:lnTo>
                    <a:pt x="28" y="72"/>
                  </a:lnTo>
                  <a:lnTo>
                    <a:pt x="28" y="68"/>
                  </a:lnTo>
                  <a:lnTo>
                    <a:pt x="24" y="66"/>
                  </a:lnTo>
                  <a:lnTo>
                    <a:pt x="21" y="66"/>
                  </a:lnTo>
                  <a:lnTo>
                    <a:pt x="19" y="66"/>
                  </a:lnTo>
                  <a:lnTo>
                    <a:pt x="15" y="62"/>
                  </a:lnTo>
                  <a:lnTo>
                    <a:pt x="15" y="61"/>
                  </a:lnTo>
                  <a:lnTo>
                    <a:pt x="11" y="57"/>
                  </a:lnTo>
                  <a:lnTo>
                    <a:pt x="13" y="55"/>
                  </a:lnTo>
                  <a:lnTo>
                    <a:pt x="9" y="49"/>
                  </a:lnTo>
                  <a:lnTo>
                    <a:pt x="9" y="47"/>
                  </a:lnTo>
                  <a:lnTo>
                    <a:pt x="11" y="44"/>
                  </a:lnTo>
                  <a:lnTo>
                    <a:pt x="15" y="47"/>
                  </a:lnTo>
                  <a:lnTo>
                    <a:pt x="15" y="44"/>
                  </a:lnTo>
                  <a:lnTo>
                    <a:pt x="13" y="44"/>
                  </a:lnTo>
                  <a:lnTo>
                    <a:pt x="11" y="44"/>
                  </a:lnTo>
                  <a:lnTo>
                    <a:pt x="6" y="38"/>
                  </a:lnTo>
                  <a:lnTo>
                    <a:pt x="4" y="38"/>
                  </a:lnTo>
                  <a:lnTo>
                    <a:pt x="9" y="32"/>
                  </a:lnTo>
                  <a:lnTo>
                    <a:pt x="9" y="27"/>
                  </a:lnTo>
                  <a:lnTo>
                    <a:pt x="7" y="27"/>
                  </a:lnTo>
                  <a:lnTo>
                    <a:pt x="6" y="28"/>
                  </a:lnTo>
                  <a:lnTo>
                    <a:pt x="4" y="27"/>
                  </a:lnTo>
                  <a:lnTo>
                    <a:pt x="4" y="23"/>
                  </a:lnTo>
                  <a:lnTo>
                    <a:pt x="7" y="21"/>
                  </a:lnTo>
                  <a:lnTo>
                    <a:pt x="9" y="21"/>
                  </a:lnTo>
                  <a:lnTo>
                    <a:pt x="9" y="21"/>
                  </a:lnTo>
                  <a:lnTo>
                    <a:pt x="6" y="19"/>
                  </a:lnTo>
                  <a:lnTo>
                    <a:pt x="4" y="19"/>
                  </a:lnTo>
                  <a:lnTo>
                    <a:pt x="2" y="15"/>
                  </a:lnTo>
                  <a:lnTo>
                    <a:pt x="0" y="8"/>
                  </a:lnTo>
                  <a:lnTo>
                    <a:pt x="0" y="8"/>
                  </a:lnTo>
                  <a:lnTo>
                    <a:pt x="0" y="8"/>
                  </a:lnTo>
                  <a:lnTo>
                    <a:pt x="0"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6" name="Freeform 89">
              <a:extLst>
                <a:ext uri="{FF2B5EF4-FFF2-40B4-BE49-F238E27FC236}">
                  <a16:creationId xmlns:a16="http://schemas.microsoft.com/office/drawing/2014/main" id="{6467E3B4-0185-4AF7-8D10-1F93E94E67A0}"/>
                </a:ext>
              </a:extLst>
            </p:cNvPr>
            <p:cNvSpPr>
              <a:spLocks/>
            </p:cNvSpPr>
            <p:nvPr/>
          </p:nvSpPr>
          <p:spPr bwMode="auto">
            <a:xfrm>
              <a:off x="3095" y="2231"/>
              <a:ext cx="32" cy="41"/>
            </a:xfrm>
            <a:custGeom>
              <a:avLst/>
              <a:gdLst/>
              <a:ahLst/>
              <a:cxnLst>
                <a:cxn ang="0">
                  <a:pos x="17" y="41"/>
                </a:cxn>
                <a:cxn ang="0">
                  <a:pos x="17" y="34"/>
                </a:cxn>
                <a:cxn ang="0">
                  <a:pos x="19" y="30"/>
                </a:cxn>
                <a:cxn ang="0">
                  <a:pos x="25" y="24"/>
                </a:cxn>
                <a:cxn ang="0">
                  <a:pos x="25" y="24"/>
                </a:cxn>
                <a:cxn ang="0">
                  <a:pos x="28" y="30"/>
                </a:cxn>
                <a:cxn ang="0">
                  <a:pos x="28" y="24"/>
                </a:cxn>
                <a:cxn ang="0">
                  <a:pos x="32" y="23"/>
                </a:cxn>
                <a:cxn ang="0">
                  <a:pos x="32" y="19"/>
                </a:cxn>
                <a:cxn ang="0">
                  <a:pos x="32" y="15"/>
                </a:cxn>
                <a:cxn ang="0">
                  <a:pos x="28" y="15"/>
                </a:cxn>
                <a:cxn ang="0">
                  <a:pos x="25" y="13"/>
                </a:cxn>
                <a:cxn ang="0">
                  <a:pos x="23" y="13"/>
                </a:cxn>
                <a:cxn ang="0">
                  <a:pos x="21" y="9"/>
                </a:cxn>
                <a:cxn ang="0">
                  <a:pos x="21" y="8"/>
                </a:cxn>
                <a:cxn ang="0">
                  <a:pos x="15" y="4"/>
                </a:cxn>
                <a:cxn ang="0">
                  <a:pos x="15" y="4"/>
                </a:cxn>
                <a:cxn ang="0">
                  <a:pos x="13" y="2"/>
                </a:cxn>
                <a:cxn ang="0">
                  <a:pos x="8" y="0"/>
                </a:cxn>
                <a:cxn ang="0">
                  <a:pos x="6" y="2"/>
                </a:cxn>
                <a:cxn ang="0">
                  <a:pos x="6" y="4"/>
                </a:cxn>
                <a:cxn ang="0">
                  <a:pos x="10" y="8"/>
                </a:cxn>
                <a:cxn ang="0">
                  <a:pos x="12" y="9"/>
                </a:cxn>
                <a:cxn ang="0">
                  <a:pos x="8" y="9"/>
                </a:cxn>
                <a:cxn ang="0">
                  <a:pos x="6" y="9"/>
                </a:cxn>
                <a:cxn ang="0">
                  <a:pos x="4" y="15"/>
                </a:cxn>
                <a:cxn ang="0">
                  <a:pos x="4" y="19"/>
                </a:cxn>
                <a:cxn ang="0">
                  <a:pos x="4" y="24"/>
                </a:cxn>
                <a:cxn ang="0">
                  <a:pos x="0" y="24"/>
                </a:cxn>
                <a:cxn ang="0">
                  <a:pos x="0" y="28"/>
                </a:cxn>
                <a:cxn ang="0">
                  <a:pos x="4" y="30"/>
                </a:cxn>
                <a:cxn ang="0">
                  <a:pos x="12" y="40"/>
                </a:cxn>
                <a:cxn ang="0">
                  <a:pos x="13" y="40"/>
                </a:cxn>
                <a:cxn ang="0">
                  <a:pos x="17" y="41"/>
                </a:cxn>
                <a:cxn ang="0">
                  <a:pos x="17" y="41"/>
                </a:cxn>
                <a:cxn ang="0">
                  <a:pos x="17" y="41"/>
                </a:cxn>
              </a:cxnLst>
              <a:rect l="0" t="0" r="r" b="b"/>
              <a:pathLst>
                <a:path w="32" h="41">
                  <a:moveTo>
                    <a:pt x="17" y="41"/>
                  </a:moveTo>
                  <a:lnTo>
                    <a:pt x="17" y="34"/>
                  </a:lnTo>
                  <a:lnTo>
                    <a:pt x="19" y="30"/>
                  </a:lnTo>
                  <a:lnTo>
                    <a:pt x="25" y="24"/>
                  </a:lnTo>
                  <a:lnTo>
                    <a:pt x="25" y="24"/>
                  </a:lnTo>
                  <a:lnTo>
                    <a:pt x="28" y="30"/>
                  </a:lnTo>
                  <a:lnTo>
                    <a:pt x="28" y="24"/>
                  </a:lnTo>
                  <a:lnTo>
                    <a:pt x="32" y="23"/>
                  </a:lnTo>
                  <a:lnTo>
                    <a:pt x="32" y="19"/>
                  </a:lnTo>
                  <a:lnTo>
                    <a:pt x="32" y="15"/>
                  </a:lnTo>
                  <a:lnTo>
                    <a:pt x="28" y="15"/>
                  </a:lnTo>
                  <a:lnTo>
                    <a:pt x="25" y="13"/>
                  </a:lnTo>
                  <a:lnTo>
                    <a:pt x="23" y="13"/>
                  </a:lnTo>
                  <a:lnTo>
                    <a:pt x="21" y="9"/>
                  </a:lnTo>
                  <a:lnTo>
                    <a:pt x="21" y="8"/>
                  </a:lnTo>
                  <a:lnTo>
                    <a:pt x="15" y="4"/>
                  </a:lnTo>
                  <a:lnTo>
                    <a:pt x="15" y="4"/>
                  </a:lnTo>
                  <a:lnTo>
                    <a:pt x="13" y="2"/>
                  </a:lnTo>
                  <a:lnTo>
                    <a:pt x="8" y="0"/>
                  </a:lnTo>
                  <a:lnTo>
                    <a:pt x="6" y="2"/>
                  </a:lnTo>
                  <a:lnTo>
                    <a:pt x="6" y="4"/>
                  </a:lnTo>
                  <a:lnTo>
                    <a:pt x="10" y="8"/>
                  </a:lnTo>
                  <a:lnTo>
                    <a:pt x="12" y="9"/>
                  </a:lnTo>
                  <a:lnTo>
                    <a:pt x="8" y="9"/>
                  </a:lnTo>
                  <a:lnTo>
                    <a:pt x="6" y="9"/>
                  </a:lnTo>
                  <a:lnTo>
                    <a:pt x="4" y="15"/>
                  </a:lnTo>
                  <a:lnTo>
                    <a:pt x="4" y="19"/>
                  </a:lnTo>
                  <a:lnTo>
                    <a:pt x="4" y="24"/>
                  </a:lnTo>
                  <a:lnTo>
                    <a:pt x="0" y="24"/>
                  </a:lnTo>
                  <a:lnTo>
                    <a:pt x="0" y="28"/>
                  </a:lnTo>
                  <a:lnTo>
                    <a:pt x="4" y="30"/>
                  </a:lnTo>
                  <a:lnTo>
                    <a:pt x="12" y="40"/>
                  </a:lnTo>
                  <a:lnTo>
                    <a:pt x="13" y="40"/>
                  </a:lnTo>
                  <a:lnTo>
                    <a:pt x="17" y="41"/>
                  </a:lnTo>
                  <a:lnTo>
                    <a:pt x="17" y="41"/>
                  </a:lnTo>
                  <a:lnTo>
                    <a:pt x="17" y="4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7" name="Freeform 90">
              <a:extLst>
                <a:ext uri="{FF2B5EF4-FFF2-40B4-BE49-F238E27FC236}">
                  <a16:creationId xmlns:a16="http://schemas.microsoft.com/office/drawing/2014/main" id="{41EE5843-86A3-40C1-8357-A4572338F71E}"/>
                </a:ext>
              </a:extLst>
            </p:cNvPr>
            <p:cNvSpPr>
              <a:spLocks noEditPoints="1"/>
            </p:cNvSpPr>
            <p:nvPr/>
          </p:nvSpPr>
          <p:spPr bwMode="auto">
            <a:xfrm>
              <a:off x="3007" y="2173"/>
              <a:ext cx="100" cy="79"/>
            </a:xfrm>
            <a:custGeom>
              <a:avLst/>
              <a:gdLst/>
              <a:ahLst/>
              <a:cxnLst>
                <a:cxn ang="0">
                  <a:pos x="98" y="26"/>
                </a:cxn>
                <a:cxn ang="0">
                  <a:pos x="96" y="24"/>
                </a:cxn>
                <a:cxn ang="0">
                  <a:pos x="90" y="13"/>
                </a:cxn>
                <a:cxn ang="0">
                  <a:pos x="79" y="13"/>
                </a:cxn>
                <a:cxn ang="0">
                  <a:pos x="62" y="5"/>
                </a:cxn>
                <a:cxn ang="0">
                  <a:pos x="52" y="0"/>
                </a:cxn>
                <a:cxn ang="0">
                  <a:pos x="32" y="13"/>
                </a:cxn>
                <a:cxn ang="0">
                  <a:pos x="20" y="20"/>
                </a:cxn>
                <a:cxn ang="0">
                  <a:pos x="7" y="22"/>
                </a:cxn>
                <a:cxn ang="0">
                  <a:pos x="2" y="30"/>
                </a:cxn>
                <a:cxn ang="0">
                  <a:pos x="7" y="37"/>
                </a:cxn>
                <a:cxn ang="0">
                  <a:pos x="13" y="22"/>
                </a:cxn>
                <a:cxn ang="0">
                  <a:pos x="22" y="30"/>
                </a:cxn>
                <a:cxn ang="0">
                  <a:pos x="34" y="45"/>
                </a:cxn>
                <a:cxn ang="0">
                  <a:pos x="36" y="49"/>
                </a:cxn>
                <a:cxn ang="0">
                  <a:pos x="32" y="54"/>
                </a:cxn>
                <a:cxn ang="0">
                  <a:pos x="43" y="60"/>
                </a:cxn>
                <a:cxn ang="0">
                  <a:pos x="51" y="66"/>
                </a:cxn>
                <a:cxn ang="0">
                  <a:pos x="71" y="75"/>
                </a:cxn>
                <a:cxn ang="0">
                  <a:pos x="68" y="79"/>
                </a:cxn>
                <a:cxn ang="0">
                  <a:pos x="73" y="75"/>
                </a:cxn>
                <a:cxn ang="0">
                  <a:pos x="45" y="45"/>
                </a:cxn>
                <a:cxn ang="0">
                  <a:pos x="43" y="39"/>
                </a:cxn>
                <a:cxn ang="0">
                  <a:pos x="37" y="32"/>
                </a:cxn>
                <a:cxn ang="0">
                  <a:pos x="41" y="22"/>
                </a:cxn>
                <a:cxn ang="0">
                  <a:pos x="47" y="28"/>
                </a:cxn>
                <a:cxn ang="0">
                  <a:pos x="54" y="26"/>
                </a:cxn>
                <a:cxn ang="0">
                  <a:pos x="60" y="24"/>
                </a:cxn>
                <a:cxn ang="0">
                  <a:pos x="66" y="26"/>
                </a:cxn>
                <a:cxn ang="0">
                  <a:pos x="75" y="26"/>
                </a:cxn>
                <a:cxn ang="0">
                  <a:pos x="86" y="28"/>
                </a:cxn>
                <a:cxn ang="0">
                  <a:pos x="94" y="32"/>
                </a:cxn>
                <a:cxn ang="0">
                  <a:pos x="94" y="32"/>
                </a:cxn>
                <a:cxn ang="0">
                  <a:pos x="62" y="75"/>
                </a:cxn>
                <a:cxn ang="0">
                  <a:pos x="56" y="75"/>
                </a:cxn>
                <a:cxn ang="0">
                  <a:pos x="56" y="75"/>
                </a:cxn>
                <a:cxn ang="0">
                  <a:pos x="58" y="75"/>
                </a:cxn>
                <a:cxn ang="0">
                  <a:pos x="52" y="71"/>
                </a:cxn>
                <a:cxn ang="0">
                  <a:pos x="60" y="67"/>
                </a:cxn>
                <a:cxn ang="0">
                  <a:pos x="54" y="69"/>
                </a:cxn>
                <a:cxn ang="0">
                  <a:pos x="52" y="67"/>
                </a:cxn>
                <a:cxn ang="0">
                  <a:pos x="28" y="45"/>
                </a:cxn>
                <a:cxn ang="0">
                  <a:pos x="26" y="45"/>
                </a:cxn>
                <a:cxn ang="0">
                  <a:pos x="26" y="45"/>
                </a:cxn>
                <a:cxn ang="0">
                  <a:pos x="22" y="41"/>
                </a:cxn>
                <a:cxn ang="0">
                  <a:pos x="22" y="39"/>
                </a:cxn>
                <a:cxn ang="0">
                  <a:pos x="28" y="54"/>
                </a:cxn>
                <a:cxn ang="0">
                  <a:pos x="24" y="49"/>
                </a:cxn>
                <a:cxn ang="0">
                  <a:pos x="19" y="45"/>
                </a:cxn>
                <a:cxn ang="0">
                  <a:pos x="19" y="45"/>
                </a:cxn>
                <a:cxn ang="0">
                  <a:pos x="19" y="45"/>
                </a:cxn>
                <a:cxn ang="0">
                  <a:pos x="19" y="43"/>
                </a:cxn>
                <a:cxn ang="0">
                  <a:pos x="17" y="37"/>
                </a:cxn>
                <a:cxn ang="0">
                  <a:pos x="13" y="33"/>
                </a:cxn>
                <a:cxn ang="0">
                  <a:pos x="20" y="33"/>
                </a:cxn>
                <a:cxn ang="0">
                  <a:pos x="13" y="33"/>
                </a:cxn>
                <a:cxn ang="0">
                  <a:pos x="17" y="26"/>
                </a:cxn>
                <a:cxn ang="0">
                  <a:pos x="17" y="26"/>
                </a:cxn>
              </a:cxnLst>
              <a:rect l="0" t="0" r="r" b="b"/>
              <a:pathLst>
                <a:path w="100" h="79">
                  <a:moveTo>
                    <a:pt x="94" y="32"/>
                  </a:moveTo>
                  <a:lnTo>
                    <a:pt x="94" y="28"/>
                  </a:lnTo>
                  <a:lnTo>
                    <a:pt x="98" y="26"/>
                  </a:lnTo>
                  <a:lnTo>
                    <a:pt x="100" y="26"/>
                  </a:lnTo>
                  <a:lnTo>
                    <a:pt x="100" y="26"/>
                  </a:lnTo>
                  <a:lnTo>
                    <a:pt x="96" y="24"/>
                  </a:lnTo>
                  <a:lnTo>
                    <a:pt x="94" y="22"/>
                  </a:lnTo>
                  <a:lnTo>
                    <a:pt x="92" y="18"/>
                  </a:lnTo>
                  <a:lnTo>
                    <a:pt x="90" y="13"/>
                  </a:lnTo>
                  <a:lnTo>
                    <a:pt x="90" y="13"/>
                  </a:lnTo>
                  <a:lnTo>
                    <a:pt x="86" y="15"/>
                  </a:lnTo>
                  <a:lnTo>
                    <a:pt x="79" y="13"/>
                  </a:lnTo>
                  <a:lnTo>
                    <a:pt x="69" y="13"/>
                  </a:lnTo>
                  <a:lnTo>
                    <a:pt x="66" y="9"/>
                  </a:lnTo>
                  <a:lnTo>
                    <a:pt x="62" y="5"/>
                  </a:lnTo>
                  <a:lnTo>
                    <a:pt x="54" y="0"/>
                  </a:lnTo>
                  <a:lnTo>
                    <a:pt x="52" y="0"/>
                  </a:lnTo>
                  <a:lnTo>
                    <a:pt x="52" y="0"/>
                  </a:lnTo>
                  <a:lnTo>
                    <a:pt x="43" y="0"/>
                  </a:lnTo>
                  <a:lnTo>
                    <a:pt x="34" y="5"/>
                  </a:lnTo>
                  <a:lnTo>
                    <a:pt x="32" y="13"/>
                  </a:lnTo>
                  <a:lnTo>
                    <a:pt x="26" y="13"/>
                  </a:lnTo>
                  <a:lnTo>
                    <a:pt x="24" y="20"/>
                  </a:lnTo>
                  <a:lnTo>
                    <a:pt x="20" y="20"/>
                  </a:lnTo>
                  <a:lnTo>
                    <a:pt x="13" y="18"/>
                  </a:lnTo>
                  <a:lnTo>
                    <a:pt x="11" y="18"/>
                  </a:lnTo>
                  <a:lnTo>
                    <a:pt x="7" y="22"/>
                  </a:lnTo>
                  <a:lnTo>
                    <a:pt x="0" y="22"/>
                  </a:lnTo>
                  <a:lnTo>
                    <a:pt x="0" y="22"/>
                  </a:lnTo>
                  <a:lnTo>
                    <a:pt x="2" y="30"/>
                  </a:lnTo>
                  <a:lnTo>
                    <a:pt x="5" y="35"/>
                  </a:lnTo>
                  <a:lnTo>
                    <a:pt x="5" y="35"/>
                  </a:lnTo>
                  <a:lnTo>
                    <a:pt x="7" y="37"/>
                  </a:lnTo>
                  <a:lnTo>
                    <a:pt x="11" y="30"/>
                  </a:lnTo>
                  <a:lnTo>
                    <a:pt x="13" y="26"/>
                  </a:lnTo>
                  <a:lnTo>
                    <a:pt x="13" y="22"/>
                  </a:lnTo>
                  <a:lnTo>
                    <a:pt x="19" y="22"/>
                  </a:lnTo>
                  <a:lnTo>
                    <a:pt x="19" y="26"/>
                  </a:lnTo>
                  <a:lnTo>
                    <a:pt x="22" y="30"/>
                  </a:lnTo>
                  <a:lnTo>
                    <a:pt x="24" y="35"/>
                  </a:lnTo>
                  <a:lnTo>
                    <a:pt x="26" y="41"/>
                  </a:lnTo>
                  <a:lnTo>
                    <a:pt x="34" y="45"/>
                  </a:lnTo>
                  <a:lnTo>
                    <a:pt x="34" y="45"/>
                  </a:lnTo>
                  <a:lnTo>
                    <a:pt x="37" y="49"/>
                  </a:lnTo>
                  <a:lnTo>
                    <a:pt x="36" y="49"/>
                  </a:lnTo>
                  <a:lnTo>
                    <a:pt x="32" y="49"/>
                  </a:lnTo>
                  <a:lnTo>
                    <a:pt x="30" y="50"/>
                  </a:lnTo>
                  <a:lnTo>
                    <a:pt x="32" y="54"/>
                  </a:lnTo>
                  <a:lnTo>
                    <a:pt x="36" y="54"/>
                  </a:lnTo>
                  <a:lnTo>
                    <a:pt x="41" y="58"/>
                  </a:lnTo>
                  <a:lnTo>
                    <a:pt x="43" y="60"/>
                  </a:lnTo>
                  <a:lnTo>
                    <a:pt x="45" y="64"/>
                  </a:lnTo>
                  <a:lnTo>
                    <a:pt x="47" y="66"/>
                  </a:lnTo>
                  <a:lnTo>
                    <a:pt x="51" y="66"/>
                  </a:lnTo>
                  <a:lnTo>
                    <a:pt x="60" y="66"/>
                  </a:lnTo>
                  <a:lnTo>
                    <a:pt x="62" y="67"/>
                  </a:lnTo>
                  <a:lnTo>
                    <a:pt x="71" y="75"/>
                  </a:lnTo>
                  <a:lnTo>
                    <a:pt x="69" y="79"/>
                  </a:lnTo>
                  <a:lnTo>
                    <a:pt x="66" y="75"/>
                  </a:lnTo>
                  <a:lnTo>
                    <a:pt x="68" y="79"/>
                  </a:lnTo>
                  <a:lnTo>
                    <a:pt x="71" y="79"/>
                  </a:lnTo>
                  <a:lnTo>
                    <a:pt x="71" y="79"/>
                  </a:lnTo>
                  <a:lnTo>
                    <a:pt x="73" y="75"/>
                  </a:lnTo>
                  <a:lnTo>
                    <a:pt x="60" y="60"/>
                  </a:lnTo>
                  <a:lnTo>
                    <a:pt x="45" y="49"/>
                  </a:lnTo>
                  <a:lnTo>
                    <a:pt x="45" y="45"/>
                  </a:lnTo>
                  <a:lnTo>
                    <a:pt x="45" y="45"/>
                  </a:lnTo>
                  <a:lnTo>
                    <a:pt x="43" y="41"/>
                  </a:lnTo>
                  <a:lnTo>
                    <a:pt x="43" y="39"/>
                  </a:lnTo>
                  <a:lnTo>
                    <a:pt x="37" y="33"/>
                  </a:lnTo>
                  <a:lnTo>
                    <a:pt x="37" y="33"/>
                  </a:lnTo>
                  <a:lnTo>
                    <a:pt x="37" y="32"/>
                  </a:lnTo>
                  <a:lnTo>
                    <a:pt x="37" y="30"/>
                  </a:lnTo>
                  <a:lnTo>
                    <a:pt x="37" y="24"/>
                  </a:lnTo>
                  <a:lnTo>
                    <a:pt x="41" y="22"/>
                  </a:lnTo>
                  <a:lnTo>
                    <a:pt x="43" y="26"/>
                  </a:lnTo>
                  <a:lnTo>
                    <a:pt x="45" y="28"/>
                  </a:lnTo>
                  <a:lnTo>
                    <a:pt x="47" y="28"/>
                  </a:lnTo>
                  <a:lnTo>
                    <a:pt x="47" y="26"/>
                  </a:lnTo>
                  <a:lnTo>
                    <a:pt x="51" y="24"/>
                  </a:lnTo>
                  <a:lnTo>
                    <a:pt x="54" y="26"/>
                  </a:lnTo>
                  <a:lnTo>
                    <a:pt x="56" y="22"/>
                  </a:lnTo>
                  <a:lnTo>
                    <a:pt x="58" y="24"/>
                  </a:lnTo>
                  <a:lnTo>
                    <a:pt x="60" y="24"/>
                  </a:lnTo>
                  <a:lnTo>
                    <a:pt x="62" y="24"/>
                  </a:lnTo>
                  <a:lnTo>
                    <a:pt x="66" y="28"/>
                  </a:lnTo>
                  <a:lnTo>
                    <a:pt x="66" y="26"/>
                  </a:lnTo>
                  <a:lnTo>
                    <a:pt x="69" y="26"/>
                  </a:lnTo>
                  <a:lnTo>
                    <a:pt x="73" y="26"/>
                  </a:lnTo>
                  <a:lnTo>
                    <a:pt x="75" y="26"/>
                  </a:lnTo>
                  <a:lnTo>
                    <a:pt x="79" y="26"/>
                  </a:lnTo>
                  <a:lnTo>
                    <a:pt x="81" y="28"/>
                  </a:lnTo>
                  <a:lnTo>
                    <a:pt x="86" y="28"/>
                  </a:lnTo>
                  <a:lnTo>
                    <a:pt x="90" y="32"/>
                  </a:lnTo>
                  <a:lnTo>
                    <a:pt x="94" y="32"/>
                  </a:lnTo>
                  <a:lnTo>
                    <a:pt x="94" y="32"/>
                  </a:lnTo>
                  <a:lnTo>
                    <a:pt x="94" y="32"/>
                  </a:lnTo>
                  <a:lnTo>
                    <a:pt x="94" y="32"/>
                  </a:lnTo>
                  <a:lnTo>
                    <a:pt x="94" y="32"/>
                  </a:lnTo>
                  <a:close/>
                  <a:moveTo>
                    <a:pt x="56" y="75"/>
                  </a:moveTo>
                  <a:lnTo>
                    <a:pt x="56" y="75"/>
                  </a:lnTo>
                  <a:lnTo>
                    <a:pt x="62" y="75"/>
                  </a:lnTo>
                  <a:lnTo>
                    <a:pt x="66" y="79"/>
                  </a:lnTo>
                  <a:lnTo>
                    <a:pt x="60" y="79"/>
                  </a:lnTo>
                  <a:lnTo>
                    <a:pt x="56" y="75"/>
                  </a:lnTo>
                  <a:lnTo>
                    <a:pt x="56" y="75"/>
                  </a:lnTo>
                  <a:lnTo>
                    <a:pt x="56" y="75"/>
                  </a:lnTo>
                  <a:lnTo>
                    <a:pt x="56" y="75"/>
                  </a:lnTo>
                  <a:close/>
                  <a:moveTo>
                    <a:pt x="52" y="71"/>
                  </a:moveTo>
                  <a:lnTo>
                    <a:pt x="62" y="73"/>
                  </a:lnTo>
                  <a:lnTo>
                    <a:pt x="58" y="75"/>
                  </a:lnTo>
                  <a:lnTo>
                    <a:pt x="52" y="71"/>
                  </a:lnTo>
                  <a:lnTo>
                    <a:pt x="52" y="71"/>
                  </a:lnTo>
                  <a:lnTo>
                    <a:pt x="52" y="71"/>
                  </a:lnTo>
                  <a:lnTo>
                    <a:pt x="52" y="71"/>
                  </a:lnTo>
                  <a:close/>
                  <a:moveTo>
                    <a:pt x="52" y="67"/>
                  </a:moveTo>
                  <a:lnTo>
                    <a:pt x="60" y="67"/>
                  </a:lnTo>
                  <a:lnTo>
                    <a:pt x="62" y="69"/>
                  </a:lnTo>
                  <a:lnTo>
                    <a:pt x="58" y="71"/>
                  </a:lnTo>
                  <a:lnTo>
                    <a:pt x="54" y="69"/>
                  </a:lnTo>
                  <a:lnTo>
                    <a:pt x="52" y="67"/>
                  </a:lnTo>
                  <a:lnTo>
                    <a:pt x="52" y="67"/>
                  </a:lnTo>
                  <a:lnTo>
                    <a:pt x="52" y="67"/>
                  </a:lnTo>
                  <a:lnTo>
                    <a:pt x="52" y="67"/>
                  </a:lnTo>
                  <a:close/>
                  <a:moveTo>
                    <a:pt x="26" y="45"/>
                  </a:moveTo>
                  <a:lnTo>
                    <a:pt x="28" y="45"/>
                  </a:lnTo>
                  <a:lnTo>
                    <a:pt x="32" y="49"/>
                  </a:lnTo>
                  <a:lnTo>
                    <a:pt x="30" y="49"/>
                  </a:lnTo>
                  <a:lnTo>
                    <a:pt x="26" y="45"/>
                  </a:lnTo>
                  <a:lnTo>
                    <a:pt x="26" y="45"/>
                  </a:lnTo>
                  <a:lnTo>
                    <a:pt x="26" y="45"/>
                  </a:lnTo>
                  <a:lnTo>
                    <a:pt x="26" y="45"/>
                  </a:lnTo>
                  <a:close/>
                  <a:moveTo>
                    <a:pt x="22" y="39"/>
                  </a:moveTo>
                  <a:lnTo>
                    <a:pt x="26" y="43"/>
                  </a:lnTo>
                  <a:lnTo>
                    <a:pt x="22" y="41"/>
                  </a:lnTo>
                  <a:lnTo>
                    <a:pt x="22" y="39"/>
                  </a:lnTo>
                  <a:lnTo>
                    <a:pt x="22" y="39"/>
                  </a:lnTo>
                  <a:lnTo>
                    <a:pt x="22" y="39"/>
                  </a:lnTo>
                  <a:lnTo>
                    <a:pt x="22" y="39"/>
                  </a:lnTo>
                  <a:close/>
                  <a:moveTo>
                    <a:pt x="24" y="49"/>
                  </a:moveTo>
                  <a:lnTo>
                    <a:pt x="28" y="54"/>
                  </a:lnTo>
                  <a:lnTo>
                    <a:pt x="28" y="56"/>
                  </a:lnTo>
                  <a:lnTo>
                    <a:pt x="24" y="49"/>
                  </a:lnTo>
                  <a:lnTo>
                    <a:pt x="24" y="49"/>
                  </a:lnTo>
                  <a:lnTo>
                    <a:pt x="24" y="49"/>
                  </a:lnTo>
                  <a:lnTo>
                    <a:pt x="24" y="49"/>
                  </a:lnTo>
                  <a:close/>
                  <a:moveTo>
                    <a:pt x="19" y="45"/>
                  </a:moveTo>
                  <a:lnTo>
                    <a:pt x="22" y="45"/>
                  </a:lnTo>
                  <a:lnTo>
                    <a:pt x="22" y="49"/>
                  </a:lnTo>
                  <a:lnTo>
                    <a:pt x="19" y="45"/>
                  </a:lnTo>
                  <a:lnTo>
                    <a:pt x="19" y="45"/>
                  </a:lnTo>
                  <a:lnTo>
                    <a:pt x="19" y="45"/>
                  </a:lnTo>
                  <a:lnTo>
                    <a:pt x="19" y="45"/>
                  </a:lnTo>
                  <a:close/>
                  <a:moveTo>
                    <a:pt x="13" y="33"/>
                  </a:moveTo>
                  <a:lnTo>
                    <a:pt x="17" y="37"/>
                  </a:lnTo>
                  <a:lnTo>
                    <a:pt x="19" y="43"/>
                  </a:lnTo>
                  <a:lnTo>
                    <a:pt x="17" y="43"/>
                  </a:lnTo>
                  <a:lnTo>
                    <a:pt x="13" y="39"/>
                  </a:lnTo>
                  <a:lnTo>
                    <a:pt x="17" y="37"/>
                  </a:lnTo>
                  <a:lnTo>
                    <a:pt x="13" y="33"/>
                  </a:lnTo>
                  <a:lnTo>
                    <a:pt x="13" y="33"/>
                  </a:lnTo>
                  <a:lnTo>
                    <a:pt x="13" y="33"/>
                  </a:lnTo>
                  <a:lnTo>
                    <a:pt x="13" y="33"/>
                  </a:lnTo>
                  <a:close/>
                  <a:moveTo>
                    <a:pt x="17" y="26"/>
                  </a:moveTo>
                  <a:lnTo>
                    <a:pt x="20" y="33"/>
                  </a:lnTo>
                  <a:lnTo>
                    <a:pt x="19" y="35"/>
                  </a:lnTo>
                  <a:lnTo>
                    <a:pt x="17" y="33"/>
                  </a:lnTo>
                  <a:lnTo>
                    <a:pt x="13" y="33"/>
                  </a:lnTo>
                  <a:lnTo>
                    <a:pt x="13" y="28"/>
                  </a:lnTo>
                  <a:lnTo>
                    <a:pt x="13" y="28"/>
                  </a:lnTo>
                  <a:lnTo>
                    <a:pt x="17" y="26"/>
                  </a:lnTo>
                  <a:lnTo>
                    <a:pt x="17" y="26"/>
                  </a:lnTo>
                  <a:lnTo>
                    <a:pt x="17" y="26"/>
                  </a:lnTo>
                  <a:lnTo>
                    <a:pt x="17"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8" name="Freeform 91">
              <a:extLst>
                <a:ext uri="{FF2B5EF4-FFF2-40B4-BE49-F238E27FC236}">
                  <a16:creationId xmlns:a16="http://schemas.microsoft.com/office/drawing/2014/main" id="{F5071A56-5EBC-4BB9-9AEC-14442631C35A}"/>
                </a:ext>
              </a:extLst>
            </p:cNvPr>
            <p:cNvSpPr>
              <a:spLocks noEditPoints="1"/>
            </p:cNvSpPr>
            <p:nvPr/>
          </p:nvSpPr>
          <p:spPr bwMode="auto">
            <a:xfrm>
              <a:off x="3007" y="2173"/>
              <a:ext cx="100" cy="79"/>
            </a:xfrm>
            <a:custGeom>
              <a:avLst/>
              <a:gdLst/>
              <a:ahLst/>
              <a:cxnLst>
                <a:cxn ang="0">
                  <a:pos x="98" y="26"/>
                </a:cxn>
                <a:cxn ang="0">
                  <a:pos x="96" y="24"/>
                </a:cxn>
                <a:cxn ang="0">
                  <a:pos x="90" y="13"/>
                </a:cxn>
                <a:cxn ang="0">
                  <a:pos x="79" y="13"/>
                </a:cxn>
                <a:cxn ang="0">
                  <a:pos x="62" y="5"/>
                </a:cxn>
                <a:cxn ang="0">
                  <a:pos x="52" y="0"/>
                </a:cxn>
                <a:cxn ang="0">
                  <a:pos x="32" y="13"/>
                </a:cxn>
                <a:cxn ang="0">
                  <a:pos x="20" y="20"/>
                </a:cxn>
                <a:cxn ang="0">
                  <a:pos x="7" y="22"/>
                </a:cxn>
                <a:cxn ang="0">
                  <a:pos x="2" y="30"/>
                </a:cxn>
                <a:cxn ang="0">
                  <a:pos x="7" y="37"/>
                </a:cxn>
                <a:cxn ang="0">
                  <a:pos x="13" y="22"/>
                </a:cxn>
                <a:cxn ang="0">
                  <a:pos x="22" y="30"/>
                </a:cxn>
                <a:cxn ang="0">
                  <a:pos x="34" y="45"/>
                </a:cxn>
                <a:cxn ang="0">
                  <a:pos x="36" y="49"/>
                </a:cxn>
                <a:cxn ang="0">
                  <a:pos x="32" y="54"/>
                </a:cxn>
                <a:cxn ang="0">
                  <a:pos x="43" y="60"/>
                </a:cxn>
                <a:cxn ang="0">
                  <a:pos x="51" y="66"/>
                </a:cxn>
                <a:cxn ang="0">
                  <a:pos x="71" y="75"/>
                </a:cxn>
                <a:cxn ang="0">
                  <a:pos x="68" y="79"/>
                </a:cxn>
                <a:cxn ang="0">
                  <a:pos x="73" y="75"/>
                </a:cxn>
                <a:cxn ang="0">
                  <a:pos x="45" y="45"/>
                </a:cxn>
                <a:cxn ang="0">
                  <a:pos x="43" y="39"/>
                </a:cxn>
                <a:cxn ang="0">
                  <a:pos x="37" y="32"/>
                </a:cxn>
                <a:cxn ang="0">
                  <a:pos x="41" y="22"/>
                </a:cxn>
                <a:cxn ang="0">
                  <a:pos x="47" y="28"/>
                </a:cxn>
                <a:cxn ang="0">
                  <a:pos x="54" y="26"/>
                </a:cxn>
                <a:cxn ang="0">
                  <a:pos x="60" y="24"/>
                </a:cxn>
                <a:cxn ang="0">
                  <a:pos x="66" y="26"/>
                </a:cxn>
                <a:cxn ang="0">
                  <a:pos x="75" y="26"/>
                </a:cxn>
                <a:cxn ang="0">
                  <a:pos x="86" y="28"/>
                </a:cxn>
                <a:cxn ang="0">
                  <a:pos x="94" y="32"/>
                </a:cxn>
                <a:cxn ang="0">
                  <a:pos x="94" y="32"/>
                </a:cxn>
                <a:cxn ang="0">
                  <a:pos x="62" y="75"/>
                </a:cxn>
                <a:cxn ang="0">
                  <a:pos x="56" y="75"/>
                </a:cxn>
                <a:cxn ang="0">
                  <a:pos x="56" y="75"/>
                </a:cxn>
                <a:cxn ang="0">
                  <a:pos x="58" y="75"/>
                </a:cxn>
                <a:cxn ang="0">
                  <a:pos x="52" y="71"/>
                </a:cxn>
                <a:cxn ang="0">
                  <a:pos x="60" y="67"/>
                </a:cxn>
                <a:cxn ang="0">
                  <a:pos x="54" y="69"/>
                </a:cxn>
                <a:cxn ang="0">
                  <a:pos x="52" y="67"/>
                </a:cxn>
                <a:cxn ang="0">
                  <a:pos x="28" y="45"/>
                </a:cxn>
                <a:cxn ang="0">
                  <a:pos x="26" y="45"/>
                </a:cxn>
                <a:cxn ang="0">
                  <a:pos x="26" y="45"/>
                </a:cxn>
                <a:cxn ang="0">
                  <a:pos x="22" y="41"/>
                </a:cxn>
                <a:cxn ang="0">
                  <a:pos x="22" y="39"/>
                </a:cxn>
                <a:cxn ang="0">
                  <a:pos x="28" y="54"/>
                </a:cxn>
                <a:cxn ang="0">
                  <a:pos x="24" y="49"/>
                </a:cxn>
                <a:cxn ang="0">
                  <a:pos x="19" y="45"/>
                </a:cxn>
                <a:cxn ang="0">
                  <a:pos x="19" y="45"/>
                </a:cxn>
                <a:cxn ang="0">
                  <a:pos x="19" y="45"/>
                </a:cxn>
                <a:cxn ang="0">
                  <a:pos x="19" y="43"/>
                </a:cxn>
                <a:cxn ang="0">
                  <a:pos x="17" y="37"/>
                </a:cxn>
                <a:cxn ang="0">
                  <a:pos x="13" y="33"/>
                </a:cxn>
                <a:cxn ang="0">
                  <a:pos x="20" y="33"/>
                </a:cxn>
                <a:cxn ang="0">
                  <a:pos x="13" y="33"/>
                </a:cxn>
                <a:cxn ang="0">
                  <a:pos x="17" y="26"/>
                </a:cxn>
                <a:cxn ang="0">
                  <a:pos x="17" y="26"/>
                </a:cxn>
              </a:cxnLst>
              <a:rect l="0" t="0" r="r" b="b"/>
              <a:pathLst>
                <a:path w="100" h="79">
                  <a:moveTo>
                    <a:pt x="94" y="32"/>
                  </a:moveTo>
                  <a:lnTo>
                    <a:pt x="94" y="28"/>
                  </a:lnTo>
                  <a:lnTo>
                    <a:pt x="98" y="26"/>
                  </a:lnTo>
                  <a:lnTo>
                    <a:pt x="100" y="26"/>
                  </a:lnTo>
                  <a:lnTo>
                    <a:pt x="100" y="26"/>
                  </a:lnTo>
                  <a:lnTo>
                    <a:pt x="96" y="24"/>
                  </a:lnTo>
                  <a:lnTo>
                    <a:pt x="94" y="22"/>
                  </a:lnTo>
                  <a:lnTo>
                    <a:pt x="92" y="18"/>
                  </a:lnTo>
                  <a:lnTo>
                    <a:pt x="90" y="13"/>
                  </a:lnTo>
                  <a:lnTo>
                    <a:pt x="90" y="13"/>
                  </a:lnTo>
                  <a:lnTo>
                    <a:pt x="86" y="15"/>
                  </a:lnTo>
                  <a:lnTo>
                    <a:pt x="79" y="13"/>
                  </a:lnTo>
                  <a:lnTo>
                    <a:pt x="69" y="13"/>
                  </a:lnTo>
                  <a:lnTo>
                    <a:pt x="66" y="9"/>
                  </a:lnTo>
                  <a:lnTo>
                    <a:pt x="62" y="5"/>
                  </a:lnTo>
                  <a:lnTo>
                    <a:pt x="54" y="0"/>
                  </a:lnTo>
                  <a:lnTo>
                    <a:pt x="52" y="0"/>
                  </a:lnTo>
                  <a:lnTo>
                    <a:pt x="52" y="0"/>
                  </a:lnTo>
                  <a:lnTo>
                    <a:pt x="43" y="0"/>
                  </a:lnTo>
                  <a:lnTo>
                    <a:pt x="34" y="5"/>
                  </a:lnTo>
                  <a:lnTo>
                    <a:pt x="32" y="13"/>
                  </a:lnTo>
                  <a:lnTo>
                    <a:pt x="26" y="13"/>
                  </a:lnTo>
                  <a:lnTo>
                    <a:pt x="24" y="20"/>
                  </a:lnTo>
                  <a:lnTo>
                    <a:pt x="20" y="20"/>
                  </a:lnTo>
                  <a:lnTo>
                    <a:pt x="13" y="18"/>
                  </a:lnTo>
                  <a:lnTo>
                    <a:pt x="11" y="18"/>
                  </a:lnTo>
                  <a:lnTo>
                    <a:pt x="7" y="22"/>
                  </a:lnTo>
                  <a:lnTo>
                    <a:pt x="0" y="22"/>
                  </a:lnTo>
                  <a:lnTo>
                    <a:pt x="0" y="22"/>
                  </a:lnTo>
                  <a:lnTo>
                    <a:pt x="2" y="30"/>
                  </a:lnTo>
                  <a:lnTo>
                    <a:pt x="5" y="35"/>
                  </a:lnTo>
                  <a:lnTo>
                    <a:pt x="5" y="35"/>
                  </a:lnTo>
                  <a:lnTo>
                    <a:pt x="7" y="37"/>
                  </a:lnTo>
                  <a:lnTo>
                    <a:pt x="11" y="30"/>
                  </a:lnTo>
                  <a:lnTo>
                    <a:pt x="13" y="26"/>
                  </a:lnTo>
                  <a:lnTo>
                    <a:pt x="13" y="22"/>
                  </a:lnTo>
                  <a:lnTo>
                    <a:pt x="19" y="22"/>
                  </a:lnTo>
                  <a:lnTo>
                    <a:pt x="19" y="26"/>
                  </a:lnTo>
                  <a:lnTo>
                    <a:pt x="22" y="30"/>
                  </a:lnTo>
                  <a:lnTo>
                    <a:pt x="24" y="35"/>
                  </a:lnTo>
                  <a:lnTo>
                    <a:pt x="26" y="41"/>
                  </a:lnTo>
                  <a:lnTo>
                    <a:pt x="34" y="45"/>
                  </a:lnTo>
                  <a:lnTo>
                    <a:pt x="34" y="45"/>
                  </a:lnTo>
                  <a:lnTo>
                    <a:pt x="37" y="49"/>
                  </a:lnTo>
                  <a:lnTo>
                    <a:pt x="36" y="49"/>
                  </a:lnTo>
                  <a:lnTo>
                    <a:pt x="32" y="49"/>
                  </a:lnTo>
                  <a:lnTo>
                    <a:pt x="30" y="50"/>
                  </a:lnTo>
                  <a:lnTo>
                    <a:pt x="32" y="54"/>
                  </a:lnTo>
                  <a:lnTo>
                    <a:pt x="36" y="54"/>
                  </a:lnTo>
                  <a:lnTo>
                    <a:pt x="41" y="58"/>
                  </a:lnTo>
                  <a:lnTo>
                    <a:pt x="43" y="60"/>
                  </a:lnTo>
                  <a:lnTo>
                    <a:pt x="45" y="64"/>
                  </a:lnTo>
                  <a:lnTo>
                    <a:pt x="47" y="66"/>
                  </a:lnTo>
                  <a:lnTo>
                    <a:pt x="51" y="66"/>
                  </a:lnTo>
                  <a:lnTo>
                    <a:pt x="60" y="66"/>
                  </a:lnTo>
                  <a:lnTo>
                    <a:pt x="62" y="67"/>
                  </a:lnTo>
                  <a:lnTo>
                    <a:pt x="71" y="75"/>
                  </a:lnTo>
                  <a:lnTo>
                    <a:pt x="69" y="79"/>
                  </a:lnTo>
                  <a:lnTo>
                    <a:pt x="66" y="75"/>
                  </a:lnTo>
                  <a:lnTo>
                    <a:pt x="68" y="79"/>
                  </a:lnTo>
                  <a:lnTo>
                    <a:pt x="71" y="79"/>
                  </a:lnTo>
                  <a:lnTo>
                    <a:pt x="71" y="79"/>
                  </a:lnTo>
                  <a:lnTo>
                    <a:pt x="73" y="75"/>
                  </a:lnTo>
                  <a:lnTo>
                    <a:pt x="60" y="60"/>
                  </a:lnTo>
                  <a:lnTo>
                    <a:pt x="45" y="49"/>
                  </a:lnTo>
                  <a:lnTo>
                    <a:pt x="45" y="45"/>
                  </a:lnTo>
                  <a:lnTo>
                    <a:pt x="45" y="45"/>
                  </a:lnTo>
                  <a:lnTo>
                    <a:pt x="43" y="41"/>
                  </a:lnTo>
                  <a:lnTo>
                    <a:pt x="43" y="39"/>
                  </a:lnTo>
                  <a:lnTo>
                    <a:pt x="37" y="33"/>
                  </a:lnTo>
                  <a:lnTo>
                    <a:pt x="37" y="33"/>
                  </a:lnTo>
                  <a:lnTo>
                    <a:pt x="37" y="32"/>
                  </a:lnTo>
                  <a:lnTo>
                    <a:pt x="37" y="30"/>
                  </a:lnTo>
                  <a:lnTo>
                    <a:pt x="37" y="24"/>
                  </a:lnTo>
                  <a:lnTo>
                    <a:pt x="41" y="22"/>
                  </a:lnTo>
                  <a:lnTo>
                    <a:pt x="43" y="26"/>
                  </a:lnTo>
                  <a:lnTo>
                    <a:pt x="45" y="28"/>
                  </a:lnTo>
                  <a:lnTo>
                    <a:pt x="47" y="28"/>
                  </a:lnTo>
                  <a:lnTo>
                    <a:pt x="47" y="26"/>
                  </a:lnTo>
                  <a:lnTo>
                    <a:pt x="51" y="24"/>
                  </a:lnTo>
                  <a:lnTo>
                    <a:pt x="54" y="26"/>
                  </a:lnTo>
                  <a:lnTo>
                    <a:pt x="56" y="22"/>
                  </a:lnTo>
                  <a:lnTo>
                    <a:pt x="58" y="24"/>
                  </a:lnTo>
                  <a:lnTo>
                    <a:pt x="60" y="24"/>
                  </a:lnTo>
                  <a:lnTo>
                    <a:pt x="62" y="24"/>
                  </a:lnTo>
                  <a:lnTo>
                    <a:pt x="66" y="28"/>
                  </a:lnTo>
                  <a:lnTo>
                    <a:pt x="66" y="26"/>
                  </a:lnTo>
                  <a:lnTo>
                    <a:pt x="69" y="26"/>
                  </a:lnTo>
                  <a:lnTo>
                    <a:pt x="73" y="26"/>
                  </a:lnTo>
                  <a:lnTo>
                    <a:pt x="75" y="26"/>
                  </a:lnTo>
                  <a:lnTo>
                    <a:pt x="79" y="26"/>
                  </a:lnTo>
                  <a:lnTo>
                    <a:pt x="81" y="28"/>
                  </a:lnTo>
                  <a:lnTo>
                    <a:pt x="86" y="28"/>
                  </a:lnTo>
                  <a:lnTo>
                    <a:pt x="90" y="32"/>
                  </a:lnTo>
                  <a:lnTo>
                    <a:pt x="94" y="32"/>
                  </a:lnTo>
                  <a:lnTo>
                    <a:pt x="94" y="32"/>
                  </a:lnTo>
                  <a:lnTo>
                    <a:pt x="94" y="32"/>
                  </a:lnTo>
                  <a:lnTo>
                    <a:pt x="94" y="32"/>
                  </a:lnTo>
                  <a:lnTo>
                    <a:pt x="94" y="32"/>
                  </a:lnTo>
                  <a:close/>
                  <a:moveTo>
                    <a:pt x="56" y="75"/>
                  </a:moveTo>
                  <a:lnTo>
                    <a:pt x="56" y="75"/>
                  </a:lnTo>
                  <a:lnTo>
                    <a:pt x="62" y="75"/>
                  </a:lnTo>
                  <a:lnTo>
                    <a:pt x="66" y="79"/>
                  </a:lnTo>
                  <a:lnTo>
                    <a:pt x="60" y="79"/>
                  </a:lnTo>
                  <a:lnTo>
                    <a:pt x="56" y="75"/>
                  </a:lnTo>
                  <a:lnTo>
                    <a:pt x="56" y="75"/>
                  </a:lnTo>
                  <a:lnTo>
                    <a:pt x="56" y="75"/>
                  </a:lnTo>
                  <a:lnTo>
                    <a:pt x="56" y="75"/>
                  </a:lnTo>
                  <a:close/>
                  <a:moveTo>
                    <a:pt x="52" y="71"/>
                  </a:moveTo>
                  <a:lnTo>
                    <a:pt x="62" y="73"/>
                  </a:lnTo>
                  <a:lnTo>
                    <a:pt x="58" y="75"/>
                  </a:lnTo>
                  <a:lnTo>
                    <a:pt x="52" y="71"/>
                  </a:lnTo>
                  <a:lnTo>
                    <a:pt x="52" y="71"/>
                  </a:lnTo>
                  <a:lnTo>
                    <a:pt x="52" y="71"/>
                  </a:lnTo>
                  <a:lnTo>
                    <a:pt x="52" y="71"/>
                  </a:lnTo>
                  <a:close/>
                  <a:moveTo>
                    <a:pt x="52" y="67"/>
                  </a:moveTo>
                  <a:lnTo>
                    <a:pt x="60" y="67"/>
                  </a:lnTo>
                  <a:lnTo>
                    <a:pt x="62" y="69"/>
                  </a:lnTo>
                  <a:lnTo>
                    <a:pt x="58" y="71"/>
                  </a:lnTo>
                  <a:lnTo>
                    <a:pt x="54" y="69"/>
                  </a:lnTo>
                  <a:lnTo>
                    <a:pt x="52" y="67"/>
                  </a:lnTo>
                  <a:lnTo>
                    <a:pt x="52" y="67"/>
                  </a:lnTo>
                  <a:lnTo>
                    <a:pt x="52" y="67"/>
                  </a:lnTo>
                  <a:lnTo>
                    <a:pt x="52" y="67"/>
                  </a:lnTo>
                  <a:close/>
                  <a:moveTo>
                    <a:pt x="26" y="45"/>
                  </a:moveTo>
                  <a:lnTo>
                    <a:pt x="28" y="45"/>
                  </a:lnTo>
                  <a:lnTo>
                    <a:pt x="32" y="49"/>
                  </a:lnTo>
                  <a:lnTo>
                    <a:pt x="30" y="49"/>
                  </a:lnTo>
                  <a:lnTo>
                    <a:pt x="26" y="45"/>
                  </a:lnTo>
                  <a:lnTo>
                    <a:pt x="26" y="45"/>
                  </a:lnTo>
                  <a:lnTo>
                    <a:pt x="26" y="45"/>
                  </a:lnTo>
                  <a:lnTo>
                    <a:pt x="26" y="45"/>
                  </a:lnTo>
                  <a:close/>
                  <a:moveTo>
                    <a:pt x="22" y="39"/>
                  </a:moveTo>
                  <a:lnTo>
                    <a:pt x="26" y="43"/>
                  </a:lnTo>
                  <a:lnTo>
                    <a:pt x="22" y="41"/>
                  </a:lnTo>
                  <a:lnTo>
                    <a:pt x="22" y="39"/>
                  </a:lnTo>
                  <a:lnTo>
                    <a:pt x="22" y="39"/>
                  </a:lnTo>
                  <a:lnTo>
                    <a:pt x="22" y="39"/>
                  </a:lnTo>
                  <a:lnTo>
                    <a:pt x="22" y="39"/>
                  </a:lnTo>
                  <a:close/>
                  <a:moveTo>
                    <a:pt x="24" y="49"/>
                  </a:moveTo>
                  <a:lnTo>
                    <a:pt x="28" y="54"/>
                  </a:lnTo>
                  <a:lnTo>
                    <a:pt x="28" y="56"/>
                  </a:lnTo>
                  <a:lnTo>
                    <a:pt x="24" y="49"/>
                  </a:lnTo>
                  <a:lnTo>
                    <a:pt x="24" y="49"/>
                  </a:lnTo>
                  <a:lnTo>
                    <a:pt x="24" y="49"/>
                  </a:lnTo>
                  <a:lnTo>
                    <a:pt x="24" y="49"/>
                  </a:lnTo>
                  <a:close/>
                  <a:moveTo>
                    <a:pt x="19" y="45"/>
                  </a:moveTo>
                  <a:lnTo>
                    <a:pt x="22" y="45"/>
                  </a:lnTo>
                  <a:lnTo>
                    <a:pt x="22" y="49"/>
                  </a:lnTo>
                  <a:lnTo>
                    <a:pt x="19" y="45"/>
                  </a:lnTo>
                  <a:lnTo>
                    <a:pt x="19" y="45"/>
                  </a:lnTo>
                  <a:lnTo>
                    <a:pt x="19" y="45"/>
                  </a:lnTo>
                  <a:lnTo>
                    <a:pt x="19" y="45"/>
                  </a:lnTo>
                  <a:close/>
                  <a:moveTo>
                    <a:pt x="13" y="33"/>
                  </a:moveTo>
                  <a:lnTo>
                    <a:pt x="17" y="37"/>
                  </a:lnTo>
                  <a:lnTo>
                    <a:pt x="19" y="43"/>
                  </a:lnTo>
                  <a:lnTo>
                    <a:pt x="17" y="43"/>
                  </a:lnTo>
                  <a:lnTo>
                    <a:pt x="13" y="39"/>
                  </a:lnTo>
                  <a:lnTo>
                    <a:pt x="17" y="37"/>
                  </a:lnTo>
                  <a:lnTo>
                    <a:pt x="13" y="33"/>
                  </a:lnTo>
                  <a:lnTo>
                    <a:pt x="13" y="33"/>
                  </a:lnTo>
                  <a:lnTo>
                    <a:pt x="13" y="33"/>
                  </a:lnTo>
                  <a:lnTo>
                    <a:pt x="13" y="33"/>
                  </a:lnTo>
                  <a:close/>
                  <a:moveTo>
                    <a:pt x="17" y="26"/>
                  </a:moveTo>
                  <a:lnTo>
                    <a:pt x="20" y="33"/>
                  </a:lnTo>
                  <a:lnTo>
                    <a:pt x="19" y="35"/>
                  </a:lnTo>
                  <a:lnTo>
                    <a:pt x="17" y="33"/>
                  </a:lnTo>
                  <a:lnTo>
                    <a:pt x="13" y="33"/>
                  </a:lnTo>
                  <a:lnTo>
                    <a:pt x="13" y="28"/>
                  </a:lnTo>
                  <a:lnTo>
                    <a:pt x="13" y="28"/>
                  </a:lnTo>
                  <a:lnTo>
                    <a:pt x="17" y="26"/>
                  </a:lnTo>
                  <a:lnTo>
                    <a:pt x="17" y="26"/>
                  </a:lnTo>
                  <a:lnTo>
                    <a:pt x="17" y="26"/>
                  </a:lnTo>
                  <a:lnTo>
                    <a:pt x="17"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9" name="Freeform 92">
              <a:extLst>
                <a:ext uri="{FF2B5EF4-FFF2-40B4-BE49-F238E27FC236}">
                  <a16:creationId xmlns:a16="http://schemas.microsoft.com/office/drawing/2014/main" id="{18EB4BCB-5613-4660-80E1-656CB5919F4D}"/>
                </a:ext>
              </a:extLst>
            </p:cNvPr>
            <p:cNvSpPr>
              <a:spLocks/>
            </p:cNvSpPr>
            <p:nvPr/>
          </p:nvSpPr>
          <p:spPr bwMode="auto">
            <a:xfrm>
              <a:off x="3043" y="2193"/>
              <a:ext cx="69" cy="64"/>
            </a:xfrm>
            <a:custGeom>
              <a:avLst/>
              <a:gdLst/>
              <a:ahLst/>
              <a:cxnLst>
                <a:cxn ang="0">
                  <a:pos x="37" y="55"/>
                </a:cxn>
                <a:cxn ang="0">
                  <a:pos x="9" y="27"/>
                </a:cxn>
                <a:cxn ang="0">
                  <a:pos x="9" y="21"/>
                </a:cxn>
                <a:cxn ang="0">
                  <a:pos x="7" y="17"/>
                </a:cxn>
                <a:cxn ang="0">
                  <a:pos x="0" y="12"/>
                </a:cxn>
                <a:cxn ang="0">
                  <a:pos x="1" y="8"/>
                </a:cxn>
                <a:cxn ang="0">
                  <a:pos x="3" y="0"/>
                </a:cxn>
                <a:cxn ang="0">
                  <a:pos x="9" y="6"/>
                </a:cxn>
                <a:cxn ang="0">
                  <a:pos x="11" y="2"/>
                </a:cxn>
                <a:cxn ang="0">
                  <a:pos x="18" y="2"/>
                </a:cxn>
                <a:cxn ang="0">
                  <a:pos x="20" y="2"/>
                </a:cxn>
                <a:cxn ang="0">
                  <a:pos x="26" y="2"/>
                </a:cxn>
                <a:cxn ang="0">
                  <a:pos x="30" y="2"/>
                </a:cxn>
                <a:cxn ang="0">
                  <a:pos x="37" y="2"/>
                </a:cxn>
                <a:cxn ang="0">
                  <a:pos x="43" y="2"/>
                </a:cxn>
                <a:cxn ang="0">
                  <a:pos x="50" y="6"/>
                </a:cxn>
                <a:cxn ang="0">
                  <a:pos x="58" y="8"/>
                </a:cxn>
                <a:cxn ang="0">
                  <a:pos x="62" y="8"/>
                </a:cxn>
                <a:cxn ang="0">
                  <a:pos x="64" y="15"/>
                </a:cxn>
                <a:cxn ang="0">
                  <a:pos x="60" y="21"/>
                </a:cxn>
                <a:cxn ang="0">
                  <a:pos x="67" y="27"/>
                </a:cxn>
                <a:cxn ang="0">
                  <a:pos x="69" y="30"/>
                </a:cxn>
                <a:cxn ang="0">
                  <a:pos x="64" y="30"/>
                </a:cxn>
                <a:cxn ang="0">
                  <a:pos x="67" y="40"/>
                </a:cxn>
                <a:cxn ang="0">
                  <a:pos x="64" y="40"/>
                </a:cxn>
                <a:cxn ang="0">
                  <a:pos x="56" y="40"/>
                </a:cxn>
                <a:cxn ang="0">
                  <a:pos x="60" y="46"/>
                </a:cxn>
                <a:cxn ang="0">
                  <a:pos x="58" y="49"/>
                </a:cxn>
                <a:cxn ang="0">
                  <a:pos x="54" y="53"/>
                </a:cxn>
                <a:cxn ang="0">
                  <a:pos x="54" y="62"/>
                </a:cxn>
                <a:cxn ang="0">
                  <a:pos x="45" y="59"/>
                </a:cxn>
                <a:cxn ang="0">
                  <a:pos x="37" y="59"/>
                </a:cxn>
                <a:cxn ang="0">
                  <a:pos x="35" y="57"/>
                </a:cxn>
                <a:cxn ang="0">
                  <a:pos x="35" y="57"/>
                </a:cxn>
              </a:cxnLst>
              <a:rect l="0" t="0" r="r" b="b"/>
              <a:pathLst>
                <a:path w="69" h="64">
                  <a:moveTo>
                    <a:pt x="35" y="57"/>
                  </a:moveTo>
                  <a:lnTo>
                    <a:pt x="37" y="55"/>
                  </a:lnTo>
                  <a:lnTo>
                    <a:pt x="24" y="38"/>
                  </a:lnTo>
                  <a:lnTo>
                    <a:pt x="9" y="27"/>
                  </a:lnTo>
                  <a:lnTo>
                    <a:pt x="9" y="23"/>
                  </a:lnTo>
                  <a:lnTo>
                    <a:pt x="9" y="21"/>
                  </a:lnTo>
                  <a:lnTo>
                    <a:pt x="7" y="17"/>
                  </a:lnTo>
                  <a:lnTo>
                    <a:pt x="7" y="17"/>
                  </a:lnTo>
                  <a:lnTo>
                    <a:pt x="1" y="12"/>
                  </a:lnTo>
                  <a:lnTo>
                    <a:pt x="0" y="12"/>
                  </a:lnTo>
                  <a:lnTo>
                    <a:pt x="0" y="8"/>
                  </a:lnTo>
                  <a:lnTo>
                    <a:pt x="1" y="8"/>
                  </a:lnTo>
                  <a:lnTo>
                    <a:pt x="1" y="2"/>
                  </a:lnTo>
                  <a:lnTo>
                    <a:pt x="3" y="0"/>
                  </a:lnTo>
                  <a:lnTo>
                    <a:pt x="7" y="2"/>
                  </a:lnTo>
                  <a:lnTo>
                    <a:pt x="9" y="6"/>
                  </a:lnTo>
                  <a:lnTo>
                    <a:pt x="11" y="6"/>
                  </a:lnTo>
                  <a:lnTo>
                    <a:pt x="11" y="2"/>
                  </a:lnTo>
                  <a:lnTo>
                    <a:pt x="15" y="2"/>
                  </a:lnTo>
                  <a:lnTo>
                    <a:pt x="18" y="2"/>
                  </a:lnTo>
                  <a:lnTo>
                    <a:pt x="20" y="0"/>
                  </a:lnTo>
                  <a:lnTo>
                    <a:pt x="20" y="2"/>
                  </a:lnTo>
                  <a:lnTo>
                    <a:pt x="24" y="2"/>
                  </a:lnTo>
                  <a:lnTo>
                    <a:pt x="26" y="2"/>
                  </a:lnTo>
                  <a:lnTo>
                    <a:pt x="30" y="6"/>
                  </a:lnTo>
                  <a:lnTo>
                    <a:pt x="30" y="2"/>
                  </a:lnTo>
                  <a:lnTo>
                    <a:pt x="33" y="2"/>
                  </a:lnTo>
                  <a:lnTo>
                    <a:pt x="37" y="2"/>
                  </a:lnTo>
                  <a:lnTo>
                    <a:pt x="39" y="2"/>
                  </a:lnTo>
                  <a:lnTo>
                    <a:pt x="43" y="2"/>
                  </a:lnTo>
                  <a:lnTo>
                    <a:pt x="45" y="6"/>
                  </a:lnTo>
                  <a:lnTo>
                    <a:pt x="50" y="6"/>
                  </a:lnTo>
                  <a:lnTo>
                    <a:pt x="54" y="8"/>
                  </a:lnTo>
                  <a:lnTo>
                    <a:pt x="58" y="8"/>
                  </a:lnTo>
                  <a:lnTo>
                    <a:pt x="60" y="12"/>
                  </a:lnTo>
                  <a:lnTo>
                    <a:pt x="62" y="8"/>
                  </a:lnTo>
                  <a:lnTo>
                    <a:pt x="64" y="8"/>
                  </a:lnTo>
                  <a:lnTo>
                    <a:pt x="64" y="15"/>
                  </a:lnTo>
                  <a:lnTo>
                    <a:pt x="58" y="21"/>
                  </a:lnTo>
                  <a:lnTo>
                    <a:pt x="60" y="21"/>
                  </a:lnTo>
                  <a:lnTo>
                    <a:pt x="65" y="27"/>
                  </a:lnTo>
                  <a:lnTo>
                    <a:pt x="67" y="27"/>
                  </a:lnTo>
                  <a:lnTo>
                    <a:pt x="69" y="29"/>
                  </a:lnTo>
                  <a:lnTo>
                    <a:pt x="69" y="30"/>
                  </a:lnTo>
                  <a:lnTo>
                    <a:pt x="65" y="29"/>
                  </a:lnTo>
                  <a:lnTo>
                    <a:pt x="64" y="30"/>
                  </a:lnTo>
                  <a:lnTo>
                    <a:pt x="64" y="34"/>
                  </a:lnTo>
                  <a:lnTo>
                    <a:pt x="67" y="40"/>
                  </a:lnTo>
                  <a:lnTo>
                    <a:pt x="65" y="42"/>
                  </a:lnTo>
                  <a:lnTo>
                    <a:pt x="64" y="40"/>
                  </a:lnTo>
                  <a:lnTo>
                    <a:pt x="58" y="38"/>
                  </a:lnTo>
                  <a:lnTo>
                    <a:pt x="56" y="40"/>
                  </a:lnTo>
                  <a:lnTo>
                    <a:pt x="56" y="42"/>
                  </a:lnTo>
                  <a:lnTo>
                    <a:pt x="60" y="46"/>
                  </a:lnTo>
                  <a:lnTo>
                    <a:pt x="62" y="47"/>
                  </a:lnTo>
                  <a:lnTo>
                    <a:pt x="58" y="49"/>
                  </a:lnTo>
                  <a:lnTo>
                    <a:pt x="56" y="49"/>
                  </a:lnTo>
                  <a:lnTo>
                    <a:pt x="54" y="53"/>
                  </a:lnTo>
                  <a:lnTo>
                    <a:pt x="54" y="59"/>
                  </a:lnTo>
                  <a:lnTo>
                    <a:pt x="54" y="62"/>
                  </a:lnTo>
                  <a:lnTo>
                    <a:pt x="50" y="64"/>
                  </a:lnTo>
                  <a:lnTo>
                    <a:pt x="45" y="59"/>
                  </a:lnTo>
                  <a:lnTo>
                    <a:pt x="45" y="59"/>
                  </a:lnTo>
                  <a:lnTo>
                    <a:pt x="37" y="59"/>
                  </a:lnTo>
                  <a:lnTo>
                    <a:pt x="35" y="57"/>
                  </a:lnTo>
                  <a:lnTo>
                    <a:pt x="35" y="57"/>
                  </a:lnTo>
                  <a:lnTo>
                    <a:pt x="35" y="57"/>
                  </a:lnTo>
                  <a:lnTo>
                    <a:pt x="35"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0" name="Freeform 93">
              <a:extLst>
                <a:ext uri="{FF2B5EF4-FFF2-40B4-BE49-F238E27FC236}">
                  <a16:creationId xmlns:a16="http://schemas.microsoft.com/office/drawing/2014/main" id="{976C4885-E984-474D-AB1B-1C50E16241AA}"/>
                </a:ext>
              </a:extLst>
            </p:cNvPr>
            <p:cNvSpPr>
              <a:spLocks/>
            </p:cNvSpPr>
            <p:nvPr/>
          </p:nvSpPr>
          <p:spPr bwMode="auto">
            <a:xfrm>
              <a:off x="3007" y="2161"/>
              <a:ext cx="52" cy="32"/>
            </a:xfrm>
            <a:custGeom>
              <a:avLst/>
              <a:gdLst/>
              <a:ahLst/>
              <a:cxnLst>
                <a:cxn ang="0">
                  <a:pos x="0" y="32"/>
                </a:cxn>
                <a:cxn ang="0">
                  <a:pos x="7" y="32"/>
                </a:cxn>
                <a:cxn ang="0">
                  <a:pos x="11" y="29"/>
                </a:cxn>
                <a:cxn ang="0">
                  <a:pos x="15" y="27"/>
                </a:cxn>
                <a:cxn ang="0">
                  <a:pos x="22" y="30"/>
                </a:cxn>
                <a:cxn ang="0">
                  <a:pos x="26" y="30"/>
                </a:cxn>
                <a:cxn ang="0">
                  <a:pos x="26" y="23"/>
                </a:cxn>
                <a:cxn ang="0">
                  <a:pos x="32" y="23"/>
                </a:cxn>
                <a:cxn ang="0">
                  <a:pos x="34" y="17"/>
                </a:cxn>
                <a:cxn ang="0">
                  <a:pos x="43" y="10"/>
                </a:cxn>
                <a:cxn ang="0">
                  <a:pos x="52" y="10"/>
                </a:cxn>
                <a:cxn ang="0">
                  <a:pos x="51" y="6"/>
                </a:cxn>
                <a:cxn ang="0">
                  <a:pos x="47" y="0"/>
                </a:cxn>
                <a:cxn ang="0">
                  <a:pos x="41" y="0"/>
                </a:cxn>
                <a:cxn ang="0">
                  <a:pos x="34" y="6"/>
                </a:cxn>
                <a:cxn ang="0">
                  <a:pos x="32" y="6"/>
                </a:cxn>
                <a:cxn ang="0">
                  <a:pos x="30" y="6"/>
                </a:cxn>
                <a:cxn ang="0">
                  <a:pos x="26" y="6"/>
                </a:cxn>
                <a:cxn ang="0">
                  <a:pos x="22" y="6"/>
                </a:cxn>
                <a:cxn ang="0">
                  <a:pos x="19" y="10"/>
                </a:cxn>
                <a:cxn ang="0">
                  <a:pos x="15" y="6"/>
                </a:cxn>
                <a:cxn ang="0">
                  <a:pos x="7" y="6"/>
                </a:cxn>
                <a:cxn ang="0">
                  <a:pos x="4" y="6"/>
                </a:cxn>
                <a:cxn ang="0">
                  <a:pos x="0" y="12"/>
                </a:cxn>
                <a:cxn ang="0">
                  <a:pos x="0" y="13"/>
                </a:cxn>
                <a:cxn ang="0">
                  <a:pos x="0" y="19"/>
                </a:cxn>
                <a:cxn ang="0">
                  <a:pos x="0" y="23"/>
                </a:cxn>
                <a:cxn ang="0">
                  <a:pos x="0" y="23"/>
                </a:cxn>
                <a:cxn ang="0">
                  <a:pos x="4" y="25"/>
                </a:cxn>
                <a:cxn ang="0">
                  <a:pos x="4" y="29"/>
                </a:cxn>
                <a:cxn ang="0">
                  <a:pos x="0" y="29"/>
                </a:cxn>
                <a:cxn ang="0">
                  <a:pos x="0" y="32"/>
                </a:cxn>
                <a:cxn ang="0">
                  <a:pos x="0" y="32"/>
                </a:cxn>
                <a:cxn ang="0">
                  <a:pos x="0" y="32"/>
                </a:cxn>
              </a:cxnLst>
              <a:rect l="0" t="0" r="r" b="b"/>
              <a:pathLst>
                <a:path w="52" h="32">
                  <a:moveTo>
                    <a:pt x="0" y="32"/>
                  </a:moveTo>
                  <a:lnTo>
                    <a:pt x="7" y="32"/>
                  </a:lnTo>
                  <a:lnTo>
                    <a:pt x="11" y="29"/>
                  </a:lnTo>
                  <a:lnTo>
                    <a:pt x="15" y="27"/>
                  </a:lnTo>
                  <a:lnTo>
                    <a:pt x="22" y="30"/>
                  </a:lnTo>
                  <a:lnTo>
                    <a:pt x="26" y="30"/>
                  </a:lnTo>
                  <a:lnTo>
                    <a:pt x="26" y="23"/>
                  </a:lnTo>
                  <a:lnTo>
                    <a:pt x="32" y="23"/>
                  </a:lnTo>
                  <a:lnTo>
                    <a:pt x="34" y="17"/>
                  </a:lnTo>
                  <a:lnTo>
                    <a:pt x="43" y="10"/>
                  </a:lnTo>
                  <a:lnTo>
                    <a:pt x="52" y="10"/>
                  </a:lnTo>
                  <a:lnTo>
                    <a:pt x="51" y="6"/>
                  </a:lnTo>
                  <a:lnTo>
                    <a:pt x="47" y="0"/>
                  </a:lnTo>
                  <a:lnTo>
                    <a:pt x="41" y="0"/>
                  </a:lnTo>
                  <a:lnTo>
                    <a:pt x="34" y="6"/>
                  </a:lnTo>
                  <a:lnTo>
                    <a:pt x="32" y="6"/>
                  </a:lnTo>
                  <a:lnTo>
                    <a:pt x="30" y="6"/>
                  </a:lnTo>
                  <a:lnTo>
                    <a:pt x="26" y="6"/>
                  </a:lnTo>
                  <a:lnTo>
                    <a:pt x="22" y="6"/>
                  </a:lnTo>
                  <a:lnTo>
                    <a:pt x="19" y="10"/>
                  </a:lnTo>
                  <a:lnTo>
                    <a:pt x="15" y="6"/>
                  </a:lnTo>
                  <a:lnTo>
                    <a:pt x="7" y="6"/>
                  </a:lnTo>
                  <a:lnTo>
                    <a:pt x="4" y="6"/>
                  </a:lnTo>
                  <a:lnTo>
                    <a:pt x="0" y="12"/>
                  </a:lnTo>
                  <a:lnTo>
                    <a:pt x="0" y="13"/>
                  </a:lnTo>
                  <a:lnTo>
                    <a:pt x="0" y="19"/>
                  </a:lnTo>
                  <a:lnTo>
                    <a:pt x="0" y="23"/>
                  </a:lnTo>
                  <a:lnTo>
                    <a:pt x="0" y="23"/>
                  </a:lnTo>
                  <a:lnTo>
                    <a:pt x="4" y="25"/>
                  </a:lnTo>
                  <a:lnTo>
                    <a:pt x="4" y="29"/>
                  </a:lnTo>
                  <a:lnTo>
                    <a:pt x="0" y="29"/>
                  </a:lnTo>
                  <a:lnTo>
                    <a:pt x="0" y="32"/>
                  </a:lnTo>
                  <a:lnTo>
                    <a:pt x="0" y="32"/>
                  </a:lnTo>
                  <a:lnTo>
                    <a:pt x="0"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1" name="Freeform 94">
              <a:extLst>
                <a:ext uri="{FF2B5EF4-FFF2-40B4-BE49-F238E27FC236}">
                  <a16:creationId xmlns:a16="http://schemas.microsoft.com/office/drawing/2014/main" id="{6183052D-500D-4235-9855-27B19F273097}"/>
                </a:ext>
              </a:extLst>
            </p:cNvPr>
            <p:cNvSpPr>
              <a:spLocks noEditPoints="1"/>
            </p:cNvSpPr>
            <p:nvPr/>
          </p:nvSpPr>
          <p:spPr bwMode="auto">
            <a:xfrm>
              <a:off x="3118" y="2267"/>
              <a:ext cx="162" cy="160"/>
            </a:xfrm>
            <a:custGeom>
              <a:avLst/>
              <a:gdLst/>
              <a:ahLst/>
              <a:cxnLst>
                <a:cxn ang="0">
                  <a:pos x="94" y="13"/>
                </a:cxn>
                <a:cxn ang="0">
                  <a:pos x="60" y="17"/>
                </a:cxn>
                <a:cxn ang="0">
                  <a:pos x="15" y="41"/>
                </a:cxn>
                <a:cxn ang="0">
                  <a:pos x="28" y="79"/>
                </a:cxn>
                <a:cxn ang="0">
                  <a:pos x="54" y="86"/>
                </a:cxn>
                <a:cxn ang="0">
                  <a:pos x="39" y="88"/>
                </a:cxn>
                <a:cxn ang="0">
                  <a:pos x="39" y="115"/>
                </a:cxn>
                <a:cxn ang="0">
                  <a:pos x="56" y="126"/>
                </a:cxn>
                <a:cxn ang="0">
                  <a:pos x="60" y="105"/>
                </a:cxn>
                <a:cxn ang="0">
                  <a:pos x="69" y="103"/>
                </a:cxn>
                <a:cxn ang="0">
                  <a:pos x="83" y="98"/>
                </a:cxn>
                <a:cxn ang="0">
                  <a:pos x="58" y="75"/>
                </a:cxn>
                <a:cxn ang="0">
                  <a:pos x="64" y="66"/>
                </a:cxn>
                <a:cxn ang="0">
                  <a:pos x="51" y="36"/>
                </a:cxn>
                <a:cxn ang="0">
                  <a:pos x="69" y="43"/>
                </a:cxn>
                <a:cxn ang="0">
                  <a:pos x="79" y="39"/>
                </a:cxn>
                <a:cxn ang="0">
                  <a:pos x="85" y="22"/>
                </a:cxn>
                <a:cxn ang="0">
                  <a:pos x="118" y="19"/>
                </a:cxn>
                <a:cxn ang="0">
                  <a:pos x="79" y="145"/>
                </a:cxn>
                <a:cxn ang="0">
                  <a:pos x="100" y="160"/>
                </a:cxn>
                <a:cxn ang="0">
                  <a:pos x="128" y="150"/>
                </a:cxn>
                <a:cxn ang="0">
                  <a:pos x="107" y="145"/>
                </a:cxn>
                <a:cxn ang="0">
                  <a:pos x="85" y="145"/>
                </a:cxn>
                <a:cxn ang="0">
                  <a:pos x="79" y="145"/>
                </a:cxn>
                <a:cxn ang="0">
                  <a:pos x="0" y="54"/>
                </a:cxn>
                <a:cxn ang="0">
                  <a:pos x="21" y="75"/>
                </a:cxn>
                <a:cxn ang="0">
                  <a:pos x="19" y="79"/>
                </a:cxn>
                <a:cxn ang="0">
                  <a:pos x="19" y="88"/>
                </a:cxn>
                <a:cxn ang="0">
                  <a:pos x="19" y="85"/>
                </a:cxn>
                <a:cxn ang="0">
                  <a:pos x="26" y="98"/>
                </a:cxn>
                <a:cxn ang="0">
                  <a:pos x="143" y="139"/>
                </a:cxn>
                <a:cxn ang="0">
                  <a:pos x="143" y="149"/>
                </a:cxn>
                <a:cxn ang="0">
                  <a:pos x="162" y="124"/>
                </a:cxn>
                <a:cxn ang="0">
                  <a:pos x="152" y="137"/>
                </a:cxn>
                <a:cxn ang="0">
                  <a:pos x="128" y="124"/>
                </a:cxn>
                <a:cxn ang="0">
                  <a:pos x="135" y="100"/>
                </a:cxn>
                <a:cxn ang="0">
                  <a:pos x="128" y="98"/>
                </a:cxn>
                <a:cxn ang="0">
                  <a:pos x="115" y="79"/>
                </a:cxn>
                <a:cxn ang="0">
                  <a:pos x="118" y="62"/>
                </a:cxn>
                <a:cxn ang="0">
                  <a:pos x="118" y="66"/>
                </a:cxn>
                <a:cxn ang="0">
                  <a:pos x="115" y="66"/>
                </a:cxn>
                <a:cxn ang="0">
                  <a:pos x="105" y="34"/>
                </a:cxn>
                <a:cxn ang="0">
                  <a:pos x="98" y="47"/>
                </a:cxn>
                <a:cxn ang="0">
                  <a:pos x="90" y="30"/>
                </a:cxn>
                <a:cxn ang="0">
                  <a:pos x="75" y="66"/>
                </a:cxn>
                <a:cxn ang="0">
                  <a:pos x="68" y="66"/>
                </a:cxn>
                <a:cxn ang="0">
                  <a:pos x="92" y="71"/>
                </a:cxn>
                <a:cxn ang="0">
                  <a:pos x="122" y="103"/>
                </a:cxn>
                <a:cxn ang="0">
                  <a:pos x="88" y="124"/>
                </a:cxn>
                <a:cxn ang="0">
                  <a:pos x="90" y="111"/>
                </a:cxn>
                <a:cxn ang="0">
                  <a:pos x="88" y="105"/>
                </a:cxn>
                <a:cxn ang="0">
                  <a:pos x="103" y="111"/>
                </a:cxn>
                <a:cxn ang="0">
                  <a:pos x="113" y="111"/>
                </a:cxn>
                <a:cxn ang="0">
                  <a:pos x="109" y="105"/>
                </a:cxn>
                <a:cxn ang="0">
                  <a:pos x="103" y="101"/>
                </a:cxn>
                <a:cxn ang="0">
                  <a:pos x="94" y="96"/>
                </a:cxn>
                <a:cxn ang="0">
                  <a:pos x="77" y="75"/>
                </a:cxn>
                <a:cxn ang="0">
                  <a:pos x="88" y="90"/>
                </a:cxn>
                <a:cxn ang="0">
                  <a:pos x="79" y="81"/>
                </a:cxn>
                <a:cxn ang="0">
                  <a:pos x="60" y="71"/>
                </a:cxn>
                <a:cxn ang="0">
                  <a:pos x="66" y="132"/>
                </a:cxn>
                <a:cxn ang="0">
                  <a:pos x="66" y="124"/>
                </a:cxn>
              </a:cxnLst>
              <a:rect l="0" t="0" r="r" b="b"/>
              <a:pathLst>
                <a:path w="162" h="160">
                  <a:moveTo>
                    <a:pt x="120" y="0"/>
                  </a:moveTo>
                  <a:lnTo>
                    <a:pt x="118" y="0"/>
                  </a:lnTo>
                  <a:lnTo>
                    <a:pt x="115" y="4"/>
                  </a:lnTo>
                  <a:lnTo>
                    <a:pt x="115" y="7"/>
                  </a:lnTo>
                  <a:lnTo>
                    <a:pt x="115" y="11"/>
                  </a:lnTo>
                  <a:lnTo>
                    <a:pt x="115" y="13"/>
                  </a:lnTo>
                  <a:lnTo>
                    <a:pt x="105" y="13"/>
                  </a:lnTo>
                  <a:lnTo>
                    <a:pt x="101" y="15"/>
                  </a:lnTo>
                  <a:lnTo>
                    <a:pt x="98" y="13"/>
                  </a:lnTo>
                  <a:lnTo>
                    <a:pt x="94" y="13"/>
                  </a:lnTo>
                  <a:lnTo>
                    <a:pt x="92" y="15"/>
                  </a:lnTo>
                  <a:lnTo>
                    <a:pt x="88" y="15"/>
                  </a:lnTo>
                  <a:lnTo>
                    <a:pt x="88" y="11"/>
                  </a:lnTo>
                  <a:lnTo>
                    <a:pt x="83" y="11"/>
                  </a:lnTo>
                  <a:lnTo>
                    <a:pt x="79" y="11"/>
                  </a:lnTo>
                  <a:lnTo>
                    <a:pt x="77" y="15"/>
                  </a:lnTo>
                  <a:lnTo>
                    <a:pt x="69" y="15"/>
                  </a:lnTo>
                  <a:lnTo>
                    <a:pt x="66" y="15"/>
                  </a:lnTo>
                  <a:lnTo>
                    <a:pt x="62" y="15"/>
                  </a:lnTo>
                  <a:lnTo>
                    <a:pt x="60" y="17"/>
                  </a:lnTo>
                  <a:lnTo>
                    <a:pt x="56" y="17"/>
                  </a:lnTo>
                  <a:lnTo>
                    <a:pt x="53" y="19"/>
                  </a:lnTo>
                  <a:lnTo>
                    <a:pt x="43" y="19"/>
                  </a:lnTo>
                  <a:lnTo>
                    <a:pt x="39" y="20"/>
                  </a:lnTo>
                  <a:lnTo>
                    <a:pt x="39" y="22"/>
                  </a:lnTo>
                  <a:lnTo>
                    <a:pt x="34" y="24"/>
                  </a:lnTo>
                  <a:lnTo>
                    <a:pt x="26" y="30"/>
                  </a:lnTo>
                  <a:lnTo>
                    <a:pt x="26" y="36"/>
                  </a:lnTo>
                  <a:lnTo>
                    <a:pt x="22" y="39"/>
                  </a:lnTo>
                  <a:lnTo>
                    <a:pt x="15" y="41"/>
                  </a:lnTo>
                  <a:lnTo>
                    <a:pt x="15" y="47"/>
                  </a:lnTo>
                  <a:lnTo>
                    <a:pt x="13" y="53"/>
                  </a:lnTo>
                  <a:lnTo>
                    <a:pt x="9" y="53"/>
                  </a:lnTo>
                  <a:lnTo>
                    <a:pt x="9" y="54"/>
                  </a:lnTo>
                  <a:lnTo>
                    <a:pt x="9" y="60"/>
                  </a:lnTo>
                  <a:lnTo>
                    <a:pt x="17" y="64"/>
                  </a:lnTo>
                  <a:lnTo>
                    <a:pt x="21" y="69"/>
                  </a:lnTo>
                  <a:lnTo>
                    <a:pt x="22" y="69"/>
                  </a:lnTo>
                  <a:lnTo>
                    <a:pt x="22" y="71"/>
                  </a:lnTo>
                  <a:lnTo>
                    <a:pt x="28" y="79"/>
                  </a:lnTo>
                  <a:lnTo>
                    <a:pt x="30" y="85"/>
                  </a:lnTo>
                  <a:lnTo>
                    <a:pt x="32" y="85"/>
                  </a:lnTo>
                  <a:lnTo>
                    <a:pt x="36" y="81"/>
                  </a:lnTo>
                  <a:lnTo>
                    <a:pt x="37" y="85"/>
                  </a:lnTo>
                  <a:lnTo>
                    <a:pt x="43" y="85"/>
                  </a:lnTo>
                  <a:lnTo>
                    <a:pt x="43" y="85"/>
                  </a:lnTo>
                  <a:lnTo>
                    <a:pt x="49" y="85"/>
                  </a:lnTo>
                  <a:lnTo>
                    <a:pt x="51" y="86"/>
                  </a:lnTo>
                  <a:lnTo>
                    <a:pt x="54" y="85"/>
                  </a:lnTo>
                  <a:lnTo>
                    <a:pt x="54" y="86"/>
                  </a:lnTo>
                  <a:lnTo>
                    <a:pt x="58" y="86"/>
                  </a:lnTo>
                  <a:lnTo>
                    <a:pt x="60" y="88"/>
                  </a:lnTo>
                  <a:lnTo>
                    <a:pt x="64" y="88"/>
                  </a:lnTo>
                  <a:lnTo>
                    <a:pt x="60" y="90"/>
                  </a:lnTo>
                  <a:lnTo>
                    <a:pt x="58" y="94"/>
                  </a:lnTo>
                  <a:lnTo>
                    <a:pt x="56" y="92"/>
                  </a:lnTo>
                  <a:lnTo>
                    <a:pt x="53" y="90"/>
                  </a:lnTo>
                  <a:lnTo>
                    <a:pt x="45" y="85"/>
                  </a:lnTo>
                  <a:lnTo>
                    <a:pt x="43" y="86"/>
                  </a:lnTo>
                  <a:lnTo>
                    <a:pt x="39" y="88"/>
                  </a:lnTo>
                  <a:lnTo>
                    <a:pt x="36" y="86"/>
                  </a:lnTo>
                  <a:lnTo>
                    <a:pt x="34" y="90"/>
                  </a:lnTo>
                  <a:lnTo>
                    <a:pt x="32" y="92"/>
                  </a:lnTo>
                  <a:lnTo>
                    <a:pt x="30" y="94"/>
                  </a:lnTo>
                  <a:lnTo>
                    <a:pt x="34" y="100"/>
                  </a:lnTo>
                  <a:lnTo>
                    <a:pt x="37" y="101"/>
                  </a:lnTo>
                  <a:lnTo>
                    <a:pt x="43" y="105"/>
                  </a:lnTo>
                  <a:lnTo>
                    <a:pt x="43" y="109"/>
                  </a:lnTo>
                  <a:lnTo>
                    <a:pt x="39" y="111"/>
                  </a:lnTo>
                  <a:lnTo>
                    <a:pt x="39" y="115"/>
                  </a:lnTo>
                  <a:lnTo>
                    <a:pt x="43" y="117"/>
                  </a:lnTo>
                  <a:lnTo>
                    <a:pt x="45" y="118"/>
                  </a:lnTo>
                  <a:lnTo>
                    <a:pt x="49" y="117"/>
                  </a:lnTo>
                  <a:lnTo>
                    <a:pt x="45" y="115"/>
                  </a:lnTo>
                  <a:lnTo>
                    <a:pt x="49" y="111"/>
                  </a:lnTo>
                  <a:lnTo>
                    <a:pt x="49" y="117"/>
                  </a:lnTo>
                  <a:lnTo>
                    <a:pt x="54" y="118"/>
                  </a:lnTo>
                  <a:lnTo>
                    <a:pt x="54" y="120"/>
                  </a:lnTo>
                  <a:lnTo>
                    <a:pt x="54" y="124"/>
                  </a:lnTo>
                  <a:lnTo>
                    <a:pt x="56" y="126"/>
                  </a:lnTo>
                  <a:lnTo>
                    <a:pt x="56" y="120"/>
                  </a:lnTo>
                  <a:lnTo>
                    <a:pt x="58" y="117"/>
                  </a:lnTo>
                  <a:lnTo>
                    <a:pt x="62" y="117"/>
                  </a:lnTo>
                  <a:lnTo>
                    <a:pt x="64" y="120"/>
                  </a:lnTo>
                  <a:lnTo>
                    <a:pt x="69" y="124"/>
                  </a:lnTo>
                  <a:lnTo>
                    <a:pt x="66" y="120"/>
                  </a:lnTo>
                  <a:lnTo>
                    <a:pt x="68" y="117"/>
                  </a:lnTo>
                  <a:lnTo>
                    <a:pt x="66" y="115"/>
                  </a:lnTo>
                  <a:lnTo>
                    <a:pt x="62" y="109"/>
                  </a:lnTo>
                  <a:lnTo>
                    <a:pt x="60" y="105"/>
                  </a:lnTo>
                  <a:lnTo>
                    <a:pt x="60" y="103"/>
                  </a:lnTo>
                  <a:lnTo>
                    <a:pt x="62" y="103"/>
                  </a:lnTo>
                  <a:lnTo>
                    <a:pt x="68" y="105"/>
                  </a:lnTo>
                  <a:lnTo>
                    <a:pt x="66" y="105"/>
                  </a:lnTo>
                  <a:lnTo>
                    <a:pt x="68" y="109"/>
                  </a:lnTo>
                  <a:lnTo>
                    <a:pt x="69" y="105"/>
                  </a:lnTo>
                  <a:lnTo>
                    <a:pt x="73" y="105"/>
                  </a:lnTo>
                  <a:lnTo>
                    <a:pt x="73" y="105"/>
                  </a:lnTo>
                  <a:lnTo>
                    <a:pt x="69" y="105"/>
                  </a:lnTo>
                  <a:lnTo>
                    <a:pt x="69" y="103"/>
                  </a:lnTo>
                  <a:lnTo>
                    <a:pt x="69" y="103"/>
                  </a:lnTo>
                  <a:lnTo>
                    <a:pt x="68" y="101"/>
                  </a:lnTo>
                  <a:lnTo>
                    <a:pt x="68" y="100"/>
                  </a:lnTo>
                  <a:lnTo>
                    <a:pt x="64" y="96"/>
                  </a:lnTo>
                  <a:lnTo>
                    <a:pt x="68" y="94"/>
                  </a:lnTo>
                  <a:lnTo>
                    <a:pt x="69" y="94"/>
                  </a:lnTo>
                  <a:lnTo>
                    <a:pt x="73" y="92"/>
                  </a:lnTo>
                  <a:lnTo>
                    <a:pt x="77" y="96"/>
                  </a:lnTo>
                  <a:lnTo>
                    <a:pt x="79" y="98"/>
                  </a:lnTo>
                  <a:lnTo>
                    <a:pt x="83" y="98"/>
                  </a:lnTo>
                  <a:lnTo>
                    <a:pt x="83" y="96"/>
                  </a:lnTo>
                  <a:lnTo>
                    <a:pt x="79" y="92"/>
                  </a:lnTo>
                  <a:lnTo>
                    <a:pt x="79" y="86"/>
                  </a:lnTo>
                  <a:lnTo>
                    <a:pt x="79" y="85"/>
                  </a:lnTo>
                  <a:lnTo>
                    <a:pt x="69" y="79"/>
                  </a:lnTo>
                  <a:lnTo>
                    <a:pt x="68" y="79"/>
                  </a:lnTo>
                  <a:lnTo>
                    <a:pt x="66" y="75"/>
                  </a:lnTo>
                  <a:lnTo>
                    <a:pt x="64" y="79"/>
                  </a:lnTo>
                  <a:lnTo>
                    <a:pt x="62" y="75"/>
                  </a:lnTo>
                  <a:lnTo>
                    <a:pt x="58" y="75"/>
                  </a:lnTo>
                  <a:lnTo>
                    <a:pt x="54" y="69"/>
                  </a:lnTo>
                  <a:lnTo>
                    <a:pt x="58" y="69"/>
                  </a:lnTo>
                  <a:lnTo>
                    <a:pt x="60" y="69"/>
                  </a:lnTo>
                  <a:lnTo>
                    <a:pt x="60" y="66"/>
                  </a:lnTo>
                  <a:lnTo>
                    <a:pt x="56" y="66"/>
                  </a:lnTo>
                  <a:lnTo>
                    <a:pt x="58" y="62"/>
                  </a:lnTo>
                  <a:lnTo>
                    <a:pt x="58" y="60"/>
                  </a:lnTo>
                  <a:lnTo>
                    <a:pt x="62" y="62"/>
                  </a:lnTo>
                  <a:lnTo>
                    <a:pt x="64" y="64"/>
                  </a:lnTo>
                  <a:lnTo>
                    <a:pt x="64" y="66"/>
                  </a:lnTo>
                  <a:lnTo>
                    <a:pt x="64" y="66"/>
                  </a:lnTo>
                  <a:lnTo>
                    <a:pt x="66" y="66"/>
                  </a:lnTo>
                  <a:lnTo>
                    <a:pt x="68" y="62"/>
                  </a:lnTo>
                  <a:lnTo>
                    <a:pt x="64" y="60"/>
                  </a:lnTo>
                  <a:lnTo>
                    <a:pt x="58" y="53"/>
                  </a:lnTo>
                  <a:lnTo>
                    <a:pt x="56" y="51"/>
                  </a:lnTo>
                  <a:lnTo>
                    <a:pt x="54" y="47"/>
                  </a:lnTo>
                  <a:lnTo>
                    <a:pt x="51" y="43"/>
                  </a:lnTo>
                  <a:lnTo>
                    <a:pt x="53" y="41"/>
                  </a:lnTo>
                  <a:lnTo>
                    <a:pt x="51" y="36"/>
                  </a:lnTo>
                  <a:lnTo>
                    <a:pt x="54" y="30"/>
                  </a:lnTo>
                  <a:lnTo>
                    <a:pt x="58" y="30"/>
                  </a:lnTo>
                  <a:lnTo>
                    <a:pt x="60" y="36"/>
                  </a:lnTo>
                  <a:lnTo>
                    <a:pt x="56" y="36"/>
                  </a:lnTo>
                  <a:lnTo>
                    <a:pt x="58" y="36"/>
                  </a:lnTo>
                  <a:lnTo>
                    <a:pt x="64" y="39"/>
                  </a:lnTo>
                  <a:lnTo>
                    <a:pt x="64" y="43"/>
                  </a:lnTo>
                  <a:lnTo>
                    <a:pt x="68" y="45"/>
                  </a:lnTo>
                  <a:lnTo>
                    <a:pt x="73" y="45"/>
                  </a:lnTo>
                  <a:lnTo>
                    <a:pt x="69" y="43"/>
                  </a:lnTo>
                  <a:lnTo>
                    <a:pt x="68" y="41"/>
                  </a:lnTo>
                  <a:lnTo>
                    <a:pt x="68" y="39"/>
                  </a:lnTo>
                  <a:lnTo>
                    <a:pt x="73" y="39"/>
                  </a:lnTo>
                  <a:lnTo>
                    <a:pt x="75" y="43"/>
                  </a:lnTo>
                  <a:lnTo>
                    <a:pt x="79" y="45"/>
                  </a:lnTo>
                  <a:lnTo>
                    <a:pt x="79" y="41"/>
                  </a:lnTo>
                  <a:lnTo>
                    <a:pt x="77" y="39"/>
                  </a:lnTo>
                  <a:lnTo>
                    <a:pt x="73" y="39"/>
                  </a:lnTo>
                  <a:lnTo>
                    <a:pt x="75" y="36"/>
                  </a:lnTo>
                  <a:lnTo>
                    <a:pt x="79" y="39"/>
                  </a:lnTo>
                  <a:lnTo>
                    <a:pt x="83" y="39"/>
                  </a:lnTo>
                  <a:lnTo>
                    <a:pt x="83" y="39"/>
                  </a:lnTo>
                  <a:lnTo>
                    <a:pt x="79" y="36"/>
                  </a:lnTo>
                  <a:lnTo>
                    <a:pt x="77" y="36"/>
                  </a:lnTo>
                  <a:lnTo>
                    <a:pt x="73" y="30"/>
                  </a:lnTo>
                  <a:lnTo>
                    <a:pt x="75" y="26"/>
                  </a:lnTo>
                  <a:lnTo>
                    <a:pt x="79" y="30"/>
                  </a:lnTo>
                  <a:lnTo>
                    <a:pt x="83" y="26"/>
                  </a:lnTo>
                  <a:lnTo>
                    <a:pt x="83" y="22"/>
                  </a:lnTo>
                  <a:lnTo>
                    <a:pt x="85" y="22"/>
                  </a:lnTo>
                  <a:lnTo>
                    <a:pt x="88" y="26"/>
                  </a:lnTo>
                  <a:lnTo>
                    <a:pt x="92" y="26"/>
                  </a:lnTo>
                  <a:lnTo>
                    <a:pt x="96" y="22"/>
                  </a:lnTo>
                  <a:lnTo>
                    <a:pt x="96" y="20"/>
                  </a:lnTo>
                  <a:lnTo>
                    <a:pt x="98" y="20"/>
                  </a:lnTo>
                  <a:lnTo>
                    <a:pt x="100" y="22"/>
                  </a:lnTo>
                  <a:lnTo>
                    <a:pt x="109" y="22"/>
                  </a:lnTo>
                  <a:lnTo>
                    <a:pt x="115" y="24"/>
                  </a:lnTo>
                  <a:lnTo>
                    <a:pt x="118" y="24"/>
                  </a:lnTo>
                  <a:lnTo>
                    <a:pt x="118" y="19"/>
                  </a:lnTo>
                  <a:lnTo>
                    <a:pt x="118" y="15"/>
                  </a:lnTo>
                  <a:lnTo>
                    <a:pt x="124" y="11"/>
                  </a:lnTo>
                  <a:lnTo>
                    <a:pt x="124" y="7"/>
                  </a:lnTo>
                  <a:lnTo>
                    <a:pt x="120" y="5"/>
                  </a:lnTo>
                  <a:lnTo>
                    <a:pt x="120" y="0"/>
                  </a:lnTo>
                  <a:lnTo>
                    <a:pt x="120" y="0"/>
                  </a:lnTo>
                  <a:lnTo>
                    <a:pt x="120" y="0"/>
                  </a:lnTo>
                  <a:lnTo>
                    <a:pt x="120" y="0"/>
                  </a:lnTo>
                  <a:close/>
                  <a:moveTo>
                    <a:pt x="79" y="145"/>
                  </a:moveTo>
                  <a:lnTo>
                    <a:pt x="79" y="145"/>
                  </a:lnTo>
                  <a:lnTo>
                    <a:pt x="79" y="145"/>
                  </a:lnTo>
                  <a:lnTo>
                    <a:pt x="77" y="150"/>
                  </a:lnTo>
                  <a:lnTo>
                    <a:pt x="79" y="150"/>
                  </a:lnTo>
                  <a:lnTo>
                    <a:pt x="79" y="154"/>
                  </a:lnTo>
                  <a:lnTo>
                    <a:pt x="88" y="154"/>
                  </a:lnTo>
                  <a:lnTo>
                    <a:pt x="88" y="154"/>
                  </a:lnTo>
                  <a:lnTo>
                    <a:pt x="90" y="150"/>
                  </a:lnTo>
                  <a:lnTo>
                    <a:pt x="94" y="154"/>
                  </a:lnTo>
                  <a:lnTo>
                    <a:pt x="100" y="154"/>
                  </a:lnTo>
                  <a:lnTo>
                    <a:pt x="100" y="160"/>
                  </a:lnTo>
                  <a:lnTo>
                    <a:pt x="105" y="160"/>
                  </a:lnTo>
                  <a:lnTo>
                    <a:pt x="109" y="154"/>
                  </a:lnTo>
                  <a:lnTo>
                    <a:pt x="113" y="154"/>
                  </a:lnTo>
                  <a:lnTo>
                    <a:pt x="118" y="154"/>
                  </a:lnTo>
                  <a:lnTo>
                    <a:pt x="124" y="154"/>
                  </a:lnTo>
                  <a:lnTo>
                    <a:pt x="128" y="154"/>
                  </a:lnTo>
                  <a:lnTo>
                    <a:pt x="128" y="150"/>
                  </a:lnTo>
                  <a:lnTo>
                    <a:pt x="128" y="150"/>
                  </a:lnTo>
                  <a:lnTo>
                    <a:pt x="128" y="149"/>
                  </a:lnTo>
                  <a:lnTo>
                    <a:pt x="128" y="150"/>
                  </a:lnTo>
                  <a:lnTo>
                    <a:pt x="128" y="150"/>
                  </a:lnTo>
                  <a:lnTo>
                    <a:pt x="124" y="154"/>
                  </a:lnTo>
                  <a:lnTo>
                    <a:pt x="122" y="150"/>
                  </a:lnTo>
                  <a:lnTo>
                    <a:pt x="120" y="150"/>
                  </a:lnTo>
                  <a:lnTo>
                    <a:pt x="118" y="150"/>
                  </a:lnTo>
                  <a:lnTo>
                    <a:pt x="118" y="150"/>
                  </a:lnTo>
                  <a:lnTo>
                    <a:pt x="118" y="149"/>
                  </a:lnTo>
                  <a:lnTo>
                    <a:pt x="115" y="149"/>
                  </a:lnTo>
                  <a:lnTo>
                    <a:pt x="109" y="145"/>
                  </a:lnTo>
                  <a:lnTo>
                    <a:pt x="107" y="145"/>
                  </a:lnTo>
                  <a:lnTo>
                    <a:pt x="101" y="145"/>
                  </a:lnTo>
                  <a:lnTo>
                    <a:pt x="98" y="149"/>
                  </a:lnTo>
                  <a:lnTo>
                    <a:pt x="94" y="150"/>
                  </a:lnTo>
                  <a:lnTo>
                    <a:pt x="90" y="149"/>
                  </a:lnTo>
                  <a:lnTo>
                    <a:pt x="88" y="145"/>
                  </a:lnTo>
                  <a:lnTo>
                    <a:pt x="88" y="145"/>
                  </a:lnTo>
                  <a:lnTo>
                    <a:pt x="88" y="145"/>
                  </a:lnTo>
                  <a:lnTo>
                    <a:pt x="88" y="141"/>
                  </a:lnTo>
                  <a:lnTo>
                    <a:pt x="85" y="141"/>
                  </a:lnTo>
                  <a:lnTo>
                    <a:pt x="85" y="145"/>
                  </a:lnTo>
                  <a:lnTo>
                    <a:pt x="88" y="145"/>
                  </a:lnTo>
                  <a:lnTo>
                    <a:pt x="85" y="145"/>
                  </a:lnTo>
                  <a:lnTo>
                    <a:pt x="83" y="145"/>
                  </a:lnTo>
                  <a:lnTo>
                    <a:pt x="83" y="141"/>
                  </a:lnTo>
                  <a:lnTo>
                    <a:pt x="79" y="141"/>
                  </a:lnTo>
                  <a:lnTo>
                    <a:pt x="79" y="145"/>
                  </a:lnTo>
                  <a:lnTo>
                    <a:pt x="83" y="145"/>
                  </a:lnTo>
                  <a:lnTo>
                    <a:pt x="79" y="145"/>
                  </a:lnTo>
                  <a:lnTo>
                    <a:pt x="79" y="145"/>
                  </a:lnTo>
                  <a:lnTo>
                    <a:pt x="79" y="145"/>
                  </a:lnTo>
                  <a:lnTo>
                    <a:pt x="79" y="145"/>
                  </a:lnTo>
                  <a:close/>
                  <a:moveTo>
                    <a:pt x="4" y="51"/>
                  </a:moveTo>
                  <a:lnTo>
                    <a:pt x="4" y="54"/>
                  </a:lnTo>
                  <a:lnTo>
                    <a:pt x="7" y="58"/>
                  </a:lnTo>
                  <a:lnTo>
                    <a:pt x="9" y="58"/>
                  </a:lnTo>
                  <a:lnTo>
                    <a:pt x="9" y="60"/>
                  </a:lnTo>
                  <a:lnTo>
                    <a:pt x="9" y="60"/>
                  </a:lnTo>
                  <a:lnTo>
                    <a:pt x="4" y="60"/>
                  </a:lnTo>
                  <a:lnTo>
                    <a:pt x="4" y="56"/>
                  </a:lnTo>
                  <a:lnTo>
                    <a:pt x="0" y="54"/>
                  </a:lnTo>
                  <a:lnTo>
                    <a:pt x="0" y="54"/>
                  </a:lnTo>
                  <a:lnTo>
                    <a:pt x="0" y="53"/>
                  </a:lnTo>
                  <a:lnTo>
                    <a:pt x="4" y="51"/>
                  </a:lnTo>
                  <a:lnTo>
                    <a:pt x="4" y="51"/>
                  </a:lnTo>
                  <a:lnTo>
                    <a:pt x="4" y="51"/>
                  </a:lnTo>
                  <a:lnTo>
                    <a:pt x="4" y="51"/>
                  </a:lnTo>
                  <a:lnTo>
                    <a:pt x="4" y="51"/>
                  </a:lnTo>
                  <a:close/>
                  <a:moveTo>
                    <a:pt x="19" y="79"/>
                  </a:moveTo>
                  <a:lnTo>
                    <a:pt x="19" y="79"/>
                  </a:lnTo>
                  <a:lnTo>
                    <a:pt x="21" y="75"/>
                  </a:lnTo>
                  <a:lnTo>
                    <a:pt x="22" y="75"/>
                  </a:lnTo>
                  <a:lnTo>
                    <a:pt x="22" y="79"/>
                  </a:lnTo>
                  <a:lnTo>
                    <a:pt x="21" y="79"/>
                  </a:lnTo>
                  <a:lnTo>
                    <a:pt x="21" y="79"/>
                  </a:lnTo>
                  <a:lnTo>
                    <a:pt x="19" y="79"/>
                  </a:lnTo>
                  <a:lnTo>
                    <a:pt x="19" y="79"/>
                  </a:lnTo>
                  <a:lnTo>
                    <a:pt x="19" y="79"/>
                  </a:lnTo>
                  <a:lnTo>
                    <a:pt x="19" y="79"/>
                  </a:lnTo>
                  <a:close/>
                  <a:moveTo>
                    <a:pt x="19" y="85"/>
                  </a:moveTo>
                  <a:lnTo>
                    <a:pt x="19" y="79"/>
                  </a:lnTo>
                  <a:lnTo>
                    <a:pt x="21" y="81"/>
                  </a:lnTo>
                  <a:lnTo>
                    <a:pt x="22" y="85"/>
                  </a:lnTo>
                  <a:lnTo>
                    <a:pt x="22" y="86"/>
                  </a:lnTo>
                  <a:lnTo>
                    <a:pt x="24" y="86"/>
                  </a:lnTo>
                  <a:lnTo>
                    <a:pt x="24" y="88"/>
                  </a:lnTo>
                  <a:lnTo>
                    <a:pt x="24" y="90"/>
                  </a:lnTo>
                  <a:lnTo>
                    <a:pt x="24" y="92"/>
                  </a:lnTo>
                  <a:lnTo>
                    <a:pt x="21" y="90"/>
                  </a:lnTo>
                  <a:lnTo>
                    <a:pt x="19" y="90"/>
                  </a:lnTo>
                  <a:lnTo>
                    <a:pt x="19" y="88"/>
                  </a:lnTo>
                  <a:lnTo>
                    <a:pt x="19" y="86"/>
                  </a:lnTo>
                  <a:lnTo>
                    <a:pt x="19" y="90"/>
                  </a:lnTo>
                  <a:lnTo>
                    <a:pt x="17" y="90"/>
                  </a:lnTo>
                  <a:lnTo>
                    <a:pt x="15" y="88"/>
                  </a:lnTo>
                  <a:lnTo>
                    <a:pt x="15" y="85"/>
                  </a:lnTo>
                  <a:lnTo>
                    <a:pt x="17" y="85"/>
                  </a:lnTo>
                  <a:lnTo>
                    <a:pt x="19" y="85"/>
                  </a:lnTo>
                  <a:lnTo>
                    <a:pt x="19" y="85"/>
                  </a:lnTo>
                  <a:lnTo>
                    <a:pt x="19" y="85"/>
                  </a:lnTo>
                  <a:lnTo>
                    <a:pt x="19" y="85"/>
                  </a:lnTo>
                  <a:close/>
                  <a:moveTo>
                    <a:pt x="26" y="98"/>
                  </a:moveTo>
                  <a:lnTo>
                    <a:pt x="28" y="100"/>
                  </a:lnTo>
                  <a:lnTo>
                    <a:pt x="26" y="100"/>
                  </a:lnTo>
                  <a:lnTo>
                    <a:pt x="24" y="101"/>
                  </a:lnTo>
                  <a:lnTo>
                    <a:pt x="22" y="100"/>
                  </a:lnTo>
                  <a:lnTo>
                    <a:pt x="21" y="98"/>
                  </a:lnTo>
                  <a:lnTo>
                    <a:pt x="21" y="96"/>
                  </a:lnTo>
                  <a:lnTo>
                    <a:pt x="22" y="94"/>
                  </a:lnTo>
                  <a:lnTo>
                    <a:pt x="24" y="96"/>
                  </a:lnTo>
                  <a:lnTo>
                    <a:pt x="26" y="98"/>
                  </a:lnTo>
                  <a:lnTo>
                    <a:pt x="26" y="98"/>
                  </a:lnTo>
                  <a:lnTo>
                    <a:pt x="26" y="98"/>
                  </a:lnTo>
                  <a:lnTo>
                    <a:pt x="26" y="98"/>
                  </a:lnTo>
                  <a:close/>
                  <a:moveTo>
                    <a:pt x="143" y="139"/>
                  </a:moveTo>
                  <a:lnTo>
                    <a:pt x="143" y="139"/>
                  </a:lnTo>
                  <a:lnTo>
                    <a:pt x="143" y="137"/>
                  </a:lnTo>
                  <a:lnTo>
                    <a:pt x="143" y="139"/>
                  </a:lnTo>
                  <a:lnTo>
                    <a:pt x="143" y="139"/>
                  </a:lnTo>
                  <a:lnTo>
                    <a:pt x="143" y="139"/>
                  </a:lnTo>
                  <a:lnTo>
                    <a:pt x="143" y="139"/>
                  </a:lnTo>
                  <a:lnTo>
                    <a:pt x="143" y="139"/>
                  </a:lnTo>
                  <a:close/>
                  <a:moveTo>
                    <a:pt x="143" y="149"/>
                  </a:moveTo>
                  <a:lnTo>
                    <a:pt x="141" y="145"/>
                  </a:lnTo>
                  <a:lnTo>
                    <a:pt x="141" y="141"/>
                  </a:lnTo>
                  <a:lnTo>
                    <a:pt x="143" y="141"/>
                  </a:lnTo>
                  <a:lnTo>
                    <a:pt x="143" y="141"/>
                  </a:lnTo>
                  <a:lnTo>
                    <a:pt x="145" y="145"/>
                  </a:lnTo>
                  <a:lnTo>
                    <a:pt x="143" y="149"/>
                  </a:lnTo>
                  <a:lnTo>
                    <a:pt x="143" y="149"/>
                  </a:lnTo>
                  <a:lnTo>
                    <a:pt x="143" y="149"/>
                  </a:lnTo>
                  <a:lnTo>
                    <a:pt x="143" y="149"/>
                  </a:lnTo>
                  <a:lnTo>
                    <a:pt x="143" y="149"/>
                  </a:lnTo>
                  <a:close/>
                  <a:moveTo>
                    <a:pt x="152" y="137"/>
                  </a:moveTo>
                  <a:lnTo>
                    <a:pt x="149" y="137"/>
                  </a:lnTo>
                  <a:lnTo>
                    <a:pt x="152" y="134"/>
                  </a:lnTo>
                  <a:lnTo>
                    <a:pt x="152" y="134"/>
                  </a:lnTo>
                  <a:lnTo>
                    <a:pt x="152" y="132"/>
                  </a:lnTo>
                  <a:lnTo>
                    <a:pt x="154" y="128"/>
                  </a:lnTo>
                  <a:lnTo>
                    <a:pt x="158" y="126"/>
                  </a:lnTo>
                  <a:lnTo>
                    <a:pt x="162" y="124"/>
                  </a:lnTo>
                  <a:lnTo>
                    <a:pt x="162" y="126"/>
                  </a:lnTo>
                  <a:lnTo>
                    <a:pt x="160" y="128"/>
                  </a:lnTo>
                  <a:lnTo>
                    <a:pt x="160" y="130"/>
                  </a:lnTo>
                  <a:lnTo>
                    <a:pt x="158" y="132"/>
                  </a:lnTo>
                  <a:lnTo>
                    <a:pt x="158" y="134"/>
                  </a:lnTo>
                  <a:lnTo>
                    <a:pt x="158" y="134"/>
                  </a:lnTo>
                  <a:lnTo>
                    <a:pt x="154" y="135"/>
                  </a:lnTo>
                  <a:lnTo>
                    <a:pt x="154" y="137"/>
                  </a:lnTo>
                  <a:lnTo>
                    <a:pt x="152" y="137"/>
                  </a:lnTo>
                  <a:lnTo>
                    <a:pt x="152" y="137"/>
                  </a:lnTo>
                  <a:lnTo>
                    <a:pt x="152" y="137"/>
                  </a:lnTo>
                  <a:lnTo>
                    <a:pt x="152" y="137"/>
                  </a:lnTo>
                  <a:close/>
                  <a:moveTo>
                    <a:pt x="128" y="124"/>
                  </a:moveTo>
                  <a:lnTo>
                    <a:pt x="124" y="124"/>
                  </a:lnTo>
                  <a:lnTo>
                    <a:pt x="128" y="122"/>
                  </a:lnTo>
                  <a:lnTo>
                    <a:pt x="128" y="120"/>
                  </a:lnTo>
                  <a:lnTo>
                    <a:pt x="130" y="122"/>
                  </a:lnTo>
                  <a:lnTo>
                    <a:pt x="128" y="124"/>
                  </a:lnTo>
                  <a:lnTo>
                    <a:pt x="128" y="124"/>
                  </a:lnTo>
                  <a:lnTo>
                    <a:pt x="128" y="124"/>
                  </a:lnTo>
                  <a:lnTo>
                    <a:pt x="128" y="124"/>
                  </a:lnTo>
                  <a:lnTo>
                    <a:pt x="128" y="124"/>
                  </a:lnTo>
                  <a:lnTo>
                    <a:pt x="128" y="124"/>
                  </a:lnTo>
                  <a:close/>
                  <a:moveTo>
                    <a:pt x="128" y="98"/>
                  </a:moveTo>
                  <a:lnTo>
                    <a:pt x="130" y="96"/>
                  </a:lnTo>
                  <a:lnTo>
                    <a:pt x="132" y="96"/>
                  </a:lnTo>
                  <a:lnTo>
                    <a:pt x="133" y="98"/>
                  </a:lnTo>
                  <a:lnTo>
                    <a:pt x="133" y="98"/>
                  </a:lnTo>
                  <a:lnTo>
                    <a:pt x="135" y="98"/>
                  </a:lnTo>
                  <a:lnTo>
                    <a:pt x="135" y="100"/>
                  </a:lnTo>
                  <a:lnTo>
                    <a:pt x="133" y="100"/>
                  </a:lnTo>
                  <a:lnTo>
                    <a:pt x="133" y="101"/>
                  </a:lnTo>
                  <a:lnTo>
                    <a:pt x="132" y="101"/>
                  </a:lnTo>
                  <a:lnTo>
                    <a:pt x="130" y="100"/>
                  </a:lnTo>
                  <a:lnTo>
                    <a:pt x="128" y="100"/>
                  </a:lnTo>
                  <a:lnTo>
                    <a:pt x="124" y="100"/>
                  </a:lnTo>
                  <a:lnTo>
                    <a:pt x="128" y="98"/>
                  </a:lnTo>
                  <a:lnTo>
                    <a:pt x="128" y="98"/>
                  </a:lnTo>
                  <a:lnTo>
                    <a:pt x="128" y="98"/>
                  </a:lnTo>
                  <a:lnTo>
                    <a:pt x="128" y="98"/>
                  </a:lnTo>
                  <a:close/>
                  <a:moveTo>
                    <a:pt x="118" y="79"/>
                  </a:moveTo>
                  <a:lnTo>
                    <a:pt x="120" y="85"/>
                  </a:lnTo>
                  <a:lnTo>
                    <a:pt x="118" y="86"/>
                  </a:lnTo>
                  <a:lnTo>
                    <a:pt x="118" y="86"/>
                  </a:lnTo>
                  <a:lnTo>
                    <a:pt x="115" y="86"/>
                  </a:lnTo>
                  <a:lnTo>
                    <a:pt x="115" y="85"/>
                  </a:lnTo>
                  <a:lnTo>
                    <a:pt x="118" y="85"/>
                  </a:lnTo>
                  <a:lnTo>
                    <a:pt x="118" y="81"/>
                  </a:lnTo>
                  <a:lnTo>
                    <a:pt x="115" y="79"/>
                  </a:lnTo>
                  <a:lnTo>
                    <a:pt x="115" y="79"/>
                  </a:lnTo>
                  <a:lnTo>
                    <a:pt x="118" y="75"/>
                  </a:lnTo>
                  <a:lnTo>
                    <a:pt x="118" y="79"/>
                  </a:lnTo>
                  <a:lnTo>
                    <a:pt x="118" y="79"/>
                  </a:lnTo>
                  <a:lnTo>
                    <a:pt x="118" y="79"/>
                  </a:lnTo>
                  <a:lnTo>
                    <a:pt x="118" y="79"/>
                  </a:lnTo>
                  <a:lnTo>
                    <a:pt x="118" y="79"/>
                  </a:lnTo>
                  <a:close/>
                  <a:moveTo>
                    <a:pt x="115" y="66"/>
                  </a:moveTo>
                  <a:lnTo>
                    <a:pt x="113" y="66"/>
                  </a:lnTo>
                  <a:lnTo>
                    <a:pt x="115" y="62"/>
                  </a:lnTo>
                  <a:lnTo>
                    <a:pt x="118" y="62"/>
                  </a:lnTo>
                  <a:lnTo>
                    <a:pt x="118" y="60"/>
                  </a:lnTo>
                  <a:lnTo>
                    <a:pt x="124" y="60"/>
                  </a:lnTo>
                  <a:lnTo>
                    <a:pt x="124" y="60"/>
                  </a:lnTo>
                  <a:lnTo>
                    <a:pt x="124" y="62"/>
                  </a:lnTo>
                  <a:lnTo>
                    <a:pt x="124" y="62"/>
                  </a:lnTo>
                  <a:lnTo>
                    <a:pt x="124" y="66"/>
                  </a:lnTo>
                  <a:lnTo>
                    <a:pt x="124" y="69"/>
                  </a:lnTo>
                  <a:lnTo>
                    <a:pt x="120" y="69"/>
                  </a:lnTo>
                  <a:lnTo>
                    <a:pt x="118" y="69"/>
                  </a:lnTo>
                  <a:lnTo>
                    <a:pt x="118" y="66"/>
                  </a:lnTo>
                  <a:lnTo>
                    <a:pt x="120" y="66"/>
                  </a:lnTo>
                  <a:lnTo>
                    <a:pt x="120" y="64"/>
                  </a:lnTo>
                  <a:lnTo>
                    <a:pt x="118" y="64"/>
                  </a:lnTo>
                  <a:lnTo>
                    <a:pt x="118" y="66"/>
                  </a:lnTo>
                  <a:lnTo>
                    <a:pt x="118" y="66"/>
                  </a:lnTo>
                  <a:lnTo>
                    <a:pt x="115" y="66"/>
                  </a:lnTo>
                  <a:lnTo>
                    <a:pt x="115" y="66"/>
                  </a:lnTo>
                  <a:lnTo>
                    <a:pt x="115" y="66"/>
                  </a:lnTo>
                  <a:lnTo>
                    <a:pt x="115" y="66"/>
                  </a:lnTo>
                  <a:lnTo>
                    <a:pt x="115" y="66"/>
                  </a:lnTo>
                  <a:close/>
                  <a:moveTo>
                    <a:pt x="105" y="34"/>
                  </a:moveTo>
                  <a:lnTo>
                    <a:pt x="107" y="34"/>
                  </a:lnTo>
                  <a:lnTo>
                    <a:pt x="109" y="30"/>
                  </a:lnTo>
                  <a:lnTo>
                    <a:pt x="109" y="34"/>
                  </a:lnTo>
                  <a:lnTo>
                    <a:pt x="109" y="36"/>
                  </a:lnTo>
                  <a:lnTo>
                    <a:pt x="109" y="36"/>
                  </a:lnTo>
                  <a:lnTo>
                    <a:pt x="105" y="34"/>
                  </a:lnTo>
                  <a:lnTo>
                    <a:pt x="105" y="34"/>
                  </a:lnTo>
                  <a:lnTo>
                    <a:pt x="105" y="34"/>
                  </a:lnTo>
                  <a:lnTo>
                    <a:pt x="105" y="34"/>
                  </a:lnTo>
                  <a:close/>
                  <a:moveTo>
                    <a:pt x="98" y="43"/>
                  </a:moveTo>
                  <a:lnTo>
                    <a:pt x="100" y="43"/>
                  </a:lnTo>
                  <a:lnTo>
                    <a:pt x="101" y="43"/>
                  </a:lnTo>
                  <a:lnTo>
                    <a:pt x="103" y="41"/>
                  </a:lnTo>
                  <a:lnTo>
                    <a:pt x="105" y="43"/>
                  </a:lnTo>
                  <a:lnTo>
                    <a:pt x="103" y="45"/>
                  </a:lnTo>
                  <a:lnTo>
                    <a:pt x="103" y="49"/>
                  </a:lnTo>
                  <a:lnTo>
                    <a:pt x="100" y="49"/>
                  </a:lnTo>
                  <a:lnTo>
                    <a:pt x="100" y="49"/>
                  </a:lnTo>
                  <a:lnTo>
                    <a:pt x="98" y="47"/>
                  </a:lnTo>
                  <a:lnTo>
                    <a:pt x="96" y="43"/>
                  </a:lnTo>
                  <a:lnTo>
                    <a:pt x="98" y="43"/>
                  </a:lnTo>
                  <a:lnTo>
                    <a:pt x="98" y="43"/>
                  </a:lnTo>
                  <a:lnTo>
                    <a:pt x="98" y="43"/>
                  </a:lnTo>
                  <a:lnTo>
                    <a:pt x="98" y="43"/>
                  </a:lnTo>
                  <a:close/>
                  <a:moveTo>
                    <a:pt x="88" y="26"/>
                  </a:moveTo>
                  <a:lnTo>
                    <a:pt x="90" y="26"/>
                  </a:lnTo>
                  <a:lnTo>
                    <a:pt x="92" y="26"/>
                  </a:lnTo>
                  <a:lnTo>
                    <a:pt x="92" y="30"/>
                  </a:lnTo>
                  <a:lnTo>
                    <a:pt x="90" y="30"/>
                  </a:lnTo>
                  <a:lnTo>
                    <a:pt x="88" y="30"/>
                  </a:lnTo>
                  <a:lnTo>
                    <a:pt x="88" y="30"/>
                  </a:lnTo>
                  <a:lnTo>
                    <a:pt x="88" y="26"/>
                  </a:lnTo>
                  <a:lnTo>
                    <a:pt x="88" y="26"/>
                  </a:lnTo>
                  <a:lnTo>
                    <a:pt x="88" y="26"/>
                  </a:lnTo>
                  <a:lnTo>
                    <a:pt x="88" y="26"/>
                  </a:lnTo>
                  <a:close/>
                  <a:moveTo>
                    <a:pt x="69" y="66"/>
                  </a:moveTo>
                  <a:lnTo>
                    <a:pt x="73" y="66"/>
                  </a:lnTo>
                  <a:lnTo>
                    <a:pt x="75" y="66"/>
                  </a:lnTo>
                  <a:lnTo>
                    <a:pt x="75" y="66"/>
                  </a:lnTo>
                  <a:lnTo>
                    <a:pt x="75" y="69"/>
                  </a:lnTo>
                  <a:lnTo>
                    <a:pt x="69" y="66"/>
                  </a:lnTo>
                  <a:lnTo>
                    <a:pt x="69" y="66"/>
                  </a:lnTo>
                  <a:lnTo>
                    <a:pt x="69" y="66"/>
                  </a:lnTo>
                  <a:lnTo>
                    <a:pt x="69" y="66"/>
                  </a:lnTo>
                  <a:close/>
                  <a:moveTo>
                    <a:pt x="68" y="66"/>
                  </a:moveTo>
                  <a:lnTo>
                    <a:pt x="69" y="64"/>
                  </a:lnTo>
                  <a:lnTo>
                    <a:pt x="69" y="66"/>
                  </a:lnTo>
                  <a:lnTo>
                    <a:pt x="69" y="66"/>
                  </a:lnTo>
                  <a:lnTo>
                    <a:pt x="68" y="66"/>
                  </a:lnTo>
                  <a:lnTo>
                    <a:pt x="68" y="66"/>
                  </a:lnTo>
                  <a:lnTo>
                    <a:pt x="68" y="66"/>
                  </a:lnTo>
                  <a:lnTo>
                    <a:pt x="68" y="66"/>
                  </a:lnTo>
                  <a:close/>
                  <a:moveTo>
                    <a:pt x="88" y="69"/>
                  </a:moveTo>
                  <a:lnTo>
                    <a:pt x="90" y="69"/>
                  </a:lnTo>
                  <a:lnTo>
                    <a:pt x="92" y="69"/>
                  </a:lnTo>
                  <a:lnTo>
                    <a:pt x="94" y="69"/>
                  </a:lnTo>
                  <a:lnTo>
                    <a:pt x="94" y="75"/>
                  </a:lnTo>
                  <a:lnTo>
                    <a:pt x="92" y="75"/>
                  </a:lnTo>
                  <a:lnTo>
                    <a:pt x="92" y="71"/>
                  </a:lnTo>
                  <a:lnTo>
                    <a:pt x="90" y="71"/>
                  </a:lnTo>
                  <a:lnTo>
                    <a:pt x="88" y="69"/>
                  </a:lnTo>
                  <a:lnTo>
                    <a:pt x="88" y="69"/>
                  </a:lnTo>
                  <a:lnTo>
                    <a:pt x="88" y="69"/>
                  </a:lnTo>
                  <a:lnTo>
                    <a:pt x="88" y="69"/>
                  </a:lnTo>
                  <a:close/>
                  <a:moveTo>
                    <a:pt x="118" y="105"/>
                  </a:moveTo>
                  <a:lnTo>
                    <a:pt x="118" y="103"/>
                  </a:lnTo>
                  <a:lnTo>
                    <a:pt x="118" y="101"/>
                  </a:lnTo>
                  <a:lnTo>
                    <a:pt x="122" y="101"/>
                  </a:lnTo>
                  <a:lnTo>
                    <a:pt x="122" y="103"/>
                  </a:lnTo>
                  <a:lnTo>
                    <a:pt x="118" y="105"/>
                  </a:lnTo>
                  <a:lnTo>
                    <a:pt x="118" y="105"/>
                  </a:lnTo>
                  <a:lnTo>
                    <a:pt x="118" y="105"/>
                  </a:lnTo>
                  <a:lnTo>
                    <a:pt x="118" y="105"/>
                  </a:lnTo>
                  <a:close/>
                  <a:moveTo>
                    <a:pt x="88" y="124"/>
                  </a:moveTo>
                  <a:lnTo>
                    <a:pt x="90" y="120"/>
                  </a:lnTo>
                  <a:lnTo>
                    <a:pt x="92" y="120"/>
                  </a:lnTo>
                  <a:lnTo>
                    <a:pt x="92" y="122"/>
                  </a:lnTo>
                  <a:lnTo>
                    <a:pt x="90" y="124"/>
                  </a:lnTo>
                  <a:lnTo>
                    <a:pt x="88" y="124"/>
                  </a:lnTo>
                  <a:lnTo>
                    <a:pt x="88" y="124"/>
                  </a:lnTo>
                  <a:lnTo>
                    <a:pt x="88" y="124"/>
                  </a:lnTo>
                  <a:lnTo>
                    <a:pt x="88" y="124"/>
                  </a:lnTo>
                  <a:close/>
                  <a:moveTo>
                    <a:pt x="90" y="111"/>
                  </a:moveTo>
                  <a:lnTo>
                    <a:pt x="92" y="111"/>
                  </a:lnTo>
                  <a:lnTo>
                    <a:pt x="92" y="115"/>
                  </a:lnTo>
                  <a:lnTo>
                    <a:pt x="90" y="111"/>
                  </a:lnTo>
                  <a:lnTo>
                    <a:pt x="90" y="111"/>
                  </a:lnTo>
                  <a:lnTo>
                    <a:pt x="90" y="111"/>
                  </a:lnTo>
                  <a:lnTo>
                    <a:pt x="90" y="111"/>
                  </a:lnTo>
                  <a:close/>
                  <a:moveTo>
                    <a:pt x="88" y="109"/>
                  </a:moveTo>
                  <a:lnTo>
                    <a:pt x="88" y="105"/>
                  </a:lnTo>
                  <a:lnTo>
                    <a:pt x="90" y="105"/>
                  </a:lnTo>
                  <a:lnTo>
                    <a:pt x="90" y="109"/>
                  </a:lnTo>
                  <a:lnTo>
                    <a:pt x="90" y="109"/>
                  </a:lnTo>
                  <a:lnTo>
                    <a:pt x="88" y="109"/>
                  </a:lnTo>
                  <a:lnTo>
                    <a:pt x="88" y="109"/>
                  </a:lnTo>
                  <a:lnTo>
                    <a:pt x="88" y="109"/>
                  </a:lnTo>
                  <a:lnTo>
                    <a:pt x="88" y="109"/>
                  </a:lnTo>
                  <a:close/>
                  <a:moveTo>
                    <a:pt x="88" y="105"/>
                  </a:moveTo>
                  <a:lnTo>
                    <a:pt x="88" y="103"/>
                  </a:lnTo>
                  <a:lnTo>
                    <a:pt x="88" y="101"/>
                  </a:lnTo>
                  <a:lnTo>
                    <a:pt x="88" y="103"/>
                  </a:lnTo>
                  <a:lnTo>
                    <a:pt x="88" y="105"/>
                  </a:lnTo>
                  <a:lnTo>
                    <a:pt x="88" y="105"/>
                  </a:lnTo>
                  <a:lnTo>
                    <a:pt x="88" y="105"/>
                  </a:lnTo>
                  <a:lnTo>
                    <a:pt x="88" y="105"/>
                  </a:lnTo>
                  <a:close/>
                  <a:moveTo>
                    <a:pt x="105" y="115"/>
                  </a:moveTo>
                  <a:lnTo>
                    <a:pt x="103" y="115"/>
                  </a:lnTo>
                  <a:lnTo>
                    <a:pt x="103" y="111"/>
                  </a:lnTo>
                  <a:lnTo>
                    <a:pt x="105" y="111"/>
                  </a:lnTo>
                  <a:lnTo>
                    <a:pt x="107" y="115"/>
                  </a:lnTo>
                  <a:lnTo>
                    <a:pt x="105" y="115"/>
                  </a:lnTo>
                  <a:lnTo>
                    <a:pt x="105" y="115"/>
                  </a:lnTo>
                  <a:lnTo>
                    <a:pt x="105" y="115"/>
                  </a:lnTo>
                  <a:lnTo>
                    <a:pt x="105" y="115"/>
                  </a:lnTo>
                  <a:close/>
                  <a:moveTo>
                    <a:pt x="109" y="115"/>
                  </a:moveTo>
                  <a:lnTo>
                    <a:pt x="109" y="111"/>
                  </a:lnTo>
                  <a:lnTo>
                    <a:pt x="109" y="111"/>
                  </a:lnTo>
                  <a:lnTo>
                    <a:pt x="113" y="111"/>
                  </a:lnTo>
                  <a:lnTo>
                    <a:pt x="113" y="111"/>
                  </a:lnTo>
                  <a:lnTo>
                    <a:pt x="109" y="115"/>
                  </a:lnTo>
                  <a:lnTo>
                    <a:pt x="109" y="115"/>
                  </a:lnTo>
                  <a:lnTo>
                    <a:pt x="109" y="115"/>
                  </a:lnTo>
                  <a:lnTo>
                    <a:pt x="109" y="115"/>
                  </a:lnTo>
                  <a:lnTo>
                    <a:pt x="109" y="115"/>
                  </a:lnTo>
                  <a:close/>
                  <a:moveTo>
                    <a:pt x="109" y="105"/>
                  </a:moveTo>
                  <a:lnTo>
                    <a:pt x="109" y="105"/>
                  </a:lnTo>
                  <a:lnTo>
                    <a:pt x="109" y="105"/>
                  </a:lnTo>
                  <a:lnTo>
                    <a:pt x="109" y="105"/>
                  </a:lnTo>
                  <a:lnTo>
                    <a:pt x="109" y="105"/>
                  </a:lnTo>
                  <a:lnTo>
                    <a:pt x="109" y="105"/>
                  </a:lnTo>
                  <a:lnTo>
                    <a:pt x="109" y="105"/>
                  </a:lnTo>
                  <a:close/>
                  <a:moveTo>
                    <a:pt x="103" y="101"/>
                  </a:moveTo>
                  <a:lnTo>
                    <a:pt x="105" y="101"/>
                  </a:lnTo>
                  <a:lnTo>
                    <a:pt x="107" y="103"/>
                  </a:lnTo>
                  <a:lnTo>
                    <a:pt x="107" y="105"/>
                  </a:lnTo>
                  <a:lnTo>
                    <a:pt x="105" y="103"/>
                  </a:lnTo>
                  <a:lnTo>
                    <a:pt x="103" y="101"/>
                  </a:lnTo>
                  <a:lnTo>
                    <a:pt x="103" y="101"/>
                  </a:lnTo>
                  <a:lnTo>
                    <a:pt x="103" y="101"/>
                  </a:lnTo>
                  <a:lnTo>
                    <a:pt x="103" y="101"/>
                  </a:lnTo>
                  <a:close/>
                  <a:moveTo>
                    <a:pt x="94" y="94"/>
                  </a:moveTo>
                  <a:lnTo>
                    <a:pt x="96" y="94"/>
                  </a:lnTo>
                  <a:lnTo>
                    <a:pt x="98" y="96"/>
                  </a:lnTo>
                  <a:lnTo>
                    <a:pt x="101" y="100"/>
                  </a:lnTo>
                  <a:lnTo>
                    <a:pt x="101" y="101"/>
                  </a:lnTo>
                  <a:lnTo>
                    <a:pt x="100" y="101"/>
                  </a:lnTo>
                  <a:lnTo>
                    <a:pt x="96" y="98"/>
                  </a:lnTo>
                  <a:lnTo>
                    <a:pt x="94" y="96"/>
                  </a:lnTo>
                  <a:lnTo>
                    <a:pt x="94" y="94"/>
                  </a:lnTo>
                  <a:lnTo>
                    <a:pt x="94" y="94"/>
                  </a:lnTo>
                  <a:lnTo>
                    <a:pt x="94" y="94"/>
                  </a:lnTo>
                  <a:lnTo>
                    <a:pt x="94" y="94"/>
                  </a:lnTo>
                  <a:close/>
                  <a:moveTo>
                    <a:pt x="60" y="71"/>
                  </a:moveTo>
                  <a:lnTo>
                    <a:pt x="62" y="69"/>
                  </a:lnTo>
                  <a:lnTo>
                    <a:pt x="68" y="69"/>
                  </a:lnTo>
                  <a:lnTo>
                    <a:pt x="69" y="71"/>
                  </a:lnTo>
                  <a:lnTo>
                    <a:pt x="73" y="71"/>
                  </a:lnTo>
                  <a:lnTo>
                    <a:pt x="77" y="75"/>
                  </a:lnTo>
                  <a:lnTo>
                    <a:pt x="77" y="75"/>
                  </a:lnTo>
                  <a:lnTo>
                    <a:pt x="79" y="75"/>
                  </a:lnTo>
                  <a:lnTo>
                    <a:pt x="79" y="75"/>
                  </a:lnTo>
                  <a:lnTo>
                    <a:pt x="83" y="79"/>
                  </a:lnTo>
                  <a:lnTo>
                    <a:pt x="85" y="81"/>
                  </a:lnTo>
                  <a:lnTo>
                    <a:pt x="85" y="85"/>
                  </a:lnTo>
                  <a:lnTo>
                    <a:pt x="85" y="85"/>
                  </a:lnTo>
                  <a:lnTo>
                    <a:pt x="85" y="88"/>
                  </a:lnTo>
                  <a:lnTo>
                    <a:pt x="88" y="90"/>
                  </a:lnTo>
                  <a:lnTo>
                    <a:pt x="88" y="90"/>
                  </a:lnTo>
                  <a:lnTo>
                    <a:pt x="92" y="90"/>
                  </a:lnTo>
                  <a:lnTo>
                    <a:pt x="90" y="94"/>
                  </a:lnTo>
                  <a:lnTo>
                    <a:pt x="88" y="94"/>
                  </a:lnTo>
                  <a:lnTo>
                    <a:pt x="88" y="94"/>
                  </a:lnTo>
                  <a:lnTo>
                    <a:pt x="85" y="92"/>
                  </a:lnTo>
                  <a:lnTo>
                    <a:pt x="83" y="90"/>
                  </a:lnTo>
                  <a:lnTo>
                    <a:pt x="85" y="88"/>
                  </a:lnTo>
                  <a:lnTo>
                    <a:pt x="83" y="86"/>
                  </a:lnTo>
                  <a:lnTo>
                    <a:pt x="79" y="85"/>
                  </a:lnTo>
                  <a:lnTo>
                    <a:pt x="79" y="81"/>
                  </a:lnTo>
                  <a:lnTo>
                    <a:pt x="79" y="81"/>
                  </a:lnTo>
                  <a:lnTo>
                    <a:pt x="75" y="79"/>
                  </a:lnTo>
                  <a:lnTo>
                    <a:pt x="73" y="79"/>
                  </a:lnTo>
                  <a:lnTo>
                    <a:pt x="69" y="79"/>
                  </a:lnTo>
                  <a:lnTo>
                    <a:pt x="69" y="75"/>
                  </a:lnTo>
                  <a:lnTo>
                    <a:pt x="68" y="75"/>
                  </a:lnTo>
                  <a:lnTo>
                    <a:pt x="66" y="75"/>
                  </a:lnTo>
                  <a:lnTo>
                    <a:pt x="64" y="71"/>
                  </a:lnTo>
                  <a:lnTo>
                    <a:pt x="62" y="71"/>
                  </a:lnTo>
                  <a:lnTo>
                    <a:pt x="60" y="71"/>
                  </a:lnTo>
                  <a:lnTo>
                    <a:pt x="60" y="71"/>
                  </a:lnTo>
                  <a:lnTo>
                    <a:pt x="60" y="71"/>
                  </a:lnTo>
                  <a:lnTo>
                    <a:pt x="60" y="71"/>
                  </a:lnTo>
                  <a:close/>
                  <a:moveTo>
                    <a:pt x="66" y="128"/>
                  </a:moveTo>
                  <a:lnTo>
                    <a:pt x="66" y="126"/>
                  </a:lnTo>
                  <a:lnTo>
                    <a:pt x="66" y="130"/>
                  </a:lnTo>
                  <a:lnTo>
                    <a:pt x="68" y="132"/>
                  </a:lnTo>
                  <a:lnTo>
                    <a:pt x="68" y="134"/>
                  </a:lnTo>
                  <a:lnTo>
                    <a:pt x="66" y="134"/>
                  </a:lnTo>
                  <a:lnTo>
                    <a:pt x="66" y="132"/>
                  </a:lnTo>
                  <a:lnTo>
                    <a:pt x="64" y="130"/>
                  </a:lnTo>
                  <a:lnTo>
                    <a:pt x="66" y="128"/>
                  </a:lnTo>
                  <a:lnTo>
                    <a:pt x="66" y="128"/>
                  </a:lnTo>
                  <a:lnTo>
                    <a:pt x="66" y="128"/>
                  </a:lnTo>
                  <a:lnTo>
                    <a:pt x="66" y="128"/>
                  </a:lnTo>
                  <a:close/>
                  <a:moveTo>
                    <a:pt x="66" y="124"/>
                  </a:moveTo>
                  <a:lnTo>
                    <a:pt x="66" y="124"/>
                  </a:lnTo>
                  <a:lnTo>
                    <a:pt x="64" y="124"/>
                  </a:lnTo>
                  <a:lnTo>
                    <a:pt x="66" y="124"/>
                  </a:lnTo>
                  <a:lnTo>
                    <a:pt x="66" y="124"/>
                  </a:lnTo>
                  <a:lnTo>
                    <a:pt x="66" y="1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2" name="Freeform 95">
              <a:extLst>
                <a:ext uri="{FF2B5EF4-FFF2-40B4-BE49-F238E27FC236}">
                  <a16:creationId xmlns:a16="http://schemas.microsoft.com/office/drawing/2014/main" id="{7BE4BC10-2FEF-4D37-ACAD-0E70888D8BC6}"/>
                </a:ext>
              </a:extLst>
            </p:cNvPr>
            <p:cNvSpPr>
              <a:spLocks noEditPoints="1"/>
            </p:cNvSpPr>
            <p:nvPr/>
          </p:nvSpPr>
          <p:spPr bwMode="auto">
            <a:xfrm>
              <a:off x="3733" y="2591"/>
              <a:ext cx="138" cy="194"/>
            </a:xfrm>
            <a:custGeom>
              <a:avLst/>
              <a:gdLst/>
              <a:ahLst/>
              <a:cxnLst>
                <a:cxn ang="0">
                  <a:pos x="55" y="126"/>
                </a:cxn>
                <a:cxn ang="0">
                  <a:pos x="55" y="71"/>
                </a:cxn>
                <a:cxn ang="0">
                  <a:pos x="74" y="22"/>
                </a:cxn>
                <a:cxn ang="0">
                  <a:pos x="79" y="41"/>
                </a:cxn>
                <a:cxn ang="0">
                  <a:pos x="91" y="53"/>
                </a:cxn>
                <a:cxn ang="0">
                  <a:pos x="98" y="53"/>
                </a:cxn>
                <a:cxn ang="0">
                  <a:pos x="108" y="54"/>
                </a:cxn>
                <a:cxn ang="0">
                  <a:pos x="117" y="54"/>
                </a:cxn>
                <a:cxn ang="0">
                  <a:pos x="123" y="66"/>
                </a:cxn>
                <a:cxn ang="0">
                  <a:pos x="128" y="71"/>
                </a:cxn>
                <a:cxn ang="0">
                  <a:pos x="138" y="77"/>
                </a:cxn>
                <a:cxn ang="0">
                  <a:pos x="138" y="83"/>
                </a:cxn>
                <a:cxn ang="0">
                  <a:pos x="138" y="90"/>
                </a:cxn>
                <a:cxn ang="0">
                  <a:pos x="128" y="101"/>
                </a:cxn>
                <a:cxn ang="0">
                  <a:pos x="123" y="111"/>
                </a:cxn>
                <a:cxn ang="0">
                  <a:pos x="119" y="120"/>
                </a:cxn>
                <a:cxn ang="0">
                  <a:pos x="117" y="118"/>
                </a:cxn>
                <a:cxn ang="0">
                  <a:pos x="117" y="115"/>
                </a:cxn>
                <a:cxn ang="0">
                  <a:pos x="111" y="117"/>
                </a:cxn>
                <a:cxn ang="0">
                  <a:pos x="110" y="120"/>
                </a:cxn>
                <a:cxn ang="0">
                  <a:pos x="108" y="122"/>
                </a:cxn>
                <a:cxn ang="0">
                  <a:pos x="104" y="132"/>
                </a:cxn>
                <a:cxn ang="0">
                  <a:pos x="104" y="135"/>
                </a:cxn>
                <a:cxn ang="0">
                  <a:pos x="104" y="139"/>
                </a:cxn>
                <a:cxn ang="0">
                  <a:pos x="110" y="147"/>
                </a:cxn>
                <a:cxn ang="0">
                  <a:pos x="100" y="150"/>
                </a:cxn>
                <a:cxn ang="0">
                  <a:pos x="94" y="150"/>
                </a:cxn>
                <a:cxn ang="0">
                  <a:pos x="83" y="160"/>
                </a:cxn>
                <a:cxn ang="0">
                  <a:pos x="83" y="166"/>
                </a:cxn>
                <a:cxn ang="0">
                  <a:pos x="78" y="169"/>
                </a:cxn>
                <a:cxn ang="0">
                  <a:pos x="66" y="169"/>
                </a:cxn>
                <a:cxn ang="0">
                  <a:pos x="61" y="173"/>
                </a:cxn>
                <a:cxn ang="0">
                  <a:pos x="62" y="179"/>
                </a:cxn>
                <a:cxn ang="0">
                  <a:pos x="62" y="182"/>
                </a:cxn>
                <a:cxn ang="0">
                  <a:pos x="62" y="182"/>
                </a:cxn>
                <a:cxn ang="0">
                  <a:pos x="55" y="190"/>
                </a:cxn>
                <a:cxn ang="0">
                  <a:pos x="49" y="186"/>
                </a:cxn>
                <a:cxn ang="0">
                  <a:pos x="40" y="190"/>
                </a:cxn>
                <a:cxn ang="0">
                  <a:pos x="34" y="194"/>
                </a:cxn>
                <a:cxn ang="0">
                  <a:pos x="29" y="194"/>
                </a:cxn>
                <a:cxn ang="0">
                  <a:pos x="15" y="182"/>
                </a:cxn>
                <a:cxn ang="0">
                  <a:pos x="0" y="152"/>
                </a:cxn>
                <a:cxn ang="0">
                  <a:pos x="4" y="143"/>
                </a:cxn>
                <a:cxn ang="0">
                  <a:pos x="4" y="143"/>
                </a:cxn>
                <a:cxn ang="0">
                  <a:pos x="70" y="11"/>
                </a:cxn>
                <a:cxn ang="0">
                  <a:pos x="72" y="4"/>
                </a:cxn>
                <a:cxn ang="0">
                  <a:pos x="72" y="2"/>
                </a:cxn>
                <a:cxn ang="0">
                  <a:pos x="72" y="0"/>
                </a:cxn>
                <a:cxn ang="0">
                  <a:pos x="70" y="0"/>
                </a:cxn>
                <a:cxn ang="0">
                  <a:pos x="68" y="0"/>
                </a:cxn>
                <a:cxn ang="0">
                  <a:pos x="66" y="4"/>
                </a:cxn>
                <a:cxn ang="0">
                  <a:pos x="64" y="7"/>
                </a:cxn>
                <a:cxn ang="0">
                  <a:pos x="66" y="7"/>
                </a:cxn>
                <a:cxn ang="0">
                  <a:pos x="70" y="17"/>
                </a:cxn>
                <a:cxn ang="0">
                  <a:pos x="70" y="17"/>
                </a:cxn>
              </a:cxnLst>
              <a:rect l="0" t="0" r="r" b="b"/>
              <a:pathLst>
                <a:path w="138" h="194">
                  <a:moveTo>
                    <a:pt x="4" y="143"/>
                  </a:moveTo>
                  <a:lnTo>
                    <a:pt x="55" y="126"/>
                  </a:lnTo>
                  <a:lnTo>
                    <a:pt x="59" y="88"/>
                  </a:lnTo>
                  <a:lnTo>
                    <a:pt x="55" y="71"/>
                  </a:lnTo>
                  <a:lnTo>
                    <a:pt x="70" y="24"/>
                  </a:lnTo>
                  <a:lnTo>
                    <a:pt x="74" y="22"/>
                  </a:lnTo>
                  <a:lnTo>
                    <a:pt x="74" y="36"/>
                  </a:lnTo>
                  <a:lnTo>
                    <a:pt x="79" y="41"/>
                  </a:lnTo>
                  <a:lnTo>
                    <a:pt x="79" y="43"/>
                  </a:lnTo>
                  <a:lnTo>
                    <a:pt x="91" y="53"/>
                  </a:lnTo>
                  <a:lnTo>
                    <a:pt x="94" y="54"/>
                  </a:lnTo>
                  <a:lnTo>
                    <a:pt x="98" y="53"/>
                  </a:lnTo>
                  <a:lnTo>
                    <a:pt x="102" y="53"/>
                  </a:lnTo>
                  <a:lnTo>
                    <a:pt x="108" y="54"/>
                  </a:lnTo>
                  <a:lnTo>
                    <a:pt x="113" y="53"/>
                  </a:lnTo>
                  <a:lnTo>
                    <a:pt x="117" y="54"/>
                  </a:lnTo>
                  <a:lnTo>
                    <a:pt x="121" y="60"/>
                  </a:lnTo>
                  <a:lnTo>
                    <a:pt x="123" y="66"/>
                  </a:lnTo>
                  <a:lnTo>
                    <a:pt x="126" y="68"/>
                  </a:lnTo>
                  <a:lnTo>
                    <a:pt x="128" y="71"/>
                  </a:lnTo>
                  <a:lnTo>
                    <a:pt x="134" y="77"/>
                  </a:lnTo>
                  <a:lnTo>
                    <a:pt x="138" y="77"/>
                  </a:lnTo>
                  <a:lnTo>
                    <a:pt x="138" y="79"/>
                  </a:lnTo>
                  <a:lnTo>
                    <a:pt x="138" y="83"/>
                  </a:lnTo>
                  <a:lnTo>
                    <a:pt x="138" y="86"/>
                  </a:lnTo>
                  <a:lnTo>
                    <a:pt x="138" y="90"/>
                  </a:lnTo>
                  <a:lnTo>
                    <a:pt x="138" y="92"/>
                  </a:lnTo>
                  <a:lnTo>
                    <a:pt x="128" y="101"/>
                  </a:lnTo>
                  <a:lnTo>
                    <a:pt x="125" y="107"/>
                  </a:lnTo>
                  <a:lnTo>
                    <a:pt x="123" y="111"/>
                  </a:lnTo>
                  <a:lnTo>
                    <a:pt x="121" y="113"/>
                  </a:lnTo>
                  <a:lnTo>
                    <a:pt x="119" y="120"/>
                  </a:lnTo>
                  <a:lnTo>
                    <a:pt x="117" y="120"/>
                  </a:lnTo>
                  <a:lnTo>
                    <a:pt x="117" y="118"/>
                  </a:lnTo>
                  <a:lnTo>
                    <a:pt x="117" y="117"/>
                  </a:lnTo>
                  <a:lnTo>
                    <a:pt x="117" y="115"/>
                  </a:lnTo>
                  <a:lnTo>
                    <a:pt x="113" y="115"/>
                  </a:lnTo>
                  <a:lnTo>
                    <a:pt x="111" y="117"/>
                  </a:lnTo>
                  <a:lnTo>
                    <a:pt x="110" y="120"/>
                  </a:lnTo>
                  <a:lnTo>
                    <a:pt x="110" y="120"/>
                  </a:lnTo>
                  <a:lnTo>
                    <a:pt x="110" y="122"/>
                  </a:lnTo>
                  <a:lnTo>
                    <a:pt x="108" y="122"/>
                  </a:lnTo>
                  <a:lnTo>
                    <a:pt x="104" y="130"/>
                  </a:lnTo>
                  <a:lnTo>
                    <a:pt x="104" y="132"/>
                  </a:lnTo>
                  <a:lnTo>
                    <a:pt x="104" y="135"/>
                  </a:lnTo>
                  <a:lnTo>
                    <a:pt x="104" y="135"/>
                  </a:lnTo>
                  <a:lnTo>
                    <a:pt x="108" y="139"/>
                  </a:lnTo>
                  <a:lnTo>
                    <a:pt x="104" y="139"/>
                  </a:lnTo>
                  <a:lnTo>
                    <a:pt x="108" y="145"/>
                  </a:lnTo>
                  <a:lnTo>
                    <a:pt x="110" y="147"/>
                  </a:lnTo>
                  <a:lnTo>
                    <a:pt x="108" y="149"/>
                  </a:lnTo>
                  <a:lnTo>
                    <a:pt x="100" y="150"/>
                  </a:lnTo>
                  <a:lnTo>
                    <a:pt x="98" y="150"/>
                  </a:lnTo>
                  <a:lnTo>
                    <a:pt x="94" y="150"/>
                  </a:lnTo>
                  <a:lnTo>
                    <a:pt x="91" y="150"/>
                  </a:lnTo>
                  <a:lnTo>
                    <a:pt x="83" y="160"/>
                  </a:lnTo>
                  <a:lnTo>
                    <a:pt x="83" y="166"/>
                  </a:lnTo>
                  <a:lnTo>
                    <a:pt x="83" y="166"/>
                  </a:lnTo>
                  <a:lnTo>
                    <a:pt x="79" y="169"/>
                  </a:lnTo>
                  <a:lnTo>
                    <a:pt x="78" y="169"/>
                  </a:lnTo>
                  <a:lnTo>
                    <a:pt x="72" y="169"/>
                  </a:lnTo>
                  <a:lnTo>
                    <a:pt x="66" y="169"/>
                  </a:lnTo>
                  <a:lnTo>
                    <a:pt x="64" y="171"/>
                  </a:lnTo>
                  <a:lnTo>
                    <a:pt x="61" y="173"/>
                  </a:lnTo>
                  <a:lnTo>
                    <a:pt x="62" y="175"/>
                  </a:lnTo>
                  <a:lnTo>
                    <a:pt x="62" y="179"/>
                  </a:lnTo>
                  <a:lnTo>
                    <a:pt x="64" y="179"/>
                  </a:lnTo>
                  <a:lnTo>
                    <a:pt x="62" y="182"/>
                  </a:lnTo>
                  <a:lnTo>
                    <a:pt x="62" y="182"/>
                  </a:lnTo>
                  <a:lnTo>
                    <a:pt x="62" y="182"/>
                  </a:lnTo>
                  <a:lnTo>
                    <a:pt x="59" y="190"/>
                  </a:lnTo>
                  <a:lnTo>
                    <a:pt x="55" y="190"/>
                  </a:lnTo>
                  <a:lnTo>
                    <a:pt x="55" y="186"/>
                  </a:lnTo>
                  <a:lnTo>
                    <a:pt x="49" y="186"/>
                  </a:lnTo>
                  <a:lnTo>
                    <a:pt x="47" y="186"/>
                  </a:lnTo>
                  <a:lnTo>
                    <a:pt x="40" y="190"/>
                  </a:lnTo>
                  <a:lnTo>
                    <a:pt x="36" y="190"/>
                  </a:lnTo>
                  <a:lnTo>
                    <a:pt x="34" y="194"/>
                  </a:lnTo>
                  <a:lnTo>
                    <a:pt x="29" y="194"/>
                  </a:lnTo>
                  <a:lnTo>
                    <a:pt x="29" y="194"/>
                  </a:lnTo>
                  <a:lnTo>
                    <a:pt x="25" y="194"/>
                  </a:lnTo>
                  <a:lnTo>
                    <a:pt x="15" y="182"/>
                  </a:lnTo>
                  <a:lnTo>
                    <a:pt x="19" y="175"/>
                  </a:lnTo>
                  <a:lnTo>
                    <a:pt x="0" y="152"/>
                  </a:lnTo>
                  <a:lnTo>
                    <a:pt x="4" y="143"/>
                  </a:lnTo>
                  <a:lnTo>
                    <a:pt x="4" y="143"/>
                  </a:lnTo>
                  <a:lnTo>
                    <a:pt x="4" y="143"/>
                  </a:lnTo>
                  <a:lnTo>
                    <a:pt x="4" y="143"/>
                  </a:lnTo>
                  <a:close/>
                  <a:moveTo>
                    <a:pt x="70" y="17"/>
                  </a:moveTo>
                  <a:lnTo>
                    <a:pt x="70" y="11"/>
                  </a:lnTo>
                  <a:lnTo>
                    <a:pt x="70" y="11"/>
                  </a:lnTo>
                  <a:lnTo>
                    <a:pt x="72" y="4"/>
                  </a:lnTo>
                  <a:lnTo>
                    <a:pt x="70" y="4"/>
                  </a:lnTo>
                  <a:lnTo>
                    <a:pt x="72" y="2"/>
                  </a:lnTo>
                  <a:lnTo>
                    <a:pt x="70" y="2"/>
                  </a:lnTo>
                  <a:lnTo>
                    <a:pt x="72" y="0"/>
                  </a:lnTo>
                  <a:lnTo>
                    <a:pt x="72" y="2"/>
                  </a:lnTo>
                  <a:lnTo>
                    <a:pt x="70" y="0"/>
                  </a:lnTo>
                  <a:lnTo>
                    <a:pt x="70" y="0"/>
                  </a:lnTo>
                  <a:lnTo>
                    <a:pt x="68" y="0"/>
                  </a:lnTo>
                  <a:lnTo>
                    <a:pt x="66" y="4"/>
                  </a:lnTo>
                  <a:lnTo>
                    <a:pt x="66" y="4"/>
                  </a:lnTo>
                  <a:lnTo>
                    <a:pt x="64" y="4"/>
                  </a:lnTo>
                  <a:lnTo>
                    <a:pt x="64" y="7"/>
                  </a:lnTo>
                  <a:lnTo>
                    <a:pt x="64" y="7"/>
                  </a:lnTo>
                  <a:lnTo>
                    <a:pt x="66" y="7"/>
                  </a:lnTo>
                  <a:lnTo>
                    <a:pt x="68" y="17"/>
                  </a:lnTo>
                  <a:lnTo>
                    <a:pt x="70" y="17"/>
                  </a:lnTo>
                  <a:lnTo>
                    <a:pt x="70" y="17"/>
                  </a:lnTo>
                  <a:lnTo>
                    <a:pt x="70"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3" name="Freeform 96">
              <a:extLst>
                <a:ext uri="{FF2B5EF4-FFF2-40B4-BE49-F238E27FC236}">
                  <a16:creationId xmlns:a16="http://schemas.microsoft.com/office/drawing/2014/main" id="{AF469C10-993D-4E75-A115-781295818A1D}"/>
                </a:ext>
              </a:extLst>
            </p:cNvPr>
            <p:cNvSpPr>
              <a:spLocks noEditPoints="1"/>
            </p:cNvSpPr>
            <p:nvPr/>
          </p:nvSpPr>
          <p:spPr bwMode="auto">
            <a:xfrm>
              <a:off x="3566" y="2732"/>
              <a:ext cx="220" cy="143"/>
            </a:xfrm>
            <a:custGeom>
              <a:avLst/>
              <a:gdLst/>
              <a:ahLst/>
              <a:cxnLst>
                <a:cxn ang="0">
                  <a:pos x="5" y="55"/>
                </a:cxn>
                <a:cxn ang="0">
                  <a:pos x="11" y="53"/>
                </a:cxn>
                <a:cxn ang="0">
                  <a:pos x="13" y="45"/>
                </a:cxn>
                <a:cxn ang="0">
                  <a:pos x="19" y="32"/>
                </a:cxn>
                <a:cxn ang="0">
                  <a:pos x="36" y="38"/>
                </a:cxn>
                <a:cxn ang="0">
                  <a:pos x="68" y="51"/>
                </a:cxn>
                <a:cxn ang="0">
                  <a:pos x="100" y="23"/>
                </a:cxn>
                <a:cxn ang="0">
                  <a:pos x="167" y="9"/>
                </a:cxn>
                <a:cxn ang="0">
                  <a:pos x="182" y="40"/>
                </a:cxn>
                <a:cxn ang="0">
                  <a:pos x="190" y="55"/>
                </a:cxn>
                <a:cxn ang="0">
                  <a:pos x="177" y="64"/>
                </a:cxn>
                <a:cxn ang="0">
                  <a:pos x="177" y="72"/>
                </a:cxn>
                <a:cxn ang="0">
                  <a:pos x="177" y="73"/>
                </a:cxn>
                <a:cxn ang="0">
                  <a:pos x="165" y="79"/>
                </a:cxn>
                <a:cxn ang="0">
                  <a:pos x="149" y="85"/>
                </a:cxn>
                <a:cxn ang="0">
                  <a:pos x="124" y="92"/>
                </a:cxn>
                <a:cxn ang="0">
                  <a:pos x="120" y="94"/>
                </a:cxn>
                <a:cxn ang="0">
                  <a:pos x="111" y="106"/>
                </a:cxn>
                <a:cxn ang="0">
                  <a:pos x="109" y="104"/>
                </a:cxn>
                <a:cxn ang="0">
                  <a:pos x="103" y="107"/>
                </a:cxn>
                <a:cxn ang="0">
                  <a:pos x="100" y="104"/>
                </a:cxn>
                <a:cxn ang="0">
                  <a:pos x="92" y="113"/>
                </a:cxn>
                <a:cxn ang="0">
                  <a:pos x="81" y="115"/>
                </a:cxn>
                <a:cxn ang="0">
                  <a:pos x="69" y="119"/>
                </a:cxn>
                <a:cxn ang="0">
                  <a:pos x="64" y="115"/>
                </a:cxn>
                <a:cxn ang="0">
                  <a:pos x="60" y="115"/>
                </a:cxn>
                <a:cxn ang="0">
                  <a:pos x="54" y="119"/>
                </a:cxn>
                <a:cxn ang="0">
                  <a:pos x="49" y="124"/>
                </a:cxn>
                <a:cxn ang="0">
                  <a:pos x="41" y="130"/>
                </a:cxn>
                <a:cxn ang="0">
                  <a:pos x="36" y="128"/>
                </a:cxn>
                <a:cxn ang="0">
                  <a:pos x="30" y="134"/>
                </a:cxn>
                <a:cxn ang="0">
                  <a:pos x="24" y="134"/>
                </a:cxn>
                <a:cxn ang="0">
                  <a:pos x="19" y="128"/>
                </a:cxn>
                <a:cxn ang="0">
                  <a:pos x="13" y="121"/>
                </a:cxn>
                <a:cxn ang="0">
                  <a:pos x="13" y="115"/>
                </a:cxn>
                <a:cxn ang="0">
                  <a:pos x="7" y="104"/>
                </a:cxn>
                <a:cxn ang="0">
                  <a:pos x="4" y="79"/>
                </a:cxn>
                <a:cxn ang="0">
                  <a:pos x="0" y="79"/>
                </a:cxn>
                <a:cxn ang="0">
                  <a:pos x="2" y="75"/>
                </a:cxn>
                <a:cxn ang="0">
                  <a:pos x="5" y="75"/>
                </a:cxn>
                <a:cxn ang="0">
                  <a:pos x="4" y="58"/>
                </a:cxn>
                <a:cxn ang="0">
                  <a:pos x="2" y="55"/>
                </a:cxn>
                <a:cxn ang="0">
                  <a:pos x="2" y="55"/>
                </a:cxn>
                <a:cxn ang="0">
                  <a:pos x="181" y="141"/>
                </a:cxn>
                <a:cxn ang="0">
                  <a:pos x="181" y="143"/>
                </a:cxn>
                <a:cxn ang="0">
                  <a:pos x="177" y="141"/>
                </a:cxn>
                <a:cxn ang="0">
                  <a:pos x="177" y="141"/>
                </a:cxn>
                <a:cxn ang="0">
                  <a:pos x="201" y="134"/>
                </a:cxn>
                <a:cxn ang="0">
                  <a:pos x="203" y="130"/>
                </a:cxn>
                <a:cxn ang="0">
                  <a:pos x="207" y="134"/>
                </a:cxn>
                <a:cxn ang="0">
                  <a:pos x="213" y="134"/>
                </a:cxn>
                <a:cxn ang="0">
                  <a:pos x="216" y="134"/>
                </a:cxn>
                <a:cxn ang="0">
                  <a:pos x="220" y="134"/>
                </a:cxn>
                <a:cxn ang="0">
                  <a:pos x="216" y="136"/>
                </a:cxn>
                <a:cxn ang="0">
                  <a:pos x="207" y="139"/>
                </a:cxn>
                <a:cxn ang="0">
                  <a:pos x="201" y="138"/>
                </a:cxn>
                <a:cxn ang="0">
                  <a:pos x="197" y="136"/>
                </a:cxn>
              </a:cxnLst>
              <a:rect l="0" t="0" r="r" b="b"/>
              <a:pathLst>
                <a:path w="220" h="143">
                  <a:moveTo>
                    <a:pt x="2" y="55"/>
                  </a:moveTo>
                  <a:lnTo>
                    <a:pt x="5" y="55"/>
                  </a:lnTo>
                  <a:lnTo>
                    <a:pt x="7" y="58"/>
                  </a:lnTo>
                  <a:lnTo>
                    <a:pt x="11" y="53"/>
                  </a:lnTo>
                  <a:lnTo>
                    <a:pt x="13" y="49"/>
                  </a:lnTo>
                  <a:lnTo>
                    <a:pt x="13" y="45"/>
                  </a:lnTo>
                  <a:lnTo>
                    <a:pt x="13" y="36"/>
                  </a:lnTo>
                  <a:lnTo>
                    <a:pt x="19" y="32"/>
                  </a:lnTo>
                  <a:lnTo>
                    <a:pt x="24" y="38"/>
                  </a:lnTo>
                  <a:lnTo>
                    <a:pt x="36" y="38"/>
                  </a:lnTo>
                  <a:lnTo>
                    <a:pt x="51" y="45"/>
                  </a:lnTo>
                  <a:lnTo>
                    <a:pt x="68" y="51"/>
                  </a:lnTo>
                  <a:lnTo>
                    <a:pt x="68" y="70"/>
                  </a:lnTo>
                  <a:lnTo>
                    <a:pt x="100" y="23"/>
                  </a:lnTo>
                  <a:lnTo>
                    <a:pt x="171" y="0"/>
                  </a:lnTo>
                  <a:lnTo>
                    <a:pt x="167" y="9"/>
                  </a:lnTo>
                  <a:lnTo>
                    <a:pt x="186" y="34"/>
                  </a:lnTo>
                  <a:lnTo>
                    <a:pt x="182" y="40"/>
                  </a:lnTo>
                  <a:lnTo>
                    <a:pt x="192" y="53"/>
                  </a:lnTo>
                  <a:lnTo>
                    <a:pt x="190" y="55"/>
                  </a:lnTo>
                  <a:lnTo>
                    <a:pt x="182" y="58"/>
                  </a:lnTo>
                  <a:lnTo>
                    <a:pt x="177" y="64"/>
                  </a:lnTo>
                  <a:lnTo>
                    <a:pt x="177" y="70"/>
                  </a:lnTo>
                  <a:lnTo>
                    <a:pt x="177" y="72"/>
                  </a:lnTo>
                  <a:lnTo>
                    <a:pt x="177" y="72"/>
                  </a:lnTo>
                  <a:lnTo>
                    <a:pt x="177" y="73"/>
                  </a:lnTo>
                  <a:lnTo>
                    <a:pt x="171" y="75"/>
                  </a:lnTo>
                  <a:lnTo>
                    <a:pt x="165" y="79"/>
                  </a:lnTo>
                  <a:lnTo>
                    <a:pt x="158" y="83"/>
                  </a:lnTo>
                  <a:lnTo>
                    <a:pt x="149" y="85"/>
                  </a:lnTo>
                  <a:lnTo>
                    <a:pt x="147" y="89"/>
                  </a:lnTo>
                  <a:lnTo>
                    <a:pt x="124" y="92"/>
                  </a:lnTo>
                  <a:lnTo>
                    <a:pt x="124" y="92"/>
                  </a:lnTo>
                  <a:lnTo>
                    <a:pt x="120" y="94"/>
                  </a:lnTo>
                  <a:lnTo>
                    <a:pt x="117" y="100"/>
                  </a:lnTo>
                  <a:lnTo>
                    <a:pt x="111" y="106"/>
                  </a:lnTo>
                  <a:lnTo>
                    <a:pt x="109" y="106"/>
                  </a:lnTo>
                  <a:lnTo>
                    <a:pt x="109" y="104"/>
                  </a:lnTo>
                  <a:lnTo>
                    <a:pt x="105" y="106"/>
                  </a:lnTo>
                  <a:lnTo>
                    <a:pt x="103" y="107"/>
                  </a:lnTo>
                  <a:lnTo>
                    <a:pt x="100" y="106"/>
                  </a:lnTo>
                  <a:lnTo>
                    <a:pt x="100" y="104"/>
                  </a:lnTo>
                  <a:lnTo>
                    <a:pt x="92" y="109"/>
                  </a:lnTo>
                  <a:lnTo>
                    <a:pt x="92" y="113"/>
                  </a:lnTo>
                  <a:lnTo>
                    <a:pt x="88" y="115"/>
                  </a:lnTo>
                  <a:lnTo>
                    <a:pt x="81" y="115"/>
                  </a:lnTo>
                  <a:lnTo>
                    <a:pt x="73" y="119"/>
                  </a:lnTo>
                  <a:lnTo>
                    <a:pt x="69" y="119"/>
                  </a:lnTo>
                  <a:lnTo>
                    <a:pt x="69" y="115"/>
                  </a:lnTo>
                  <a:lnTo>
                    <a:pt x="64" y="115"/>
                  </a:lnTo>
                  <a:lnTo>
                    <a:pt x="62" y="115"/>
                  </a:lnTo>
                  <a:lnTo>
                    <a:pt x="60" y="115"/>
                  </a:lnTo>
                  <a:lnTo>
                    <a:pt x="56" y="115"/>
                  </a:lnTo>
                  <a:lnTo>
                    <a:pt x="54" y="119"/>
                  </a:lnTo>
                  <a:lnTo>
                    <a:pt x="51" y="124"/>
                  </a:lnTo>
                  <a:lnTo>
                    <a:pt x="49" y="124"/>
                  </a:lnTo>
                  <a:lnTo>
                    <a:pt x="45" y="128"/>
                  </a:lnTo>
                  <a:lnTo>
                    <a:pt x="41" y="130"/>
                  </a:lnTo>
                  <a:lnTo>
                    <a:pt x="39" y="128"/>
                  </a:lnTo>
                  <a:lnTo>
                    <a:pt x="36" y="128"/>
                  </a:lnTo>
                  <a:lnTo>
                    <a:pt x="32" y="134"/>
                  </a:lnTo>
                  <a:lnTo>
                    <a:pt x="30" y="134"/>
                  </a:lnTo>
                  <a:lnTo>
                    <a:pt x="24" y="130"/>
                  </a:lnTo>
                  <a:lnTo>
                    <a:pt x="24" y="134"/>
                  </a:lnTo>
                  <a:lnTo>
                    <a:pt x="21" y="134"/>
                  </a:lnTo>
                  <a:lnTo>
                    <a:pt x="19" y="128"/>
                  </a:lnTo>
                  <a:lnTo>
                    <a:pt x="19" y="124"/>
                  </a:lnTo>
                  <a:lnTo>
                    <a:pt x="13" y="121"/>
                  </a:lnTo>
                  <a:lnTo>
                    <a:pt x="13" y="115"/>
                  </a:lnTo>
                  <a:lnTo>
                    <a:pt x="13" y="115"/>
                  </a:lnTo>
                  <a:lnTo>
                    <a:pt x="13" y="109"/>
                  </a:lnTo>
                  <a:lnTo>
                    <a:pt x="7" y="104"/>
                  </a:lnTo>
                  <a:lnTo>
                    <a:pt x="7" y="89"/>
                  </a:lnTo>
                  <a:lnTo>
                    <a:pt x="4" y="79"/>
                  </a:lnTo>
                  <a:lnTo>
                    <a:pt x="2" y="79"/>
                  </a:lnTo>
                  <a:lnTo>
                    <a:pt x="0" y="79"/>
                  </a:lnTo>
                  <a:lnTo>
                    <a:pt x="0" y="75"/>
                  </a:lnTo>
                  <a:lnTo>
                    <a:pt x="2" y="75"/>
                  </a:lnTo>
                  <a:lnTo>
                    <a:pt x="2" y="75"/>
                  </a:lnTo>
                  <a:lnTo>
                    <a:pt x="5" y="75"/>
                  </a:lnTo>
                  <a:lnTo>
                    <a:pt x="5" y="68"/>
                  </a:lnTo>
                  <a:lnTo>
                    <a:pt x="4" y="58"/>
                  </a:lnTo>
                  <a:lnTo>
                    <a:pt x="2" y="55"/>
                  </a:lnTo>
                  <a:lnTo>
                    <a:pt x="2" y="55"/>
                  </a:lnTo>
                  <a:lnTo>
                    <a:pt x="2" y="55"/>
                  </a:lnTo>
                  <a:lnTo>
                    <a:pt x="2" y="55"/>
                  </a:lnTo>
                  <a:close/>
                  <a:moveTo>
                    <a:pt x="177" y="141"/>
                  </a:moveTo>
                  <a:lnTo>
                    <a:pt x="181" y="141"/>
                  </a:lnTo>
                  <a:lnTo>
                    <a:pt x="184" y="141"/>
                  </a:lnTo>
                  <a:lnTo>
                    <a:pt x="181" y="143"/>
                  </a:lnTo>
                  <a:lnTo>
                    <a:pt x="177" y="141"/>
                  </a:lnTo>
                  <a:lnTo>
                    <a:pt x="177" y="141"/>
                  </a:lnTo>
                  <a:lnTo>
                    <a:pt x="177" y="141"/>
                  </a:lnTo>
                  <a:lnTo>
                    <a:pt x="177" y="141"/>
                  </a:lnTo>
                  <a:close/>
                  <a:moveTo>
                    <a:pt x="197" y="136"/>
                  </a:moveTo>
                  <a:lnTo>
                    <a:pt x="201" y="134"/>
                  </a:lnTo>
                  <a:lnTo>
                    <a:pt x="201" y="134"/>
                  </a:lnTo>
                  <a:lnTo>
                    <a:pt x="203" y="130"/>
                  </a:lnTo>
                  <a:lnTo>
                    <a:pt x="205" y="130"/>
                  </a:lnTo>
                  <a:lnTo>
                    <a:pt x="207" y="134"/>
                  </a:lnTo>
                  <a:lnTo>
                    <a:pt x="209" y="134"/>
                  </a:lnTo>
                  <a:lnTo>
                    <a:pt x="213" y="134"/>
                  </a:lnTo>
                  <a:lnTo>
                    <a:pt x="216" y="130"/>
                  </a:lnTo>
                  <a:lnTo>
                    <a:pt x="216" y="134"/>
                  </a:lnTo>
                  <a:lnTo>
                    <a:pt x="220" y="134"/>
                  </a:lnTo>
                  <a:lnTo>
                    <a:pt x="220" y="134"/>
                  </a:lnTo>
                  <a:lnTo>
                    <a:pt x="220" y="136"/>
                  </a:lnTo>
                  <a:lnTo>
                    <a:pt x="216" y="136"/>
                  </a:lnTo>
                  <a:lnTo>
                    <a:pt x="213" y="139"/>
                  </a:lnTo>
                  <a:lnTo>
                    <a:pt x="207" y="139"/>
                  </a:lnTo>
                  <a:lnTo>
                    <a:pt x="203" y="139"/>
                  </a:lnTo>
                  <a:lnTo>
                    <a:pt x="201" y="138"/>
                  </a:lnTo>
                  <a:lnTo>
                    <a:pt x="197" y="136"/>
                  </a:lnTo>
                  <a:lnTo>
                    <a:pt x="197" y="136"/>
                  </a:lnTo>
                  <a:lnTo>
                    <a:pt x="197" y="13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4" name="Freeform 97">
              <a:extLst>
                <a:ext uri="{FF2B5EF4-FFF2-40B4-BE49-F238E27FC236}">
                  <a16:creationId xmlns:a16="http://schemas.microsoft.com/office/drawing/2014/main" id="{EC8FB1B2-FF48-4EC2-980B-074CD579A182}"/>
                </a:ext>
              </a:extLst>
            </p:cNvPr>
            <p:cNvSpPr>
              <a:spLocks/>
            </p:cNvSpPr>
            <p:nvPr/>
          </p:nvSpPr>
          <p:spPr bwMode="auto">
            <a:xfrm>
              <a:off x="3223" y="2489"/>
              <a:ext cx="232" cy="196"/>
            </a:xfrm>
            <a:custGeom>
              <a:avLst/>
              <a:gdLst/>
              <a:ahLst/>
              <a:cxnLst>
                <a:cxn ang="0">
                  <a:pos x="187" y="36"/>
                </a:cxn>
                <a:cxn ang="0">
                  <a:pos x="173" y="11"/>
                </a:cxn>
                <a:cxn ang="0">
                  <a:pos x="166" y="8"/>
                </a:cxn>
                <a:cxn ang="0">
                  <a:pos x="140" y="11"/>
                </a:cxn>
                <a:cxn ang="0">
                  <a:pos x="134" y="11"/>
                </a:cxn>
                <a:cxn ang="0">
                  <a:pos x="128" y="9"/>
                </a:cxn>
                <a:cxn ang="0">
                  <a:pos x="128" y="4"/>
                </a:cxn>
                <a:cxn ang="0">
                  <a:pos x="115" y="0"/>
                </a:cxn>
                <a:cxn ang="0">
                  <a:pos x="117" y="4"/>
                </a:cxn>
                <a:cxn ang="0">
                  <a:pos x="106" y="6"/>
                </a:cxn>
                <a:cxn ang="0">
                  <a:pos x="108" y="4"/>
                </a:cxn>
                <a:cxn ang="0">
                  <a:pos x="102" y="2"/>
                </a:cxn>
                <a:cxn ang="0">
                  <a:pos x="92" y="8"/>
                </a:cxn>
                <a:cxn ang="0">
                  <a:pos x="83" y="15"/>
                </a:cxn>
                <a:cxn ang="0">
                  <a:pos x="66" y="11"/>
                </a:cxn>
                <a:cxn ang="0">
                  <a:pos x="51" y="8"/>
                </a:cxn>
                <a:cxn ang="0">
                  <a:pos x="38" y="4"/>
                </a:cxn>
                <a:cxn ang="0">
                  <a:pos x="8" y="0"/>
                </a:cxn>
                <a:cxn ang="0">
                  <a:pos x="4" y="4"/>
                </a:cxn>
                <a:cxn ang="0">
                  <a:pos x="4" y="21"/>
                </a:cxn>
                <a:cxn ang="0">
                  <a:pos x="4" y="40"/>
                </a:cxn>
                <a:cxn ang="0">
                  <a:pos x="232" y="194"/>
                </a:cxn>
                <a:cxn ang="0">
                  <a:pos x="224" y="190"/>
                </a:cxn>
                <a:cxn ang="0">
                  <a:pos x="217" y="181"/>
                </a:cxn>
                <a:cxn ang="0">
                  <a:pos x="207" y="177"/>
                </a:cxn>
                <a:cxn ang="0">
                  <a:pos x="204" y="160"/>
                </a:cxn>
                <a:cxn ang="0">
                  <a:pos x="205" y="156"/>
                </a:cxn>
                <a:cxn ang="0">
                  <a:pos x="205" y="155"/>
                </a:cxn>
                <a:cxn ang="0">
                  <a:pos x="202" y="151"/>
                </a:cxn>
                <a:cxn ang="0">
                  <a:pos x="190" y="132"/>
                </a:cxn>
                <a:cxn ang="0">
                  <a:pos x="175" y="107"/>
                </a:cxn>
                <a:cxn ang="0">
                  <a:pos x="172" y="94"/>
                </a:cxn>
                <a:cxn ang="0">
                  <a:pos x="166" y="81"/>
                </a:cxn>
                <a:cxn ang="0">
                  <a:pos x="162" y="74"/>
                </a:cxn>
                <a:cxn ang="0">
                  <a:pos x="145" y="55"/>
                </a:cxn>
                <a:cxn ang="0">
                  <a:pos x="141" y="41"/>
                </a:cxn>
                <a:cxn ang="0">
                  <a:pos x="141" y="40"/>
                </a:cxn>
                <a:cxn ang="0">
                  <a:pos x="147" y="45"/>
                </a:cxn>
                <a:cxn ang="0">
                  <a:pos x="153" y="57"/>
                </a:cxn>
                <a:cxn ang="0">
                  <a:pos x="162" y="68"/>
                </a:cxn>
                <a:cxn ang="0">
                  <a:pos x="177" y="81"/>
                </a:cxn>
                <a:cxn ang="0">
                  <a:pos x="183" y="70"/>
                </a:cxn>
                <a:cxn ang="0">
                  <a:pos x="183" y="57"/>
                </a:cxn>
                <a:cxn ang="0">
                  <a:pos x="187" y="47"/>
                </a:cxn>
              </a:cxnLst>
              <a:rect l="0" t="0" r="r" b="b"/>
              <a:pathLst>
                <a:path w="232" h="196">
                  <a:moveTo>
                    <a:pt x="187" y="47"/>
                  </a:moveTo>
                  <a:lnTo>
                    <a:pt x="185" y="40"/>
                  </a:lnTo>
                  <a:lnTo>
                    <a:pt x="187" y="36"/>
                  </a:lnTo>
                  <a:lnTo>
                    <a:pt x="181" y="25"/>
                  </a:lnTo>
                  <a:lnTo>
                    <a:pt x="175" y="19"/>
                  </a:lnTo>
                  <a:lnTo>
                    <a:pt x="173" y="11"/>
                  </a:lnTo>
                  <a:lnTo>
                    <a:pt x="170" y="6"/>
                  </a:lnTo>
                  <a:lnTo>
                    <a:pt x="168" y="4"/>
                  </a:lnTo>
                  <a:lnTo>
                    <a:pt x="166" y="8"/>
                  </a:lnTo>
                  <a:lnTo>
                    <a:pt x="162" y="9"/>
                  </a:lnTo>
                  <a:lnTo>
                    <a:pt x="149" y="8"/>
                  </a:lnTo>
                  <a:lnTo>
                    <a:pt x="140" y="11"/>
                  </a:lnTo>
                  <a:lnTo>
                    <a:pt x="132" y="6"/>
                  </a:lnTo>
                  <a:lnTo>
                    <a:pt x="132" y="9"/>
                  </a:lnTo>
                  <a:lnTo>
                    <a:pt x="134" y="11"/>
                  </a:lnTo>
                  <a:lnTo>
                    <a:pt x="134" y="15"/>
                  </a:lnTo>
                  <a:lnTo>
                    <a:pt x="132" y="11"/>
                  </a:lnTo>
                  <a:lnTo>
                    <a:pt x="128" y="9"/>
                  </a:lnTo>
                  <a:lnTo>
                    <a:pt x="128" y="6"/>
                  </a:lnTo>
                  <a:lnTo>
                    <a:pt x="128" y="6"/>
                  </a:lnTo>
                  <a:lnTo>
                    <a:pt x="128" y="4"/>
                  </a:lnTo>
                  <a:lnTo>
                    <a:pt x="123" y="4"/>
                  </a:lnTo>
                  <a:lnTo>
                    <a:pt x="121" y="2"/>
                  </a:lnTo>
                  <a:lnTo>
                    <a:pt x="115" y="0"/>
                  </a:lnTo>
                  <a:lnTo>
                    <a:pt x="113" y="2"/>
                  </a:lnTo>
                  <a:lnTo>
                    <a:pt x="117" y="2"/>
                  </a:lnTo>
                  <a:lnTo>
                    <a:pt x="117" y="4"/>
                  </a:lnTo>
                  <a:lnTo>
                    <a:pt x="113" y="4"/>
                  </a:lnTo>
                  <a:lnTo>
                    <a:pt x="109" y="4"/>
                  </a:lnTo>
                  <a:lnTo>
                    <a:pt x="106" y="6"/>
                  </a:lnTo>
                  <a:lnTo>
                    <a:pt x="104" y="4"/>
                  </a:lnTo>
                  <a:lnTo>
                    <a:pt x="104" y="4"/>
                  </a:lnTo>
                  <a:lnTo>
                    <a:pt x="108" y="4"/>
                  </a:lnTo>
                  <a:lnTo>
                    <a:pt x="111" y="2"/>
                  </a:lnTo>
                  <a:lnTo>
                    <a:pt x="108" y="2"/>
                  </a:lnTo>
                  <a:lnTo>
                    <a:pt x="102" y="2"/>
                  </a:lnTo>
                  <a:lnTo>
                    <a:pt x="98" y="4"/>
                  </a:lnTo>
                  <a:lnTo>
                    <a:pt x="96" y="8"/>
                  </a:lnTo>
                  <a:lnTo>
                    <a:pt x="92" y="8"/>
                  </a:lnTo>
                  <a:lnTo>
                    <a:pt x="89" y="9"/>
                  </a:lnTo>
                  <a:lnTo>
                    <a:pt x="83" y="11"/>
                  </a:lnTo>
                  <a:lnTo>
                    <a:pt x="83" y="15"/>
                  </a:lnTo>
                  <a:lnTo>
                    <a:pt x="77" y="15"/>
                  </a:lnTo>
                  <a:lnTo>
                    <a:pt x="72" y="11"/>
                  </a:lnTo>
                  <a:lnTo>
                    <a:pt x="66" y="11"/>
                  </a:lnTo>
                  <a:lnTo>
                    <a:pt x="60" y="11"/>
                  </a:lnTo>
                  <a:lnTo>
                    <a:pt x="55" y="8"/>
                  </a:lnTo>
                  <a:lnTo>
                    <a:pt x="51" y="8"/>
                  </a:lnTo>
                  <a:lnTo>
                    <a:pt x="49" y="9"/>
                  </a:lnTo>
                  <a:lnTo>
                    <a:pt x="44" y="6"/>
                  </a:lnTo>
                  <a:lnTo>
                    <a:pt x="38" y="4"/>
                  </a:lnTo>
                  <a:lnTo>
                    <a:pt x="25" y="2"/>
                  </a:lnTo>
                  <a:lnTo>
                    <a:pt x="17" y="0"/>
                  </a:lnTo>
                  <a:lnTo>
                    <a:pt x="8" y="0"/>
                  </a:lnTo>
                  <a:lnTo>
                    <a:pt x="4" y="2"/>
                  </a:lnTo>
                  <a:lnTo>
                    <a:pt x="4" y="2"/>
                  </a:lnTo>
                  <a:lnTo>
                    <a:pt x="4" y="4"/>
                  </a:lnTo>
                  <a:lnTo>
                    <a:pt x="4" y="11"/>
                  </a:lnTo>
                  <a:lnTo>
                    <a:pt x="4" y="19"/>
                  </a:lnTo>
                  <a:lnTo>
                    <a:pt x="4" y="21"/>
                  </a:lnTo>
                  <a:lnTo>
                    <a:pt x="4" y="30"/>
                  </a:lnTo>
                  <a:lnTo>
                    <a:pt x="0" y="34"/>
                  </a:lnTo>
                  <a:lnTo>
                    <a:pt x="4" y="40"/>
                  </a:lnTo>
                  <a:lnTo>
                    <a:pt x="4" y="49"/>
                  </a:lnTo>
                  <a:lnTo>
                    <a:pt x="10" y="196"/>
                  </a:lnTo>
                  <a:lnTo>
                    <a:pt x="232" y="194"/>
                  </a:lnTo>
                  <a:lnTo>
                    <a:pt x="232" y="194"/>
                  </a:lnTo>
                  <a:lnTo>
                    <a:pt x="230" y="194"/>
                  </a:lnTo>
                  <a:lnTo>
                    <a:pt x="224" y="190"/>
                  </a:lnTo>
                  <a:lnTo>
                    <a:pt x="224" y="187"/>
                  </a:lnTo>
                  <a:lnTo>
                    <a:pt x="220" y="187"/>
                  </a:lnTo>
                  <a:lnTo>
                    <a:pt x="217" y="181"/>
                  </a:lnTo>
                  <a:lnTo>
                    <a:pt x="217" y="181"/>
                  </a:lnTo>
                  <a:lnTo>
                    <a:pt x="213" y="181"/>
                  </a:lnTo>
                  <a:lnTo>
                    <a:pt x="207" y="177"/>
                  </a:lnTo>
                  <a:lnTo>
                    <a:pt x="204" y="168"/>
                  </a:lnTo>
                  <a:lnTo>
                    <a:pt x="204" y="164"/>
                  </a:lnTo>
                  <a:lnTo>
                    <a:pt x="204" y="160"/>
                  </a:lnTo>
                  <a:lnTo>
                    <a:pt x="204" y="156"/>
                  </a:lnTo>
                  <a:lnTo>
                    <a:pt x="204" y="156"/>
                  </a:lnTo>
                  <a:lnTo>
                    <a:pt x="205" y="156"/>
                  </a:lnTo>
                  <a:lnTo>
                    <a:pt x="211" y="156"/>
                  </a:lnTo>
                  <a:lnTo>
                    <a:pt x="207" y="155"/>
                  </a:lnTo>
                  <a:lnTo>
                    <a:pt x="205" y="155"/>
                  </a:lnTo>
                  <a:lnTo>
                    <a:pt x="204" y="151"/>
                  </a:lnTo>
                  <a:lnTo>
                    <a:pt x="202" y="151"/>
                  </a:lnTo>
                  <a:lnTo>
                    <a:pt x="202" y="151"/>
                  </a:lnTo>
                  <a:lnTo>
                    <a:pt x="200" y="149"/>
                  </a:lnTo>
                  <a:lnTo>
                    <a:pt x="198" y="143"/>
                  </a:lnTo>
                  <a:lnTo>
                    <a:pt x="190" y="132"/>
                  </a:lnTo>
                  <a:lnTo>
                    <a:pt x="187" y="130"/>
                  </a:lnTo>
                  <a:lnTo>
                    <a:pt x="187" y="124"/>
                  </a:lnTo>
                  <a:lnTo>
                    <a:pt x="175" y="107"/>
                  </a:lnTo>
                  <a:lnTo>
                    <a:pt x="175" y="104"/>
                  </a:lnTo>
                  <a:lnTo>
                    <a:pt x="173" y="100"/>
                  </a:lnTo>
                  <a:lnTo>
                    <a:pt x="172" y="94"/>
                  </a:lnTo>
                  <a:lnTo>
                    <a:pt x="170" y="90"/>
                  </a:lnTo>
                  <a:lnTo>
                    <a:pt x="170" y="90"/>
                  </a:lnTo>
                  <a:lnTo>
                    <a:pt x="166" y="81"/>
                  </a:lnTo>
                  <a:lnTo>
                    <a:pt x="166" y="81"/>
                  </a:lnTo>
                  <a:lnTo>
                    <a:pt x="166" y="77"/>
                  </a:lnTo>
                  <a:lnTo>
                    <a:pt x="162" y="74"/>
                  </a:lnTo>
                  <a:lnTo>
                    <a:pt x="153" y="64"/>
                  </a:lnTo>
                  <a:lnTo>
                    <a:pt x="153" y="60"/>
                  </a:lnTo>
                  <a:lnTo>
                    <a:pt x="145" y="55"/>
                  </a:lnTo>
                  <a:lnTo>
                    <a:pt x="145" y="49"/>
                  </a:lnTo>
                  <a:lnTo>
                    <a:pt x="140" y="45"/>
                  </a:lnTo>
                  <a:lnTo>
                    <a:pt x="141" y="41"/>
                  </a:lnTo>
                  <a:lnTo>
                    <a:pt x="141" y="40"/>
                  </a:lnTo>
                  <a:lnTo>
                    <a:pt x="141" y="38"/>
                  </a:lnTo>
                  <a:lnTo>
                    <a:pt x="141" y="40"/>
                  </a:lnTo>
                  <a:lnTo>
                    <a:pt x="143" y="40"/>
                  </a:lnTo>
                  <a:lnTo>
                    <a:pt x="145" y="43"/>
                  </a:lnTo>
                  <a:lnTo>
                    <a:pt x="147" y="45"/>
                  </a:lnTo>
                  <a:lnTo>
                    <a:pt x="147" y="49"/>
                  </a:lnTo>
                  <a:lnTo>
                    <a:pt x="153" y="55"/>
                  </a:lnTo>
                  <a:lnTo>
                    <a:pt x="153" y="57"/>
                  </a:lnTo>
                  <a:lnTo>
                    <a:pt x="156" y="60"/>
                  </a:lnTo>
                  <a:lnTo>
                    <a:pt x="162" y="64"/>
                  </a:lnTo>
                  <a:lnTo>
                    <a:pt x="162" y="68"/>
                  </a:lnTo>
                  <a:lnTo>
                    <a:pt x="172" y="77"/>
                  </a:lnTo>
                  <a:lnTo>
                    <a:pt x="177" y="79"/>
                  </a:lnTo>
                  <a:lnTo>
                    <a:pt x="177" y="81"/>
                  </a:lnTo>
                  <a:lnTo>
                    <a:pt x="177" y="79"/>
                  </a:lnTo>
                  <a:lnTo>
                    <a:pt x="181" y="75"/>
                  </a:lnTo>
                  <a:lnTo>
                    <a:pt x="183" y="70"/>
                  </a:lnTo>
                  <a:lnTo>
                    <a:pt x="181" y="68"/>
                  </a:lnTo>
                  <a:lnTo>
                    <a:pt x="183" y="62"/>
                  </a:lnTo>
                  <a:lnTo>
                    <a:pt x="183" y="57"/>
                  </a:lnTo>
                  <a:lnTo>
                    <a:pt x="187" y="49"/>
                  </a:lnTo>
                  <a:lnTo>
                    <a:pt x="187" y="47"/>
                  </a:lnTo>
                  <a:lnTo>
                    <a:pt x="187" y="47"/>
                  </a:lnTo>
                  <a:lnTo>
                    <a:pt x="187" y="4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5" name="Freeform 98">
              <a:extLst>
                <a:ext uri="{FF2B5EF4-FFF2-40B4-BE49-F238E27FC236}">
                  <a16:creationId xmlns:a16="http://schemas.microsoft.com/office/drawing/2014/main" id="{8DD44963-1F78-4FC7-8030-BA6DD633B89D}"/>
                </a:ext>
              </a:extLst>
            </p:cNvPr>
            <p:cNvSpPr>
              <a:spLocks/>
            </p:cNvSpPr>
            <p:nvPr/>
          </p:nvSpPr>
          <p:spPr bwMode="auto">
            <a:xfrm>
              <a:off x="3180" y="2685"/>
              <a:ext cx="307" cy="348"/>
            </a:xfrm>
            <a:custGeom>
              <a:avLst/>
              <a:gdLst/>
              <a:ahLst/>
              <a:cxnLst>
                <a:cxn ang="0">
                  <a:pos x="275" y="6"/>
                </a:cxn>
                <a:cxn ang="0">
                  <a:pos x="277" y="15"/>
                </a:cxn>
                <a:cxn ang="0">
                  <a:pos x="277" y="15"/>
                </a:cxn>
                <a:cxn ang="0">
                  <a:pos x="282" y="47"/>
                </a:cxn>
                <a:cxn ang="0">
                  <a:pos x="297" y="73"/>
                </a:cxn>
                <a:cxn ang="0">
                  <a:pos x="305" y="79"/>
                </a:cxn>
                <a:cxn ang="0">
                  <a:pos x="290" y="87"/>
                </a:cxn>
                <a:cxn ang="0">
                  <a:pos x="282" y="94"/>
                </a:cxn>
                <a:cxn ang="0">
                  <a:pos x="282" y="105"/>
                </a:cxn>
                <a:cxn ang="0">
                  <a:pos x="273" y="128"/>
                </a:cxn>
                <a:cxn ang="0">
                  <a:pos x="275" y="147"/>
                </a:cxn>
                <a:cxn ang="0">
                  <a:pos x="263" y="175"/>
                </a:cxn>
                <a:cxn ang="0">
                  <a:pos x="252" y="188"/>
                </a:cxn>
                <a:cxn ang="0">
                  <a:pos x="239" y="211"/>
                </a:cxn>
                <a:cxn ang="0">
                  <a:pos x="235" y="230"/>
                </a:cxn>
                <a:cxn ang="0">
                  <a:pos x="228" y="256"/>
                </a:cxn>
                <a:cxn ang="0">
                  <a:pos x="215" y="256"/>
                </a:cxn>
                <a:cxn ang="0">
                  <a:pos x="215" y="269"/>
                </a:cxn>
                <a:cxn ang="0">
                  <a:pos x="228" y="279"/>
                </a:cxn>
                <a:cxn ang="0">
                  <a:pos x="241" y="288"/>
                </a:cxn>
                <a:cxn ang="0">
                  <a:pos x="250" y="307"/>
                </a:cxn>
                <a:cxn ang="0">
                  <a:pos x="235" y="330"/>
                </a:cxn>
                <a:cxn ang="0">
                  <a:pos x="228" y="339"/>
                </a:cxn>
                <a:cxn ang="0">
                  <a:pos x="205" y="345"/>
                </a:cxn>
                <a:cxn ang="0">
                  <a:pos x="194" y="348"/>
                </a:cxn>
                <a:cxn ang="0">
                  <a:pos x="183" y="347"/>
                </a:cxn>
                <a:cxn ang="0">
                  <a:pos x="173" y="348"/>
                </a:cxn>
                <a:cxn ang="0">
                  <a:pos x="164" y="347"/>
                </a:cxn>
                <a:cxn ang="0">
                  <a:pos x="154" y="335"/>
                </a:cxn>
                <a:cxn ang="0">
                  <a:pos x="143" y="324"/>
                </a:cxn>
                <a:cxn ang="0">
                  <a:pos x="134" y="330"/>
                </a:cxn>
                <a:cxn ang="0">
                  <a:pos x="122" y="333"/>
                </a:cxn>
                <a:cxn ang="0">
                  <a:pos x="109" y="324"/>
                </a:cxn>
                <a:cxn ang="0">
                  <a:pos x="103" y="316"/>
                </a:cxn>
                <a:cxn ang="0">
                  <a:pos x="90" y="303"/>
                </a:cxn>
                <a:cxn ang="0">
                  <a:pos x="85" y="294"/>
                </a:cxn>
                <a:cxn ang="0">
                  <a:pos x="71" y="281"/>
                </a:cxn>
                <a:cxn ang="0">
                  <a:pos x="64" y="275"/>
                </a:cxn>
                <a:cxn ang="0">
                  <a:pos x="58" y="267"/>
                </a:cxn>
                <a:cxn ang="0">
                  <a:pos x="45" y="258"/>
                </a:cxn>
                <a:cxn ang="0">
                  <a:pos x="38" y="254"/>
                </a:cxn>
                <a:cxn ang="0">
                  <a:pos x="32" y="239"/>
                </a:cxn>
                <a:cxn ang="0">
                  <a:pos x="24" y="217"/>
                </a:cxn>
                <a:cxn ang="0">
                  <a:pos x="19" y="207"/>
                </a:cxn>
                <a:cxn ang="0">
                  <a:pos x="11" y="192"/>
                </a:cxn>
                <a:cxn ang="0">
                  <a:pos x="9" y="179"/>
                </a:cxn>
                <a:cxn ang="0">
                  <a:pos x="0" y="175"/>
                </a:cxn>
                <a:cxn ang="0">
                  <a:pos x="6" y="156"/>
                </a:cxn>
                <a:cxn ang="0">
                  <a:pos x="11" y="143"/>
                </a:cxn>
                <a:cxn ang="0">
                  <a:pos x="21" y="122"/>
                </a:cxn>
                <a:cxn ang="0">
                  <a:pos x="38" y="119"/>
                </a:cxn>
                <a:cxn ang="0">
                  <a:pos x="51" y="2"/>
                </a:cxn>
              </a:cxnLst>
              <a:rect l="0" t="0" r="r" b="b"/>
              <a:pathLst>
                <a:path w="307" h="348">
                  <a:moveTo>
                    <a:pt x="51" y="2"/>
                  </a:moveTo>
                  <a:lnTo>
                    <a:pt x="273" y="0"/>
                  </a:lnTo>
                  <a:lnTo>
                    <a:pt x="273" y="2"/>
                  </a:lnTo>
                  <a:lnTo>
                    <a:pt x="273" y="4"/>
                  </a:lnTo>
                  <a:lnTo>
                    <a:pt x="275" y="6"/>
                  </a:lnTo>
                  <a:lnTo>
                    <a:pt x="273" y="6"/>
                  </a:lnTo>
                  <a:lnTo>
                    <a:pt x="275" y="7"/>
                  </a:lnTo>
                  <a:lnTo>
                    <a:pt x="275" y="7"/>
                  </a:lnTo>
                  <a:lnTo>
                    <a:pt x="275" y="9"/>
                  </a:lnTo>
                  <a:lnTo>
                    <a:pt x="277" y="15"/>
                  </a:lnTo>
                  <a:lnTo>
                    <a:pt x="280" y="19"/>
                  </a:lnTo>
                  <a:lnTo>
                    <a:pt x="280" y="19"/>
                  </a:lnTo>
                  <a:lnTo>
                    <a:pt x="279" y="19"/>
                  </a:lnTo>
                  <a:lnTo>
                    <a:pt x="279" y="19"/>
                  </a:lnTo>
                  <a:lnTo>
                    <a:pt x="277" y="15"/>
                  </a:lnTo>
                  <a:lnTo>
                    <a:pt x="277" y="19"/>
                  </a:lnTo>
                  <a:lnTo>
                    <a:pt x="277" y="21"/>
                  </a:lnTo>
                  <a:lnTo>
                    <a:pt x="282" y="34"/>
                  </a:lnTo>
                  <a:lnTo>
                    <a:pt x="282" y="39"/>
                  </a:lnTo>
                  <a:lnTo>
                    <a:pt x="282" y="47"/>
                  </a:lnTo>
                  <a:lnTo>
                    <a:pt x="282" y="56"/>
                  </a:lnTo>
                  <a:lnTo>
                    <a:pt x="286" y="62"/>
                  </a:lnTo>
                  <a:lnTo>
                    <a:pt x="290" y="64"/>
                  </a:lnTo>
                  <a:lnTo>
                    <a:pt x="297" y="68"/>
                  </a:lnTo>
                  <a:lnTo>
                    <a:pt x="297" y="73"/>
                  </a:lnTo>
                  <a:lnTo>
                    <a:pt x="301" y="73"/>
                  </a:lnTo>
                  <a:lnTo>
                    <a:pt x="307" y="73"/>
                  </a:lnTo>
                  <a:lnTo>
                    <a:pt x="307" y="75"/>
                  </a:lnTo>
                  <a:lnTo>
                    <a:pt x="307" y="75"/>
                  </a:lnTo>
                  <a:lnTo>
                    <a:pt x="305" y="79"/>
                  </a:lnTo>
                  <a:lnTo>
                    <a:pt x="301" y="81"/>
                  </a:lnTo>
                  <a:lnTo>
                    <a:pt x="299" y="83"/>
                  </a:lnTo>
                  <a:lnTo>
                    <a:pt x="297" y="85"/>
                  </a:lnTo>
                  <a:lnTo>
                    <a:pt x="292" y="85"/>
                  </a:lnTo>
                  <a:lnTo>
                    <a:pt x="290" y="87"/>
                  </a:lnTo>
                  <a:lnTo>
                    <a:pt x="286" y="87"/>
                  </a:lnTo>
                  <a:lnTo>
                    <a:pt x="286" y="88"/>
                  </a:lnTo>
                  <a:lnTo>
                    <a:pt x="286" y="92"/>
                  </a:lnTo>
                  <a:lnTo>
                    <a:pt x="286" y="94"/>
                  </a:lnTo>
                  <a:lnTo>
                    <a:pt x="282" y="94"/>
                  </a:lnTo>
                  <a:lnTo>
                    <a:pt x="280" y="94"/>
                  </a:lnTo>
                  <a:lnTo>
                    <a:pt x="280" y="98"/>
                  </a:lnTo>
                  <a:lnTo>
                    <a:pt x="279" y="102"/>
                  </a:lnTo>
                  <a:lnTo>
                    <a:pt x="280" y="104"/>
                  </a:lnTo>
                  <a:lnTo>
                    <a:pt x="282" y="105"/>
                  </a:lnTo>
                  <a:lnTo>
                    <a:pt x="280" y="107"/>
                  </a:lnTo>
                  <a:lnTo>
                    <a:pt x="279" y="113"/>
                  </a:lnTo>
                  <a:lnTo>
                    <a:pt x="277" y="122"/>
                  </a:lnTo>
                  <a:lnTo>
                    <a:pt x="273" y="126"/>
                  </a:lnTo>
                  <a:lnTo>
                    <a:pt x="273" y="128"/>
                  </a:lnTo>
                  <a:lnTo>
                    <a:pt x="271" y="132"/>
                  </a:lnTo>
                  <a:lnTo>
                    <a:pt x="271" y="136"/>
                  </a:lnTo>
                  <a:lnTo>
                    <a:pt x="273" y="143"/>
                  </a:lnTo>
                  <a:lnTo>
                    <a:pt x="273" y="147"/>
                  </a:lnTo>
                  <a:lnTo>
                    <a:pt x="275" y="147"/>
                  </a:lnTo>
                  <a:lnTo>
                    <a:pt x="273" y="149"/>
                  </a:lnTo>
                  <a:lnTo>
                    <a:pt x="271" y="154"/>
                  </a:lnTo>
                  <a:lnTo>
                    <a:pt x="271" y="160"/>
                  </a:lnTo>
                  <a:lnTo>
                    <a:pt x="265" y="168"/>
                  </a:lnTo>
                  <a:lnTo>
                    <a:pt x="263" y="175"/>
                  </a:lnTo>
                  <a:lnTo>
                    <a:pt x="262" y="175"/>
                  </a:lnTo>
                  <a:lnTo>
                    <a:pt x="258" y="175"/>
                  </a:lnTo>
                  <a:lnTo>
                    <a:pt x="258" y="179"/>
                  </a:lnTo>
                  <a:lnTo>
                    <a:pt x="256" y="186"/>
                  </a:lnTo>
                  <a:lnTo>
                    <a:pt x="252" y="188"/>
                  </a:lnTo>
                  <a:lnTo>
                    <a:pt x="250" y="192"/>
                  </a:lnTo>
                  <a:lnTo>
                    <a:pt x="247" y="200"/>
                  </a:lnTo>
                  <a:lnTo>
                    <a:pt x="243" y="213"/>
                  </a:lnTo>
                  <a:lnTo>
                    <a:pt x="241" y="211"/>
                  </a:lnTo>
                  <a:lnTo>
                    <a:pt x="239" y="211"/>
                  </a:lnTo>
                  <a:lnTo>
                    <a:pt x="239" y="215"/>
                  </a:lnTo>
                  <a:lnTo>
                    <a:pt x="235" y="220"/>
                  </a:lnTo>
                  <a:lnTo>
                    <a:pt x="233" y="224"/>
                  </a:lnTo>
                  <a:lnTo>
                    <a:pt x="233" y="226"/>
                  </a:lnTo>
                  <a:lnTo>
                    <a:pt x="235" y="230"/>
                  </a:lnTo>
                  <a:lnTo>
                    <a:pt x="231" y="234"/>
                  </a:lnTo>
                  <a:lnTo>
                    <a:pt x="231" y="239"/>
                  </a:lnTo>
                  <a:lnTo>
                    <a:pt x="231" y="245"/>
                  </a:lnTo>
                  <a:lnTo>
                    <a:pt x="231" y="254"/>
                  </a:lnTo>
                  <a:lnTo>
                    <a:pt x="228" y="256"/>
                  </a:lnTo>
                  <a:lnTo>
                    <a:pt x="228" y="258"/>
                  </a:lnTo>
                  <a:lnTo>
                    <a:pt x="226" y="258"/>
                  </a:lnTo>
                  <a:lnTo>
                    <a:pt x="222" y="256"/>
                  </a:lnTo>
                  <a:lnTo>
                    <a:pt x="218" y="256"/>
                  </a:lnTo>
                  <a:lnTo>
                    <a:pt x="215" y="256"/>
                  </a:lnTo>
                  <a:lnTo>
                    <a:pt x="215" y="260"/>
                  </a:lnTo>
                  <a:lnTo>
                    <a:pt x="213" y="262"/>
                  </a:lnTo>
                  <a:lnTo>
                    <a:pt x="209" y="266"/>
                  </a:lnTo>
                  <a:lnTo>
                    <a:pt x="211" y="269"/>
                  </a:lnTo>
                  <a:lnTo>
                    <a:pt x="215" y="269"/>
                  </a:lnTo>
                  <a:lnTo>
                    <a:pt x="222" y="269"/>
                  </a:lnTo>
                  <a:lnTo>
                    <a:pt x="222" y="271"/>
                  </a:lnTo>
                  <a:lnTo>
                    <a:pt x="228" y="275"/>
                  </a:lnTo>
                  <a:lnTo>
                    <a:pt x="228" y="279"/>
                  </a:lnTo>
                  <a:lnTo>
                    <a:pt x="228" y="279"/>
                  </a:lnTo>
                  <a:lnTo>
                    <a:pt x="231" y="284"/>
                  </a:lnTo>
                  <a:lnTo>
                    <a:pt x="235" y="286"/>
                  </a:lnTo>
                  <a:lnTo>
                    <a:pt x="235" y="288"/>
                  </a:lnTo>
                  <a:lnTo>
                    <a:pt x="237" y="288"/>
                  </a:lnTo>
                  <a:lnTo>
                    <a:pt x="241" y="288"/>
                  </a:lnTo>
                  <a:lnTo>
                    <a:pt x="243" y="292"/>
                  </a:lnTo>
                  <a:lnTo>
                    <a:pt x="245" y="296"/>
                  </a:lnTo>
                  <a:lnTo>
                    <a:pt x="248" y="299"/>
                  </a:lnTo>
                  <a:lnTo>
                    <a:pt x="248" y="303"/>
                  </a:lnTo>
                  <a:lnTo>
                    <a:pt x="250" y="307"/>
                  </a:lnTo>
                  <a:lnTo>
                    <a:pt x="252" y="313"/>
                  </a:lnTo>
                  <a:lnTo>
                    <a:pt x="247" y="320"/>
                  </a:lnTo>
                  <a:lnTo>
                    <a:pt x="241" y="328"/>
                  </a:lnTo>
                  <a:lnTo>
                    <a:pt x="239" y="328"/>
                  </a:lnTo>
                  <a:lnTo>
                    <a:pt x="235" y="330"/>
                  </a:lnTo>
                  <a:lnTo>
                    <a:pt x="233" y="331"/>
                  </a:lnTo>
                  <a:lnTo>
                    <a:pt x="231" y="331"/>
                  </a:lnTo>
                  <a:lnTo>
                    <a:pt x="231" y="335"/>
                  </a:lnTo>
                  <a:lnTo>
                    <a:pt x="231" y="335"/>
                  </a:lnTo>
                  <a:lnTo>
                    <a:pt x="228" y="339"/>
                  </a:lnTo>
                  <a:lnTo>
                    <a:pt x="222" y="341"/>
                  </a:lnTo>
                  <a:lnTo>
                    <a:pt x="218" y="343"/>
                  </a:lnTo>
                  <a:lnTo>
                    <a:pt x="216" y="343"/>
                  </a:lnTo>
                  <a:lnTo>
                    <a:pt x="209" y="343"/>
                  </a:lnTo>
                  <a:lnTo>
                    <a:pt x="205" y="345"/>
                  </a:lnTo>
                  <a:lnTo>
                    <a:pt x="201" y="345"/>
                  </a:lnTo>
                  <a:lnTo>
                    <a:pt x="201" y="345"/>
                  </a:lnTo>
                  <a:lnTo>
                    <a:pt x="198" y="345"/>
                  </a:lnTo>
                  <a:lnTo>
                    <a:pt x="194" y="347"/>
                  </a:lnTo>
                  <a:lnTo>
                    <a:pt x="194" y="348"/>
                  </a:lnTo>
                  <a:lnTo>
                    <a:pt x="194" y="348"/>
                  </a:lnTo>
                  <a:lnTo>
                    <a:pt x="188" y="348"/>
                  </a:lnTo>
                  <a:lnTo>
                    <a:pt x="188" y="347"/>
                  </a:lnTo>
                  <a:lnTo>
                    <a:pt x="186" y="345"/>
                  </a:lnTo>
                  <a:lnTo>
                    <a:pt x="183" y="347"/>
                  </a:lnTo>
                  <a:lnTo>
                    <a:pt x="177" y="345"/>
                  </a:lnTo>
                  <a:lnTo>
                    <a:pt x="173" y="343"/>
                  </a:lnTo>
                  <a:lnTo>
                    <a:pt x="173" y="345"/>
                  </a:lnTo>
                  <a:lnTo>
                    <a:pt x="173" y="347"/>
                  </a:lnTo>
                  <a:lnTo>
                    <a:pt x="173" y="348"/>
                  </a:lnTo>
                  <a:lnTo>
                    <a:pt x="173" y="348"/>
                  </a:lnTo>
                  <a:lnTo>
                    <a:pt x="169" y="348"/>
                  </a:lnTo>
                  <a:lnTo>
                    <a:pt x="167" y="348"/>
                  </a:lnTo>
                  <a:lnTo>
                    <a:pt x="164" y="348"/>
                  </a:lnTo>
                  <a:lnTo>
                    <a:pt x="164" y="347"/>
                  </a:lnTo>
                  <a:lnTo>
                    <a:pt x="164" y="345"/>
                  </a:lnTo>
                  <a:lnTo>
                    <a:pt x="164" y="343"/>
                  </a:lnTo>
                  <a:lnTo>
                    <a:pt x="162" y="339"/>
                  </a:lnTo>
                  <a:lnTo>
                    <a:pt x="160" y="337"/>
                  </a:lnTo>
                  <a:lnTo>
                    <a:pt x="154" y="335"/>
                  </a:lnTo>
                  <a:lnTo>
                    <a:pt x="154" y="333"/>
                  </a:lnTo>
                  <a:lnTo>
                    <a:pt x="152" y="331"/>
                  </a:lnTo>
                  <a:lnTo>
                    <a:pt x="149" y="328"/>
                  </a:lnTo>
                  <a:lnTo>
                    <a:pt x="149" y="328"/>
                  </a:lnTo>
                  <a:lnTo>
                    <a:pt x="143" y="324"/>
                  </a:lnTo>
                  <a:lnTo>
                    <a:pt x="143" y="328"/>
                  </a:lnTo>
                  <a:lnTo>
                    <a:pt x="139" y="330"/>
                  </a:lnTo>
                  <a:lnTo>
                    <a:pt x="137" y="331"/>
                  </a:lnTo>
                  <a:lnTo>
                    <a:pt x="134" y="331"/>
                  </a:lnTo>
                  <a:lnTo>
                    <a:pt x="134" y="330"/>
                  </a:lnTo>
                  <a:lnTo>
                    <a:pt x="132" y="330"/>
                  </a:lnTo>
                  <a:lnTo>
                    <a:pt x="128" y="330"/>
                  </a:lnTo>
                  <a:lnTo>
                    <a:pt x="126" y="331"/>
                  </a:lnTo>
                  <a:lnTo>
                    <a:pt x="124" y="333"/>
                  </a:lnTo>
                  <a:lnTo>
                    <a:pt x="122" y="333"/>
                  </a:lnTo>
                  <a:lnTo>
                    <a:pt x="119" y="331"/>
                  </a:lnTo>
                  <a:lnTo>
                    <a:pt x="113" y="330"/>
                  </a:lnTo>
                  <a:lnTo>
                    <a:pt x="113" y="328"/>
                  </a:lnTo>
                  <a:lnTo>
                    <a:pt x="109" y="328"/>
                  </a:lnTo>
                  <a:lnTo>
                    <a:pt x="109" y="324"/>
                  </a:lnTo>
                  <a:lnTo>
                    <a:pt x="109" y="322"/>
                  </a:lnTo>
                  <a:lnTo>
                    <a:pt x="107" y="322"/>
                  </a:lnTo>
                  <a:lnTo>
                    <a:pt x="107" y="322"/>
                  </a:lnTo>
                  <a:lnTo>
                    <a:pt x="105" y="318"/>
                  </a:lnTo>
                  <a:lnTo>
                    <a:pt x="103" y="316"/>
                  </a:lnTo>
                  <a:lnTo>
                    <a:pt x="100" y="315"/>
                  </a:lnTo>
                  <a:lnTo>
                    <a:pt x="100" y="309"/>
                  </a:lnTo>
                  <a:lnTo>
                    <a:pt x="100" y="307"/>
                  </a:lnTo>
                  <a:lnTo>
                    <a:pt x="98" y="305"/>
                  </a:lnTo>
                  <a:lnTo>
                    <a:pt x="90" y="303"/>
                  </a:lnTo>
                  <a:lnTo>
                    <a:pt x="88" y="303"/>
                  </a:lnTo>
                  <a:lnTo>
                    <a:pt x="88" y="299"/>
                  </a:lnTo>
                  <a:lnTo>
                    <a:pt x="88" y="298"/>
                  </a:lnTo>
                  <a:lnTo>
                    <a:pt x="85" y="296"/>
                  </a:lnTo>
                  <a:lnTo>
                    <a:pt x="85" y="294"/>
                  </a:lnTo>
                  <a:lnTo>
                    <a:pt x="81" y="288"/>
                  </a:lnTo>
                  <a:lnTo>
                    <a:pt x="81" y="286"/>
                  </a:lnTo>
                  <a:lnTo>
                    <a:pt x="75" y="282"/>
                  </a:lnTo>
                  <a:lnTo>
                    <a:pt x="73" y="282"/>
                  </a:lnTo>
                  <a:lnTo>
                    <a:pt x="71" y="281"/>
                  </a:lnTo>
                  <a:lnTo>
                    <a:pt x="70" y="282"/>
                  </a:lnTo>
                  <a:lnTo>
                    <a:pt x="66" y="281"/>
                  </a:lnTo>
                  <a:lnTo>
                    <a:pt x="62" y="279"/>
                  </a:lnTo>
                  <a:lnTo>
                    <a:pt x="64" y="275"/>
                  </a:lnTo>
                  <a:lnTo>
                    <a:pt x="64" y="275"/>
                  </a:lnTo>
                  <a:lnTo>
                    <a:pt x="68" y="273"/>
                  </a:lnTo>
                  <a:lnTo>
                    <a:pt x="68" y="271"/>
                  </a:lnTo>
                  <a:lnTo>
                    <a:pt x="66" y="269"/>
                  </a:lnTo>
                  <a:lnTo>
                    <a:pt x="62" y="269"/>
                  </a:lnTo>
                  <a:lnTo>
                    <a:pt x="58" y="267"/>
                  </a:lnTo>
                  <a:lnTo>
                    <a:pt x="58" y="264"/>
                  </a:lnTo>
                  <a:lnTo>
                    <a:pt x="55" y="262"/>
                  </a:lnTo>
                  <a:lnTo>
                    <a:pt x="51" y="262"/>
                  </a:lnTo>
                  <a:lnTo>
                    <a:pt x="49" y="260"/>
                  </a:lnTo>
                  <a:lnTo>
                    <a:pt x="45" y="258"/>
                  </a:lnTo>
                  <a:lnTo>
                    <a:pt x="45" y="254"/>
                  </a:lnTo>
                  <a:lnTo>
                    <a:pt x="45" y="250"/>
                  </a:lnTo>
                  <a:lnTo>
                    <a:pt x="45" y="250"/>
                  </a:lnTo>
                  <a:lnTo>
                    <a:pt x="38" y="250"/>
                  </a:lnTo>
                  <a:lnTo>
                    <a:pt x="38" y="254"/>
                  </a:lnTo>
                  <a:lnTo>
                    <a:pt x="32" y="250"/>
                  </a:lnTo>
                  <a:lnTo>
                    <a:pt x="30" y="250"/>
                  </a:lnTo>
                  <a:lnTo>
                    <a:pt x="28" y="245"/>
                  </a:lnTo>
                  <a:lnTo>
                    <a:pt x="30" y="241"/>
                  </a:lnTo>
                  <a:lnTo>
                    <a:pt x="32" y="239"/>
                  </a:lnTo>
                  <a:lnTo>
                    <a:pt x="32" y="235"/>
                  </a:lnTo>
                  <a:lnTo>
                    <a:pt x="32" y="232"/>
                  </a:lnTo>
                  <a:lnTo>
                    <a:pt x="28" y="226"/>
                  </a:lnTo>
                  <a:lnTo>
                    <a:pt x="24" y="217"/>
                  </a:lnTo>
                  <a:lnTo>
                    <a:pt x="24" y="217"/>
                  </a:lnTo>
                  <a:lnTo>
                    <a:pt x="19" y="215"/>
                  </a:lnTo>
                  <a:lnTo>
                    <a:pt x="21" y="213"/>
                  </a:lnTo>
                  <a:lnTo>
                    <a:pt x="21" y="209"/>
                  </a:lnTo>
                  <a:lnTo>
                    <a:pt x="19" y="207"/>
                  </a:lnTo>
                  <a:lnTo>
                    <a:pt x="19" y="207"/>
                  </a:lnTo>
                  <a:lnTo>
                    <a:pt x="19" y="205"/>
                  </a:lnTo>
                  <a:lnTo>
                    <a:pt x="21" y="201"/>
                  </a:lnTo>
                  <a:lnTo>
                    <a:pt x="19" y="200"/>
                  </a:lnTo>
                  <a:lnTo>
                    <a:pt x="11" y="196"/>
                  </a:lnTo>
                  <a:lnTo>
                    <a:pt x="11" y="192"/>
                  </a:lnTo>
                  <a:lnTo>
                    <a:pt x="11" y="188"/>
                  </a:lnTo>
                  <a:lnTo>
                    <a:pt x="9" y="186"/>
                  </a:lnTo>
                  <a:lnTo>
                    <a:pt x="9" y="183"/>
                  </a:lnTo>
                  <a:lnTo>
                    <a:pt x="7" y="181"/>
                  </a:lnTo>
                  <a:lnTo>
                    <a:pt x="9" y="179"/>
                  </a:lnTo>
                  <a:lnTo>
                    <a:pt x="9" y="177"/>
                  </a:lnTo>
                  <a:lnTo>
                    <a:pt x="7" y="177"/>
                  </a:lnTo>
                  <a:lnTo>
                    <a:pt x="2" y="179"/>
                  </a:lnTo>
                  <a:lnTo>
                    <a:pt x="0" y="177"/>
                  </a:lnTo>
                  <a:lnTo>
                    <a:pt x="0" y="175"/>
                  </a:lnTo>
                  <a:lnTo>
                    <a:pt x="6" y="168"/>
                  </a:lnTo>
                  <a:lnTo>
                    <a:pt x="7" y="164"/>
                  </a:lnTo>
                  <a:lnTo>
                    <a:pt x="7" y="160"/>
                  </a:lnTo>
                  <a:lnTo>
                    <a:pt x="4" y="158"/>
                  </a:lnTo>
                  <a:lnTo>
                    <a:pt x="6" y="156"/>
                  </a:lnTo>
                  <a:lnTo>
                    <a:pt x="9" y="154"/>
                  </a:lnTo>
                  <a:lnTo>
                    <a:pt x="11" y="149"/>
                  </a:lnTo>
                  <a:lnTo>
                    <a:pt x="9" y="147"/>
                  </a:lnTo>
                  <a:lnTo>
                    <a:pt x="9" y="147"/>
                  </a:lnTo>
                  <a:lnTo>
                    <a:pt x="11" y="143"/>
                  </a:lnTo>
                  <a:lnTo>
                    <a:pt x="15" y="143"/>
                  </a:lnTo>
                  <a:lnTo>
                    <a:pt x="21" y="134"/>
                  </a:lnTo>
                  <a:lnTo>
                    <a:pt x="21" y="130"/>
                  </a:lnTo>
                  <a:lnTo>
                    <a:pt x="21" y="128"/>
                  </a:lnTo>
                  <a:lnTo>
                    <a:pt x="21" y="122"/>
                  </a:lnTo>
                  <a:lnTo>
                    <a:pt x="24" y="119"/>
                  </a:lnTo>
                  <a:lnTo>
                    <a:pt x="28" y="119"/>
                  </a:lnTo>
                  <a:lnTo>
                    <a:pt x="30" y="122"/>
                  </a:lnTo>
                  <a:lnTo>
                    <a:pt x="34" y="119"/>
                  </a:lnTo>
                  <a:lnTo>
                    <a:pt x="38" y="119"/>
                  </a:lnTo>
                  <a:lnTo>
                    <a:pt x="36" y="45"/>
                  </a:lnTo>
                  <a:lnTo>
                    <a:pt x="36" y="45"/>
                  </a:lnTo>
                  <a:lnTo>
                    <a:pt x="36" y="39"/>
                  </a:lnTo>
                  <a:lnTo>
                    <a:pt x="55" y="39"/>
                  </a:lnTo>
                  <a:lnTo>
                    <a:pt x="51" y="2"/>
                  </a:lnTo>
                  <a:lnTo>
                    <a:pt x="51" y="2"/>
                  </a:lnTo>
                  <a:lnTo>
                    <a:pt x="51" y="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6" name="Freeform 99">
              <a:extLst>
                <a:ext uri="{FF2B5EF4-FFF2-40B4-BE49-F238E27FC236}">
                  <a16:creationId xmlns:a16="http://schemas.microsoft.com/office/drawing/2014/main" id="{96510566-BABB-4743-BD81-4B1FD10BED2A}"/>
                </a:ext>
              </a:extLst>
            </p:cNvPr>
            <p:cNvSpPr>
              <a:spLocks/>
            </p:cNvSpPr>
            <p:nvPr/>
          </p:nvSpPr>
          <p:spPr bwMode="auto">
            <a:xfrm>
              <a:off x="3391" y="2822"/>
              <a:ext cx="280" cy="211"/>
            </a:xfrm>
            <a:custGeom>
              <a:avLst/>
              <a:gdLst/>
              <a:ahLst/>
              <a:cxnLst>
                <a:cxn ang="0">
                  <a:pos x="39" y="168"/>
                </a:cxn>
                <a:cxn ang="0">
                  <a:pos x="34" y="157"/>
                </a:cxn>
                <a:cxn ang="0">
                  <a:pos x="28" y="153"/>
                </a:cxn>
                <a:cxn ang="0">
                  <a:pos x="20" y="142"/>
                </a:cxn>
                <a:cxn ang="0">
                  <a:pos x="15" y="134"/>
                </a:cxn>
                <a:cxn ang="0">
                  <a:pos x="4" y="134"/>
                </a:cxn>
                <a:cxn ang="0">
                  <a:pos x="5" y="125"/>
                </a:cxn>
                <a:cxn ang="0">
                  <a:pos x="15" y="121"/>
                </a:cxn>
                <a:cxn ang="0">
                  <a:pos x="20" y="121"/>
                </a:cxn>
                <a:cxn ang="0">
                  <a:pos x="22" y="104"/>
                </a:cxn>
                <a:cxn ang="0">
                  <a:pos x="24" y="89"/>
                </a:cxn>
                <a:cxn ang="0">
                  <a:pos x="30" y="80"/>
                </a:cxn>
                <a:cxn ang="0">
                  <a:pos x="34" y="76"/>
                </a:cxn>
                <a:cxn ang="0">
                  <a:pos x="43" y="51"/>
                </a:cxn>
                <a:cxn ang="0">
                  <a:pos x="49" y="40"/>
                </a:cxn>
                <a:cxn ang="0">
                  <a:pos x="56" y="32"/>
                </a:cxn>
                <a:cxn ang="0">
                  <a:pos x="64" y="14"/>
                </a:cxn>
                <a:cxn ang="0">
                  <a:pos x="71" y="14"/>
                </a:cxn>
                <a:cxn ang="0">
                  <a:pos x="81" y="0"/>
                </a:cxn>
                <a:cxn ang="0">
                  <a:pos x="92" y="8"/>
                </a:cxn>
                <a:cxn ang="0">
                  <a:pos x="101" y="2"/>
                </a:cxn>
                <a:cxn ang="0">
                  <a:pos x="109" y="2"/>
                </a:cxn>
                <a:cxn ang="0">
                  <a:pos x="116" y="8"/>
                </a:cxn>
                <a:cxn ang="0">
                  <a:pos x="128" y="12"/>
                </a:cxn>
                <a:cxn ang="0">
                  <a:pos x="141" y="21"/>
                </a:cxn>
                <a:cxn ang="0">
                  <a:pos x="145" y="25"/>
                </a:cxn>
                <a:cxn ang="0">
                  <a:pos x="160" y="32"/>
                </a:cxn>
                <a:cxn ang="0">
                  <a:pos x="164" y="44"/>
                </a:cxn>
                <a:cxn ang="0">
                  <a:pos x="169" y="51"/>
                </a:cxn>
                <a:cxn ang="0">
                  <a:pos x="165" y="64"/>
                </a:cxn>
                <a:cxn ang="0">
                  <a:pos x="160" y="74"/>
                </a:cxn>
                <a:cxn ang="0">
                  <a:pos x="173" y="74"/>
                </a:cxn>
                <a:cxn ang="0">
                  <a:pos x="180" y="76"/>
                </a:cxn>
                <a:cxn ang="0">
                  <a:pos x="190" y="97"/>
                </a:cxn>
                <a:cxn ang="0">
                  <a:pos x="197" y="110"/>
                </a:cxn>
                <a:cxn ang="0">
                  <a:pos x="280" y="129"/>
                </a:cxn>
                <a:cxn ang="0">
                  <a:pos x="201" y="187"/>
                </a:cxn>
                <a:cxn ang="0">
                  <a:pos x="188" y="189"/>
                </a:cxn>
                <a:cxn ang="0">
                  <a:pos x="180" y="198"/>
                </a:cxn>
                <a:cxn ang="0">
                  <a:pos x="165" y="206"/>
                </a:cxn>
                <a:cxn ang="0">
                  <a:pos x="154" y="208"/>
                </a:cxn>
                <a:cxn ang="0">
                  <a:pos x="147" y="198"/>
                </a:cxn>
                <a:cxn ang="0">
                  <a:pos x="133" y="202"/>
                </a:cxn>
                <a:cxn ang="0">
                  <a:pos x="122" y="211"/>
                </a:cxn>
                <a:cxn ang="0">
                  <a:pos x="115" y="211"/>
                </a:cxn>
                <a:cxn ang="0">
                  <a:pos x="98" y="211"/>
                </a:cxn>
                <a:cxn ang="0">
                  <a:pos x="88" y="204"/>
                </a:cxn>
                <a:cxn ang="0">
                  <a:pos x="68" y="194"/>
                </a:cxn>
                <a:cxn ang="0">
                  <a:pos x="54" y="194"/>
                </a:cxn>
                <a:cxn ang="0">
                  <a:pos x="49" y="179"/>
                </a:cxn>
                <a:cxn ang="0">
                  <a:pos x="43" y="178"/>
                </a:cxn>
              </a:cxnLst>
              <a:rect l="0" t="0" r="r" b="b"/>
              <a:pathLst>
                <a:path w="280" h="211">
                  <a:moveTo>
                    <a:pt x="43" y="178"/>
                  </a:moveTo>
                  <a:lnTo>
                    <a:pt x="41" y="172"/>
                  </a:lnTo>
                  <a:lnTo>
                    <a:pt x="39" y="168"/>
                  </a:lnTo>
                  <a:lnTo>
                    <a:pt x="39" y="162"/>
                  </a:lnTo>
                  <a:lnTo>
                    <a:pt x="36" y="159"/>
                  </a:lnTo>
                  <a:lnTo>
                    <a:pt x="34" y="157"/>
                  </a:lnTo>
                  <a:lnTo>
                    <a:pt x="32" y="153"/>
                  </a:lnTo>
                  <a:lnTo>
                    <a:pt x="28" y="153"/>
                  </a:lnTo>
                  <a:lnTo>
                    <a:pt x="28" y="153"/>
                  </a:lnTo>
                  <a:lnTo>
                    <a:pt x="28" y="151"/>
                  </a:lnTo>
                  <a:lnTo>
                    <a:pt x="24" y="149"/>
                  </a:lnTo>
                  <a:lnTo>
                    <a:pt x="20" y="142"/>
                  </a:lnTo>
                  <a:lnTo>
                    <a:pt x="20" y="142"/>
                  </a:lnTo>
                  <a:lnTo>
                    <a:pt x="19" y="138"/>
                  </a:lnTo>
                  <a:lnTo>
                    <a:pt x="15" y="134"/>
                  </a:lnTo>
                  <a:lnTo>
                    <a:pt x="13" y="134"/>
                  </a:lnTo>
                  <a:lnTo>
                    <a:pt x="5" y="134"/>
                  </a:lnTo>
                  <a:lnTo>
                    <a:pt x="4" y="134"/>
                  </a:lnTo>
                  <a:lnTo>
                    <a:pt x="0" y="130"/>
                  </a:lnTo>
                  <a:lnTo>
                    <a:pt x="4" y="127"/>
                  </a:lnTo>
                  <a:lnTo>
                    <a:pt x="5" y="125"/>
                  </a:lnTo>
                  <a:lnTo>
                    <a:pt x="5" y="121"/>
                  </a:lnTo>
                  <a:lnTo>
                    <a:pt x="11" y="121"/>
                  </a:lnTo>
                  <a:lnTo>
                    <a:pt x="15" y="121"/>
                  </a:lnTo>
                  <a:lnTo>
                    <a:pt x="17" y="123"/>
                  </a:lnTo>
                  <a:lnTo>
                    <a:pt x="19" y="123"/>
                  </a:lnTo>
                  <a:lnTo>
                    <a:pt x="20" y="121"/>
                  </a:lnTo>
                  <a:lnTo>
                    <a:pt x="22" y="119"/>
                  </a:lnTo>
                  <a:lnTo>
                    <a:pt x="22" y="110"/>
                  </a:lnTo>
                  <a:lnTo>
                    <a:pt x="22" y="104"/>
                  </a:lnTo>
                  <a:lnTo>
                    <a:pt x="24" y="98"/>
                  </a:lnTo>
                  <a:lnTo>
                    <a:pt x="28" y="93"/>
                  </a:lnTo>
                  <a:lnTo>
                    <a:pt x="24" y="89"/>
                  </a:lnTo>
                  <a:lnTo>
                    <a:pt x="24" y="89"/>
                  </a:lnTo>
                  <a:lnTo>
                    <a:pt x="28" y="85"/>
                  </a:lnTo>
                  <a:lnTo>
                    <a:pt x="30" y="80"/>
                  </a:lnTo>
                  <a:lnTo>
                    <a:pt x="30" y="76"/>
                  </a:lnTo>
                  <a:lnTo>
                    <a:pt x="32" y="76"/>
                  </a:lnTo>
                  <a:lnTo>
                    <a:pt x="34" y="76"/>
                  </a:lnTo>
                  <a:lnTo>
                    <a:pt x="37" y="64"/>
                  </a:lnTo>
                  <a:lnTo>
                    <a:pt x="41" y="57"/>
                  </a:lnTo>
                  <a:lnTo>
                    <a:pt x="43" y="51"/>
                  </a:lnTo>
                  <a:lnTo>
                    <a:pt x="47" y="51"/>
                  </a:lnTo>
                  <a:lnTo>
                    <a:pt x="49" y="44"/>
                  </a:lnTo>
                  <a:lnTo>
                    <a:pt x="49" y="40"/>
                  </a:lnTo>
                  <a:lnTo>
                    <a:pt x="52" y="40"/>
                  </a:lnTo>
                  <a:lnTo>
                    <a:pt x="54" y="40"/>
                  </a:lnTo>
                  <a:lnTo>
                    <a:pt x="56" y="32"/>
                  </a:lnTo>
                  <a:lnTo>
                    <a:pt x="62" y="25"/>
                  </a:lnTo>
                  <a:lnTo>
                    <a:pt x="62" y="19"/>
                  </a:lnTo>
                  <a:lnTo>
                    <a:pt x="64" y="14"/>
                  </a:lnTo>
                  <a:lnTo>
                    <a:pt x="66" y="12"/>
                  </a:lnTo>
                  <a:lnTo>
                    <a:pt x="68" y="12"/>
                  </a:lnTo>
                  <a:lnTo>
                    <a:pt x="71" y="14"/>
                  </a:lnTo>
                  <a:lnTo>
                    <a:pt x="71" y="12"/>
                  </a:lnTo>
                  <a:lnTo>
                    <a:pt x="75" y="12"/>
                  </a:lnTo>
                  <a:lnTo>
                    <a:pt x="81" y="0"/>
                  </a:lnTo>
                  <a:lnTo>
                    <a:pt x="83" y="2"/>
                  </a:lnTo>
                  <a:lnTo>
                    <a:pt x="84" y="2"/>
                  </a:lnTo>
                  <a:lnTo>
                    <a:pt x="92" y="8"/>
                  </a:lnTo>
                  <a:lnTo>
                    <a:pt x="96" y="8"/>
                  </a:lnTo>
                  <a:lnTo>
                    <a:pt x="98" y="2"/>
                  </a:lnTo>
                  <a:lnTo>
                    <a:pt x="101" y="2"/>
                  </a:lnTo>
                  <a:lnTo>
                    <a:pt x="103" y="6"/>
                  </a:lnTo>
                  <a:lnTo>
                    <a:pt x="105" y="2"/>
                  </a:lnTo>
                  <a:lnTo>
                    <a:pt x="109" y="2"/>
                  </a:lnTo>
                  <a:lnTo>
                    <a:pt x="115" y="8"/>
                  </a:lnTo>
                  <a:lnTo>
                    <a:pt x="115" y="8"/>
                  </a:lnTo>
                  <a:lnTo>
                    <a:pt x="116" y="8"/>
                  </a:lnTo>
                  <a:lnTo>
                    <a:pt x="120" y="8"/>
                  </a:lnTo>
                  <a:lnTo>
                    <a:pt x="124" y="12"/>
                  </a:lnTo>
                  <a:lnTo>
                    <a:pt x="128" y="12"/>
                  </a:lnTo>
                  <a:lnTo>
                    <a:pt x="133" y="17"/>
                  </a:lnTo>
                  <a:lnTo>
                    <a:pt x="135" y="19"/>
                  </a:lnTo>
                  <a:lnTo>
                    <a:pt x="141" y="21"/>
                  </a:lnTo>
                  <a:lnTo>
                    <a:pt x="141" y="21"/>
                  </a:lnTo>
                  <a:lnTo>
                    <a:pt x="145" y="23"/>
                  </a:lnTo>
                  <a:lnTo>
                    <a:pt x="145" y="25"/>
                  </a:lnTo>
                  <a:lnTo>
                    <a:pt x="150" y="27"/>
                  </a:lnTo>
                  <a:lnTo>
                    <a:pt x="156" y="32"/>
                  </a:lnTo>
                  <a:lnTo>
                    <a:pt x="160" y="32"/>
                  </a:lnTo>
                  <a:lnTo>
                    <a:pt x="164" y="36"/>
                  </a:lnTo>
                  <a:lnTo>
                    <a:pt x="164" y="40"/>
                  </a:lnTo>
                  <a:lnTo>
                    <a:pt x="164" y="44"/>
                  </a:lnTo>
                  <a:lnTo>
                    <a:pt x="165" y="44"/>
                  </a:lnTo>
                  <a:lnTo>
                    <a:pt x="171" y="51"/>
                  </a:lnTo>
                  <a:lnTo>
                    <a:pt x="169" y="51"/>
                  </a:lnTo>
                  <a:lnTo>
                    <a:pt x="165" y="57"/>
                  </a:lnTo>
                  <a:lnTo>
                    <a:pt x="164" y="61"/>
                  </a:lnTo>
                  <a:lnTo>
                    <a:pt x="165" y="64"/>
                  </a:lnTo>
                  <a:lnTo>
                    <a:pt x="164" y="66"/>
                  </a:lnTo>
                  <a:lnTo>
                    <a:pt x="164" y="70"/>
                  </a:lnTo>
                  <a:lnTo>
                    <a:pt x="160" y="74"/>
                  </a:lnTo>
                  <a:lnTo>
                    <a:pt x="164" y="76"/>
                  </a:lnTo>
                  <a:lnTo>
                    <a:pt x="169" y="76"/>
                  </a:lnTo>
                  <a:lnTo>
                    <a:pt x="173" y="74"/>
                  </a:lnTo>
                  <a:lnTo>
                    <a:pt x="179" y="72"/>
                  </a:lnTo>
                  <a:lnTo>
                    <a:pt x="182" y="74"/>
                  </a:lnTo>
                  <a:lnTo>
                    <a:pt x="180" y="76"/>
                  </a:lnTo>
                  <a:lnTo>
                    <a:pt x="182" y="85"/>
                  </a:lnTo>
                  <a:lnTo>
                    <a:pt x="184" y="93"/>
                  </a:lnTo>
                  <a:lnTo>
                    <a:pt x="190" y="97"/>
                  </a:lnTo>
                  <a:lnTo>
                    <a:pt x="188" y="102"/>
                  </a:lnTo>
                  <a:lnTo>
                    <a:pt x="192" y="106"/>
                  </a:lnTo>
                  <a:lnTo>
                    <a:pt x="197" y="110"/>
                  </a:lnTo>
                  <a:lnTo>
                    <a:pt x="203" y="113"/>
                  </a:lnTo>
                  <a:lnTo>
                    <a:pt x="256" y="129"/>
                  </a:lnTo>
                  <a:lnTo>
                    <a:pt x="280" y="129"/>
                  </a:lnTo>
                  <a:lnTo>
                    <a:pt x="224" y="187"/>
                  </a:lnTo>
                  <a:lnTo>
                    <a:pt x="212" y="183"/>
                  </a:lnTo>
                  <a:lnTo>
                    <a:pt x="201" y="187"/>
                  </a:lnTo>
                  <a:lnTo>
                    <a:pt x="197" y="187"/>
                  </a:lnTo>
                  <a:lnTo>
                    <a:pt x="194" y="187"/>
                  </a:lnTo>
                  <a:lnTo>
                    <a:pt x="188" y="189"/>
                  </a:lnTo>
                  <a:lnTo>
                    <a:pt x="188" y="194"/>
                  </a:lnTo>
                  <a:lnTo>
                    <a:pt x="184" y="196"/>
                  </a:lnTo>
                  <a:lnTo>
                    <a:pt x="180" y="198"/>
                  </a:lnTo>
                  <a:lnTo>
                    <a:pt x="173" y="200"/>
                  </a:lnTo>
                  <a:lnTo>
                    <a:pt x="169" y="202"/>
                  </a:lnTo>
                  <a:lnTo>
                    <a:pt x="165" y="206"/>
                  </a:lnTo>
                  <a:lnTo>
                    <a:pt x="165" y="206"/>
                  </a:lnTo>
                  <a:lnTo>
                    <a:pt x="160" y="206"/>
                  </a:lnTo>
                  <a:lnTo>
                    <a:pt x="154" y="208"/>
                  </a:lnTo>
                  <a:lnTo>
                    <a:pt x="150" y="206"/>
                  </a:lnTo>
                  <a:lnTo>
                    <a:pt x="148" y="200"/>
                  </a:lnTo>
                  <a:lnTo>
                    <a:pt x="147" y="198"/>
                  </a:lnTo>
                  <a:lnTo>
                    <a:pt x="139" y="200"/>
                  </a:lnTo>
                  <a:lnTo>
                    <a:pt x="135" y="202"/>
                  </a:lnTo>
                  <a:lnTo>
                    <a:pt x="133" y="202"/>
                  </a:lnTo>
                  <a:lnTo>
                    <a:pt x="130" y="204"/>
                  </a:lnTo>
                  <a:lnTo>
                    <a:pt x="128" y="206"/>
                  </a:lnTo>
                  <a:lnTo>
                    <a:pt x="122" y="211"/>
                  </a:lnTo>
                  <a:lnTo>
                    <a:pt x="120" y="211"/>
                  </a:lnTo>
                  <a:lnTo>
                    <a:pt x="116" y="211"/>
                  </a:lnTo>
                  <a:lnTo>
                    <a:pt x="115" y="211"/>
                  </a:lnTo>
                  <a:lnTo>
                    <a:pt x="109" y="211"/>
                  </a:lnTo>
                  <a:lnTo>
                    <a:pt x="105" y="211"/>
                  </a:lnTo>
                  <a:lnTo>
                    <a:pt x="98" y="211"/>
                  </a:lnTo>
                  <a:lnTo>
                    <a:pt x="96" y="211"/>
                  </a:lnTo>
                  <a:lnTo>
                    <a:pt x="92" y="208"/>
                  </a:lnTo>
                  <a:lnTo>
                    <a:pt x="88" y="204"/>
                  </a:lnTo>
                  <a:lnTo>
                    <a:pt x="81" y="196"/>
                  </a:lnTo>
                  <a:lnTo>
                    <a:pt x="77" y="193"/>
                  </a:lnTo>
                  <a:lnTo>
                    <a:pt x="68" y="194"/>
                  </a:lnTo>
                  <a:lnTo>
                    <a:pt x="64" y="193"/>
                  </a:lnTo>
                  <a:lnTo>
                    <a:pt x="58" y="194"/>
                  </a:lnTo>
                  <a:lnTo>
                    <a:pt x="54" y="194"/>
                  </a:lnTo>
                  <a:lnTo>
                    <a:pt x="52" y="189"/>
                  </a:lnTo>
                  <a:lnTo>
                    <a:pt x="52" y="179"/>
                  </a:lnTo>
                  <a:lnTo>
                    <a:pt x="49" y="179"/>
                  </a:lnTo>
                  <a:lnTo>
                    <a:pt x="47" y="179"/>
                  </a:lnTo>
                  <a:lnTo>
                    <a:pt x="43" y="176"/>
                  </a:lnTo>
                  <a:lnTo>
                    <a:pt x="43" y="178"/>
                  </a:lnTo>
                  <a:lnTo>
                    <a:pt x="43" y="178"/>
                  </a:lnTo>
                  <a:lnTo>
                    <a:pt x="43" y="178"/>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7" name="Freeform 100">
              <a:extLst>
                <a:ext uri="{FF2B5EF4-FFF2-40B4-BE49-F238E27FC236}">
                  <a16:creationId xmlns:a16="http://schemas.microsoft.com/office/drawing/2014/main" id="{D4D8F686-F39C-4438-9707-71E430030B6E}"/>
                </a:ext>
              </a:extLst>
            </p:cNvPr>
            <p:cNvSpPr>
              <a:spLocks/>
            </p:cNvSpPr>
            <p:nvPr/>
          </p:nvSpPr>
          <p:spPr bwMode="auto">
            <a:xfrm>
              <a:off x="3455" y="2758"/>
              <a:ext cx="120" cy="112"/>
            </a:xfrm>
            <a:custGeom>
              <a:avLst/>
              <a:gdLst/>
              <a:ahLst/>
              <a:cxnLst>
                <a:cxn ang="0">
                  <a:pos x="103" y="106"/>
                </a:cxn>
                <a:cxn ang="0">
                  <a:pos x="100" y="102"/>
                </a:cxn>
                <a:cxn ang="0">
                  <a:pos x="96" y="95"/>
                </a:cxn>
                <a:cxn ang="0">
                  <a:pos x="88" y="87"/>
                </a:cxn>
                <a:cxn ang="0">
                  <a:pos x="83" y="83"/>
                </a:cxn>
                <a:cxn ang="0">
                  <a:pos x="77" y="83"/>
                </a:cxn>
                <a:cxn ang="0">
                  <a:pos x="71" y="80"/>
                </a:cxn>
                <a:cxn ang="0">
                  <a:pos x="62" y="72"/>
                </a:cxn>
                <a:cxn ang="0">
                  <a:pos x="54" y="68"/>
                </a:cxn>
                <a:cxn ang="0">
                  <a:pos x="52" y="70"/>
                </a:cxn>
                <a:cxn ang="0">
                  <a:pos x="43" y="64"/>
                </a:cxn>
                <a:cxn ang="0">
                  <a:pos x="39" y="64"/>
                </a:cxn>
                <a:cxn ang="0">
                  <a:pos x="34" y="68"/>
                </a:cxn>
                <a:cxn ang="0">
                  <a:pos x="22" y="64"/>
                </a:cxn>
                <a:cxn ang="0">
                  <a:pos x="19" y="63"/>
                </a:cxn>
                <a:cxn ang="0">
                  <a:pos x="9" y="72"/>
                </a:cxn>
                <a:cxn ang="0">
                  <a:pos x="5" y="74"/>
                </a:cxn>
                <a:cxn ang="0">
                  <a:pos x="2" y="70"/>
                </a:cxn>
                <a:cxn ang="0">
                  <a:pos x="0" y="59"/>
                </a:cxn>
                <a:cxn ang="0">
                  <a:pos x="2" y="53"/>
                </a:cxn>
                <a:cxn ang="0">
                  <a:pos x="5" y="38"/>
                </a:cxn>
                <a:cxn ang="0">
                  <a:pos x="9" y="32"/>
                </a:cxn>
                <a:cxn ang="0">
                  <a:pos x="5" y="29"/>
                </a:cxn>
                <a:cxn ang="0">
                  <a:pos x="9" y="19"/>
                </a:cxn>
                <a:cxn ang="0">
                  <a:pos x="15" y="19"/>
                </a:cxn>
                <a:cxn ang="0">
                  <a:pos x="15" y="15"/>
                </a:cxn>
                <a:cxn ang="0">
                  <a:pos x="19" y="14"/>
                </a:cxn>
                <a:cxn ang="0">
                  <a:pos x="24" y="10"/>
                </a:cxn>
                <a:cxn ang="0">
                  <a:pos x="30" y="8"/>
                </a:cxn>
                <a:cxn ang="0">
                  <a:pos x="34" y="0"/>
                </a:cxn>
                <a:cxn ang="0">
                  <a:pos x="39" y="8"/>
                </a:cxn>
                <a:cxn ang="0">
                  <a:pos x="49" y="40"/>
                </a:cxn>
                <a:cxn ang="0">
                  <a:pos x="52" y="46"/>
                </a:cxn>
                <a:cxn ang="0">
                  <a:pos x="52" y="47"/>
                </a:cxn>
                <a:cxn ang="0">
                  <a:pos x="56" y="59"/>
                </a:cxn>
                <a:cxn ang="0">
                  <a:pos x="60" y="53"/>
                </a:cxn>
                <a:cxn ang="0">
                  <a:pos x="58" y="49"/>
                </a:cxn>
                <a:cxn ang="0">
                  <a:pos x="64" y="55"/>
                </a:cxn>
                <a:cxn ang="0">
                  <a:pos x="64" y="59"/>
                </a:cxn>
                <a:cxn ang="0">
                  <a:pos x="69" y="63"/>
                </a:cxn>
                <a:cxn ang="0">
                  <a:pos x="73" y="63"/>
                </a:cxn>
                <a:cxn ang="0">
                  <a:pos x="79" y="64"/>
                </a:cxn>
                <a:cxn ang="0">
                  <a:pos x="86" y="66"/>
                </a:cxn>
                <a:cxn ang="0">
                  <a:pos x="92" y="74"/>
                </a:cxn>
                <a:cxn ang="0">
                  <a:pos x="98" y="83"/>
                </a:cxn>
                <a:cxn ang="0">
                  <a:pos x="103" y="87"/>
                </a:cxn>
                <a:cxn ang="0">
                  <a:pos x="105" y="87"/>
                </a:cxn>
                <a:cxn ang="0">
                  <a:pos x="111" y="95"/>
                </a:cxn>
                <a:cxn ang="0">
                  <a:pos x="113" y="100"/>
                </a:cxn>
                <a:cxn ang="0">
                  <a:pos x="116" y="104"/>
                </a:cxn>
                <a:cxn ang="0">
                  <a:pos x="120" y="102"/>
                </a:cxn>
                <a:cxn ang="0">
                  <a:pos x="120" y="104"/>
                </a:cxn>
                <a:cxn ang="0">
                  <a:pos x="115" y="108"/>
                </a:cxn>
                <a:cxn ang="0">
                  <a:pos x="109" y="112"/>
                </a:cxn>
                <a:cxn ang="0">
                  <a:pos x="109" y="112"/>
                </a:cxn>
              </a:cxnLst>
              <a:rect l="0" t="0" r="r" b="b"/>
              <a:pathLst>
                <a:path w="120" h="112">
                  <a:moveTo>
                    <a:pt x="109" y="112"/>
                  </a:moveTo>
                  <a:lnTo>
                    <a:pt x="103" y="106"/>
                  </a:lnTo>
                  <a:lnTo>
                    <a:pt x="100" y="106"/>
                  </a:lnTo>
                  <a:lnTo>
                    <a:pt x="100" y="102"/>
                  </a:lnTo>
                  <a:lnTo>
                    <a:pt x="100" y="98"/>
                  </a:lnTo>
                  <a:lnTo>
                    <a:pt x="96" y="95"/>
                  </a:lnTo>
                  <a:lnTo>
                    <a:pt x="92" y="93"/>
                  </a:lnTo>
                  <a:lnTo>
                    <a:pt x="88" y="87"/>
                  </a:lnTo>
                  <a:lnTo>
                    <a:pt x="83" y="87"/>
                  </a:lnTo>
                  <a:lnTo>
                    <a:pt x="83" y="83"/>
                  </a:lnTo>
                  <a:lnTo>
                    <a:pt x="79" y="83"/>
                  </a:lnTo>
                  <a:lnTo>
                    <a:pt x="77" y="83"/>
                  </a:lnTo>
                  <a:lnTo>
                    <a:pt x="73" y="81"/>
                  </a:lnTo>
                  <a:lnTo>
                    <a:pt x="71" y="80"/>
                  </a:lnTo>
                  <a:lnTo>
                    <a:pt x="64" y="72"/>
                  </a:lnTo>
                  <a:lnTo>
                    <a:pt x="62" y="72"/>
                  </a:lnTo>
                  <a:lnTo>
                    <a:pt x="58" y="68"/>
                  </a:lnTo>
                  <a:lnTo>
                    <a:pt x="54" y="68"/>
                  </a:lnTo>
                  <a:lnTo>
                    <a:pt x="52" y="68"/>
                  </a:lnTo>
                  <a:lnTo>
                    <a:pt x="52" y="70"/>
                  </a:lnTo>
                  <a:lnTo>
                    <a:pt x="47" y="64"/>
                  </a:lnTo>
                  <a:lnTo>
                    <a:pt x="43" y="64"/>
                  </a:lnTo>
                  <a:lnTo>
                    <a:pt x="41" y="66"/>
                  </a:lnTo>
                  <a:lnTo>
                    <a:pt x="39" y="64"/>
                  </a:lnTo>
                  <a:lnTo>
                    <a:pt x="36" y="64"/>
                  </a:lnTo>
                  <a:lnTo>
                    <a:pt x="34" y="68"/>
                  </a:lnTo>
                  <a:lnTo>
                    <a:pt x="30" y="68"/>
                  </a:lnTo>
                  <a:lnTo>
                    <a:pt x="22" y="64"/>
                  </a:lnTo>
                  <a:lnTo>
                    <a:pt x="20" y="63"/>
                  </a:lnTo>
                  <a:lnTo>
                    <a:pt x="19" y="63"/>
                  </a:lnTo>
                  <a:lnTo>
                    <a:pt x="13" y="72"/>
                  </a:lnTo>
                  <a:lnTo>
                    <a:pt x="9" y="72"/>
                  </a:lnTo>
                  <a:lnTo>
                    <a:pt x="9" y="74"/>
                  </a:lnTo>
                  <a:lnTo>
                    <a:pt x="5" y="74"/>
                  </a:lnTo>
                  <a:lnTo>
                    <a:pt x="2" y="74"/>
                  </a:lnTo>
                  <a:lnTo>
                    <a:pt x="2" y="70"/>
                  </a:lnTo>
                  <a:lnTo>
                    <a:pt x="0" y="63"/>
                  </a:lnTo>
                  <a:lnTo>
                    <a:pt x="0" y="59"/>
                  </a:lnTo>
                  <a:lnTo>
                    <a:pt x="2" y="55"/>
                  </a:lnTo>
                  <a:lnTo>
                    <a:pt x="2" y="53"/>
                  </a:lnTo>
                  <a:lnTo>
                    <a:pt x="5" y="47"/>
                  </a:lnTo>
                  <a:lnTo>
                    <a:pt x="5" y="38"/>
                  </a:lnTo>
                  <a:lnTo>
                    <a:pt x="9" y="34"/>
                  </a:lnTo>
                  <a:lnTo>
                    <a:pt x="9" y="32"/>
                  </a:lnTo>
                  <a:lnTo>
                    <a:pt x="9" y="29"/>
                  </a:lnTo>
                  <a:lnTo>
                    <a:pt x="5" y="29"/>
                  </a:lnTo>
                  <a:lnTo>
                    <a:pt x="9" y="25"/>
                  </a:lnTo>
                  <a:lnTo>
                    <a:pt x="9" y="19"/>
                  </a:lnTo>
                  <a:lnTo>
                    <a:pt x="9" y="19"/>
                  </a:lnTo>
                  <a:lnTo>
                    <a:pt x="15" y="19"/>
                  </a:lnTo>
                  <a:lnTo>
                    <a:pt x="15" y="17"/>
                  </a:lnTo>
                  <a:lnTo>
                    <a:pt x="15" y="15"/>
                  </a:lnTo>
                  <a:lnTo>
                    <a:pt x="15" y="14"/>
                  </a:lnTo>
                  <a:lnTo>
                    <a:pt x="19" y="14"/>
                  </a:lnTo>
                  <a:lnTo>
                    <a:pt x="20" y="10"/>
                  </a:lnTo>
                  <a:lnTo>
                    <a:pt x="24" y="10"/>
                  </a:lnTo>
                  <a:lnTo>
                    <a:pt x="28" y="10"/>
                  </a:lnTo>
                  <a:lnTo>
                    <a:pt x="30" y="8"/>
                  </a:lnTo>
                  <a:lnTo>
                    <a:pt x="34" y="4"/>
                  </a:lnTo>
                  <a:lnTo>
                    <a:pt x="34" y="0"/>
                  </a:lnTo>
                  <a:lnTo>
                    <a:pt x="34" y="0"/>
                  </a:lnTo>
                  <a:lnTo>
                    <a:pt x="39" y="8"/>
                  </a:lnTo>
                  <a:lnTo>
                    <a:pt x="47" y="25"/>
                  </a:lnTo>
                  <a:lnTo>
                    <a:pt x="49" y="40"/>
                  </a:lnTo>
                  <a:lnTo>
                    <a:pt x="52" y="40"/>
                  </a:lnTo>
                  <a:lnTo>
                    <a:pt x="52" y="46"/>
                  </a:lnTo>
                  <a:lnTo>
                    <a:pt x="52" y="47"/>
                  </a:lnTo>
                  <a:lnTo>
                    <a:pt x="52" y="47"/>
                  </a:lnTo>
                  <a:lnTo>
                    <a:pt x="54" y="53"/>
                  </a:lnTo>
                  <a:lnTo>
                    <a:pt x="56" y="59"/>
                  </a:lnTo>
                  <a:lnTo>
                    <a:pt x="60" y="59"/>
                  </a:lnTo>
                  <a:lnTo>
                    <a:pt x="60" y="53"/>
                  </a:lnTo>
                  <a:lnTo>
                    <a:pt x="58" y="53"/>
                  </a:lnTo>
                  <a:lnTo>
                    <a:pt x="58" y="49"/>
                  </a:lnTo>
                  <a:lnTo>
                    <a:pt x="60" y="49"/>
                  </a:lnTo>
                  <a:lnTo>
                    <a:pt x="64" y="55"/>
                  </a:lnTo>
                  <a:lnTo>
                    <a:pt x="62" y="57"/>
                  </a:lnTo>
                  <a:lnTo>
                    <a:pt x="64" y="59"/>
                  </a:lnTo>
                  <a:lnTo>
                    <a:pt x="68" y="63"/>
                  </a:lnTo>
                  <a:lnTo>
                    <a:pt x="69" y="63"/>
                  </a:lnTo>
                  <a:lnTo>
                    <a:pt x="73" y="59"/>
                  </a:lnTo>
                  <a:lnTo>
                    <a:pt x="73" y="63"/>
                  </a:lnTo>
                  <a:lnTo>
                    <a:pt x="77" y="59"/>
                  </a:lnTo>
                  <a:lnTo>
                    <a:pt x="79" y="64"/>
                  </a:lnTo>
                  <a:lnTo>
                    <a:pt x="81" y="66"/>
                  </a:lnTo>
                  <a:lnTo>
                    <a:pt x="86" y="66"/>
                  </a:lnTo>
                  <a:lnTo>
                    <a:pt x="86" y="70"/>
                  </a:lnTo>
                  <a:lnTo>
                    <a:pt x="92" y="74"/>
                  </a:lnTo>
                  <a:lnTo>
                    <a:pt x="96" y="81"/>
                  </a:lnTo>
                  <a:lnTo>
                    <a:pt x="98" y="83"/>
                  </a:lnTo>
                  <a:lnTo>
                    <a:pt x="101" y="87"/>
                  </a:lnTo>
                  <a:lnTo>
                    <a:pt x="103" y="87"/>
                  </a:lnTo>
                  <a:lnTo>
                    <a:pt x="103" y="83"/>
                  </a:lnTo>
                  <a:lnTo>
                    <a:pt x="105" y="87"/>
                  </a:lnTo>
                  <a:lnTo>
                    <a:pt x="107" y="95"/>
                  </a:lnTo>
                  <a:lnTo>
                    <a:pt x="111" y="95"/>
                  </a:lnTo>
                  <a:lnTo>
                    <a:pt x="113" y="98"/>
                  </a:lnTo>
                  <a:lnTo>
                    <a:pt x="113" y="100"/>
                  </a:lnTo>
                  <a:lnTo>
                    <a:pt x="115" y="104"/>
                  </a:lnTo>
                  <a:lnTo>
                    <a:pt x="116" y="104"/>
                  </a:lnTo>
                  <a:lnTo>
                    <a:pt x="116" y="104"/>
                  </a:lnTo>
                  <a:lnTo>
                    <a:pt x="120" y="102"/>
                  </a:lnTo>
                  <a:lnTo>
                    <a:pt x="120" y="104"/>
                  </a:lnTo>
                  <a:lnTo>
                    <a:pt x="120" y="104"/>
                  </a:lnTo>
                  <a:lnTo>
                    <a:pt x="116" y="108"/>
                  </a:lnTo>
                  <a:lnTo>
                    <a:pt x="115" y="108"/>
                  </a:lnTo>
                  <a:lnTo>
                    <a:pt x="113" y="112"/>
                  </a:lnTo>
                  <a:lnTo>
                    <a:pt x="109" y="112"/>
                  </a:lnTo>
                  <a:lnTo>
                    <a:pt x="109" y="112"/>
                  </a:lnTo>
                  <a:lnTo>
                    <a:pt x="109" y="11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8" name="Freeform 101">
              <a:extLst>
                <a:ext uri="{FF2B5EF4-FFF2-40B4-BE49-F238E27FC236}">
                  <a16:creationId xmlns:a16="http://schemas.microsoft.com/office/drawing/2014/main" id="{75093460-3F5E-4CDD-AB8B-0E6E9F0E3748}"/>
                </a:ext>
              </a:extLst>
            </p:cNvPr>
            <p:cNvSpPr>
              <a:spLocks/>
            </p:cNvSpPr>
            <p:nvPr/>
          </p:nvSpPr>
          <p:spPr bwMode="auto">
            <a:xfrm>
              <a:off x="3455" y="2758"/>
              <a:ext cx="120" cy="112"/>
            </a:xfrm>
            <a:custGeom>
              <a:avLst/>
              <a:gdLst/>
              <a:ahLst/>
              <a:cxnLst>
                <a:cxn ang="0">
                  <a:pos x="103" y="106"/>
                </a:cxn>
                <a:cxn ang="0">
                  <a:pos x="100" y="102"/>
                </a:cxn>
                <a:cxn ang="0">
                  <a:pos x="96" y="95"/>
                </a:cxn>
                <a:cxn ang="0">
                  <a:pos x="88" y="87"/>
                </a:cxn>
                <a:cxn ang="0">
                  <a:pos x="83" y="83"/>
                </a:cxn>
                <a:cxn ang="0">
                  <a:pos x="77" y="83"/>
                </a:cxn>
                <a:cxn ang="0">
                  <a:pos x="71" y="80"/>
                </a:cxn>
                <a:cxn ang="0">
                  <a:pos x="62" y="72"/>
                </a:cxn>
                <a:cxn ang="0">
                  <a:pos x="54" y="68"/>
                </a:cxn>
                <a:cxn ang="0">
                  <a:pos x="52" y="70"/>
                </a:cxn>
                <a:cxn ang="0">
                  <a:pos x="43" y="64"/>
                </a:cxn>
                <a:cxn ang="0">
                  <a:pos x="39" y="64"/>
                </a:cxn>
                <a:cxn ang="0">
                  <a:pos x="34" y="68"/>
                </a:cxn>
                <a:cxn ang="0">
                  <a:pos x="22" y="64"/>
                </a:cxn>
                <a:cxn ang="0">
                  <a:pos x="19" y="63"/>
                </a:cxn>
                <a:cxn ang="0">
                  <a:pos x="9" y="72"/>
                </a:cxn>
                <a:cxn ang="0">
                  <a:pos x="5" y="74"/>
                </a:cxn>
                <a:cxn ang="0">
                  <a:pos x="2" y="70"/>
                </a:cxn>
                <a:cxn ang="0">
                  <a:pos x="0" y="59"/>
                </a:cxn>
                <a:cxn ang="0">
                  <a:pos x="2" y="53"/>
                </a:cxn>
                <a:cxn ang="0">
                  <a:pos x="5" y="38"/>
                </a:cxn>
                <a:cxn ang="0">
                  <a:pos x="9" y="32"/>
                </a:cxn>
                <a:cxn ang="0">
                  <a:pos x="5" y="29"/>
                </a:cxn>
                <a:cxn ang="0">
                  <a:pos x="9" y="19"/>
                </a:cxn>
                <a:cxn ang="0">
                  <a:pos x="15" y="19"/>
                </a:cxn>
                <a:cxn ang="0">
                  <a:pos x="15" y="15"/>
                </a:cxn>
                <a:cxn ang="0">
                  <a:pos x="19" y="14"/>
                </a:cxn>
                <a:cxn ang="0">
                  <a:pos x="24" y="10"/>
                </a:cxn>
                <a:cxn ang="0">
                  <a:pos x="30" y="8"/>
                </a:cxn>
                <a:cxn ang="0">
                  <a:pos x="34" y="0"/>
                </a:cxn>
                <a:cxn ang="0">
                  <a:pos x="39" y="8"/>
                </a:cxn>
                <a:cxn ang="0">
                  <a:pos x="49" y="40"/>
                </a:cxn>
                <a:cxn ang="0">
                  <a:pos x="52" y="46"/>
                </a:cxn>
                <a:cxn ang="0">
                  <a:pos x="52" y="47"/>
                </a:cxn>
                <a:cxn ang="0">
                  <a:pos x="56" y="59"/>
                </a:cxn>
                <a:cxn ang="0">
                  <a:pos x="60" y="53"/>
                </a:cxn>
                <a:cxn ang="0">
                  <a:pos x="58" y="49"/>
                </a:cxn>
                <a:cxn ang="0">
                  <a:pos x="64" y="55"/>
                </a:cxn>
                <a:cxn ang="0">
                  <a:pos x="64" y="59"/>
                </a:cxn>
                <a:cxn ang="0">
                  <a:pos x="69" y="63"/>
                </a:cxn>
                <a:cxn ang="0">
                  <a:pos x="73" y="63"/>
                </a:cxn>
                <a:cxn ang="0">
                  <a:pos x="79" y="64"/>
                </a:cxn>
                <a:cxn ang="0">
                  <a:pos x="86" y="66"/>
                </a:cxn>
                <a:cxn ang="0">
                  <a:pos x="92" y="74"/>
                </a:cxn>
                <a:cxn ang="0">
                  <a:pos x="98" y="83"/>
                </a:cxn>
                <a:cxn ang="0">
                  <a:pos x="103" y="87"/>
                </a:cxn>
                <a:cxn ang="0">
                  <a:pos x="105" y="87"/>
                </a:cxn>
                <a:cxn ang="0">
                  <a:pos x="111" y="95"/>
                </a:cxn>
                <a:cxn ang="0">
                  <a:pos x="113" y="100"/>
                </a:cxn>
                <a:cxn ang="0">
                  <a:pos x="116" y="104"/>
                </a:cxn>
                <a:cxn ang="0">
                  <a:pos x="120" y="102"/>
                </a:cxn>
                <a:cxn ang="0">
                  <a:pos x="120" y="104"/>
                </a:cxn>
                <a:cxn ang="0">
                  <a:pos x="115" y="108"/>
                </a:cxn>
                <a:cxn ang="0">
                  <a:pos x="109" y="112"/>
                </a:cxn>
                <a:cxn ang="0">
                  <a:pos x="109" y="112"/>
                </a:cxn>
              </a:cxnLst>
              <a:rect l="0" t="0" r="r" b="b"/>
              <a:pathLst>
                <a:path w="120" h="112">
                  <a:moveTo>
                    <a:pt x="109" y="112"/>
                  </a:moveTo>
                  <a:lnTo>
                    <a:pt x="103" y="106"/>
                  </a:lnTo>
                  <a:lnTo>
                    <a:pt x="100" y="106"/>
                  </a:lnTo>
                  <a:lnTo>
                    <a:pt x="100" y="102"/>
                  </a:lnTo>
                  <a:lnTo>
                    <a:pt x="100" y="98"/>
                  </a:lnTo>
                  <a:lnTo>
                    <a:pt x="96" y="95"/>
                  </a:lnTo>
                  <a:lnTo>
                    <a:pt x="92" y="93"/>
                  </a:lnTo>
                  <a:lnTo>
                    <a:pt x="88" y="87"/>
                  </a:lnTo>
                  <a:lnTo>
                    <a:pt x="83" y="87"/>
                  </a:lnTo>
                  <a:lnTo>
                    <a:pt x="83" y="83"/>
                  </a:lnTo>
                  <a:lnTo>
                    <a:pt x="79" y="83"/>
                  </a:lnTo>
                  <a:lnTo>
                    <a:pt x="77" y="83"/>
                  </a:lnTo>
                  <a:lnTo>
                    <a:pt x="73" y="81"/>
                  </a:lnTo>
                  <a:lnTo>
                    <a:pt x="71" y="80"/>
                  </a:lnTo>
                  <a:lnTo>
                    <a:pt x="64" y="72"/>
                  </a:lnTo>
                  <a:lnTo>
                    <a:pt x="62" y="72"/>
                  </a:lnTo>
                  <a:lnTo>
                    <a:pt x="58" y="68"/>
                  </a:lnTo>
                  <a:lnTo>
                    <a:pt x="54" y="68"/>
                  </a:lnTo>
                  <a:lnTo>
                    <a:pt x="52" y="68"/>
                  </a:lnTo>
                  <a:lnTo>
                    <a:pt x="52" y="70"/>
                  </a:lnTo>
                  <a:lnTo>
                    <a:pt x="47" y="64"/>
                  </a:lnTo>
                  <a:lnTo>
                    <a:pt x="43" y="64"/>
                  </a:lnTo>
                  <a:lnTo>
                    <a:pt x="41" y="66"/>
                  </a:lnTo>
                  <a:lnTo>
                    <a:pt x="39" y="64"/>
                  </a:lnTo>
                  <a:lnTo>
                    <a:pt x="36" y="64"/>
                  </a:lnTo>
                  <a:lnTo>
                    <a:pt x="34" y="68"/>
                  </a:lnTo>
                  <a:lnTo>
                    <a:pt x="30" y="68"/>
                  </a:lnTo>
                  <a:lnTo>
                    <a:pt x="22" y="64"/>
                  </a:lnTo>
                  <a:lnTo>
                    <a:pt x="20" y="63"/>
                  </a:lnTo>
                  <a:lnTo>
                    <a:pt x="19" y="63"/>
                  </a:lnTo>
                  <a:lnTo>
                    <a:pt x="13" y="72"/>
                  </a:lnTo>
                  <a:lnTo>
                    <a:pt x="9" y="72"/>
                  </a:lnTo>
                  <a:lnTo>
                    <a:pt x="9" y="74"/>
                  </a:lnTo>
                  <a:lnTo>
                    <a:pt x="5" y="74"/>
                  </a:lnTo>
                  <a:lnTo>
                    <a:pt x="2" y="74"/>
                  </a:lnTo>
                  <a:lnTo>
                    <a:pt x="2" y="70"/>
                  </a:lnTo>
                  <a:lnTo>
                    <a:pt x="0" y="63"/>
                  </a:lnTo>
                  <a:lnTo>
                    <a:pt x="0" y="59"/>
                  </a:lnTo>
                  <a:lnTo>
                    <a:pt x="2" y="55"/>
                  </a:lnTo>
                  <a:lnTo>
                    <a:pt x="2" y="53"/>
                  </a:lnTo>
                  <a:lnTo>
                    <a:pt x="5" y="47"/>
                  </a:lnTo>
                  <a:lnTo>
                    <a:pt x="5" y="38"/>
                  </a:lnTo>
                  <a:lnTo>
                    <a:pt x="9" y="34"/>
                  </a:lnTo>
                  <a:lnTo>
                    <a:pt x="9" y="32"/>
                  </a:lnTo>
                  <a:lnTo>
                    <a:pt x="9" y="29"/>
                  </a:lnTo>
                  <a:lnTo>
                    <a:pt x="5" y="29"/>
                  </a:lnTo>
                  <a:lnTo>
                    <a:pt x="9" y="25"/>
                  </a:lnTo>
                  <a:lnTo>
                    <a:pt x="9" y="19"/>
                  </a:lnTo>
                  <a:lnTo>
                    <a:pt x="9" y="19"/>
                  </a:lnTo>
                  <a:lnTo>
                    <a:pt x="15" y="19"/>
                  </a:lnTo>
                  <a:lnTo>
                    <a:pt x="15" y="17"/>
                  </a:lnTo>
                  <a:lnTo>
                    <a:pt x="15" y="15"/>
                  </a:lnTo>
                  <a:lnTo>
                    <a:pt x="15" y="14"/>
                  </a:lnTo>
                  <a:lnTo>
                    <a:pt x="19" y="14"/>
                  </a:lnTo>
                  <a:lnTo>
                    <a:pt x="20" y="10"/>
                  </a:lnTo>
                  <a:lnTo>
                    <a:pt x="24" y="10"/>
                  </a:lnTo>
                  <a:lnTo>
                    <a:pt x="28" y="10"/>
                  </a:lnTo>
                  <a:lnTo>
                    <a:pt x="30" y="8"/>
                  </a:lnTo>
                  <a:lnTo>
                    <a:pt x="34" y="4"/>
                  </a:lnTo>
                  <a:lnTo>
                    <a:pt x="34" y="0"/>
                  </a:lnTo>
                  <a:lnTo>
                    <a:pt x="34" y="0"/>
                  </a:lnTo>
                  <a:lnTo>
                    <a:pt x="39" y="8"/>
                  </a:lnTo>
                  <a:lnTo>
                    <a:pt x="47" y="25"/>
                  </a:lnTo>
                  <a:lnTo>
                    <a:pt x="49" y="40"/>
                  </a:lnTo>
                  <a:lnTo>
                    <a:pt x="52" y="40"/>
                  </a:lnTo>
                  <a:lnTo>
                    <a:pt x="52" y="46"/>
                  </a:lnTo>
                  <a:lnTo>
                    <a:pt x="52" y="47"/>
                  </a:lnTo>
                  <a:lnTo>
                    <a:pt x="52" y="47"/>
                  </a:lnTo>
                  <a:lnTo>
                    <a:pt x="54" y="53"/>
                  </a:lnTo>
                  <a:lnTo>
                    <a:pt x="56" y="59"/>
                  </a:lnTo>
                  <a:lnTo>
                    <a:pt x="60" y="59"/>
                  </a:lnTo>
                  <a:lnTo>
                    <a:pt x="60" y="53"/>
                  </a:lnTo>
                  <a:lnTo>
                    <a:pt x="58" y="53"/>
                  </a:lnTo>
                  <a:lnTo>
                    <a:pt x="58" y="49"/>
                  </a:lnTo>
                  <a:lnTo>
                    <a:pt x="60" y="49"/>
                  </a:lnTo>
                  <a:lnTo>
                    <a:pt x="64" y="55"/>
                  </a:lnTo>
                  <a:lnTo>
                    <a:pt x="62" y="57"/>
                  </a:lnTo>
                  <a:lnTo>
                    <a:pt x="64" y="59"/>
                  </a:lnTo>
                  <a:lnTo>
                    <a:pt x="68" y="63"/>
                  </a:lnTo>
                  <a:lnTo>
                    <a:pt x="69" y="63"/>
                  </a:lnTo>
                  <a:lnTo>
                    <a:pt x="73" y="59"/>
                  </a:lnTo>
                  <a:lnTo>
                    <a:pt x="73" y="63"/>
                  </a:lnTo>
                  <a:lnTo>
                    <a:pt x="77" y="59"/>
                  </a:lnTo>
                  <a:lnTo>
                    <a:pt x="79" y="64"/>
                  </a:lnTo>
                  <a:lnTo>
                    <a:pt x="81" y="66"/>
                  </a:lnTo>
                  <a:lnTo>
                    <a:pt x="86" y="66"/>
                  </a:lnTo>
                  <a:lnTo>
                    <a:pt x="86" y="70"/>
                  </a:lnTo>
                  <a:lnTo>
                    <a:pt x="92" y="74"/>
                  </a:lnTo>
                  <a:lnTo>
                    <a:pt x="96" y="81"/>
                  </a:lnTo>
                  <a:lnTo>
                    <a:pt x="98" y="83"/>
                  </a:lnTo>
                  <a:lnTo>
                    <a:pt x="101" y="87"/>
                  </a:lnTo>
                  <a:lnTo>
                    <a:pt x="103" y="87"/>
                  </a:lnTo>
                  <a:lnTo>
                    <a:pt x="103" y="83"/>
                  </a:lnTo>
                  <a:lnTo>
                    <a:pt x="105" y="87"/>
                  </a:lnTo>
                  <a:lnTo>
                    <a:pt x="107" y="95"/>
                  </a:lnTo>
                  <a:lnTo>
                    <a:pt x="111" y="95"/>
                  </a:lnTo>
                  <a:lnTo>
                    <a:pt x="113" y="98"/>
                  </a:lnTo>
                  <a:lnTo>
                    <a:pt x="113" y="100"/>
                  </a:lnTo>
                  <a:lnTo>
                    <a:pt x="115" y="104"/>
                  </a:lnTo>
                  <a:lnTo>
                    <a:pt x="116" y="104"/>
                  </a:lnTo>
                  <a:lnTo>
                    <a:pt x="116" y="104"/>
                  </a:lnTo>
                  <a:lnTo>
                    <a:pt x="120" y="102"/>
                  </a:lnTo>
                  <a:lnTo>
                    <a:pt x="120" y="104"/>
                  </a:lnTo>
                  <a:lnTo>
                    <a:pt x="120" y="104"/>
                  </a:lnTo>
                  <a:lnTo>
                    <a:pt x="116" y="108"/>
                  </a:lnTo>
                  <a:lnTo>
                    <a:pt x="115" y="108"/>
                  </a:lnTo>
                  <a:lnTo>
                    <a:pt x="113" y="112"/>
                  </a:lnTo>
                  <a:lnTo>
                    <a:pt x="109" y="112"/>
                  </a:lnTo>
                  <a:lnTo>
                    <a:pt x="109" y="112"/>
                  </a:lnTo>
                  <a:lnTo>
                    <a:pt x="109" y="11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9" name="Freeform 102">
              <a:extLst>
                <a:ext uri="{FF2B5EF4-FFF2-40B4-BE49-F238E27FC236}">
                  <a16:creationId xmlns:a16="http://schemas.microsoft.com/office/drawing/2014/main" id="{FA08E740-744B-45FF-936C-F2B4358E7A48}"/>
                </a:ext>
              </a:extLst>
            </p:cNvPr>
            <p:cNvSpPr>
              <a:spLocks/>
            </p:cNvSpPr>
            <p:nvPr/>
          </p:nvSpPr>
          <p:spPr bwMode="auto">
            <a:xfrm>
              <a:off x="3555" y="2866"/>
              <a:ext cx="26" cy="30"/>
            </a:xfrm>
            <a:custGeom>
              <a:avLst/>
              <a:gdLst/>
              <a:ahLst/>
              <a:cxnLst>
                <a:cxn ang="0">
                  <a:pos x="20" y="28"/>
                </a:cxn>
                <a:cxn ang="0">
                  <a:pos x="16" y="26"/>
                </a:cxn>
                <a:cxn ang="0">
                  <a:pos x="11" y="28"/>
                </a:cxn>
                <a:cxn ang="0">
                  <a:pos x="9" y="30"/>
                </a:cxn>
                <a:cxn ang="0">
                  <a:pos x="1" y="30"/>
                </a:cxn>
                <a:cxn ang="0">
                  <a:pos x="0" y="28"/>
                </a:cxn>
                <a:cxn ang="0">
                  <a:pos x="1" y="24"/>
                </a:cxn>
                <a:cxn ang="0">
                  <a:pos x="3" y="20"/>
                </a:cxn>
                <a:cxn ang="0">
                  <a:pos x="5" y="19"/>
                </a:cxn>
                <a:cxn ang="0">
                  <a:pos x="3" y="15"/>
                </a:cxn>
                <a:cxn ang="0">
                  <a:pos x="5" y="11"/>
                </a:cxn>
                <a:cxn ang="0">
                  <a:pos x="7" y="7"/>
                </a:cxn>
                <a:cxn ang="0">
                  <a:pos x="13" y="5"/>
                </a:cxn>
                <a:cxn ang="0">
                  <a:pos x="15" y="4"/>
                </a:cxn>
                <a:cxn ang="0">
                  <a:pos x="18" y="2"/>
                </a:cxn>
                <a:cxn ang="0">
                  <a:pos x="22" y="0"/>
                </a:cxn>
                <a:cxn ang="0">
                  <a:pos x="22" y="0"/>
                </a:cxn>
                <a:cxn ang="0">
                  <a:pos x="22" y="2"/>
                </a:cxn>
                <a:cxn ang="0">
                  <a:pos x="26" y="4"/>
                </a:cxn>
                <a:cxn ang="0">
                  <a:pos x="26" y="4"/>
                </a:cxn>
                <a:cxn ang="0">
                  <a:pos x="26" y="5"/>
                </a:cxn>
                <a:cxn ang="0">
                  <a:pos x="26" y="11"/>
                </a:cxn>
                <a:cxn ang="0">
                  <a:pos x="26" y="11"/>
                </a:cxn>
                <a:cxn ang="0">
                  <a:pos x="22" y="15"/>
                </a:cxn>
                <a:cxn ang="0">
                  <a:pos x="18" y="15"/>
                </a:cxn>
                <a:cxn ang="0">
                  <a:pos x="16" y="19"/>
                </a:cxn>
                <a:cxn ang="0">
                  <a:pos x="13" y="19"/>
                </a:cxn>
                <a:cxn ang="0">
                  <a:pos x="15" y="20"/>
                </a:cxn>
                <a:cxn ang="0">
                  <a:pos x="16" y="20"/>
                </a:cxn>
                <a:cxn ang="0">
                  <a:pos x="20" y="20"/>
                </a:cxn>
                <a:cxn ang="0">
                  <a:pos x="22" y="20"/>
                </a:cxn>
                <a:cxn ang="0">
                  <a:pos x="26" y="20"/>
                </a:cxn>
                <a:cxn ang="0">
                  <a:pos x="20" y="28"/>
                </a:cxn>
                <a:cxn ang="0">
                  <a:pos x="20" y="28"/>
                </a:cxn>
                <a:cxn ang="0">
                  <a:pos x="20" y="28"/>
                </a:cxn>
                <a:cxn ang="0">
                  <a:pos x="20" y="28"/>
                </a:cxn>
              </a:cxnLst>
              <a:rect l="0" t="0" r="r" b="b"/>
              <a:pathLst>
                <a:path w="26" h="30">
                  <a:moveTo>
                    <a:pt x="20" y="28"/>
                  </a:moveTo>
                  <a:lnTo>
                    <a:pt x="16" y="26"/>
                  </a:lnTo>
                  <a:lnTo>
                    <a:pt x="11" y="28"/>
                  </a:lnTo>
                  <a:lnTo>
                    <a:pt x="9" y="30"/>
                  </a:lnTo>
                  <a:lnTo>
                    <a:pt x="1" y="30"/>
                  </a:lnTo>
                  <a:lnTo>
                    <a:pt x="0" y="28"/>
                  </a:lnTo>
                  <a:lnTo>
                    <a:pt x="1" y="24"/>
                  </a:lnTo>
                  <a:lnTo>
                    <a:pt x="3" y="20"/>
                  </a:lnTo>
                  <a:lnTo>
                    <a:pt x="5" y="19"/>
                  </a:lnTo>
                  <a:lnTo>
                    <a:pt x="3" y="15"/>
                  </a:lnTo>
                  <a:lnTo>
                    <a:pt x="5" y="11"/>
                  </a:lnTo>
                  <a:lnTo>
                    <a:pt x="7" y="7"/>
                  </a:lnTo>
                  <a:lnTo>
                    <a:pt x="13" y="5"/>
                  </a:lnTo>
                  <a:lnTo>
                    <a:pt x="15" y="4"/>
                  </a:lnTo>
                  <a:lnTo>
                    <a:pt x="18" y="2"/>
                  </a:lnTo>
                  <a:lnTo>
                    <a:pt x="22" y="0"/>
                  </a:lnTo>
                  <a:lnTo>
                    <a:pt x="22" y="0"/>
                  </a:lnTo>
                  <a:lnTo>
                    <a:pt x="22" y="2"/>
                  </a:lnTo>
                  <a:lnTo>
                    <a:pt x="26" y="4"/>
                  </a:lnTo>
                  <a:lnTo>
                    <a:pt x="26" y="4"/>
                  </a:lnTo>
                  <a:lnTo>
                    <a:pt x="26" y="5"/>
                  </a:lnTo>
                  <a:lnTo>
                    <a:pt x="26" y="11"/>
                  </a:lnTo>
                  <a:lnTo>
                    <a:pt x="26" y="11"/>
                  </a:lnTo>
                  <a:lnTo>
                    <a:pt x="22" y="15"/>
                  </a:lnTo>
                  <a:lnTo>
                    <a:pt x="18" y="15"/>
                  </a:lnTo>
                  <a:lnTo>
                    <a:pt x="16" y="19"/>
                  </a:lnTo>
                  <a:lnTo>
                    <a:pt x="13" y="19"/>
                  </a:lnTo>
                  <a:lnTo>
                    <a:pt x="15" y="20"/>
                  </a:lnTo>
                  <a:lnTo>
                    <a:pt x="16" y="20"/>
                  </a:lnTo>
                  <a:lnTo>
                    <a:pt x="20" y="20"/>
                  </a:lnTo>
                  <a:lnTo>
                    <a:pt x="22" y="20"/>
                  </a:lnTo>
                  <a:lnTo>
                    <a:pt x="26" y="20"/>
                  </a:lnTo>
                  <a:lnTo>
                    <a:pt x="20" y="28"/>
                  </a:lnTo>
                  <a:lnTo>
                    <a:pt x="20" y="28"/>
                  </a:lnTo>
                  <a:lnTo>
                    <a:pt x="20" y="28"/>
                  </a:lnTo>
                  <a:lnTo>
                    <a:pt x="20" y="2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0" name="Freeform 103">
              <a:extLst>
                <a:ext uri="{FF2B5EF4-FFF2-40B4-BE49-F238E27FC236}">
                  <a16:creationId xmlns:a16="http://schemas.microsoft.com/office/drawing/2014/main" id="{121C9519-994D-4B56-8A86-859175D5155C}"/>
                </a:ext>
              </a:extLst>
            </p:cNvPr>
            <p:cNvSpPr>
              <a:spLocks/>
            </p:cNvSpPr>
            <p:nvPr/>
          </p:nvSpPr>
          <p:spPr bwMode="auto">
            <a:xfrm>
              <a:off x="3539" y="2875"/>
              <a:ext cx="191" cy="254"/>
            </a:xfrm>
            <a:custGeom>
              <a:avLst/>
              <a:gdLst/>
              <a:ahLst/>
              <a:cxnLst>
                <a:cxn ang="0">
                  <a:pos x="19" y="149"/>
                </a:cxn>
                <a:cxn ang="0">
                  <a:pos x="36" y="143"/>
                </a:cxn>
                <a:cxn ang="0">
                  <a:pos x="46" y="134"/>
                </a:cxn>
                <a:cxn ang="0">
                  <a:pos x="64" y="130"/>
                </a:cxn>
                <a:cxn ang="0">
                  <a:pos x="110" y="74"/>
                </a:cxn>
                <a:cxn ang="0">
                  <a:pos x="44" y="51"/>
                </a:cxn>
                <a:cxn ang="0">
                  <a:pos x="36" y="38"/>
                </a:cxn>
                <a:cxn ang="0">
                  <a:pos x="34" y="19"/>
                </a:cxn>
                <a:cxn ang="0">
                  <a:pos x="40" y="13"/>
                </a:cxn>
                <a:cxn ang="0">
                  <a:pos x="55" y="30"/>
                </a:cxn>
                <a:cxn ang="0">
                  <a:pos x="70" y="34"/>
                </a:cxn>
                <a:cxn ang="0">
                  <a:pos x="80" y="30"/>
                </a:cxn>
                <a:cxn ang="0">
                  <a:pos x="89" y="25"/>
                </a:cxn>
                <a:cxn ang="0">
                  <a:pos x="100" y="25"/>
                </a:cxn>
                <a:cxn ang="0">
                  <a:pos x="119" y="17"/>
                </a:cxn>
                <a:cxn ang="0">
                  <a:pos x="130" y="19"/>
                </a:cxn>
                <a:cxn ang="0">
                  <a:pos x="144" y="17"/>
                </a:cxn>
                <a:cxn ang="0">
                  <a:pos x="159" y="11"/>
                </a:cxn>
                <a:cxn ang="0">
                  <a:pos x="164" y="11"/>
                </a:cxn>
                <a:cxn ang="0">
                  <a:pos x="176" y="8"/>
                </a:cxn>
                <a:cxn ang="0">
                  <a:pos x="177" y="2"/>
                </a:cxn>
                <a:cxn ang="0">
                  <a:pos x="181" y="2"/>
                </a:cxn>
                <a:cxn ang="0">
                  <a:pos x="191" y="4"/>
                </a:cxn>
                <a:cxn ang="0">
                  <a:pos x="185" y="13"/>
                </a:cxn>
                <a:cxn ang="0">
                  <a:pos x="189" y="17"/>
                </a:cxn>
                <a:cxn ang="0">
                  <a:pos x="185" y="25"/>
                </a:cxn>
                <a:cxn ang="0">
                  <a:pos x="185" y="34"/>
                </a:cxn>
                <a:cxn ang="0">
                  <a:pos x="191" y="30"/>
                </a:cxn>
                <a:cxn ang="0">
                  <a:pos x="189" y="34"/>
                </a:cxn>
                <a:cxn ang="0">
                  <a:pos x="183" y="38"/>
                </a:cxn>
                <a:cxn ang="0">
                  <a:pos x="181" y="47"/>
                </a:cxn>
                <a:cxn ang="0">
                  <a:pos x="170" y="70"/>
                </a:cxn>
                <a:cxn ang="0">
                  <a:pos x="164" y="77"/>
                </a:cxn>
                <a:cxn ang="0">
                  <a:pos x="160" y="85"/>
                </a:cxn>
                <a:cxn ang="0">
                  <a:pos x="144" y="121"/>
                </a:cxn>
                <a:cxn ang="0">
                  <a:pos x="130" y="145"/>
                </a:cxn>
                <a:cxn ang="0">
                  <a:pos x="95" y="181"/>
                </a:cxn>
                <a:cxn ang="0">
                  <a:pos x="74" y="194"/>
                </a:cxn>
                <a:cxn ang="0">
                  <a:pos x="51" y="213"/>
                </a:cxn>
                <a:cxn ang="0">
                  <a:pos x="36" y="228"/>
                </a:cxn>
                <a:cxn ang="0">
                  <a:pos x="29" y="236"/>
                </a:cxn>
                <a:cxn ang="0">
                  <a:pos x="0" y="243"/>
                </a:cxn>
                <a:cxn ang="0">
                  <a:pos x="17" y="153"/>
                </a:cxn>
              </a:cxnLst>
              <a:rect l="0" t="0" r="r" b="b"/>
              <a:pathLst>
                <a:path w="191" h="254">
                  <a:moveTo>
                    <a:pt x="17" y="153"/>
                  </a:moveTo>
                  <a:lnTo>
                    <a:pt x="17" y="153"/>
                  </a:lnTo>
                  <a:lnTo>
                    <a:pt x="19" y="149"/>
                  </a:lnTo>
                  <a:lnTo>
                    <a:pt x="25" y="147"/>
                  </a:lnTo>
                  <a:lnTo>
                    <a:pt x="31" y="145"/>
                  </a:lnTo>
                  <a:lnTo>
                    <a:pt x="36" y="143"/>
                  </a:lnTo>
                  <a:lnTo>
                    <a:pt x="40" y="141"/>
                  </a:lnTo>
                  <a:lnTo>
                    <a:pt x="40" y="136"/>
                  </a:lnTo>
                  <a:lnTo>
                    <a:pt x="46" y="134"/>
                  </a:lnTo>
                  <a:lnTo>
                    <a:pt x="49" y="134"/>
                  </a:lnTo>
                  <a:lnTo>
                    <a:pt x="53" y="134"/>
                  </a:lnTo>
                  <a:lnTo>
                    <a:pt x="64" y="130"/>
                  </a:lnTo>
                  <a:lnTo>
                    <a:pt x="76" y="134"/>
                  </a:lnTo>
                  <a:lnTo>
                    <a:pt x="134" y="74"/>
                  </a:lnTo>
                  <a:lnTo>
                    <a:pt x="110" y="74"/>
                  </a:lnTo>
                  <a:lnTo>
                    <a:pt x="55" y="59"/>
                  </a:lnTo>
                  <a:lnTo>
                    <a:pt x="49" y="55"/>
                  </a:lnTo>
                  <a:lnTo>
                    <a:pt x="44" y="51"/>
                  </a:lnTo>
                  <a:lnTo>
                    <a:pt x="40" y="47"/>
                  </a:lnTo>
                  <a:lnTo>
                    <a:pt x="42" y="42"/>
                  </a:lnTo>
                  <a:lnTo>
                    <a:pt x="36" y="38"/>
                  </a:lnTo>
                  <a:lnTo>
                    <a:pt x="34" y="30"/>
                  </a:lnTo>
                  <a:lnTo>
                    <a:pt x="31" y="21"/>
                  </a:lnTo>
                  <a:lnTo>
                    <a:pt x="34" y="19"/>
                  </a:lnTo>
                  <a:lnTo>
                    <a:pt x="40" y="10"/>
                  </a:lnTo>
                  <a:lnTo>
                    <a:pt x="40" y="13"/>
                  </a:lnTo>
                  <a:lnTo>
                    <a:pt x="40" y="13"/>
                  </a:lnTo>
                  <a:lnTo>
                    <a:pt x="51" y="25"/>
                  </a:lnTo>
                  <a:lnTo>
                    <a:pt x="53" y="27"/>
                  </a:lnTo>
                  <a:lnTo>
                    <a:pt x="55" y="30"/>
                  </a:lnTo>
                  <a:lnTo>
                    <a:pt x="61" y="34"/>
                  </a:lnTo>
                  <a:lnTo>
                    <a:pt x="64" y="34"/>
                  </a:lnTo>
                  <a:lnTo>
                    <a:pt x="70" y="34"/>
                  </a:lnTo>
                  <a:lnTo>
                    <a:pt x="70" y="30"/>
                  </a:lnTo>
                  <a:lnTo>
                    <a:pt x="76" y="30"/>
                  </a:lnTo>
                  <a:lnTo>
                    <a:pt x="80" y="30"/>
                  </a:lnTo>
                  <a:lnTo>
                    <a:pt x="85" y="25"/>
                  </a:lnTo>
                  <a:lnTo>
                    <a:pt x="87" y="25"/>
                  </a:lnTo>
                  <a:lnTo>
                    <a:pt x="89" y="25"/>
                  </a:lnTo>
                  <a:lnTo>
                    <a:pt x="95" y="25"/>
                  </a:lnTo>
                  <a:lnTo>
                    <a:pt x="95" y="25"/>
                  </a:lnTo>
                  <a:lnTo>
                    <a:pt x="100" y="25"/>
                  </a:lnTo>
                  <a:lnTo>
                    <a:pt x="104" y="25"/>
                  </a:lnTo>
                  <a:lnTo>
                    <a:pt x="115" y="17"/>
                  </a:lnTo>
                  <a:lnTo>
                    <a:pt x="119" y="17"/>
                  </a:lnTo>
                  <a:lnTo>
                    <a:pt x="123" y="19"/>
                  </a:lnTo>
                  <a:lnTo>
                    <a:pt x="125" y="17"/>
                  </a:lnTo>
                  <a:lnTo>
                    <a:pt x="130" y="19"/>
                  </a:lnTo>
                  <a:lnTo>
                    <a:pt x="136" y="15"/>
                  </a:lnTo>
                  <a:lnTo>
                    <a:pt x="142" y="15"/>
                  </a:lnTo>
                  <a:lnTo>
                    <a:pt x="144" y="17"/>
                  </a:lnTo>
                  <a:lnTo>
                    <a:pt x="145" y="17"/>
                  </a:lnTo>
                  <a:lnTo>
                    <a:pt x="155" y="15"/>
                  </a:lnTo>
                  <a:lnTo>
                    <a:pt x="159" y="11"/>
                  </a:lnTo>
                  <a:lnTo>
                    <a:pt x="164" y="11"/>
                  </a:lnTo>
                  <a:lnTo>
                    <a:pt x="164" y="11"/>
                  </a:lnTo>
                  <a:lnTo>
                    <a:pt x="164" y="11"/>
                  </a:lnTo>
                  <a:lnTo>
                    <a:pt x="170" y="10"/>
                  </a:lnTo>
                  <a:lnTo>
                    <a:pt x="174" y="6"/>
                  </a:lnTo>
                  <a:lnTo>
                    <a:pt x="176" y="8"/>
                  </a:lnTo>
                  <a:lnTo>
                    <a:pt x="176" y="4"/>
                  </a:lnTo>
                  <a:lnTo>
                    <a:pt x="176" y="4"/>
                  </a:lnTo>
                  <a:lnTo>
                    <a:pt x="177" y="2"/>
                  </a:lnTo>
                  <a:lnTo>
                    <a:pt x="179" y="2"/>
                  </a:lnTo>
                  <a:lnTo>
                    <a:pt x="179" y="0"/>
                  </a:lnTo>
                  <a:lnTo>
                    <a:pt x="181" y="2"/>
                  </a:lnTo>
                  <a:lnTo>
                    <a:pt x="185" y="4"/>
                  </a:lnTo>
                  <a:lnTo>
                    <a:pt x="189" y="4"/>
                  </a:lnTo>
                  <a:lnTo>
                    <a:pt x="191" y="4"/>
                  </a:lnTo>
                  <a:lnTo>
                    <a:pt x="189" y="8"/>
                  </a:lnTo>
                  <a:lnTo>
                    <a:pt x="185" y="10"/>
                  </a:lnTo>
                  <a:lnTo>
                    <a:pt x="185" y="13"/>
                  </a:lnTo>
                  <a:lnTo>
                    <a:pt x="185" y="15"/>
                  </a:lnTo>
                  <a:lnTo>
                    <a:pt x="185" y="17"/>
                  </a:lnTo>
                  <a:lnTo>
                    <a:pt x="189" y="17"/>
                  </a:lnTo>
                  <a:lnTo>
                    <a:pt x="189" y="19"/>
                  </a:lnTo>
                  <a:lnTo>
                    <a:pt x="185" y="21"/>
                  </a:lnTo>
                  <a:lnTo>
                    <a:pt x="185" y="25"/>
                  </a:lnTo>
                  <a:lnTo>
                    <a:pt x="185" y="25"/>
                  </a:lnTo>
                  <a:lnTo>
                    <a:pt x="189" y="30"/>
                  </a:lnTo>
                  <a:lnTo>
                    <a:pt x="185" y="34"/>
                  </a:lnTo>
                  <a:lnTo>
                    <a:pt x="189" y="30"/>
                  </a:lnTo>
                  <a:lnTo>
                    <a:pt x="189" y="30"/>
                  </a:lnTo>
                  <a:lnTo>
                    <a:pt x="191" y="30"/>
                  </a:lnTo>
                  <a:lnTo>
                    <a:pt x="191" y="34"/>
                  </a:lnTo>
                  <a:lnTo>
                    <a:pt x="191" y="34"/>
                  </a:lnTo>
                  <a:lnTo>
                    <a:pt x="189" y="34"/>
                  </a:lnTo>
                  <a:lnTo>
                    <a:pt x="185" y="34"/>
                  </a:lnTo>
                  <a:lnTo>
                    <a:pt x="185" y="34"/>
                  </a:lnTo>
                  <a:lnTo>
                    <a:pt x="183" y="38"/>
                  </a:lnTo>
                  <a:lnTo>
                    <a:pt x="183" y="40"/>
                  </a:lnTo>
                  <a:lnTo>
                    <a:pt x="183" y="45"/>
                  </a:lnTo>
                  <a:lnTo>
                    <a:pt x="181" y="47"/>
                  </a:lnTo>
                  <a:lnTo>
                    <a:pt x="183" y="51"/>
                  </a:lnTo>
                  <a:lnTo>
                    <a:pt x="176" y="60"/>
                  </a:lnTo>
                  <a:lnTo>
                    <a:pt x="170" y="70"/>
                  </a:lnTo>
                  <a:lnTo>
                    <a:pt x="168" y="74"/>
                  </a:lnTo>
                  <a:lnTo>
                    <a:pt x="166" y="74"/>
                  </a:lnTo>
                  <a:lnTo>
                    <a:pt x="164" y="77"/>
                  </a:lnTo>
                  <a:lnTo>
                    <a:pt x="164" y="79"/>
                  </a:lnTo>
                  <a:lnTo>
                    <a:pt x="164" y="83"/>
                  </a:lnTo>
                  <a:lnTo>
                    <a:pt x="160" y="85"/>
                  </a:lnTo>
                  <a:lnTo>
                    <a:pt x="151" y="104"/>
                  </a:lnTo>
                  <a:lnTo>
                    <a:pt x="151" y="111"/>
                  </a:lnTo>
                  <a:lnTo>
                    <a:pt x="144" y="121"/>
                  </a:lnTo>
                  <a:lnTo>
                    <a:pt x="144" y="125"/>
                  </a:lnTo>
                  <a:lnTo>
                    <a:pt x="130" y="140"/>
                  </a:lnTo>
                  <a:lnTo>
                    <a:pt x="130" y="145"/>
                  </a:lnTo>
                  <a:lnTo>
                    <a:pt x="125" y="151"/>
                  </a:lnTo>
                  <a:lnTo>
                    <a:pt x="115" y="164"/>
                  </a:lnTo>
                  <a:lnTo>
                    <a:pt x="95" y="181"/>
                  </a:lnTo>
                  <a:lnTo>
                    <a:pt x="85" y="189"/>
                  </a:lnTo>
                  <a:lnTo>
                    <a:pt x="80" y="190"/>
                  </a:lnTo>
                  <a:lnTo>
                    <a:pt x="74" y="194"/>
                  </a:lnTo>
                  <a:lnTo>
                    <a:pt x="66" y="200"/>
                  </a:lnTo>
                  <a:lnTo>
                    <a:pt x="55" y="211"/>
                  </a:lnTo>
                  <a:lnTo>
                    <a:pt x="51" y="213"/>
                  </a:lnTo>
                  <a:lnTo>
                    <a:pt x="40" y="224"/>
                  </a:lnTo>
                  <a:lnTo>
                    <a:pt x="40" y="226"/>
                  </a:lnTo>
                  <a:lnTo>
                    <a:pt x="36" y="228"/>
                  </a:lnTo>
                  <a:lnTo>
                    <a:pt x="34" y="230"/>
                  </a:lnTo>
                  <a:lnTo>
                    <a:pt x="31" y="234"/>
                  </a:lnTo>
                  <a:lnTo>
                    <a:pt x="29" y="236"/>
                  </a:lnTo>
                  <a:lnTo>
                    <a:pt x="14" y="254"/>
                  </a:lnTo>
                  <a:lnTo>
                    <a:pt x="12" y="254"/>
                  </a:lnTo>
                  <a:lnTo>
                    <a:pt x="0" y="243"/>
                  </a:lnTo>
                  <a:lnTo>
                    <a:pt x="0" y="170"/>
                  </a:lnTo>
                  <a:lnTo>
                    <a:pt x="17" y="153"/>
                  </a:lnTo>
                  <a:lnTo>
                    <a:pt x="17" y="153"/>
                  </a:lnTo>
                  <a:lnTo>
                    <a:pt x="17" y="153"/>
                  </a:lnTo>
                  <a:lnTo>
                    <a:pt x="17" y="153"/>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1" name="Freeform 104">
              <a:extLst>
                <a:ext uri="{FF2B5EF4-FFF2-40B4-BE49-F238E27FC236}">
                  <a16:creationId xmlns:a16="http://schemas.microsoft.com/office/drawing/2014/main" id="{3451C03C-2C4A-400E-A42B-6A859EDEACB1}"/>
                </a:ext>
              </a:extLst>
            </p:cNvPr>
            <p:cNvSpPr>
              <a:spLocks noEditPoints="1"/>
            </p:cNvSpPr>
            <p:nvPr/>
          </p:nvSpPr>
          <p:spPr bwMode="auto">
            <a:xfrm>
              <a:off x="3364" y="2998"/>
              <a:ext cx="196" cy="190"/>
            </a:xfrm>
            <a:custGeom>
              <a:avLst/>
              <a:gdLst/>
              <a:ahLst/>
              <a:cxnLst>
                <a:cxn ang="0">
                  <a:pos x="51" y="22"/>
                </a:cxn>
                <a:cxn ang="0">
                  <a:pos x="55" y="18"/>
                </a:cxn>
                <a:cxn ang="0">
                  <a:pos x="61" y="17"/>
                </a:cxn>
                <a:cxn ang="0">
                  <a:pos x="72" y="0"/>
                </a:cxn>
                <a:cxn ang="0">
                  <a:pos x="78" y="3"/>
                </a:cxn>
                <a:cxn ang="0">
                  <a:pos x="81" y="13"/>
                </a:cxn>
                <a:cxn ang="0">
                  <a:pos x="87" y="18"/>
                </a:cxn>
                <a:cxn ang="0">
                  <a:pos x="95" y="18"/>
                </a:cxn>
                <a:cxn ang="0">
                  <a:pos x="110" y="22"/>
                </a:cxn>
                <a:cxn ang="0">
                  <a:pos x="121" y="32"/>
                </a:cxn>
                <a:cxn ang="0">
                  <a:pos x="127" y="35"/>
                </a:cxn>
                <a:cxn ang="0">
                  <a:pos x="138" y="37"/>
                </a:cxn>
                <a:cxn ang="0">
                  <a:pos x="147" y="37"/>
                </a:cxn>
                <a:cxn ang="0">
                  <a:pos x="151" y="37"/>
                </a:cxn>
                <a:cxn ang="0">
                  <a:pos x="159" y="28"/>
                </a:cxn>
                <a:cxn ang="0">
                  <a:pos x="166" y="26"/>
                </a:cxn>
                <a:cxn ang="0">
                  <a:pos x="177" y="22"/>
                </a:cxn>
                <a:cxn ang="0">
                  <a:pos x="181" y="30"/>
                </a:cxn>
                <a:cxn ang="0">
                  <a:pos x="191" y="30"/>
                </a:cxn>
                <a:cxn ang="0">
                  <a:pos x="179" y="47"/>
                </a:cxn>
                <a:cxn ang="0">
                  <a:pos x="191" y="131"/>
                </a:cxn>
                <a:cxn ang="0">
                  <a:pos x="185" y="141"/>
                </a:cxn>
                <a:cxn ang="0">
                  <a:pos x="183" y="145"/>
                </a:cxn>
                <a:cxn ang="0">
                  <a:pos x="177" y="147"/>
                </a:cxn>
                <a:cxn ang="0">
                  <a:pos x="168" y="152"/>
                </a:cxn>
                <a:cxn ang="0">
                  <a:pos x="164" y="154"/>
                </a:cxn>
                <a:cxn ang="0">
                  <a:pos x="164" y="160"/>
                </a:cxn>
                <a:cxn ang="0">
                  <a:pos x="160" y="165"/>
                </a:cxn>
                <a:cxn ang="0">
                  <a:pos x="157" y="175"/>
                </a:cxn>
                <a:cxn ang="0">
                  <a:pos x="149" y="186"/>
                </a:cxn>
                <a:cxn ang="0">
                  <a:pos x="143" y="190"/>
                </a:cxn>
                <a:cxn ang="0">
                  <a:pos x="119" y="171"/>
                </a:cxn>
                <a:cxn ang="0">
                  <a:pos x="119" y="169"/>
                </a:cxn>
                <a:cxn ang="0">
                  <a:pos x="46" y="122"/>
                </a:cxn>
                <a:cxn ang="0">
                  <a:pos x="46" y="105"/>
                </a:cxn>
                <a:cxn ang="0">
                  <a:pos x="49" y="96"/>
                </a:cxn>
                <a:cxn ang="0">
                  <a:pos x="55" y="88"/>
                </a:cxn>
                <a:cxn ang="0">
                  <a:pos x="57" y="83"/>
                </a:cxn>
                <a:cxn ang="0">
                  <a:pos x="64" y="81"/>
                </a:cxn>
                <a:cxn ang="0">
                  <a:pos x="66" y="75"/>
                </a:cxn>
                <a:cxn ang="0">
                  <a:pos x="70" y="66"/>
                </a:cxn>
                <a:cxn ang="0">
                  <a:pos x="66" y="58"/>
                </a:cxn>
                <a:cxn ang="0">
                  <a:pos x="66" y="56"/>
                </a:cxn>
                <a:cxn ang="0">
                  <a:pos x="61" y="47"/>
                </a:cxn>
                <a:cxn ang="0">
                  <a:pos x="57" y="41"/>
                </a:cxn>
                <a:cxn ang="0">
                  <a:pos x="55" y="35"/>
                </a:cxn>
                <a:cxn ang="0">
                  <a:pos x="51" y="32"/>
                </a:cxn>
                <a:cxn ang="0">
                  <a:pos x="49" y="24"/>
                </a:cxn>
                <a:cxn ang="0">
                  <a:pos x="49" y="24"/>
                </a:cxn>
                <a:cxn ang="0">
                  <a:pos x="49" y="24"/>
                </a:cxn>
                <a:cxn ang="0">
                  <a:pos x="0" y="124"/>
                </a:cxn>
                <a:cxn ang="0">
                  <a:pos x="15" y="124"/>
                </a:cxn>
                <a:cxn ang="0">
                  <a:pos x="0" y="124"/>
                </a:cxn>
                <a:cxn ang="0">
                  <a:pos x="0" y="124"/>
                </a:cxn>
              </a:cxnLst>
              <a:rect l="0" t="0" r="r" b="b"/>
              <a:pathLst>
                <a:path w="196" h="190">
                  <a:moveTo>
                    <a:pt x="49" y="24"/>
                  </a:moveTo>
                  <a:lnTo>
                    <a:pt x="51" y="22"/>
                  </a:lnTo>
                  <a:lnTo>
                    <a:pt x="51" y="22"/>
                  </a:lnTo>
                  <a:lnTo>
                    <a:pt x="55" y="18"/>
                  </a:lnTo>
                  <a:lnTo>
                    <a:pt x="57" y="17"/>
                  </a:lnTo>
                  <a:lnTo>
                    <a:pt x="61" y="17"/>
                  </a:lnTo>
                  <a:lnTo>
                    <a:pt x="64" y="9"/>
                  </a:lnTo>
                  <a:lnTo>
                    <a:pt x="72" y="0"/>
                  </a:lnTo>
                  <a:lnTo>
                    <a:pt x="74" y="3"/>
                  </a:lnTo>
                  <a:lnTo>
                    <a:pt x="78" y="3"/>
                  </a:lnTo>
                  <a:lnTo>
                    <a:pt x="81" y="3"/>
                  </a:lnTo>
                  <a:lnTo>
                    <a:pt x="81" y="13"/>
                  </a:lnTo>
                  <a:lnTo>
                    <a:pt x="81" y="18"/>
                  </a:lnTo>
                  <a:lnTo>
                    <a:pt x="87" y="18"/>
                  </a:lnTo>
                  <a:lnTo>
                    <a:pt x="91" y="17"/>
                  </a:lnTo>
                  <a:lnTo>
                    <a:pt x="95" y="18"/>
                  </a:lnTo>
                  <a:lnTo>
                    <a:pt x="106" y="17"/>
                  </a:lnTo>
                  <a:lnTo>
                    <a:pt x="110" y="22"/>
                  </a:lnTo>
                  <a:lnTo>
                    <a:pt x="117" y="28"/>
                  </a:lnTo>
                  <a:lnTo>
                    <a:pt x="121" y="32"/>
                  </a:lnTo>
                  <a:lnTo>
                    <a:pt x="125" y="35"/>
                  </a:lnTo>
                  <a:lnTo>
                    <a:pt x="127" y="35"/>
                  </a:lnTo>
                  <a:lnTo>
                    <a:pt x="134" y="35"/>
                  </a:lnTo>
                  <a:lnTo>
                    <a:pt x="138" y="37"/>
                  </a:lnTo>
                  <a:lnTo>
                    <a:pt x="143" y="37"/>
                  </a:lnTo>
                  <a:lnTo>
                    <a:pt x="147" y="37"/>
                  </a:lnTo>
                  <a:lnTo>
                    <a:pt x="149" y="37"/>
                  </a:lnTo>
                  <a:lnTo>
                    <a:pt x="151" y="37"/>
                  </a:lnTo>
                  <a:lnTo>
                    <a:pt x="157" y="30"/>
                  </a:lnTo>
                  <a:lnTo>
                    <a:pt x="159" y="28"/>
                  </a:lnTo>
                  <a:lnTo>
                    <a:pt x="164" y="26"/>
                  </a:lnTo>
                  <a:lnTo>
                    <a:pt x="166" y="26"/>
                  </a:lnTo>
                  <a:lnTo>
                    <a:pt x="168" y="24"/>
                  </a:lnTo>
                  <a:lnTo>
                    <a:pt x="177" y="22"/>
                  </a:lnTo>
                  <a:lnTo>
                    <a:pt x="179" y="24"/>
                  </a:lnTo>
                  <a:lnTo>
                    <a:pt x="181" y="30"/>
                  </a:lnTo>
                  <a:lnTo>
                    <a:pt x="185" y="32"/>
                  </a:lnTo>
                  <a:lnTo>
                    <a:pt x="191" y="30"/>
                  </a:lnTo>
                  <a:lnTo>
                    <a:pt x="196" y="30"/>
                  </a:lnTo>
                  <a:lnTo>
                    <a:pt x="179" y="47"/>
                  </a:lnTo>
                  <a:lnTo>
                    <a:pt x="179" y="120"/>
                  </a:lnTo>
                  <a:lnTo>
                    <a:pt x="191" y="131"/>
                  </a:lnTo>
                  <a:lnTo>
                    <a:pt x="191" y="131"/>
                  </a:lnTo>
                  <a:lnTo>
                    <a:pt x="185" y="141"/>
                  </a:lnTo>
                  <a:lnTo>
                    <a:pt x="185" y="141"/>
                  </a:lnTo>
                  <a:lnTo>
                    <a:pt x="183" y="145"/>
                  </a:lnTo>
                  <a:lnTo>
                    <a:pt x="183" y="145"/>
                  </a:lnTo>
                  <a:lnTo>
                    <a:pt x="177" y="147"/>
                  </a:lnTo>
                  <a:lnTo>
                    <a:pt x="174" y="152"/>
                  </a:lnTo>
                  <a:lnTo>
                    <a:pt x="168" y="152"/>
                  </a:lnTo>
                  <a:lnTo>
                    <a:pt x="166" y="152"/>
                  </a:lnTo>
                  <a:lnTo>
                    <a:pt x="164" y="154"/>
                  </a:lnTo>
                  <a:lnTo>
                    <a:pt x="164" y="158"/>
                  </a:lnTo>
                  <a:lnTo>
                    <a:pt x="164" y="160"/>
                  </a:lnTo>
                  <a:lnTo>
                    <a:pt x="164" y="160"/>
                  </a:lnTo>
                  <a:lnTo>
                    <a:pt x="160" y="165"/>
                  </a:lnTo>
                  <a:lnTo>
                    <a:pt x="157" y="169"/>
                  </a:lnTo>
                  <a:lnTo>
                    <a:pt x="157" y="175"/>
                  </a:lnTo>
                  <a:lnTo>
                    <a:pt x="155" y="179"/>
                  </a:lnTo>
                  <a:lnTo>
                    <a:pt x="149" y="186"/>
                  </a:lnTo>
                  <a:lnTo>
                    <a:pt x="143" y="190"/>
                  </a:lnTo>
                  <a:lnTo>
                    <a:pt x="143" y="190"/>
                  </a:lnTo>
                  <a:lnTo>
                    <a:pt x="121" y="175"/>
                  </a:lnTo>
                  <a:lnTo>
                    <a:pt x="119" y="171"/>
                  </a:lnTo>
                  <a:lnTo>
                    <a:pt x="117" y="169"/>
                  </a:lnTo>
                  <a:lnTo>
                    <a:pt x="119" y="169"/>
                  </a:lnTo>
                  <a:lnTo>
                    <a:pt x="115" y="162"/>
                  </a:lnTo>
                  <a:lnTo>
                    <a:pt x="46" y="122"/>
                  </a:lnTo>
                  <a:lnTo>
                    <a:pt x="40" y="122"/>
                  </a:lnTo>
                  <a:lnTo>
                    <a:pt x="46" y="105"/>
                  </a:lnTo>
                  <a:lnTo>
                    <a:pt x="46" y="99"/>
                  </a:lnTo>
                  <a:lnTo>
                    <a:pt x="49" y="96"/>
                  </a:lnTo>
                  <a:lnTo>
                    <a:pt x="51" y="90"/>
                  </a:lnTo>
                  <a:lnTo>
                    <a:pt x="55" y="88"/>
                  </a:lnTo>
                  <a:lnTo>
                    <a:pt x="57" y="84"/>
                  </a:lnTo>
                  <a:lnTo>
                    <a:pt x="57" y="83"/>
                  </a:lnTo>
                  <a:lnTo>
                    <a:pt x="57" y="81"/>
                  </a:lnTo>
                  <a:lnTo>
                    <a:pt x="64" y="81"/>
                  </a:lnTo>
                  <a:lnTo>
                    <a:pt x="66" y="77"/>
                  </a:lnTo>
                  <a:lnTo>
                    <a:pt x="66" y="75"/>
                  </a:lnTo>
                  <a:lnTo>
                    <a:pt x="70" y="67"/>
                  </a:lnTo>
                  <a:lnTo>
                    <a:pt x="70" y="66"/>
                  </a:lnTo>
                  <a:lnTo>
                    <a:pt x="70" y="62"/>
                  </a:lnTo>
                  <a:lnTo>
                    <a:pt x="66" y="58"/>
                  </a:lnTo>
                  <a:lnTo>
                    <a:pt x="68" y="56"/>
                  </a:lnTo>
                  <a:lnTo>
                    <a:pt x="66" y="56"/>
                  </a:lnTo>
                  <a:lnTo>
                    <a:pt x="63" y="52"/>
                  </a:lnTo>
                  <a:lnTo>
                    <a:pt x="61" y="47"/>
                  </a:lnTo>
                  <a:lnTo>
                    <a:pt x="57" y="43"/>
                  </a:lnTo>
                  <a:lnTo>
                    <a:pt x="57" y="41"/>
                  </a:lnTo>
                  <a:lnTo>
                    <a:pt x="57" y="37"/>
                  </a:lnTo>
                  <a:lnTo>
                    <a:pt x="55" y="35"/>
                  </a:lnTo>
                  <a:lnTo>
                    <a:pt x="55" y="32"/>
                  </a:lnTo>
                  <a:lnTo>
                    <a:pt x="51" y="32"/>
                  </a:lnTo>
                  <a:lnTo>
                    <a:pt x="51" y="26"/>
                  </a:lnTo>
                  <a:lnTo>
                    <a:pt x="49" y="24"/>
                  </a:lnTo>
                  <a:lnTo>
                    <a:pt x="49" y="24"/>
                  </a:lnTo>
                  <a:lnTo>
                    <a:pt x="49" y="24"/>
                  </a:lnTo>
                  <a:lnTo>
                    <a:pt x="49" y="24"/>
                  </a:lnTo>
                  <a:lnTo>
                    <a:pt x="49" y="24"/>
                  </a:lnTo>
                  <a:lnTo>
                    <a:pt x="49" y="24"/>
                  </a:lnTo>
                  <a:close/>
                  <a:moveTo>
                    <a:pt x="0" y="124"/>
                  </a:moveTo>
                  <a:lnTo>
                    <a:pt x="8" y="124"/>
                  </a:lnTo>
                  <a:lnTo>
                    <a:pt x="15" y="124"/>
                  </a:lnTo>
                  <a:lnTo>
                    <a:pt x="0" y="124"/>
                  </a:lnTo>
                  <a:lnTo>
                    <a:pt x="0" y="124"/>
                  </a:lnTo>
                  <a:lnTo>
                    <a:pt x="0" y="124"/>
                  </a:lnTo>
                  <a:lnTo>
                    <a:pt x="0" y="12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2" name="Freeform 105">
              <a:extLst>
                <a:ext uri="{FF2B5EF4-FFF2-40B4-BE49-F238E27FC236}">
                  <a16:creationId xmlns:a16="http://schemas.microsoft.com/office/drawing/2014/main" id="{AAA1C366-7A95-4B2D-BC8F-324730DF05EC}"/>
                </a:ext>
              </a:extLst>
            </p:cNvPr>
            <p:cNvSpPr>
              <a:spLocks/>
            </p:cNvSpPr>
            <p:nvPr/>
          </p:nvSpPr>
          <p:spPr bwMode="auto">
            <a:xfrm>
              <a:off x="3323" y="3024"/>
              <a:ext cx="111" cy="105"/>
            </a:xfrm>
            <a:custGeom>
              <a:avLst/>
              <a:gdLst/>
              <a:ahLst/>
              <a:cxnLst>
                <a:cxn ang="0">
                  <a:pos x="85" y="75"/>
                </a:cxn>
                <a:cxn ang="0">
                  <a:pos x="92" y="66"/>
                </a:cxn>
                <a:cxn ang="0">
                  <a:pos x="96" y="60"/>
                </a:cxn>
                <a:cxn ang="0">
                  <a:pos x="98" y="57"/>
                </a:cxn>
                <a:cxn ang="0">
                  <a:pos x="107" y="51"/>
                </a:cxn>
                <a:cxn ang="0">
                  <a:pos x="111" y="43"/>
                </a:cxn>
                <a:cxn ang="0">
                  <a:pos x="111" y="38"/>
                </a:cxn>
                <a:cxn ang="0">
                  <a:pos x="109" y="32"/>
                </a:cxn>
                <a:cxn ang="0">
                  <a:pos x="102" y="28"/>
                </a:cxn>
                <a:cxn ang="0">
                  <a:pos x="98" y="19"/>
                </a:cxn>
                <a:cxn ang="0">
                  <a:pos x="96" y="13"/>
                </a:cxn>
                <a:cxn ang="0">
                  <a:pos x="94" y="8"/>
                </a:cxn>
                <a:cxn ang="0">
                  <a:pos x="90" y="2"/>
                </a:cxn>
                <a:cxn ang="0">
                  <a:pos x="85" y="4"/>
                </a:cxn>
                <a:cxn ang="0">
                  <a:pos x="77" y="8"/>
                </a:cxn>
                <a:cxn ang="0">
                  <a:pos x="66" y="8"/>
                </a:cxn>
                <a:cxn ang="0">
                  <a:pos x="60" y="9"/>
                </a:cxn>
                <a:cxn ang="0">
                  <a:pos x="56" y="9"/>
                </a:cxn>
                <a:cxn ang="0">
                  <a:pos x="53" y="13"/>
                </a:cxn>
                <a:cxn ang="0">
                  <a:pos x="47" y="13"/>
                </a:cxn>
                <a:cxn ang="0">
                  <a:pos x="43" y="9"/>
                </a:cxn>
                <a:cxn ang="0">
                  <a:pos x="34" y="9"/>
                </a:cxn>
                <a:cxn ang="0">
                  <a:pos x="28" y="9"/>
                </a:cxn>
                <a:cxn ang="0">
                  <a:pos x="28" y="13"/>
                </a:cxn>
                <a:cxn ang="0">
                  <a:pos x="28" y="13"/>
                </a:cxn>
                <a:cxn ang="0">
                  <a:pos x="26" y="19"/>
                </a:cxn>
                <a:cxn ang="0">
                  <a:pos x="24" y="32"/>
                </a:cxn>
                <a:cxn ang="0">
                  <a:pos x="26" y="38"/>
                </a:cxn>
                <a:cxn ang="0">
                  <a:pos x="30" y="41"/>
                </a:cxn>
                <a:cxn ang="0">
                  <a:pos x="21" y="57"/>
                </a:cxn>
                <a:cxn ang="0">
                  <a:pos x="13" y="66"/>
                </a:cxn>
                <a:cxn ang="0">
                  <a:pos x="4" y="81"/>
                </a:cxn>
                <a:cxn ang="0">
                  <a:pos x="4" y="92"/>
                </a:cxn>
                <a:cxn ang="0">
                  <a:pos x="2" y="104"/>
                </a:cxn>
                <a:cxn ang="0">
                  <a:pos x="2" y="105"/>
                </a:cxn>
                <a:cxn ang="0">
                  <a:pos x="6" y="102"/>
                </a:cxn>
                <a:cxn ang="0">
                  <a:pos x="11" y="104"/>
                </a:cxn>
                <a:cxn ang="0">
                  <a:pos x="15" y="104"/>
                </a:cxn>
                <a:cxn ang="0">
                  <a:pos x="19" y="100"/>
                </a:cxn>
                <a:cxn ang="0">
                  <a:pos x="21" y="100"/>
                </a:cxn>
                <a:cxn ang="0">
                  <a:pos x="24" y="100"/>
                </a:cxn>
                <a:cxn ang="0">
                  <a:pos x="40" y="100"/>
                </a:cxn>
                <a:cxn ang="0">
                  <a:pos x="79" y="96"/>
                </a:cxn>
                <a:cxn ang="0">
                  <a:pos x="85" y="79"/>
                </a:cxn>
              </a:cxnLst>
              <a:rect l="0" t="0" r="r" b="b"/>
              <a:pathLst>
                <a:path w="111" h="105">
                  <a:moveTo>
                    <a:pt x="85" y="79"/>
                  </a:moveTo>
                  <a:lnTo>
                    <a:pt x="85" y="75"/>
                  </a:lnTo>
                  <a:lnTo>
                    <a:pt x="88" y="70"/>
                  </a:lnTo>
                  <a:lnTo>
                    <a:pt x="92" y="66"/>
                  </a:lnTo>
                  <a:lnTo>
                    <a:pt x="94" y="62"/>
                  </a:lnTo>
                  <a:lnTo>
                    <a:pt x="96" y="60"/>
                  </a:lnTo>
                  <a:lnTo>
                    <a:pt x="98" y="58"/>
                  </a:lnTo>
                  <a:lnTo>
                    <a:pt x="98" y="57"/>
                  </a:lnTo>
                  <a:lnTo>
                    <a:pt x="105" y="57"/>
                  </a:lnTo>
                  <a:lnTo>
                    <a:pt x="107" y="51"/>
                  </a:lnTo>
                  <a:lnTo>
                    <a:pt x="107" y="49"/>
                  </a:lnTo>
                  <a:lnTo>
                    <a:pt x="111" y="43"/>
                  </a:lnTo>
                  <a:lnTo>
                    <a:pt x="111" y="41"/>
                  </a:lnTo>
                  <a:lnTo>
                    <a:pt x="111" y="38"/>
                  </a:lnTo>
                  <a:lnTo>
                    <a:pt x="107" y="34"/>
                  </a:lnTo>
                  <a:lnTo>
                    <a:pt x="109" y="32"/>
                  </a:lnTo>
                  <a:lnTo>
                    <a:pt x="107" y="30"/>
                  </a:lnTo>
                  <a:lnTo>
                    <a:pt x="102" y="28"/>
                  </a:lnTo>
                  <a:lnTo>
                    <a:pt x="102" y="23"/>
                  </a:lnTo>
                  <a:lnTo>
                    <a:pt x="98" y="19"/>
                  </a:lnTo>
                  <a:lnTo>
                    <a:pt x="98" y="17"/>
                  </a:lnTo>
                  <a:lnTo>
                    <a:pt x="96" y="13"/>
                  </a:lnTo>
                  <a:lnTo>
                    <a:pt x="94" y="11"/>
                  </a:lnTo>
                  <a:lnTo>
                    <a:pt x="94" y="8"/>
                  </a:lnTo>
                  <a:lnTo>
                    <a:pt x="92" y="8"/>
                  </a:lnTo>
                  <a:lnTo>
                    <a:pt x="90" y="2"/>
                  </a:lnTo>
                  <a:lnTo>
                    <a:pt x="88" y="0"/>
                  </a:lnTo>
                  <a:lnTo>
                    <a:pt x="85" y="4"/>
                  </a:lnTo>
                  <a:lnTo>
                    <a:pt x="81" y="6"/>
                  </a:lnTo>
                  <a:lnTo>
                    <a:pt x="77" y="8"/>
                  </a:lnTo>
                  <a:lnTo>
                    <a:pt x="75" y="8"/>
                  </a:lnTo>
                  <a:lnTo>
                    <a:pt x="66" y="8"/>
                  </a:lnTo>
                  <a:lnTo>
                    <a:pt x="64" y="9"/>
                  </a:lnTo>
                  <a:lnTo>
                    <a:pt x="60" y="9"/>
                  </a:lnTo>
                  <a:lnTo>
                    <a:pt x="58" y="9"/>
                  </a:lnTo>
                  <a:lnTo>
                    <a:pt x="56" y="9"/>
                  </a:lnTo>
                  <a:lnTo>
                    <a:pt x="53" y="11"/>
                  </a:lnTo>
                  <a:lnTo>
                    <a:pt x="53" y="13"/>
                  </a:lnTo>
                  <a:lnTo>
                    <a:pt x="51" y="13"/>
                  </a:lnTo>
                  <a:lnTo>
                    <a:pt x="47" y="13"/>
                  </a:lnTo>
                  <a:lnTo>
                    <a:pt x="47" y="11"/>
                  </a:lnTo>
                  <a:lnTo>
                    <a:pt x="43" y="9"/>
                  </a:lnTo>
                  <a:lnTo>
                    <a:pt x="40" y="11"/>
                  </a:lnTo>
                  <a:lnTo>
                    <a:pt x="34" y="9"/>
                  </a:lnTo>
                  <a:lnTo>
                    <a:pt x="30" y="8"/>
                  </a:lnTo>
                  <a:lnTo>
                    <a:pt x="28" y="9"/>
                  </a:lnTo>
                  <a:lnTo>
                    <a:pt x="28" y="11"/>
                  </a:lnTo>
                  <a:lnTo>
                    <a:pt x="28" y="13"/>
                  </a:lnTo>
                  <a:lnTo>
                    <a:pt x="28" y="13"/>
                  </a:lnTo>
                  <a:lnTo>
                    <a:pt x="28" y="13"/>
                  </a:lnTo>
                  <a:lnTo>
                    <a:pt x="28" y="17"/>
                  </a:lnTo>
                  <a:lnTo>
                    <a:pt x="26" y="19"/>
                  </a:lnTo>
                  <a:lnTo>
                    <a:pt x="26" y="24"/>
                  </a:lnTo>
                  <a:lnTo>
                    <a:pt x="24" y="32"/>
                  </a:lnTo>
                  <a:lnTo>
                    <a:pt x="24" y="36"/>
                  </a:lnTo>
                  <a:lnTo>
                    <a:pt x="26" y="38"/>
                  </a:lnTo>
                  <a:lnTo>
                    <a:pt x="28" y="38"/>
                  </a:lnTo>
                  <a:lnTo>
                    <a:pt x="30" y="41"/>
                  </a:lnTo>
                  <a:lnTo>
                    <a:pt x="30" y="43"/>
                  </a:lnTo>
                  <a:lnTo>
                    <a:pt x="21" y="57"/>
                  </a:lnTo>
                  <a:lnTo>
                    <a:pt x="15" y="62"/>
                  </a:lnTo>
                  <a:lnTo>
                    <a:pt x="13" y="66"/>
                  </a:lnTo>
                  <a:lnTo>
                    <a:pt x="6" y="79"/>
                  </a:lnTo>
                  <a:lnTo>
                    <a:pt x="4" y="81"/>
                  </a:lnTo>
                  <a:lnTo>
                    <a:pt x="4" y="87"/>
                  </a:lnTo>
                  <a:lnTo>
                    <a:pt x="4" y="92"/>
                  </a:lnTo>
                  <a:lnTo>
                    <a:pt x="0" y="100"/>
                  </a:lnTo>
                  <a:lnTo>
                    <a:pt x="2" y="104"/>
                  </a:lnTo>
                  <a:lnTo>
                    <a:pt x="0" y="105"/>
                  </a:lnTo>
                  <a:lnTo>
                    <a:pt x="2" y="105"/>
                  </a:lnTo>
                  <a:lnTo>
                    <a:pt x="4" y="104"/>
                  </a:lnTo>
                  <a:lnTo>
                    <a:pt x="6" y="102"/>
                  </a:lnTo>
                  <a:lnTo>
                    <a:pt x="9" y="104"/>
                  </a:lnTo>
                  <a:lnTo>
                    <a:pt x="11" y="104"/>
                  </a:lnTo>
                  <a:lnTo>
                    <a:pt x="15" y="104"/>
                  </a:lnTo>
                  <a:lnTo>
                    <a:pt x="15" y="104"/>
                  </a:lnTo>
                  <a:lnTo>
                    <a:pt x="15" y="100"/>
                  </a:lnTo>
                  <a:lnTo>
                    <a:pt x="19" y="100"/>
                  </a:lnTo>
                  <a:lnTo>
                    <a:pt x="21" y="100"/>
                  </a:lnTo>
                  <a:lnTo>
                    <a:pt x="21" y="100"/>
                  </a:lnTo>
                  <a:lnTo>
                    <a:pt x="21" y="100"/>
                  </a:lnTo>
                  <a:lnTo>
                    <a:pt x="24" y="100"/>
                  </a:lnTo>
                  <a:lnTo>
                    <a:pt x="40" y="100"/>
                  </a:lnTo>
                  <a:lnTo>
                    <a:pt x="40" y="100"/>
                  </a:lnTo>
                  <a:lnTo>
                    <a:pt x="55" y="100"/>
                  </a:lnTo>
                  <a:lnTo>
                    <a:pt x="79" y="96"/>
                  </a:lnTo>
                  <a:lnTo>
                    <a:pt x="85" y="79"/>
                  </a:lnTo>
                  <a:lnTo>
                    <a:pt x="85" y="79"/>
                  </a:lnTo>
                  <a:lnTo>
                    <a:pt x="85"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3" name="Freeform 106">
              <a:extLst>
                <a:ext uri="{FF2B5EF4-FFF2-40B4-BE49-F238E27FC236}">
                  <a16:creationId xmlns:a16="http://schemas.microsoft.com/office/drawing/2014/main" id="{9BB8AC02-9640-4EF9-A6C4-10128C9C77BA}"/>
                </a:ext>
              </a:extLst>
            </p:cNvPr>
            <p:cNvSpPr>
              <a:spLocks/>
            </p:cNvSpPr>
            <p:nvPr/>
          </p:nvSpPr>
          <p:spPr bwMode="auto">
            <a:xfrm>
              <a:off x="3323" y="3024"/>
              <a:ext cx="111" cy="105"/>
            </a:xfrm>
            <a:custGeom>
              <a:avLst/>
              <a:gdLst/>
              <a:ahLst/>
              <a:cxnLst>
                <a:cxn ang="0">
                  <a:pos x="85" y="75"/>
                </a:cxn>
                <a:cxn ang="0">
                  <a:pos x="92" y="66"/>
                </a:cxn>
                <a:cxn ang="0">
                  <a:pos x="96" y="60"/>
                </a:cxn>
                <a:cxn ang="0">
                  <a:pos x="98" y="57"/>
                </a:cxn>
                <a:cxn ang="0">
                  <a:pos x="107" y="51"/>
                </a:cxn>
                <a:cxn ang="0">
                  <a:pos x="111" y="43"/>
                </a:cxn>
                <a:cxn ang="0">
                  <a:pos x="111" y="38"/>
                </a:cxn>
                <a:cxn ang="0">
                  <a:pos x="109" y="32"/>
                </a:cxn>
                <a:cxn ang="0">
                  <a:pos x="102" y="28"/>
                </a:cxn>
                <a:cxn ang="0">
                  <a:pos x="98" y="19"/>
                </a:cxn>
                <a:cxn ang="0">
                  <a:pos x="96" y="13"/>
                </a:cxn>
                <a:cxn ang="0">
                  <a:pos x="94" y="8"/>
                </a:cxn>
                <a:cxn ang="0">
                  <a:pos x="90" y="2"/>
                </a:cxn>
                <a:cxn ang="0">
                  <a:pos x="85" y="4"/>
                </a:cxn>
                <a:cxn ang="0">
                  <a:pos x="77" y="8"/>
                </a:cxn>
                <a:cxn ang="0">
                  <a:pos x="66" y="8"/>
                </a:cxn>
                <a:cxn ang="0">
                  <a:pos x="60" y="9"/>
                </a:cxn>
                <a:cxn ang="0">
                  <a:pos x="56" y="9"/>
                </a:cxn>
                <a:cxn ang="0">
                  <a:pos x="53" y="13"/>
                </a:cxn>
                <a:cxn ang="0">
                  <a:pos x="47" y="13"/>
                </a:cxn>
                <a:cxn ang="0">
                  <a:pos x="43" y="9"/>
                </a:cxn>
                <a:cxn ang="0">
                  <a:pos x="34" y="9"/>
                </a:cxn>
                <a:cxn ang="0">
                  <a:pos x="28" y="9"/>
                </a:cxn>
                <a:cxn ang="0">
                  <a:pos x="28" y="13"/>
                </a:cxn>
                <a:cxn ang="0">
                  <a:pos x="28" y="13"/>
                </a:cxn>
                <a:cxn ang="0">
                  <a:pos x="26" y="19"/>
                </a:cxn>
                <a:cxn ang="0">
                  <a:pos x="24" y="32"/>
                </a:cxn>
                <a:cxn ang="0">
                  <a:pos x="26" y="38"/>
                </a:cxn>
                <a:cxn ang="0">
                  <a:pos x="30" y="41"/>
                </a:cxn>
                <a:cxn ang="0">
                  <a:pos x="21" y="57"/>
                </a:cxn>
                <a:cxn ang="0">
                  <a:pos x="13" y="66"/>
                </a:cxn>
                <a:cxn ang="0">
                  <a:pos x="4" y="81"/>
                </a:cxn>
                <a:cxn ang="0">
                  <a:pos x="4" y="92"/>
                </a:cxn>
                <a:cxn ang="0">
                  <a:pos x="2" y="104"/>
                </a:cxn>
                <a:cxn ang="0">
                  <a:pos x="2" y="105"/>
                </a:cxn>
                <a:cxn ang="0">
                  <a:pos x="6" y="102"/>
                </a:cxn>
                <a:cxn ang="0">
                  <a:pos x="11" y="104"/>
                </a:cxn>
                <a:cxn ang="0">
                  <a:pos x="15" y="104"/>
                </a:cxn>
                <a:cxn ang="0">
                  <a:pos x="19" y="100"/>
                </a:cxn>
                <a:cxn ang="0">
                  <a:pos x="21" y="100"/>
                </a:cxn>
                <a:cxn ang="0">
                  <a:pos x="24" y="100"/>
                </a:cxn>
                <a:cxn ang="0">
                  <a:pos x="40" y="100"/>
                </a:cxn>
                <a:cxn ang="0">
                  <a:pos x="79" y="96"/>
                </a:cxn>
                <a:cxn ang="0">
                  <a:pos x="85" y="79"/>
                </a:cxn>
              </a:cxnLst>
              <a:rect l="0" t="0" r="r" b="b"/>
              <a:pathLst>
                <a:path w="111" h="105">
                  <a:moveTo>
                    <a:pt x="85" y="79"/>
                  </a:moveTo>
                  <a:lnTo>
                    <a:pt x="85" y="75"/>
                  </a:lnTo>
                  <a:lnTo>
                    <a:pt x="88" y="70"/>
                  </a:lnTo>
                  <a:lnTo>
                    <a:pt x="92" y="66"/>
                  </a:lnTo>
                  <a:lnTo>
                    <a:pt x="94" y="62"/>
                  </a:lnTo>
                  <a:lnTo>
                    <a:pt x="96" y="60"/>
                  </a:lnTo>
                  <a:lnTo>
                    <a:pt x="98" y="58"/>
                  </a:lnTo>
                  <a:lnTo>
                    <a:pt x="98" y="57"/>
                  </a:lnTo>
                  <a:lnTo>
                    <a:pt x="105" y="57"/>
                  </a:lnTo>
                  <a:lnTo>
                    <a:pt x="107" y="51"/>
                  </a:lnTo>
                  <a:lnTo>
                    <a:pt x="107" y="49"/>
                  </a:lnTo>
                  <a:lnTo>
                    <a:pt x="111" y="43"/>
                  </a:lnTo>
                  <a:lnTo>
                    <a:pt x="111" y="41"/>
                  </a:lnTo>
                  <a:lnTo>
                    <a:pt x="111" y="38"/>
                  </a:lnTo>
                  <a:lnTo>
                    <a:pt x="107" y="34"/>
                  </a:lnTo>
                  <a:lnTo>
                    <a:pt x="109" y="32"/>
                  </a:lnTo>
                  <a:lnTo>
                    <a:pt x="107" y="30"/>
                  </a:lnTo>
                  <a:lnTo>
                    <a:pt x="102" y="28"/>
                  </a:lnTo>
                  <a:lnTo>
                    <a:pt x="102" y="23"/>
                  </a:lnTo>
                  <a:lnTo>
                    <a:pt x="98" y="19"/>
                  </a:lnTo>
                  <a:lnTo>
                    <a:pt x="98" y="17"/>
                  </a:lnTo>
                  <a:lnTo>
                    <a:pt x="96" y="13"/>
                  </a:lnTo>
                  <a:lnTo>
                    <a:pt x="94" y="11"/>
                  </a:lnTo>
                  <a:lnTo>
                    <a:pt x="94" y="8"/>
                  </a:lnTo>
                  <a:lnTo>
                    <a:pt x="92" y="8"/>
                  </a:lnTo>
                  <a:lnTo>
                    <a:pt x="90" y="2"/>
                  </a:lnTo>
                  <a:lnTo>
                    <a:pt x="88" y="0"/>
                  </a:lnTo>
                  <a:lnTo>
                    <a:pt x="85" y="4"/>
                  </a:lnTo>
                  <a:lnTo>
                    <a:pt x="81" y="6"/>
                  </a:lnTo>
                  <a:lnTo>
                    <a:pt x="77" y="8"/>
                  </a:lnTo>
                  <a:lnTo>
                    <a:pt x="75" y="8"/>
                  </a:lnTo>
                  <a:lnTo>
                    <a:pt x="66" y="8"/>
                  </a:lnTo>
                  <a:lnTo>
                    <a:pt x="64" y="9"/>
                  </a:lnTo>
                  <a:lnTo>
                    <a:pt x="60" y="9"/>
                  </a:lnTo>
                  <a:lnTo>
                    <a:pt x="58" y="9"/>
                  </a:lnTo>
                  <a:lnTo>
                    <a:pt x="56" y="9"/>
                  </a:lnTo>
                  <a:lnTo>
                    <a:pt x="53" y="11"/>
                  </a:lnTo>
                  <a:lnTo>
                    <a:pt x="53" y="13"/>
                  </a:lnTo>
                  <a:lnTo>
                    <a:pt x="51" y="13"/>
                  </a:lnTo>
                  <a:lnTo>
                    <a:pt x="47" y="13"/>
                  </a:lnTo>
                  <a:lnTo>
                    <a:pt x="47" y="11"/>
                  </a:lnTo>
                  <a:lnTo>
                    <a:pt x="43" y="9"/>
                  </a:lnTo>
                  <a:lnTo>
                    <a:pt x="40" y="11"/>
                  </a:lnTo>
                  <a:lnTo>
                    <a:pt x="34" y="9"/>
                  </a:lnTo>
                  <a:lnTo>
                    <a:pt x="30" y="8"/>
                  </a:lnTo>
                  <a:lnTo>
                    <a:pt x="28" y="9"/>
                  </a:lnTo>
                  <a:lnTo>
                    <a:pt x="28" y="11"/>
                  </a:lnTo>
                  <a:lnTo>
                    <a:pt x="28" y="13"/>
                  </a:lnTo>
                  <a:lnTo>
                    <a:pt x="28" y="13"/>
                  </a:lnTo>
                  <a:lnTo>
                    <a:pt x="28" y="13"/>
                  </a:lnTo>
                  <a:lnTo>
                    <a:pt x="28" y="17"/>
                  </a:lnTo>
                  <a:lnTo>
                    <a:pt x="26" y="19"/>
                  </a:lnTo>
                  <a:lnTo>
                    <a:pt x="26" y="24"/>
                  </a:lnTo>
                  <a:lnTo>
                    <a:pt x="24" y="32"/>
                  </a:lnTo>
                  <a:lnTo>
                    <a:pt x="24" y="36"/>
                  </a:lnTo>
                  <a:lnTo>
                    <a:pt x="26" y="38"/>
                  </a:lnTo>
                  <a:lnTo>
                    <a:pt x="28" y="38"/>
                  </a:lnTo>
                  <a:lnTo>
                    <a:pt x="30" y="41"/>
                  </a:lnTo>
                  <a:lnTo>
                    <a:pt x="30" y="43"/>
                  </a:lnTo>
                  <a:lnTo>
                    <a:pt x="21" y="57"/>
                  </a:lnTo>
                  <a:lnTo>
                    <a:pt x="15" y="62"/>
                  </a:lnTo>
                  <a:lnTo>
                    <a:pt x="13" y="66"/>
                  </a:lnTo>
                  <a:lnTo>
                    <a:pt x="6" y="79"/>
                  </a:lnTo>
                  <a:lnTo>
                    <a:pt x="4" y="81"/>
                  </a:lnTo>
                  <a:lnTo>
                    <a:pt x="4" y="87"/>
                  </a:lnTo>
                  <a:lnTo>
                    <a:pt x="4" y="92"/>
                  </a:lnTo>
                  <a:lnTo>
                    <a:pt x="0" y="100"/>
                  </a:lnTo>
                  <a:lnTo>
                    <a:pt x="2" y="104"/>
                  </a:lnTo>
                  <a:lnTo>
                    <a:pt x="0" y="105"/>
                  </a:lnTo>
                  <a:lnTo>
                    <a:pt x="2" y="105"/>
                  </a:lnTo>
                  <a:lnTo>
                    <a:pt x="4" y="104"/>
                  </a:lnTo>
                  <a:lnTo>
                    <a:pt x="6" y="102"/>
                  </a:lnTo>
                  <a:lnTo>
                    <a:pt x="9" y="104"/>
                  </a:lnTo>
                  <a:lnTo>
                    <a:pt x="11" y="104"/>
                  </a:lnTo>
                  <a:lnTo>
                    <a:pt x="15" y="104"/>
                  </a:lnTo>
                  <a:lnTo>
                    <a:pt x="15" y="104"/>
                  </a:lnTo>
                  <a:lnTo>
                    <a:pt x="15" y="100"/>
                  </a:lnTo>
                  <a:lnTo>
                    <a:pt x="19" y="100"/>
                  </a:lnTo>
                  <a:lnTo>
                    <a:pt x="21" y="100"/>
                  </a:lnTo>
                  <a:lnTo>
                    <a:pt x="21" y="100"/>
                  </a:lnTo>
                  <a:lnTo>
                    <a:pt x="21" y="100"/>
                  </a:lnTo>
                  <a:lnTo>
                    <a:pt x="24" y="100"/>
                  </a:lnTo>
                  <a:lnTo>
                    <a:pt x="40" y="100"/>
                  </a:lnTo>
                  <a:lnTo>
                    <a:pt x="40" y="100"/>
                  </a:lnTo>
                  <a:lnTo>
                    <a:pt x="55" y="100"/>
                  </a:lnTo>
                  <a:lnTo>
                    <a:pt x="79" y="96"/>
                  </a:lnTo>
                  <a:lnTo>
                    <a:pt x="85" y="79"/>
                  </a:lnTo>
                  <a:lnTo>
                    <a:pt x="85" y="79"/>
                  </a:lnTo>
                  <a:lnTo>
                    <a:pt x="85" y="79"/>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4" name="Freeform 107">
              <a:extLst>
                <a:ext uri="{FF2B5EF4-FFF2-40B4-BE49-F238E27FC236}">
                  <a16:creationId xmlns:a16="http://schemas.microsoft.com/office/drawing/2014/main" id="{909A42B9-C564-4DB4-ABA2-E2BDC07F8755}"/>
                </a:ext>
              </a:extLst>
            </p:cNvPr>
            <p:cNvSpPr>
              <a:spLocks/>
            </p:cNvSpPr>
            <p:nvPr/>
          </p:nvSpPr>
          <p:spPr bwMode="auto">
            <a:xfrm>
              <a:off x="3048" y="2892"/>
              <a:ext cx="243" cy="164"/>
            </a:xfrm>
            <a:custGeom>
              <a:avLst/>
              <a:gdLst/>
              <a:ahLst/>
              <a:cxnLst>
                <a:cxn ang="0">
                  <a:pos x="155" y="8"/>
                </a:cxn>
                <a:cxn ang="0">
                  <a:pos x="168" y="25"/>
                </a:cxn>
                <a:cxn ang="0">
                  <a:pos x="164" y="38"/>
                </a:cxn>
                <a:cxn ang="0">
                  <a:pos x="173" y="43"/>
                </a:cxn>
                <a:cxn ang="0">
                  <a:pos x="181" y="51"/>
                </a:cxn>
                <a:cxn ang="0">
                  <a:pos x="194" y="57"/>
                </a:cxn>
                <a:cxn ang="0">
                  <a:pos x="203" y="64"/>
                </a:cxn>
                <a:cxn ang="0">
                  <a:pos x="198" y="72"/>
                </a:cxn>
                <a:cxn ang="0">
                  <a:pos x="209" y="77"/>
                </a:cxn>
                <a:cxn ang="0">
                  <a:pos x="220" y="87"/>
                </a:cxn>
                <a:cxn ang="0">
                  <a:pos x="224" y="96"/>
                </a:cxn>
                <a:cxn ang="0">
                  <a:pos x="235" y="104"/>
                </a:cxn>
                <a:cxn ang="0">
                  <a:pos x="243" y="117"/>
                </a:cxn>
                <a:cxn ang="0">
                  <a:pos x="235" y="111"/>
                </a:cxn>
                <a:cxn ang="0">
                  <a:pos x="217" y="113"/>
                </a:cxn>
                <a:cxn ang="0">
                  <a:pos x="207" y="111"/>
                </a:cxn>
                <a:cxn ang="0">
                  <a:pos x="203" y="111"/>
                </a:cxn>
                <a:cxn ang="0">
                  <a:pos x="192" y="117"/>
                </a:cxn>
                <a:cxn ang="0">
                  <a:pos x="185" y="117"/>
                </a:cxn>
                <a:cxn ang="0">
                  <a:pos x="173" y="119"/>
                </a:cxn>
                <a:cxn ang="0">
                  <a:pos x="160" y="121"/>
                </a:cxn>
                <a:cxn ang="0">
                  <a:pos x="147" y="126"/>
                </a:cxn>
                <a:cxn ang="0">
                  <a:pos x="141" y="132"/>
                </a:cxn>
                <a:cxn ang="0">
                  <a:pos x="130" y="128"/>
                </a:cxn>
                <a:cxn ang="0">
                  <a:pos x="117" y="126"/>
                </a:cxn>
                <a:cxn ang="0">
                  <a:pos x="106" y="121"/>
                </a:cxn>
                <a:cxn ang="0">
                  <a:pos x="92" y="113"/>
                </a:cxn>
                <a:cxn ang="0">
                  <a:pos x="85" y="117"/>
                </a:cxn>
                <a:cxn ang="0">
                  <a:pos x="81" y="126"/>
                </a:cxn>
                <a:cxn ang="0">
                  <a:pos x="79" y="134"/>
                </a:cxn>
                <a:cxn ang="0">
                  <a:pos x="75" y="141"/>
                </a:cxn>
                <a:cxn ang="0">
                  <a:pos x="66" y="138"/>
                </a:cxn>
                <a:cxn ang="0">
                  <a:pos x="51" y="141"/>
                </a:cxn>
                <a:cxn ang="0">
                  <a:pos x="32" y="164"/>
                </a:cxn>
                <a:cxn ang="0">
                  <a:pos x="30" y="155"/>
                </a:cxn>
                <a:cxn ang="0">
                  <a:pos x="15" y="138"/>
                </a:cxn>
                <a:cxn ang="0">
                  <a:pos x="4" y="124"/>
                </a:cxn>
                <a:cxn ang="0">
                  <a:pos x="2" y="104"/>
                </a:cxn>
                <a:cxn ang="0">
                  <a:pos x="4" y="92"/>
                </a:cxn>
                <a:cxn ang="0">
                  <a:pos x="15" y="72"/>
                </a:cxn>
                <a:cxn ang="0">
                  <a:pos x="23" y="68"/>
                </a:cxn>
                <a:cxn ang="0">
                  <a:pos x="34" y="68"/>
                </a:cxn>
                <a:cxn ang="0">
                  <a:pos x="42" y="62"/>
                </a:cxn>
                <a:cxn ang="0">
                  <a:pos x="51" y="64"/>
                </a:cxn>
                <a:cxn ang="0">
                  <a:pos x="79" y="55"/>
                </a:cxn>
                <a:cxn ang="0">
                  <a:pos x="85" y="47"/>
                </a:cxn>
                <a:cxn ang="0">
                  <a:pos x="87" y="38"/>
                </a:cxn>
                <a:cxn ang="0">
                  <a:pos x="104" y="38"/>
                </a:cxn>
                <a:cxn ang="0">
                  <a:pos x="117" y="32"/>
                </a:cxn>
                <a:cxn ang="0">
                  <a:pos x="121" y="21"/>
                </a:cxn>
                <a:cxn ang="0">
                  <a:pos x="130" y="13"/>
                </a:cxn>
                <a:cxn ang="0">
                  <a:pos x="138" y="4"/>
                </a:cxn>
                <a:cxn ang="0">
                  <a:pos x="151" y="2"/>
                </a:cxn>
              </a:cxnLst>
              <a:rect l="0" t="0" r="r" b="b"/>
              <a:pathLst>
                <a:path w="243" h="164">
                  <a:moveTo>
                    <a:pt x="155" y="0"/>
                  </a:moveTo>
                  <a:lnTo>
                    <a:pt x="155" y="2"/>
                  </a:lnTo>
                  <a:lnTo>
                    <a:pt x="155" y="4"/>
                  </a:lnTo>
                  <a:lnTo>
                    <a:pt x="155" y="8"/>
                  </a:lnTo>
                  <a:lnTo>
                    <a:pt x="160" y="8"/>
                  </a:lnTo>
                  <a:lnTo>
                    <a:pt x="160" y="10"/>
                  </a:lnTo>
                  <a:lnTo>
                    <a:pt x="164" y="17"/>
                  </a:lnTo>
                  <a:lnTo>
                    <a:pt x="168" y="25"/>
                  </a:lnTo>
                  <a:lnTo>
                    <a:pt x="168" y="28"/>
                  </a:lnTo>
                  <a:lnTo>
                    <a:pt x="168" y="32"/>
                  </a:lnTo>
                  <a:lnTo>
                    <a:pt x="166" y="34"/>
                  </a:lnTo>
                  <a:lnTo>
                    <a:pt x="164" y="38"/>
                  </a:lnTo>
                  <a:lnTo>
                    <a:pt x="166" y="43"/>
                  </a:lnTo>
                  <a:lnTo>
                    <a:pt x="168" y="43"/>
                  </a:lnTo>
                  <a:lnTo>
                    <a:pt x="173" y="47"/>
                  </a:lnTo>
                  <a:lnTo>
                    <a:pt x="173" y="43"/>
                  </a:lnTo>
                  <a:lnTo>
                    <a:pt x="181" y="43"/>
                  </a:lnTo>
                  <a:lnTo>
                    <a:pt x="181" y="43"/>
                  </a:lnTo>
                  <a:lnTo>
                    <a:pt x="181" y="47"/>
                  </a:lnTo>
                  <a:lnTo>
                    <a:pt x="181" y="51"/>
                  </a:lnTo>
                  <a:lnTo>
                    <a:pt x="185" y="53"/>
                  </a:lnTo>
                  <a:lnTo>
                    <a:pt x="187" y="55"/>
                  </a:lnTo>
                  <a:lnTo>
                    <a:pt x="190" y="55"/>
                  </a:lnTo>
                  <a:lnTo>
                    <a:pt x="194" y="57"/>
                  </a:lnTo>
                  <a:lnTo>
                    <a:pt x="194" y="60"/>
                  </a:lnTo>
                  <a:lnTo>
                    <a:pt x="198" y="62"/>
                  </a:lnTo>
                  <a:lnTo>
                    <a:pt x="202" y="62"/>
                  </a:lnTo>
                  <a:lnTo>
                    <a:pt x="203" y="64"/>
                  </a:lnTo>
                  <a:lnTo>
                    <a:pt x="203" y="66"/>
                  </a:lnTo>
                  <a:lnTo>
                    <a:pt x="200" y="68"/>
                  </a:lnTo>
                  <a:lnTo>
                    <a:pt x="200" y="68"/>
                  </a:lnTo>
                  <a:lnTo>
                    <a:pt x="198" y="72"/>
                  </a:lnTo>
                  <a:lnTo>
                    <a:pt x="202" y="74"/>
                  </a:lnTo>
                  <a:lnTo>
                    <a:pt x="205" y="77"/>
                  </a:lnTo>
                  <a:lnTo>
                    <a:pt x="207" y="74"/>
                  </a:lnTo>
                  <a:lnTo>
                    <a:pt x="209" y="77"/>
                  </a:lnTo>
                  <a:lnTo>
                    <a:pt x="211" y="77"/>
                  </a:lnTo>
                  <a:lnTo>
                    <a:pt x="217" y="79"/>
                  </a:lnTo>
                  <a:lnTo>
                    <a:pt x="217" y="81"/>
                  </a:lnTo>
                  <a:lnTo>
                    <a:pt x="220" y="87"/>
                  </a:lnTo>
                  <a:lnTo>
                    <a:pt x="220" y="89"/>
                  </a:lnTo>
                  <a:lnTo>
                    <a:pt x="224" y="91"/>
                  </a:lnTo>
                  <a:lnTo>
                    <a:pt x="224" y="92"/>
                  </a:lnTo>
                  <a:lnTo>
                    <a:pt x="224" y="96"/>
                  </a:lnTo>
                  <a:lnTo>
                    <a:pt x="226" y="98"/>
                  </a:lnTo>
                  <a:lnTo>
                    <a:pt x="234" y="100"/>
                  </a:lnTo>
                  <a:lnTo>
                    <a:pt x="235" y="102"/>
                  </a:lnTo>
                  <a:lnTo>
                    <a:pt x="235" y="104"/>
                  </a:lnTo>
                  <a:lnTo>
                    <a:pt x="235" y="108"/>
                  </a:lnTo>
                  <a:lnTo>
                    <a:pt x="239" y="111"/>
                  </a:lnTo>
                  <a:lnTo>
                    <a:pt x="241" y="111"/>
                  </a:lnTo>
                  <a:lnTo>
                    <a:pt x="243" y="117"/>
                  </a:lnTo>
                  <a:lnTo>
                    <a:pt x="243" y="117"/>
                  </a:lnTo>
                  <a:lnTo>
                    <a:pt x="243" y="117"/>
                  </a:lnTo>
                  <a:lnTo>
                    <a:pt x="239" y="113"/>
                  </a:lnTo>
                  <a:lnTo>
                    <a:pt x="235" y="111"/>
                  </a:lnTo>
                  <a:lnTo>
                    <a:pt x="228" y="117"/>
                  </a:lnTo>
                  <a:lnTo>
                    <a:pt x="228" y="117"/>
                  </a:lnTo>
                  <a:lnTo>
                    <a:pt x="220" y="117"/>
                  </a:lnTo>
                  <a:lnTo>
                    <a:pt x="217" y="113"/>
                  </a:lnTo>
                  <a:lnTo>
                    <a:pt x="215" y="111"/>
                  </a:lnTo>
                  <a:lnTo>
                    <a:pt x="215" y="111"/>
                  </a:lnTo>
                  <a:lnTo>
                    <a:pt x="211" y="111"/>
                  </a:lnTo>
                  <a:lnTo>
                    <a:pt x="207" y="111"/>
                  </a:lnTo>
                  <a:lnTo>
                    <a:pt x="205" y="111"/>
                  </a:lnTo>
                  <a:lnTo>
                    <a:pt x="203" y="111"/>
                  </a:lnTo>
                  <a:lnTo>
                    <a:pt x="203" y="111"/>
                  </a:lnTo>
                  <a:lnTo>
                    <a:pt x="203" y="111"/>
                  </a:lnTo>
                  <a:lnTo>
                    <a:pt x="202" y="117"/>
                  </a:lnTo>
                  <a:lnTo>
                    <a:pt x="200" y="117"/>
                  </a:lnTo>
                  <a:lnTo>
                    <a:pt x="196" y="117"/>
                  </a:lnTo>
                  <a:lnTo>
                    <a:pt x="192" y="117"/>
                  </a:lnTo>
                  <a:lnTo>
                    <a:pt x="190" y="119"/>
                  </a:lnTo>
                  <a:lnTo>
                    <a:pt x="187" y="119"/>
                  </a:lnTo>
                  <a:lnTo>
                    <a:pt x="187" y="117"/>
                  </a:lnTo>
                  <a:lnTo>
                    <a:pt x="185" y="117"/>
                  </a:lnTo>
                  <a:lnTo>
                    <a:pt x="185" y="113"/>
                  </a:lnTo>
                  <a:lnTo>
                    <a:pt x="185" y="113"/>
                  </a:lnTo>
                  <a:lnTo>
                    <a:pt x="175" y="117"/>
                  </a:lnTo>
                  <a:lnTo>
                    <a:pt x="173" y="119"/>
                  </a:lnTo>
                  <a:lnTo>
                    <a:pt x="171" y="121"/>
                  </a:lnTo>
                  <a:lnTo>
                    <a:pt x="162" y="121"/>
                  </a:lnTo>
                  <a:lnTo>
                    <a:pt x="160" y="123"/>
                  </a:lnTo>
                  <a:lnTo>
                    <a:pt x="160" y="121"/>
                  </a:lnTo>
                  <a:lnTo>
                    <a:pt x="155" y="119"/>
                  </a:lnTo>
                  <a:lnTo>
                    <a:pt x="151" y="119"/>
                  </a:lnTo>
                  <a:lnTo>
                    <a:pt x="149" y="123"/>
                  </a:lnTo>
                  <a:lnTo>
                    <a:pt x="147" y="126"/>
                  </a:lnTo>
                  <a:lnTo>
                    <a:pt x="147" y="128"/>
                  </a:lnTo>
                  <a:lnTo>
                    <a:pt x="149" y="130"/>
                  </a:lnTo>
                  <a:lnTo>
                    <a:pt x="147" y="132"/>
                  </a:lnTo>
                  <a:lnTo>
                    <a:pt x="141" y="132"/>
                  </a:lnTo>
                  <a:lnTo>
                    <a:pt x="141" y="132"/>
                  </a:lnTo>
                  <a:lnTo>
                    <a:pt x="138" y="130"/>
                  </a:lnTo>
                  <a:lnTo>
                    <a:pt x="134" y="128"/>
                  </a:lnTo>
                  <a:lnTo>
                    <a:pt x="130" y="128"/>
                  </a:lnTo>
                  <a:lnTo>
                    <a:pt x="128" y="130"/>
                  </a:lnTo>
                  <a:lnTo>
                    <a:pt x="124" y="130"/>
                  </a:lnTo>
                  <a:lnTo>
                    <a:pt x="121" y="130"/>
                  </a:lnTo>
                  <a:lnTo>
                    <a:pt x="117" y="126"/>
                  </a:lnTo>
                  <a:lnTo>
                    <a:pt x="111" y="128"/>
                  </a:lnTo>
                  <a:lnTo>
                    <a:pt x="111" y="126"/>
                  </a:lnTo>
                  <a:lnTo>
                    <a:pt x="107" y="123"/>
                  </a:lnTo>
                  <a:lnTo>
                    <a:pt x="106" y="121"/>
                  </a:lnTo>
                  <a:lnTo>
                    <a:pt x="98" y="117"/>
                  </a:lnTo>
                  <a:lnTo>
                    <a:pt x="96" y="117"/>
                  </a:lnTo>
                  <a:lnTo>
                    <a:pt x="94" y="113"/>
                  </a:lnTo>
                  <a:lnTo>
                    <a:pt x="92" y="113"/>
                  </a:lnTo>
                  <a:lnTo>
                    <a:pt x="91" y="117"/>
                  </a:lnTo>
                  <a:lnTo>
                    <a:pt x="91" y="117"/>
                  </a:lnTo>
                  <a:lnTo>
                    <a:pt x="87" y="117"/>
                  </a:lnTo>
                  <a:lnTo>
                    <a:pt x="85" y="117"/>
                  </a:lnTo>
                  <a:lnTo>
                    <a:pt x="81" y="119"/>
                  </a:lnTo>
                  <a:lnTo>
                    <a:pt x="81" y="121"/>
                  </a:lnTo>
                  <a:lnTo>
                    <a:pt x="81" y="124"/>
                  </a:lnTo>
                  <a:lnTo>
                    <a:pt x="81" y="126"/>
                  </a:lnTo>
                  <a:lnTo>
                    <a:pt x="79" y="128"/>
                  </a:lnTo>
                  <a:lnTo>
                    <a:pt x="77" y="128"/>
                  </a:lnTo>
                  <a:lnTo>
                    <a:pt x="77" y="130"/>
                  </a:lnTo>
                  <a:lnTo>
                    <a:pt x="79" y="134"/>
                  </a:lnTo>
                  <a:lnTo>
                    <a:pt x="77" y="136"/>
                  </a:lnTo>
                  <a:lnTo>
                    <a:pt x="77" y="138"/>
                  </a:lnTo>
                  <a:lnTo>
                    <a:pt x="77" y="141"/>
                  </a:lnTo>
                  <a:lnTo>
                    <a:pt x="75" y="141"/>
                  </a:lnTo>
                  <a:lnTo>
                    <a:pt x="74" y="141"/>
                  </a:lnTo>
                  <a:lnTo>
                    <a:pt x="70" y="141"/>
                  </a:lnTo>
                  <a:lnTo>
                    <a:pt x="68" y="138"/>
                  </a:lnTo>
                  <a:lnTo>
                    <a:pt x="66" y="138"/>
                  </a:lnTo>
                  <a:lnTo>
                    <a:pt x="62" y="138"/>
                  </a:lnTo>
                  <a:lnTo>
                    <a:pt x="60" y="141"/>
                  </a:lnTo>
                  <a:lnTo>
                    <a:pt x="57" y="138"/>
                  </a:lnTo>
                  <a:lnTo>
                    <a:pt x="51" y="141"/>
                  </a:lnTo>
                  <a:lnTo>
                    <a:pt x="47" y="143"/>
                  </a:lnTo>
                  <a:lnTo>
                    <a:pt x="45" y="147"/>
                  </a:lnTo>
                  <a:lnTo>
                    <a:pt x="40" y="149"/>
                  </a:lnTo>
                  <a:lnTo>
                    <a:pt x="32" y="164"/>
                  </a:lnTo>
                  <a:lnTo>
                    <a:pt x="30" y="164"/>
                  </a:lnTo>
                  <a:lnTo>
                    <a:pt x="30" y="162"/>
                  </a:lnTo>
                  <a:lnTo>
                    <a:pt x="30" y="160"/>
                  </a:lnTo>
                  <a:lnTo>
                    <a:pt x="30" y="155"/>
                  </a:lnTo>
                  <a:lnTo>
                    <a:pt x="23" y="151"/>
                  </a:lnTo>
                  <a:lnTo>
                    <a:pt x="21" y="149"/>
                  </a:lnTo>
                  <a:lnTo>
                    <a:pt x="21" y="143"/>
                  </a:lnTo>
                  <a:lnTo>
                    <a:pt x="15" y="138"/>
                  </a:lnTo>
                  <a:lnTo>
                    <a:pt x="11" y="134"/>
                  </a:lnTo>
                  <a:lnTo>
                    <a:pt x="11" y="128"/>
                  </a:lnTo>
                  <a:lnTo>
                    <a:pt x="6" y="126"/>
                  </a:lnTo>
                  <a:lnTo>
                    <a:pt x="4" y="124"/>
                  </a:lnTo>
                  <a:lnTo>
                    <a:pt x="4" y="117"/>
                  </a:lnTo>
                  <a:lnTo>
                    <a:pt x="2" y="113"/>
                  </a:lnTo>
                  <a:lnTo>
                    <a:pt x="2" y="108"/>
                  </a:lnTo>
                  <a:lnTo>
                    <a:pt x="2" y="104"/>
                  </a:lnTo>
                  <a:lnTo>
                    <a:pt x="0" y="100"/>
                  </a:lnTo>
                  <a:lnTo>
                    <a:pt x="0" y="94"/>
                  </a:lnTo>
                  <a:lnTo>
                    <a:pt x="2" y="92"/>
                  </a:lnTo>
                  <a:lnTo>
                    <a:pt x="4" y="92"/>
                  </a:lnTo>
                  <a:lnTo>
                    <a:pt x="8" y="87"/>
                  </a:lnTo>
                  <a:lnTo>
                    <a:pt x="10" y="81"/>
                  </a:lnTo>
                  <a:lnTo>
                    <a:pt x="11" y="77"/>
                  </a:lnTo>
                  <a:lnTo>
                    <a:pt x="15" y="72"/>
                  </a:lnTo>
                  <a:lnTo>
                    <a:pt x="17" y="72"/>
                  </a:lnTo>
                  <a:lnTo>
                    <a:pt x="21" y="66"/>
                  </a:lnTo>
                  <a:lnTo>
                    <a:pt x="21" y="64"/>
                  </a:lnTo>
                  <a:lnTo>
                    <a:pt x="23" y="68"/>
                  </a:lnTo>
                  <a:lnTo>
                    <a:pt x="23" y="72"/>
                  </a:lnTo>
                  <a:lnTo>
                    <a:pt x="27" y="72"/>
                  </a:lnTo>
                  <a:lnTo>
                    <a:pt x="30" y="68"/>
                  </a:lnTo>
                  <a:lnTo>
                    <a:pt x="34" y="68"/>
                  </a:lnTo>
                  <a:lnTo>
                    <a:pt x="38" y="66"/>
                  </a:lnTo>
                  <a:lnTo>
                    <a:pt x="38" y="62"/>
                  </a:lnTo>
                  <a:lnTo>
                    <a:pt x="40" y="60"/>
                  </a:lnTo>
                  <a:lnTo>
                    <a:pt x="42" y="62"/>
                  </a:lnTo>
                  <a:lnTo>
                    <a:pt x="43" y="66"/>
                  </a:lnTo>
                  <a:lnTo>
                    <a:pt x="45" y="68"/>
                  </a:lnTo>
                  <a:lnTo>
                    <a:pt x="47" y="68"/>
                  </a:lnTo>
                  <a:lnTo>
                    <a:pt x="51" y="64"/>
                  </a:lnTo>
                  <a:lnTo>
                    <a:pt x="57" y="60"/>
                  </a:lnTo>
                  <a:lnTo>
                    <a:pt x="62" y="59"/>
                  </a:lnTo>
                  <a:lnTo>
                    <a:pt x="74" y="55"/>
                  </a:lnTo>
                  <a:lnTo>
                    <a:pt x="79" y="55"/>
                  </a:lnTo>
                  <a:lnTo>
                    <a:pt x="81" y="53"/>
                  </a:lnTo>
                  <a:lnTo>
                    <a:pt x="87" y="49"/>
                  </a:lnTo>
                  <a:lnTo>
                    <a:pt x="87" y="47"/>
                  </a:lnTo>
                  <a:lnTo>
                    <a:pt x="85" y="47"/>
                  </a:lnTo>
                  <a:lnTo>
                    <a:pt x="81" y="43"/>
                  </a:lnTo>
                  <a:lnTo>
                    <a:pt x="81" y="38"/>
                  </a:lnTo>
                  <a:lnTo>
                    <a:pt x="85" y="38"/>
                  </a:lnTo>
                  <a:lnTo>
                    <a:pt x="87" y="38"/>
                  </a:lnTo>
                  <a:lnTo>
                    <a:pt x="91" y="38"/>
                  </a:lnTo>
                  <a:lnTo>
                    <a:pt x="92" y="38"/>
                  </a:lnTo>
                  <a:lnTo>
                    <a:pt x="98" y="42"/>
                  </a:lnTo>
                  <a:lnTo>
                    <a:pt x="104" y="38"/>
                  </a:lnTo>
                  <a:lnTo>
                    <a:pt x="111" y="38"/>
                  </a:lnTo>
                  <a:lnTo>
                    <a:pt x="115" y="34"/>
                  </a:lnTo>
                  <a:lnTo>
                    <a:pt x="117" y="34"/>
                  </a:lnTo>
                  <a:lnTo>
                    <a:pt x="117" y="32"/>
                  </a:lnTo>
                  <a:lnTo>
                    <a:pt x="117" y="28"/>
                  </a:lnTo>
                  <a:lnTo>
                    <a:pt x="117" y="25"/>
                  </a:lnTo>
                  <a:lnTo>
                    <a:pt x="121" y="23"/>
                  </a:lnTo>
                  <a:lnTo>
                    <a:pt x="121" y="21"/>
                  </a:lnTo>
                  <a:lnTo>
                    <a:pt x="123" y="17"/>
                  </a:lnTo>
                  <a:lnTo>
                    <a:pt x="124" y="19"/>
                  </a:lnTo>
                  <a:lnTo>
                    <a:pt x="126" y="19"/>
                  </a:lnTo>
                  <a:lnTo>
                    <a:pt x="130" y="13"/>
                  </a:lnTo>
                  <a:lnTo>
                    <a:pt x="132" y="13"/>
                  </a:lnTo>
                  <a:lnTo>
                    <a:pt x="132" y="10"/>
                  </a:lnTo>
                  <a:lnTo>
                    <a:pt x="132" y="8"/>
                  </a:lnTo>
                  <a:lnTo>
                    <a:pt x="138" y="4"/>
                  </a:lnTo>
                  <a:lnTo>
                    <a:pt x="141" y="2"/>
                  </a:lnTo>
                  <a:lnTo>
                    <a:pt x="145" y="2"/>
                  </a:lnTo>
                  <a:lnTo>
                    <a:pt x="149" y="4"/>
                  </a:lnTo>
                  <a:lnTo>
                    <a:pt x="151" y="2"/>
                  </a:lnTo>
                  <a:lnTo>
                    <a:pt x="155" y="0"/>
                  </a:lnTo>
                  <a:lnTo>
                    <a:pt x="155" y="0"/>
                  </a:lnTo>
                  <a:lnTo>
                    <a:pt x="155" y="0"/>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5" name="Freeform 108">
              <a:extLst>
                <a:ext uri="{FF2B5EF4-FFF2-40B4-BE49-F238E27FC236}">
                  <a16:creationId xmlns:a16="http://schemas.microsoft.com/office/drawing/2014/main" id="{7B495E12-DD3C-4376-9729-71ACF5164763}"/>
                </a:ext>
              </a:extLst>
            </p:cNvPr>
            <p:cNvSpPr>
              <a:spLocks/>
            </p:cNvSpPr>
            <p:nvPr/>
          </p:nvSpPr>
          <p:spPr bwMode="auto">
            <a:xfrm>
              <a:off x="2948" y="2463"/>
              <a:ext cx="285" cy="265"/>
            </a:xfrm>
            <a:custGeom>
              <a:avLst/>
              <a:gdLst/>
              <a:ahLst/>
              <a:cxnLst>
                <a:cxn ang="0">
                  <a:pos x="285" y="258"/>
                </a:cxn>
                <a:cxn ang="0">
                  <a:pos x="271" y="62"/>
                </a:cxn>
                <a:cxn ang="0">
                  <a:pos x="277" y="47"/>
                </a:cxn>
                <a:cxn ang="0">
                  <a:pos x="277" y="30"/>
                </a:cxn>
                <a:cxn ang="0">
                  <a:pos x="271" y="20"/>
                </a:cxn>
                <a:cxn ang="0">
                  <a:pos x="253" y="19"/>
                </a:cxn>
                <a:cxn ang="0">
                  <a:pos x="239" y="13"/>
                </a:cxn>
                <a:cxn ang="0">
                  <a:pos x="234" y="5"/>
                </a:cxn>
                <a:cxn ang="0">
                  <a:pos x="223" y="3"/>
                </a:cxn>
                <a:cxn ang="0">
                  <a:pos x="213" y="3"/>
                </a:cxn>
                <a:cxn ang="0">
                  <a:pos x="192" y="11"/>
                </a:cxn>
                <a:cxn ang="0">
                  <a:pos x="183" y="20"/>
                </a:cxn>
                <a:cxn ang="0">
                  <a:pos x="189" y="43"/>
                </a:cxn>
                <a:cxn ang="0">
                  <a:pos x="181" y="54"/>
                </a:cxn>
                <a:cxn ang="0">
                  <a:pos x="164" y="58"/>
                </a:cxn>
                <a:cxn ang="0">
                  <a:pos x="143" y="43"/>
                </a:cxn>
                <a:cxn ang="0">
                  <a:pos x="121" y="39"/>
                </a:cxn>
                <a:cxn ang="0">
                  <a:pos x="102" y="24"/>
                </a:cxn>
                <a:cxn ang="0">
                  <a:pos x="85" y="11"/>
                </a:cxn>
                <a:cxn ang="0">
                  <a:pos x="64" y="3"/>
                </a:cxn>
                <a:cxn ang="0">
                  <a:pos x="40" y="3"/>
                </a:cxn>
                <a:cxn ang="0">
                  <a:pos x="36" y="9"/>
                </a:cxn>
                <a:cxn ang="0">
                  <a:pos x="21" y="22"/>
                </a:cxn>
                <a:cxn ang="0">
                  <a:pos x="15" y="30"/>
                </a:cxn>
                <a:cxn ang="0">
                  <a:pos x="12" y="37"/>
                </a:cxn>
                <a:cxn ang="0">
                  <a:pos x="12" y="49"/>
                </a:cxn>
                <a:cxn ang="0">
                  <a:pos x="8" y="54"/>
                </a:cxn>
                <a:cxn ang="0">
                  <a:pos x="2" y="56"/>
                </a:cxn>
                <a:cxn ang="0">
                  <a:pos x="0" y="64"/>
                </a:cxn>
                <a:cxn ang="0">
                  <a:pos x="6" y="83"/>
                </a:cxn>
                <a:cxn ang="0">
                  <a:pos x="6" y="101"/>
                </a:cxn>
                <a:cxn ang="0">
                  <a:pos x="6" y="116"/>
                </a:cxn>
                <a:cxn ang="0">
                  <a:pos x="6" y="130"/>
                </a:cxn>
                <a:cxn ang="0">
                  <a:pos x="0" y="137"/>
                </a:cxn>
                <a:cxn ang="0">
                  <a:pos x="12" y="152"/>
                </a:cxn>
                <a:cxn ang="0">
                  <a:pos x="12" y="162"/>
                </a:cxn>
                <a:cxn ang="0">
                  <a:pos x="15" y="171"/>
                </a:cxn>
                <a:cxn ang="0">
                  <a:pos x="32" y="175"/>
                </a:cxn>
                <a:cxn ang="0">
                  <a:pos x="40" y="188"/>
                </a:cxn>
                <a:cxn ang="0">
                  <a:pos x="47" y="196"/>
                </a:cxn>
                <a:cxn ang="0">
                  <a:pos x="119" y="190"/>
                </a:cxn>
                <a:cxn ang="0">
                  <a:pos x="268" y="265"/>
                </a:cxn>
              </a:cxnLst>
              <a:rect l="0" t="0" r="r" b="b"/>
              <a:pathLst>
                <a:path w="285" h="265">
                  <a:moveTo>
                    <a:pt x="268" y="265"/>
                  </a:moveTo>
                  <a:lnTo>
                    <a:pt x="268" y="258"/>
                  </a:lnTo>
                  <a:lnTo>
                    <a:pt x="285" y="258"/>
                  </a:lnTo>
                  <a:lnTo>
                    <a:pt x="277" y="77"/>
                  </a:lnTo>
                  <a:lnTo>
                    <a:pt x="275" y="67"/>
                  </a:lnTo>
                  <a:lnTo>
                    <a:pt x="271" y="62"/>
                  </a:lnTo>
                  <a:lnTo>
                    <a:pt x="275" y="56"/>
                  </a:lnTo>
                  <a:lnTo>
                    <a:pt x="277" y="49"/>
                  </a:lnTo>
                  <a:lnTo>
                    <a:pt x="277" y="47"/>
                  </a:lnTo>
                  <a:lnTo>
                    <a:pt x="275" y="39"/>
                  </a:lnTo>
                  <a:lnTo>
                    <a:pt x="277" y="32"/>
                  </a:lnTo>
                  <a:lnTo>
                    <a:pt x="277" y="30"/>
                  </a:lnTo>
                  <a:lnTo>
                    <a:pt x="275" y="24"/>
                  </a:lnTo>
                  <a:lnTo>
                    <a:pt x="275" y="20"/>
                  </a:lnTo>
                  <a:lnTo>
                    <a:pt x="271" y="20"/>
                  </a:lnTo>
                  <a:lnTo>
                    <a:pt x="268" y="20"/>
                  </a:lnTo>
                  <a:lnTo>
                    <a:pt x="255" y="19"/>
                  </a:lnTo>
                  <a:lnTo>
                    <a:pt x="253" y="19"/>
                  </a:lnTo>
                  <a:lnTo>
                    <a:pt x="247" y="19"/>
                  </a:lnTo>
                  <a:lnTo>
                    <a:pt x="241" y="15"/>
                  </a:lnTo>
                  <a:lnTo>
                    <a:pt x="239" y="13"/>
                  </a:lnTo>
                  <a:lnTo>
                    <a:pt x="241" y="13"/>
                  </a:lnTo>
                  <a:lnTo>
                    <a:pt x="241" y="11"/>
                  </a:lnTo>
                  <a:lnTo>
                    <a:pt x="234" y="5"/>
                  </a:lnTo>
                  <a:lnTo>
                    <a:pt x="228" y="5"/>
                  </a:lnTo>
                  <a:lnTo>
                    <a:pt x="223" y="3"/>
                  </a:lnTo>
                  <a:lnTo>
                    <a:pt x="223" y="3"/>
                  </a:lnTo>
                  <a:lnTo>
                    <a:pt x="219" y="5"/>
                  </a:lnTo>
                  <a:lnTo>
                    <a:pt x="217" y="3"/>
                  </a:lnTo>
                  <a:lnTo>
                    <a:pt x="213" y="3"/>
                  </a:lnTo>
                  <a:lnTo>
                    <a:pt x="209" y="5"/>
                  </a:lnTo>
                  <a:lnTo>
                    <a:pt x="198" y="7"/>
                  </a:lnTo>
                  <a:lnTo>
                    <a:pt x="192" y="11"/>
                  </a:lnTo>
                  <a:lnTo>
                    <a:pt x="187" y="15"/>
                  </a:lnTo>
                  <a:lnTo>
                    <a:pt x="187" y="19"/>
                  </a:lnTo>
                  <a:lnTo>
                    <a:pt x="183" y="20"/>
                  </a:lnTo>
                  <a:lnTo>
                    <a:pt x="183" y="32"/>
                  </a:lnTo>
                  <a:lnTo>
                    <a:pt x="187" y="37"/>
                  </a:lnTo>
                  <a:lnTo>
                    <a:pt x="189" y="43"/>
                  </a:lnTo>
                  <a:lnTo>
                    <a:pt x="187" y="49"/>
                  </a:lnTo>
                  <a:lnTo>
                    <a:pt x="183" y="52"/>
                  </a:lnTo>
                  <a:lnTo>
                    <a:pt x="181" y="54"/>
                  </a:lnTo>
                  <a:lnTo>
                    <a:pt x="177" y="60"/>
                  </a:lnTo>
                  <a:lnTo>
                    <a:pt x="172" y="62"/>
                  </a:lnTo>
                  <a:lnTo>
                    <a:pt x="164" y="58"/>
                  </a:lnTo>
                  <a:lnTo>
                    <a:pt x="157" y="52"/>
                  </a:lnTo>
                  <a:lnTo>
                    <a:pt x="151" y="49"/>
                  </a:lnTo>
                  <a:lnTo>
                    <a:pt x="143" y="43"/>
                  </a:lnTo>
                  <a:lnTo>
                    <a:pt x="128" y="37"/>
                  </a:lnTo>
                  <a:lnTo>
                    <a:pt x="123" y="37"/>
                  </a:lnTo>
                  <a:lnTo>
                    <a:pt x="121" y="39"/>
                  </a:lnTo>
                  <a:lnTo>
                    <a:pt x="115" y="39"/>
                  </a:lnTo>
                  <a:lnTo>
                    <a:pt x="108" y="35"/>
                  </a:lnTo>
                  <a:lnTo>
                    <a:pt x="102" y="24"/>
                  </a:lnTo>
                  <a:lnTo>
                    <a:pt x="102" y="19"/>
                  </a:lnTo>
                  <a:lnTo>
                    <a:pt x="96" y="13"/>
                  </a:lnTo>
                  <a:lnTo>
                    <a:pt x="85" y="11"/>
                  </a:lnTo>
                  <a:lnTo>
                    <a:pt x="79" y="7"/>
                  </a:lnTo>
                  <a:lnTo>
                    <a:pt x="68" y="7"/>
                  </a:lnTo>
                  <a:lnTo>
                    <a:pt x="64" y="3"/>
                  </a:lnTo>
                  <a:lnTo>
                    <a:pt x="51" y="7"/>
                  </a:lnTo>
                  <a:lnTo>
                    <a:pt x="42" y="5"/>
                  </a:lnTo>
                  <a:lnTo>
                    <a:pt x="40" y="3"/>
                  </a:lnTo>
                  <a:lnTo>
                    <a:pt x="32" y="0"/>
                  </a:lnTo>
                  <a:lnTo>
                    <a:pt x="32" y="3"/>
                  </a:lnTo>
                  <a:lnTo>
                    <a:pt x="36" y="9"/>
                  </a:lnTo>
                  <a:lnTo>
                    <a:pt x="36" y="11"/>
                  </a:lnTo>
                  <a:lnTo>
                    <a:pt x="32" y="15"/>
                  </a:lnTo>
                  <a:lnTo>
                    <a:pt x="21" y="22"/>
                  </a:lnTo>
                  <a:lnTo>
                    <a:pt x="21" y="28"/>
                  </a:lnTo>
                  <a:lnTo>
                    <a:pt x="17" y="30"/>
                  </a:lnTo>
                  <a:lnTo>
                    <a:pt x="15" y="30"/>
                  </a:lnTo>
                  <a:lnTo>
                    <a:pt x="12" y="32"/>
                  </a:lnTo>
                  <a:lnTo>
                    <a:pt x="12" y="34"/>
                  </a:lnTo>
                  <a:lnTo>
                    <a:pt x="12" y="37"/>
                  </a:lnTo>
                  <a:lnTo>
                    <a:pt x="12" y="43"/>
                  </a:lnTo>
                  <a:lnTo>
                    <a:pt x="12" y="47"/>
                  </a:lnTo>
                  <a:lnTo>
                    <a:pt x="12" y="49"/>
                  </a:lnTo>
                  <a:lnTo>
                    <a:pt x="12" y="49"/>
                  </a:lnTo>
                  <a:lnTo>
                    <a:pt x="12" y="52"/>
                  </a:lnTo>
                  <a:lnTo>
                    <a:pt x="8" y="54"/>
                  </a:lnTo>
                  <a:lnTo>
                    <a:pt x="6" y="56"/>
                  </a:lnTo>
                  <a:lnTo>
                    <a:pt x="2" y="56"/>
                  </a:lnTo>
                  <a:lnTo>
                    <a:pt x="2" y="56"/>
                  </a:lnTo>
                  <a:lnTo>
                    <a:pt x="2" y="56"/>
                  </a:lnTo>
                  <a:lnTo>
                    <a:pt x="0" y="58"/>
                  </a:lnTo>
                  <a:lnTo>
                    <a:pt x="0" y="64"/>
                  </a:lnTo>
                  <a:lnTo>
                    <a:pt x="2" y="64"/>
                  </a:lnTo>
                  <a:lnTo>
                    <a:pt x="6" y="71"/>
                  </a:lnTo>
                  <a:lnTo>
                    <a:pt x="6" y="83"/>
                  </a:lnTo>
                  <a:lnTo>
                    <a:pt x="6" y="88"/>
                  </a:lnTo>
                  <a:lnTo>
                    <a:pt x="6" y="92"/>
                  </a:lnTo>
                  <a:lnTo>
                    <a:pt x="6" y="101"/>
                  </a:lnTo>
                  <a:lnTo>
                    <a:pt x="8" y="105"/>
                  </a:lnTo>
                  <a:lnTo>
                    <a:pt x="6" y="116"/>
                  </a:lnTo>
                  <a:lnTo>
                    <a:pt x="6" y="116"/>
                  </a:lnTo>
                  <a:lnTo>
                    <a:pt x="6" y="122"/>
                  </a:lnTo>
                  <a:lnTo>
                    <a:pt x="8" y="128"/>
                  </a:lnTo>
                  <a:lnTo>
                    <a:pt x="6" y="130"/>
                  </a:lnTo>
                  <a:lnTo>
                    <a:pt x="2" y="133"/>
                  </a:lnTo>
                  <a:lnTo>
                    <a:pt x="0" y="135"/>
                  </a:lnTo>
                  <a:lnTo>
                    <a:pt x="0" y="137"/>
                  </a:lnTo>
                  <a:lnTo>
                    <a:pt x="2" y="141"/>
                  </a:lnTo>
                  <a:lnTo>
                    <a:pt x="6" y="147"/>
                  </a:lnTo>
                  <a:lnTo>
                    <a:pt x="12" y="152"/>
                  </a:lnTo>
                  <a:lnTo>
                    <a:pt x="12" y="154"/>
                  </a:lnTo>
                  <a:lnTo>
                    <a:pt x="12" y="158"/>
                  </a:lnTo>
                  <a:lnTo>
                    <a:pt x="12" y="162"/>
                  </a:lnTo>
                  <a:lnTo>
                    <a:pt x="12" y="165"/>
                  </a:lnTo>
                  <a:lnTo>
                    <a:pt x="15" y="169"/>
                  </a:lnTo>
                  <a:lnTo>
                    <a:pt x="15" y="171"/>
                  </a:lnTo>
                  <a:lnTo>
                    <a:pt x="17" y="175"/>
                  </a:lnTo>
                  <a:lnTo>
                    <a:pt x="25" y="175"/>
                  </a:lnTo>
                  <a:lnTo>
                    <a:pt x="32" y="175"/>
                  </a:lnTo>
                  <a:lnTo>
                    <a:pt x="32" y="175"/>
                  </a:lnTo>
                  <a:lnTo>
                    <a:pt x="36" y="181"/>
                  </a:lnTo>
                  <a:lnTo>
                    <a:pt x="40" y="188"/>
                  </a:lnTo>
                  <a:lnTo>
                    <a:pt x="42" y="190"/>
                  </a:lnTo>
                  <a:lnTo>
                    <a:pt x="44" y="194"/>
                  </a:lnTo>
                  <a:lnTo>
                    <a:pt x="47" y="196"/>
                  </a:lnTo>
                  <a:lnTo>
                    <a:pt x="79" y="201"/>
                  </a:lnTo>
                  <a:lnTo>
                    <a:pt x="83" y="205"/>
                  </a:lnTo>
                  <a:lnTo>
                    <a:pt x="119" y="190"/>
                  </a:lnTo>
                  <a:lnTo>
                    <a:pt x="268" y="265"/>
                  </a:lnTo>
                  <a:lnTo>
                    <a:pt x="268" y="265"/>
                  </a:lnTo>
                  <a:lnTo>
                    <a:pt x="268" y="265"/>
                  </a:lnTo>
                  <a:lnTo>
                    <a:pt x="268" y="265"/>
                  </a:lnTo>
                  <a:lnTo>
                    <a:pt x="268" y="26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6" name="Freeform 109">
              <a:extLst>
                <a:ext uri="{FF2B5EF4-FFF2-40B4-BE49-F238E27FC236}">
                  <a16:creationId xmlns:a16="http://schemas.microsoft.com/office/drawing/2014/main" id="{D6B85700-88AE-4180-BAF6-01EE2017DF91}"/>
                </a:ext>
              </a:extLst>
            </p:cNvPr>
            <p:cNvSpPr>
              <a:spLocks noEditPoints="1"/>
            </p:cNvSpPr>
            <p:nvPr/>
          </p:nvSpPr>
          <p:spPr bwMode="auto">
            <a:xfrm>
              <a:off x="2911" y="2378"/>
              <a:ext cx="75" cy="143"/>
            </a:xfrm>
            <a:custGeom>
              <a:avLst/>
              <a:gdLst/>
              <a:ahLst/>
              <a:cxnLst>
                <a:cxn ang="0">
                  <a:pos x="41" y="143"/>
                </a:cxn>
                <a:cxn ang="0">
                  <a:pos x="47" y="141"/>
                </a:cxn>
                <a:cxn ang="0">
                  <a:pos x="49" y="136"/>
                </a:cxn>
                <a:cxn ang="0">
                  <a:pos x="51" y="134"/>
                </a:cxn>
                <a:cxn ang="0">
                  <a:pos x="49" y="124"/>
                </a:cxn>
                <a:cxn ang="0">
                  <a:pos x="49" y="119"/>
                </a:cxn>
                <a:cxn ang="0">
                  <a:pos x="56" y="117"/>
                </a:cxn>
                <a:cxn ang="0">
                  <a:pos x="60" y="109"/>
                </a:cxn>
                <a:cxn ang="0">
                  <a:pos x="75" y="96"/>
                </a:cxn>
                <a:cxn ang="0">
                  <a:pos x="71" y="88"/>
                </a:cxn>
                <a:cxn ang="0">
                  <a:pos x="71" y="87"/>
                </a:cxn>
                <a:cxn ang="0">
                  <a:pos x="66" y="81"/>
                </a:cxn>
                <a:cxn ang="0">
                  <a:pos x="62" y="77"/>
                </a:cxn>
                <a:cxn ang="0">
                  <a:pos x="60" y="79"/>
                </a:cxn>
                <a:cxn ang="0">
                  <a:pos x="56" y="79"/>
                </a:cxn>
                <a:cxn ang="0">
                  <a:pos x="52" y="77"/>
                </a:cxn>
                <a:cxn ang="0">
                  <a:pos x="45" y="66"/>
                </a:cxn>
                <a:cxn ang="0">
                  <a:pos x="56" y="56"/>
                </a:cxn>
                <a:cxn ang="0">
                  <a:pos x="62" y="49"/>
                </a:cxn>
                <a:cxn ang="0">
                  <a:pos x="64" y="45"/>
                </a:cxn>
                <a:cxn ang="0">
                  <a:pos x="60" y="41"/>
                </a:cxn>
                <a:cxn ang="0">
                  <a:pos x="54" y="32"/>
                </a:cxn>
                <a:cxn ang="0">
                  <a:pos x="51" y="21"/>
                </a:cxn>
                <a:cxn ang="0">
                  <a:pos x="56" y="17"/>
                </a:cxn>
                <a:cxn ang="0">
                  <a:pos x="60" y="7"/>
                </a:cxn>
                <a:cxn ang="0">
                  <a:pos x="51" y="11"/>
                </a:cxn>
                <a:cxn ang="0">
                  <a:pos x="47" y="11"/>
                </a:cxn>
                <a:cxn ang="0">
                  <a:pos x="41" y="6"/>
                </a:cxn>
                <a:cxn ang="0">
                  <a:pos x="39" y="0"/>
                </a:cxn>
                <a:cxn ang="0">
                  <a:pos x="36" y="4"/>
                </a:cxn>
                <a:cxn ang="0">
                  <a:pos x="30" y="2"/>
                </a:cxn>
                <a:cxn ang="0">
                  <a:pos x="19" y="7"/>
                </a:cxn>
                <a:cxn ang="0">
                  <a:pos x="17" y="11"/>
                </a:cxn>
                <a:cxn ang="0">
                  <a:pos x="17" y="21"/>
                </a:cxn>
                <a:cxn ang="0">
                  <a:pos x="13" y="32"/>
                </a:cxn>
                <a:cxn ang="0">
                  <a:pos x="17" y="41"/>
                </a:cxn>
                <a:cxn ang="0">
                  <a:pos x="17" y="45"/>
                </a:cxn>
                <a:cxn ang="0">
                  <a:pos x="17" y="49"/>
                </a:cxn>
                <a:cxn ang="0">
                  <a:pos x="15" y="58"/>
                </a:cxn>
                <a:cxn ang="0">
                  <a:pos x="9" y="62"/>
                </a:cxn>
                <a:cxn ang="0">
                  <a:pos x="5" y="66"/>
                </a:cxn>
                <a:cxn ang="0">
                  <a:pos x="2" y="77"/>
                </a:cxn>
                <a:cxn ang="0">
                  <a:pos x="5" y="85"/>
                </a:cxn>
                <a:cxn ang="0">
                  <a:pos x="9" y="88"/>
                </a:cxn>
                <a:cxn ang="0">
                  <a:pos x="15" y="96"/>
                </a:cxn>
                <a:cxn ang="0">
                  <a:pos x="20" y="100"/>
                </a:cxn>
                <a:cxn ang="0">
                  <a:pos x="30" y="105"/>
                </a:cxn>
                <a:cxn ang="0">
                  <a:pos x="39" y="143"/>
                </a:cxn>
                <a:cxn ang="0">
                  <a:pos x="39" y="143"/>
                </a:cxn>
                <a:cxn ang="0">
                  <a:pos x="58" y="71"/>
                </a:cxn>
                <a:cxn ang="0">
                  <a:pos x="62" y="75"/>
                </a:cxn>
                <a:cxn ang="0">
                  <a:pos x="56" y="75"/>
                </a:cxn>
                <a:cxn ang="0">
                  <a:pos x="56" y="75"/>
                </a:cxn>
              </a:cxnLst>
              <a:rect l="0" t="0" r="r" b="b"/>
              <a:pathLst>
                <a:path w="75" h="143">
                  <a:moveTo>
                    <a:pt x="39" y="143"/>
                  </a:moveTo>
                  <a:lnTo>
                    <a:pt x="41" y="143"/>
                  </a:lnTo>
                  <a:lnTo>
                    <a:pt x="45" y="143"/>
                  </a:lnTo>
                  <a:lnTo>
                    <a:pt x="47" y="141"/>
                  </a:lnTo>
                  <a:lnTo>
                    <a:pt x="49" y="137"/>
                  </a:lnTo>
                  <a:lnTo>
                    <a:pt x="49" y="136"/>
                  </a:lnTo>
                  <a:lnTo>
                    <a:pt x="49" y="134"/>
                  </a:lnTo>
                  <a:lnTo>
                    <a:pt x="51" y="134"/>
                  </a:lnTo>
                  <a:lnTo>
                    <a:pt x="51" y="128"/>
                  </a:lnTo>
                  <a:lnTo>
                    <a:pt x="49" y="124"/>
                  </a:lnTo>
                  <a:lnTo>
                    <a:pt x="49" y="120"/>
                  </a:lnTo>
                  <a:lnTo>
                    <a:pt x="49" y="119"/>
                  </a:lnTo>
                  <a:lnTo>
                    <a:pt x="52" y="117"/>
                  </a:lnTo>
                  <a:lnTo>
                    <a:pt x="56" y="117"/>
                  </a:lnTo>
                  <a:lnTo>
                    <a:pt x="60" y="113"/>
                  </a:lnTo>
                  <a:lnTo>
                    <a:pt x="60" y="109"/>
                  </a:lnTo>
                  <a:lnTo>
                    <a:pt x="71" y="102"/>
                  </a:lnTo>
                  <a:lnTo>
                    <a:pt x="75" y="96"/>
                  </a:lnTo>
                  <a:lnTo>
                    <a:pt x="75" y="96"/>
                  </a:lnTo>
                  <a:lnTo>
                    <a:pt x="71" y="88"/>
                  </a:lnTo>
                  <a:lnTo>
                    <a:pt x="71" y="87"/>
                  </a:lnTo>
                  <a:lnTo>
                    <a:pt x="71" y="87"/>
                  </a:lnTo>
                  <a:lnTo>
                    <a:pt x="66" y="83"/>
                  </a:lnTo>
                  <a:lnTo>
                    <a:pt x="66" y="81"/>
                  </a:lnTo>
                  <a:lnTo>
                    <a:pt x="66" y="77"/>
                  </a:lnTo>
                  <a:lnTo>
                    <a:pt x="62" y="77"/>
                  </a:lnTo>
                  <a:lnTo>
                    <a:pt x="60" y="77"/>
                  </a:lnTo>
                  <a:lnTo>
                    <a:pt x="60" y="79"/>
                  </a:lnTo>
                  <a:lnTo>
                    <a:pt x="60" y="79"/>
                  </a:lnTo>
                  <a:lnTo>
                    <a:pt x="56" y="79"/>
                  </a:lnTo>
                  <a:lnTo>
                    <a:pt x="56" y="75"/>
                  </a:lnTo>
                  <a:lnTo>
                    <a:pt x="52" y="77"/>
                  </a:lnTo>
                  <a:lnTo>
                    <a:pt x="47" y="71"/>
                  </a:lnTo>
                  <a:lnTo>
                    <a:pt x="45" y="66"/>
                  </a:lnTo>
                  <a:lnTo>
                    <a:pt x="45" y="62"/>
                  </a:lnTo>
                  <a:lnTo>
                    <a:pt x="56" y="56"/>
                  </a:lnTo>
                  <a:lnTo>
                    <a:pt x="62" y="49"/>
                  </a:lnTo>
                  <a:lnTo>
                    <a:pt x="62" y="49"/>
                  </a:lnTo>
                  <a:lnTo>
                    <a:pt x="60" y="45"/>
                  </a:lnTo>
                  <a:lnTo>
                    <a:pt x="64" y="45"/>
                  </a:lnTo>
                  <a:lnTo>
                    <a:pt x="62" y="41"/>
                  </a:lnTo>
                  <a:lnTo>
                    <a:pt x="60" y="41"/>
                  </a:lnTo>
                  <a:lnTo>
                    <a:pt x="60" y="36"/>
                  </a:lnTo>
                  <a:lnTo>
                    <a:pt x="54" y="32"/>
                  </a:lnTo>
                  <a:lnTo>
                    <a:pt x="51" y="26"/>
                  </a:lnTo>
                  <a:lnTo>
                    <a:pt x="51" y="21"/>
                  </a:lnTo>
                  <a:lnTo>
                    <a:pt x="56" y="21"/>
                  </a:lnTo>
                  <a:lnTo>
                    <a:pt x="56" y="17"/>
                  </a:lnTo>
                  <a:lnTo>
                    <a:pt x="60" y="11"/>
                  </a:lnTo>
                  <a:lnTo>
                    <a:pt x="60" y="7"/>
                  </a:lnTo>
                  <a:lnTo>
                    <a:pt x="58" y="6"/>
                  </a:lnTo>
                  <a:lnTo>
                    <a:pt x="51" y="11"/>
                  </a:lnTo>
                  <a:lnTo>
                    <a:pt x="49" y="13"/>
                  </a:lnTo>
                  <a:lnTo>
                    <a:pt x="47" y="11"/>
                  </a:lnTo>
                  <a:lnTo>
                    <a:pt x="45" y="6"/>
                  </a:lnTo>
                  <a:lnTo>
                    <a:pt x="41" y="6"/>
                  </a:lnTo>
                  <a:lnTo>
                    <a:pt x="45" y="2"/>
                  </a:lnTo>
                  <a:lnTo>
                    <a:pt x="39" y="0"/>
                  </a:lnTo>
                  <a:lnTo>
                    <a:pt x="36" y="0"/>
                  </a:lnTo>
                  <a:lnTo>
                    <a:pt x="36" y="4"/>
                  </a:lnTo>
                  <a:lnTo>
                    <a:pt x="36" y="0"/>
                  </a:lnTo>
                  <a:lnTo>
                    <a:pt x="30" y="2"/>
                  </a:lnTo>
                  <a:lnTo>
                    <a:pt x="22" y="6"/>
                  </a:lnTo>
                  <a:lnTo>
                    <a:pt x="19" y="7"/>
                  </a:lnTo>
                  <a:lnTo>
                    <a:pt x="19" y="7"/>
                  </a:lnTo>
                  <a:lnTo>
                    <a:pt x="17" y="11"/>
                  </a:lnTo>
                  <a:lnTo>
                    <a:pt x="19" y="13"/>
                  </a:lnTo>
                  <a:lnTo>
                    <a:pt x="17" y="21"/>
                  </a:lnTo>
                  <a:lnTo>
                    <a:pt x="17" y="24"/>
                  </a:lnTo>
                  <a:lnTo>
                    <a:pt x="13" y="32"/>
                  </a:lnTo>
                  <a:lnTo>
                    <a:pt x="15" y="39"/>
                  </a:lnTo>
                  <a:lnTo>
                    <a:pt x="17" y="41"/>
                  </a:lnTo>
                  <a:lnTo>
                    <a:pt x="19" y="41"/>
                  </a:lnTo>
                  <a:lnTo>
                    <a:pt x="17" y="45"/>
                  </a:lnTo>
                  <a:lnTo>
                    <a:pt x="15" y="45"/>
                  </a:lnTo>
                  <a:lnTo>
                    <a:pt x="17" y="49"/>
                  </a:lnTo>
                  <a:lnTo>
                    <a:pt x="15" y="51"/>
                  </a:lnTo>
                  <a:lnTo>
                    <a:pt x="15" y="58"/>
                  </a:lnTo>
                  <a:lnTo>
                    <a:pt x="11" y="60"/>
                  </a:lnTo>
                  <a:lnTo>
                    <a:pt x="9" y="62"/>
                  </a:lnTo>
                  <a:lnTo>
                    <a:pt x="9" y="62"/>
                  </a:lnTo>
                  <a:lnTo>
                    <a:pt x="5" y="66"/>
                  </a:lnTo>
                  <a:lnTo>
                    <a:pt x="0" y="75"/>
                  </a:lnTo>
                  <a:lnTo>
                    <a:pt x="2" y="77"/>
                  </a:lnTo>
                  <a:lnTo>
                    <a:pt x="5" y="81"/>
                  </a:lnTo>
                  <a:lnTo>
                    <a:pt x="5" y="85"/>
                  </a:lnTo>
                  <a:lnTo>
                    <a:pt x="5" y="88"/>
                  </a:lnTo>
                  <a:lnTo>
                    <a:pt x="9" y="88"/>
                  </a:lnTo>
                  <a:lnTo>
                    <a:pt x="13" y="90"/>
                  </a:lnTo>
                  <a:lnTo>
                    <a:pt x="15" y="96"/>
                  </a:lnTo>
                  <a:lnTo>
                    <a:pt x="19" y="100"/>
                  </a:lnTo>
                  <a:lnTo>
                    <a:pt x="20" y="100"/>
                  </a:lnTo>
                  <a:lnTo>
                    <a:pt x="24" y="102"/>
                  </a:lnTo>
                  <a:lnTo>
                    <a:pt x="30" y="105"/>
                  </a:lnTo>
                  <a:lnTo>
                    <a:pt x="39" y="143"/>
                  </a:lnTo>
                  <a:lnTo>
                    <a:pt x="39" y="143"/>
                  </a:lnTo>
                  <a:lnTo>
                    <a:pt x="39" y="143"/>
                  </a:lnTo>
                  <a:lnTo>
                    <a:pt x="39" y="143"/>
                  </a:lnTo>
                  <a:close/>
                  <a:moveTo>
                    <a:pt x="56" y="75"/>
                  </a:moveTo>
                  <a:lnTo>
                    <a:pt x="58" y="71"/>
                  </a:lnTo>
                  <a:lnTo>
                    <a:pt x="62" y="71"/>
                  </a:lnTo>
                  <a:lnTo>
                    <a:pt x="62" y="75"/>
                  </a:lnTo>
                  <a:lnTo>
                    <a:pt x="60" y="75"/>
                  </a:lnTo>
                  <a:lnTo>
                    <a:pt x="56" y="75"/>
                  </a:lnTo>
                  <a:lnTo>
                    <a:pt x="56" y="75"/>
                  </a:lnTo>
                  <a:lnTo>
                    <a:pt x="56"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7" name="Freeform 110">
              <a:extLst>
                <a:ext uri="{FF2B5EF4-FFF2-40B4-BE49-F238E27FC236}">
                  <a16:creationId xmlns:a16="http://schemas.microsoft.com/office/drawing/2014/main" id="{16970878-F57F-4562-8D74-173D4C4C0D7D}"/>
                </a:ext>
              </a:extLst>
            </p:cNvPr>
            <p:cNvSpPr>
              <a:spLocks/>
            </p:cNvSpPr>
            <p:nvPr/>
          </p:nvSpPr>
          <p:spPr bwMode="auto">
            <a:xfrm>
              <a:off x="2627" y="2384"/>
              <a:ext cx="368" cy="354"/>
            </a:xfrm>
            <a:custGeom>
              <a:avLst/>
              <a:gdLst/>
              <a:ahLst/>
              <a:cxnLst>
                <a:cxn ang="0">
                  <a:pos x="363" y="269"/>
                </a:cxn>
                <a:cxn ang="0">
                  <a:pos x="355" y="254"/>
                </a:cxn>
                <a:cxn ang="0">
                  <a:pos x="338" y="254"/>
                </a:cxn>
                <a:cxn ang="0">
                  <a:pos x="335" y="244"/>
                </a:cxn>
                <a:cxn ang="0">
                  <a:pos x="333" y="235"/>
                </a:cxn>
                <a:cxn ang="0">
                  <a:pos x="323" y="220"/>
                </a:cxn>
                <a:cxn ang="0">
                  <a:pos x="323" y="212"/>
                </a:cxn>
                <a:cxn ang="0">
                  <a:pos x="329" y="201"/>
                </a:cxn>
                <a:cxn ang="0">
                  <a:pos x="331" y="186"/>
                </a:cxn>
                <a:cxn ang="0">
                  <a:pos x="327" y="169"/>
                </a:cxn>
                <a:cxn ang="0">
                  <a:pos x="323" y="145"/>
                </a:cxn>
                <a:cxn ang="0">
                  <a:pos x="323" y="137"/>
                </a:cxn>
                <a:cxn ang="0">
                  <a:pos x="304" y="94"/>
                </a:cxn>
                <a:cxn ang="0">
                  <a:pos x="297" y="84"/>
                </a:cxn>
                <a:cxn ang="0">
                  <a:pos x="289" y="79"/>
                </a:cxn>
                <a:cxn ang="0">
                  <a:pos x="286" y="69"/>
                </a:cxn>
                <a:cxn ang="0">
                  <a:pos x="293" y="54"/>
                </a:cxn>
                <a:cxn ang="0">
                  <a:pos x="299" y="45"/>
                </a:cxn>
                <a:cxn ang="0">
                  <a:pos x="301" y="39"/>
                </a:cxn>
                <a:cxn ang="0">
                  <a:pos x="299" y="33"/>
                </a:cxn>
                <a:cxn ang="0">
                  <a:pos x="301" y="15"/>
                </a:cxn>
                <a:cxn ang="0">
                  <a:pos x="303" y="1"/>
                </a:cxn>
                <a:cxn ang="0">
                  <a:pos x="293" y="1"/>
                </a:cxn>
                <a:cxn ang="0">
                  <a:pos x="276" y="0"/>
                </a:cxn>
                <a:cxn ang="0">
                  <a:pos x="269" y="1"/>
                </a:cxn>
                <a:cxn ang="0">
                  <a:pos x="259" y="0"/>
                </a:cxn>
                <a:cxn ang="0">
                  <a:pos x="254" y="5"/>
                </a:cxn>
                <a:cxn ang="0">
                  <a:pos x="244" y="7"/>
                </a:cxn>
                <a:cxn ang="0">
                  <a:pos x="231" y="1"/>
                </a:cxn>
                <a:cxn ang="0">
                  <a:pos x="222" y="1"/>
                </a:cxn>
                <a:cxn ang="0">
                  <a:pos x="214" y="1"/>
                </a:cxn>
                <a:cxn ang="0">
                  <a:pos x="207" y="5"/>
                </a:cxn>
                <a:cxn ang="0">
                  <a:pos x="193" y="7"/>
                </a:cxn>
                <a:cxn ang="0">
                  <a:pos x="176" y="7"/>
                </a:cxn>
                <a:cxn ang="0">
                  <a:pos x="161" y="17"/>
                </a:cxn>
                <a:cxn ang="0">
                  <a:pos x="156" y="24"/>
                </a:cxn>
                <a:cxn ang="0">
                  <a:pos x="150" y="24"/>
                </a:cxn>
                <a:cxn ang="0">
                  <a:pos x="141" y="26"/>
                </a:cxn>
                <a:cxn ang="0">
                  <a:pos x="133" y="33"/>
                </a:cxn>
                <a:cxn ang="0">
                  <a:pos x="118" y="39"/>
                </a:cxn>
                <a:cxn ang="0">
                  <a:pos x="124" y="47"/>
                </a:cxn>
                <a:cxn ang="0">
                  <a:pos x="124" y="58"/>
                </a:cxn>
                <a:cxn ang="0">
                  <a:pos x="128" y="79"/>
                </a:cxn>
                <a:cxn ang="0">
                  <a:pos x="133" y="90"/>
                </a:cxn>
                <a:cxn ang="0">
                  <a:pos x="139" y="92"/>
                </a:cxn>
                <a:cxn ang="0">
                  <a:pos x="135" y="103"/>
                </a:cxn>
                <a:cxn ang="0">
                  <a:pos x="103" y="113"/>
                </a:cxn>
                <a:cxn ang="0">
                  <a:pos x="97" y="124"/>
                </a:cxn>
                <a:cxn ang="0">
                  <a:pos x="65" y="148"/>
                </a:cxn>
                <a:cxn ang="0">
                  <a:pos x="35" y="158"/>
                </a:cxn>
                <a:cxn ang="0">
                  <a:pos x="18" y="162"/>
                </a:cxn>
                <a:cxn ang="0">
                  <a:pos x="0" y="177"/>
                </a:cxn>
                <a:cxn ang="0">
                  <a:pos x="0" y="195"/>
                </a:cxn>
                <a:cxn ang="0">
                  <a:pos x="67" y="241"/>
                </a:cxn>
                <a:cxn ang="0">
                  <a:pos x="188" y="327"/>
                </a:cxn>
                <a:cxn ang="0">
                  <a:pos x="205" y="333"/>
                </a:cxn>
                <a:cxn ang="0">
                  <a:pos x="216" y="342"/>
                </a:cxn>
                <a:cxn ang="0">
                  <a:pos x="214" y="354"/>
                </a:cxn>
                <a:cxn ang="0">
                  <a:pos x="235" y="352"/>
                </a:cxn>
                <a:cxn ang="0">
                  <a:pos x="263" y="346"/>
                </a:cxn>
                <a:cxn ang="0">
                  <a:pos x="368" y="275"/>
                </a:cxn>
              </a:cxnLst>
              <a:rect l="0" t="0" r="r" b="b"/>
              <a:pathLst>
                <a:path w="368" h="354">
                  <a:moveTo>
                    <a:pt x="368" y="275"/>
                  </a:moveTo>
                  <a:lnTo>
                    <a:pt x="367" y="273"/>
                  </a:lnTo>
                  <a:lnTo>
                    <a:pt x="363" y="269"/>
                  </a:lnTo>
                  <a:lnTo>
                    <a:pt x="363" y="267"/>
                  </a:lnTo>
                  <a:lnTo>
                    <a:pt x="359" y="260"/>
                  </a:lnTo>
                  <a:lnTo>
                    <a:pt x="355" y="254"/>
                  </a:lnTo>
                  <a:lnTo>
                    <a:pt x="353" y="254"/>
                  </a:lnTo>
                  <a:lnTo>
                    <a:pt x="348" y="254"/>
                  </a:lnTo>
                  <a:lnTo>
                    <a:pt x="338" y="254"/>
                  </a:lnTo>
                  <a:lnTo>
                    <a:pt x="336" y="250"/>
                  </a:lnTo>
                  <a:lnTo>
                    <a:pt x="336" y="248"/>
                  </a:lnTo>
                  <a:lnTo>
                    <a:pt x="335" y="244"/>
                  </a:lnTo>
                  <a:lnTo>
                    <a:pt x="333" y="241"/>
                  </a:lnTo>
                  <a:lnTo>
                    <a:pt x="335" y="237"/>
                  </a:lnTo>
                  <a:lnTo>
                    <a:pt x="333" y="235"/>
                  </a:lnTo>
                  <a:lnTo>
                    <a:pt x="333" y="231"/>
                  </a:lnTo>
                  <a:lnTo>
                    <a:pt x="329" y="226"/>
                  </a:lnTo>
                  <a:lnTo>
                    <a:pt x="323" y="220"/>
                  </a:lnTo>
                  <a:lnTo>
                    <a:pt x="321" y="216"/>
                  </a:lnTo>
                  <a:lnTo>
                    <a:pt x="321" y="214"/>
                  </a:lnTo>
                  <a:lnTo>
                    <a:pt x="323" y="212"/>
                  </a:lnTo>
                  <a:lnTo>
                    <a:pt x="329" y="211"/>
                  </a:lnTo>
                  <a:lnTo>
                    <a:pt x="331" y="207"/>
                  </a:lnTo>
                  <a:lnTo>
                    <a:pt x="329" y="201"/>
                  </a:lnTo>
                  <a:lnTo>
                    <a:pt x="327" y="197"/>
                  </a:lnTo>
                  <a:lnTo>
                    <a:pt x="329" y="195"/>
                  </a:lnTo>
                  <a:lnTo>
                    <a:pt x="331" y="186"/>
                  </a:lnTo>
                  <a:lnTo>
                    <a:pt x="327" y="180"/>
                  </a:lnTo>
                  <a:lnTo>
                    <a:pt x="327" y="171"/>
                  </a:lnTo>
                  <a:lnTo>
                    <a:pt x="327" y="169"/>
                  </a:lnTo>
                  <a:lnTo>
                    <a:pt x="327" y="162"/>
                  </a:lnTo>
                  <a:lnTo>
                    <a:pt x="327" y="150"/>
                  </a:lnTo>
                  <a:lnTo>
                    <a:pt x="323" y="145"/>
                  </a:lnTo>
                  <a:lnTo>
                    <a:pt x="321" y="145"/>
                  </a:lnTo>
                  <a:lnTo>
                    <a:pt x="321" y="137"/>
                  </a:lnTo>
                  <a:lnTo>
                    <a:pt x="323" y="137"/>
                  </a:lnTo>
                  <a:lnTo>
                    <a:pt x="314" y="99"/>
                  </a:lnTo>
                  <a:lnTo>
                    <a:pt x="308" y="96"/>
                  </a:lnTo>
                  <a:lnTo>
                    <a:pt x="304" y="94"/>
                  </a:lnTo>
                  <a:lnTo>
                    <a:pt x="303" y="92"/>
                  </a:lnTo>
                  <a:lnTo>
                    <a:pt x="299" y="90"/>
                  </a:lnTo>
                  <a:lnTo>
                    <a:pt x="297" y="84"/>
                  </a:lnTo>
                  <a:lnTo>
                    <a:pt x="293" y="82"/>
                  </a:lnTo>
                  <a:lnTo>
                    <a:pt x="289" y="82"/>
                  </a:lnTo>
                  <a:lnTo>
                    <a:pt x="289" y="79"/>
                  </a:lnTo>
                  <a:lnTo>
                    <a:pt x="289" y="75"/>
                  </a:lnTo>
                  <a:lnTo>
                    <a:pt x="286" y="71"/>
                  </a:lnTo>
                  <a:lnTo>
                    <a:pt x="286" y="69"/>
                  </a:lnTo>
                  <a:lnTo>
                    <a:pt x="289" y="60"/>
                  </a:lnTo>
                  <a:lnTo>
                    <a:pt x="293" y="54"/>
                  </a:lnTo>
                  <a:lnTo>
                    <a:pt x="293" y="54"/>
                  </a:lnTo>
                  <a:lnTo>
                    <a:pt x="295" y="54"/>
                  </a:lnTo>
                  <a:lnTo>
                    <a:pt x="299" y="50"/>
                  </a:lnTo>
                  <a:lnTo>
                    <a:pt x="299" y="45"/>
                  </a:lnTo>
                  <a:lnTo>
                    <a:pt x="301" y="43"/>
                  </a:lnTo>
                  <a:lnTo>
                    <a:pt x="299" y="39"/>
                  </a:lnTo>
                  <a:lnTo>
                    <a:pt x="301" y="39"/>
                  </a:lnTo>
                  <a:lnTo>
                    <a:pt x="303" y="35"/>
                  </a:lnTo>
                  <a:lnTo>
                    <a:pt x="301" y="35"/>
                  </a:lnTo>
                  <a:lnTo>
                    <a:pt x="299" y="33"/>
                  </a:lnTo>
                  <a:lnTo>
                    <a:pt x="297" y="26"/>
                  </a:lnTo>
                  <a:lnTo>
                    <a:pt x="301" y="18"/>
                  </a:lnTo>
                  <a:lnTo>
                    <a:pt x="301" y="15"/>
                  </a:lnTo>
                  <a:lnTo>
                    <a:pt x="303" y="7"/>
                  </a:lnTo>
                  <a:lnTo>
                    <a:pt x="301" y="5"/>
                  </a:lnTo>
                  <a:lnTo>
                    <a:pt x="303" y="1"/>
                  </a:lnTo>
                  <a:lnTo>
                    <a:pt x="301" y="1"/>
                  </a:lnTo>
                  <a:lnTo>
                    <a:pt x="295" y="1"/>
                  </a:lnTo>
                  <a:lnTo>
                    <a:pt x="293" y="1"/>
                  </a:lnTo>
                  <a:lnTo>
                    <a:pt x="286" y="5"/>
                  </a:lnTo>
                  <a:lnTo>
                    <a:pt x="280" y="1"/>
                  </a:lnTo>
                  <a:lnTo>
                    <a:pt x="276" y="0"/>
                  </a:lnTo>
                  <a:lnTo>
                    <a:pt x="276" y="1"/>
                  </a:lnTo>
                  <a:lnTo>
                    <a:pt x="272" y="5"/>
                  </a:lnTo>
                  <a:lnTo>
                    <a:pt x="269" y="1"/>
                  </a:lnTo>
                  <a:lnTo>
                    <a:pt x="265" y="1"/>
                  </a:lnTo>
                  <a:lnTo>
                    <a:pt x="263" y="0"/>
                  </a:lnTo>
                  <a:lnTo>
                    <a:pt x="259" y="0"/>
                  </a:lnTo>
                  <a:lnTo>
                    <a:pt x="259" y="1"/>
                  </a:lnTo>
                  <a:lnTo>
                    <a:pt x="256" y="1"/>
                  </a:lnTo>
                  <a:lnTo>
                    <a:pt x="254" y="5"/>
                  </a:lnTo>
                  <a:lnTo>
                    <a:pt x="252" y="5"/>
                  </a:lnTo>
                  <a:lnTo>
                    <a:pt x="248" y="5"/>
                  </a:lnTo>
                  <a:lnTo>
                    <a:pt x="244" y="7"/>
                  </a:lnTo>
                  <a:lnTo>
                    <a:pt x="240" y="7"/>
                  </a:lnTo>
                  <a:lnTo>
                    <a:pt x="237" y="5"/>
                  </a:lnTo>
                  <a:lnTo>
                    <a:pt x="231" y="1"/>
                  </a:lnTo>
                  <a:lnTo>
                    <a:pt x="231" y="1"/>
                  </a:lnTo>
                  <a:lnTo>
                    <a:pt x="225" y="5"/>
                  </a:lnTo>
                  <a:lnTo>
                    <a:pt x="222" y="1"/>
                  </a:lnTo>
                  <a:lnTo>
                    <a:pt x="220" y="1"/>
                  </a:lnTo>
                  <a:lnTo>
                    <a:pt x="216" y="1"/>
                  </a:lnTo>
                  <a:lnTo>
                    <a:pt x="214" y="1"/>
                  </a:lnTo>
                  <a:lnTo>
                    <a:pt x="212" y="5"/>
                  </a:lnTo>
                  <a:lnTo>
                    <a:pt x="210" y="5"/>
                  </a:lnTo>
                  <a:lnTo>
                    <a:pt x="207" y="5"/>
                  </a:lnTo>
                  <a:lnTo>
                    <a:pt x="201" y="11"/>
                  </a:lnTo>
                  <a:lnTo>
                    <a:pt x="197" y="11"/>
                  </a:lnTo>
                  <a:lnTo>
                    <a:pt x="193" y="7"/>
                  </a:lnTo>
                  <a:lnTo>
                    <a:pt x="190" y="7"/>
                  </a:lnTo>
                  <a:lnTo>
                    <a:pt x="182" y="11"/>
                  </a:lnTo>
                  <a:lnTo>
                    <a:pt x="176" y="7"/>
                  </a:lnTo>
                  <a:lnTo>
                    <a:pt x="169" y="15"/>
                  </a:lnTo>
                  <a:lnTo>
                    <a:pt x="163" y="17"/>
                  </a:lnTo>
                  <a:lnTo>
                    <a:pt x="161" y="17"/>
                  </a:lnTo>
                  <a:lnTo>
                    <a:pt x="156" y="18"/>
                  </a:lnTo>
                  <a:lnTo>
                    <a:pt x="156" y="22"/>
                  </a:lnTo>
                  <a:lnTo>
                    <a:pt x="156" y="24"/>
                  </a:lnTo>
                  <a:lnTo>
                    <a:pt x="152" y="24"/>
                  </a:lnTo>
                  <a:lnTo>
                    <a:pt x="152" y="24"/>
                  </a:lnTo>
                  <a:lnTo>
                    <a:pt x="150" y="24"/>
                  </a:lnTo>
                  <a:lnTo>
                    <a:pt x="148" y="26"/>
                  </a:lnTo>
                  <a:lnTo>
                    <a:pt x="146" y="26"/>
                  </a:lnTo>
                  <a:lnTo>
                    <a:pt x="141" y="26"/>
                  </a:lnTo>
                  <a:lnTo>
                    <a:pt x="135" y="30"/>
                  </a:lnTo>
                  <a:lnTo>
                    <a:pt x="133" y="30"/>
                  </a:lnTo>
                  <a:lnTo>
                    <a:pt x="133" y="33"/>
                  </a:lnTo>
                  <a:lnTo>
                    <a:pt x="131" y="39"/>
                  </a:lnTo>
                  <a:lnTo>
                    <a:pt x="124" y="39"/>
                  </a:lnTo>
                  <a:lnTo>
                    <a:pt x="118" y="39"/>
                  </a:lnTo>
                  <a:lnTo>
                    <a:pt x="122" y="41"/>
                  </a:lnTo>
                  <a:lnTo>
                    <a:pt x="122" y="43"/>
                  </a:lnTo>
                  <a:lnTo>
                    <a:pt x="124" y="47"/>
                  </a:lnTo>
                  <a:lnTo>
                    <a:pt x="124" y="50"/>
                  </a:lnTo>
                  <a:lnTo>
                    <a:pt x="124" y="50"/>
                  </a:lnTo>
                  <a:lnTo>
                    <a:pt x="124" y="58"/>
                  </a:lnTo>
                  <a:lnTo>
                    <a:pt x="124" y="64"/>
                  </a:lnTo>
                  <a:lnTo>
                    <a:pt x="124" y="65"/>
                  </a:lnTo>
                  <a:lnTo>
                    <a:pt x="128" y="79"/>
                  </a:lnTo>
                  <a:lnTo>
                    <a:pt x="131" y="84"/>
                  </a:lnTo>
                  <a:lnTo>
                    <a:pt x="131" y="88"/>
                  </a:lnTo>
                  <a:lnTo>
                    <a:pt x="133" y="90"/>
                  </a:lnTo>
                  <a:lnTo>
                    <a:pt x="135" y="92"/>
                  </a:lnTo>
                  <a:lnTo>
                    <a:pt x="137" y="92"/>
                  </a:lnTo>
                  <a:lnTo>
                    <a:pt x="139" y="92"/>
                  </a:lnTo>
                  <a:lnTo>
                    <a:pt x="137" y="98"/>
                  </a:lnTo>
                  <a:lnTo>
                    <a:pt x="137" y="99"/>
                  </a:lnTo>
                  <a:lnTo>
                    <a:pt x="135" y="103"/>
                  </a:lnTo>
                  <a:lnTo>
                    <a:pt x="112" y="103"/>
                  </a:lnTo>
                  <a:lnTo>
                    <a:pt x="109" y="103"/>
                  </a:lnTo>
                  <a:lnTo>
                    <a:pt x="103" y="113"/>
                  </a:lnTo>
                  <a:lnTo>
                    <a:pt x="99" y="113"/>
                  </a:lnTo>
                  <a:lnTo>
                    <a:pt x="97" y="118"/>
                  </a:lnTo>
                  <a:lnTo>
                    <a:pt x="97" y="124"/>
                  </a:lnTo>
                  <a:lnTo>
                    <a:pt x="97" y="128"/>
                  </a:lnTo>
                  <a:lnTo>
                    <a:pt x="84" y="137"/>
                  </a:lnTo>
                  <a:lnTo>
                    <a:pt x="65" y="148"/>
                  </a:lnTo>
                  <a:lnTo>
                    <a:pt x="48" y="158"/>
                  </a:lnTo>
                  <a:lnTo>
                    <a:pt x="43" y="158"/>
                  </a:lnTo>
                  <a:lnTo>
                    <a:pt x="35" y="158"/>
                  </a:lnTo>
                  <a:lnTo>
                    <a:pt x="32" y="158"/>
                  </a:lnTo>
                  <a:lnTo>
                    <a:pt x="26" y="158"/>
                  </a:lnTo>
                  <a:lnTo>
                    <a:pt x="18" y="162"/>
                  </a:lnTo>
                  <a:lnTo>
                    <a:pt x="13" y="163"/>
                  </a:lnTo>
                  <a:lnTo>
                    <a:pt x="9" y="169"/>
                  </a:lnTo>
                  <a:lnTo>
                    <a:pt x="0" y="177"/>
                  </a:lnTo>
                  <a:lnTo>
                    <a:pt x="0" y="190"/>
                  </a:lnTo>
                  <a:lnTo>
                    <a:pt x="0" y="192"/>
                  </a:lnTo>
                  <a:lnTo>
                    <a:pt x="0" y="195"/>
                  </a:lnTo>
                  <a:lnTo>
                    <a:pt x="0" y="197"/>
                  </a:lnTo>
                  <a:lnTo>
                    <a:pt x="0" y="195"/>
                  </a:lnTo>
                  <a:lnTo>
                    <a:pt x="67" y="241"/>
                  </a:lnTo>
                  <a:lnTo>
                    <a:pt x="67" y="241"/>
                  </a:lnTo>
                  <a:lnTo>
                    <a:pt x="186" y="320"/>
                  </a:lnTo>
                  <a:lnTo>
                    <a:pt x="188" y="327"/>
                  </a:lnTo>
                  <a:lnTo>
                    <a:pt x="192" y="333"/>
                  </a:lnTo>
                  <a:lnTo>
                    <a:pt x="199" y="333"/>
                  </a:lnTo>
                  <a:lnTo>
                    <a:pt x="205" y="333"/>
                  </a:lnTo>
                  <a:lnTo>
                    <a:pt x="207" y="339"/>
                  </a:lnTo>
                  <a:lnTo>
                    <a:pt x="212" y="339"/>
                  </a:lnTo>
                  <a:lnTo>
                    <a:pt x="216" y="342"/>
                  </a:lnTo>
                  <a:lnTo>
                    <a:pt x="216" y="346"/>
                  </a:lnTo>
                  <a:lnTo>
                    <a:pt x="214" y="352"/>
                  </a:lnTo>
                  <a:lnTo>
                    <a:pt x="214" y="354"/>
                  </a:lnTo>
                  <a:lnTo>
                    <a:pt x="220" y="354"/>
                  </a:lnTo>
                  <a:lnTo>
                    <a:pt x="229" y="354"/>
                  </a:lnTo>
                  <a:lnTo>
                    <a:pt x="235" y="352"/>
                  </a:lnTo>
                  <a:lnTo>
                    <a:pt x="235" y="352"/>
                  </a:lnTo>
                  <a:lnTo>
                    <a:pt x="235" y="352"/>
                  </a:lnTo>
                  <a:lnTo>
                    <a:pt x="263" y="346"/>
                  </a:lnTo>
                  <a:lnTo>
                    <a:pt x="286" y="324"/>
                  </a:lnTo>
                  <a:lnTo>
                    <a:pt x="368" y="275"/>
                  </a:lnTo>
                  <a:lnTo>
                    <a:pt x="368" y="275"/>
                  </a:lnTo>
                  <a:lnTo>
                    <a:pt x="368" y="275"/>
                  </a:lnTo>
                  <a:lnTo>
                    <a:pt x="368" y="27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8" name="Freeform 111">
              <a:extLst>
                <a:ext uri="{FF2B5EF4-FFF2-40B4-BE49-F238E27FC236}">
                  <a16:creationId xmlns:a16="http://schemas.microsoft.com/office/drawing/2014/main" id="{C7D8C913-2DE6-4B7D-B50B-53ABE7FA64D5}"/>
                </a:ext>
              </a:extLst>
            </p:cNvPr>
            <p:cNvSpPr>
              <a:spLocks/>
            </p:cNvSpPr>
            <p:nvPr/>
          </p:nvSpPr>
          <p:spPr bwMode="auto">
            <a:xfrm>
              <a:off x="2474" y="2579"/>
              <a:ext cx="222" cy="243"/>
            </a:xfrm>
            <a:custGeom>
              <a:avLst/>
              <a:gdLst/>
              <a:ahLst/>
              <a:cxnLst>
                <a:cxn ang="0">
                  <a:pos x="75" y="117"/>
                </a:cxn>
                <a:cxn ang="0">
                  <a:pos x="77" y="80"/>
                </a:cxn>
                <a:cxn ang="0">
                  <a:pos x="87" y="76"/>
                </a:cxn>
                <a:cxn ang="0">
                  <a:pos x="94" y="27"/>
                </a:cxn>
                <a:cxn ang="0">
                  <a:pos x="154" y="0"/>
                </a:cxn>
                <a:cxn ang="0">
                  <a:pos x="222" y="46"/>
                </a:cxn>
                <a:cxn ang="0">
                  <a:pos x="198" y="46"/>
                </a:cxn>
                <a:cxn ang="0">
                  <a:pos x="217" y="215"/>
                </a:cxn>
                <a:cxn ang="0">
                  <a:pos x="145" y="230"/>
                </a:cxn>
                <a:cxn ang="0">
                  <a:pos x="141" y="228"/>
                </a:cxn>
                <a:cxn ang="0">
                  <a:pos x="136" y="230"/>
                </a:cxn>
                <a:cxn ang="0">
                  <a:pos x="134" y="225"/>
                </a:cxn>
                <a:cxn ang="0">
                  <a:pos x="121" y="225"/>
                </a:cxn>
                <a:cxn ang="0">
                  <a:pos x="113" y="234"/>
                </a:cxn>
                <a:cxn ang="0">
                  <a:pos x="109" y="223"/>
                </a:cxn>
                <a:cxn ang="0">
                  <a:pos x="100" y="225"/>
                </a:cxn>
                <a:cxn ang="0">
                  <a:pos x="100" y="234"/>
                </a:cxn>
                <a:cxn ang="0">
                  <a:pos x="90" y="240"/>
                </a:cxn>
                <a:cxn ang="0">
                  <a:pos x="89" y="243"/>
                </a:cxn>
                <a:cxn ang="0">
                  <a:pos x="81" y="238"/>
                </a:cxn>
                <a:cxn ang="0">
                  <a:pos x="77" y="234"/>
                </a:cxn>
                <a:cxn ang="0">
                  <a:pos x="73" y="228"/>
                </a:cxn>
                <a:cxn ang="0">
                  <a:pos x="70" y="219"/>
                </a:cxn>
                <a:cxn ang="0">
                  <a:pos x="64" y="219"/>
                </a:cxn>
                <a:cxn ang="0">
                  <a:pos x="60" y="219"/>
                </a:cxn>
                <a:cxn ang="0">
                  <a:pos x="57" y="215"/>
                </a:cxn>
                <a:cxn ang="0">
                  <a:pos x="49" y="210"/>
                </a:cxn>
                <a:cxn ang="0">
                  <a:pos x="36" y="206"/>
                </a:cxn>
                <a:cxn ang="0">
                  <a:pos x="17" y="211"/>
                </a:cxn>
                <a:cxn ang="0">
                  <a:pos x="9" y="215"/>
                </a:cxn>
                <a:cxn ang="0">
                  <a:pos x="9" y="210"/>
                </a:cxn>
                <a:cxn ang="0">
                  <a:pos x="15" y="193"/>
                </a:cxn>
                <a:cxn ang="0">
                  <a:pos x="15" y="161"/>
                </a:cxn>
                <a:cxn ang="0">
                  <a:pos x="9" y="149"/>
                </a:cxn>
                <a:cxn ang="0">
                  <a:pos x="15" y="144"/>
                </a:cxn>
                <a:cxn ang="0">
                  <a:pos x="15" y="136"/>
                </a:cxn>
                <a:cxn ang="0">
                  <a:pos x="6" y="130"/>
                </a:cxn>
                <a:cxn ang="0">
                  <a:pos x="6" y="127"/>
                </a:cxn>
                <a:cxn ang="0">
                  <a:pos x="0" y="123"/>
                </a:cxn>
                <a:cxn ang="0">
                  <a:pos x="2" y="119"/>
                </a:cxn>
                <a:cxn ang="0">
                  <a:pos x="2" y="119"/>
                </a:cxn>
              </a:cxnLst>
              <a:rect l="0" t="0" r="r" b="b"/>
              <a:pathLst>
                <a:path w="222" h="243">
                  <a:moveTo>
                    <a:pt x="2" y="119"/>
                  </a:moveTo>
                  <a:lnTo>
                    <a:pt x="75" y="117"/>
                  </a:lnTo>
                  <a:lnTo>
                    <a:pt x="75" y="83"/>
                  </a:lnTo>
                  <a:lnTo>
                    <a:pt x="77" y="80"/>
                  </a:lnTo>
                  <a:lnTo>
                    <a:pt x="81" y="76"/>
                  </a:lnTo>
                  <a:lnTo>
                    <a:pt x="87" y="76"/>
                  </a:lnTo>
                  <a:lnTo>
                    <a:pt x="94" y="76"/>
                  </a:lnTo>
                  <a:lnTo>
                    <a:pt x="94" y="27"/>
                  </a:lnTo>
                  <a:lnTo>
                    <a:pt x="153" y="27"/>
                  </a:lnTo>
                  <a:lnTo>
                    <a:pt x="154" y="0"/>
                  </a:lnTo>
                  <a:lnTo>
                    <a:pt x="222" y="46"/>
                  </a:lnTo>
                  <a:lnTo>
                    <a:pt x="222" y="46"/>
                  </a:lnTo>
                  <a:lnTo>
                    <a:pt x="218" y="46"/>
                  </a:lnTo>
                  <a:lnTo>
                    <a:pt x="198" y="46"/>
                  </a:lnTo>
                  <a:lnTo>
                    <a:pt x="213" y="210"/>
                  </a:lnTo>
                  <a:lnTo>
                    <a:pt x="217" y="215"/>
                  </a:lnTo>
                  <a:lnTo>
                    <a:pt x="213" y="230"/>
                  </a:lnTo>
                  <a:lnTo>
                    <a:pt x="145" y="230"/>
                  </a:lnTo>
                  <a:lnTo>
                    <a:pt x="143" y="230"/>
                  </a:lnTo>
                  <a:lnTo>
                    <a:pt x="141" y="228"/>
                  </a:lnTo>
                  <a:lnTo>
                    <a:pt x="139" y="228"/>
                  </a:lnTo>
                  <a:lnTo>
                    <a:pt x="136" y="230"/>
                  </a:lnTo>
                  <a:lnTo>
                    <a:pt x="134" y="228"/>
                  </a:lnTo>
                  <a:lnTo>
                    <a:pt x="134" y="225"/>
                  </a:lnTo>
                  <a:lnTo>
                    <a:pt x="128" y="223"/>
                  </a:lnTo>
                  <a:lnTo>
                    <a:pt x="121" y="225"/>
                  </a:lnTo>
                  <a:lnTo>
                    <a:pt x="115" y="234"/>
                  </a:lnTo>
                  <a:lnTo>
                    <a:pt x="113" y="234"/>
                  </a:lnTo>
                  <a:lnTo>
                    <a:pt x="109" y="228"/>
                  </a:lnTo>
                  <a:lnTo>
                    <a:pt x="109" y="223"/>
                  </a:lnTo>
                  <a:lnTo>
                    <a:pt x="105" y="223"/>
                  </a:lnTo>
                  <a:lnTo>
                    <a:pt x="100" y="225"/>
                  </a:lnTo>
                  <a:lnTo>
                    <a:pt x="100" y="230"/>
                  </a:lnTo>
                  <a:lnTo>
                    <a:pt x="100" y="234"/>
                  </a:lnTo>
                  <a:lnTo>
                    <a:pt x="98" y="240"/>
                  </a:lnTo>
                  <a:lnTo>
                    <a:pt x="90" y="240"/>
                  </a:lnTo>
                  <a:lnTo>
                    <a:pt x="89" y="243"/>
                  </a:lnTo>
                  <a:lnTo>
                    <a:pt x="89" y="243"/>
                  </a:lnTo>
                  <a:lnTo>
                    <a:pt x="87" y="240"/>
                  </a:lnTo>
                  <a:lnTo>
                    <a:pt x="81" y="238"/>
                  </a:lnTo>
                  <a:lnTo>
                    <a:pt x="79" y="238"/>
                  </a:lnTo>
                  <a:lnTo>
                    <a:pt x="77" y="234"/>
                  </a:lnTo>
                  <a:lnTo>
                    <a:pt x="73" y="230"/>
                  </a:lnTo>
                  <a:lnTo>
                    <a:pt x="73" y="228"/>
                  </a:lnTo>
                  <a:lnTo>
                    <a:pt x="70" y="225"/>
                  </a:lnTo>
                  <a:lnTo>
                    <a:pt x="70" y="219"/>
                  </a:lnTo>
                  <a:lnTo>
                    <a:pt x="66" y="217"/>
                  </a:lnTo>
                  <a:lnTo>
                    <a:pt x="64" y="219"/>
                  </a:lnTo>
                  <a:lnTo>
                    <a:pt x="64" y="217"/>
                  </a:lnTo>
                  <a:lnTo>
                    <a:pt x="60" y="219"/>
                  </a:lnTo>
                  <a:lnTo>
                    <a:pt x="57" y="217"/>
                  </a:lnTo>
                  <a:lnTo>
                    <a:pt x="57" y="215"/>
                  </a:lnTo>
                  <a:lnTo>
                    <a:pt x="53" y="210"/>
                  </a:lnTo>
                  <a:lnTo>
                    <a:pt x="49" y="210"/>
                  </a:lnTo>
                  <a:lnTo>
                    <a:pt x="40" y="206"/>
                  </a:lnTo>
                  <a:lnTo>
                    <a:pt x="36" y="206"/>
                  </a:lnTo>
                  <a:lnTo>
                    <a:pt x="26" y="210"/>
                  </a:lnTo>
                  <a:lnTo>
                    <a:pt x="17" y="211"/>
                  </a:lnTo>
                  <a:lnTo>
                    <a:pt x="15" y="215"/>
                  </a:lnTo>
                  <a:lnTo>
                    <a:pt x="9" y="215"/>
                  </a:lnTo>
                  <a:lnTo>
                    <a:pt x="6" y="217"/>
                  </a:lnTo>
                  <a:lnTo>
                    <a:pt x="9" y="210"/>
                  </a:lnTo>
                  <a:lnTo>
                    <a:pt x="11" y="198"/>
                  </a:lnTo>
                  <a:lnTo>
                    <a:pt x="15" y="193"/>
                  </a:lnTo>
                  <a:lnTo>
                    <a:pt x="17" y="179"/>
                  </a:lnTo>
                  <a:lnTo>
                    <a:pt x="15" y="161"/>
                  </a:lnTo>
                  <a:lnTo>
                    <a:pt x="9" y="151"/>
                  </a:lnTo>
                  <a:lnTo>
                    <a:pt x="9" y="149"/>
                  </a:lnTo>
                  <a:lnTo>
                    <a:pt x="11" y="149"/>
                  </a:lnTo>
                  <a:lnTo>
                    <a:pt x="15" y="144"/>
                  </a:lnTo>
                  <a:lnTo>
                    <a:pt x="11" y="140"/>
                  </a:lnTo>
                  <a:lnTo>
                    <a:pt x="15" y="136"/>
                  </a:lnTo>
                  <a:lnTo>
                    <a:pt x="9" y="130"/>
                  </a:lnTo>
                  <a:lnTo>
                    <a:pt x="6" y="130"/>
                  </a:lnTo>
                  <a:lnTo>
                    <a:pt x="6" y="130"/>
                  </a:lnTo>
                  <a:lnTo>
                    <a:pt x="6" y="127"/>
                  </a:lnTo>
                  <a:lnTo>
                    <a:pt x="0" y="130"/>
                  </a:lnTo>
                  <a:lnTo>
                    <a:pt x="0" y="123"/>
                  </a:lnTo>
                  <a:lnTo>
                    <a:pt x="2" y="119"/>
                  </a:lnTo>
                  <a:lnTo>
                    <a:pt x="2" y="119"/>
                  </a:lnTo>
                  <a:lnTo>
                    <a:pt x="2" y="119"/>
                  </a:lnTo>
                  <a:lnTo>
                    <a:pt x="2" y="119"/>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9" name="Freeform 112">
              <a:extLst>
                <a:ext uri="{FF2B5EF4-FFF2-40B4-BE49-F238E27FC236}">
                  <a16:creationId xmlns:a16="http://schemas.microsoft.com/office/drawing/2014/main" id="{CDA34AC2-EB93-45C0-894F-A1C104508C7D}"/>
                </a:ext>
              </a:extLst>
            </p:cNvPr>
            <p:cNvSpPr>
              <a:spLocks/>
            </p:cNvSpPr>
            <p:nvPr/>
          </p:nvSpPr>
          <p:spPr bwMode="auto">
            <a:xfrm>
              <a:off x="2564" y="2627"/>
              <a:ext cx="300" cy="280"/>
            </a:xfrm>
            <a:custGeom>
              <a:avLst/>
              <a:gdLst/>
              <a:ahLst/>
              <a:cxnLst>
                <a:cxn ang="0">
                  <a:pos x="8" y="192"/>
                </a:cxn>
                <a:cxn ang="0">
                  <a:pos x="10" y="177"/>
                </a:cxn>
                <a:cxn ang="0">
                  <a:pos x="21" y="180"/>
                </a:cxn>
                <a:cxn ang="0">
                  <a:pos x="31" y="178"/>
                </a:cxn>
                <a:cxn ang="0">
                  <a:pos x="46" y="182"/>
                </a:cxn>
                <a:cxn ang="0">
                  <a:pos x="53" y="180"/>
                </a:cxn>
                <a:cxn ang="0">
                  <a:pos x="123" y="182"/>
                </a:cxn>
                <a:cxn ang="0">
                  <a:pos x="108" y="0"/>
                </a:cxn>
                <a:cxn ang="0">
                  <a:pos x="253" y="88"/>
                </a:cxn>
                <a:cxn ang="0">
                  <a:pos x="270" y="94"/>
                </a:cxn>
                <a:cxn ang="0">
                  <a:pos x="281" y="103"/>
                </a:cxn>
                <a:cxn ang="0">
                  <a:pos x="279" y="114"/>
                </a:cxn>
                <a:cxn ang="0">
                  <a:pos x="300" y="113"/>
                </a:cxn>
                <a:cxn ang="0">
                  <a:pos x="296" y="165"/>
                </a:cxn>
                <a:cxn ang="0">
                  <a:pos x="294" y="177"/>
                </a:cxn>
                <a:cxn ang="0">
                  <a:pos x="271" y="186"/>
                </a:cxn>
                <a:cxn ang="0">
                  <a:pos x="256" y="190"/>
                </a:cxn>
                <a:cxn ang="0">
                  <a:pos x="232" y="192"/>
                </a:cxn>
                <a:cxn ang="0">
                  <a:pos x="228" y="190"/>
                </a:cxn>
                <a:cxn ang="0">
                  <a:pos x="215" y="190"/>
                </a:cxn>
                <a:cxn ang="0">
                  <a:pos x="194" y="197"/>
                </a:cxn>
                <a:cxn ang="0">
                  <a:pos x="170" y="216"/>
                </a:cxn>
                <a:cxn ang="0">
                  <a:pos x="153" y="220"/>
                </a:cxn>
                <a:cxn ang="0">
                  <a:pos x="145" y="229"/>
                </a:cxn>
                <a:cxn ang="0">
                  <a:pos x="134" y="246"/>
                </a:cxn>
                <a:cxn ang="0">
                  <a:pos x="128" y="256"/>
                </a:cxn>
                <a:cxn ang="0">
                  <a:pos x="127" y="265"/>
                </a:cxn>
                <a:cxn ang="0">
                  <a:pos x="125" y="275"/>
                </a:cxn>
                <a:cxn ang="0">
                  <a:pos x="113" y="276"/>
                </a:cxn>
                <a:cxn ang="0">
                  <a:pos x="104" y="275"/>
                </a:cxn>
                <a:cxn ang="0">
                  <a:pos x="95" y="278"/>
                </a:cxn>
                <a:cxn ang="0">
                  <a:pos x="83" y="278"/>
                </a:cxn>
                <a:cxn ang="0">
                  <a:pos x="74" y="275"/>
                </a:cxn>
                <a:cxn ang="0">
                  <a:pos x="74" y="265"/>
                </a:cxn>
                <a:cxn ang="0">
                  <a:pos x="66" y="271"/>
                </a:cxn>
                <a:cxn ang="0">
                  <a:pos x="70" y="258"/>
                </a:cxn>
                <a:cxn ang="0">
                  <a:pos x="66" y="250"/>
                </a:cxn>
                <a:cxn ang="0">
                  <a:pos x="61" y="241"/>
                </a:cxn>
                <a:cxn ang="0">
                  <a:pos x="49" y="241"/>
                </a:cxn>
                <a:cxn ang="0">
                  <a:pos x="42" y="246"/>
                </a:cxn>
                <a:cxn ang="0">
                  <a:pos x="29" y="246"/>
                </a:cxn>
                <a:cxn ang="0">
                  <a:pos x="21" y="246"/>
                </a:cxn>
                <a:cxn ang="0">
                  <a:pos x="21" y="241"/>
                </a:cxn>
                <a:cxn ang="0">
                  <a:pos x="15" y="233"/>
                </a:cxn>
                <a:cxn ang="0">
                  <a:pos x="14" y="226"/>
                </a:cxn>
                <a:cxn ang="0">
                  <a:pos x="8" y="222"/>
                </a:cxn>
                <a:cxn ang="0">
                  <a:pos x="0" y="212"/>
                </a:cxn>
                <a:cxn ang="0">
                  <a:pos x="0" y="197"/>
                </a:cxn>
                <a:cxn ang="0">
                  <a:pos x="0" y="195"/>
                </a:cxn>
              </a:cxnLst>
              <a:rect l="0" t="0" r="r" b="b"/>
              <a:pathLst>
                <a:path w="300" h="280">
                  <a:moveTo>
                    <a:pt x="0" y="195"/>
                  </a:moveTo>
                  <a:lnTo>
                    <a:pt x="2" y="192"/>
                  </a:lnTo>
                  <a:lnTo>
                    <a:pt x="8" y="192"/>
                  </a:lnTo>
                  <a:lnTo>
                    <a:pt x="10" y="186"/>
                  </a:lnTo>
                  <a:lnTo>
                    <a:pt x="10" y="182"/>
                  </a:lnTo>
                  <a:lnTo>
                    <a:pt x="10" y="177"/>
                  </a:lnTo>
                  <a:lnTo>
                    <a:pt x="15" y="175"/>
                  </a:lnTo>
                  <a:lnTo>
                    <a:pt x="21" y="175"/>
                  </a:lnTo>
                  <a:lnTo>
                    <a:pt x="21" y="180"/>
                  </a:lnTo>
                  <a:lnTo>
                    <a:pt x="25" y="186"/>
                  </a:lnTo>
                  <a:lnTo>
                    <a:pt x="25" y="186"/>
                  </a:lnTo>
                  <a:lnTo>
                    <a:pt x="31" y="178"/>
                  </a:lnTo>
                  <a:lnTo>
                    <a:pt x="40" y="175"/>
                  </a:lnTo>
                  <a:lnTo>
                    <a:pt x="46" y="177"/>
                  </a:lnTo>
                  <a:lnTo>
                    <a:pt x="46" y="182"/>
                  </a:lnTo>
                  <a:lnTo>
                    <a:pt x="46" y="182"/>
                  </a:lnTo>
                  <a:lnTo>
                    <a:pt x="49" y="180"/>
                  </a:lnTo>
                  <a:lnTo>
                    <a:pt x="53" y="180"/>
                  </a:lnTo>
                  <a:lnTo>
                    <a:pt x="53" y="182"/>
                  </a:lnTo>
                  <a:lnTo>
                    <a:pt x="55" y="182"/>
                  </a:lnTo>
                  <a:lnTo>
                    <a:pt x="123" y="182"/>
                  </a:lnTo>
                  <a:lnTo>
                    <a:pt x="128" y="167"/>
                  </a:lnTo>
                  <a:lnTo>
                    <a:pt x="123" y="162"/>
                  </a:lnTo>
                  <a:lnTo>
                    <a:pt x="108" y="0"/>
                  </a:lnTo>
                  <a:lnTo>
                    <a:pt x="128" y="0"/>
                  </a:lnTo>
                  <a:lnTo>
                    <a:pt x="251" y="79"/>
                  </a:lnTo>
                  <a:lnTo>
                    <a:pt x="253" y="88"/>
                  </a:lnTo>
                  <a:lnTo>
                    <a:pt x="256" y="92"/>
                  </a:lnTo>
                  <a:lnTo>
                    <a:pt x="264" y="92"/>
                  </a:lnTo>
                  <a:lnTo>
                    <a:pt x="270" y="94"/>
                  </a:lnTo>
                  <a:lnTo>
                    <a:pt x="271" y="99"/>
                  </a:lnTo>
                  <a:lnTo>
                    <a:pt x="277" y="99"/>
                  </a:lnTo>
                  <a:lnTo>
                    <a:pt x="281" y="103"/>
                  </a:lnTo>
                  <a:lnTo>
                    <a:pt x="281" y="107"/>
                  </a:lnTo>
                  <a:lnTo>
                    <a:pt x="279" y="111"/>
                  </a:lnTo>
                  <a:lnTo>
                    <a:pt x="279" y="114"/>
                  </a:lnTo>
                  <a:lnTo>
                    <a:pt x="285" y="114"/>
                  </a:lnTo>
                  <a:lnTo>
                    <a:pt x="294" y="114"/>
                  </a:lnTo>
                  <a:lnTo>
                    <a:pt x="300" y="113"/>
                  </a:lnTo>
                  <a:lnTo>
                    <a:pt x="300" y="113"/>
                  </a:lnTo>
                  <a:lnTo>
                    <a:pt x="300" y="148"/>
                  </a:lnTo>
                  <a:lnTo>
                    <a:pt x="296" y="165"/>
                  </a:lnTo>
                  <a:lnTo>
                    <a:pt x="294" y="165"/>
                  </a:lnTo>
                  <a:lnTo>
                    <a:pt x="294" y="173"/>
                  </a:lnTo>
                  <a:lnTo>
                    <a:pt x="294" y="177"/>
                  </a:lnTo>
                  <a:lnTo>
                    <a:pt x="283" y="182"/>
                  </a:lnTo>
                  <a:lnTo>
                    <a:pt x="277" y="186"/>
                  </a:lnTo>
                  <a:lnTo>
                    <a:pt x="271" y="186"/>
                  </a:lnTo>
                  <a:lnTo>
                    <a:pt x="266" y="190"/>
                  </a:lnTo>
                  <a:lnTo>
                    <a:pt x="264" y="190"/>
                  </a:lnTo>
                  <a:lnTo>
                    <a:pt x="256" y="190"/>
                  </a:lnTo>
                  <a:lnTo>
                    <a:pt x="251" y="190"/>
                  </a:lnTo>
                  <a:lnTo>
                    <a:pt x="245" y="190"/>
                  </a:lnTo>
                  <a:lnTo>
                    <a:pt x="232" y="192"/>
                  </a:lnTo>
                  <a:lnTo>
                    <a:pt x="230" y="190"/>
                  </a:lnTo>
                  <a:lnTo>
                    <a:pt x="228" y="192"/>
                  </a:lnTo>
                  <a:lnTo>
                    <a:pt x="228" y="190"/>
                  </a:lnTo>
                  <a:lnTo>
                    <a:pt x="224" y="190"/>
                  </a:lnTo>
                  <a:lnTo>
                    <a:pt x="221" y="190"/>
                  </a:lnTo>
                  <a:lnTo>
                    <a:pt x="215" y="190"/>
                  </a:lnTo>
                  <a:lnTo>
                    <a:pt x="206" y="190"/>
                  </a:lnTo>
                  <a:lnTo>
                    <a:pt x="200" y="195"/>
                  </a:lnTo>
                  <a:lnTo>
                    <a:pt x="194" y="197"/>
                  </a:lnTo>
                  <a:lnTo>
                    <a:pt x="181" y="205"/>
                  </a:lnTo>
                  <a:lnTo>
                    <a:pt x="172" y="212"/>
                  </a:lnTo>
                  <a:lnTo>
                    <a:pt x="170" y="216"/>
                  </a:lnTo>
                  <a:lnTo>
                    <a:pt x="159" y="220"/>
                  </a:lnTo>
                  <a:lnTo>
                    <a:pt x="157" y="220"/>
                  </a:lnTo>
                  <a:lnTo>
                    <a:pt x="153" y="220"/>
                  </a:lnTo>
                  <a:lnTo>
                    <a:pt x="153" y="220"/>
                  </a:lnTo>
                  <a:lnTo>
                    <a:pt x="149" y="222"/>
                  </a:lnTo>
                  <a:lnTo>
                    <a:pt x="145" y="229"/>
                  </a:lnTo>
                  <a:lnTo>
                    <a:pt x="145" y="231"/>
                  </a:lnTo>
                  <a:lnTo>
                    <a:pt x="140" y="237"/>
                  </a:lnTo>
                  <a:lnTo>
                    <a:pt x="134" y="246"/>
                  </a:lnTo>
                  <a:lnTo>
                    <a:pt x="132" y="250"/>
                  </a:lnTo>
                  <a:lnTo>
                    <a:pt x="128" y="252"/>
                  </a:lnTo>
                  <a:lnTo>
                    <a:pt x="128" y="256"/>
                  </a:lnTo>
                  <a:lnTo>
                    <a:pt x="128" y="261"/>
                  </a:lnTo>
                  <a:lnTo>
                    <a:pt x="127" y="263"/>
                  </a:lnTo>
                  <a:lnTo>
                    <a:pt x="127" y="265"/>
                  </a:lnTo>
                  <a:lnTo>
                    <a:pt x="128" y="269"/>
                  </a:lnTo>
                  <a:lnTo>
                    <a:pt x="127" y="275"/>
                  </a:lnTo>
                  <a:lnTo>
                    <a:pt x="125" y="275"/>
                  </a:lnTo>
                  <a:lnTo>
                    <a:pt x="121" y="280"/>
                  </a:lnTo>
                  <a:lnTo>
                    <a:pt x="115" y="278"/>
                  </a:lnTo>
                  <a:lnTo>
                    <a:pt x="113" y="276"/>
                  </a:lnTo>
                  <a:lnTo>
                    <a:pt x="113" y="275"/>
                  </a:lnTo>
                  <a:lnTo>
                    <a:pt x="110" y="275"/>
                  </a:lnTo>
                  <a:lnTo>
                    <a:pt x="104" y="275"/>
                  </a:lnTo>
                  <a:lnTo>
                    <a:pt x="104" y="276"/>
                  </a:lnTo>
                  <a:lnTo>
                    <a:pt x="102" y="278"/>
                  </a:lnTo>
                  <a:lnTo>
                    <a:pt x="95" y="278"/>
                  </a:lnTo>
                  <a:lnTo>
                    <a:pt x="89" y="275"/>
                  </a:lnTo>
                  <a:lnTo>
                    <a:pt x="87" y="275"/>
                  </a:lnTo>
                  <a:lnTo>
                    <a:pt x="83" y="278"/>
                  </a:lnTo>
                  <a:lnTo>
                    <a:pt x="83" y="276"/>
                  </a:lnTo>
                  <a:lnTo>
                    <a:pt x="79" y="275"/>
                  </a:lnTo>
                  <a:lnTo>
                    <a:pt x="74" y="275"/>
                  </a:lnTo>
                  <a:lnTo>
                    <a:pt x="74" y="271"/>
                  </a:lnTo>
                  <a:lnTo>
                    <a:pt x="74" y="271"/>
                  </a:lnTo>
                  <a:lnTo>
                    <a:pt x="74" y="265"/>
                  </a:lnTo>
                  <a:lnTo>
                    <a:pt x="70" y="265"/>
                  </a:lnTo>
                  <a:lnTo>
                    <a:pt x="70" y="271"/>
                  </a:lnTo>
                  <a:lnTo>
                    <a:pt x="66" y="271"/>
                  </a:lnTo>
                  <a:lnTo>
                    <a:pt x="68" y="265"/>
                  </a:lnTo>
                  <a:lnTo>
                    <a:pt x="70" y="259"/>
                  </a:lnTo>
                  <a:lnTo>
                    <a:pt x="70" y="258"/>
                  </a:lnTo>
                  <a:lnTo>
                    <a:pt x="68" y="258"/>
                  </a:lnTo>
                  <a:lnTo>
                    <a:pt x="66" y="256"/>
                  </a:lnTo>
                  <a:lnTo>
                    <a:pt x="66" y="250"/>
                  </a:lnTo>
                  <a:lnTo>
                    <a:pt x="64" y="246"/>
                  </a:lnTo>
                  <a:lnTo>
                    <a:pt x="61" y="244"/>
                  </a:lnTo>
                  <a:lnTo>
                    <a:pt x="61" y="241"/>
                  </a:lnTo>
                  <a:lnTo>
                    <a:pt x="59" y="241"/>
                  </a:lnTo>
                  <a:lnTo>
                    <a:pt x="55" y="244"/>
                  </a:lnTo>
                  <a:lnTo>
                    <a:pt x="49" y="241"/>
                  </a:lnTo>
                  <a:lnTo>
                    <a:pt x="46" y="241"/>
                  </a:lnTo>
                  <a:lnTo>
                    <a:pt x="44" y="246"/>
                  </a:lnTo>
                  <a:lnTo>
                    <a:pt x="42" y="246"/>
                  </a:lnTo>
                  <a:lnTo>
                    <a:pt x="36" y="248"/>
                  </a:lnTo>
                  <a:lnTo>
                    <a:pt x="32" y="248"/>
                  </a:lnTo>
                  <a:lnTo>
                    <a:pt x="29" y="246"/>
                  </a:lnTo>
                  <a:lnTo>
                    <a:pt x="25" y="244"/>
                  </a:lnTo>
                  <a:lnTo>
                    <a:pt x="21" y="246"/>
                  </a:lnTo>
                  <a:lnTo>
                    <a:pt x="21" y="246"/>
                  </a:lnTo>
                  <a:lnTo>
                    <a:pt x="21" y="246"/>
                  </a:lnTo>
                  <a:lnTo>
                    <a:pt x="21" y="244"/>
                  </a:lnTo>
                  <a:lnTo>
                    <a:pt x="21" y="241"/>
                  </a:lnTo>
                  <a:lnTo>
                    <a:pt x="15" y="239"/>
                  </a:lnTo>
                  <a:lnTo>
                    <a:pt x="15" y="235"/>
                  </a:lnTo>
                  <a:lnTo>
                    <a:pt x="15" y="233"/>
                  </a:lnTo>
                  <a:lnTo>
                    <a:pt x="15" y="231"/>
                  </a:lnTo>
                  <a:lnTo>
                    <a:pt x="15" y="227"/>
                  </a:lnTo>
                  <a:lnTo>
                    <a:pt x="14" y="226"/>
                  </a:lnTo>
                  <a:lnTo>
                    <a:pt x="12" y="224"/>
                  </a:lnTo>
                  <a:lnTo>
                    <a:pt x="10" y="224"/>
                  </a:lnTo>
                  <a:lnTo>
                    <a:pt x="8" y="222"/>
                  </a:lnTo>
                  <a:lnTo>
                    <a:pt x="4" y="216"/>
                  </a:lnTo>
                  <a:lnTo>
                    <a:pt x="0" y="214"/>
                  </a:lnTo>
                  <a:lnTo>
                    <a:pt x="0" y="212"/>
                  </a:lnTo>
                  <a:lnTo>
                    <a:pt x="2" y="203"/>
                  </a:lnTo>
                  <a:lnTo>
                    <a:pt x="0" y="201"/>
                  </a:lnTo>
                  <a:lnTo>
                    <a:pt x="0" y="197"/>
                  </a:lnTo>
                  <a:lnTo>
                    <a:pt x="0" y="195"/>
                  </a:lnTo>
                  <a:lnTo>
                    <a:pt x="0" y="195"/>
                  </a:lnTo>
                  <a:lnTo>
                    <a:pt x="0" y="19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0" name="Freeform 113">
              <a:extLst>
                <a:ext uri="{FF2B5EF4-FFF2-40B4-BE49-F238E27FC236}">
                  <a16:creationId xmlns:a16="http://schemas.microsoft.com/office/drawing/2014/main" id="{E7F4CA0C-DDB9-46AF-852F-E1E0A35FCB9D}"/>
                </a:ext>
              </a:extLst>
            </p:cNvPr>
            <p:cNvSpPr>
              <a:spLocks/>
            </p:cNvSpPr>
            <p:nvPr/>
          </p:nvSpPr>
          <p:spPr bwMode="auto">
            <a:xfrm>
              <a:off x="2691" y="2817"/>
              <a:ext cx="137" cy="102"/>
            </a:xfrm>
            <a:custGeom>
              <a:avLst/>
              <a:gdLst/>
              <a:ahLst/>
              <a:cxnLst>
                <a:cxn ang="0">
                  <a:pos x="0" y="81"/>
                </a:cxn>
                <a:cxn ang="0">
                  <a:pos x="0" y="75"/>
                </a:cxn>
                <a:cxn ang="0">
                  <a:pos x="1" y="68"/>
                </a:cxn>
                <a:cxn ang="0">
                  <a:pos x="3" y="62"/>
                </a:cxn>
                <a:cxn ang="0">
                  <a:pos x="13" y="47"/>
                </a:cxn>
                <a:cxn ang="0">
                  <a:pos x="18" y="41"/>
                </a:cxn>
                <a:cxn ang="0">
                  <a:pos x="24" y="32"/>
                </a:cxn>
                <a:cxn ang="0">
                  <a:pos x="30" y="30"/>
                </a:cxn>
                <a:cxn ang="0">
                  <a:pos x="43" y="26"/>
                </a:cxn>
                <a:cxn ang="0">
                  <a:pos x="52" y="17"/>
                </a:cxn>
                <a:cxn ang="0">
                  <a:pos x="73" y="5"/>
                </a:cxn>
                <a:cxn ang="0">
                  <a:pos x="86" y="0"/>
                </a:cxn>
                <a:cxn ang="0">
                  <a:pos x="96" y="2"/>
                </a:cxn>
                <a:cxn ang="0">
                  <a:pos x="99" y="4"/>
                </a:cxn>
                <a:cxn ang="0">
                  <a:pos x="99" y="7"/>
                </a:cxn>
                <a:cxn ang="0">
                  <a:pos x="96" y="19"/>
                </a:cxn>
                <a:cxn ang="0">
                  <a:pos x="116" y="37"/>
                </a:cxn>
                <a:cxn ang="0">
                  <a:pos x="129" y="37"/>
                </a:cxn>
                <a:cxn ang="0">
                  <a:pos x="131" y="41"/>
                </a:cxn>
                <a:cxn ang="0">
                  <a:pos x="133" y="47"/>
                </a:cxn>
                <a:cxn ang="0">
                  <a:pos x="135" y="54"/>
                </a:cxn>
                <a:cxn ang="0">
                  <a:pos x="137" y="58"/>
                </a:cxn>
                <a:cxn ang="0">
                  <a:pos x="129" y="64"/>
                </a:cxn>
                <a:cxn ang="0">
                  <a:pos x="120" y="66"/>
                </a:cxn>
                <a:cxn ang="0">
                  <a:pos x="116" y="71"/>
                </a:cxn>
                <a:cxn ang="0">
                  <a:pos x="116" y="75"/>
                </a:cxn>
                <a:cxn ang="0">
                  <a:pos x="111" y="81"/>
                </a:cxn>
                <a:cxn ang="0">
                  <a:pos x="88" y="75"/>
                </a:cxn>
                <a:cxn ang="0">
                  <a:pos x="88" y="75"/>
                </a:cxn>
                <a:cxn ang="0">
                  <a:pos x="80" y="75"/>
                </a:cxn>
                <a:cxn ang="0">
                  <a:pos x="64" y="77"/>
                </a:cxn>
                <a:cxn ang="0">
                  <a:pos x="48" y="77"/>
                </a:cxn>
                <a:cxn ang="0">
                  <a:pos x="43" y="83"/>
                </a:cxn>
                <a:cxn ang="0">
                  <a:pos x="45" y="90"/>
                </a:cxn>
                <a:cxn ang="0">
                  <a:pos x="48" y="102"/>
                </a:cxn>
                <a:cxn ang="0">
                  <a:pos x="41" y="100"/>
                </a:cxn>
                <a:cxn ang="0">
                  <a:pos x="35" y="102"/>
                </a:cxn>
                <a:cxn ang="0">
                  <a:pos x="24" y="100"/>
                </a:cxn>
                <a:cxn ang="0">
                  <a:pos x="20" y="94"/>
                </a:cxn>
                <a:cxn ang="0">
                  <a:pos x="15" y="92"/>
                </a:cxn>
                <a:cxn ang="0">
                  <a:pos x="3" y="88"/>
                </a:cxn>
                <a:cxn ang="0">
                  <a:pos x="0" y="85"/>
                </a:cxn>
                <a:cxn ang="0">
                  <a:pos x="0" y="85"/>
                </a:cxn>
              </a:cxnLst>
              <a:rect l="0" t="0" r="r" b="b"/>
              <a:pathLst>
                <a:path w="137" h="102">
                  <a:moveTo>
                    <a:pt x="0" y="85"/>
                  </a:moveTo>
                  <a:lnTo>
                    <a:pt x="0" y="81"/>
                  </a:lnTo>
                  <a:lnTo>
                    <a:pt x="0" y="77"/>
                  </a:lnTo>
                  <a:lnTo>
                    <a:pt x="0" y="75"/>
                  </a:lnTo>
                  <a:lnTo>
                    <a:pt x="1" y="71"/>
                  </a:lnTo>
                  <a:lnTo>
                    <a:pt x="1" y="68"/>
                  </a:lnTo>
                  <a:lnTo>
                    <a:pt x="0" y="64"/>
                  </a:lnTo>
                  <a:lnTo>
                    <a:pt x="3" y="62"/>
                  </a:lnTo>
                  <a:lnTo>
                    <a:pt x="7" y="58"/>
                  </a:lnTo>
                  <a:lnTo>
                    <a:pt x="13" y="47"/>
                  </a:lnTo>
                  <a:lnTo>
                    <a:pt x="18" y="41"/>
                  </a:lnTo>
                  <a:lnTo>
                    <a:pt x="18" y="41"/>
                  </a:lnTo>
                  <a:lnTo>
                    <a:pt x="20" y="34"/>
                  </a:lnTo>
                  <a:lnTo>
                    <a:pt x="24" y="32"/>
                  </a:lnTo>
                  <a:lnTo>
                    <a:pt x="24" y="30"/>
                  </a:lnTo>
                  <a:lnTo>
                    <a:pt x="30" y="30"/>
                  </a:lnTo>
                  <a:lnTo>
                    <a:pt x="32" y="30"/>
                  </a:lnTo>
                  <a:lnTo>
                    <a:pt x="43" y="26"/>
                  </a:lnTo>
                  <a:lnTo>
                    <a:pt x="45" y="22"/>
                  </a:lnTo>
                  <a:lnTo>
                    <a:pt x="52" y="17"/>
                  </a:lnTo>
                  <a:lnTo>
                    <a:pt x="67" y="7"/>
                  </a:lnTo>
                  <a:lnTo>
                    <a:pt x="73" y="5"/>
                  </a:lnTo>
                  <a:lnTo>
                    <a:pt x="77" y="2"/>
                  </a:lnTo>
                  <a:lnTo>
                    <a:pt x="86" y="0"/>
                  </a:lnTo>
                  <a:lnTo>
                    <a:pt x="92" y="0"/>
                  </a:lnTo>
                  <a:lnTo>
                    <a:pt x="96" y="2"/>
                  </a:lnTo>
                  <a:lnTo>
                    <a:pt x="99" y="2"/>
                  </a:lnTo>
                  <a:lnTo>
                    <a:pt x="99" y="4"/>
                  </a:lnTo>
                  <a:lnTo>
                    <a:pt x="99" y="5"/>
                  </a:lnTo>
                  <a:lnTo>
                    <a:pt x="99" y="7"/>
                  </a:lnTo>
                  <a:lnTo>
                    <a:pt x="96" y="13"/>
                  </a:lnTo>
                  <a:lnTo>
                    <a:pt x="96" y="19"/>
                  </a:lnTo>
                  <a:lnTo>
                    <a:pt x="112" y="30"/>
                  </a:lnTo>
                  <a:lnTo>
                    <a:pt x="116" y="37"/>
                  </a:lnTo>
                  <a:lnTo>
                    <a:pt x="120" y="41"/>
                  </a:lnTo>
                  <a:lnTo>
                    <a:pt x="129" y="37"/>
                  </a:lnTo>
                  <a:lnTo>
                    <a:pt x="131" y="37"/>
                  </a:lnTo>
                  <a:lnTo>
                    <a:pt x="131" y="41"/>
                  </a:lnTo>
                  <a:lnTo>
                    <a:pt x="133" y="45"/>
                  </a:lnTo>
                  <a:lnTo>
                    <a:pt x="133" y="47"/>
                  </a:lnTo>
                  <a:lnTo>
                    <a:pt x="131" y="51"/>
                  </a:lnTo>
                  <a:lnTo>
                    <a:pt x="135" y="54"/>
                  </a:lnTo>
                  <a:lnTo>
                    <a:pt x="137" y="54"/>
                  </a:lnTo>
                  <a:lnTo>
                    <a:pt x="137" y="58"/>
                  </a:lnTo>
                  <a:lnTo>
                    <a:pt x="133" y="64"/>
                  </a:lnTo>
                  <a:lnTo>
                    <a:pt x="129" y="64"/>
                  </a:lnTo>
                  <a:lnTo>
                    <a:pt x="122" y="66"/>
                  </a:lnTo>
                  <a:lnTo>
                    <a:pt x="120" y="66"/>
                  </a:lnTo>
                  <a:lnTo>
                    <a:pt x="116" y="68"/>
                  </a:lnTo>
                  <a:lnTo>
                    <a:pt x="116" y="71"/>
                  </a:lnTo>
                  <a:lnTo>
                    <a:pt x="116" y="71"/>
                  </a:lnTo>
                  <a:lnTo>
                    <a:pt x="116" y="75"/>
                  </a:lnTo>
                  <a:lnTo>
                    <a:pt x="111" y="77"/>
                  </a:lnTo>
                  <a:lnTo>
                    <a:pt x="111" y="81"/>
                  </a:lnTo>
                  <a:lnTo>
                    <a:pt x="92" y="75"/>
                  </a:lnTo>
                  <a:lnTo>
                    <a:pt x="88" y="75"/>
                  </a:lnTo>
                  <a:lnTo>
                    <a:pt x="88" y="75"/>
                  </a:lnTo>
                  <a:lnTo>
                    <a:pt x="88" y="75"/>
                  </a:lnTo>
                  <a:lnTo>
                    <a:pt x="84" y="75"/>
                  </a:lnTo>
                  <a:lnTo>
                    <a:pt x="80" y="75"/>
                  </a:lnTo>
                  <a:lnTo>
                    <a:pt x="73" y="77"/>
                  </a:lnTo>
                  <a:lnTo>
                    <a:pt x="64" y="77"/>
                  </a:lnTo>
                  <a:lnTo>
                    <a:pt x="60" y="77"/>
                  </a:lnTo>
                  <a:lnTo>
                    <a:pt x="48" y="77"/>
                  </a:lnTo>
                  <a:lnTo>
                    <a:pt x="43" y="77"/>
                  </a:lnTo>
                  <a:lnTo>
                    <a:pt x="43" y="83"/>
                  </a:lnTo>
                  <a:lnTo>
                    <a:pt x="43" y="88"/>
                  </a:lnTo>
                  <a:lnTo>
                    <a:pt x="45" y="90"/>
                  </a:lnTo>
                  <a:lnTo>
                    <a:pt x="48" y="96"/>
                  </a:lnTo>
                  <a:lnTo>
                    <a:pt x="48" y="102"/>
                  </a:lnTo>
                  <a:lnTo>
                    <a:pt x="45" y="102"/>
                  </a:lnTo>
                  <a:lnTo>
                    <a:pt x="41" y="100"/>
                  </a:lnTo>
                  <a:lnTo>
                    <a:pt x="39" y="98"/>
                  </a:lnTo>
                  <a:lnTo>
                    <a:pt x="35" y="102"/>
                  </a:lnTo>
                  <a:lnTo>
                    <a:pt x="30" y="102"/>
                  </a:lnTo>
                  <a:lnTo>
                    <a:pt x="24" y="100"/>
                  </a:lnTo>
                  <a:lnTo>
                    <a:pt x="24" y="96"/>
                  </a:lnTo>
                  <a:lnTo>
                    <a:pt x="20" y="94"/>
                  </a:lnTo>
                  <a:lnTo>
                    <a:pt x="16" y="94"/>
                  </a:lnTo>
                  <a:lnTo>
                    <a:pt x="15" y="92"/>
                  </a:lnTo>
                  <a:lnTo>
                    <a:pt x="11" y="92"/>
                  </a:lnTo>
                  <a:lnTo>
                    <a:pt x="3" y="88"/>
                  </a:lnTo>
                  <a:lnTo>
                    <a:pt x="0" y="85"/>
                  </a:lnTo>
                  <a:lnTo>
                    <a:pt x="0" y="85"/>
                  </a:lnTo>
                  <a:lnTo>
                    <a:pt x="0" y="85"/>
                  </a:lnTo>
                  <a:lnTo>
                    <a:pt x="0" y="8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1" name="Freeform 114">
              <a:extLst>
                <a:ext uri="{FF2B5EF4-FFF2-40B4-BE49-F238E27FC236}">
                  <a16:creationId xmlns:a16="http://schemas.microsoft.com/office/drawing/2014/main" id="{E2350589-C82D-473A-BD7A-BF0344800317}"/>
                </a:ext>
              </a:extLst>
            </p:cNvPr>
            <p:cNvSpPr>
              <a:spLocks/>
            </p:cNvSpPr>
            <p:nvPr/>
          </p:nvSpPr>
          <p:spPr bwMode="auto">
            <a:xfrm>
              <a:off x="2691" y="2817"/>
              <a:ext cx="137" cy="102"/>
            </a:xfrm>
            <a:custGeom>
              <a:avLst/>
              <a:gdLst/>
              <a:ahLst/>
              <a:cxnLst>
                <a:cxn ang="0">
                  <a:pos x="0" y="81"/>
                </a:cxn>
                <a:cxn ang="0">
                  <a:pos x="0" y="75"/>
                </a:cxn>
                <a:cxn ang="0">
                  <a:pos x="1" y="68"/>
                </a:cxn>
                <a:cxn ang="0">
                  <a:pos x="3" y="62"/>
                </a:cxn>
                <a:cxn ang="0">
                  <a:pos x="13" y="47"/>
                </a:cxn>
                <a:cxn ang="0">
                  <a:pos x="18" y="41"/>
                </a:cxn>
                <a:cxn ang="0">
                  <a:pos x="24" y="32"/>
                </a:cxn>
                <a:cxn ang="0">
                  <a:pos x="30" y="30"/>
                </a:cxn>
                <a:cxn ang="0">
                  <a:pos x="43" y="26"/>
                </a:cxn>
                <a:cxn ang="0">
                  <a:pos x="52" y="17"/>
                </a:cxn>
                <a:cxn ang="0">
                  <a:pos x="73" y="5"/>
                </a:cxn>
                <a:cxn ang="0">
                  <a:pos x="86" y="0"/>
                </a:cxn>
                <a:cxn ang="0">
                  <a:pos x="96" y="2"/>
                </a:cxn>
                <a:cxn ang="0">
                  <a:pos x="99" y="4"/>
                </a:cxn>
                <a:cxn ang="0">
                  <a:pos x="99" y="7"/>
                </a:cxn>
                <a:cxn ang="0">
                  <a:pos x="96" y="19"/>
                </a:cxn>
                <a:cxn ang="0">
                  <a:pos x="116" y="37"/>
                </a:cxn>
                <a:cxn ang="0">
                  <a:pos x="129" y="37"/>
                </a:cxn>
                <a:cxn ang="0">
                  <a:pos x="131" y="41"/>
                </a:cxn>
                <a:cxn ang="0">
                  <a:pos x="133" y="47"/>
                </a:cxn>
                <a:cxn ang="0">
                  <a:pos x="135" y="54"/>
                </a:cxn>
                <a:cxn ang="0">
                  <a:pos x="137" y="58"/>
                </a:cxn>
                <a:cxn ang="0">
                  <a:pos x="129" y="64"/>
                </a:cxn>
                <a:cxn ang="0">
                  <a:pos x="120" y="66"/>
                </a:cxn>
                <a:cxn ang="0">
                  <a:pos x="116" y="71"/>
                </a:cxn>
                <a:cxn ang="0">
                  <a:pos x="116" y="75"/>
                </a:cxn>
                <a:cxn ang="0">
                  <a:pos x="111" y="81"/>
                </a:cxn>
                <a:cxn ang="0">
                  <a:pos x="88" y="75"/>
                </a:cxn>
                <a:cxn ang="0">
                  <a:pos x="88" y="75"/>
                </a:cxn>
                <a:cxn ang="0">
                  <a:pos x="80" y="75"/>
                </a:cxn>
                <a:cxn ang="0">
                  <a:pos x="64" y="77"/>
                </a:cxn>
                <a:cxn ang="0">
                  <a:pos x="48" y="77"/>
                </a:cxn>
                <a:cxn ang="0">
                  <a:pos x="43" y="83"/>
                </a:cxn>
                <a:cxn ang="0">
                  <a:pos x="45" y="90"/>
                </a:cxn>
                <a:cxn ang="0">
                  <a:pos x="48" y="102"/>
                </a:cxn>
                <a:cxn ang="0">
                  <a:pos x="41" y="100"/>
                </a:cxn>
                <a:cxn ang="0">
                  <a:pos x="35" y="102"/>
                </a:cxn>
                <a:cxn ang="0">
                  <a:pos x="24" y="100"/>
                </a:cxn>
                <a:cxn ang="0">
                  <a:pos x="20" y="94"/>
                </a:cxn>
                <a:cxn ang="0">
                  <a:pos x="15" y="92"/>
                </a:cxn>
                <a:cxn ang="0">
                  <a:pos x="3" y="88"/>
                </a:cxn>
                <a:cxn ang="0">
                  <a:pos x="0" y="85"/>
                </a:cxn>
                <a:cxn ang="0">
                  <a:pos x="0" y="85"/>
                </a:cxn>
              </a:cxnLst>
              <a:rect l="0" t="0" r="r" b="b"/>
              <a:pathLst>
                <a:path w="137" h="102">
                  <a:moveTo>
                    <a:pt x="0" y="85"/>
                  </a:moveTo>
                  <a:lnTo>
                    <a:pt x="0" y="81"/>
                  </a:lnTo>
                  <a:lnTo>
                    <a:pt x="0" y="77"/>
                  </a:lnTo>
                  <a:lnTo>
                    <a:pt x="0" y="75"/>
                  </a:lnTo>
                  <a:lnTo>
                    <a:pt x="1" y="71"/>
                  </a:lnTo>
                  <a:lnTo>
                    <a:pt x="1" y="68"/>
                  </a:lnTo>
                  <a:lnTo>
                    <a:pt x="0" y="64"/>
                  </a:lnTo>
                  <a:lnTo>
                    <a:pt x="3" y="62"/>
                  </a:lnTo>
                  <a:lnTo>
                    <a:pt x="7" y="58"/>
                  </a:lnTo>
                  <a:lnTo>
                    <a:pt x="13" y="47"/>
                  </a:lnTo>
                  <a:lnTo>
                    <a:pt x="18" y="41"/>
                  </a:lnTo>
                  <a:lnTo>
                    <a:pt x="18" y="41"/>
                  </a:lnTo>
                  <a:lnTo>
                    <a:pt x="20" y="34"/>
                  </a:lnTo>
                  <a:lnTo>
                    <a:pt x="24" y="32"/>
                  </a:lnTo>
                  <a:lnTo>
                    <a:pt x="24" y="30"/>
                  </a:lnTo>
                  <a:lnTo>
                    <a:pt x="30" y="30"/>
                  </a:lnTo>
                  <a:lnTo>
                    <a:pt x="32" y="30"/>
                  </a:lnTo>
                  <a:lnTo>
                    <a:pt x="43" y="26"/>
                  </a:lnTo>
                  <a:lnTo>
                    <a:pt x="45" y="22"/>
                  </a:lnTo>
                  <a:lnTo>
                    <a:pt x="52" y="17"/>
                  </a:lnTo>
                  <a:lnTo>
                    <a:pt x="67" y="7"/>
                  </a:lnTo>
                  <a:lnTo>
                    <a:pt x="73" y="5"/>
                  </a:lnTo>
                  <a:lnTo>
                    <a:pt x="77" y="2"/>
                  </a:lnTo>
                  <a:lnTo>
                    <a:pt x="86" y="0"/>
                  </a:lnTo>
                  <a:lnTo>
                    <a:pt x="92" y="0"/>
                  </a:lnTo>
                  <a:lnTo>
                    <a:pt x="96" y="2"/>
                  </a:lnTo>
                  <a:lnTo>
                    <a:pt x="99" y="2"/>
                  </a:lnTo>
                  <a:lnTo>
                    <a:pt x="99" y="4"/>
                  </a:lnTo>
                  <a:lnTo>
                    <a:pt x="99" y="5"/>
                  </a:lnTo>
                  <a:lnTo>
                    <a:pt x="99" y="7"/>
                  </a:lnTo>
                  <a:lnTo>
                    <a:pt x="96" y="13"/>
                  </a:lnTo>
                  <a:lnTo>
                    <a:pt x="96" y="19"/>
                  </a:lnTo>
                  <a:lnTo>
                    <a:pt x="112" y="30"/>
                  </a:lnTo>
                  <a:lnTo>
                    <a:pt x="116" y="37"/>
                  </a:lnTo>
                  <a:lnTo>
                    <a:pt x="120" y="41"/>
                  </a:lnTo>
                  <a:lnTo>
                    <a:pt x="129" y="37"/>
                  </a:lnTo>
                  <a:lnTo>
                    <a:pt x="131" y="37"/>
                  </a:lnTo>
                  <a:lnTo>
                    <a:pt x="131" y="41"/>
                  </a:lnTo>
                  <a:lnTo>
                    <a:pt x="133" y="45"/>
                  </a:lnTo>
                  <a:lnTo>
                    <a:pt x="133" y="47"/>
                  </a:lnTo>
                  <a:lnTo>
                    <a:pt x="131" y="51"/>
                  </a:lnTo>
                  <a:lnTo>
                    <a:pt x="135" y="54"/>
                  </a:lnTo>
                  <a:lnTo>
                    <a:pt x="137" y="54"/>
                  </a:lnTo>
                  <a:lnTo>
                    <a:pt x="137" y="58"/>
                  </a:lnTo>
                  <a:lnTo>
                    <a:pt x="133" y="64"/>
                  </a:lnTo>
                  <a:lnTo>
                    <a:pt x="129" y="64"/>
                  </a:lnTo>
                  <a:lnTo>
                    <a:pt x="122" y="66"/>
                  </a:lnTo>
                  <a:lnTo>
                    <a:pt x="120" y="66"/>
                  </a:lnTo>
                  <a:lnTo>
                    <a:pt x="116" y="68"/>
                  </a:lnTo>
                  <a:lnTo>
                    <a:pt x="116" y="71"/>
                  </a:lnTo>
                  <a:lnTo>
                    <a:pt x="116" y="71"/>
                  </a:lnTo>
                  <a:lnTo>
                    <a:pt x="116" y="75"/>
                  </a:lnTo>
                  <a:lnTo>
                    <a:pt x="111" y="77"/>
                  </a:lnTo>
                  <a:lnTo>
                    <a:pt x="111" y="81"/>
                  </a:lnTo>
                  <a:lnTo>
                    <a:pt x="92" y="75"/>
                  </a:lnTo>
                  <a:lnTo>
                    <a:pt x="88" y="75"/>
                  </a:lnTo>
                  <a:lnTo>
                    <a:pt x="88" y="75"/>
                  </a:lnTo>
                  <a:lnTo>
                    <a:pt x="88" y="75"/>
                  </a:lnTo>
                  <a:lnTo>
                    <a:pt x="84" y="75"/>
                  </a:lnTo>
                  <a:lnTo>
                    <a:pt x="80" y="75"/>
                  </a:lnTo>
                  <a:lnTo>
                    <a:pt x="73" y="77"/>
                  </a:lnTo>
                  <a:lnTo>
                    <a:pt x="64" y="77"/>
                  </a:lnTo>
                  <a:lnTo>
                    <a:pt x="60" y="77"/>
                  </a:lnTo>
                  <a:lnTo>
                    <a:pt x="48" y="77"/>
                  </a:lnTo>
                  <a:lnTo>
                    <a:pt x="43" y="77"/>
                  </a:lnTo>
                  <a:lnTo>
                    <a:pt x="43" y="83"/>
                  </a:lnTo>
                  <a:lnTo>
                    <a:pt x="43" y="88"/>
                  </a:lnTo>
                  <a:lnTo>
                    <a:pt x="45" y="90"/>
                  </a:lnTo>
                  <a:lnTo>
                    <a:pt x="48" y="96"/>
                  </a:lnTo>
                  <a:lnTo>
                    <a:pt x="48" y="102"/>
                  </a:lnTo>
                  <a:lnTo>
                    <a:pt x="45" y="102"/>
                  </a:lnTo>
                  <a:lnTo>
                    <a:pt x="41" y="100"/>
                  </a:lnTo>
                  <a:lnTo>
                    <a:pt x="39" y="98"/>
                  </a:lnTo>
                  <a:lnTo>
                    <a:pt x="35" y="102"/>
                  </a:lnTo>
                  <a:lnTo>
                    <a:pt x="30" y="102"/>
                  </a:lnTo>
                  <a:lnTo>
                    <a:pt x="24" y="100"/>
                  </a:lnTo>
                  <a:lnTo>
                    <a:pt x="24" y="96"/>
                  </a:lnTo>
                  <a:lnTo>
                    <a:pt x="20" y="94"/>
                  </a:lnTo>
                  <a:lnTo>
                    <a:pt x="16" y="94"/>
                  </a:lnTo>
                  <a:lnTo>
                    <a:pt x="15" y="92"/>
                  </a:lnTo>
                  <a:lnTo>
                    <a:pt x="11" y="92"/>
                  </a:lnTo>
                  <a:lnTo>
                    <a:pt x="3" y="88"/>
                  </a:lnTo>
                  <a:lnTo>
                    <a:pt x="0" y="85"/>
                  </a:lnTo>
                  <a:lnTo>
                    <a:pt x="0" y="85"/>
                  </a:lnTo>
                  <a:lnTo>
                    <a:pt x="0" y="85"/>
                  </a:lnTo>
                  <a:lnTo>
                    <a:pt x="0" y="8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2" name="Freeform 115">
              <a:extLst>
                <a:ext uri="{FF2B5EF4-FFF2-40B4-BE49-F238E27FC236}">
                  <a16:creationId xmlns:a16="http://schemas.microsoft.com/office/drawing/2014/main" id="{3A200F3B-80E2-47F2-B5AF-2E2E33D33B73}"/>
                </a:ext>
              </a:extLst>
            </p:cNvPr>
            <p:cNvSpPr>
              <a:spLocks/>
            </p:cNvSpPr>
            <p:nvPr/>
          </p:nvSpPr>
          <p:spPr bwMode="auto">
            <a:xfrm>
              <a:off x="2463" y="2785"/>
              <a:ext cx="122" cy="90"/>
            </a:xfrm>
            <a:custGeom>
              <a:avLst/>
              <a:gdLst/>
              <a:ahLst/>
              <a:cxnLst>
                <a:cxn ang="0">
                  <a:pos x="20" y="9"/>
                </a:cxn>
                <a:cxn ang="0">
                  <a:pos x="26" y="7"/>
                </a:cxn>
                <a:cxn ang="0">
                  <a:pos x="47" y="0"/>
                </a:cxn>
                <a:cxn ang="0">
                  <a:pos x="60" y="5"/>
                </a:cxn>
                <a:cxn ang="0">
                  <a:pos x="68" y="9"/>
                </a:cxn>
                <a:cxn ang="0">
                  <a:pos x="71" y="13"/>
                </a:cxn>
                <a:cxn ang="0">
                  <a:pos x="75" y="13"/>
                </a:cxn>
                <a:cxn ang="0">
                  <a:pos x="81" y="13"/>
                </a:cxn>
                <a:cxn ang="0">
                  <a:pos x="86" y="22"/>
                </a:cxn>
                <a:cxn ang="0">
                  <a:pos x="90" y="28"/>
                </a:cxn>
                <a:cxn ang="0">
                  <a:pos x="92" y="32"/>
                </a:cxn>
                <a:cxn ang="0">
                  <a:pos x="100" y="39"/>
                </a:cxn>
                <a:cxn ang="0">
                  <a:pos x="101" y="45"/>
                </a:cxn>
                <a:cxn ang="0">
                  <a:pos x="101" y="54"/>
                </a:cxn>
                <a:cxn ang="0">
                  <a:pos x="105" y="60"/>
                </a:cxn>
                <a:cxn ang="0">
                  <a:pos x="111" y="68"/>
                </a:cxn>
                <a:cxn ang="0">
                  <a:pos x="115" y="69"/>
                </a:cxn>
                <a:cxn ang="0">
                  <a:pos x="118" y="75"/>
                </a:cxn>
                <a:cxn ang="0">
                  <a:pos x="116" y="79"/>
                </a:cxn>
                <a:cxn ang="0">
                  <a:pos x="122" y="85"/>
                </a:cxn>
                <a:cxn ang="0">
                  <a:pos x="122" y="90"/>
                </a:cxn>
                <a:cxn ang="0">
                  <a:pos x="116" y="88"/>
                </a:cxn>
                <a:cxn ang="0">
                  <a:pos x="111" y="85"/>
                </a:cxn>
                <a:cxn ang="0">
                  <a:pos x="101" y="85"/>
                </a:cxn>
                <a:cxn ang="0">
                  <a:pos x="92" y="83"/>
                </a:cxn>
                <a:cxn ang="0">
                  <a:pos x="73" y="79"/>
                </a:cxn>
                <a:cxn ang="0">
                  <a:pos x="69" y="79"/>
                </a:cxn>
                <a:cxn ang="0">
                  <a:pos x="47" y="77"/>
                </a:cxn>
                <a:cxn ang="0">
                  <a:pos x="36" y="85"/>
                </a:cxn>
                <a:cxn ang="0">
                  <a:pos x="19" y="88"/>
                </a:cxn>
                <a:cxn ang="0">
                  <a:pos x="15" y="83"/>
                </a:cxn>
                <a:cxn ang="0">
                  <a:pos x="15" y="81"/>
                </a:cxn>
                <a:cxn ang="0">
                  <a:pos x="22" y="79"/>
                </a:cxn>
                <a:cxn ang="0">
                  <a:pos x="11" y="79"/>
                </a:cxn>
                <a:cxn ang="0">
                  <a:pos x="11" y="77"/>
                </a:cxn>
                <a:cxn ang="0">
                  <a:pos x="13" y="69"/>
                </a:cxn>
                <a:cxn ang="0">
                  <a:pos x="30" y="66"/>
                </a:cxn>
                <a:cxn ang="0">
                  <a:pos x="36" y="62"/>
                </a:cxn>
                <a:cxn ang="0">
                  <a:pos x="41" y="64"/>
                </a:cxn>
                <a:cxn ang="0">
                  <a:pos x="45" y="60"/>
                </a:cxn>
                <a:cxn ang="0">
                  <a:pos x="52" y="64"/>
                </a:cxn>
                <a:cxn ang="0">
                  <a:pos x="64" y="68"/>
                </a:cxn>
                <a:cxn ang="0">
                  <a:pos x="69" y="66"/>
                </a:cxn>
                <a:cxn ang="0">
                  <a:pos x="68" y="64"/>
                </a:cxn>
                <a:cxn ang="0">
                  <a:pos x="54" y="58"/>
                </a:cxn>
                <a:cxn ang="0">
                  <a:pos x="45" y="54"/>
                </a:cxn>
                <a:cxn ang="0">
                  <a:pos x="36" y="54"/>
                </a:cxn>
                <a:cxn ang="0">
                  <a:pos x="26" y="60"/>
                </a:cxn>
                <a:cxn ang="0">
                  <a:pos x="15" y="62"/>
                </a:cxn>
                <a:cxn ang="0">
                  <a:pos x="17" y="58"/>
                </a:cxn>
                <a:cxn ang="0">
                  <a:pos x="13" y="54"/>
                </a:cxn>
                <a:cxn ang="0">
                  <a:pos x="9" y="51"/>
                </a:cxn>
                <a:cxn ang="0">
                  <a:pos x="0" y="39"/>
                </a:cxn>
                <a:cxn ang="0">
                  <a:pos x="17" y="19"/>
                </a:cxn>
                <a:cxn ang="0">
                  <a:pos x="17" y="13"/>
                </a:cxn>
              </a:cxnLst>
              <a:rect l="0" t="0" r="r" b="b"/>
              <a:pathLst>
                <a:path w="122" h="90">
                  <a:moveTo>
                    <a:pt x="17" y="13"/>
                  </a:moveTo>
                  <a:lnTo>
                    <a:pt x="20" y="9"/>
                  </a:lnTo>
                  <a:lnTo>
                    <a:pt x="24" y="9"/>
                  </a:lnTo>
                  <a:lnTo>
                    <a:pt x="26" y="7"/>
                  </a:lnTo>
                  <a:lnTo>
                    <a:pt x="36" y="5"/>
                  </a:lnTo>
                  <a:lnTo>
                    <a:pt x="47" y="0"/>
                  </a:lnTo>
                  <a:lnTo>
                    <a:pt x="51" y="0"/>
                  </a:lnTo>
                  <a:lnTo>
                    <a:pt x="60" y="5"/>
                  </a:lnTo>
                  <a:lnTo>
                    <a:pt x="64" y="5"/>
                  </a:lnTo>
                  <a:lnTo>
                    <a:pt x="68" y="9"/>
                  </a:lnTo>
                  <a:lnTo>
                    <a:pt x="68" y="13"/>
                  </a:lnTo>
                  <a:lnTo>
                    <a:pt x="71" y="13"/>
                  </a:lnTo>
                  <a:lnTo>
                    <a:pt x="75" y="13"/>
                  </a:lnTo>
                  <a:lnTo>
                    <a:pt x="75" y="13"/>
                  </a:lnTo>
                  <a:lnTo>
                    <a:pt x="77" y="13"/>
                  </a:lnTo>
                  <a:lnTo>
                    <a:pt x="81" y="13"/>
                  </a:lnTo>
                  <a:lnTo>
                    <a:pt x="81" y="19"/>
                  </a:lnTo>
                  <a:lnTo>
                    <a:pt x="86" y="22"/>
                  </a:lnTo>
                  <a:lnTo>
                    <a:pt x="86" y="26"/>
                  </a:lnTo>
                  <a:lnTo>
                    <a:pt x="90" y="28"/>
                  </a:lnTo>
                  <a:lnTo>
                    <a:pt x="90" y="32"/>
                  </a:lnTo>
                  <a:lnTo>
                    <a:pt x="92" y="32"/>
                  </a:lnTo>
                  <a:lnTo>
                    <a:pt x="98" y="36"/>
                  </a:lnTo>
                  <a:lnTo>
                    <a:pt x="100" y="39"/>
                  </a:lnTo>
                  <a:lnTo>
                    <a:pt x="101" y="39"/>
                  </a:lnTo>
                  <a:lnTo>
                    <a:pt x="101" y="45"/>
                  </a:lnTo>
                  <a:lnTo>
                    <a:pt x="103" y="45"/>
                  </a:lnTo>
                  <a:lnTo>
                    <a:pt x="101" y="54"/>
                  </a:lnTo>
                  <a:lnTo>
                    <a:pt x="101" y="58"/>
                  </a:lnTo>
                  <a:lnTo>
                    <a:pt x="105" y="60"/>
                  </a:lnTo>
                  <a:lnTo>
                    <a:pt x="109" y="66"/>
                  </a:lnTo>
                  <a:lnTo>
                    <a:pt x="111" y="68"/>
                  </a:lnTo>
                  <a:lnTo>
                    <a:pt x="113" y="68"/>
                  </a:lnTo>
                  <a:lnTo>
                    <a:pt x="115" y="69"/>
                  </a:lnTo>
                  <a:lnTo>
                    <a:pt x="116" y="71"/>
                  </a:lnTo>
                  <a:lnTo>
                    <a:pt x="118" y="75"/>
                  </a:lnTo>
                  <a:lnTo>
                    <a:pt x="118" y="77"/>
                  </a:lnTo>
                  <a:lnTo>
                    <a:pt x="116" y="79"/>
                  </a:lnTo>
                  <a:lnTo>
                    <a:pt x="118" y="83"/>
                  </a:lnTo>
                  <a:lnTo>
                    <a:pt x="122" y="85"/>
                  </a:lnTo>
                  <a:lnTo>
                    <a:pt x="122" y="88"/>
                  </a:lnTo>
                  <a:lnTo>
                    <a:pt x="122" y="90"/>
                  </a:lnTo>
                  <a:lnTo>
                    <a:pt x="120" y="88"/>
                  </a:lnTo>
                  <a:lnTo>
                    <a:pt x="116" y="88"/>
                  </a:lnTo>
                  <a:lnTo>
                    <a:pt x="115" y="85"/>
                  </a:lnTo>
                  <a:lnTo>
                    <a:pt x="111" y="85"/>
                  </a:lnTo>
                  <a:lnTo>
                    <a:pt x="107" y="88"/>
                  </a:lnTo>
                  <a:lnTo>
                    <a:pt x="101" y="85"/>
                  </a:lnTo>
                  <a:lnTo>
                    <a:pt x="96" y="85"/>
                  </a:lnTo>
                  <a:lnTo>
                    <a:pt x="92" y="83"/>
                  </a:lnTo>
                  <a:lnTo>
                    <a:pt x="86" y="79"/>
                  </a:lnTo>
                  <a:lnTo>
                    <a:pt x="73" y="79"/>
                  </a:lnTo>
                  <a:lnTo>
                    <a:pt x="69" y="79"/>
                  </a:lnTo>
                  <a:lnTo>
                    <a:pt x="69" y="79"/>
                  </a:lnTo>
                  <a:lnTo>
                    <a:pt x="66" y="77"/>
                  </a:lnTo>
                  <a:lnTo>
                    <a:pt x="47" y="77"/>
                  </a:lnTo>
                  <a:lnTo>
                    <a:pt x="41" y="81"/>
                  </a:lnTo>
                  <a:lnTo>
                    <a:pt x="36" y="85"/>
                  </a:lnTo>
                  <a:lnTo>
                    <a:pt x="24" y="85"/>
                  </a:lnTo>
                  <a:lnTo>
                    <a:pt x="19" y="88"/>
                  </a:lnTo>
                  <a:lnTo>
                    <a:pt x="13" y="85"/>
                  </a:lnTo>
                  <a:lnTo>
                    <a:pt x="15" y="83"/>
                  </a:lnTo>
                  <a:lnTo>
                    <a:pt x="13" y="81"/>
                  </a:lnTo>
                  <a:lnTo>
                    <a:pt x="15" y="81"/>
                  </a:lnTo>
                  <a:lnTo>
                    <a:pt x="19" y="83"/>
                  </a:lnTo>
                  <a:lnTo>
                    <a:pt x="22" y="79"/>
                  </a:lnTo>
                  <a:lnTo>
                    <a:pt x="15" y="77"/>
                  </a:lnTo>
                  <a:lnTo>
                    <a:pt x="11" y="79"/>
                  </a:lnTo>
                  <a:lnTo>
                    <a:pt x="9" y="79"/>
                  </a:lnTo>
                  <a:lnTo>
                    <a:pt x="11" y="77"/>
                  </a:lnTo>
                  <a:lnTo>
                    <a:pt x="11" y="71"/>
                  </a:lnTo>
                  <a:lnTo>
                    <a:pt x="13" y="69"/>
                  </a:lnTo>
                  <a:lnTo>
                    <a:pt x="26" y="69"/>
                  </a:lnTo>
                  <a:lnTo>
                    <a:pt x="30" y="66"/>
                  </a:lnTo>
                  <a:lnTo>
                    <a:pt x="34" y="66"/>
                  </a:lnTo>
                  <a:lnTo>
                    <a:pt x="36" y="62"/>
                  </a:lnTo>
                  <a:lnTo>
                    <a:pt x="39" y="62"/>
                  </a:lnTo>
                  <a:lnTo>
                    <a:pt x="41" y="64"/>
                  </a:lnTo>
                  <a:lnTo>
                    <a:pt x="45" y="62"/>
                  </a:lnTo>
                  <a:lnTo>
                    <a:pt x="45" y="60"/>
                  </a:lnTo>
                  <a:lnTo>
                    <a:pt x="51" y="64"/>
                  </a:lnTo>
                  <a:lnTo>
                    <a:pt x="52" y="64"/>
                  </a:lnTo>
                  <a:lnTo>
                    <a:pt x="58" y="66"/>
                  </a:lnTo>
                  <a:lnTo>
                    <a:pt x="64" y="68"/>
                  </a:lnTo>
                  <a:lnTo>
                    <a:pt x="69" y="68"/>
                  </a:lnTo>
                  <a:lnTo>
                    <a:pt x="69" y="66"/>
                  </a:lnTo>
                  <a:lnTo>
                    <a:pt x="69" y="64"/>
                  </a:lnTo>
                  <a:lnTo>
                    <a:pt x="68" y="64"/>
                  </a:lnTo>
                  <a:lnTo>
                    <a:pt x="58" y="58"/>
                  </a:lnTo>
                  <a:lnTo>
                    <a:pt x="54" y="58"/>
                  </a:lnTo>
                  <a:lnTo>
                    <a:pt x="51" y="54"/>
                  </a:lnTo>
                  <a:lnTo>
                    <a:pt x="45" y="54"/>
                  </a:lnTo>
                  <a:lnTo>
                    <a:pt x="41" y="54"/>
                  </a:lnTo>
                  <a:lnTo>
                    <a:pt x="36" y="54"/>
                  </a:lnTo>
                  <a:lnTo>
                    <a:pt x="30" y="60"/>
                  </a:lnTo>
                  <a:lnTo>
                    <a:pt x="26" y="60"/>
                  </a:lnTo>
                  <a:lnTo>
                    <a:pt x="24" y="62"/>
                  </a:lnTo>
                  <a:lnTo>
                    <a:pt x="15" y="62"/>
                  </a:lnTo>
                  <a:lnTo>
                    <a:pt x="15" y="60"/>
                  </a:lnTo>
                  <a:lnTo>
                    <a:pt x="17" y="58"/>
                  </a:lnTo>
                  <a:lnTo>
                    <a:pt x="13" y="54"/>
                  </a:lnTo>
                  <a:lnTo>
                    <a:pt x="13" y="54"/>
                  </a:lnTo>
                  <a:lnTo>
                    <a:pt x="13" y="51"/>
                  </a:lnTo>
                  <a:lnTo>
                    <a:pt x="9" y="51"/>
                  </a:lnTo>
                  <a:lnTo>
                    <a:pt x="5" y="45"/>
                  </a:lnTo>
                  <a:lnTo>
                    <a:pt x="0" y="39"/>
                  </a:lnTo>
                  <a:lnTo>
                    <a:pt x="11" y="28"/>
                  </a:lnTo>
                  <a:lnTo>
                    <a:pt x="17" y="19"/>
                  </a:lnTo>
                  <a:lnTo>
                    <a:pt x="17" y="13"/>
                  </a:lnTo>
                  <a:lnTo>
                    <a:pt x="17" y="13"/>
                  </a:lnTo>
                  <a:lnTo>
                    <a:pt x="17" y="13"/>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3" name="Freeform 116">
              <a:extLst>
                <a:ext uri="{FF2B5EF4-FFF2-40B4-BE49-F238E27FC236}">
                  <a16:creationId xmlns:a16="http://schemas.microsoft.com/office/drawing/2014/main" id="{B62FC8AE-4D8F-4EEA-8174-EE08D5AAED56}"/>
                </a:ext>
              </a:extLst>
            </p:cNvPr>
            <p:cNvSpPr>
              <a:spLocks/>
            </p:cNvSpPr>
            <p:nvPr/>
          </p:nvSpPr>
          <p:spPr bwMode="auto">
            <a:xfrm>
              <a:off x="2474" y="2839"/>
              <a:ext cx="58" cy="15"/>
            </a:xfrm>
            <a:custGeom>
              <a:avLst/>
              <a:gdLst/>
              <a:ahLst/>
              <a:cxnLst>
                <a:cxn ang="0">
                  <a:pos x="2" y="15"/>
                </a:cxn>
                <a:cxn ang="0">
                  <a:pos x="4" y="14"/>
                </a:cxn>
                <a:cxn ang="0">
                  <a:pos x="15" y="14"/>
                </a:cxn>
                <a:cxn ang="0">
                  <a:pos x="19" y="10"/>
                </a:cxn>
                <a:cxn ang="0">
                  <a:pos x="23" y="10"/>
                </a:cxn>
                <a:cxn ang="0">
                  <a:pos x="26" y="8"/>
                </a:cxn>
                <a:cxn ang="0">
                  <a:pos x="28" y="8"/>
                </a:cxn>
                <a:cxn ang="0">
                  <a:pos x="30" y="10"/>
                </a:cxn>
                <a:cxn ang="0">
                  <a:pos x="34" y="8"/>
                </a:cxn>
                <a:cxn ang="0">
                  <a:pos x="34" y="6"/>
                </a:cxn>
                <a:cxn ang="0">
                  <a:pos x="38" y="10"/>
                </a:cxn>
                <a:cxn ang="0">
                  <a:pos x="41" y="10"/>
                </a:cxn>
                <a:cxn ang="0">
                  <a:pos x="47" y="10"/>
                </a:cxn>
                <a:cxn ang="0">
                  <a:pos x="53" y="14"/>
                </a:cxn>
                <a:cxn ang="0">
                  <a:pos x="58" y="14"/>
                </a:cxn>
                <a:cxn ang="0">
                  <a:pos x="58" y="10"/>
                </a:cxn>
                <a:cxn ang="0">
                  <a:pos x="58" y="10"/>
                </a:cxn>
                <a:cxn ang="0">
                  <a:pos x="55" y="10"/>
                </a:cxn>
                <a:cxn ang="0">
                  <a:pos x="47" y="4"/>
                </a:cxn>
                <a:cxn ang="0">
                  <a:pos x="43" y="4"/>
                </a:cxn>
                <a:cxn ang="0">
                  <a:pos x="38" y="0"/>
                </a:cxn>
                <a:cxn ang="0">
                  <a:pos x="34" y="0"/>
                </a:cxn>
                <a:cxn ang="0">
                  <a:pos x="30" y="0"/>
                </a:cxn>
                <a:cxn ang="0">
                  <a:pos x="26" y="0"/>
                </a:cxn>
                <a:cxn ang="0">
                  <a:pos x="19" y="6"/>
                </a:cxn>
                <a:cxn ang="0">
                  <a:pos x="15" y="6"/>
                </a:cxn>
                <a:cxn ang="0">
                  <a:pos x="13" y="8"/>
                </a:cxn>
                <a:cxn ang="0">
                  <a:pos x="6" y="8"/>
                </a:cxn>
                <a:cxn ang="0">
                  <a:pos x="6" y="10"/>
                </a:cxn>
                <a:cxn ang="0">
                  <a:pos x="9" y="14"/>
                </a:cxn>
                <a:cxn ang="0">
                  <a:pos x="15" y="10"/>
                </a:cxn>
                <a:cxn ang="0">
                  <a:pos x="11" y="14"/>
                </a:cxn>
                <a:cxn ang="0">
                  <a:pos x="6" y="14"/>
                </a:cxn>
                <a:cxn ang="0">
                  <a:pos x="4" y="10"/>
                </a:cxn>
                <a:cxn ang="0">
                  <a:pos x="0" y="14"/>
                </a:cxn>
                <a:cxn ang="0">
                  <a:pos x="2" y="14"/>
                </a:cxn>
                <a:cxn ang="0">
                  <a:pos x="2" y="15"/>
                </a:cxn>
                <a:cxn ang="0">
                  <a:pos x="2" y="15"/>
                </a:cxn>
                <a:cxn ang="0">
                  <a:pos x="2" y="15"/>
                </a:cxn>
              </a:cxnLst>
              <a:rect l="0" t="0" r="r" b="b"/>
              <a:pathLst>
                <a:path w="58" h="15">
                  <a:moveTo>
                    <a:pt x="2" y="15"/>
                  </a:moveTo>
                  <a:lnTo>
                    <a:pt x="4" y="14"/>
                  </a:lnTo>
                  <a:lnTo>
                    <a:pt x="15" y="14"/>
                  </a:lnTo>
                  <a:lnTo>
                    <a:pt x="19" y="10"/>
                  </a:lnTo>
                  <a:lnTo>
                    <a:pt x="23" y="10"/>
                  </a:lnTo>
                  <a:lnTo>
                    <a:pt x="26" y="8"/>
                  </a:lnTo>
                  <a:lnTo>
                    <a:pt x="28" y="8"/>
                  </a:lnTo>
                  <a:lnTo>
                    <a:pt x="30" y="10"/>
                  </a:lnTo>
                  <a:lnTo>
                    <a:pt x="34" y="8"/>
                  </a:lnTo>
                  <a:lnTo>
                    <a:pt x="34" y="6"/>
                  </a:lnTo>
                  <a:lnTo>
                    <a:pt x="38" y="10"/>
                  </a:lnTo>
                  <a:lnTo>
                    <a:pt x="41" y="10"/>
                  </a:lnTo>
                  <a:lnTo>
                    <a:pt x="47" y="10"/>
                  </a:lnTo>
                  <a:lnTo>
                    <a:pt x="53" y="14"/>
                  </a:lnTo>
                  <a:lnTo>
                    <a:pt x="58" y="14"/>
                  </a:lnTo>
                  <a:lnTo>
                    <a:pt x="58" y="10"/>
                  </a:lnTo>
                  <a:lnTo>
                    <a:pt x="58" y="10"/>
                  </a:lnTo>
                  <a:lnTo>
                    <a:pt x="55" y="10"/>
                  </a:lnTo>
                  <a:lnTo>
                    <a:pt x="47" y="4"/>
                  </a:lnTo>
                  <a:lnTo>
                    <a:pt x="43" y="4"/>
                  </a:lnTo>
                  <a:lnTo>
                    <a:pt x="38" y="0"/>
                  </a:lnTo>
                  <a:lnTo>
                    <a:pt x="34" y="0"/>
                  </a:lnTo>
                  <a:lnTo>
                    <a:pt x="30" y="0"/>
                  </a:lnTo>
                  <a:lnTo>
                    <a:pt x="26" y="0"/>
                  </a:lnTo>
                  <a:lnTo>
                    <a:pt x="19" y="6"/>
                  </a:lnTo>
                  <a:lnTo>
                    <a:pt x="15" y="6"/>
                  </a:lnTo>
                  <a:lnTo>
                    <a:pt x="13" y="8"/>
                  </a:lnTo>
                  <a:lnTo>
                    <a:pt x="6" y="8"/>
                  </a:lnTo>
                  <a:lnTo>
                    <a:pt x="6" y="10"/>
                  </a:lnTo>
                  <a:lnTo>
                    <a:pt x="9" y="14"/>
                  </a:lnTo>
                  <a:lnTo>
                    <a:pt x="15" y="10"/>
                  </a:lnTo>
                  <a:lnTo>
                    <a:pt x="11" y="14"/>
                  </a:lnTo>
                  <a:lnTo>
                    <a:pt x="6" y="14"/>
                  </a:lnTo>
                  <a:lnTo>
                    <a:pt x="4" y="10"/>
                  </a:lnTo>
                  <a:lnTo>
                    <a:pt x="0" y="14"/>
                  </a:lnTo>
                  <a:lnTo>
                    <a:pt x="2" y="14"/>
                  </a:lnTo>
                  <a:lnTo>
                    <a:pt x="2" y="15"/>
                  </a:lnTo>
                  <a:lnTo>
                    <a:pt x="2" y="15"/>
                  </a:lnTo>
                  <a:lnTo>
                    <a:pt x="2" y="1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4" name="Freeform 117">
              <a:extLst>
                <a:ext uri="{FF2B5EF4-FFF2-40B4-BE49-F238E27FC236}">
                  <a16:creationId xmlns:a16="http://schemas.microsoft.com/office/drawing/2014/main" id="{11635477-019B-42CB-907E-E752AF48011A}"/>
                </a:ext>
              </a:extLst>
            </p:cNvPr>
            <p:cNvSpPr>
              <a:spLocks/>
            </p:cNvSpPr>
            <p:nvPr/>
          </p:nvSpPr>
          <p:spPr bwMode="auto">
            <a:xfrm>
              <a:off x="2480" y="2860"/>
              <a:ext cx="52" cy="36"/>
            </a:xfrm>
            <a:custGeom>
              <a:avLst/>
              <a:gdLst/>
              <a:ahLst/>
              <a:cxnLst>
                <a:cxn ang="0">
                  <a:pos x="0" y="8"/>
                </a:cxn>
                <a:cxn ang="0">
                  <a:pos x="3" y="11"/>
                </a:cxn>
                <a:cxn ang="0">
                  <a:pos x="9" y="6"/>
                </a:cxn>
                <a:cxn ang="0">
                  <a:pos x="20" y="6"/>
                </a:cxn>
                <a:cxn ang="0">
                  <a:pos x="24" y="2"/>
                </a:cxn>
                <a:cxn ang="0">
                  <a:pos x="30" y="0"/>
                </a:cxn>
                <a:cxn ang="0">
                  <a:pos x="47" y="0"/>
                </a:cxn>
                <a:cxn ang="0">
                  <a:pos x="51" y="0"/>
                </a:cxn>
                <a:cxn ang="0">
                  <a:pos x="52" y="6"/>
                </a:cxn>
                <a:cxn ang="0">
                  <a:pos x="51" y="11"/>
                </a:cxn>
                <a:cxn ang="0">
                  <a:pos x="51" y="17"/>
                </a:cxn>
                <a:cxn ang="0">
                  <a:pos x="52" y="19"/>
                </a:cxn>
                <a:cxn ang="0">
                  <a:pos x="52" y="23"/>
                </a:cxn>
                <a:cxn ang="0">
                  <a:pos x="51" y="26"/>
                </a:cxn>
                <a:cxn ang="0">
                  <a:pos x="43" y="26"/>
                </a:cxn>
                <a:cxn ang="0">
                  <a:pos x="39" y="28"/>
                </a:cxn>
                <a:cxn ang="0">
                  <a:pos x="35" y="30"/>
                </a:cxn>
                <a:cxn ang="0">
                  <a:pos x="34" y="34"/>
                </a:cxn>
                <a:cxn ang="0">
                  <a:pos x="28" y="36"/>
                </a:cxn>
                <a:cxn ang="0">
                  <a:pos x="28" y="34"/>
                </a:cxn>
                <a:cxn ang="0">
                  <a:pos x="28" y="32"/>
                </a:cxn>
                <a:cxn ang="0">
                  <a:pos x="22" y="32"/>
                </a:cxn>
                <a:cxn ang="0">
                  <a:pos x="24" y="26"/>
                </a:cxn>
                <a:cxn ang="0">
                  <a:pos x="24" y="26"/>
                </a:cxn>
                <a:cxn ang="0">
                  <a:pos x="24" y="26"/>
                </a:cxn>
                <a:cxn ang="0">
                  <a:pos x="22" y="23"/>
                </a:cxn>
                <a:cxn ang="0">
                  <a:pos x="20" y="23"/>
                </a:cxn>
                <a:cxn ang="0">
                  <a:pos x="19" y="21"/>
                </a:cxn>
                <a:cxn ang="0">
                  <a:pos x="28" y="21"/>
                </a:cxn>
                <a:cxn ang="0">
                  <a:pos x="28" y="21"/>
                </a:cxn>
                <a:cxn ang="0">
                  <a:pos x="24" y="17"/>
                </a:cxn>
                <a:cxn ang="0">
                  <a:pos x="20" y="19"/>
                </a:cxn>
                <a:cxn ang="0">
                  <a:pos x="15" y="19"/>
                </a:cxn>
                <a:cxn ang="0">
                  <a:pos x="15" y="19"/>
                </a:cxn>
                <a:cxn ang="0">
                  <a:pos x="11" y="17"/>
                </a:cxn>
                <a:cxn ang="0">
                  <a:pos x="9" y="17"/>
                </a:cxn>
                <a:cxn ang="0">
                  <a:pos x="5" y="13"/>
                </a:cxn>
                <a:cxn ang="0">
                  <a:pos x="9" y="11"/>
                </a:cxn>
                <a:cxn ang="0">
                  <a:pos x="7" y="11"/>
                </a:cxn>
                <a:cxn ang="0">
                  <a:pos x="0" y="11"/>
                </a:cxn>
                <a:cxn ang="0">
                  <a:pos x="0" y="8"/>
                </a:cxn>
                <a:cxn ang="0">
                  <a:pos x="0" y="8"/>
                </a:cxn>
                <a:cxn ang="0">
                  <a:pos x="0" y="8"/>
                </a:cxn>
                <a:cxn ang="0">
                  <a:pos x="0" y="8"/>
                </a:cxn>
              </a:cxnLst>
              <a:rect l="0" t="0" r="r" b="b"/>
              <a:pathLst>
                <a:path w="52" h="36">
                  <a:moveTo>
                    <a:pt x="0" y="8"/>
                  </a:moveTo>
                  <a:lnTo>
                    <a:pt x="3" y="11"/>
                  </a:lnTo>
                  <a:lnTo>
                    <a:pt x="9" y="6"/>
                  </a:lnTo>
                  <a:lnTo>
                    <a:pt x="20" y="6"/>
                  </a:lnTo>
                  <a:lnTo>
                    <a:pt x="24" y="2"/>
                  </a:lnTo>
                  <a:lnTo>
                    <a:pt x="30" y="0"/>
                  </a:lnTo>
                  <a:lnTo>
                    <a:pt x="47" y="0"/>
                  </a:lnTo>
                  <a:lnTo>
                    <a:pt x="51" y="0"/>
                  </a:lnTo>
                  <a:lnTo>
                    <a:pt x="52" y="6"/>
                  </a:lnTo>
                  <a:lnTo>
                    <a:pt x="51" y="11"/>
                  </a:lnTo>
                  <a:lnTo>
                    <a:pt x="51" y="17"/>
                  </a:lnTo>
                  <a:lnTo>
                    <a:pt x="52" y="19"/>
                  </a:lnTo>
                  <a:lnTo>
                    <a:pt x="52" y="23"/>
                  </a:lnTo>
                  <a:lnTo>
                    <a:pt x="51" y="26"/>
                  </a:lnTo>
                  <a:lnTo>
                    <a:pt x="43" y="26"/>
                  </a:lnTo>
                  <a:lnTo>
                    <a:pt x="39" y="28"/>
                  </a:lnTo>
                  <a:lnTo>
                    <a:pt x="35" y="30"/>
                  </a:lnTo>
                  <a:lnTo>
                    <a:pt x="34" y="34"/>
                  </a:lnTo>
                  <a:lnTo>
                    <a:pt x="28" y="36"/>
                  </a:lnTo>
                  <a:lnTo>
                    <a:pt x="28" y="34"/>
                  </a:lnTo>
                  <a:lnTo>
                    <a:pt x="28" y="32"/>
                  </a:lnTo>
                  <a:lnTo>
                    <a:pt x="22" y="32"/>
                  </a:lnTo>
                  <a:lnTo>
                    <a:pt x="24" y="26"/>
                  </a:lnTo>
                  <a:lnTo>
                    <a:pt x="24" y="26"/>
                  </a:lnTo>
                  <a:lnTo>
                    <a:pt x="24" y="26"/>
                  </a:lnTo>
                  <a:lnTo>
                    <a:pt x="22" y="23"/>
                  </a:lnTo>
                  <a:lnTo>
                    <a:pt x="20" y="23"/>
                  </a:lnTo>
                  <a:lnTo>
                    <a:pt x="19" y="21"/>
                  </a:lnTo>
                  <a:lnTo>
                    <a:pt x="28" y="21"/>
                  </a:lnTo>
                  <a:lnTo>
                    <a:pt x="28" y="21"/>
                  </a:lnTo>
                  <a:lnTo>
                    <a:pt x="24" y="17"/>
                  </a:lnTo>
                  <a:lnTo>
                    <a:pt x="20" y="19"/>
                  </a:lnTo>
                  <a:lnTo>
                    <a:pt x="15" y="19"/>
                  </a:lnTo>
                  <a:lnTo>
                    <a:pt x="15" y="19"/>
                  </a:lnTo>
                  <a:lnTo>
                    <a:pt x="11" y="17"/>
                  </a:lnTo>
                  <a:lnTo>
                    <a:pt x="9" y="17"/>
                  </a:lnTo>
                  <a:lnTo>
                    <a:pt x="5" y="13"/>
                  </a:lnTo>
                  <a:lnTo>
                    <a:pt x="9" y="11"/>
                  </a:lnTo>
                  <a:lnTo>
                    <a:pt x="7" y="11"/>
                  </a:lnTo>
                  <a:lnTo>
                    <a:pt x="0" y="11"/>
                  </a:lnTo>
                  <a:lnTo>
                    <a:pt x="0" y="8"/>
                  </a:lnTo>
                  <a:lnTo>
                    <a:pt x="0" y="8"/>
                  </a:lnTo>
                  <a:lnTo>
                    <a:pt x="0" y="8"/>
                  </a:lnTo>
                  <a:lnTo>
                    <a:pt x="0"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5" name="Freeform 118">
              <a:extLst>
                <a:ext uri="{FF2B5EF4-FFF2-40B4-BE49-F238E27FC236}">
                  <a16:creationId xmlns:a16="http://schemas.microsoft.com/office/drawing/2014/main" id="{CF360BAB-9ADD-4999-A277-776076CE2F9B}"/>
                </a:ext>
              </a:extLst>
            </p:cNvPr>
            <p:cNvSpPr>
              <a:spLocks/>
            </p:cNvSpPr>
            <p:nvPr/>
          </p:nvSpPr>
          <p:spPr bwMode="auto">
            <a:xfrm>
              <a:off x="2515" y="2860"/>
              <a:ext cx="128" cy="132"/>
            </a:xfrm>
            <a:custGeom>
              <a:avLst/>
              <a:gdLst/>
              <a:ahLst/>
              <a:cxnLst>
                <a:cxn ang="0">
                  <a:pos x="2" y="28"/>
                </a:cxn>
                <a:cxn ang="0">
                  <a:pos x="12" y="25"/>
                </a:cxn>
                <a:cxn ang="0">
                  <a:pos x="19" y="21"/>
                </a:cxn>
                <a:cxn ang="0">
                  <a:pos x="19" y="15"/>
                </a:cxn>
                <a:cxn ang="0">
                  <a:pos x="19" y="6"/>
                </a:cxn>
                <a:cxn ang="0">
                  <a:pos x="21" y="0"/>
                </a:cxn>
                <a:cxn ang="0">
                  <a:pos x="40" y="4"/>
                </a:cxn>
                <a:cxn ang="0">
                  <a:pos x="49" y="6"/>
                </a:cxn>
                <a:cxn ang="0">
                  <a:pos x="57" y="6"/>
                </a:cxn>
                <a:cxn ang="0">
                  <a:pos x="63" y="10"/>
                </a:cxn>
                <a:cxn ang="0">
                  <a:pos x="68" y="11"/>
                </a:cxn>
                <a:cxn ang="0">
                  <a:pos x="72" y="10"/>
                </a:cxn>
                <a:cxn ang="0">
                  <a:pos x="80" y="15"/>
                </a:cxn>
                <a:cxn ang="0">
                  <a:pos x="87" y="11"/>
                </a:cxn>
                <a:cxn ang="0">
                  <a:pos x="93" y="6"/>
                </a:cxn>
                <a:cxn ang="0">
                  <a:pos x="102" y="10"/>
                </a:cxn>
                <a:cxn ang="0">
                  <a:pos x="106" y="6"/>
                </a:cxn>
                <a:cxn ang="0">
                  <a:pos x="110" y="11"/>
                </a:cxn>
                <a:cxn ang="0">
                  <a:pos x="112" y="21"/>
                </a:cxn>
                <a:cxn ang="0">
                  <a:pos x="117" y="25"/>
                </a:cxn>
                <a:cxn ang="0">
                  <a:pos x="113" y="30"/>
                </a:cxn>
                <a:cxn ang="0">
                  <a:pos x="115" y="36"/>
                </a:cxn>
                <a:cxn ang="0">
                  <a:pos x="119" y="32"/>
                </a:cxn>
                <a:cxn ang="0">
                  <a:pos x="121" y="38"/>
                </a:cxn>
                <a:cxn ang="0">
                  <a:pos x="125" y="42"/>
                </a:cxn>
                <a:cxn ang="0">
                  <a:pos x="128" y="45"/>
                </a:cxn>
                <a:cxn ang="0">
                  <a:pos x="119" y="49"/>
                </a:cxn>
                <a:cxn ang="0">
                  <a:pos x="121" y="55"/>
                </a:cxn>
                <a:cxn ang="0">
                  <a:pos x="121" y="64"/>
                </a:cxn>
                <a:cxn ang="0">
                  <a:pos x="123" y="74"/>
                </a:cxn>
                <a:cxn ang="0">
                  <a:pos x="125" y="79"/>
                </a:cxn>
                <a:cxn ang="0">
                  <a:pos x="119" y="81"/>
                </a:cxn>
                <a:cxn ang="0">
                  <a:pos x="123" y="87"/>
                </a:cxn>
                <a:cxn ang="0">
                  <a:pos x="125" y="92"/>
                </a:cxn>
                <a:cxn ang="0">
                  <a:pos x="115" y="106"/>
                </a:cxn>
                <a:cxn ang="0">
                  <a:pos x="115" y="111"/>
                </a:cxn>
                <a:cxn ang="0">
                  <a:pos x="110" y="121"/>
                </a:cxn>
                <a:cxn ang="0">
                  <a:pos x="83" y="132"/>
                </a:cxn>
                <a:cxn ang="0">
                  <a:pos x="76" y="126"/>
                </a:cxn>
                <a:cxn ang="0">
                  <a:pos x="68" y="121"/>
                </a:cxn>
                <a:cxn ang="0">
                  <a:pos x="68" y="115"/>
                </a:cxn>
                <a:cxn ang="0">
                  <a:pos x="76" y="85"/>
                </a:cxn>
                <a:cxn ang="0">
                  <a:pos x="76" y="81"/>
                </a:cxn>
                <a:cxn ang="0">
                  <a:pos x="78" y="77"/>
                </a:cxn>
                <a:cxn ang="0">
                  <a:pos x="76" y="70"/>
                </a:cxn>
                <a:cxn ang="0">
                  <a:pos x="72" y="60"/>
                </a:cxn>
                <a:cxn ang="0">
                  <a:pos x="66" y="51"/>
                </a:cxn>
                <a:cxn ang="0">
                  <a:pos x="48" y="51"/>
                </a:cxn>
                <a:cxn ang="0">
                  <a:pos x="38" y="60"/>
                </a:cxn>
                <a:cxn ang="0">
                  <a:pos x="34" y="66"/>
                </a:cxn>
                <a:cxn ang="0">
                  <a:pos x="29" y="64"/>
                </a:cxn>
                <a:cxn ang="0">
                  <a:pos x="21" y="57"/>
                </a:cxn>
                <a:cxn ang="0">
                  <a:pos x="16" y="55"/>
                </a:cxn>
                <a:cxn ang="0">
                  <a:pos x="19" y="49"/>
                </a:cxn>
                <a:cxn ang="0">
                  <a:pos x="14" y="51"/>
                </a:cxn>
                <a:cxn ang="0">
                  <a:pos x="6" y="49"/>
                </a:cxn>
                <a:cxn ang="0">
                  <a:pos x="4" y="36"/>
                </a:cxn>
                <a:cxn ang="0">
                  <a:pos x="0" y="32"/>
                </a:cxn>
                <a:cxn ang="0">
                  <a:pos x="0" y="32"/>
                </a:cxn>
              </a:cxnLst>
              <a:rect l="0" t="0" r="r" b="b"/>
              <a:pathLst>
                <a:path w="128" h="132">
                  <a:moveTo>
                    <a:pt x="0" y="32"/>
                  </a:moveTo>
                  <a:lnTo>
                    <a:pt x="2" y="28"/>
                  </a:lnTo>
                  <a:lnTo>
                    <a:pt x="6" y="26"/>
                  </a:lnTo>
                  <a:lnTo>
                    <a:pt x="12" y="25"/>
                  </a:lnTo>
                  <a:lnTo>
                    <a:pt x="19" y="25"/>
                  </a:lnTo>
                  <a:lnTo>
                    <a:pt x="19" y="21"/>
                  </a:lnTo>
                  <a:lnTo>
                    <a:pt x="19" y="17"/>
                  </a:lnTo>
                  <a:lnTo>
                    <a:pt x="19" y="15"/>
                  </a:lnTo>
                  <a:lnTo>
                    <a:pt x="19" y="10"/>
                  </a:lnTo>
                  <a:lnTo>
                    <a:pt x="19" y="6"/>
                  </a:lnTo>
                  <a:lnTo>
                    <a:pt x="19" y="0"/>
                  </a:lnTo>
                  <a:lnTo>
                    <a:pt x="21" y="0"/>
                  </a:lnTo>
                  <a:lnTo>
                    <a:pt x="34" y="0"/>
                  </a:lnTo>
                  <a:lnTo>
                    <a:pt x="40" y="4"/>
                  </a:lnTo>
                  <a:lnTo>
                    <a:pt x="44" y="6"/>
                  </a:lnTo>
                  <a:lnTo>
                    <a:pt x="49" y="6"/>
                  </a:lnTo>
                  <a:lnTo>
                    <a:pt x="53" y="10"/>
                  </a:lnTo>
                  <a:lnTo>
                    <a:pt x="57" y="6"/>
                  </a:lnTo>
                  <a:lnTo>
                    <a:pt x="61" y="6"/>
                  </a:lnTo>
                  <a:lnTo>
                    <a:pt x="63" y="10"/>
                  </a:lnTo>
                  <a:lnTo>
                    <a:pt x="66" y="10"/>
                  </a:lnTo>
                  <a:lnTo>
                    <a:pt x="68" y="11"/>
                  </a:lnTo>
                  <a:lnTo>
                    <a:pt x="68" y="11"/>
                  </a:lnTo>
                  <a:lnTo>
                    <a:pt x="72" y="10"/>
                  </a:lnTo>
                  <a:lnTo>
                    <a:pt x="76" y="11"/>
                  </a:lnTo>
                  <a:lnTo>
                    <a:pt x="80" y="15"/>
                  </a:lnTo>
                  <a:lnTo>
                    <a:pt x="83" y="15"/>
                  </a:lnTo>
                  <a:lnTo>
                    <a:pt x="87" y="11"/>
                  </a:lnTo>
                  <a:lnTo>
                    <a:pt x="91" y="11"/>
                  </a:lnTo>
                  <a:lnTo>
                    <a:pt x="93" y="6"/>
                  </a:lnTo>
                  <a:lnTo>
                    <a:pt x="96" y="6"/>
                  </a:lnTo>
                  <a:lnTo>
                    <a:pt x="102" y="10"/>
                  </a:lnTo>
                  <a:lnTo>
                    <a:pt x="104" y="6"/>
                  </a:lnTo>
                  <a:lnTo>
                    <a:pt x="106" y="6"/>
                  </a:lnTo>
                  <a:lnTo>
                    <a:pt x="106" y="10"/>
                  </a:lnTo>
                  <a:lnTo>
                    <a:pt x="110" y="11"/>
                  </a:lnTo>
                  <a:lnTo>
                    <a:pt x="112" y="15"/>
                  </a:lnTo>
                  <a:lnTo>
                    <a:pt x="112" y="21"/>
                  </a:lnTo>
                  <a:lnTo>
                    <a:pt x="113" y="25"/>
                  </a:lnTo>
                  <a:lnTo>
                    <a:pt x="117" y="25"/>
                  </a:lnTo>
                  <a:lnTo>
                    <a:pt x="117" y="25"/>
                  </a:lnTo>
                  <a:lnTo>
                    <a:pt x="113" y="30"/>
                  </a:lnTo>
                  <a:lnTo>
                    <a:pt x="112" y="36"/>
                  </a:lnTo>
                  <a:lnTo>
                    <a:pt x="115" y="36"/>
                  </a:lnTo>
                  <a:lnTo>
                    <a:pt x="117" y="32"/>
                  </a:lnTo>
                  <a:lnTo>
                    <a:pt x="119" y="32"/>
                  </a:lnTo>
                  <a:lnTo>
                    <a:pt x="119" y="36"/>
                  </a:lnTo>
                  <a:lnTo>
                    <a:pt x="121" y="38"/>
                  </a:lnTo>
                  <a:lnTo>
                    <a:pt x="121" y="42"/>
                  </a:lnTo>
                  <a:lnTo>
                    <a:pt x="125" y="42"/>
                  </a:lnTo>
                  <a:lnTo>
                    <a:pt x="128" y="42"/>
                  </a:lnTo>
                  <a:lnTo>
                    <a:pt x="128" y="45"/>
                  </a:lnTo>
                  <a:lnTo>
                    <a:pt x="125" y="47"/>
                  </a:lnTo>
                  <a:lnTo>
                    <a:pt x="119" y="49"/>
                  </a:lnTo>
                  <a:lnTo>
                    <a:pt x="119" y="51"/>
                  </a:lnTo>
                  <a:lnTo>
                    <a:pt x="121" y="55"/>
                  </a:lnTo>
                  <a:lnTo>
                    <a:pt x="121" y="60"/>
                  </a:lnTo>
                  <a:lnTo>
                    <a:pt x="121" y="64"/>
                  </a:lnTo>
                  <a:lnTo>
                    <a:pt x="121" y="72"/>
                  </a:lnTo>
                  <a:lnTo>
                    <a:pt x="123" y="74"/>
                  </a:lnTo>
                  <a:lnTo>
                    <a:pt x="125" y="77"/>
                  </a:lnTo>
                  <a:lnTo>
                    <a:pt x="125" y="79"/>
                  </a:lnTo>
                  <a:lnTo>
                    <a:pt x="123" y="79"/>
                  </a:lnTo>
                  <a:lnTo>
                    <a:pt x="119" y="81"/>
                  </a:lnTo>
                  <a:lnTo>
                    <a:pt x="119" y="83"/>
                  </a:lnTo>
                  <a:lnTo>
                    <a:pt x="123" y="87"/>
                  </a:lnTo>
                  <a:lnTo>
                    <a:pt x="125" y="89"/>
                  </a:lnTo>
                  <a:lnTo>
                    <a:pt x="125" y="92"/>
                  </a:lnTo>
                  <a:lnTo>
                    <a:pt x="119" y="102"/>
                  </a:lnTo>
                  <a:lnTo>
                    <a:pt x="115" y="106"/>
                  </a:lnTo>
                  <a:lnTo>
                    <a:pt x="115" y="106"/>
                  </a:lnTo>
                  <a:lnTo>
                    <a:pt x="115" y="111"/>
                  </a:lnTo>
                  <a:lnTo>
                    <a:pt x="113" y="117"/>
                  </a:lnTo>
                  <a:lnTo>
                    <a:pt x="110" y="121"/>
                  </a:lnTo>
                  <a:lnTo>
                    <a:pt x="110" y="123"/>
                  </a:lnTo>
                  <a:lnTo>
                    <a:pt x="83" y="132"/>
                  </a:lnTo>
                  <a:lnTo>
                    <a:pt x="78" y="126"/>
                  </a:lnTo>
                  <a:lnTo>
                    <a:pt x="76" y="126"/>
                  </a:lnTo>
                  <a:lnTo>
                    <a:pt x="68" y="121"/>
                  </a:lnTo>
                  <a:lnTo>
                    <a:pt x="68" y="121"/>
                  </a:lnTo>
                  <a:lnTo>
                    <a:pt x="68" y="115"/>
                  </a:lnTo>
                  <a:lnTo>
                    <a:pt x="68" y="115"/>
                  </a:lnTo>
                  <a:lnTo>
                    <a:pt x="76" y="111"/>
                  </a:lnTo>
                  <a:lnTo>
                    <a:pt x="76" y="85"/>
                  </a:lnTo>
                  <a:lnTo>
                    <a:pt x="78" y="81"/>
                  </a:lnTo>
                  <a:lnTo>
                    <a:pt x="76" y="81"/>
                  </a:lnTo>
                  <a:lnTo>
                    <a:pt x="76" y="77"/>
                  </a:lnTo>
                  <a:lnTo>
                    <a:pt x="78" y="77"/>
                  </a:lnTo>
                  <a:lnTo>
                    <a:pt x="78" y="74"/>
                  </a:lnTo>
                  <a:lnTo>
                    <a:pt x="76" y="70"/>
                  </a:lnTo>
                  <a:lnTo>
                    <a:pt x="76" y="66"/>
                  </a:lnTo>
                  <a:lnTo>
                    <a:pt x="72" y="60"/>
                  </a:lnTo>
                  <a:lnTo>
                    <a:pt x="68" y="57"/>
                  </a:lnTo>
                  <a:lnTo>
                    <a:pt x="66" y="51"/>
                  </a:lnTo>
                  <a:lnTo>
                    <a:pt x="49" y="51"/>
                  </a:lnTo>
                  <a:lnTo>
                    <a:pt x="48" y="51"/>
                  </a:lnTo>
                  <a:lnTo>
                    <a:pt x="44" y="57"/>
                  </a:lnTo>
                  <a:lnTo>
                    <a:pt x="38" y="60"/>
                  </a:lnTo>
                  <a:lnTo>
                    <a:pt x="38" y="62"/>
                  </a:lnTo>
                  <a:lnTo>
                    <a:pt x="34" y="66"/>
                  </a:lnTo>
                  <a:lnTo>
                    <a:pt x="31" y="66"/>
                  </a:lnTo>
                  <a:lnTo>
                    <a:pt x="29" y="64"/>
                  </a:lnTo>
                  <a:lnTo>
                    <a:pt x="23" y="60"/>
                  </a:lnTo>
                  <a:lnTo>
                    <a:pt x="21" y="57"/>
                  </a:lnTo>
                  <a:lnTo>
                    <a:pt x="19" y="57"/>
                  </a:lnTo>
                  <a:lnTo>
                    <a:pt x="16" y="55"/>
                  </a:lnTo>
                  <a:lnTo>
                    <a:pt x="16" y="51"/>
                  </a:lnTo>
                  <a:lnTo>
                    <a:pt x="19" y="49"/>
                  </a:lnTo>
                  <a:lnTo>
                    <a:pt x="16" y="49"/>
                  </a:lnTo>
                  <a:lnTo>
                    <a:pt x="14" y="51"/>
                  </a:lnTo>
                  <a:lnTo>
                    <a:pt x="10" y="49"/>
                  </a:lnTo>
                  <a:lnTo>
                    <a:pt x="6" y="49"/>
                  </a:lnTo>
                  <a:lnTo>
                    <a:pt x="2" y="42"/>
                  </a:lnTo>
                  <a:lnTo>
                    <a:pt x="4" y="36"/>
                  </a:lnTo>
                  <a:lnTo>
                    <a:pt x="0" y="32"/>
                  </a:lnTo>
                  <a:lnTo>
                    <a:pt x="0" y="32"/>
                  </a:lnTo>
                  <a:lnTo>
                    <a:pt x="0" y="32"/>
                  </a:lnTo>
                  <a:lnTo>
                    <a:pt x="0" y="3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6" name="Freeform 119">
              <a:extLst>
                <a:ext uri="{FF2B5EF4-FFF2-40B4-BE49-F238E27FC236}">
                  <a16:creationId xmlns:a16="http://schemas.microsoft.com/office/drawing/2014/main" id="{87717366-C709-48E3-8DDE-2677C072C0C9}"/>
                </a:ext>
              </a:extLst>
            </p:cNvPr>
            <p:cNvSpPr>
              <a:spLocks noEditPoints="1"/>
            </p:cNvSpPr>
            <p:nvPr/>
          </p:nvSpPr>
          <p:spPr bwMode="auto">
            <a:xfrm>
              <a:off x="2542" y="2913"/>
              <a:ext cx="53" cy="64"/>
            </a:xfrm>
            <a:custGeom>
              <a:avLst/>
              <a:gdLst/>
              <a:ahLst/>
              <a:cxnLst>
                <a:cxn ang="0">
                  <a:pos x="15" y="54"/>
                </a:cxn>
                <a:cxn ang="0">
                  <a:pos x="15" y="51"/>
                </a:cxn>
                <a:cxn ang="0">
                  <a:pos x="13" y="49"/>
                </a:cxn>
                <a:cxn ang="0">
                  <a:pos x="11" y="49"/>
                </a:cxn>
                <a:cxn ang="0">
                  <a:pos x="9" y="51"/>
                </a:cxn>
                <a:cxn ang="0">
                  <a:pos x="11" y="53"/>
                </a:cxn>
                <a:cxn ang="0">
                  <a:pos x="13" y="54"/>
                </a:cxn>
                <a:cxn ang="0">
                  <a:pos x="15" y="54"/>
                </a:cxn>
                <a:cxn ang="0">
                  <a:pos x="15" y="54"/>
                </a:cxn>
                <a:cxn ang="0">
                  <a:pos x="15" y="54"/>
                </a:cxn>
                <a:cxn ang="0">
                  <a:pos x="15" y="54"/>
                </a:cxn>
                <a:cxn ang="0">
                  <a:pos x="2" y="15"/>
                </a:cxn>
                <a:cxn ang="0">
                  <a:pos x="5" y="15"/>
                </a:cxn>
                <a:cxn ang="0">
                  <a:pos x="11" y="11"/>
                </a:cxn>
                <a:cxn ang="0">
                  <a:pos x="11" y="9"/>
                </a:cxn>
                <a:cxn ang="0">
                  <a:pos x="17" y="6"/>
                </a:cxn>
                <a:cxn ang="0">
                  <a:pos x="21" y="2"/>
                </a:cxn>
                <a:cxn ang="0">
                  <a:pos x="24" y="0"/>
                </a:cxn>
                <a:cxn ang="0">
                  <a:pos x="41" y="0"/>
                </a:cxn>
                <a:cxn ang="0">
                  <a:pos x="43" y="6"/>
                </a:cxn>
                <a:cxn ang="0">
                  <a:pos x="47" y="9"/>
                </a:cxn>
                <a:cxn ang="0">
                  <a:pos x="51" y="15"/>
                </a:cxn>
                <a:cxn ang="0">
                  <a:pos x="51" y="19"/>
                </a:cxn>
                <a:cxn ang="0">
                  <a:pos x="53" y="22"/>
                </a:cxn>
                <a:cxn ang="0">
                  <a:pos x="53" y="26"/>
                </a:cxn>
                <a:cxn ang="0">
                  <a:pos x="53" y="26"/>
                </a:cxn>
                <a:cxn ang="0">
                  <a:pos x="51" y="30"/>
                </a:cxn>
                <a:cxn ang="0">
                  <a:pos x="53" y="30"/>
                </a:cxn>
                <a:cxn ang="0">
                  <a:pos x="53" y="34"/>
                </a:cxn>
                <a:cxn ang="0">
                  <a:pos x="51" y="58"/>
                </a:cxn>
                <a:cxn ang="0">
                  <a:pos x="43" y="64"/>
                </a:cxn>
                <a:cxn ang="0">
                  <a:pos x="41" y="60"/>
                </a:cxn>
                <a:cxn ang="0">
                  <a:pos x="34" y="60"/>
                </a:cxn>
                <a:cxn ang="0">
                  <a:pos x="22" y="54"/>
                </a:cxn>
                <a:cxn ang="0">
                  <a:pos x="19" y="54"/>
                </a:cxn>
                <a:cxn ang="0">
                  <a:pos x="19" y="54"/>
                </a:cxn>
                <a:cxn ang="0">
                  <a:pos x="17" y="51"/>
                </a:cxn>
                <a:cxn ang="0">
                  <a:pos x="15" y="49"/>
                </a:cxn>
                <a:cxn ang="0">
                  <a:pos x="15" y="45"/>
                </a:cxn>
                <a:cxn ang="0">
                  <a:pos x="15" y="43"/>
                </a:cxn>
                <a:cxn ang="0">
                  <a:pos x="11" y="45"/>
                </a:cxn>
                <a:cxn ang="0">
                  <a:pos x="7" y="43"/>
                </a:cxn>
                <a:cxn ang="0">
                  <a:pos x="7" y="36"/>
                </a:cxn>
                <a:cxn ang="0">
                  <a:pos x="5" y="30"/>
                </a:cxn>
                <a:cxn ang="0">
                  <a:pos x="2" y="30"/>
                </a:cxn>
                <a:cxn ang="0">
                  <a:pos x="0" y="28"/>
                </a:cxn>
                <a:cxn ang="0">
                  <a:pos x="4" y="22"/>
                </a:cxn>
                <a:cxn ang="0">
                  <a:pos x="0" y="21"/>
                </a:cxn>
                <a:cxn ang="0">
                  <a:pos x="0" y="19"/>
                </a:cxn>
                <a:cxn ang="0">
                  <a:pos x="2" y="15"/>
                </a:cxn>
                <a:cxn ang="0">
                  <a:pos x="2" y="15"/>
                </a:cxn>
                <a:cxn ang="0">
                  <a:pos x="2" y="15"/>
                </a:cxn>
                <a:cxn ang="0">
                  <a:pos x="2" y="15"/>
                </a:cxn>
              </a:cxnLst>
              <a:rect l="0" t="0" r="r" b="b"/>
              <a:pathLst>
                <a:path w="53" h="64">
                  <a:moveTo>
                    <a:pt x="15" y="54"/>
                  </a:moveTo>
                  <a:lnTo>
                    <a:pt x="15" y="51"/>
                  </a:lnTo>
                  <a:lnTo>
                    <a:pt x="13" y="49"/>
                  </a:lnTo>
                  <a:lnTo>
                    <a:pt x="11" y="49"/>
                  </a:lnTo>
                  <a:lnTo>
                    <a:pt x="9" y="51"/>
                  </a:lnTo>
                  <a:lnTo>
                    <a:pt x="11" y="53"/>
                  </a:lnTo>
                  <a:lnTo>
                    <a:pt x="13" y="54"/>
                  </a:lnTo>
                  <a:lnTo>
                    <a:pt x="15" y="54"/>
                  </a:lnTo>
                  <a:lnTo>
                    <a:pt x="15" y="54"/>
                  </a:lnTo>
                  <a:lnTo>
                    <a:pt x="15" y="54"/>
                  </a:lnTo>
                  <a:lnTo>
                    <a:pt x="15" y="54"/>
                  </a:lnTo>
                  <a:close/>
                  <a:moveTo>
                    <a:pt x="2" y="15"/>
                  </a:moveTo>
                  <a:lnTo>
                    <a:pt x="5" y="15"/>
                  </a:lnTo>
                  <a:lnTo>
                    <a:pt x="11" y="11"/>
                  </a:lnTo>
                  <a:lnTo>
                    <a:pt x="11" y="9"/>
                  </a:lnTo>
                  <a:lnTo>
                    <a:pt x="17" y="6"/>
                  </a:lnTo>
                  <a:lnTo>
                    <a:pt x="21" y="2"/>
                  </a:lnTo>
                  <a:lnTo>
                    <a:pt x="24" y="0"/>
                  </a:lnTo>
                  <a:lnTo>
                    <a:pt x="41" y="0"/>
                  </a:lnTo>
                  <a:lnTo>
                    <a:pt x="43" y="6"/>
                  </a:lnTo>
                  <a:lnTo>
                    <a:pt x="47" y="9"/>
                  </a:lnTo>
                  <a:lnTo>
                    <a:pt x="51" y="15"/>
                  </a:lnTo>
                  <a:lnTo>
                    <a:pt x="51" y="19"/>
                  </a:lnTo>
                  <a:lnTo>
                    <a:pt x="53" y="22"/>
                  </a:lnTo>
                  <a:lnTo>
                    <a:pt x="53" y="26"/>
                  </a:lnTo>
                  <a:lnTo>
                    <a:pt x="53" y="26"/>
                  </a:lnTo>
                  <a:lnTo>
                    <a:pt x="51" y="30"/>
                  </a:lnTo>
                  <a:lnTo>
                    <a:pt x="53" y="30"/>
                  </a:lnTo>
                  <a:lnTo>
                    <a:pt x="53" y="34"/>
                  </a:lnTo>
                  <a:lnTo>
                    <a:pt x="51" y="58"/>
                  </a:lnTo>
                  <a:lnTo>
                    <a:pt x="43" y="64"/>
                  </a:lnTo>
                  <a:lnTo>
                    <a:pt x="41" y="60"/>
                  </a:lnTo>
                  <a:lnTo>
                    <a:pt x="34" y="60"/>
                  </a:lnTo>
                  <a:lnTo>
                    <a:pt x="22" y="54"/>
                  </a:lnTo>
                  <a:lnTo>
                    <a:pt x="19" y="54"/>
                  </a:lnTo>
                  <a:lnTo>
                    <a:pt x="19" y="54"/>
                  </a:lnTo>
                  <a:lnTo>
                    <a:pt x="17" y="51"/>
                  </a:lnTo>
                  <a:lnTo>
                    <a:pt x="15" y="49"/>
                  </a:lnTo>
                  <a:lnTo>
                    <a:pt x="15" y="45"/>
                  </a:lnTo>
                  <a:lnTo>
                    <a:pt x="15" y="43"/>
                  </a:lnTo>
                  <a:lnTo>
                    <a:pt x="11" y="45"/>
                  </a:lnTo>
                  <a:lnTo>
                    <a:pt x="7" y="43"/>
                  </a:lnTo>
                  <a:lnTo>
                    <a:pt x="7" y="36"/>
                  </a:lnTo>
                  <a:lnTo>
                    <a:pt x="5" y="30"/>
                  </a:lnTo>
                  <a:lnTo>
                    <a:pt x="2" y="30"/>
                  </a:lnTo>
                  <a:lnTo>
                    <a:pt x="0" y="28"/>
                  </a:lnTo>
                  <a:lnTo>
                    <a:pt x="4" y="22"/>
                  </a:lnTo>
                  <a:lnTo>
                    <a:pt x="0" y="21"/>
                  </a:lnTo>
                  <a:lnTo>
                    <a:pt x="0" y="19"/>
                  </a:lnTo>
                  <a:lnTo>
                    <a:pt x="2" y="15"/>
                  </a:lnTo>
                  <a:lnTo>
                    <a:pt x="2" y="15"/>
                  </a:lnTo>
                  <a:lnTo>
                    <a:pt x="2" y="15"/>
                  </a:lnTo>
                  <a:lnTo>
                    <a:pt x="2" y="1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7" name="Freeform 120">
              <a:extLst>
                <a:ext uri="{FF2B5EF4-FFF2-40B4-BE49-F238E27FC236}">
                  <a16:creationId xmlns:a16="http://schemas.microsoft.com/office/drawing/2014/main" id="{7EBFA13D-1382-4B0A-B067-82250B5B4BD0}"/>
                </a:ext>
              </a:extLst>
            </p:cNvPr>
            <p:cNvSpPr>
              <a:spLocks/>
            </p:cNvSpPr>
            <p:nvPr/>
          </p:nvSpPr>
          <p:spPr bwMode="auto">
            <a:xfrm>
              <a:off x="2627" y="2902"/>
              <a:ext cx="116" cy="116"/>
            </a:xfrm>
            <a:custGeom>
              <a:avLst/>
              <a:gdLst/>
              <a:ahLst/>
              <a:cxnLst>
                <a:cxn ang="0">
                  <a:pos x="20" y="111"/>
                </a:cxn>
                <a:cxn ang="0">
                  <a:pos x="20" y="105"/>
                </a:cxn>
                <a:cxn ang="0">
                  <a:pos x="20" y="99"/>
                </a:cxn>
                <a:cxn ang="0">
                  <a:pos x="20" y="94"/>
                </a:cxn>
                <a:cxn ang="0">
                  <a:pos x="24" y="88"/>
                </a:cxn>
                <a:cxn ang="0">
                  <a:pos x="18" y="88"/>
                </a:cxn>
                <a:cxn ang="0">
                  <a:pos x="15" y="82"/>
                </a:cxn>
                <a:cxn ang="0">
                  <a:pos x="9" y="81"/>
                </a:cxn>
                <a:cxn ang="0">
                  <a:pos x="3" y="81"/>
                </a:cxn>
                <a:cxn ang="0">
                  <a:pos x="0" y="77"/>
                </a:cxn>
                <a:cxn ang="0">
                  <a:pos x="5" y="67"/>
                </a:cxn>
                <a:cxn ang="0">
                  <a:pos x="5" y="62"/>
                </a:cxn>
                <a:cxn ang="0">
                  <a:pos x="15" y="49"/>
                </a:cxn>
                <a:cxn ang="0">
                  <a:pos x="13" y="45"/>
                </a:cxn>
                <a:cxn ang="0">
                  <a:pos x="9" y="39"/>
                </a:cxn>
                <a:cxn ang="0">
                  <a:pos x="15" y="37"/>
                </a:cxn>
                <a:cxn ang="0">
                  <a:pos x="13" y="33"/>
                </a:cxn>
                <a:cxn ang="0">
                  <a:pos x="11" y="24"/>
                </a:cxn>
                <a:cxn ang="0">
                  <a:pos x="11" y="15"/>
                </a:cxn>
                <a:cxn ang="0">
                  <a:pos x="9" y="9"/>
                </a:cxn>
                <a:cxn ang="0">
                  <a:pos x="24" y="1"/>
                </a:cxn>
                <a:cxn ang="0">
                  <a:pos x="30" y="5"/>
                </a:cxn>
                <a:cxn ang="0">
                  <a:pos x="39" y="3"/>
                </a:cxn>
                <a:cxn ang="0">
                  <a:pos x="47" y="0"/>
                </a:cxn>
                <a:cxn ang="0">
                  <a:pos x="50" y="3"/>
                </a:cxn>
                <a:cxn ang="0">
                  <a:pos x="58" y="7"/>
                </a:cxn>
                <a:cxn ang="0">
                  <a:pos x="64" y="0"/>
                </a:cxn>
                <a:cxn ang="0">
                  <a:pos x="75" y="7"/>
                </a:cxn>
                <a:cxn ang="0">
                  <a:pos x="80" y="9"/>
                </a:cxn>
                <a:cxn ang="0">
                  <a:pos x="88" y="11"/>
                </a:cxn>
                <a:cxn ang="0">
                  <a:pos x="96" y="15"/>
                </a:cxn>
                <a:cxn ang="0">
                  <a:pos x="103" y="11"/>
                </a:cxn>
                <a:cxn ang="0">
                  <a:pos x="109" y="15"/>
                </a:cxn>
                <a:cxn ang="0">
                  <a:pos x="112" y="17"/>
                </a:cxn>
                <a:cxn ang="0">
                  <a:pos x="112" y="26"/>
                </a:cxn>
                <a:cxn ang="0">
                  <a:pos x="116" y="33"/>
                </a:cxn>
                <a:cxn ang="0">
                  <a:pos x="116" y="39"/>
                </a:cxn>
                <a:cxn ang="0">
                  <a:pos x="111" y="45"/>
                </a:cxn>
                <a:cxn ang="0">
                  <a:pos x="105" y="58"/>
                </a:cxn>
                <a:cxn ang="0">
                  <a:pos x="103" y="64"/>
                </a:cxn>
                <a:cxn ang="0">
                  <a:pos x="103" y="75"/>
                </a:cxn>
                <a:cxn ang="0">
                  <a:pos x="101" y="79"/>
                </a:cxn>
                <a:cxn ang="0">
                  <a:pos x="105" y="88"/>
                </a:cxn>
                <a:cxn ang="0">
                  <a:pos x="111" y="92"/>
                </a:cxn>
                <a:cxn ang="0">
                  <a:pos x="112" y="101"/>
                </a:cxn>
                <a:cxn ang="0">
                  <a:pos x="105" y="101"/>
                </a:cxn>
                <a:cxn ang="0">
                  <a:pos x="101" y="98"/>
                </a:cxn>
                <a:cxn ang="0">
                  <a:pos x="99" y="103"/>
                </a:cxn>
                <a:cxn ang="0">
                  <a:pos x="80" y="103"/>
                </a:cxn>
                <a:cxn ang="0">
                  <a:pos x="48" y="103"/>
                </a:cxn>
                <a:cxn ang="0">
                  <a:pos x="35" y="111"/>
                </a:cxn>
                <a:cxn ang="0">
                  <a:pos x="30" y="111"/>
                </a:cxn>
                <a:cxn ang="0">
                  <a:pos x="20" y="116"/>
                </a:cxn>
                <a:cxn ang="0">
                  <a:pos x="20" y="116"/>
                </a:cxn>
              </a:cxnLst>
              <a:rect l="0" t="0" r="r" b="b"/>
              <a:pathLst>
                <a:path w="116" h="116">
                  <a:moveTo>
                    <a:pt x="20" y="116"/>
                  </a:moveTo>
                  <a:lnTo>
                    <a:pt x="20" y="111"/>
                  </a:lnTo>
                  <a:lnTo>
                    <a:pt x="20" y="111"/>
                  </a:lnTo>
                  <a:lnTo>
                    <a:pt x="20" y="105"/>
                  </a:lnTo>
                  <a:lnTo>
                    <a:pt x="20" y="103"/>
                  </a:lnTo>
                  <a:lnTo>
                    <a:pt x="20" y="99"/>
                  </a:lnTo>
                  <a:lnTo>
                    <a:pt x="20" y="96"/>
                  </a:lnTo>
                  <a:lnTo>
                    <a:pt x="20" y="94"/>
                  </a:lnTo>
                  <a:lnTo>
                    <a:pt x="24" y="92"/>
                  </a:lnTo>
                  <a:lnTo>
                    <a:pt x="24" y="88"/>
                  </a:lnTo>
                  <a:lnTo>
                    <a:pt x="20" y="88"/>
                  </a:lnTo>
                  <a:lnTo>
                    <a:pt x="18" y="88"/>
                  </a:lnTo>
                  <a:lnTo>
                    <a:pt x="16" y="84"/>
                  </a:lnTo>
                  <a:lnTo>
                    <a:pt x="15" y="82"/>
                  </a:lnTo>
                  <a:lnTo>
                    <a:pt x="11" y="82"/>
                  </a:lnTo>
                  <a:lnTo>
                    <a:pt x="9" y="81"/>
                  </a:lnTo>
                  <a:lnTo>
                    <a:pt x="5" y="81"/>
                  </a:lnTo>
                  <a:lnTo>
                    <a:pt x="3" y="81"/>
                  </a:lnTo>
                  <a:lnTo>
                    <a:pt x="1" y="81"/>
                  </a:lnTo>
                  <a:lnTo>
                    <a:pt x="0" y="77"/>
                  </a:lnTo>
                  <a:lnTo>
                    <a:pt x="3" y="73"/>
                  </a:lnTo>
                  <a:lnTo>
                    <a:pt x="5" y="67"/>
                  </a:lnTo>
                  <a:lnTo>
                    <a:pt x="5" y="64"/>
                  </a:lnTo>
                  <a:lnTo>
                    <a:pt x="5" y="62"/>
                  </a:lnTo>
                  <a:lnTo>
                    <a:pt x="9" y="60"/>
                  </a:lnTo>
                  <a:lnTo>
                    <a:pt x="15" y="49"/>
                  </a:lnTo>
                  <a:lnTo>
                    <a:pt x="15" y="45"/>
                  </a:lnTo>
                  <a:lnTo>
                    <a:pt x="13" y="45"/>
                  </a:lnTo>
                  <a:lnTo>
                    <a:pt x="9" y="41"/>
                  </a:lnTo>
                  <a:lnTo>
                    <a:pt x="9" y="39"/>
                  </a:lnTo>
                  <a:lnTo>
                    <a:pt x="13" y="37"/>
                  </a:lnTo>
                  <a:lnTo>
                    <a:pt x="15" y="37"/>
                  </a:lnTo>
                  <a:lnTo>
                    <a:pt x="16" y="35"/>
                  </a:lnTo>
                  <a:lnTo>
                    <a:pt x="13" y="33"/>
                  </a:lnTo>
                  <a:lnTo>
                    <a:pt x="11" y="30"/>
                  </a:lnTo>
                  <a:lnTo>
                    <a:pt x="11" y="24"/>
                  </a:lnTo>
                  <a:lnTo>
                    <a:pt x="11" y="20"/>
                  </a:lnTo>
                  <a:lnTo>
                    <a:pt x="11" y="15"/>
                  </a:lnTo>
                  <a:lnTo>
                    <a:pt x="9" y="11"/>
                  </a:lnTo>
                  <a:lnTo>
                    <a:pt x="9" y="9"/>
                  </a:lnTo>
                  <a:lnTo>
                    <a:pt x="16" y="7"/>
                  </a:lnTo>
                  <a:lnTo>
                    <a:pt x="24" y="1"/>
                  </a:lnTo>
                  <a:lnTo>
                    <a:pt x="24" y="1"/>
                  </a:lnTo>
                  <a:lnTo>
                    <a:pt x="30" y="5"/>
                  </a:lnTo>
                  <a:lnTo>
                    <a:pt x="37" y="5"/>
                  </a:lnTo>
                  <a:lnTo>
                    <a:pt x="39" y="3"/>
                  </a:lnTo>
                  <a:lnTo>
                    <a:pt x="39" y="1"/>
                  </a:lnTo>
                  <a:lnTo>
                    <a:pt x="47" y="0"/>
                  </a:lnTo>
                  <a:lnTo>
                    <a:pt x="50" y="1"/>
                  </a:lnTo>
                  <a:lnTo>
                    <a:pt x="50" y="3"/>
                  </a:lnTo>
                  <a:lnTo>
                    <a:pt x="50" y="5"/>
                  </a:lnTo>
                  <a:lnTo>
                    <a:pt x="58" y="7"/>
                  </a:lnTo>
                  <a:lnTo>
                    <a:pt x="60" y="1"/>
                  </a:lnTo>
                  <a:lnTo>
                    <a:pt x="64" y="0"/>
                  </a:lnTo>
                  <a:lnTo>
                    <a:pt x="69" y="3"/>
                  </a:lnTo>
                  <a:lnTo>
                    <a:pt x="75" y="7"/>
                  </a:lnTo>
                  <a:lnTo>
                    <a:pt x="79" y="7"/>
                  </a:lnTo>
                  <a:lnTo>
                    <a:pt x="80" y="9"/>
                  </a:lnTo>
                  <a:lnTo>
                    <a:pt x="84" y="9"/>
                  </a:lnTo>
                  <a:lnTo>
                    <a:pt x="88" y="11"/>
                  </a:lnTo>
                  <a:lnTo>
                    <a:pt x="90" y="15"/>
                  </a:lnTo>
                  <a:lnTo>
                    <a:pt x="96" y="15"/>
                  </a:lnTo>
                  <a:lnTo>
                    <a:pt x="99" y="15"/>
                  </a:lnTo>
                  <a:lnTo>
                    <a:pt x="103" y="11"/>
                  </a:lnTo>
                  <a:lnTo>
                    <a:pt x="105" y="15"/>
                  </a:lnTo>
                  <a:lnTo>
                    <a:pt x="109" y="15"/>
                  </a:lnTo>
                  <a:lnTo>
                    <a:pt x="112" y="15"/>
                  </a:lnTo>
                  <a:lnTo>
                    <a:pt x="112" y="17"/>
                  </a:lnTo>
                  <a:lnTo>
                    <a:pt x="111" y="22"/>
                  </a:lnTo>
                  <a:lnTo>
                    <a:pt x="112" y="26"/>
                  </a:lnTo>
                  <a:lnTo>
                    <a:pt x="112" y="30"/>
                  </a:lnTo>
                  <a:lnTo>
                    <a:pt x="116" y="33"/>
                  </a:lnTo>
                  <a:lnTo>
                    <a:pt x="116" y="35"/>
                  </a:lnTo>
                  <a:lnTo>
                    <a:pt x="116" y="39"/>
                  </a:lnTo>
                  <a:lnTo>
                    <a:pt x="116" y="45"/>
                  </a:lnTo>
                  <a:lnTo>
                    <a:pt x="111" y="45"/>
                  </a:lnTo>
                  <a:lnTo>
                    <a:pt x="105" y="54"/>
                  </a:lnTo>
                  <a:lnTo>
                    <a:pt x="105" y="58"/>
                  </a:lnTo>
                  <a:lnTo>
                    <a:pt x="103" y="62"/>
                  </a:lnTo>
                  <a:lnTo>
                    <a:pt x="103" y="64"/>
                  </a:lnTo>
                  <a:lnTo>
                    <a:pt x="101" y="67"/>
                  </a:lnTo>
                  <a:lnTo>
                    <a:pt x="103" y="75"/>
                  </a:lnTo>
                  <a:lnTo>
                    <a:pt x="101" y="77"/>
                  </a:lnTo>
                  <a:lnTo>
                    <a:pt x="101" y="79"/>
                  </a:lnTo>
                  <a:lnTo>
                    <a:pt x="103" y="81"/>
                  </a:lnTo>
                  <a:lnTo>
                    <a:pt x="105" y="88"/>
                  </a:lnTo>
                  <a:lnTo>
                    <a:pt x="109" y="92"/>
                  </a:lnTo>
                  <a:lnTo>
                    <a:pt x="111" y="92"/>
                  </a:lnTo>
                  <a:lnTo>
                    <a:pt x="112" y="96"/>
                  </a:lnTo>
                  <a:lnTo>
                    <a:pt x="112" y="101"/>
                  </a:lnTo>
                  <a:lnTo>
                    <a:pt x="109" y="101"/>
                  </a:lnTo>
                  <a:lnTo>
                    <a:pt x="105" y="101"/>
                  </a:lnTo>
                  <a:lnTo>
                    <a:pt x="105" y="103"/>
                  </a:lnTo>
                  <a:lnTo>
                    <a:pt x="101" y="98"/>
                  </a:lnTo>
                  <a:lnTo>
                    <a:pt x="99" y="99"/>
                  </a:lnTo>
                  <a:lnTo>
                    <a:pt x="99" y="103"/>
                  </a:lnTo>
                  <a:lnTo>
                    <a:pt x="90" y="99"/>
                  </a:lnTo>
                  <a:lnTo>
                    <a:pt x="80" y="103"/>
                  </a:lnTo>
                  <a:lnTo>
                    <a:pt x="56" y="103"/>
                  </a:lnTo>
                  <a:lnTo>
                    <a:pt x="48" y="103"/>
                  </a:lnTo>
                  <a:lnTo>
                    <a:pt x="48" y="105"/>
                  </a:lnTo>
                  <a:lnTo>
                    <a:pt x="35" y="111"/>
                  </a:lnTo>
                  <a:lnTo>
                    <a:pt x="33" y="111"/>
                  </a:lnTo>
                  <a:lnTo>
                    <a:pt x="30" y="111"/>
                  </a:lnTo>
                  <a:lnTo>
                    <a:pt x="24" y="116"/>
                  </a:lnTo>
                  <a:lnTo>
                    <a:pt x="20" y="116"/>
                  </a:lnTo>
                  <a:lnTo>
                    <a:pt x="20" y="116"/>
                  </a:lnTo>
                  <a:lnTo>
                    <a:pt x="20" y="116"/>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8" name="Freeform 121">
              <a:extLst>
                <a:ext uri="{FF2B5EF4-FFF2-40B4-BE49-F238E27FC236}">
                  <a16:creationId xmlns:a16="http://schemas.microsoft.com/office/drawing/2014/main" id="{1F7DE503-6804-4B97-8B9A-40113B2F14A8}"/>
                </a:ext>
              </a:extLst>
            </p:cNvPr>
            <p:cNvSpPr>
              <a:spLocks/>
            </p:cNvSpPr>
            <p:nvPr/>
          </p:nvSpPr>
          <p:spPr bwMode="auto">
            <a:xfrm>
              <a:off x="2726" y="2892"/>
              <a:ext cx="79" cy="121"/>
            </a:xfrm>
            <a:custGeom>
              <a:avLst/>
              <a:gdLst/>
              <a:ahLst/>
              <a:cxnLst>
                <a:cxn ang="0">
                  <a:pos x="4" y="115"/>
                </a:cxn>
                <a:cxn ang="0">
                  <a:pos x="13" y="115"/>
                </a:cxn>
                <a:cxn ang="0">
                  <a:pos x="10" y="106"/>
                </a:cxn>
                <a:cxn ang="0">
                  <a:pos x="4" y="100"/>
                </a:cxn>
                <a:cxn ang="0">
                  <a:pos x="0" y="91"/>
                </a:cxn>
                <a:cxn ang="0">
                  <a:pos x="4" y="89"/>
                </a:cxn>
                <a:cxn ang="0">
                  <a:pos x="4" y="77"/>
                </a:cxn>
                <a:cxn ang="0">
                  <a:pos x="4" y="70"/>
                </a:cxn>
                <a:cxn ang="0">
                  <a:pos x="10" y="57"/>
                </a:cxn>
                <a:cxn ang="0">
                  <a:pos x="15" y="51"/>
                </a:cxn>
                <a:cxn ang="0">
                  <a:pos x="15" y="43"/>
                </a:cxn>
                <a:cxn ang="0">
                  <a:pos x="13" y="36"/>
                </a:cxn>
                <a:cxn ang="0">
                  <a:pos x="13" y="27"/>
                </a:cxn>
                <a:cxn ang="0">
                  <a:pos x="10" y="15"/>
                </a:cxn>
                <a:cxn ang="0">
                  <a:pos x="8" y="8"/>
                </a:cxn>
                <a:cxn ang="0">
                  <a:pos x="13" y="2"/>
                </a:cxn>
                <a:cxn ang="0">
                  <a:pos x="29" y="2"/>
                </a:cxn>
                <a:cxn ang="0">
                  <a:pos x="45" y="0"/>
                </a:cxn>
                <a:cxn ang="0">
                  <a:pos x="55" y="0"/>
                </a:cxn>
                <a:cxn ang="0">
                  <a:pos x="57" y="4"/>
                </a:cxn>
                <a:cxn ang="0">
                  <a:pos x="59" y="10"/>
                </a:cxn>
                <a:cxn ang="0">
                  <a:pos x="66" y="15"/>
                </a:cxn>
                <a:cxn ang="0">
                  <a:pos x="68" y="21"/>
                </a:cxn>
                <a:cxn ang="0">
                  <a:pos x="70" y="30"/>
                </a:cxn>
                <a:cxn ang="0">
                  <a:pos x="70" y="38"/>
                </a:cxn>
                <a:cxn ang="0">
                  <a:pos x="70" y="43"/>
                </a:cxn>
                <a:cxn ang="0">
                  <a:pos x="74" y="49"/>
                </a:cxn>
                <a:cxn ang="0">
                  <a:pos x="74" y="55"/>
                </a:cxn>
                <a:cxn ang="0">
                  <a:pos x="74" y="64"/>
                </a:cxn>
                <a:cxn ang="0">
                  <a:pos x="70" y="77"/>
                </a:cxn>
                <a:cxn ang="0">
                  <a:pos x="70" y="85"/>
                </a:cxn>
                <a:cxn ang="0">
                  <a:pos x="74" y="94"/>
                </a:cxn>
                <a:cxn ang="0">
                  <a:pos x="77" y="96"/>
                </a:cxn>
                <a:cxn ang="0">
                  <a:pos x="70" y="102"/>
                </a:cxn>
                <a:cxn ang="0">
                  <a:pos x="49" y="115"/>
                </a:cxn>
                <a:cxn ang="0">
                  <a:pos x="23" y="121"/>
                </a:cxn>
                <a:cxn ang="0">
                  <a:pos x="4" y="119"/>
                </a:cxn>
                <a:cxn ang="0">
                  <a:pos x="4" y="115"/>
                </a:cxn>
              </a:cxnLst>
              <a:rect l="0" t="0" r="r" b="b"/>
              <a:pathLst>
                <a:path w="79" h="121">
                  <a:moveTo>
                    <a:pt x="4" y="115"/>
                  </a:moveTo>
                  <a:lnTo>
                    <a:pt x="4" y="115"/>
                  </a:lnTo>
                  <a:lnTo>
                    <a:pt x="10" y="115"/>
                  </a:lnTo>
                  <a:lnTo>
                    <a:pt x="13" y="115"/>
                  </a:lnTo>
                  <a:lnTo>
                    <a:pt x="13" y="109"/>
                  </a:lnTo>
                  <a:lnTo>
                    <a:pt x="10" y="106"/>
                  </a:lnTo>
                  <a:lnTo>
                    <a:pt x="8" y="104"/>
                  </a:lnTo>
                  <a:lnTo>
                    <a:pt x="4" y="100"/>
                  </a:lnTo>
                  <a:lnTo>
                    <a:pt x="4" y="94"/>
                  </a:lnTo>
                  <a:lnTo>
                    <a:pt x="0" y="91"/>
                  </a:lnTo>
                  <a:lnTo>
                    <a:pt x="0" y="91"/>
                  </a:lnTo>
                  <a:lnTo>
                    <a:pt x="4" y="89"/>
                  </a:lnTo>
                  <a:lnTo>
                    <a:pt x="0" y="79"/>
                  </a:lnTo>
                  <a:lnTo>
                    <a:pt x="4" y="77"/>
                  </a:lnTo>
                  <a:lnTo>
                    <a:pt x="4" y="74"/>
                  </a:lnTo>
                  <a:lnTo>
                    <a:pt x="4" y="70"/>
                  </a:lnTo>
                  <a:lnTo>
                    <a:pt x="4" y="66"/>
                  </a:lnTo>
                  <a:lnTo>
                    <a:pt x="10" y="57"/>
                  </a:lnTo>
                  <a:lnTo>
                    <a:pt x="15" y="55"/>
                  </a:lnTo>
                  <a:lnTo>
                    <a:pt x="15" y="51"/>
                  </a:lnTo>
                  <a:lnTo>
                    <a:pt x="15" y="47"/>
                  </a:lnTo>
                  <a:lnTo>
                    <a:pt x="15" y="43"/>
                  </a:lnTo>
                  <a:lnTo>
                    <a:pt x="13" y="40"/>
                  </a:lnTo>
                  <a:lnTo>
                    <a:pt x="13" y="36"/>
                  </a:lnTo>
                  <a:lnTo>
                    <a:pt x="10" y="32"/>
                  </a:lnTo>
                  <a:lnTo>
                    <a:pt x="13" y="27"/>
                  </a:lnTo>
                  <a:lnTo>
                    <a:pt x="13" y="21"/>
                  </a:lnTo>
                  <a:lnTo>
                    <a:pt x="10" y="15"/>
                  </a:lnTo>
                  <a:lnTo>
                    <a:pt x="8" y="13"/>
                  </a:lnTo>
                  <a:lnTo>
                    <a:pt x="8" y="8"/>
                  </a:lnTo>
                  <a:lnTo>
                    <a:pt x="8" y="2"/>
                  </a:lnTo>
                  <a:lnTo>
                    <a:pt x="13" y="2"/>
                  </a:lnTo>
                  <a:lnTo>
                    <a:pt x="27" y="2"/>
                  </a:lnTo>
                  <a:lnTo>
                    <a:pt x="29" y="2"/>
                  </a:lnTo>
                  <a:lnTo>
                    <a:pt x="40" y="2"/>
                  </a:lnTo>
                  <a:lnTo>
                    <a:pt x="45" y="0"/>
                  </a:lnTo>
                  <a:lnTo>
                    <a:pt x="49" y="0"/>
                  </a:lnTo>
                  <a:lnTo>
                    <a:pt x="55" y="0"/>
                  </a:lnTo>
                  <a:lnTo>
                    <a:pt x="55" y="0"/>
                  </a:lnTo>
                  <a:lnTo>
                    <a:pt x="57" y="4"/>
                  </a:lnTo>
                  <a:lnTo>
                    <a:pt x="59" y="6"/>
                  </a:lnTo>
                  <a:lnTo>
                    <a:pt x="59" y="10"/>
                  </a:lnTo>
                  <a:lnTo>
                    <a:pt x="64" y="13"/>
                  </a:lnTo>
                  <a:lnTo>
                    <a:pt x="66" y="15"/>
                  </a:lnTo>
                  <a:lnTo>
                    <a:pt x="70" y="19"/>
                  </a:lnTo>
                  <a:lnTo>
                    <a:pt x="68" y="21"/>
                  </a:lnTo>
                  <a:lnTo>
                    <a:pt x="68" y="30"/>
                  </a:lnTo>
                  <a:lnTo>
                    <a:pt x="70" y="30"/>
                  </a:lnTo>
                  <a:lnTo>
                    <a:pt x="70" y="30"/>
                  </a:lnTo>
                  <a:lnTo>
                    <a:pt x="70" y="38"/>
                  </a:lnTo>
                  <a:lnTo>
                    <a:pt x="70" y="40"/>
                  </a:lnTo>
                  <a:lnTo>
                    <a:pt x="70" y="43"/>
                  </a:lnTo>
                  <a:lnTo>
                    <a:pt x="70" y="45"/>
                  </a:lnTo>
                  <a:lnTo>
                    <a:pt x="74" y="49"/>
                  </a:lnTo>
                  <a:lnTo>
                    <a:pt x="70" y="51"/>
                  </a:lnTo>
                  <a:lnTo>
                    <a:pt x="74" y="55"/>
                  </a:lnTo>
                  <a:lnTo>
                    <a:pt x="70" y="60"/>
                  </a:lnTo>
                  <a:lnTo>
                    <a:pt x="74" y="64"/>
                  </a:lnTo>
                  <a:lnTo>
                    <a:pt x="74" y="74"/>
                  </a:lnTo>
                  <a:lnTo>
                    <a:pt x="70" y="77"/>
                  </a:lnTo>
                  <a:lnTo>
                    <a:pt x="70" y="79"/>
                  </a:lnTo>
                  <a:lnTo>
                    <a:pt x="70" y="85"/>
                  </a:lnTo>
                  <a:lnTo>
                    <a:pt x="70" y="91"/>
                  </a:lnTo>
                  <a:lnTo>
                    <a:pt x="74" y="94"/>
                  </a:lnTo>
                  <a:lnTo>
                    <a:pt x="76" y="94"/>
                  </a:lnTo>
                  <a:lnTo>
                    <a:pt x="77" y="96"/>
                  </a:lnTo>
                  <a:lnTo>
                    <a:pt x="79" y="100"/>
                  </a:lnTo>
                  <a:lnTo>
                    <a:pt x="70" y="102"/>
                  </a:lnTo>
                  <a:lnTo>
                    <a:pt x="61" y="106"/>
                  </a:lnTo>
                  <a:lnTo>
                    <a:pt x="49" y="115"/>
                  </a:lnTo>
                  <a:lnTo>
                    <a:pt x="40" y="115"/>
                  </a:lnTo>
                  <a:lnTo>
                    <a:pt x="23" y="121"/>
                  </a:lnTo>
                  <a:lnTo>
                    <a:pt x="15" y="119"/>
                  </a:lnTo>
                  <a:lnTo>
                    <a:pt x="4" y="119"/>
                  </a:lnTo>
                  <a:lnTo>
                    <a:pt x="4" y="115"/>
                  </a:lnTo>
                  <a:lnTo>
                    <a:pt x="4" y="115"/>
                  </a:lnTo>
                  <a:lnTo>
                    <a:pt x="4" y="11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9" name="Freeform 122">
              <a:extLst>
                <a:ext uri="{FF2B5EF4-FFF2-40B4-BE49-F238E27FC236}">
                  <a16:creationId xmlns:a16="http://schemas.microsoft.com/office/drawing/2014/main" id="{570FB38A-B1A5-4E74-A5AE-4CEF0840FD7D}"/>
                </a:ext>
              </a:extLst>
            </p:cNvPr>
            <p:cNvSpPr>
              <a:spLocks/>
            </p:cNvSpPr>
            <p:nvPr/>
          </p:nvSpPr>
          <p:spPr bwMode="auto">
            <a:xfrm>
              <a:off x="2779" y="2892"/>
              <a:ext cx="38" cy="100"/>
            </a:xfrm>
            <a:custGeom>
              <a:avLst/>
              <a:gdLst/>
              <a:ahLst/>
              <a:cxnLst>
                <a:cxn ang="0">
                  <a:pos x="23" y="4"/>
                </a:cxn>
                <a:cxn ang="0">
                  <a:pos x="4" y="0"/>
                </a:cxn>
                <a:cxn ang="0">
                  <a:pos x="0" y="0"/>
                </a:cxn>
                <a:cxn ang="0">
                  <a:pos x="4" y="4"/>
                </a:cxn>
                <a:cxn ang="0">
                  <a:pos x="4" y="6"/>
                </a:cxn>
                <a:cxn ang="0">
                  <a:pos x="4" y="10"/>
                </a:cxn>
                <a:cxn ang="0">
                  <a:pos x="9" y="13"/>
                </a:cxn>
                <a:cxn ang="0">
                  <a:pos x="11" y="15"/>
                </a:cxn>
                <a:cxn ang="0">
                  <a:pos x="15" y="19"/>
                </a:cxn>
                <a:cxn ang="0">
                  <a:pos x="13" y="21"/>
                </a:cxn>
                <a:cxn ang="0">
                  <a:pos x="13" y="30"/>
                </a:cxn>
                <a:cxn ang="0">
                  <a:pos x="15" y="30"/>
                </a:cxn>
                <a:cxn ang="0">
                  <a:pos x="15" y="30"/>
                </a:cxn>
                <a:cxn ang="0">
                  <a:pos x="15" y="38"/>
                </a:cxn>
                <a:cxn ang="0">
                  <a:pos x="15" y="40"/>
                </a:cxn>
                <a:cxn ang="0">
                  <a:pos x="15" y="43"/>
                </a:cxn>
                <a:cxn ang="0">
                  <a:pos x="15" y="45"/>
                </a:cxn>
                <a:cxn ang="0">
                  <a:pos x="19" y="49"/>
                </a:cxn>
                <a:cxn ang="0">
                  <a:pos x="15" y="51"/>
                </a:cxn>
                <a:cxn ang="0">
                  <a:pos x="19" y="55"/>
                </a:cxn>
                <a:cxn ang="0">
                  <a:pos x="15" y="59"/>
                </a:cxn>
                <a:cxn ang="0">
                  <a:pos x="19" y="64"/>
                </a:cxn>
                <a:cxn ang="0">
                  <a:pos x="19" y="74"/>
                </a:cxn>
                <a:cxn ang="0">
                  <a:pos x="15" y="75"/>
                </a:cxn>
                <a:cxn ang="0">
                  <a:pos x="15" y="79"/>
                </a:cxn>
                <a:cxn ang="0">
                  <a:pos x="15" y="85"/>
                </a:cxn>
                <a:cxn ang="0">
                  <a:pos x="15" y="89"/>
                </a:cxn>
                <a:cxn ang="0">
                  <a:pos x="19" y="94"/>
                </a:cxn>
                <a:cxn ang="0">
                  <a:pos x="21" y="94"/>
                </a:cxn>
                <a:cxn ang="0">
                  <a:pos x="23" y="96"/>
                </a:cxn>
                <a:cxn ang="0">
                  <a:pos x="24" y="100"/>
                </a:cxn>
                <a:cxn ang="0">
                  <a:pos x="24" y="100"/>
                </a:cxn>
                <a:cxn ang="0">
                  <a:pos x="36" y="92"/>
                </a:cxn>
                <a:cxn ang="0">
                  <a:pos x="38" y="92"/>
                </a:cxn>
                <a:cxn ang="0">
                  <a:pos x="38" y="89"/>
                </a:cxn>
                <a:cxn ang="0">
                  <a:pos x="36" y="85"/>
                </a:cxn>
                <a:cxn ang="0">
                  <a:pos x="36" y="81"/>
                </a:cxn>
                <a:cxn ang="0">
                  <a:pos x="34" y="75"/>
                </a:cxn>
                <a:cxn ang="0">
                  <a:pos x="36" y="55"/>
                </a:cxn>
                <a:cxn ang="0">
                  <a:pos x="36" y="51"/>
                </a:cxn>
                <a:cxn ang="0">
                  <a:pos x="38" y="49"/>
                </a:cxn>
                <a:cxn ang="0">
                  <a:pos x="38" y="43"/>
                </a:cxn>
                <a:cxn ang="0">
                  <a:pos x="36" y="42"/>
                </a:cxn>
                <a:cxn ang="0">
                  <a:pos x="36" y="36"/>
                </a:cxn>
                <a:cxn ang="0">
                  <a:pos x="34" y="27"/>
                </a:cxn>
                <a:cxn ang="0">
                  <a:pos x="30" y="19"/>
                </a:cxn>
                <a:cxn ang="0">
                  <a:pos x="28" y="17"/>
                </a:cxn>
                <a:cxn ang="0">
                  <a:pos x="28" y="15"/>
                </a:cxn>
                <a:cxn ang="0">
                  <a:pos x="23" y="11"/>
                </a:cxn>
                <a:cxn ang="0">
                  <a:pos x="21" y="6"/>
                </a:cxn>
                <a:cxn ang="0">
                  <a:pos x="23" y="4"/>
                </a:cxn>
                <a:cxn ang="0">
                  <a:pos x="23" y="4"/>
                </a:cxn>
                <a:cxn ang="0">
                  <a:pos x="23" y="4"/>
                </a:cxn>
              </a:cxnLst>
              <a:rect l="0" t="0" r="r" b="b"/>
              <a:pathLst>
                <a:path w="38" h="100">
                  <a:moveTo>
                    <a:pt x="23" y="4"/>
                  </a:moveTo>
                  <a:lnTo>
                    <a:pt x="4" y="0"/>
                  </a:lnTo>
                  <a:lnTo>
                    <a:pt x="0" y="0"/>
                  </a:lnTo>
                  <a:lnTo>
                    <a:pt x="4" y="4"/>
                  </a:lnTo>
                  <a:lnTo>
                    <a:pt x="4" y="6"/>
                  </a:lnTo>
                  <a:lnTo>
                    <a:pt x="4" y="10"/>
                  </a:lnTo>
                  <a:lnTo>
                    <a:pt x="9" y="13"/>
                  </a:lnTo>
                  <a:lnTo>
                    <a:pt x="11" y="15"/>
                  </a:lnTo>
                  <a:lnTo>
                    <a:pt x="15" y="19"/>
                  </a:lnTo>
                  <a:lnTo>
                    <a:pt x="13" y="21"/>
                  </a:lnTo>
                  <a:lnTo>
                    <a:pt x="13" y="30"/>
                  </a:lnTo>
                  <a:lnTo>
                    <a:pt x="15" y="30"/>
                  </a:lnTo>
                  <a:lnTo>
                    <a:pt x="15" y="30"/>
                  </a:lnTo>
                  <a:lnTo>
                    <a:pt x="15" y="38"/>
                  </a:lnTo>
                  <a:lnTo>
                    <a:pt x="15" y="40"/>
                  </a:lnTo>
                  <a:lnTo>
                    <a:pt x="15" y="43"/>
                  </a:lnTo>
                  <a:lnTo>
                    <a:pt x="15" y="45"/>
                  </a:lnTo>
                  <a:lnTo>
                    <a:pt x="19" y="49"/>
                  </a:lnTo>
                  <a:lnTo>
                    <a:pt x="15" y="51"/>
                  </a:lnTo>
                  <a:lnTo>
                    <a:pt x="19" y="55"/>
                  </a:lnTo>
                  <a:lnTo>
                    <a:pt x="15" y="59"/>
                  </a:lnTo>
                  <a:lnTo>
                    <a:pt x="19" y="64"/>
                  </a:lnTo>
                  <a:lnTo>
                    <a:pt x="19" y="74"/>
                  </a:lnTo>
                  <a:lnTo>
                    <a:pt x="15" y="75"/>
                  </a:lnTo>
                  <a:lnTo>
                    <a:pt x="15" y="79"/>
                  </a:lnTo>
                  <a:lnTo>
                    <a:pt x="15" y="85"/>
                  </a:lnTo>
                  <a:lnTo>
                    <a:pt x="15" y="89"/>
                  </a:lnTo>
                  <a:lnTo>
                    <a:pt x="19" y="94"/>
                  </a:lnTo>
                  <a:lnTo>
                    <a:pt x="21" y="94"/>
                  </a:lnTo>
                  <a:lnTo>
                    <a:pt x="23" y="96"/>
                  </a:lnTo>
                  <a:lnTo>
                    <a:pt x="24" y="100"/>
                  </a:lnTo>
                  <a:lnTo>
                    <a:pt x="24" y="100"/>
                  </a:lnTo>
                  <a:lnTo>
                    <a:pt x="36" y="92"/>
                  </a:lnTo>
                  <a:lnTo>
                    <a:pt x="38" y="92"/>
                  </a:lnTo>
                  <a:lnTo>
                    <a:pt x="38" y="89"/>
                  </a:lnTo>
                  <a:lnTo>
                    <a:pt x="36" y="85"/>
                  </a:lnTo>
                  <a:lnTo>
                    <a:pt x="36" y="81"/>
                  </a:lnTo>
                  <a:lnTo>
                    <a:pt x="34" y="75"/>
                  </a:lnTo>
                  <a:lnTo>
                    <a:pt x="36" y="55"/>
                  </a:lnTo>
                  <a:lnTo>
                    <a:pt x="36" y="51"/>
                  </a:lnTo>
                  <a:lnTo>
                    <a:pt x="38" y="49"/>
                  </a:lnTo>
                  <a:lnTo>
                    <a:pt x="38" y="43"/>
                  </a:lnTo>
                  <a:lnTo>
                    <a:pt x="36" y="42"/>
                  </a:lnTo>
                  <a:lnTo>
                    <a:pt x="36" y="36"/>
                  </a:lnTo>
                  <a:lnTo>
                    <a:pt x="34" y="27"/>
                  </a:lnTo>
                  <a:lnTo>
                    <a:pt x="30" y="19"/>
                  </a:lnTo>
                  <a:lnTo>
                    <a:pt x="28" y="17"/>
                  </a:lnTo>
                  <a:lnTo>
                    <a:pt x="28" y="15"/>
                  </a:lnTo>
                  <a:lnTo>
                    <a:pt x="23" y="11"/>
                  </a:lnTo>
                  <a:lnTo>
                    <a:pt x="21" y="6"/>
                  </a:lnTo>
                  <a:lnTo>
                    <a:pt x="23" y="4"/>
                  </a:lnTo>
                  <a:lnTo>
                    <a:pt x="23" y="4"/>
                  </a:lnTo>
                  <a:lnTo>
                    <a:pt x="23" y="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0" name="Freeform 123">
              <a:extLst>
                <a:ext uri="{FF2B5EF4-FFF2-40B4-BE49-F238E27FC236}">
                  <a16:creationId xmlns:a16="http://schemas.microsoft.com/office/drawing/2014/main" id="{C34FA42C-22AB-488F-9050-C6FC4BBD3120}"/>
                </a:ext>
              </a:extLst>
            </p:cNvPr>
            <p:cNvSpPr>
              <a:spLocks/>
            </p:cNvSpPr>
            <p:nvPr/>
          </p:nvSpPr>
          <p:spPr bwMode="auto">
            <a:xfrm>
              <a:off x="2802" y="2866"/>
              <a:ext cx="56" cy="120"/>
            </a:xfrm>
            <a:custGeom>
              <a:avLst/>
              <a:gdLst/>
              <a:ahLst/>
              <a:cxnLst>
                <a:cxn ang="0">
                  <a:pos x="28" y="9"/>
                </a:cxn>
                <a:cxn ang="0">
                  <a:pos x="20" y="15"/>
                </a:cxn>
                <a:cxn ang="0">
                  <a:pos x="11" y="17"/>
                </a:cxn>
                <a:cxn ang="0">
                  <a:pos x="7" y="22"/>
                </a:cxn>
                <a:cxn ang="0">
                  <a:pos x="7" y="28"/>
                </a:cxn>
                <a:cxn ang="0">
                  <a:pos x="0" y="32"/>
                </a:cxn>
                <a:cxn ang="0">
                  <a:pos x="7" y="41"/>
                </a:cxn>
                <a:cxn ang="0">
                  <a:pos x="9" y="45"/>
                </a:cxn>
                <a:cxn ang="0">
                  <a:pos x="15" y="62"/>
                </a:cxn>
                <a:cxn ang="0">
                  <a:pos x="17" y="69"/>
                </a:cxn>
                <a:cxn ang="0">
                  <a:pos x="15" y="77"/>
                </a:cxn>
                <a:cxn ang="0">
                  <a:pos x="13" y="101"/>
                </a:cxn>
                <a:cxn ang="0">
                  <a:pos x="15" y="111"/>
                </a:cxn>
                <a:cxn ang="0">
                  <a:pos x="17" y="118"/>
                </a:cxn>
                <a:cxn ang="0">
                  <a:pos x="35" y="115"/>
                </a:cxn>
                <a:cxn ang="0">
                  <a:pos x="35" y="111"/>
                </a:cxn>
                <a:cxn ang="0">
                  <a:pos x="35" y="100"/>
                </a:cxn>
                <a:cxn ang="0">
                  <a:pos x="35" y="90"/>
                </a:cxn>
                <a:cxn ang="0">
                  <a:pos x="35" y="86"/>
                </a:cxn>
                <a:cxn ang="0">
                  <a:pos x="35" y="83"/>
                </a:cxn>
                <a:cxn ang="0">
                  <a:pos x="35" y="77"/>
                </a:cxn>
                <a:cxn ang="0">
                  <a:pos x="35" y="71"/>
                </a:cxn>
                <a:cxn ang="0">
                  <a:pos x="37" y="66"/>
                </a:cxn>
                <a:cxn ang="0">
                  <a:pos x="41" y="64"/>
                </a:cxn>
                <a:cxn ang="0">
                  <a:pos x="45" y="58"/>
                </a:cxn>
                <a:cxn ang="0">
                  <a:pos x="49" y="53"/>
                </a:cxn>
                <a:cxn ang="0">
                  <a:pos x="52" y="51"/>
                </a:cxn>
                <a:cxn ang="0">
                  <a:pos x="52" y="43"/>
                </a:cxn>
                <a:cxn ang="0">
                  <a:pos x="52" y="39"/>
                </a:cxn>
                <a:cxn ang="0">
                  <a:pos x="56" y="37"/>
                </a:cxn>
                <a:cxn ang="0">
                  <a:pos x="56" y="28"/>
                </a:cxn>
                <a:cxn ang="0">
                  <a:pos x="50" y="20"/>
                </a:cxn>
                <a:cxn ang="0">
                  <a:pos x="52" y="15"/>
                </a:cxn>
                <a:cxn ang="0">
                  <a:pos x="43" y="9"/>
                </a:cxn>
                <a:cxn ang="0">
                  <a:pos x="33" y="0"/>
                </a:cxn>
                <a:cxn ang="0">
                  <a:pos x="32" y="4"/>
                </a:cxn>
                <a:cxn ang="0">
                  <a:pos x="28" y="7"/>
                </a:cxn>
                <a:cxn ang="0">
                  <a:pos x="28" y="7"/>
                </a:cxn>
              </a:cxnLst>
              <a:rect l="0" t="0" r="r" b="b"/>
              <a:pathLst>
                <a:path w="56" h="120">
                  <a:moveTo>
                    <a:pt x="28" y="7"/>
                  </a:moveTo>
                  <a:lnTo>
                    <a:pt x="28" y="9"/>
                  </a:lnTo>
                  <a:lnTo>
                    <a:pt x="24" y="15"/>
                  </a:lnTo>
                  <a:lnTo>
                    <a:pt x="20" y="15"/>
                  </a:lnTo>
                  <a:lnTo>
                    <a:pt x="13" y="17"/>
                  </a:lnTo>
                  <a:lnTo>
                    <a:pt x="11" y="17"/>
                  </a:lnTo>
                  <a:lnTo>
                    <a:pt x="7" y="19"/>
                  </a:lnTo>
                  <a:lnTo>
                    <a:pt x="7" y="22"/>
                  </a:lnTo>
                  <a:lnTo>
                    <a:pt x="7" y="24"/>
                  </a:lnTo>
                  <a:lnTo>
                    <a:pt x="7" y="28"/>
                  </a:lnTo>
                  <a:lnTo>
                    <a:pt x="1" y="28"/>
                  </a:lnTo>
                  <a:lnTo>
                    <a:pt x="0" y="32"/>
                  </a:lnTo>
                  <a:lnTo>
                    <a:pt x="1" y="37"/>
                  </a:lnTo>
                  <a:lnTo>
                    <a:pt x="7" y="41"/>
                  </a:lnTo>
                  <a:lnTo>
                    <a:pt x="7" y="43"/>
                  </a:lnTo>
                  <a:lnTo>
                    <a:pt x="9" y="45"/>
                  </a:lnTo>
                  <a:lnTo>
                    <a:pt x="13" y="53"/>
                  </a:lnTo>
                  <a:lnTo>
                    <a:pt x="15" y="62"/>
                  </a:lnTo>
                  <a:lnTo>
                    <a:pt x="15" y="68"/>
                  </a:lnTo>
                  <a:lnTo>
                    <a:pt x="17" y="69"/>
                  </a:lnTo>
                  <a:lnTo>
                    <a:pt x="17" y="75"/>
                  </a:lnTo>
                  <a:lnTo>
                    <a:pt x="15" y="77"/>
                  </a:lnTo>
                  <a:lnTo>
                    <a:pt x="15" y="81"/>
                  </a:lnTo>
                  <a:lnTo>
                    <a:pt x="13" y="101"/>
                  </a:lnTo>
                  <a:lnTo>
                    <a:pt x="15" y="107"/>
                  </a:lnTo>
                  <a:lnTo>
                    <a:pt x="15" y="111"/>
                  </a:lnTo>
                  <a:lnTo>
                    <a:pt x="17" y="115"/>
                  </a:lnTo>
                  <a:lnTo>
                    <a:pt x="17" y="118"/>
                  </a:lnTo>
                  <a:lnTo>
                    <a:pt x="24" y="120"/>
                  </a:lnTo>
                  <a:lnTo>
                    <a:pt x="35" y="115"/>
                  </a:lnTo>
                  <a:lnTo>
                    <a:pt x="35" y="115"/>
                  </a:lnTo>
                  <a:lnTo>
                    <a:pt x="35" y="111"/>
                  </a:lnTo>
                  <a:lnTo>
                    <a:pt x="37" y="103"/>
                  </a:lnTo>
                  <a:lnTo>
                    <a:pt x="35" y="100"/>
                  </a:lnTo>
                  <a:lnTo>
                    <a:pt x="35" y="98"/>
                  </a:lnTo>
                  <a:lnTo>
                    <a:pt x="35" y="90"/>
                  </a:lnTo>
                  <a:lnTo>
                    <a:pt x="35" y="86"/>
                  </a:lnTo>
                  <a:lnTo>
                    <a:pt x="35" y="86"/>
                  </a:lnTo>
                  <a:lnTo>
                    <a:pt x="35" y="83"/>
                  </a:lnTo>
                  <a:lnTo>
                    <a:pt x="35" y="83"/>
                  </a:lnTo>
                  <a:lnTo>
                    <a:pt x="35" y="77"/>
                  </a:lnTo>
                  <a:lnTo>
                    <a:pt x="35" y="77"/>
                  </a:lnTo>
                  <a:lnTo>
                    <a:pt x="35" y="73"/>
                  </a:lnTo>
                  <a:lnTo>
                    <a:pt x="35" y="71"/>
                  </a:lnTo>
                  <a:lnTo>
                    <a:pt x="35" y="68"/>
                  </a:lnTo>
                  <a:lnTo>
                    <a:pt x="37" y="66"/>
                  </a:lnTo>
                  <a:lnTo>
                    <a:pt x="39" y="64"/>
                  </a:lnTo>
                  <a:lnTo>
                    <a:pt x="41" y="64"/>
                  </a:lnTo>
                  <a:lnTo>
                    <a:pt x="43" y="62"/>
                  </a:lnTo>
                  <a:lnTo>
                    <a:pt x="45" y="58"/>
                  </a:lnTo>
                  <a:lnTo>
                    <a:pt x="49" y="56"/>
                  </a:lnTo>
                  <a:lnTo>
                    <a:pt x="49" y="53"/>
                  </a:lnTo>
                  <a:lnTo>
                    <a:pt x="52" y="51"/>
                  </a:lnTo>
                  <a:lnTo>
                    <a:pt x="52" y="51"/>
                  </a:lnTo>
                  <a:lnTo>
                    <a:pt x="56" y="49"/>
                  </a:lnTo>
                  <a:lnTo>
                    <a:pt x="52" y="43"/>
                  </a:lnTo>
                  <a:lnTo>
                    <a:pt x="52" y="43"/>
                  </a:lnTo>
                  <a:lnTo>
                    <a:pt x="52" y="39"/>
                  </a:lnTo>
                  <a:lnTo>
                    <a:pt x="56" y="39"/>
                  </a:lnTo>
                  <a:lnTo>
                    <a:pt x="56" y="37"/>
                  </a:lnTo>
                  <a:lnTo>
                    <a:pt x="56" y="32"/>
                  </a:lnTo>
                  <a:lnTo>
                    <a:pt x="56" y="28"/>
                  </a:lnTo>
                  <a:lnTo>
                    <a:pt x="50" y="22"/>
                  </a:lnTo>
                  <a:lnTo>
                    <a:pt x="50" y="20"/>
                  </a:lnTo>
                  <a:lnTo>
                    <a:pt x="50" y="15"/>
                  </a:lnTo>
                  <a:lnTo>
                    <a:pt x="52" y="15"/>
                  </a:lnTo>
                  <a:lnTo>
                    <a:pt x="47" y="9"/>
                  </a:lnTo>
                  <a:lnTo>
                    <a:pt x="43" y="9"/>
                  </a:lnTo>
                  <a:lnTo>
                    <a:pt x="39" y="4"/>
                  </a:lnTo>
                  <a:lnTo>
                    <a:pt x="33" y="0"/>
                  </a:lnTo>
                  <a:lnTo>
                    <a:pt x="32" y="4"/>
                  </a:lnTo>
                  <a:lnTo>
                    <a:pt x="32" y="4"/>
                  </a:lnTo>
                  <a:lnTo>
                    <a:pt x="28" y="7"/>
                  </a:lnTo>
                  <a:lnTo>
                    <a:pt x="28" y="7"/>
                  </a:lnTo>
                  <a:lnTo>
                    <a:pt x="28" y="7"/>
                  </a:lnTo>
                  <a:lnTo>
                    <a:pt x="28"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1" name="Freeform 124">
              <a:extLst>
                <a:ext uri="{FF2B5EF4-FFF2-40B4-BE49-F238E27FC236}">
                  <a16:creationId xmlns:a16="http://schemas.microsoft.com/office/drawing/2014/main" id="{89C6FE23-6BEF-431B-9816-A6EC436B9A42}"/>
                </a:ext>
              </a:extLst>
            </p:cNvPr>
            <p:cNvSpPr>
              <a:spLocks/>
            </p:cNvSpPr>
            <p:nvPr/>
          </p:nvSpPr>
          <p:spPr bwMode="auto">
            <a:xfrm>
              <a:off x="2802" y="2866"/>
              <a:ext cx="56" cy="120"/>
            </a:xfrm>
            <a:custGeom>
              <a:avLst/>
              <a:gdLst/>
              <a:ahLst/>
              <a:cxnLst>
                <a:cxn ang="0">
                  <a:pos x="28" y="9"/>
                </a:cxn>
                <a:cxn ang="0">
                  <a:pos x="20" y="15"/>
                </a:cxn>
                <a:cxn ang="0">
                  <a:pos x="11" y="17"/>
                </a:cxn>
                <a:cxn ang="0">
                  <a:pos x="7" y="22"/>
                </a:cxn>
                <a:cxn ang="0">
                  <a:pos x="7" y="28"/>
                </a:cxn>
                <a:cxn ang="0">
                  <a:pos x="0" y="32"/>
                </a:cxn>
                <a:cxn ang="0">
                  <a:pos x="7" y="41"/>
                </a:cxn>
                <a:cxn ang="0">
                  <a:pos x="9" y="45"/>
                </a:cxn>
                <a:cxn ang="0">
                  <a:pos x="15" y="62"/>
                </a:cxn>
                <a:cxn ang="0">
                  <a:pos x="17" y="69"/>
                </a:cxn>
                <a:cxn ang="0">
                  <a:pos x="15" y="77"/>
                </a:cxn>
                <a:cxn ang="0">
                  <a:pos x="13" y="101"/>
                </a:cxn>
                <a:cxn ang="0">
                  <a:pos x="15" y="111"/>
                </a:cxn>
                <a:cxn ang="0">
                  <a:pos x="17" y="118"/>
                </a:cxn>
                <a:cxn ang="0">
                  <a:pos x="35" y="115"/>
                </a:cxn>
                <a:cxn ang="0">
                  <a:pos x="35" y="111"/>
                </a:cxn>
                <a:cxn ang="0">
                  <a:pos x="35" y="100"/>
                </a:cxn>
                <a:cxn ang="0">
                  <a:pos x="35" y="90"/>
                </a:cxn>
                <a:cxn ang="0">
                  <a:pos x="35" y="86"/>
                </a:cxn>
                <a:cxn ang="0">
                  <a:pos x="35" y="83"/>
                </a:cxn>
                <a:cxn ang="0">
                  <a:pos x="35" y="77"/>
                </a:cxn>
                <a:cxn ang="0">
                  <a:pos x="35" y="71"/>
                </a:cxn>
                <a:cxn ang="0">
                  <a:pos x="37" y="66"/>
                </a:cxn>
                <a:cxn ang="0">
                  <a:pos x="41" y="64"/>
                </a:cxn>
                <a:cxn ang="0">
                  <a:pos x="45" y="58"/>
                </a:cxn>
                <a:cxn ang="0">
                  <a:pos x="49" y="53"/>
                </a:cxn>
                <a:cxn ang="0">
                  <a:pos x="52" y="51"/>
                </a:cxn>
                <a:cxn ang="0">
                  <a:pos x="52" y="43"/>
                </a:cxn>
                <a:cxn ang="0">
                  <a:pos x="52" y="39"/>
                </a:cxn>
                <a:cxn ang="0">
                  <a:pos x="56" y="37"/>
                </a:cxn>
                <a:cxn ang="0">
                  <a:pos x="56" y="28"/>
                </a:cxn>
                <a:cxn ang="0">
                  <a:pos x="50" y="20"/>
                </a:cxn>
                <a:cxn ang="0">
                  <a:pos x="52" y="15"/>
                </a:cxn>
                <a:cxn ang="0">
                  <a:pos x="43" y="9"/>
                </a:cxn>
                <a:cxn ang="0">
                  <a:pos x="33" y="0"/>
                </a:cxn>
                <a:cxn ang="0">
                  <a:pos x="32" y="4"/>
                </a:cxn>
                <a:cxn ang="0">
                  <a:pos x="28" y="7"/>
                </a:cxn>
                <a:cxn ang="0">
                  <a:pos x="28" y="7"/>
                </a:cxn>
              </a:cxnLst>
              <a:rect l="0" t="0" r="r" b="b"/>
              <a:pathLst>
                <a:path w="56" h="120">
                  <a:moveTo>
                    <a:pt x="28" y="7"/>
                  </a:moveTo>
                  <a:lnTo>
                    <a:pt x="28" y="9"/>
                  </a:lnTo>
                  <a:lnTo>
                    <a:pt x="24" y="15"/>
                  </a:lnTo>
                  <a:lnTo>
                    <a:pt x="20" y="15"/>
                  </a:lnTo>
                  <a:lnTo>
                    <a:pt x="13" y="17"/>
                  </a:lnTo>
                  <a:lnTo>
                    <a:pt x="11" y="17"/>
                  </a:lnTo>
                  <a:lnTo>
                    <a:pt x="7" y="19"/>
                  </a:lnTo>
                  <a:lnTo>
                    <a:pt x="7" y="22"/>
                  </a:lnTo>
                  <a:lnTo>
                    <a:pt x="7" y="24"/>
                  </a:lnTo>
                  <a:lnTo>
                    <a:pt x="7" y="28"/>
                  </a:lnTo>
                  <a:lnTo>
                    <a:pt x="1" y="28"/>
                  </a:lnTo>
                  <a:lnTo>
                    <a:pt x="0" y="32"/>
                  </a:lnTo>
                  <a:lnTo>
                    <a:pt x="1" y="37"/>
                  </a:lnTo>
                  <a:lnTo>
                    <a:pt x="7" y="41"/>
                  </a:lnTo>
                  <a:lnTo>
                    <a:pt x="7" y="43"/>
                  </a:lnTo>
                  <a:lnTo>
                    <a:pt x="9" y="45"/>
                  </a:lnTo>
                  <a:lnTo>
                    <a:pt x="13" y="53"/>
                  </a:lnTo>
                  <a:lnTo>
                    <a:pt x="15" y="62"/>
                  </a:lnTo>
                  <a:lnTo>
                    <a:pt x="15" y="68"/>
                  </a:lnTo>
                  <a:lnTo>
                    <a:pt x="17" y="69"/>
                  </a:lnTo>
                  <a:lnTo>
                    <a:pt x="17" y="75"/>
                  </a:lnTo>
                  <a:lnTo>
                    <a:pt x="15" y="77"/>
                  </a:lnTo>
                  <a:lnTo>
                    <a:pt x="15" y="81"/>
                  </a:lnTo>
                  <a:lnTo>
                    <a:pt x="13" y="101"/>
                  </a:lnTo>
                  <a:lnTo>
                    <a:pt x="15" y="107"/>
                  </a:lnTo>
                  <a:lnTo>
                    <a:pt x="15" y="111"/>
                  </a:lnTo>
                  <a:lnTo>
                    <a:pt x="17" y="115"/>
                  </a:lnTo>
                  <a:lnTo>
                    <a:pt x="17" y="118"/>
                  </a:lnTo>
                  <a:lnTo>
                    <a:pt x="24" y="120"/>
                  </a:lnTo>
                  <a:lnTo>
                    <a:pt x="35" y="115"/>
                  </a:lnTo>
                  <a:lnTo>
                    <a:pt x="35" y="115"/>
                  </a:lnTo>
                  <a:lnTo>
                    <a:pt x="35" y="111"/>
                  </a:lnTo>
                  <a:lnTo>
                    <a:pt x="37" y="103"/>
                  </a:lnTo>
                  <a:lnTo>
                    <a:pt x="35" y="100"/>
                  </a:lnTo>
                  <a:lnTo>
                    <a:pt x="35" y="98"/>
                  </a:lnTo>
                  <a:lnTo>
                    <a:pt x="35" y="90"/>
                  </a:lnTo>
                  <a:lnTo>
                    <a:pt x="35" y="86"/>
                  </a:lnTo>
                  <a:lnTo>
                    <a:pt x="35" y="86"/>
                  </a:lnTo>
                  <a:lnTo>
                    <a:pt x="35" y="83"/>
                  </a:lnTo>
                  <a:lnTo>
                    <a:pt x="35" y="83"/>
                  </a:lnTo>
                  <a:lnTo>
                    <a:pt x="35" y="77"/>
                  </a:lnTo>
                  <a:lnTo>
                    <a:pt x="35" y="77"/>
                  </a:lnTo>
                  <a:lnTo>
                    <a:pt x="35" y="73"/>
                  </a:lnTo>
                  <a:lnTo>
                    <a:pt x="35" y="71"/>
                  </a:lnTo>
                  <a:lnTo>
                    <a:pt x="35" y="68"/>
                  </a:lnTo>
                  <a:lnTo>
                    <a:pt x="37" y="66"/>
                  </a:lnTo>
                  <a:lnTo>
                    <a:pt x="39" y="64"/>
                  </a:lnTo>
                  <a:lnTo>
                    <a:pt x="41" y="64"/>
                  </a:lnTo>
                  <a:lnTo>
                    <a:pt x="43" y="62"/>
                  </a:lnTo>
                  <a:lnTo>
                    <a:pt x="45" y="58"/>
                  </a:lnTo>
                  <a:lnTo>
                    <a:pt x="49" y="56"/>
                  </a:lnTo>
                  <a:lnTo>
                    <a:pt x="49" y="53"/>
                  </a:lnTo>
                  <a:lnTo>
                    <a:pt x="52" y="51"/>
                  </a:lnTo>
                  <a:lnTo>
                    <a:pt x="52" y="51"/>
                  </a:lnTo>
                  <a:lnTo>
                    <a:pt x="56" y="49"/>
                  </a:lnTo>
                  <a:lnTo>
                    <a:pt x="52" y="43"/>
                  </a:lnTo>
                  <a:lnTo>
                    <a:pt x="52" y="43"/>
                  </a:lnTo>
                  <a:lnTo>
                    <a:pt x="52" y="39"/>
                  </a:lnTo>
                  <a:lnTo>
                    <a:pt x="56" y="39"/>
                  </a:lnTo>
                  <a:lnTo>
                    <a:pt x="56" y="37"/>
                  </a:lnTo>
                  <a:lnTo>
                    <a:pt x="56" y="32"/>
                  </a:lnTo>
                  <a:lnTo>
                    <a:pt x="56" y="28"/>
                  </a:lnTo>
                  <a:lnTo>
                    <a:pt x="50" y="22"/>
                  </a:lnTo>
                  <a:lnTo>
                    <a:pt x="50" y="20"/>
                  </a:lnTo>
                  <a:lnTo>
                    <a:pt x="50" y="15"/>
                  </a:lnTo>
                  <a:lnTo>
                    <a:pt x="52" y="15"/>
                  </a:lnTo>
                  <a:lnTo>
                    <a:pt x="47" y="9"/>
                  </a:lnTo>
                  <a:lnTo>
                    <a:pt x="43" y="9"/>
                  </a:lnTo>
                  <a:lnTo>
                    <a:pt x="39" y="4"/>
                  </a:lnTo>
                  <a:lnTo>
                    <a:pt x="33" y="0"/>
                  </a:lnTo>
                  <a:lnTo>
                    <a:pt x="32" y="4"/>
                  </a:lnTo>
                  <a:lnTo>
                    <a:pt x="32" y="4"/>
                  </a:lnTo>
                  <a:lnTo>
                    <a:pt x="28" y="7"/>
                  </a:lnTo>
                  <a:lnTo>
                    <a:pt x="28" y="7"/>
                  </a:lnTo>
                  <a:lnTo>
                    <a:pt x="28" y="7"/>
                  </a:lnTo>
                  <a:lnTo>
                    <a:pt x="28"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2" name="Freeform 125">
              <a:extLst>
                <a:ext uri="{FF2B5EF4-FFF2-40B4-BE49-F238E27FC236}">
                  <a16:creationId xmlns:a16="http://schemas.microsoft.com/office/drawing/2014/main" id="{517CFC75-DCA1-4EE1-AB77-DA3D46907EFC}"/>
                </a:ext>
              </a:extLst>
            </p:cNvPr>
            <p:cNvSpPr>
              <a:spLocks noEditPoints="1"/>
            </p:cNvSpPr>
            <p:nvPr/>
          </p:nvSpPr>
          <p:spPr bwMode="auto">
            <a:xfrm>
              <a:off x="3007" y="2653"/>
              <a:ext cx="216" cy="313"/>
            </a:xfrm>
            <a:custGeom>
              <a:avLst/>
              <a:gdLst/>
              <a:ahLst/>
              <a:cxnLst>
                <a:cxn ang="0">
                  <a:pos x="212" y="77"/>
                </a:cxn>
                <a:cxn ang="0">
                  <a:pos x="209" y="154"/>
                </a:cxn>
                <a:cxn ang="0">
                  <a:pos x="197" y="154"/>
                </a:cxn>
                <a:cxn ang="0">
                  <a:pos x="197" y="166"/>
                </a:cxn>
                <a:cxn ang="0">
                  <a:pos x="186" y="179"/>
                </a:cxn>
                <a:cxn ang="0">
                  <a:pos x="186" y="188"/>
                </a:cxn>
                <a:cxn ang="0">
                  <a:pos x="184" y="194"/>
                </a:cxn>
                <a:cxn ang="0">
                  <a:pos x="179" y="207"/>
                </a:cxn>
                <a:cxn ang="0">
                  <a:pos x="184" y="211"/>
                </a:cxn>
                <a:cxn ang="0">
                  <a:pos x="184" y="215"/>
                </a:cxn>
                <a:cxn ang="0">
                  <a:pos x="188" y="220"/>
                </a:cxn>
                <a:cxn ang="0">
                  <a:pos x="196" y="232"/>
                </a:cxn>
                <a:cxn ang="0">
                  <a:pos x="196" y="241"/>
                </a:cxn>
                <a:cxn ang="0">
                  <a:pos x="186" y="243"/>
                </a:cxn>
                <a:cxn ang="0">
                  <a:pos x="175" y="249"/>
                </a:cxn>
                <a:cxn ang="0">
                  <a:pos x="173" y="254"/>
                </a:cxn>
                <a:cxn ang="0">
                  <a:pos x="165" y="258"/>
                </a:cxn>
                <a:cxn ang="0">
                  <a:pos x="160" y="266"/>
                </a:cxn>
                <a:cxn ang="0">
                  <a:pos x="160" y="275"/>
                </a:cxn>
                <a:cxn ang="0">
                  <a:pos x="147" y="281"/>
                </a:cxn>
                <a:cxn ang="0">
                  <a:pos x="133" y="281"/>
                </a:cxn>
                <a:cxn ang="0">
                  <a:pos x="124" y="281"/>
                </a:cxn>
                <a:cxn ang="0">
                  <a:pos x="128" y="288"/>
                </a:cxn>
                <a:cxn ang="0">
                  <a:pos x="122" y="296"/>
                </a:cxn>
                <a:cxn ang="0">
                  <a:pos x="100" y="301"/>
                </a:cxn>
                <a:cxn ang="0">
                  <a:pos x="88" y="309"/>
                </a:cxn>
                <a:cxn ang="0">
                  <a:pos x="83" y="301"/>
                </a:cxn>
                <a:cxn ang="0">
                  <a:pos x="77" y="311"/>
                </a:cxn>
                <a:cxn ang="0">
                  <a:pos x="66" y="313"/>
                </a:cxn>
                <a:cxn ang="0">
                  <a:pos x="64" y="303"/>
                </a:cxn>
                <a:cxn ang="0">
                  <a:pos x="54" y="290"/>
                </a:cxn>
                <a:cxn ang="0">
                  <a:pos x="39" y="275"/>
                </a:cxn>
                <a:cxn ang="0">
                  <a:pos x="36" y="271"/>
                </a:cxn>
                <a:cxn ang="0">
                  <a:pos x="36" y="262"/>
                </a:cxn>
                <a:cxn ang="0">
                  <a:pos x="43" y="262"/>
                </a:cxn>
                <a:cxn ang="0">
                  <a:pos x="52" y="262"/>
                </a:cxn>
                <a:cxn ang="0">
                  <a:pos x="60" y="264"/>
                </a:cxn>
                <a:cxn ang="0">
                  <a:pos x="58" y="258"/>
                </a:cxn>
                <a:cxn ang="0">
                  <a:pos x="49" y="249"/>
                </a:cxn>
                <a:cxn ang="0">
                  <a:pos x="52" y="237"/>
                </a:cxn>
                <a:cxn ang="0">
                  <a:pos x="52" y="232"/>
                </a:cxn>
                <a:cxn ang="0">
                  <a:pos x="49" y="218"/>
                </a:cxn>
                <a:cxn ang="0">
                  <a:pos x="41" y="209"/>
                </a:cxn>
                <a:cxn ang="0">
                  <a:pos x="30" y="200"/>
                </a:cxn>
                <a:cxn ang="0">
                  <a:pos x="22" y="169"/>
                </a:cxn>
                <a:cxn ang="0">
                  <a:pos x="26" y="166"/>
                </a:cxn>
                <a:cxn ang="0">
                  <a:pos x="58" y="105"/>
                </a:cxn>
                <a:cxn ang="0">
                  <a:pos x="64" y="60"/>
                </a:cxn>
                <a:cxn ang="0">
                  <a:pos x="54" y="38"/>
                </a:cxn>
                <a:cxn ang="0">
                  <a:pos x="43" y="9"/>
                </a:cxn>
                <a:cxn ang="0">
                  <a:pos x="5" y="201"/>
                </a:cxn>
                <a:cxn ang="0">
                  <a:pos x="0" y="203"/>
                </a:cxn>
                <a:cxn ang="0">
                  <a:pos x="5" y="201"/>
                </a:cxn>
              </a:cxnLst>
              <a:rect l="0" t="0" r="r" b="b"/>
              <a:pathLst>
                <a:path w="216" h="313">
                  <a:moveTo>
                    <a:pt x="43" y="9"/>
                  </a:moveTo>
                  <a:lnTo>
                    <a:pt x="64" y="0"/>
                  </a:lnTo>
                  <a:lnTo>
                    <a:pt x="212" y="77"/>
                  </a:lnTo>
                  <a:lnTo>
                    <a:pt x="216" y="151"/>
                  </a:lnTo>
                  <a:lnTo>
                    <a:pt x="212" y="151"/>
                  </a:lnTo>
                  <a:lnTo>
                    <a:pt x="209" y="154"/>
                  </a:lnTo>
                  <a:lnTo>
                    <a:pt x="207" y="151"/>
                  </a:lnTo>
                  <a:lnTo>
                    <a:pt x="201" y="151"/>
                  </a:lnTo>
                  <a:lnTo>
                    <a:pt x="197" y="154"/>
                  </a:lnTo>
                  <a:lnTo>
                    <a:pt x="197" y="160"/>
                  </a:lnTo>
                  <a:lnTo>
                    <a:pt x="199" y="164"/>
                  </a:lnTo>
                  <a:lnTo>
                    <a:pt x="197" y="166"/>
                  </a:lnTo>
                  <a:lnTo>
                    <a:pt x="192" y="175"/>
                  </a:lnTo>
                  <a:lnTo>
                    <a:pt x="188" y="175"/>
                  </a:lnTo>
                  <a:lnTo>
                    <a:pt x="186" y="179"/>
                  </a:lnTo>
                  <a:lnTo>
                    <a:pt x="186" y="181"/>
                  </a:lnTo>
                  <a:lnTo>
                    <a:pt x="188" y="181"/>
                  </a:lnTo>
                  <a:lnTo>
                    <a:pt x="186" y="188"/>
                  </a:lnTo>
                  <a:lnTo>
                    <a:pt x="182" y="188"/>
                  </a:lnTo>
                  <a:lnTo>
                    <a:pt x="182" y="190"/>
                  </a:lnTo>
                  <a:lnTo>
                    <a:pt x="184" y="194"/>
                  </a:lnTo>
                  <a:lnTo>
                    <a:pt x="184" y="196"/>
                  </a:lnTo>
                  <a:lnTo>
                    <a:pt x="182" y="200"/>
                  </a:lnTo>
                  <a:lnTo>
                    <a:pt x="179" y="207"/>
                  </a:lnTo>
                  <a:lnTo>
                    <a:pt x="179" y="211"/>
                  </a:lnTo>
                  <a:lnTo>
                    <a:pt x="179" y="213"/>
                  </a:lnTo>
                  <a:lnTo>
                    <a:pt x="184" y="211"/>
                  </a:lnTo>
                  <a:lnTo>
                    <a:pt x="186" y="211"/>
                  </a:lnTo>
                  <a:lnTo>
                    <a:pt x="186" y="213"/>
                  </a:lnTo>
                  <a:lnTo>
                    <a:pt x="184" y="215"/>
                  </a:lnTo>
                  <a:lnTo>
                    <a:pt x="186" y="215"/>
                  </a:lnTo>
                  <a:lnTo>
                    <a:pt x="186" y="218"/>
                  </a:lnTo>
                  <a:lnTo>
                    <a:pt x="188" y="220"/>
                  </a:lnTo>
                  <a:lnTo>
                    <a:pt x="188" y="226"/>
                  </a:lnTo>
                  <a:lnTo>
                    <a:pt x="188" y="230"/>
                  </a:lnTo>
                  <a:lnTo>
                    <a:pt x="196" y="232"/>
                  </a:lnTo>
                  <a:lnTo>
                    <a:pt x="197" y="235"/>
                  </a:lnTo>
                  <a:lnTo>
                    <a:pt x="196" y="237"/>
                  </a:lnTo>
                  <a:lnTo>
                    <a:pt x="196" y="241"/>
                  </a:lnTo>
                  <a:lnTo>
                    <a:pt x="194" y="243"/>
                  </a:lnTo>
                  <a:lnTo>
                    <a:pt x="192" y="245"/>
                  </a:lnTo>
                  <a:lnTo>
                    <a:pt x="186" y="243"/>
                  </a:lnTo>
                  <a:lnTo>
                    <a:pt x="182" y="243"/>
                  </a:lnTo>
                  <a:lnTo>
                    <a:pt x="179" y="245"/>
                  </a:lnTo>
                  <a:lnTo>
                    <a:pt x="175" y="249"/>
                  </a:lnTo>
                  <a:lnTo>
                    <a:pt x="175" y="250"/>
                  </a:lnTo>
                  <a:lnTo>
                    <a:pt x="175" y="254"/>
                  </a:lnTo>
                  <a:lnTo>
                    <a:pt x="173" y="254"/>
                  </a:lnTo>
                  <a:lnTo>
                    <a:pt x="169" y="260"/>
                  </a:lnTo>
                  <a:lnTo>
                    <a:pt x="167" y="260"/>
                  </a:lnTo>
                  <a:lnTo>
                    <a:pt x="165" y="258"/>
                  </a:lnTo>
                  <a:lnTo>
                    <a:pt x="164" y="262"/>
                  </a:lnTo>
                  <a:lnTo>
                    <a:pt x="164" y="264"/>
                  </a:lnTo>
                  <a:lnTo>
                    <a:pt x="160" y="266"/>
                  </a:lnTo>
                  <a:lnTo>
                    <a:pt x="160" y="269"/>
                  </a:lnTo>
                  <a:lnTo>
                    <a:pt x="160" y="273"/>
                  </a:lnTo>
                  <a:lnTo>
                    <a:pt x="160" y="275"/>
                  </a:lnTo>
                  <a:lnTo>
                    <a:pt x="158" y="275"/>
                  </a:lnTo>
                  <a:lnTo>
                    <a:pt x="152" y="281"/>
                  </a:lnTo>
                  <a:lnTo>
                    <a:pt x="147" y="281"/>
                  </a:lnTo>
                  <a:lnTo>
                    <a:pt x="141" y="282"/>
                  </a:lnTo>
                  <a:lnTo>
                    <a:pt x="135" y="281"/>
                  </a:lnTo>
                  <a:lnTo>
                    <a:pt x="133" y="281"/>
                  </a:lnTo>
                  <a:lnTo>
                    <a:pt x="128" y="281"/>
                  </a:lnTo>
                  <a:lnTo>
                    <a:pt x="128" y="279"/>
                  </a:lnTo>
                  <a:lnTo>
                    <a:pt x="124" y="281"/>
                  </a:lnTo>
                  <a:lnTo>
                    <a:pt x="124" y="284"/>
                  </a:lnTo>
                  <a:lnTo>
                    <a:pt x="128" y="288"/>
                  </a:lnTo>
                  <a:lnTo>
                    <a:pt x="128" y="288"/>
                  </a:lnTo>
                  <a:lnTo>
                    <a:pt x="128" y="290"/>
                  </a:lnTo>
                  <a:lnTo>
                    <a:pt x="124" y="294"/>
                  </a:lnTo>
                  <a:lnTo>
                    <a:pt x="122" y="296"/>
                  </a:lnTo>
                  <a:lnTo>
                    <a:pt x="115" y="296"/>
                  </a:lnTo>
                  <a:lnTo>
                    <a:pt x="105" y="299"/>
                  </a:lnTo>
                  <a:lnTo>
                    <a:pt x="100" y="301"/>
                  </a:lnTo>
                  <a:lnTo>
                    <a:pt x="94" y="305"/>
                  </a:lnTo>
                  <a:lnTo>
                    <a:pt x="90" y="309"/>
                  </a:lnTo>
                  <a:lnTo>
                    <a:pt x="88" y="309"/>
                  </a:lnTo>
                  <a:lnTo>
                    <a:pt x="84" y="307"/>
                  </a:lnTo>
                  <a:lnTo>
                    <a:pt x="84" y="303"/>
                  </a:lnTo>
                  <a:lnTo>
                    <a:pt x="83" y="301"/>
                  </a:lnTo>
                  <a:lnTo>
                    <a:pt x="81" y="303"/>
                  </a:lnTo>
                  <a:lnTo>
                    <a:pt x="81" y="307"/>
                  </a:lnTo>
                  <a:lnTo>
                    <a:pt x="77" y="311"/>
                  </a:lnTo>
                  <a:lnTo>
                    <a:pt x="73" y="311"/>
                  </a:lnTo>
                  <a:lnTo>
                    <a:pt x="69" y="313"/>
                  </a:lnTo>
                  <a:lnTo>
                    <a:pt x="66" y="313"/>
                  </a:lnTo>
                  <a:lnTo>
                    <a:pt x="66" y="309"/>
                  </a:lnTo>
                  <a:lnTo>
                    <a:pt x="64" y="305"/>
                  </a:lnTo>
                  <a:lnTo>
                    <a:pt x="64" y="303"/>
                  </a:lnTo>
                  <a:lnTo>
                    <a:pt x="60" y="298"/>
                  </a:lnTo>
                  <a:lnTo>
                    <a:pt x="58" y="292"/>
                  </a:lnTo>
                  <a:lnTo>
                    <a:pt x="54" y="290"/>
                  </a:lnTo>
                  <a:lnTo>
                    <a:pt x="49" y="284"/>
                  </a:lnTo>
                  <a:lnTo>
                    <a:pt x="41" y="275"/>
                  </a:lnTo>
                  <a:lnTo>
                    <a:pt x="39" y="275"/>
                  </a:lnTo>
                  <a:lnTo>
                    <a:pt x="39" y="275"/>
                  </a:lnTo>
                  <a:lnTo>
                    <a:pt x="36" y="273"/>
                  </a:lnTo>
                  <a:lnTo>
                    <a:pt x="36" y="271"/>
                  </a:lnTo>
                  <a:lnTo>
                    <a:pt x="36" y="267"/>
                  </a:lnTo>
                  <a:lnTo>
                    <a:pt x="36" y="266"/>
                  </a:lnTo>
                  <a:lnTo>
                    <a:pt x="36" y="262"/>
                  </a:lnTo>
                  <a:lnTo>
                    <a:pt x="39" y="262"/>
                  </a:lnTo>
                  <a:lnTo>
                    <a:pt x="41" y="262"/>
                  </a:lnTo>
                  <a:lnTo>
                    <a:pt x="43" y="262"/>
                  </a:lnTo>
                  <a:lnTo>
                    <a:pt x="47" y="262"/>
                  </a:lnTo>
                  <a:lnTo>
                    <a:pt x="51" y="262"/>
                  </a:lnTo>
                  <a:lnTo>
                    <a:pt x="52" y="262"/>
                  </a:lnTo>
                  <a:lnTo>
                    <a:pt x="56" y="262"/>
                  </a:lnTo>
                  <a:lnTo>
                    <a:pt x="60" y="264"/>
                  </a:lnTo>
                  <a:lnTo>
                    <a:pt x="60" y="264"/>
                  </a:lnTo>
                  <a:lnTo>
                    <a:pt x="64" y="262"/>
                  </a:lnTo>
                  <a:lnTo>
                    <a:pt x="60" y="262"/>
                  </a:lnTo>
                  <a:lnTo>
                    <a:pt x="58" y="258"/>
                  </a:lnTo>
                  <a:lnTo>
                    <a:pt x="56" y="254"/>
                  </a:lnTo>
                  <a:lnTo>
                    <a:pt x="52" y="254"/>
                  </a:lnTo>
                  <a:lnTo>
                    <a:pt x="49" y="249"/>
                  </a:lnTo>
                  <a:lnTo>
                    <a:pt x="49" y="245"/>
                  </a:lnTo>
                  <a:lnTo>
                    <a:pt x="52" y="243"/>
                  </a:lnTo>
                  <a:lnTo>
                    <a:pt x="52" y="237"/>
                  </a:lnTo>
                  <a:lnTo>
                    <a:pt x="51" y="235"/>
                  </a:lnTo>
                  <a:lnTo>
                    <a:pt x="51" y="233"/>
                  </a:lnTo>
                  <a:lnTo>
                    <a:pt x="52" y="232"/>
                  </a:lnTo>
                  <a:lnTo>
                    <a:pt x="52" y="228"/>
                  </a:lnTo>
                  <a:lnTo>
                    <a:pt x="51" y="224"/>
                  </a:lnTo>
                  <a:lnTo>
                    <a:pt x="49" y="218"/>
                  </a:lnTo>
                  <a:lnTo>
                    <a:pt x="47" y="218"/>
                  </a:lnTo>
                  <a:lnTo>
                    <a:pt x="47" y="213"/>
                  </a:lnTo>
                  <a:lnTo>
                    <a:pt x="41" y="209"/>
                  </a:lnTo>
                  <a:lnTo>
                    <a:pt x="34" y="205"/>
                  </a:lnTo>
                  <a:lnTo>
                    <a:pt x="34" y="203"/>
                  </a:lnTo>
                  <a:lnTo>
                    <a:pt x="30" y="200"/>
                  </a:lnTo>
                  <a:lnTo>
                    <a:pt x="26" y="194"/>
                  </a:lnTo>
                  <a:lnTo>
                    <a:pt x="22" y="194"/>
                  </a:lnTo>
                  <a:lnTo>
                    <a:pt x="22" y="169"/>
                  </a:lnTo>
                  <a:lnTo>
                    <a:pt x="22" y="166"/>
                  </a:lnTo>
                  <a:lnTo>
                    <a:pt x="24" y="166"/>
                  </a:lnTo>
                  <a:lnTo>
                    <a:pt x="26" y="166"/>
                  </a:lnTo>
                  <a:lnTo>
                    <a:pt x="28" y="164"/>
                  </a:lnTo>
                  <a:lnTo>
                    <a:pt x="58" y="132"/>
                  </a:lnTo>
                  <a:lnTo>
                    <a:pt x="58" y="105"/>
                  </a:lnTo>
                  <a:lnTo>
                    <a:pt x="64" y="70"/>
                  </a:lnTo>
                  <a:lnTo>
                    <a:pt x="64" y="66"/>
                  </a:lnTo>
                  <a:lnTo>
                    <a:pt x="64" y="60"/>
                  </a:lnTo>
                  <a:lnTo>
                    <a:pt x="52" y="45"/>
                  </a:lnTo>
                  <a:lnTo>
                    <a:pt x="54" y="43"/>
                  </a:lnTo>
                  <a:lnTo>
                    <a:pt x="54" y="38"/>
                  </a:lnTo>
                  <a:lnTo>
                    <a:pt x="45" y="13"/>
                  </a:lnTo>
                  <a:lnTo>
                    <a:pt x="43" y="9"/>
                  </a:lnTo>
                  <a:lnTo>
                    <a:pt x="43" y="9"/>
                  </a:lnTo>
                  <a:lnTo>
                    <a:pt x="43" y="9"/>
                  </a:lnTo>
                  <a:lnTo>
                    <a:pt x="43" y="9"/>
                  </a:lnTo>
                  <a:close/>
                  <a:moveTo>
                    <a:pt x="5" y="201"/>
                  </a:moveTo>
                  <a:lnTo>
                    <a:pt x="2" y="205"/>
                  </a:lnTo>
                  <a:lnTo>
                    <a:pt x="2" y="205"/>
                  </a:lnTo>
                  <a:lnTo>
                    <a:pt x="0" y="203"/>
                  </a:lnTo>
                  <a:lnTo>
                    <a:pt x="5" y="201"/>
                  </a:lnTo>
                  <a:lnTo>
                    <a:pt x="5" y="201"/>
                  </a:lnTo>
                  <a:lnTo>
                    <a:pt x="5" y="201"/>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3" name="Freeform 126">
              <a:extLst>
                <a:ext uri="{FF2B5EF4-FFF2-40B4-BE49-F238E27FC236}">
                  <a16:creationId xmlns:a16="http://schemas.microsoft.com/office/drawing/2014/main" id="{1D1BA3D4-F0E0-489D-AA56-2BEA395FB0F0}"/>
                </a:ext>
              </a:extLst>
            </p:cNvPr>
            <p:cNvSpPr>
              <a:spLocks/>
            </p:cNvSpPr>
            <p:nvPr/>
          </p:nvSpPr>
          <p:spPr bwMode="auto">
            <a:xfrm>
              <a:off x="2790" y="2659"/>
              <a:ext cx="279" cy="216"/>
            </a:xfrm>
            <a:custGeom>
              <a:avLst/>
              <a:gdLst/>
              <a:ahLst/>
              <a:cxnLst>
                <a:cxn ang="0">
                  <a:pos x="59" y="211"/>
                </a:cxn>
                <a:cxn ang="0">
                  <a:pos x="51" y="207"/>
                </a:cxn>
                <a:cxn ang="0">
                  <a:pos x="45" y="205"/>
                </a:cxn>
                <a:cxn ang="0">
                  <a:pos x="42" y="209"/>
                </a:cxn>
                <a:cxn ang="0">
                  <a:pos x="34" y="203"/>
                </a:cxn>
                <a:cxn ang="0">
                  <a:pos x="36" y="199"/>
                </a:cxn>
                <a:cxn ang="0">
                  <a:pos x="34" y="192"/>
                </a:cxn>
                <a:cxn ang="0">
                  <a:pos x="25" y="195"/>
                </a:cxn>
                <a:cxn ang="0">
                  <a:pos x="17" y="184"/>
                </a:cxn>
                <a:cxn ang="0">
                  <a:pos x="0" y="167"/>
                </a:cxn>
                <a:cxn ang="0">
                  <a:pos x="2" y="160"/>
                </a:cxn>
                <a:cxn ang="0">
                  <a:pos x="8" y="158"/>
                </a:cxn>
                <a:cxn ang="0">
                  <a:pos x="27" y="156"/>
                </a:cxn>
                <a:cxn ang="0">
                  <a:pos x="40" y="154"/>
                </a:cxn>
                <a:cxn ang="0">
                  <a:pos x="47" y="150"/>
                </a:cxn>
                <a:cxn ang="0">
                  <a:pos x="59" y="146"/>
                </a:cxn>
                <a:cxn ang="0">
                  <a:pos x="68" y="137"/>
                </a:cxn>
                <a:cxn ang="0">
                  <a:pos x="72" y="130"/>
                </a:cxn>
                <a:cxn ang="0">
                  <a:pos x="76" y="79"/>
                </a:cxn>
                <a:cxn ang="0">
                  <a:pos x="125" y="50"/>
                </a:cxn>
                <a:cxn ang="0">
                  <a:pos x="239" y="5"/>
                </a:cxn>
                <a:cxn ang="0">
                  <a:pos x="258" y="3"/>
                </a:cxn>
                <a:cxn ang="0">
                  <a:pos x="269" y="30"/>
                </a:cxn>
                <a:cxn ang="0">
                  <a:pos x="268" y="39"/>
                </a:cxn>
                <a:cxn ang="0">
                  <a:pos x="279" y="60"/>
                </a:cxn>
                <a:cxn ang="0">
                  <a:pos x="273" y="98"/>
                </a:cxn>
                <a:cxn ang="0">
                  <a:pos x="243" y="156"/>
                </a:cxn>
                <a:cxn ang="0">
                  <a:pos x="239" y="158"/>
                </a:cxn>
                <a:cxn ang="0">
                  <a:pos x="237" y="162"/>
                </a:cxn>
                <a:cxn ang="0">
                  <a:pos x="236" y="182"/>
                </a:cxn>
                <a:cxn ang="0">
                  <a:pos x="232" y="186"/>
                </a:cxn>
                <a:cxn ang="0">
                  <a:pos x="226" y="186"/>
                </a:cxn>
                <a:cxn ang="0">
                  <a:pos x="224" y="190"/>
                </a:cxn>
                <a:cxn ang="0">
                  <a:pos x="221" y="192"/>
                </a:cxn>
                <a:cxn ang="0">
                  <a:pos x="213" y="192"/>
                </a:cxn>
                <a:cxn ang="0">
                  <a:pos x="202" y="190"/>
                </a:cxn>
                <a:cxn ang="0">
                  <a:pos x="189" y="190"/>
                </a:cxn>
                <a:cxn ang="0">
                  <a:pos x="177" y="192"/>
                </a:cxn>
                <a:cxn ang="0">
                  <a:pos x="166" y="201"/>
                </a:cxn>
                <a:cxn ang="0">
                  <a:pos x="157" y="199"/>
                </a:cxn>
                <a:cxn ang="0">
                  <a:pos x="147" y="195"/>
                </a:cxn>
                <a:cxn ang="0">
                  <a:pos x="143" y="190"/>
                </a:cxn>
                <a:cxn ang="0">
                  <a:pos x="136" y="190"/>
                </a:cxn>
                <a:cxn ang="0">
                  <a:pos x="132" y="190"/>
                </a:cxn>
                <a:cxn ang="0">
                  <a:pos x="125" y="192"/>
                </a:cxn>
                <a:cxn ang="0">
                  <a:pos x="121" y="195"/>
                </a:cxn>
                <a:cxn ang="0">
                  <a:pos x="113" y="186"/>
                </a:cxn>
                <a:cxn ang="0">
                  <a:pos x="108" y="182"/>
                </a:cxn>
                <a:cxn ang="0">
                  <a:pos x="100" y="180"/>
                </a:cxn>
                <a:cxn ang="0">
                  <a:pos x="94" y="180"/>
                </a:cxn>
                <a:cxn ang="0">
                  <a:pos x="89" y="180"/>
                </a:cxn>
                <a:cxn ang="0">
                  <a:pos x="83" y="180"/>
                </a:cxn>
                <a:cxn ang="0">
                  <a:pos x="76" y="182"/>
                </a:cxn>
                <a:cxn ang="0">
                  <a:pos x="74" y="184"/>
                </a:cxn>
                <a:cxn ang="0">
                  <a:pos x="68" y="190"/>
                </a:cxn>
                <a:cxn ang="0">
                  <a:pos x="68" y="190"/>
                </a:cxn>
                <a:cxn ang="0">
                  <a:pos x="68" y="195"/>
                </a:cxn>
                <a:cxn ang="0">
                  <a:pos x="70" y="199"/>
                </a:cxn>
                <a:cxn ang="0">
                  <a:pos x="64" y="205"/>
                </a:cxn>
                <a:cxn ang="0">
                  <a:pos x="64" y="209"/>
                </a:cxn>
                <a:cxn ang="0">
                  <a:pos x="66" y="214"/>
                </a:cxn>
                <a:cxn ang="0">
                  <a:pos x="64" y="216"/>
                </a:cxn>
                <a:cxn ang="0">
                  <a:pos x="64" y="216"/>
                </a:cxn>
              </a:cxnLst>
              <a:rect l="0" t="0" r="r" b="b"/>
              <a:pathLst>
                <a:path w="279" h="216">
                  <a:moveTo>
                    <a:pt x="64" y="216"/>
                  </a:moveTo>
                  <a:lnTo>
                    <a:pt x="59" y="211"/>
                  </a:lnTo>
                  <a:lnTo>
                    <a:pt x="55" y="211"/>
                  </a:lnTo>
                  <a:lnTo>
                    <a:pt x="51" y="207"/>
                  </a:lnTo>
                  <a:lnTo>
                    <a:pt x="47" y="201"/>
                  </a:lnTo>
                  <a:lnTo>
                    <a:pt x="45" y="205"/>
                  </a:lnTo>
                  <a:lnTo>
                    <a:pt x="45" y="207"/>
                  </a:lnTo>
                  <a:lnTo>
                    <a:pt x="42" y="209"/>
                  </a:lnTo>
                  <a:lnTo>
                    <a:pt x="40" y="209"/>
                  </a:lnTo>
                  <a:lnTo>
                    <a:pt x="34" y="203"/>
                  </a:lnTo>
                  <a:lnTo>
                    <a:pt x="36" y="201"/>
                  </a:lnTo>
                  <a:lnTo>
                    <a:pt x="36" y="199"/>
                  </a:lnTo>
                  <a:lnTo>
                    <a:pt x="34" y="195"/>
                  </a:lnTo>
                  <a:lnTo>
                    <a:pt x="34" y="192"/>
                  </a:lnTo>
                  <a:lnTo>
                    <a:pt x="32" y="192"/>
                  </a:lnTo>
                  <a:lnTo>
                    <a:pt x="25" y="195"/>
                  </a:lnTo>
                  <a:lnTo>
                    <a:pt x="19" y="190"/>
                  </a:lnTo>
                  <a:lnTo>
                    <a:pt x="17" y="184"/>
                  </a:lnTo>
                  <a:lnTo>
                    <a:pt x="0" y="173"/>
                  </a:lnTo>
                  <a:lnTo>
                    <a:pt x="0" y="167"/>
                  </a:lnTo>
                  <a:lnTo>
                    <a:pt x="2" y="162"/>
                  </a:lnTo>
                  <a:lnTo>
                    <a:pt x="2" y="160"/>
                  </a:lnTo>
                  <a:lnTo>
                    <a:pt x="6" y="156"/>
                  </a:lnTo>
                  <a:lnTo>
                    <a:pt x="8" y="158"/>
                  </a:lnTo>
                  <a:lnTo>
                    <a:pt x="21" y="156"/>
                  </a:lnTo>
                  <a:lnTo>
                    <a:pt x="27" y="156"/>
                  </a:lnTo>
                  <a:lnTo>
                    <a:pt x="30" y="154"/>
                  </a:lnTo>
                  <a:lnTo>
                    <a:pt x="40" y="154"/>
                  </a:lnTo>
                  <a:lnTo>
                    <a:pt x="42" y="154"/>
                  </a:lnTo>
                  <a:lnTo>
                    <a:pt x="47" y="150"/>
                  </a:lnTo>
                  <a:lnTo>
                    <a:pt x="51" y="150"/>
                  </a:lnTo>
                  <a:lnTo>
                    <a:pt x="59" y="146"/>
                  </a:lnTo>
                  <a:lnTo>
                    <a:pt x="68" y="141"/>
                  </a:lnTo>
                  <a:lnTo>
                    <a:pt x="68" y="137"/>
                  </a:lnTo>
                  <a:lnTo>
                    <a:pt x="70" y="131"/>
                  </a:lnTo>
                  <a:lnTo>
                    <a:pt x="72" y="130"/>
                  </a:lnTo>
                  <a:lnTo>
                    <a:pt x="74" y="113"/>
                  </a:lnTo>
                  <a:lnTo>
                    <a:pt x="76" y="79"/>
                  </a:lnTo>
                  <a:lnTo>
                    <a:pt x="104" y="71"/>
                  </a:lnTo>
                  <a:lnTo>
                    <a:pt x="125" y="50"/>
                  </a:lnTo>
                  <a:lnTo>
                    <a:pt x="207" y="0"/>
                  </a:lnTo>
                  <a:lnTo>
                    <a:pt x="239" y="5"/>
                  </a:lnTo>
                  <a:lnTo>
                    <a:pt x="243" y="11"/>
                  </a:lnTo>
                  <a:lnTo>
                    <a:pt x="258" y="3"/>
                  </a:lnTo>
                  <a:lnTo>
                    <a:pt x="260" y="5"/>
                  </a:lnTo>
                  <a:lnTo>
                    <a:pt x="269" y="30"/>
                  </a:lnTo>
                  <a:lnTo>
                    <a:pt x="269" y="37"/>
                  </a:lnTo>
                  <a:lnTo>
                    <a:pt x="268" y="39"/>
                  </a:lnTo>
                  <a:lnTo>
                    <a:pt x="279" y="54"/>
                  </a:lnTo>
                  <a:lnTo>
                    <a:pt x="279" y="60"/>
                  </a:lnTo>
                  <a:lnTo>
                    <a:pt x="279" y="64"/>
                  </a:lnTo>
                  <a:lnTo>
                    <a:pt x="273" y="98"/>
                  </a:lnTo>
                  <a:lnTo>
                    <a:pt x="273" y="124"/>
                  </a:lnTo>
                  <a:lnTo>
                    <a:pt x="243" y="156"/>
                  </a:lnTo>
                  <a:lnTo>
                    <a:pt x="241" y="158"/>
                  </a:lnTo>
                  <a:lnTo>
                    <a:pt x="239" y="158"/>
                  </a:lnTo>
                  <a:lnTo>
                    <a:pt x="237" y="158"/>
                  </a:lnTo>
                  <a:lnTo>
                    <a:pt x="237" y="162"/>
                  </a:lnTo>
                  <a:lnTo>
                    <a:pt x="237" y="184"/>
                  </a:lnTo>
                  <a:lnTo>
                    <a:pt x="236" y="182"/>
                  </a:lnTo>
                  <a:lnTo>
                    <a:pt x="232" y="186"/>
                  </a:lnTo>
                  <a:lnTo>
                    <a:pt x="232" y="186"/>
                  </a:lnTo>
                  <a:lnTo>
                    <a:pt x="230" y="190"/>
                  </a:lnTo>
                  <a:lnTo>
                    <a:pt x="226" y="186"/>
                  </a:lnTo>
                  <a:lnTo>
                    <a:pt x="226" y="190"/>
                  </a:lnTo>
                  <a:lnTo>
                    <a:pt x="224" y="190"/>
                  </a:lnTo>
                  <a:lnTo>
                    <a:pt x="221" y="192"/>
                  </a:lnTo>
                  <a:lnTo>
                    <a:pt x="221" y="192"/>
                  </a:lnTo>
                  <a:lnTo>
                    <a:pt x="215" y="195"/>
                  </a:lnTo>
                  <a:lnTo>
                    <a:pt x="213" y="192"/>
                  </a:lnTo>
                  <a:lnTo>
                    <a:pt x="207" y="192"/>
                  </a:lnTo>
                  <a:lnTo>
                    <a:pt x="202" y="190"/>
                  </a:lnTo>
                  <a:lnTo>
                    <a:pt x="194" y="190"/>
                  </a:lnTo>
                  <a:lnTo>
                    <a:pt x="189" y="190"/>
                  </a:lnTo>
                  <a:lnTo>
                    <a:pt x="181" y="190"/>
                  </a:lnTo>
                  <a:lnTo>
                    <a:pt x="177" y="192"/>
                  </a:lnTo>
                  <a:lnTo>
                    <a:pt x="172" y="199"/>
                  </a:lnTo>
                  <a:lnTo>
                    <a:pt x="166" y="201"/>
                  </a:lnTo>
                  <a:lnTo>
                    <a:pt x="162" y="201"/>
                  </a:lnTo>
                  <a:lnTo>
                    <a:pt x="157" y="199"/>
                  </a:lnTo>
                  <a:lnTo>
                    <a:pt x="153" y="199"/>
                  </a:lnTo>
                  <a:lnTo>
                    <a:pt x="147" y="195"/>
                  </a:lnTo>
                  <a:lnTo>
                    <a:pt x="143" y="192"/>
                  </a:lnTo>
                  <a:lnTo>
                    <a:pt x="143" y="190"/>
                  </a:lnTo>
                  <a:lnTo>
                    <a:pt x="140" y="190"/>
                  </a:lnTo>
                  <a:lnTo>
                    <a:pt x="136" y="190"/>
                  </a:lnTo>
                  <a:lnTo>
                    <a:pt x="136" y="190"/>
                  </a:lnTo>
                  <a:lnTo>
                    <a:pt x="132" y="190"/>
                  </a:lnTo>
                  <a:lnTo>
                    <a:pt x="128" y="190"/>
                  </a:lnTo>
                  <a:lnTo>
                    <a:pt x="125" y="192"/>
                  </a:lnTo>
                  <a:lnTo>
                    <a:pt x="123" y="195"/>
                  </a:lnTo>
                  <a:lnTo>
                    <a:pt x="121" y="195"/>
                  </a:lnTo>
                  <a:lnTo>
                    <a:pt x="117" y="192"/>
                  </a:lnTo>
                  <a:lnTo>
                    <a:pt x="113" y="186"/>
                  </a:lnTo>
                  <a:lnTo>
                    <a:pt x="111" y="186"/>
                  </a:lnTo>
                  <a:lnTo>
                    <a:pt x="108" y="182"/>
                  </a:lnTo>
                  <a:lnTo>
                    <a:pt x="104" y="182"/>
                  </a:lnTo>
                  <a:lnTo>
                    <a:pt x="100" y="180"/>
                  </a:lnTo>
                  <a:lnTo>
                    <a:pt x="96" y="180"/>
                  </a:lnTo>
                  <a:lnTo>
                    <a:pt x="94" y="180"/>
                  </a:lnTo>
                  <a:lnTo>
                    <a:pt x="91" y="180"/>
                  </a:lnTo>
                  <a:lnTo>
                    <a:pt x="89" y="180"/>
                  </a:lnTo>
                  <a:lnTo>
                    <a:pt x="83" y="180"/>
                  </a:lnTo>
                  <a:lnTo>
                    <a:pt x="83" y="180"/>
                  </a:lnTo>
                  <a:lnTo>
                    <a:pt x="79" y="180"/>
                  </a:lnTo>
                  <a:lnTo>
                    <a:pt x="76" y="182"/>
                  </a:lnTo>
                  <a:lnTo>
                    <a:pt x="76" y="182"/>
                  </a:lnTo>
                  <a:lnTo>
                    <a:pt x="74" y="184"/>
                  </a:lnTo>
                  <a:lnTo>
                    <a:pt x="68" y="186"/>
                  </a:lnTo>
                  <a:lnTo>
                    <a:pt x="68" y="190"/>
                  </a:lnTo>
                  <a:lnTo>
                    <a:pt x="68" y="190"/>
                  </a:lnTo>
                  <a:lnTo>
                    <a:pt x="68" y="190"/>
                  </a:lnTo>
                  <a:lnTo>
                    <a:pt x="68" y="192"/>
                  </a:lnTo>
                  <a:lnTo>
                    <a:pt x="68" y="195"/>
                  </a:lnTo>
                  <a:lnTo>
                    <a:pt x="70" y="199"/>
                  </a:lnTo>
                  <a:lnTo>
                    <a:pt x="70" y="199"/>
                  </a:lnTo>
                  <a:lnTo>
                    <a:pt x="66" y="199"/>
                  </a:lnTo>
                  <a:lnTo>
                    <a:pt x="64" y="205"/>
                  </a:lnTo>
                  <a:lnTo>
                    <a:pt x="64" y="207"/>
                  </a:lnTo>
                  <a:lnTo>
                    <a:pt x="64" y="209"/>
                  </a:lnTo>
                  <a:lnTo>
                    <a:pt x="64" y="214"/>
                  </a:lnTo>
                  <a:lnTo>
                    <a:pt x="66" y="214"/>
                  </a:lnTo>
                  <a:lnTo>
                    <a:pt x="66" y="214"/>
                  </a:lnTo>
                  <a:lnTo>
                    <a:pt x="64" y="216"/>
                  </a:lnTo>
                  <a:lnTo>
                    <a:pt x="64" y="216"/>
                  </a:lnTo>
                  <a:lnTo>
                    <a:pt x="64" y="216"/>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4" name="Freeform 127">
              <a:extLst>
                <a:ext uri="{FF2B5EF4-FFF2-40B4-BE49-F238E27FC236}">
                  <a16:creationId xmlns:a16="http://schemas.microsoft.com/office/drawing/2014/main" id="{7AC7928A-4432-4025-BBB2-CD1F018F2DA0}"/>
                </a:ext>
              </a:extLst>
            </p:cNvPr>
            <p:cNvSpPr>
              <a:spLocks/>
            </p:cNvSpPr>
            <p:nvPr/>
          </p:nvSpPr>
          <p:spPr bwMode="auto">
            <a:xfrm>
              <a:off x="2837" y="2843"/>
              <a:ext cx="211" cy="181"/>
            </a:xfrm>
            <a:custGeom>
              <a:avLst/>
              <a:gdLst/>
              <a:ahLst/>
              <a:cxnLst>
                <a:cxn ang="0">
                  <a:pos x="198" y="11"/>
                </a:cxn>
                <a:cxn ang="0">
                  <a:pos x="185" y="6"/>
                </a:cxn>
                <a:cxn ang="0">
                  <a:pos x="179" y="8"/>
                </a:cxn>
                <a:cxn ang="0">
                  <a:pos x="174" y="13"/>
                </a:cxn>
                <a:cxn ang="0">
                  <a:pos x="164" y="13"/>
                </a:cxn>
                <a:cxn ang="0">
                  <a:pos x="145" y="10"/>
                </a:cxn>
                <a:cxn ang="0">
                  <a:pos x="128" y="13"/>
                </a:cxn>
                <a:cxn ang="0">
                  <a:pos x="115" y="21"/>
                </a:cxn>
                <a:cxn ang="0">
                  <a:pos x="98" y="15"/>
                </a:cxn>
                <a:cxn ang="0">
                  <a:pos x="91" y="10"/>
                </a:cxn>
                <a:cxn ang="0">
                  <a:pos x="83" y="11"/>
                </a:cxn>
                <a:cxn ang="0">
                  <a:pos x="74" y="15"/>
                </a:cxn>
                <a:cxn ang="0">
                  <a:pos x="66" y="8"/>
                </a:cxn>
                <a:cxn ang="0">
                  <a:pos x="55" y="2"/>
                </a:cxn>
                <a:cxn ang="0">
                  <a:pos x="46" y="0"/>
                </a:cxn>
                <a:cxn ang="0">
                  <a:pos x="36" y="0"/>
                </a:cxn>
                <a:cxn ang="0">
                  <a:pos x="27" y="2"/>
                </a:cxn>
                <a:cxn ang="0">
                  <a:pos x="19" y="8"/>
                </a:cxn>
                <a:cxn ang="0">
                  <a:pos x="19" y="11"/>
                </a:cxn>
                <a:cxn ang="0">
                  <a:pos x="21" y="19"/>
                </a:cxn>
                <a:cxn ang="0">
                  <a:pos x="15" y="25"/>
                </a:cxn>
                <a:cxn ang="0">
                  <a:pos x="15" y="34"/>
                </a:cxn>
                <a:cxn ang="0">
                  <a:pos x="15" y="38"/>
                </a:cxn>
                <a:cxn ang="0">
                  <a:pos x="19" y="51"/>
                </a:cxn>
                <a:cxn ang="0">
                  <a:pos x="21" y="62"/>
                </a:cxn>
                <a:cxn ang="0">
                  <a:pos x="15" y="66"/>
                </a:cxn>
                <a:cxn ang="0">
                  <a:pos x="15" y="74"/>
                </a:cxn>
                <a:cxn ang="0">
                  <a:pos x="10" y="81"/>
                </a:cxn>
                <a:cxn ang="0">
                  <a:pos x="4" y="87"/>
                </a:cxn>
                <a:cxn ang="0">
                  <a:pos x="0" y="94"/>
                </a:cxn>
                <a:cxn ang="0">
                  <a:pos x="0" y="102"/>
                </a:cxn>
                <a:cxn ang="0">
                  <a:pos x="0" y="109"/>
                </a:cxn>
                <a:cxn ang="0">
                  <a:pos x="0" y="121"/>
                </a:cxn>
                <a:cxn ang="0">
                  <a:pos x="0" y="136"/>
                </a:cxn>
                <a:cxn ang="0">
                  <a:pos x="15" y="140"/>
                </a:cxn>
                <a:cxn ang="0">
                  <a:pos x="40" y="162"/>
                </a:cxn>
                <a:cxn ang="0">
                  <a:pos x="46" y="175"/>
                </a:cxn>
                <a:cxn ang="0">
                  <a:pos x="74" y="181"/>
                </a:cxn>
                <a:cxn ang="0">
                  <a:pos x="89" y="177"/>
                </a:cxn>
                <a:cxn ang="0">
                  <a:pos x="96" y="173"/>
                </a:cxn>
                <a:cxn ang="0">
                  <a:pos x="102" y="173"/>
                </a:cxn>
                <a:cxn ang="0">
                  <a:pos x="110" y="162"/>
                </a:cxn>
                <a:cxn ang="0">
                  <a:pos x="111" y="153"/>
                </a:cxn>
                <a:cxn ang="0">
                  <a:pos x="115" y="143"/>
                </a:cxn>
                <a:cxn ang="0">
                  <a:pos x="123" y="136"/>
                </a:cxn>
                <a:cxn ang="0">
                  <a:pos x="130" y="130"/>
                </a:cxn>
                <a:cxn ang="0">
                  <a:pos x="138" y="134"/>
                </a:cxn>
                <a:cxn ang="0">
                  <a:pos x="145" y="140"/>
                </a:cxn>
                <a:cxn ang="0">
                  <a:pos x="155" y="136"/>
                </a:cxn>
                <a:cxn ang="0">
                  <a:pos x="158" y="130"/>
                </a:cxn>
                <a:cxn ang="0">
                  <a:pos x="162" y="119"/>
                </a:cxn>
                <a:cxn ang="0">
                  <a:pos x="168" y="109"/>
                </a:cxn>
                <a:cxn ang="0">
                  <a:pos x="177" y="98"/>
                </a:cxn>
                <a:cxn ang="0">
                  <a:pos x="179" y="85"/>
                </a:cxn>
                <a:cxn ang="0">
                  <a:pos x="190" y="79"/>
                </a:cxn>
                <a:cxn ang="0">
                  <a:pos x="190" y="66"/>
                </a:cxn>
                <a:cxn ang="0">
                  <a:pos x="198" y="55"/>
                </a:cxn>
                <a:cxn ang="0">
                  <a:pos x="204" y="51"/>
                </a:cxn>
                <a:cxn ang="0">
                  <a:pos x="211" y="43"/>
                </a:cxn>
                <a:cxn ang="0">
                  <a:pos x="207" y="32"/>
                </a:cxn>
                <a:cxn ang="0">
                  <a:pos x="202" y="25"/>
                </a:cxn>
                <a:cxn ang="0">
                  <a:pos x="202" y="17"/>
                </a:cxn>
              </a:cxnLst>
              <a:rect l="0" t="0" r="r" b="b"/>
              <a:pathLst>
                <a:path w="211" h="181">
                  <a:moveTo>
                    <a:pt x="202" y="17"/>
                  </a:moveTo>
                  <a:lnTo>
                    <a:pt x="202" y="15"/>
                  </a:lnTo>
                  <a:lnTo>
                    <a:pt x="198" y="11"/>
                  </a:lnTo>
                  <a:lnTo>
                    <a:pt x="194" y="4"/>
                  </a:lnTo>
                  <a:lnTo>
                    <a:pt x="189" y="2"/>
                  </a:lnTo>
                  <a:lnTo>
                    <a:pt x="185" y="6"/>
                  </a:lnTo>
                  <a:lnTo>
                    <a:pt x="185" y="8"/>
                  </a:lnTo>
                  <a:lnTo>
                    <a:pt x="183" y="10"/>
                  </a:lnTo>
                  <a:lnTo>
                    <a:pt x="179" y="8"/>
                  </a:lnTo>
                  <a:lnTo>
                    <a:pt x="177" y="10"/>
                  </a:lnTo>
                  <a:lnTo>
                    <a:pt x="177" y="11"/>
                  </a:lnTo>
                  <a:lnTo>
                    <a:pt x="174" y="13"/>
                  </a:lnTo>
                  <a:lnTo>
                    <a:pt x="170" y="17"/>
                  </a:lnTo>
                  <a:lnTo>
                    <a:pt x="170" y="17"/>
                  </a:lnTo>
                  <a:lnTo>
                    <a:pt x="164" y="13"/>
                  </a:lnTo>
                  <a:lnTo>
                    <a:pt x="160" y="13"/>
                  </a:lnTo>
                  <a:lnTo>
                    <a:pt x="153" y="11"/>
                  </a:lnTo>
                  <a:lnTo>
                    <a:pt x="145" y="10"/>
                  </a:lnTo>
                  <a:lnTo>
                    <a:pt x="140" y="11"/>
                  </a:lnTo>
                  <a:lnTo>
                    <a:pt x="132" y="11"/>
                  </a:lnTo>
                  <a:lnTo>
                    <a:pt x="128" y="13"/>
                  </a:lnTo>
                  <a:lnTo>
                    <a:pt x="123" y="19"/>
                  </a:lnTo>
                  <a:lnTo>
                    <a:pt x="119" y="21"/>
                  </a:lnTo>
                  <a:lnTo>
                    <a:pt x="115" y="21"/>
                  </a:lnTo>
                  <a:lnTo>
                    <a:pt x="108" y="19"/>
                  </a:lnTo>
                  <a:lnTo>
                    <a:pt x="104" y="19"/>
                  </a:lnTo>
                  <a:lnTo>
                    <a:pt x="98" y="15"/>
                  </a:lnTo>
                  <a:lnTo>
                    <a:pt x="94" y="13"/>
                  </a:lnTo>
                  <a:lnTo>
                    <a:pt x="94" y="11"/>
                  </a:lnTo>
                  <a:lnTo>
                    <a:pt x="91" y="10"/>
                  </a:lnTo>
                  <a:lnTo>
                    <a:pt x="89" y="10"/>
                  </a:lnTo>
                  <a:lnTo>
                    <a:pt x="89" y="10"/>
                  </a:lnTo>
                  <a:lnTo>
                    <a:pt x="83" y="11"/>
                  </a:lnTo>
                  <a:lnTo>
                    <a:pt x="79" y="11"/>
                  </a:lnTo>
                  <a:lnTo>
                    <a:pt x="78" y="13"/>
                  </a:lnTo>
                  <a:lnTo>
                    <a:pt x="74" y="15"/>
                  </a:lnTo>
                  <a:lnTo>
                    <a:pt x="72" y="15"/>
                  </a:lnTo>
                  <a:lnTo>
                    <a:pt x="70" y="13"/>
                  </a:lnTo>
                  <a:lnTo>
                    <a:pt x="66" y="8"/>
                  </a:lnTo>
                  <a:lnTo>
                    <a:pt x="64" y="6"/>
                  </a:lnTo>
                  <a:lnTo>
                    <a:pt x="59" y="2"/>
                  </a:lnTo>
                  <a:lnTo>
                    <a:pt x="55" y="2"/>
                  </a:lnTo>
                  <a:lnTo>
                    <a:pt x="53" y="0"/>
                  </a:lnTo>
                  <a:lnTo>
                    <a:pt x="47" y="0"/>
                  </a:lnTo>
                  <a:lnTo>
                    <a:pt x="46" y="0"/>
                  </a:lnTo>
                  <a:lnTo>
                    <a:pt x="42" y="0"/>
                  </a:lnTo>
                  <a:lnTo>
                    <a:pt x="40" y="0"/>
                  </a:lnTo>
                  <a:lnTo>
                    <a:pt x="36" y="0"/>
                  </a:lnTo>
                  <a:lnTo>
                    <a:pt x="34" y="0"/>
                  </a:lnTo>
                  <a:lnTo>
                    <a:pt x="32" y="0"/>
                  </a:lnTo>
                  <a:lnTo>
                    <a:pt x="27" y="2"/>
                  </a:lnTo>
                  <a:lnTo>
                    <a:pt x="27" y="2"/>
                  </a:lnTo>
                  <a:lnTo>
                    <a:pt x="25" y="4"/>
                  </a:lnTo>
                  <a:lnTo>
                    <a:pt x="19" y="8"/>
                  </a:lnTo>
                  <a:lnTo>
                    <a:pt x="19" y="10"/>
                  </a:lnTo>
                  <a:lnTo>
                    <a:pt x="19" y="11"/>
                  </a:lnTo>
                  <a:lnTo>
                    <a:pt x="19" y="11"/>
                  </a:lnTo>
                  <a:lnTo>
                    <a:pt x="19" y="13"/>
                  </a:lnTo>
                  <a:lnTo>
                    <a:pt x="19" y="17"/>
                  </a:lnTo>
                  <a:lnTo>
                    <a:pt x="21" y="19"/>
                  </a:lnTo>
                  <a:lnTo>
                    <a:pt x="21" y="21"/>
                  </a:lnTo>
                  <a:lnTo>
                    <a:pt x="17" y="21"/>
                  </a:lnTo>
                  <a:lnTo>
                    <a:pt x="15" y="25"/>
                  </a:lnTo>
                  <a:lnTo>
                    <a:pt x="15" y="27"/>
                  </a:lnTo>
                  <a:lnTo>
                    <a:pt x="15" y="30"/>
                  </a:lnTo>
                  <a:lnTo>
                    <a:pt x="15" y="34"/>
                  </a:lnTo>
                  <a:lnTo>
                    <a:pt x="17" y="34"/>
                  </a:lnTo>
                  <a:lnTo>
                    <a:pt x="17" y="36"/>
                  </a:lnTo>
                  <a:lnTo>
                    <a:pt x="15" y="38"/>
                  </a:lnTo>
                  <a:lnTo>
                    <a:pt x="15" y="43"/>
                  </a:lnTo>
                  <a:lnTo>
                    <a:pt x="15" y="45"/>
                  </a:lnTo>
                  <a:lnTo>
                    <a:pt x="19" y="51"/>
                  </a:lnTo>
                  <a:lnTo>
                    <a:pt x="19" y="55"/>
                  </a:lnTo>
                  <a:lnTo>
                    <a:pt x="21" y="60"/>
                  </a:lnTo>
                  <a:lnTo>
                    <a:pt x="21" y="62"/>
                  </a:lnTo>
                  <a:lnTo>
                    <a:pt x="17" y="62"/>
                  </a:lnTo>
                  <a:lnTo>
                    <a:pt x="15" y="66"/>
                  </a:lnTo>
                  <a:lnTo>
                    <a:pt x="15" y="66"/>
                  </a:lnTo>
                  <a:lnTo>
                    <a:pt x="19" y="72"/>
                  </a:lnTo>
                  <a:lnTo>
                    <a:pt x="17" y="74"/>
                  </a:lnTo>
                  <a:lnTo>
                    <a:pt x="15" y="74"/>
                  </a:lnTo>
                  <a:lnTo>
                    <a:pt x="12" y="76"/>
                  </a:lnTo>
                  <a:lnTo>
                    <a:pt x="12" y="79"/>
                  </a:lnTo>
                  <a:lnTo>
                    <a:pt x="10" y="81"/>
                  </a:lnTo>
                  <a:lnTo>
                    <a:pt x="8" y="85"/>
                  </a:lnTo>
                  <a:lnTo>
                    <a:pt x="6" y="87"/>
                  </a:lnTo>
                  <a:lnTo>
                    <a:pt x="4" y="87"/>
                  </a:lnTo>
                  <a:lnTo>
                    <a:pt x="2" y="89"/>
                  </a:lnTo>
                  <a:lnTo>
                    <a:pt x="0" y="91"/>
                  </a:lnTo>
                  <a:lnTo>
                    <a:pt x="0" y="94"/>
                  </a:lnTo>
                  <a:lnTo>
                    <a:pt x="0" y="96"/>
                  </a:lnTo>
                  <a:lnTo>
                    <a:pt x="0" y="102"/>
                  </a:lnTo>
                  <a:lnTo>
                    <a:pt x="0" y="102"/>
                  </a:lnTo>
                  <a:lnTo>
                    <a:pt x="0" y="106"/>
                  </a:lnTo>
                  <a:lnTo>
                    <a:pt x="0" y="106"/>
                  </a:lnTo>
                  <a:lnTo>
                    <a:pt x="0" y="109"/>
                  </a:lnTo>
                  <a:lnTo>
                    <a:pt x="0" y="109"/>
                  </a:lnTo>
                  <a:lnTo>
                    <a:pt x="0" y="113"/>
                  </a:lnTo>
                  <a:lnTo>
                    <a:pt x="0" y="121"/>
                  </a:lnTo>
                  <a:lnTo>
                    <a:pt x="0" y="123"/>
                  </a:lnTo>
                  <a:lnTo>
                    <a:pt x="2" y="126"/>
                  </a:lnTo>
                  <a:lnTo>
                    <a:pt x="0" y="136"/>
                  </a:lnTo>
                  <a:lnTo>
                    <a:pt x="0" y="140"/>
                  </a:lnTo>
                  <a:lnTo>
                    <a:pt x="10" y="140"/>
                  </a:lnTo>
                  <a:lnTo>
                    <a:pt x="15" y="140"/>
                  </a:lnTo>
                  <a:lnTo>
                    <a:pt x="29" y="145"/>
                  </a:lnTo>
                  <a:lnTo>
                    <a:pt x="36" y="153"/>
                  </a:lnTo>
                  <a:lnTo>
                    <a:pt x="40" y="162"/>
                  </a:lnTo>
                  <a:lnTo>
                    <a:pt x="40" y="170"/>
                  </a:lnTo>
                  <a:lnTo>
                    <a:pt x="42" y="170"/>
                  </a:lnTo>
                  <a:lnTo>
                    <a:pt x="46" y="175"/>
                  </a:lnTo>
                  <a:lnTo>
                    <a:pt x="49" y="179"/>
                  </a:lnTo>
                  <a:lnTo>
                    <a:pt x="55" y="181"/>
                  </a:lnTo>
                  <a:lnTo>
                    <a:pt x="74" y="181"/>
                  </a:lnTo>
                  <a:lnTo>
                    <a:pt x="78" y="179"/>
                  </a:lnTo>
                  <a:lnTo>
                    <a:pt x="79" y="179"/>
                  </a:lnTo>
                  <a:lnTo>
                    <a:pt x="89" y="177"/>
                  </a:lnTo>
                  <a:lnTo>
                    <a:pt x="91" y="177"/>
                  </a:lnTo>
                  <a:lnTo>
                    <a:pt x="94" y="177"/>
                  </a:lnTo>
                  <a:lnTo>
                    <a:pt x="96" y="173"/>
                  </a:lnTo>
                  <a:lnTo>
                    <a:pt x="100" y="175"/>
                  </a:lnTo>
                  <a:lnTo>
                    <a:pt x="102" y="173"/>
                  </a:lnTo>
                  <a:lnTo>
                    <a:pt x="102" y="173"/>
                  </a:lnTo>
                  <a:lnTo>
                    <a:pt x="102" y="173"/>
                  </a:lnTo>
                  <a:lnTo>
                    <a:pt x="108" y="168"/>
                  </a:lnTo>
                  <a:lnTo>
                    <a:pt x="110" y="162"/>
                  </a:lnTo>
                  <a:lnTo>
                    <a:pt x="110" y="158"/>
                  </a:lnTo>
                  <a:lnTo>
                    <a:pt x="108" y="155"/>
                  </a:lnTo>
                  <a:lnTo>
                    <a:pt x="111" y="153"/>
                  </a:lnTo>
                  <a:lnTo>
                    <a:pt x="111" y="149"/>
                  </a:lnTo>
                  <a:lnTo>
                    <a:pt x="113" y="147"/>
                  </a:lnTo>
                  <a:lnTo>
                    <a:pt x="115" y="143"/>
                  </a:lnTo>
                  <a:lnTo>
                    <a:pt x="119" y="143"/>
                  </a:lnTo>
                  <a:lnTo>
                    <a:pt x="123" y="140"/>
                  </a:lnTo>
                  <a:lnTo>
                    <a:pt x="123" y="136"/>
                  </a:lnTo>
                  <a:lnTo>
                    <a:pt x="125" y="134"/>
                  </a:lnTo>
                  <a:lnTo>
                    <a:pt x="128" y="134"/>
                  </a:lnTo>
                  <a:lnTo>
                    <a:pt x="130" y="130"/>
                  </a:lnTo>
                  <a:lnTo>
                    <a:pt x="130" y="130"/>
                  </a:lnTo>
                  <a:lnTo>
                    <a:pt x="136" y="134"/>
                  </a:lnTo>
                  <a:lnTo>
                    <a:pt x="138" y="134"/>
                  </a:lnTo>
                  <a:lnTo>
                    <a:pt x="140" y="136"/>
                  </a:lnTo>
                  <a:lnTo>
                    <a:pt x="143" y="140"/>
                  </a:lnTo>
                  <a:lnTo>
                    <a:pt x="145" y="140"/>
                  </a:lnTo>
                  <a:lnTo>
                    <a:pt x="149" y="143"/>
                  </a:lnTo>
                  <a:lnTo>
                    <a:pt x="153" y="140"/>
                  </a:lnTo>
                  <a:lnTo>
                    <a:pt x="155" y="136"/>
                  </a:lnTo>
                  <a:lnTo>
                    <a:pt x="155" y="134"/>
                  </a:lnTo>
                  <a:lnTo>
                    <a:pt x="157" y="130"/>
                  </a:lnTo>
                  <a:lnTo>
                    <a:pt x="158" y="130"/>
                  </a:lnTo>
                  <a:lnTo>
                    <a:pt x="162" y="126"/>
                  </a:lnTo>
                  <a:lnTo>
                    <a:pt x="162" y="124"/>
                  </a:lnTo>
                  <a:lnTo>
                    <a:pt x="162" y="119"/>
                  </a:lnTo>
                  <a:lnTo>
                    <a:pt x="170" y="115"/>
                  </a:lnTo>
                  <a:lnTo>
                    <a:pt x="170" y="109"/>
                  </a:lnTo>
                  <a:lnTo>
                    <a:pt x="168" y="109"/>
                  </a:lnTo>
                  <a:lnTo>
                    <a:pt x="170" y="106"/>
                  </a:lnTo>
                  <a:lnTo>
                    <a:pt x="174" y="100"/>
                  </a:lnTo>
                  <a:lnTo>
                    <a:pt x="177" y="98"/>
                  </a:lnTo>
                  <a:lnTo>
                    <a:pt x="177" y="94"/>
                  </a:lnTo>
                  <a:lnTo>
                    <a:pt x="179" y="91"/>
                  </a:lnTo>
                  <a:lnTo>
                    <a:pt x="179" y="85"/>
                  </a:lnTo>
                  <a:lnTo>
                    <a:pt x="181" y="85"/>
                  </a:lnTo>
                  <a:lnTo>
                    <a:pt x="187" y="81"/>
                  </a:lnTo>
                  <a:lnTo>
                    <a:pt x="190" y="79"/>
                  </a:lnTo>
                  <a:lnTo>
                    <a:pt x="190" y="74"/>
                  </a:lnTo>
                  <a:lnTo>
                    <a:pt x="190" y="68"/>
                  </a:lnTo>
                  <a:lnTo>
                    <a:pt x="190" y="66"/>
                  </a:lnTo>
                  <a:lnTo>
                    <a:pt x="192" y="62"/>
                  </a:lnTo>
                  <a:lnTo>
                    <a:pt x="196" y="55"/>
                  </a:lnTo>
                  <a:lnTo>
                    <a:pt x="198" y="55"/>
                  </a:lnTo>
                  <a:lnTo>
                    <a:pt x="198" y="51"/>
                  </a:lnTo>
                  <a:lnTo>
                    <a:pt x="202" y="51"/>
                  </a:lnTo>
                  <a:lnTo>
                    <a:pt x="204" y="51"/>
                  </a:lnTo>
                  <a:lnTo>
                    <a:pt x="206" y="47"/>
                  </a:lnTo>
                  <a:lnTo>
                    <a:pt x="209" y="45"/>
                  </a:lnTo>
                  <a:lnTo>
                    <a:pt x="211" y="43"/>
                  </a:lnTo>
                  <a:lnTo>
                    <a:pt x="209" y="38"/>
                  </a:lnTo>
                  <a:lnTo>
                    <a:pt x="209" y="36"/>
                  </a:lnTo>
                  <a:lnTo>
                    <a:pt x="207" y="32"/>
                  </a:lnTo>
                  <a:lnTo>
                    <a:pt x="204" y="32"/>
                  </a:lnTo>
                  <a:lnTo>
                    <a:pt x="202" y="30"/>
                  </a:lnTo>
                  <a:lnTo>
                    <a:pt x="202" y="25"/>
                  </a:lnTo>
                  <a:lnTo>
                    <a:pt x="202" y="21"/>
                  </a:lnTo>
                  <a:lnTo>
                    <a:pt x="202" y="17"/>
                  </a:lnTo>
                  <a:lnTo>
                    <a:pt x="202" y="17"/>
                  </a:lnTo>
                  <a:lnTo>
                    <a:pt x="202" y="17"/>
                  </a:lnTo>
                  <a:lnTo>
                    <a:pt x="202" y="1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5" name="Freeform 128">
              <a:extLst>
                <a:ext uri="{FF2B5EF4-FFF2-40B4-BE49-F238E27FC236}">
                  <a16:creationId xmlns:a16="http://schemas.microsoft.com/office/drawing/2014/main" id="{DB2F7373-8986-4239-B414-F08A4F5AD6C7}"/>
                </a:ext>
              </a:extLst>
            </p:cNvPr>
            <p:cNvSpPr>
              <a:spLocks/>
            </p:cNvSpPr>
            <p:nvPr/>
          </p:nvSpPr>
          <p:spPr bwMode="auto">
            <a:xfrm>
              <a:off x="2896" y="3092"/>
              <a:ext cx="5" cy="11"/>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6" name="Freeform 129">
              <a:extLst>
                <a:ext uri="{FF2B5EF4-FFF2-40B4-BE49-F238E27FC236}">
                  <a16:creationId xmlns:a16="http://schemas.microsoft.com/office/drawing/2014/main" id="{F14D7DF3-2B66-4F0E-9C79-74F33B8D933C}"/>
                </a:ext>
              </a:extLst>
            </p:cNvPr>
            <p:cNvSpPr>
              <a:spLocks/>
            </p:cNvSpPr>
            <p:nvPr/>
          </p:nvSpPr>
          <p:spPr bwMode="auto">
            <a:xfrm>
              <a:off x="2937" y="2860"/>
              <a:ext cx="143" cy="205"/>
            </a:xfrm>
            <a:custGeom>
              <a:avLst/>
              <a:gdLst/>
              <a:ahLst/>
              <a:cxnLst>
                <a:cxn ang="0">
                  <a:pos x="6" y="147"/>
                </a:cxn>
                <a:cxn ang="0">
                  <a:pos x="6" y="134"/>
                </a:cxn>
                <a:cxn ang="0">
                  <a:pos x="11" y="128"/>
                </a:cxn>
                <a:cxn ang="0">
                  <a:pos x="23" y="119"/>
                </a:cxn>
                <a:cxn ang="0">
                  <a:pos x="26" y="115"/>
                </a:cxn>
                <a:cxn ang="0">
                  <a:pos x="34" y="115"/>
                </a:cxn>
                <a:cxn ang="0">
                  <a:pos x="42" y="119"/>
                </a:cxn>
                <a:cxn ang="0">
                  <a:pos x="53" y="119"/>
                </a:cxn>
                <a:cxn ang="0">
                  <a:pos x="57" y="111"/>
                </a:cxn>
                <a:cxn ang="0">
                  <a:pos x="62" y="106"/>
                </a:cxn>
                <a:cxn ang="0">
                  <a:pos x="68" y="91"/>
                </a:cxn>
                <a:cxn ang="0">
                  <a:pos x="74" y="81"/>
                </a:cxn>
                <a:cxn ang="0">
                  <a:pos x="79" y="72"/>
                </a:cxn>
                <a:cxn ang="0">
                  <a:pos x="87" y="64"/>
                </a:cxn>
                <a:cxn ang="0">
                  <a:pos x="89" y="51"/>
                </a:cxn>
                <a:cxn ang="0">
                  <a:pos x="96" y="38"/>
                </a:cxn>
                <a:cxn ang="0">
                  <a:pos x="102" y="32"/>
                </a:cxn>
                <a:cxn ang="0">
                  <a:pos x="109" y="28"/>
                </a:cxn>
                <a:cxn ang="0">
                  <a:pos x="109" y="19"/>
                </a:cxn>
                <a:cxn ang="0">
                  <a:pos x="102" y="13"/>
                </a:cxn>
                <a:cxn ang="0">
                  <a:pos x="102" y="0"/>
                </a:cxn>
                <a:cxn ang="0">
                  <a:pos x="115" y="13"/>
                </a:cxn>
                <a:cxn ang="0">
                  <a:pos x="121" y="23"/>
                </a:cxn>
                <a:cxn ang="0">
                  <a:pos x="119" y="28"/>
                </a:cxn>
                <a:cxn ang="0">
                  <a:pos x="117" y="38"/>
                </a:cxn>
                <a:cxn ang="0">
                  <a:pos x="124" y="47"/>
                </a:cxn>
                <a:cxn ang="0">
                  <a:pos x="132" y="55"/>
                </a:cxn>
                <a:cxn ang="0">
                  <a:pos x="124" y="55"/>
                </a:cxn>
                <a:cxn ang="0">
                  <a:pos x="115" y="55"/>
                </a:cxn>
                <a:cxn ang="0">
                  <a:pos x="107" y="55"/>
                </a:cxn>
                <a:cxn ang="0">
                  <a:pos x="102" y="60"/>
                </a:cxn>
                <a:cxn ang="0">
                  <a:pos x="106" y="68"/>
                </a:cxn>
                <a:cxn ang="0">
                  <a:pos x="117" y="75"/>
                </a:cxn>
                <a:cxn ang="0">
                  <a:pos x="128" y="91"/>
                </a:cxn>
                <a:cxn ang="0">
                  <a:pos x="128" y="104"/>
                </a:cxn>
                <a:cxn ang="0">
                  <a:pos x="121" y="115"/>
                </a:cxn>
                <a:cxn ang="0">
                  <a:pos x="113" y="124"/>
                </a:cxn>
                <a:cxn ang="0">
                  <a:pos x="113" y="134"/>
                </a:cxn>
                <a:cxn ang="0">
                  <a:pos x="115" y="149"/>
                </a:cxn>
                <a:cxn ang="0">
                  <a:pos x="122" y="158"/>
                </a:cxn>
                <a:cxn ang="0">
                  <a:pos x="132" y="173"/>
                </a:cxn>
                <a:cxn ang="0">
                  <a:pos x="141" y="185"/>
                </a:cxn>
                <a:cxn ang="0">
                  <a:pos x="141" y="192"/>
                </a:cxn>
                <a:cxn ang="0">
                  <a:pos x="141" y="198"/>
                </a:cxn>
                <a:cxn ang="0">
                  <a:pos x="139" y="204"/>
                </a:cxn>
                <a:cxn ang="0">
                  <a:pos x="138" y="205"/>
                </a:cxn>
                <a:cxn ang="0">
                  <a:pos x="132" y="204"/>
                </a:cxn>
                <a:cxn ang="0">
                  <a:pos x="124" y="204"/>
                </a:cxn>
                <a:cxn ang="0">
                  <a:pos x="121" y="204"/>
                </a:cxn>
                <a:cxn ang="0">
                  <a:pos x="115" y="202"/>
                </a:cxn>
                <a:cxn ang="0">
                  <a:pos x="111" y="202"/>
                </a:cxn>
                <a:cxn ang="0">
                  <a:pos x="83" y="198"/>
                </a:cxn>
                <a:cxn ang="0">
                  <a:pos x="75" y="198"/>
                </a:cxn>
                <a:cxn ang="0">
                  <a:pos x="70" y="198"/>
                </a:cxn>
                <a:cxn ang="0">
                  <a:pos x="62" y="198"/>
                </a:cxn>
                <a:cxn ang="0">
                  <a:pos x="53" y="198"/>
                </a:cxn>
                <a:cxn ang="0">
                  <a:pos x="51" y="202"/>
                </a:cxn>
                <a:cxn ang="0">
                  <a:pos x="23" y="202"/>
                </a:cxn>
                <a:cxn ang="0">
                  <a:pos x="23" y="196"/>
                </a:cxn>
                <a:cxn ang="0">
                  <a:pos x="19" y="177"/>
                </a:cxn>
                <a:cxn ang="0">
                  <a:pos x="19" y="166"/>
                </a:cxn>
                <a:cxn ang="0">
                  <a:pos x="8" y="166"/>
                </a:cxn>
                <a:cxn ang="0">
                  <a:pos x="0" y="155"/>
                </a:cxn>
              </a:cxnLst>
              <a:rect l="0" t="0" r="r" b="b"/>
              <a:pathLst>
                <a:path w="143" h="205">
                  <a:moveTo>
                    <a:pt x="0" y="155"/>
                  </a:moveTo>
                  <a:lnTo>
                    <a:pt x="0" y="153"/>
                  </a:lnTo>
                  <a:lnTo>
                    <a:pt x="6" y="147"/>
                  </a:lnTo>
                  <a:lnTo>
                    <a:pt x="8" y="141"/>
                  </a:lnTo>
                  <a:lnTo>
                    <a:pt x="8" y="138"/>
                  </a:lnTo>
                  <a:lnTo>
                    <a:pt x="6" y="134"/>
                  </a:lnTo>
                  <a:lnTo>
                    <a:pt x="10" y="134"/>
                  </a:lnTo>
                  <a:lnTo>
                    <a:pt x="10" y="130"/>
                  </a:lnTo>
                  <a:lnTo>
                    <a:pt x="11" y="128"/>
                  </a:lnTo>
                  <a:lnTo>
                    <a:pt x="13" y="124"/>
                  </a:lnTo>
                  <a:lnTo>
                    <a:pt x="17" y="123"/>
                  </a:lnTo>
                  <a:lnTo>
                    <a:pt x="23" y="119"/>
                  </a:lnTo>
                  <a:lnTo>
                    <a:pt x="23" y="115"/>
                  </a:lnTo>
                  <a:lnTo>
                    <a:pt x="23" y="115"/>
                  </a:lnTo>
                  <a:lnTo>
                    <a:pt x="26" y="115"/>
                  </a:lnTo>
                  <a:lnTo>
                    <a:pt x="28" y="111"/>
                  </a:lnTo>
                  <a:lnTo>
                    <a:pt x="28" y="111"/>
                  </a:lnTo>
                  <a:lnTo>
                    <a:pt x="34" y="115"/>
                  </a:lnTo>
                  <a:lnTo>
                    <a:pt x="36" y="115"/>
                  </a:lnTo>
                  <a:lnTo>
                    <a:pt x="40" y="115"/>
                  </a:lnTo>
                  <a:lnTo>
                    <a:pt x="42" y="119"/>
                  </a:lnTo>
                  <a:lnTo>
                    <a:pt x="45" y="121"/>
                  </a:lnTo>
                  <a:lnTo>
                    <a:pt x="47" y="123"/>
                  </a:lnTo>
                  <a:lnTo>
                    <a:pt x="53" y="119"/>
                  </a:lnTo>
                  <a:lnTo>
                    <a:pt x="53" y="115"/>
                  </a:lnTo>
                  <a:lnTo>
                    <a:pt x="53" y="115"/>
                  </a:lnTo>
                  <a:lnTo>
                    <a:pt x="57" y="111"/>
                  </a:lnTo>
                  <a:lnTo>
                    <a:pt x="58" y="111"/>
                  </a:lnTo>
                  <a:lnTo>
                    <a:pt x="62" y="107"/>
                  </a:lnTo>
                  <a:lnTo>
                    <a:pt x="62" y="106"/>
                  </a:lnTo>
                  <a:lnTo>
                    <a:pt x="62" y="100"/>
                  </a:lnTo>
                  <a:lnTo>
                    <a:pt x="68" y="94"/>
                  </a:lnTo>
                  <a:lnTo>
                    <a:pt x="68" y="91"/>
                  </a:lnTo>
                  <a:lnTo>
                    <a:pt x="66" y="91"/>
                  </a:lnTo>
                  <a:lnTo>
                    <a:pt x="68" y="87"/>
                  </a:lnTo>
                  <a:lnTo>
                    <a:pt x="74" y="81"/>
                  </a:lnTo>
                  <a:lnTo>
                    <a:pt x="77" y="79"/>
                  </a:lnTo>
                  <a:lnTo>
                    <a:pt x="77" y="75"/>
                  </a:lnTo>
                  <a:lnTo>
                    <a:pt x="79" y="72"/>
                  </a:lnTo>
                  <a:lnTo>
                    <a:pt x="79" y="68"/>
                  </a:lnTo>
                  <a:lnTo>
                    <a:pt x="81" y="66"/>
                  </a:lnTo>
                  <a:lnTo>
                    <a:pt x="87" y="64"/>
                  </a:lnTo>
                  <a:lnTo>
                    <a:pt x="89" y="60"/>
                  </a:lnTo>
                  <a:lnTo>
                    <a:pt x="89" y="55"/>
                  </a:lnTo>
                  <a:lnTo>
                    <a:pt x="89" y="51"/>
                  </a:lnTo>
                  <a:lnTo>
                    <a:pt x="89" y="47"/>
                  </a:lnTo>
                  <a:lnTo>
                    <a:pt x="92" y="43"/>
                  </a:lnTo>
                  <a:lnTo>
                    <a:pt x="96" y="38"/>
                  </a:lnTo>
                  <a:lnTo>
                    <a:pt x="98" y="36"/>
                  </a:lnTo>
                  <a:lnTo>
                    <a:pt x="98" y="34"/>
                  </a:lnTo>
                  <a:lnTo>
                    <a:pt x="102" y="32"/>
                  </a:lnTo>
                  <a:lnTo>
                    <a:pt x="104" y="32"/>
                  </a:lnTo>
                  <a:lnTo>
                    <a:pt x="106" y="28"/>
                  </a:lnTo>
                  <a:lnTo>
                    <a:pt x="109" y="28"/>
                  </a:lnTo>
                  <a:lnTo>
                    <a:pt x="111" y="26"/>
                  </a:lnTo>
                  <a:lnTo>
                    <a:pt x="109" y="21"/>
                  </a:lnTo>
                  <a:lnTo>
                    <a:pt x="109" y="19"/>
                  </a:lnTo>
                  <a:lnTo>
                    <a:pt x="107" y="15"/>
                  </a:lnTo>
                  <a:lnTo>
                    <a:pt x="104" y="15"/>
                  </a:lnTo>
                  <a:lnTo>
                    <a:pt x="102" y="13"/>
                  </a:lnTo>
                  <a:lnTo>
                    <a:pt x="102" y="8"/>
                  </a:lnTo>
                  <a:lnTo>
                    <a:pt x="102" y="4"/>
                  </a:lnTo>
                  <a:lnTo>
                    <a:pt x="102" y="0"/>
                  </a:lnTo>
                  <a:lnTo>
                    <a:pt x="109" y="4"/>
                  </a:lnTo>
                  <a:lnTo>
                    <a:pt x="115" y="8"/>
                  </a:lnTo>
                  <a:lnTo>
                    <a:pt x="115" y="13"/>
                  </a:lnTo>
                  <a:lnTo>
                    <a:pt x="117" y="13"/>
                  </a:lnTo>
                  <a:lnTo>
                    <a:pt x="119" y="17"/>
                  </a:lnTo>
                  <a:lnTo>
                    <a:pt x="121" y="23"/>
                  </a:lnTo>
                  <a:lnTo>
                    <a:pt x="121" y="26"/>
                  </a:lnTo>
                  <a:lnTo>
                    <a:pt x="119" y="28"/>
                  </a:lnTo>
                  <a:lnTo>
                    <a:pt x="119" y="28"/>
                  </a:lnTo>
                  <a:lnTo>
                    <a:pt x="121" y="32"/>
                  </a:lnTo>
                  <a:lnTo>
                    <a:pt x="121" y="36"/>
                  </a:lnTo>
                  <a:lnTo>
                    <a:pt x="117" y="38"/>
                  </a:lnTo>
                  <a:lnTo>
                    <a:pt x="117" y="42"/>
                  </a:lnTo>
                  <a:lnTo>
                    <a:pt x="121" y="47"/>
                  </a:lnTo>
                  <a:lnTo>
                    <a:pt x="124" y="47"/>
                  </a:lnTo>
                  <a:lnTo>
                    <a:pt x="126" y="51"/>
                  </a:lnTo>
                  <a:lnTo>
                    <a:pt x="128" y="55"/>
                  </a:lnTo>
                  <a:lnTo>
                    <a:pt x="132" y="55"/>
                  </a:lnTo>
                  <a:lnTo>
                    <a:pt x="128" y="57"/>
                  </a:lnTo>
                  <a:lnTo>
                    <a:pt x="128" y="57"/>
                  </a:lnTo>
                  <a:lnTo>
                    <a:pt x="124" y="55"/>
                  </a:lnTo>
                  <a:lnTo>
                    <a:pt x="121" y="55"/>
                  </a:lnTo>
                  <a:lnTo>
                    <a:pt x="119" y="55"/>
                  </a:lnTo>
                  <a:lnTo>
                    <a:pt x="115" y="55"/>
                  </a:lnTo>
                  <a:lnTo>
                    <a:pt x="111" y="55"/>
                  </a:lnTo>
                  <a:lnTo>
                    <a:pt x="109" y="55"/>
                  </a:lnTo>
                  <a:lnTo>
                    <a:pt x="107" y="55"/>
                  </a:lnTo>
                  <a:lnTo>
                    <a:pt x="104" y="55"/>
                  </a:lnTo>
                  <a:lnTo>
                    <a:pt x="104" y="59"/>
                  </a:lnTo>
                  <a:lnTo>
                    <a:pt x="102" y="60"/>
                  </a:lnTo>
                  <a:lnTo>
                    <a:pt x="102" y="64"/>
                  </a:lnTo>
                  <a:lnTo>
                    <a:pt x="104" y="66"/>
                  </a:lnTo>
                  <a:lnTo>
                    <a:pt x="106" y="68"/>
                  </a:lnTo>
                  <a:lnTo>
                    <a:pt x="106" y="68"/>
                  </a:lnTo>
                  <a:lnTo>
                    <a:pt x="109" y="68"/>
                  </a:lnTo>
                  <a:lnTo>
                    <a:pt x="117" y="75"/>
                  </a:lnTo>
                  <a:lnTo>
                    <a:pt x="122" y="83"/>
                  </a:lnTo>
                  <a:lnTo>
                    <a:pt x="126" y="85"/>
                  </a:lnTo>
                  <a:lnTo>
                    <a:pt x="128" y="91"/>
                  </a:lnTo>
                  <a:lnTo>
                    <a:pt x="132" y="94"/>
                  </a:lnTo>
                  <a:lnTo>
                    <a:pt x="132" y="98"/>
                  </a:lnTo>
                  <a:lnTo>
                    <a:pt x="128" y="104"/>
                  </a:lnTo>
                  <a:lnTo>
                    <a:pt x="126" y="104"/>
                  </a:lnTo>
                  <a:lnTo>
                    <a:pt x="124" y="109"/>
                  </a:lnTo>
                  <a:lnTo>
                    <a:pt x="121" y="115"/>
                  </a:lnTo>
                  <a:lnTo>
                    <a:pt x="119" y="119"/>
                  </a:lnTo>
                  <a:lnTo>
                    <a:pt x="115" y="124"/>
                  </a:lnTo>
                  <a:lnTo>
                    <a:pt x="113" y="124"/>
                  </a:lnTo>
                  <a:lnTo>
                    <a:pt x="111" y="126"/>
                  </a:lnTo>
                  <a:lnTo>
                    <a:pt x="111" y="130"/>
                  </a:lnTo>
                  <a:lnTo>
                    <a:pt x="113" y="134"/>
                  </a:lnTo>
                  <a:lnTo>
                    <a:pt x="113" y="140"/>
                  </a:lnTo>
                  <a:lnTo>
                    <a:pt x="113" y="145"/>
                  </a:lnTo>
                  <a:lnTo>
                    <a:pt x="115" y="149"/>
                  </a:lnTo>
                  <a:lnTo>
                    <a:pt x="115" y="155"/>
                  </a:lnTo>
                  <a:lnTo>
                    <a:pt x="117" y="158"/>
                  </a:lnTo>
                  <a:lnTo>
                    <a:pt x="122" y="158"/>
                  </a:lnTo>
                  <a:lnTo>
                    <a:pt x="124" y="164"/>
                  </a:lnTo>
                  <a:lnTo>
                    <a:pt x="126" y="168"/>
                  </a:lnTo>
                  <a:lnTo>
                    <a:pt x="132" y="173"/>
                  </a:lnTo>
                  <a:lnTo>
                    <a:pt x="132" y="179"/>
                  </a:lnTo>
                  <a:lnTo>
                    <a:pt x="134" y="181"/>
                  </a:lnTo>
                  <a:lnTo>
                    <a:pt x="141" y="185"/>
                  </a:lnTo>
                  <a:lnTo>
                    <a:pt x="141" y="190"/>
                  </a:lnTo>
                  <a:lnTo>
                    <a:pt x="141" y="192"/>
                  </a:lnTo>
                  <a:lnTo>
                    <a:pt x="141" y="192"/>
                  </a:lnTo>
                  <a:lnTo>
                    <a:pt x="143" y="192"/>
                  </a:lnTo>
                  <a:lnTo>
                    <a:pt x="141" y="196"/>
                  </a:lnTo>
                  <a:lnTo>
                    <a:pt x="141" y="198"/>
                  </a:lnTo>
                  <a:lnTo>
                    <a:pt x="139" y="202"/>
                  </a:lnTo>
                  <a:lnTo>
                    <a:pt x="138" y="202"/>
                  </a:lnTo>
                  <a:lnTo>
                    <a:pt x="139" y="204"/>
                  </a:lnTo>
                  <a:lnTo>
                    <a:pt x="139" y="205"/>
                  </a:lnTo>
                  <a:lnTo>
                    <a:pt x="138" y="205"/>
                  </a:lnTo>
                  <a:lnTo>
                    <a:pt x="138" y="205"/>
                  </a:lnTo>
                  <a:lnTo>
                    <a:pt x="138" y="205"/>
                  </a:lnTo>
                  <a:lnTo>
                    <a:pt x="134" y="205"/>
                  </a:lnTo>
                  <a:lnTo>
                    <a:pt x="132" y="204"/>
                  </a:lnTo>
                  <a:lnTo>
                    <a:pt x="128" y="204"/>
                  </a:lnTo>
                  <a:lnTo>
                    <a:pt x="128" y="205"/>
                  </a:lnTo>
                  <a:lnTo>
                    <a:pt x="124" y="204"/>
                  </a:lnTo>
                  <a:lnTo>
                    <a:pt x="122" y="202"/>
                  </a:lnTo>
                  <a:lnTo>
                    <a:pt x="122" y="204"/>
                  </a:lnTo>
                  <a:lnTo>
                    <a:pt x="121" y="204"/>
                  </a:lnTo>
                  <a:lnTo>
                    <a:pt x="119" y="202"/>
                  </a:lnTo>
                  <a:lnTo>
                    <a:pt x="117" y="202"/>
                  </a:lnTo>
                  <a:lnTo>
                    <a:pt x="115" y="202"/>
                  </a:lnTo>
                  <a:lnTo>
                    <a:pt x="113" y="202"/>
                  </a:lnTo>
                  <a:lnTo>
                    <a:pt x="111" y="202"/>
                  </a:lnTo>
                  <a:lnTo>
                    <a:pt x="111" y="202"/>
                  </a:lnTo>
                  <a:lnTo>
                    <a:pt x="107" y="202"/>
                  </a:lnTo>
                  <a:lnTo>
                    <a:pt x="85" y="202"/>
                  </a:lnTo>
                  <a:lnTo>
                    <a:pt x="83" y="198"/>
                  </a:lnTo>
                  <a:lnTo>
                    <a:pt x="83" y="198"/>
                  </a:lnTo>
                  <a:lnTo>
                    <a:pt x="81" y="198"/>
                  </a:lnTo>
                  <a:lnTo>
                    <a:pt x="75" y="198"/>
                  </a:lnTo>
                  <a:lnTo>
                    <a:pt x="75" y="198"/>
                  </a:lnTo>
                  <a:lnTo>
                    <a:pt x="74" y="198"/>
                  </a:lnTo>
                  <a:lnTo>
                    <a:pt x="70" y="198"/>
                  </a:lnTo>
                  <a:lnTo>
                    <a:pt x="68" y="198"/>
                  </a:lnTo>
                  <a:lnTo>
                    <a:pt x="62" y="198"/>
                  </a:lnTo>
                  <a:lnTo>
                    <a:pt x="62" y="198"/>
                  </a:lnTo>
                  <a:lnTo>
                    <a:pt x="57" y="198"/>
                  </a:lnTo>
                  <a:lnTo>
                    <a:pt x="53" y="198"/>
                  </a:lnTo>
                  <a:lnTo>
                    <a:pt x="53" y="198"/>
                  </a:lnTo>
                  <a:lnTo>
                    <a:pt x="51" y="202"/>
                  </a:lnTo>
                  <a:lnTo>
                    <a:pt x="51" y="202"/>
                  </a:lnTo>
                  <a:lnTo>
                    <a:pt x="51" y="202"/>
                  </a:lnTo>
                  <a:lnTo>
                    <a:pt x="26" y="202"/>
                  </a:lnTo>
                  <a:lnTo>
                    <a:pt x="26" y="202"/>
                  </a:lnTo>
                  <a:lnTo>
                    <a:pt x="23" y="202"/>
                  </a:lnTo>
                  <a:lnTo>
                    <a:pt x="23" y="202"/>
                  </a:lnTo>
                  <a:lnTo>
                    <a:pt x="26" y="198"/>
                  </a:lnTo>
                  <a:lnTo>
                    <a:pt x="23" y="196"/>
                  </a:lnTo>
                  <a:lnTo>
                    <a:pt x="23" y="188"/>
                  </a:lnTo>
                  <a:lnTo>
                    <a:pt x="23" y="181"/>
                  </a:lnTo>
                  <a:lnTo>
                    <a:pt x="19" y="177"/>
                  </a:lnTo>
                  <a:lnTo>
                    <a:pt x="19" y="172"/>
                  </a:lnTo>
                  <a:lnTo>
                    <a:pt x="23" y="170"/>
                  </a:lnTo>
                  <a:lnTo>
                    <a:pt x="19" y="166"/>
                  </a:lnTo>
                  <a:lnTo>
                    <a:pt x="13" y="168"/>
                  </a:lnTo>
                  <a:lnTo>
                    <a:pt x="11" y="166"/>
                  </a:lnTo>
                  <a:lnTo>
                    <a:pt x="8" y="166"/>
                  </a:lnTo>
                  <a:lnTo>
                    <a:pt x="6" y="155"/>
                  </a:lnTo>
                  <a:lnTo>
                    <a:pt x="2" y="155"/>
                  </a:lnTo>
                  <a:lnTo>
                    <a:pt x="0" y="155"/>
                  </a:lnTo>
                  <a:lnTo>
                    <a:pt x="0" y="155"/>
                  </a:lnTo>
                  <a:lnTo>
                    <a:pt x="0" y="15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7" name="Freeform 130">
              <a:extLst>
                <a:ext uri="{FF2B5EF4-FFF2-40B4-BE49-F238E27FC236}">
                  <a16:creationId xmlns:a16="http://schemas.microsoft.com/office/drawing/2014/main" id="{9F0339E2-06B8-45B6-9489-5707A73E6C96}"/>
                </a:ext>
              </a:extLst>
            </p:cNvPr>
            <p:cNvSpPr>
              <a:spLocks/>
            </p:cNvSpPr>
            <p:nvPr/>
          </p:nvSpPr>
          <p:spPr bwMode="auto">
            <a:xfrm>
              <a:off x="2943" y="3060"/>
              <a:ext cx="100" cy="117"/>
            </a:xfrm>
            <a:custGeom>
              <a:avLst/>
              <a:gdLst/>
              <a:ahLst/>
              <a:cxnLst>
                <a:cxn ang="0">
                  <a:pos x="47" y="4"/>
                </a:cxn>
                <a:cxn ang="0">
                  <a:pos x="49" y="0"/>
                </a:cxn>
                <a:cxn ang="0">
                  <a:pos x="56" y="0"/>
                </a:cxn>
                <a:cxn ang="0">
                  <a:pos x="62" y="0"/>
                </a:cxn>
                <a:cxn ang="0">
                  <a:pos x="68" y="0"/>
                </a:cxn>
                <a:cxn ang="0">
                  <a:pos x="69" y="0"/>
                </a:cxn>
                <a:cxn ang="0">
                  <a:pos x="77" y="0"/>
                </a:cxn>
                <a:cxn ang="0">
                  <a:pos x="77" y="4"/>
                </a:cxn>
                <a:cxn ang="0">
                  <a:pos x="77" y="5"/>
                </a:cxn>
                <a:cxn ang="0">
                  <a:pos x="77" y="15"/>
                </a:cxn>
                <a:cxn ang="0">
                  <a:pos x="77" y="21"/>
                </a:cxn>
                <a:cxn ang="0">
                  <a:pos x="83" y="19"/>
                </a:cxn>
                <a:cxn ang="0">
                  <a:pos x="90" y="19"/>
                </a:cxn>
                <a:cxn ang="0">
                  <a:pos x="100" y="17"/>
                </a:cxn>
                <a:cxn ang="0">
                  <a:pos x="100" y="24"/>
                </a:cxn>
                <a:cxn ang="0">
                  <a:pos x="100" y="30"/>
                </a:cxn>
                <a:cxn ang="0">
                  <a:pos x="96" y="34"/>
                </a:cxn>
                <a:cxn ang="0">
                  <a:pos x="94" y="39"/>
                </a:cxn>
                <a:cxn ang="0">
                  <a:pos x="96" y="43"/>
                </a:cxn>
                <a:cxn ang="0">
                  <a:pos x="94" y="43"/>
                </a:cxn>
                <a:cxn ang="0">
                  <a:pos x="90" y="45"/>
                </a:cxn>
                <a:cxn ang="0">
                  <a:pos x="94" y="47"/>
                </a:cxn>
                <a:cxn ang="0">
                  <a:pos x="96" y="51"/>
                </a:cxn>
                <a:cxn ang="0">
                  <a:pos x="100" y="56"/>
                </a:cxn>
                <a:cxn ang="0">
                  <a:pos x="100" y="62"/>
                </a:cxn>
                <a:cxn ang="0">
                  <a:pos x="96" y="83"/>
                </a:cxn>
                <a:cxn ang="0">
                  <a:pos x="96" y="88"/>
                </a:cxn>
                <a:cxn ang="0">
                  <a:pos x="92" y="86"/>
                </a:cxn>
                <a:cxn ang="0">
                  <a:pos x="84" y="85"/>
                </a:cxn>
                <a:cxn ang="0">
                  <a:pos x="81" y="86"/>
                </a:cxn>
                <a:cxn ang="0">
                  <a:pos x="75" y="85"/>
                </a:cxn>
                <a:cxn ang="0">
                  <a:pos x="68" y="75"/>
                </a:cxn>
                <a:cxn ang="0">
                  <a:pos x="66" y="83"/>
                </a:cxn>
                <a:cxn ang="0">
                  <a:pos x="58" y="86"/>
                </a:cxn>
                <a:cxn ang="0">
                  <a:pos x="56" y="88"/>
                </a:cxn>
                <a:cxn ang="0">
                  <a:pos x="51" y="88"/>
                </a:cxn>
                <a:cxn ang="0">
                  <a:pos x="47" y="90"/>
                </a:cxn>
                <a:cxn ang="0">
                  <a:pos x="47" y="98"/>
                </a:cxn>
                <a:cxn ang="0">
                  <a:pos x="52" y="94"/>
                </a:cxn>
                <a:cxn ang="0">
                  <a:pos x="56" y="98"/>
                </a:cxn>
                <a:cxn ang="0">
                  <a:pos x="56" y="111"/>
                </a:cxn>
                <a:cxn ang="0">
                  <a:pos x="51" y="107"/>
                </a:cxn>
                <a:cxn ang="0">
                  <a:pos x="47" y="109"/>
                </a:cxn>
                <a:cxn ang="0">
                  <a:pos x="43" y="113"/>
                </a:cxn>
                <a:cxn ang="0">
                  <a:pos x="39" y="115"/>
                </a:cxn>
                <a:cxn ang="0">
                  <a:pos x="37" y="111"/>
                </a:cxn>
                <a:cxn ang="0">
                  <a:pos x="30" y="103"/>
                </a:cxn>
                <a:cxn ang="0">
                  <a:pos x="17" y="92"/>
                </a:cxn>
                <a:cxn ang="0">
                  <a:pos x="15" y="86"/>
                </a:cxn>
                <a:cxn ang="0">
                  <a:pos x="9" y="79"/>
                </a:cxn>
                <a:cxn ang="0">
                  <a:pos x="5" y="69"/>
                </a:cxn>
                <a:cxn ang="0">
                  <a:pos x="4" y="64"/>
                </a:cxn>
                <a:cxn ang="0">
                  <a:pos x="0" y="54"/>
                </a:cxn>
                <a:cxn ang="0">
                  <a:pos x="7" y="53"/>
                </a:cxn>
                <a:cxn ang="0">
                  <a:pos x="9" y="39"/>
                </a:cxn>
                <a:cxn ang="0">
                  <a:pos x="19" y="39"/>
                </a:cxn>
                <a:cxn ang="0">
                  <a:pos x="11" y="30"/>
                </a:cxn>
                <a:cxn ang="0">
                  <a:pos x="15" y="26"/>
                </a:cxn>
                <a:cxn ang="0">
                  <a:pos x="17" y="24"/>
                </a:cxn>
                <a:cxn ang="0">
                  <a:pos x="20" y="24"/>
                </a:cxn>
                <a:cxn ang="0">
                  <a:pos x="47" y="4"/>
                </a:cxn>
                <a:cxn ang="0">
                  <a:pos x="47" y="4"/>
                </a:cxn>
              </a:cxnLst>
              <a:rect l="0" t="0" r="r" b="b"/>
              <a:pathLst>
                <a:path w="100" h="117">
                  <a:moveTo>
                    <a:pt x="47" y="4"/>
                  </a:moveTo>
                  <a:lnTo>
                    <a:pt x="47" y="4"/>
                  </a:lnTo>
                  <a:lnTo>
                    <a:pt x="47" y="0"/>
                  </a:lnTo>
                  <a:lnTo>
                    <a:pt x="49" y="0"/>
                  </a:lnTo>
                  <a:lnTo>
                    <a:pt x="51" y="0"/>
                  </a:lnTo>
                  <a:lnTo>
                    <a:pt x="56" y="0"/>
                  </a:lnTo>
                  <a:lnTo>
                    <a:pt x="58" y="0"/>
                  </a:lnTo>
                  <a:lnTo>
                    <a:pt x="62" y="0"/>
                  </a:lnTo>
                  <a:lnTo>
                    <a:pt x="64" y="0"/>
                  </a:lnTo>
                  <a:lnTo>
                    <a:pt x="68" y="0"/>
                  </a:lnTo>
                  <a:lnTo>
                    <a:pt x="69" y="0"/>
                  </a:lnTo>
                  <a:lnTo>
                    <a:pt x="69" y="0"/>
                  </a:lnTo>
                  <a:lnTo>
                    <a:pt x="75" y="0"/>
                  </a:lnTo>
                  <a:lnTo>
                    <a:pt x="77" y="0"/>
                  </a:lnTo>
                  <a:lnTo>
                    <a:pt x="77" y="0"/>
                  </a:lnTo>
                  <a:lnTo>
                    <a:pt x="77" y="4"/>
                  </a:lnTo>
                  <a:lnTo>
                    <a:pt x="77" y="4"/>
                  </a:lnTo>
                  <a:lnTo>
                    <a:pt x="77" y="5"/>
                  </a:lnTo>
                  <a:lnTo>
                    <a:pt x="77" y="9"/>
                  </a:lnTo>
                  <a:lnTo>
                    <a:pt x="77" y="15"/>
                  </a:lnTo>
                  <a:lnTo>
                    <a:pt x="77" y="17"/>
                  </a:lnTo>
                  <a:lnTo>
                    <a:pt x="77" y="21"/>
                  </a:lnTo>
                  <a:lnTo>
                    <a:pt x="81" y="21"/>
                  </a:lnTo>
                  <a:lnTo>
                    <a:pt x="83" y="19"/>
                  </a:lnTo>
                  <a:lnTo>
                    <a:pt x="84" y="21"/>
                  </a:lnTo>
                  <a:lnTo>
                    <a:pt x="90" y="19"/>
                  </a:lnTo>
                  <a:lnTo>
                    <a:pt x="94" y="17"/>
                  </a:lnTo>
                  <a:lnTo>
                    <a:pt x="100" y="17"/>
                  </a:lnTo>
                  <a:lnTo>
                    <a:pt x="100" y="19"/>
                  </a:lnTo>
                  <a:lnTo>
                    <a:pt x="100" y="24"/>
                  </a:lnTo>
                  <a:lnTo>
                    <a:pt x="100" y="28"/>
                  </a:lnTo>
                  <a:lnTo>
                    <a:pt x="100" y="30"/>
                  </a:lnTo>
                  <a:lnTo>
                    <a:pt x="100" y="34"/>
                  </a:lnTo>
                  <a:lnTo>
                    <a:pt x="96" y="34"/>
                  </a:lnTo>
                  <a:lnTo>
                    <a:pt x="94" y="34"/>
                  </a:lnTo>
                  <a:lnTo>
                    <a:pt x="94" y="39"/>
                  </a:lnTo>
                  <a:lnTo>
                    <a:pt x="94" y="39"/>
                  </a:lnTo>
                  <a:lnTo>
                    <a:pt x="96" y="43"/>
                  </a:lnTo>
                  <a:lnTo>
                    <a:pt x="94" y="43"/>
                  </a:lnTo>
                  <a:lnTo>
                    <a:pt x="94" y="43"/>
                  </a:lnTo>
                  <a:lnTo>
                    <a:pt x="90" y="43"/>
                  </a:lnTo>
                  <a:lnTo>
                    <a:pt x="90" y="45"/>
                  </a:lnTo>
                  <a:lnTo>
                    <a:pt x="92" y="47"/>
                  </a:lnTo>
                  <a:lnTo>
                    <a:pt x="94" y="47"/>
                  </a:lnTo>
                  <a:lnTo>
                    <a:pt x="96" y="49"/>
                  </a:lnTo>
                  <a:lnTo>
                    <a:pt x="96" y="51"/>
                  </a:lnTo>
                  <a:lnTo>
                    <a:pt x="100" y="53"/>
                  </a:lnTo>
                  <a:lnTo>
                    <a:pt x="100" y="56"/>
                  </a:lnTo>
                  <a:lnTo>
                    <a:pt x="100" y="58"/>
                  </a:lnTo>
                  <a:lnTo>
                    <a:pt x="100" y="62"/>
                  </a:lnTo>
                  <a:lnTo>
                    <a:pt x="100" y="69"/>
                  </a:lnTo>
                  <a:lnTo>
                    <a:pt x="96" y="83"/>
                  </a:lnTo>
                  <a:lnTo>
                    <a:pt x="96" y="85"/>
                  </a:lnTo>
                  <a:lnTo>
                    <a:pt x="96" y="88"/>
                  </a:lnTo>
                  <a:lnTo>
                    <a:pt x="94" y="88"/>
                  </a:lnTo>
                  <a:lnTo>
                    <a:pt x="92" y="86"/>
                  </a:lnTo>
                  <a:lnTo>
                    <a:pt x="88" y="85"/>
                  </a:lnTo>
                  <a:lnTo>
                    <a:pt x="84" y="85"/>
                  </a:lnTo>
                  <a:lnTo>
                    <a:pt x="83" y="86"/>
                  </a:lnTo>
                  <a:lnTo>
                    <a:pt x="81" y="86"/>
                  </a:lnTo>
                  <a:lnTo>
                    <a:pt x="77" y="86"/>
                  </a:lnTo>
                  <a:lnTo>
                    <a:pt x="75" y="85"/>
                  </a:lnTo>
                  <a:lnTo>
                    <a:pt x="71" y="75"/>
                  </a:lnTo>
                  <a:lnTo>
                    <a:pt x="68" y="75"/>
                  </a:lnTo>
                  <a:lnTo>
                    <a:pt x="66" y="77"/>
                  </a:lnTo>
                  <a:lnTo>
                    <a:pt x="66" y="83"/>
                  </a:lnTo>
                  <a:lnTo>
                    <a:pt x="66" y="86"/>
                  </a:lnTo>
                  <a:lnTo>
                    <a:pt x="58" y="86"/>
                  </a:lnTo>
                  <a:lnTo>
                    <a:pt x="58" y="86"/>
                  </a:lnTo>
                  <a:lnTo>
                    <a:pt x="56" y="88"/>
                  </a:lnTo>
                  <a:lnTo>
                    <a:pt x="54" y="90"/>
                  </a:lnTo>
                  <a:lnTo>
                    <a:pt x="51" y="88"/>
                  </a:lnTo>
                  <a:lnTo>
                    <a:pt x="47" y="88"/>
                  </a:lnTo>
                  <a:lnTo>
                    <a:pt x="47" y="90"/>
                  </a:lnTo>
                  <a:lnTo>
                    <a:pt x="47" y="92"/>
                  </a:lnTo>
                  <a:lnTo>
                    <a:pt x="47" y="98"/>
                  </a:lnTo>
                  <a:lnTo>
                    <a:pt x="49" y="94"/>
                  </a:lnTo>
                  <a:lnTo>
                    <a:pt x="52" y="94"/>
                  </a:lnTo>
                  <a:lnTo>
                    <a:pt x="54" y="94"/>
                  </a:lnTo>
                  <a:lnTo>
                    <a:pt x="56" y="98"/>
                  </a:lnTo>
                  <a:lnTo>
                    <a:pt x="58" y="107"/>
                  </a:lnTo>
                  <a:lnTo>
                    <a:pt x="56" y="111"/>
                  </a:lnTo>
                  <a:lnTo>
                    <a:pt x="52" y="107"/>
                  </a:lnTo>
                  <a:lnTo>
                    <a:pt x="51" y="107"/>
                  </a:lnTo>
                  <a:lnTo>
                    <a:pt x="49" y="109"/>
                  </a:lnTo>
                  <a:lnTo>
                    <a:pt x="47" y="109"/>
                  </a:lnTo>
                  <a:lnTo>
                    <a:pt x="43" y="109"/>
                  </a:lnTo>
                  <a:lnTo>
                    <a:pt x="43" y="113"/>
                  </a:lnTo>
                  <a:lnTo>
                    <a:pt x="39" y="117"/>
                  </a:lnTo>
                  <a:lnTo>
                    <a:pt x="39" y="115"/>
                  </a:lnTo>
                  <a:lnTo>
                    <a:pt x="37" y="115"/>
                  </a:lnTo>
                  <a:lnTo>
                    <a:pt x="37" y="111"/>
                  </a:lnTo>
                  <a:lnTo>
                    <a:pt x="30" y="107"/>
                  </a:lnTo>
                  <a:lnTo>
                    <a:pt x="30" y="103"/>
                  </a:lnTo>
                  <a:lnTo>
                    <a:pt x="20" y="98"/>
                  </a:lnTo>
                  <a:lnTo>
                    <a:pt x="17" y="92"/>
                  </a:lnTo>
                  <a:lnTo>
                    <a:pt x="17" y="90"/>
                  </a:lnTo>
                  <a:lnTo>
                    <a:pt x="15" y="86"/>
                  </a:lnTo>
                  <a:lnTo>
                    <a:pt x="11" y="83"/>
                  </a:lnTo>
                  <a:lnTo>
                    <a:pt x="9" y="79"/>
                  </a:lnTo>
                  <a:lnTo>
                    <a:pt x="9" y="73"/>
                  </a:lnTo>
                  <a:lnTo>
                    <a:pt x="5" y="69"/>
                  </a:lnTo>
                  <a:lnTo>
                    <a:pt x="5" y="68"/>
                  </a:lnTo>
                  <a:lnTo>
                    <a:pt x="4" y="64"/>
                  </a:lnTo>
                  <a:lnTo>
                    <a:pt x="0" y="56"/>
                  </a:lnTo>
                  <a:lnTo>
                    <a:pt x="0" y="54"/>
                  </a:lnTo>
                  <a:lnTo>
                    <a:pt x="4" y="56"/>
                  </a:lnTo>
                  <a:lnTo>
                    <a:pt x="7" y="53"/>
                  </a:lnTo>
                  <a:lnTo>
                    <a:pt x="9" y="43"/>
                  </a:lnTo>
                  <a:lnTo>
                    <a:pt x="9" y="39"/>
                  </a:lnTo>
                  <a:lnTo>
                    <a:pt x="11" y="39"/>
                  </a:lnTo>
                  <a:lnTo>
                    <a:pt x="19" y="39"/>
                  </a:lnTo>
                  <a:lnTo>
                    <a:pt x="15" y="37"/>
                  </a:lnTo>
                  <a:lnTo>
                    <a:pt x="11" y="30"/>
                  </a:lnTo>
                  <a:lnTo>
                    <a:pt x="15" y="30"/>
                  </a:lnTo>
                  <a:lnTo>
                    <a:pt x="15" y="26"/>
                  </a:lnTo>
                  <a:lnTo>
                    <a:pt x="15" y="26"/>
                  </a:lnTo>
                  <a:lnTo>
                    <a:pt x="17" y="24"/>
                  </a:lnTo>
                  <a:lnTo>
                    <a:pt x="20" y="24"/>
                  </a:lnTo>
                  <a:lnTo>
                    <a:pt x="20" y="24"/>
                  </a:lnTo>
                  <a:lnTo>
                    <a:pt x="47" y="26"/>
                  </a:lnTo>
                  <a:lnTo>
                    <a:pt x="47" y="4"/>
                  </a:lnTo>
                  <a:lnTo>
                    <a:pt x="47" y="4"/>
                  </a:lnTo>
                  <a:lnTo>
                    <a:pt x="47" y="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8" name="Freeform 131">
              <a:extLst>
                <a:ext uri="{FF2B5EF4-FFF2-40B4-BE49-F238E27FC236}">
                  <a16:creationId xmlns:a16="http://schemas.microsoft.com/office/drawing/2014/main" id="{FB968345-9441-452A-9E92-BF6EC48C117F}"/>
                </a:ext>
              </a:extLst>
            </p:cNvPr>
            <p:cNvSpPr>
              <a:spLocks/>
            </p:cNvSpPr>
            <p:nvPr/>
          </p:nvSpPr>
          <p:spPr bwMode="auto">
            <a:xfrm>
              <a:off x="2943" y="3060"/>
              <a:ext cx="100" cy="117"/>
            </a:xfrm>
            <a:custGeom>
              <a:avLst/>
              <a:gdLst/>
              <a:ahLst/>
              <a:cxnLst>
                <a:cxn ang="0">
                  <a:pos x="47" y="4"/>
                </a:cxn>
                <a:cxn ang="0">
                  <a:pos x="49" y="0"/>
                </a:cxn>
                <a:cxn ang="0">
                  <a:pos x="56" y="0"/>
                </a:cxn>
                <a:cxn ang="0">
                  <a:pos x="62" y="0"/>
                </a:cxn>
                <a:cxn ang="0">
                  <a:pos x="68" y="0"/>
                </a:cxn>
                <a:cxn ang="0">
                  <a:pos x="69" y="0"/>
                </a:cxn>
                <a:cxn ang="0">
                  <a:pos x="77" y="0"/>
                </a:cxn>
                <a:cxn ang="0">
                  <a:pos x="77" y="4"/>
                </a:cxn>
                <a:cxn ang="0">
                  <a:pos x="77" y="5"/>
                </a:cxn>
                <a:cxn ang="0">
                  <a:pos x="77" y="15"/>
                </a:cxn>
                <a:cxn ang="0">
                  <a:pos x="77" y="21"/>
                </a:cxn>
                <a:cxn ang="0">
                  <a:pos x="83" y="19"/>
                </a:cxn>
                <a:cxn ang="0">
                  <a:pos x="90" y="19"/>
                </a:cxn>
                <a:cxn ang="0">
                  <a:pos x="100" y="17"/>
                </a:cxn>
                <a:cxn ang="0">
                  <a:pos x="100" y="24"/>
                </a:cxn>
                <a:cxn ang="0">
                  <a:pos x="100" y="30"/>
                </a:cxn>
                <a:cxn ang="0">
                  <a:pos x="96" y="34"/>
                </a:cxn>
                <a:cxn ang="0">
                  <a:pos x="94" y="39"/>
                </a:cxn>
                <a:cxn ang="0">
                  <a:pos x="96" y="43"/>
                </a:cxn>
                <a:cxn ang="0">
                  <a:pos x="94" y="43"/>
                </a:cxn>
                <a:cxn ang="0">
                  <a:pos x="90" y="45"/>
                </a:cxn>
                <a:cxn ang="0">
                  <a:pos x="94" y="47"/>
                </a:cxn>
                <a:cxn ang="0">
                  <a:pos x="96" y="51"/>
                </a:cxn>
                <a:cxn ang="0">
                  <a:pos x="100" y="56"/>
                </a:cxn>
                <a:cxn ang="0">
                  <a:pos x="100" y="62"/>
                </a:cxn>
                <a:cxn ang="0">
                  <a:pos x="96" y="83"/>
                </a:cxn>
                <a:cxn ang="0">
                  <a:pos x="96" y="88"/>
                </a:cxn>
                <a:cxn ang="0">
                  <a:pos x="92" y="86"/>
                </a:cxn>
                <a:cxn ang="0">
                  <a:pos x="84" y="85"/>
                </a:cxn>
                <a:cxn ang="0">
                  <a:pos x="81" y="86"/>
                </a:cxn>
                <a:cxn ang="0">
                  <a:pos x="75" y="85"/>
                </a:cxn>
                <a:cxn ang="0">
                  <a:pos x="68" y="75"/>
                </a:cxn>
                <a:cxn ang="0">
                  <a:pos x="66" y="83"/>
                </a:cxn>
                <a:cxn ang="0">
                  <a:pos x="58" y="86"/>
                </a:cxn>
                <a:cxn ang="0">
                  <a:pos x="56" y="88"/>
                </a:cxn>
                <a:cxn ang="0">
                  <a:pos x="51" y="88"/>
                </a:cxn>
                <a:cxn ang="0">
                  <a:pos x="47" y="90"/>
                </a:cxn>
                <a:cxn ang="0">
                  <a:pos x="47" y="98"/>
                </a:cxn>
                <a:cxn ang="0">
                  <a:pos x="52" y="94"/>
                </a:cxn>
                <a:cxn ang="0">
                  <a:pos x="56" y="98"/>
                </a:cxn>
                <a:cxn ang="0">
                  <a:pos x="56" y="111"/>
                </a:cxn>
                <a:cxn ang="0">
                  <a:pos x="51" y="107"/>
                </a:cxn>
                <a:cxn ang="0">
                  <a:pos x="47" y="109"/>
                </a:cxn>
                <a:cxn ang="0">
                  <a:pos x="43" y="113"/>
                </a:cxn>
                <a:cxn ang="0">
                  <a:pos x="39" y="115"/>
                </a:cxn>
                <a:cxn ang="0">
                  <a:pos x="37" y="111"/>
                </a:cxn>
                <a:cxn ang="0">
                  <a:pos x="30" y="103"/>
                </a:cxn>
                <a:cxn ang="0">
                  <a:pos x="17" y="92"/>
                </a:cxn>
                <a:cxn ang="0">
                  <a:pos x="15" y="86"/>
                </a:cxn>
                <a:cxn ang="0">
                  <a:pos x="9" y="79"/>
                </a:cxn>
                <a:cxn ang="0">
                  <a:pos x="5" y="69"/>
                </a:cxn>
                <a:cxn ang="0">
                  <a:pos x="4" y="64"/>
                </a:cxn>
                <a:cxn ang="0">
                  <a:pos x="0" y="54"/>
                </a:cxn>
                <a:cxn ang="0">
                  <a:pos x="7" y="53"/>
                </a:cxn>
                <a:cxn ang="0">
                  <a:pos x="9" y="39"/>
                </a:cxn>
                <a:cxn ang="0">
                  <a:pos x="19" y="39"/>
                </a:cxn>
                <a:cxn ang="0">
                  <a:pos x="11" y="30"/>
                </a:cxn>
                <a:cxn ang="0">
                  <a:pos x="15" y="26"/>
                </a:cxn>
                <a:cxn ang="0">
                  <a:pos x="17" y="24"/>
                </a:cxn>
                <a:cxn ang="0">
                  <a:pos x="20" y="24"/>
                </a:cxn>
                <a:cxn ang="0">
                  <a:pos x="47" y="4"/>
                </a:cxn>
                <a:cxn ang="0">
                  <a:pos x="47" y="4"/>
                </a:cxn>
              </a:cxnLst>
              <a:rect l="0" t="0" r="r" b="b"/>
              <a:pathLst>
                <a:path w="100" h="117">
                  <a:moveTo>
                    <a:pt x="47" y="4"/>
                  </a:moveTo>
                  <a:lnTo>
                    <a:pt x="47" y="4"/>
                  </a:lnTo>
                  <a:lnTo>
                    <a:pt x="47" y="0"/>
                  </a:lnTo>
                  <a:lnTo>
                    <a:pt x="49" y="0"/>
                  </a:lnTo>
                  <a:lnTo>
                    <a:pt x="51" y="0"/>
                  </a:lnTo>
                  <a:lnTo>
                    <a:pt x="56" y="0"/>
                  </a:lnTo>
                  <a:lnTo>
                    <a:pt x="58" y="0"/>
                  </a:lnTo>
                  <a:lnTo>
                    <a:pt x="62" y="0"/>
                  </a:lnTo>
                  <a:lnTo>
                    <a:pt x="64" y="0"/>
                  </a:lnTo>
                  <a:lnTo>
                    <a:pt x="68" y="0"/>
                  </a:lnTo>
                  <a:lnTo>
                    <a:pt x="69" y="0"/>
                  </a:lnTo>
                  <a:lnTo>
                    <a:pt x="69" y="0"/>
                  </a:lnTo>
                  <a:lnTo>
                    <a:pt x="75" y="0"/>
                  </a:lnTo>
                  <a:lnTo>
                    <a:pt x="77" y="0"/>
                  </a:lnTo>
                  <a:lnTo>
                    <a:pt x="77" y="0"/>
                  </a:lnTo>
                  <a:lnTo>
                    <a:pt x="77" y="4"/>
                  </a:lnTo>
                  <a:lnTo>
                    <a:pt x="77" y="4"/>
                  </a:lnTo>
                  <a:lnTo>
                    <a:pt x="77" y="5"/>
                  </a:lnTo>
                  <a:lnTo>
                    <a:pt x="77" y="9"/>
                  </a:lnTo>
                  <a:lnTo>
                    <a:pt x="77" y="15"/>
                  </a:lnTo>
                  <a:lnTo>
                    <a:pt x="77" y="17"/>
                  </a:lnTo>
                  <a:lnTo>
                    <a:pt x="77" y="21"/>
                  </a:lnTo>
                  <a:lnTo>
                    <a:pt x="81" y="21"/>
                  </a:lnTo>
                  <a:lnTo>
                    <a:pt x="83" y="19"/>
                  </a:lnTo>
                  <a:lnTo>
                    <a:pt x="84" y="21"/>
                  </a:lnTo>
                  <a:lnTo>
                    <a:pt x="90" y="19"/>
                  </a:lnTo>
                  <a:lnTo>
                    <a:pt x="94" y="17"/>
                  </a:lnTo>
                  <a:lnTo>
                    <a:pt x="100" y="17"/>
                  </a:lnTo>
                  <a:lnTo>
                    <a:pt x="100" y="19"/>
                  </a:lnTo>
                  <a:lnTo>
                    <a:pt x="100" y="24"/>
                  </a:lnTo>
                  <a:lnTo>
                    <a:pt x="100" y="28"/>
                  </a:lnTo>
                  <a:lnTo>
                    <a:pt x="100" y="30"/>
                  </a:lnTo>
                  <a:lnTo>
                    <a:pt x="100" y="34"/>
                  </a:lnTo>
                  <a:lnTo>
                    <a:pt x="96" y="34"/>
                  </a:lnTo>
                  <a:lnTo>
                    <a:pt x="94" y="34"/>
                  </a:lnTo>
                  <a:lnTo>
                    <a:pt x="94" y="39"/>
                  </a:lnTo>
                  <a:lnTo>
                    <a:pt x="94" y="39"/>
                  </a:lnTo>
                  <a:lnTo>
                    <a:pt x="96" y="43"/>
                  </a:lnTo>
                  <a:lnTo>
                    <a:pt x="94" y="43"/>
                  </a:lnTo>
                  <a:lnTo>
                    <a:pt x="94" y="43"/>
                  </a:lnTo>
                  <a:lnTo>
                    <a:pt x="90" y="43"/>
                  </a:lnTo>
                  <a:lnTo>
                    <a:pt x="90" y="45"/>
                  </a:lnTo>
                  <a:lnTo>
                    <a:pt x="92" y="47"/>
                  </a:lnTo>
                  <a:lnTo>
                    <a:pt x="94" y="47"/>
                  </a:lnTo>
                  <a:lnTo>
                    <a:pt x="96" y="49"/>
                  </a:lnTo>
                  <a:lnTo>
                    <a:pt x="96" y="51"/>
                  </a:lnTo>
                  <a:lnTo>
                    <a:pt x="100" y="53"/>
                  </a:lnTo>
                  <a:lnTo>
                    <a:pt x="100" y="56"/>
                  </a:lnTo>
                  <a:lnTo>
                    <a:pt x="100" y="58"/>
                  </a:lnTo>
                  <a:lnTo>
                    <a:pt x="100" y="62"/>
                  </a:lnTo>
                  <a:lnTo>
                    <a:pt x="100" y="69"/>
                  </a:lnTo>
                  <a:lnTo>
                    <a:pt x="96" y="83"/>
                  </a:lnTo>
                  <a:lnTo>
                    <a:pt x="96" y="85"/>
                  </a:lnTo>
                  <a:lnTo>
                    <a:pt x="96" y="88"/>
                  </a:lnTo>
                  <a:lnTo>
                    <a:pt x="94" y="88"/>
                  </a:lnTo>
                  <a:lnTo>
                    <a:pt x="92" y="86"/>
                  </a:lnTo>
                  <a:lnTo>
                    <a:pt x="88" y="85"/>
                  </a:lnTo>
                  <a:lnTo>
                    <a:pt x="84" y="85"/>
                  </a:lnTo>
                  <a:lnTo>
                    <a:pt x="83" y="86"/>
                  </a:lnTo>
                  <a:lnTo>
                    <a:pt x="81" y="86"/>
                  </a:lnTo>
                  <a:lnTo>
                    <a:pt x="77" y="86"/>
                  </a:lnTo>
                  <a:lnTo>
                    <a:pt x="75" y="85"/>
                  </a:lnTo>
                  <a:lnTo>
                    <a:pt x="71" y="75"/>
                  </a:lnTo>
                  <a:lnTo>
                    <a:pt x="68" y="75"/>
                  </a:lnTo>
                  <a:lnTo>
                    <a:pt x="66" y="77"/>
                  </a:lnTo>
                  <a:lnTo>
                    <a:pt x="66" y="83"/>
                  </a:lnTo>
                  <a:lnTo>
                    <a:pt x="66" y="86"/>
                  </a:lnTo>
                  <a:lnTo>
                    <a:pt x="58" y="86"/>
                  </a:lnTo>
                  <a:lnTo>
                    <a:pt x="58" y="86"/>
                  </a:lnTo>
                  <a:lnTo>
                    <a:pt x="56" y="88"/>
                  </a:lnTo>
                  <a:lnTo>
                    <a:pt x="54" y="90"/>
                  </a:lnTo>
                  <a:lnTo>
                    <a:pt x="51" y="88"/>
                  </a:lnTo>
                  <a:lnTo>
                    <a:pt x="47" y="88"/>
                  </a:lnTo>
                  <a:lnTo>
                    <a:pt x="47" y="90"/>
                  </a:lnTo>
                  <a:lnTo>
                    <a:pt x="47" y="92"/>
                  </a:lnTo>
                  <a:lnTo>
                    <a:pt x="47" y="98"/>
                  </a:lnTo>
                  <a:lnTo>
                    <a:pt x="49" y="94"/>
                  </a:lnTo>
                  <a:lnTo>
                    <a:pt x="52" y="94"/>
                  </a:lnTo>
                  <a:lnTo>
                    <a:pt x="54" y="94"/>
                  </a:lnTo>
                  <a:lnTo>
                    <a:pt x="56" y="98"/>
                  </a:lnTo>
                  <a:lnTo>
                    <a:pt x="58" y="107"/>
                  </a:lnTo>
                  <a:lnTo>
                    <a:pt x="56" y="111"/>
                  </a:lnTo>
                  <a:lnTo>
                    <a:pt x="52" y="107"/>
                  </a:lnTo>
                  <a:lnTo>
                    <a:pt x="51" y="107"/>
                  </a:lnTo>
                  <a:lnTo>
                    <a:pt x="49" y="109"/>
                  </a:lnTo>
                  <a:lnTo>
                    <a:pt x="47" y="109"/>
                  </a:lnTo>
                  <a:lnTo>
                    <a:pt x="43" y="109"/>
                  </a:lnTo>
                  <a:lnTo>
                    <a:pt x="43" y="113"/>
                  </a:lnTo>
                  <a:lnTo>
                    <a:pt x="39" y="117"/>
                  </a:lnTo>
                  <a:lnTo>
                    <a:pt x="39" y="115"/>
                  </a:lnTo>
                  <a:lnTo>
                    <a:pt x="37" y="115"/>
                  </a:lnTo>
                  <a:lnTo>
                    <a:pt x="37" y="111"/>
                  </a:lnTo>
                  <a:lnTo>
                    <a:pt x="30" y="107"/>
                  </a:lnTo>
                  <a:lnTo>
                    <a:pt x="30" y="103"/>
                  </a:lnTo>
                  <a:lnTo>
                    <a:pt x="20" y="98"/>
                  </a:lnTo>
                  <a:lnTo>
                    <a:pt x="17" y="92"/>
                  </a:lnTo>
                  <a:lnTo>
                    <a:pt x="17" y="90"/>
                  </a:lnTo>
                  <a:lnTo>
                    <a:pt x="15" y="86"/>
                  </a:lnTo>
                  <a:lnTo>
                    <a:pt x="11" y="83"/>
                  </a:lnTo>
                  <a:lnTo>
                    <a:pt x="9" y="79"/>
                  </a:lnTo>
                  <a:lnTo>
                    <a:pt x="9" y="73"/>
                  </a:lnTo>
                  <a:lnTo>
                    <a:pt x="5" y="69"/>
                  </a:lnTo>
                  <a:lnTo>
                    <a:pt x="5" y="68"/>
                  </a:lnTo>
                  <a:lnTo>
                    <a:pt x="4" y="64"/>
                  </a:lnTo>
                  <a:lnTo>
                    <a:pt x="0" y="56"/>
                  </a:lnTo>
                  <a:lnTo>
                    <a:pt x="0" y="54"/>
                  </a:lnTo>
                  <a:lnTo>
                    <a:pt x="4" y="56"/>
                  </a:lnTo>
                  <a:lnTo>
                    <a:pt x="7" y="53"/>
                  </a:lnTo>
                  <a:lnTo>
                    <a:pt x="9" y="43"/>
                  </a:lnTo>
                  <a:lnTo>
                    <a:pt x="9" y="39"/>
                  </a:lnTo>
                  <a:lnTo>
                    <a:pt x="11" y="39"/>
                  </a:lnTo>
                  <a:lnTo>
                    <a:pt x="19" y="39"/>
                  </a:lnTo>
                  <a:lnTo>
                    <a:pt x="15" y="37"/>
                  </a:lnTo>
                  <a:lnTo>
                    <a:pt x="11" y="30"/>
                  </a:lnTo>
                  <a:lnTo>
                    <a:pt x="15" y="30"/>
                  </a:lnTo>
                  <a:lnTo>
                    <a:pt x="15" y="26"/>
                  </a:lnTo>
                  <a:lnTo>
                    <a:pt x="15" y="26"/>
                  </a:lnTo>
                  <a:lnTo>
                    <a:pt x="17" y="24"/>
                  </a:lnTo>
                  <a:lnTo>
                    <a:pt x="20" y="24"/>
                  </a:lnTo>
                  <a:lnTo>
                    <a:pt x="20" y="24"/>
                  </a:lnTo>
                  <a:lnTo>
                    <a:pt x="47" y="26"/>
                  </a:lnTo>
                  <a:lnTo>
                    <a:pt x="47" y="4"/>
                  </a:lnTo>
                  <a:lnTo>
                    <a:pt x="47" y="4"/>
                  </a:lnTo>
                  <a:lnTo>
                    <a:pt x="47" y="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9" name="Freeform 132">
              <a:extLst>
                <a:ext uri="{FF2B5EF4-FFF2-40B4-BE49-F238E27FC236}">
                  <a16:creationId xmlns:a16="http://schemas.microsoft.com/office/drawing/2014/main" id="{02EEEA6C-19CF-4C84-8BAD-3D9F39C60EB7}"/>
                </a:ext>
              </a:extLst>
            </p:cNvPr>
            <p:cNvSpPr>
              <a:spLocks/>
            </p:cNvSpPr>
            <p:nvPr/>
          </p:nvSpPr>
          <p:spPr bwMode="auto">
            <a:xfrm>
              <a:off x="2948" y="3060"/>
              <a:ext cx="42" cy="26"/>
            </a:xfrm>
            <a:custGeom>
              <a:avLst/>
              <a:gdLst/>
              <a:ahLst/>
              <a:cxnLst>
                <a:cxn ang="0">
                  <a:pos x="6" y="26"/>
                </a:cxn>
                <a:cxn ang="0">
                  <a:pos x="8" y="26"/>
                </a:cxn>
                <a:cxn ang="0">
                  <a:pos x="8" y="26"/>
                </a:cxn>
                <a:cxn ang="0">
                  <a:pos x="14" y="26"/>
                </a:cxn>
                <a:cxn ang="0">
                  <a:pos x="14" y="26"/>
                </a:cxn>
                <a:cxn ang="0">
                  <a:pos x="42" y="26"/>
                </a:cxn>
                <a:cxn ang="0">
                  <a:pos x="42" y="0"/>
                </a:cxn>
                <a:cxn ang="0">
                  <a:pos x="17" y="0"/>
                </a:cxn>
                <a:cxn ang="0">
                  <a:pos x="17" y="0"/>
                </a:cxn>
                <a:cxn ang="0">
                  <a:pos x="14" y="0"/>
                </a:cxn>
                <a:cxn ang="0">
                  <a:pos x="12" y="0"/>
                </a:cxn>
                <a:cxn ang="0">
                  <a:pos x="8" y="0"/>
                </a:cxn>
                <a:cxn ang="0">
                  <a:pos x="12" y="4"/>
                </a:cxn>
                <a:cxn ang="0">
                  <a:pos x="6" y="13"/>
                </a:cxn>
                <a:cxn ang="0">
                  <a:pos x="0" y="24"/>
                </a:cxn>
                <a:cxn ang="0">
                  <a:pos x="6" y="26"/>
                </a:cxn>
                <a:cxn ang="0">
                  <a:pos x="6" y="26"/>
                </a:cxn>
                <a:cxn ang="0">
                  <a:pos x="6" y="26"/>
                </a:cxn>
                <a:cxn ang="0">
                  <a:pos x="6" y="26"/>
                </a:cxn>
              </a:cxnLst>
              <a:rect l="0" t="0" r="r" b="b"/>
              <a:pathLst>
                <a:path w="42" h="26">
                  <a:moveTo>
                    <a:pt x="6" y="26"/>
                  </a:moveTo>
                  <a:lnTo>
                    <a:pt x="8" y="26"/>
                  </a:lnTo>
                  <a:lnTo>
                    <a:pt x="8" y="26"/>
                  </a:lnTo>
                  <a:lnTo>
                    <a:pt x="14" y="26"/>
                  </a:lnTo>
                  <a:lnTo>
                    <a:pt x="14" y="26"/>
                  </a:lnTo>
                  <a:lnTo>
                    <a:pt x="42" y="26"/>
                  </a:lnTo>
                  <a:lnTo>
                    <a:pt x="42" y="0"/>
                  </a:lnTo>
                  <a:lnTo>
                    <a:pt x="17" y="0"/>
                  </a:lnTo>
                  <a:lnTo>
                    <a:pt x="17" y="0"/>
                  </a:lnTo>
                  <a:lnTo>
                    <a:pt x="14" y="0"/>
                  </a:lnTo>
                  <a:lnTo>
                    <a:pt x="12" y="0"/>
                  </a:lnTo>
                  <a:lnTo>
                    <a:pt x="8" y="0"/>
                  </a:lnTo>
                  <a:lnTo>
                    <a:pt x="12" y="4"/>
                  </a:lnTo>
                  <a:lnTo>
                    <a:pt x="6" y="13"/>
                  </a:lnTo>
                  <a:lnTo>
                    <a:pt x="0" y="24"/>
                  </a:lnTo>
                  <a:lnTo>
                    <a:pt x="6" y="26"/>
                  </a:lnTo>
                  <a:lnTo>
                    <a:pt x="6" y="26"/>
                  </a:lnTo>
                  <a:lnTo>
                    <a:pt x="6" y="26"/>
                  </a:lnTo>
                  <a:lnTo>
                    <a:pt x="6"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0" name="Freeform 133">
              <a:extLst>
                <a:ext uri="{FF2B5EF4-FFF2-40B4-BE49-F238E27FC236}">
                  <a16:creationId xmlns:a16="http://schemas.microsoft.com/office/drawing/2014/main" id="{D77B78FD-A36D-4A59-900D-D54CB7A5CEBD}"/>
                </a:ext>
              </a:extLst>
            </p:cNvPr>
            <p:cNvSpPr>
              <a:spLocks/>
            </p:cNvSpPr>
            <p:nvPr/>
          </p:nvSpPr>
          <p:spPr bwMode="auto">
            <a:xfrm>
              <a:off x="2948" y="3060"/>
              <a:ext cx="42" cy="26"/>
            </a:xfrm>
            <a:custGeom>
              <a:avLst/>
              <a:gdLst/>
              <a:ahLst/>
              <a:cxnLst>
                <a:cxn ang="0">
                  <a:pos x="6" y="26"/>
                </a:cxn>
                <a:cxn ang="0">
                  <a:pos x="8" y="26"/>
                </a:cxn>
                <a:cxn ang="0">
                  <a:pos x="8" y="26"/>
                </a:cxn>
                <a:cxn ang="0">
                  <a:pos x="14" y="26"/>
                </a:cxn>
                <a:cxn ang="0">
                  <a:pos x="14" y="26"/>
                </a:cxn>
                <a:cxn ang="0">
                  <a:pos x="42" y="26"/>
                </a:cxn>
                <a:cxn ang="0">
                  <a:pos x="42" y="0"/>
                </a:cxn>
                <a:cxn ang="0">
                  <a:pos x="17" y="0"/>
                </a:cxn>
                <a:cxn ang="0">
                  <a:pos x="17" y="0"/>
                </a:cxn>
                <a:cxn ang="0">
                  <a:pos x="14" y="0"/>
                </a:cxn>
                <a:cxn ang="0">
                  <a:pos x="12" y="0"/>
                </a:cxn>
                <a:cxn ang="0">
                  <a:pos x="8" y="0"/>
                </a:cxn>
                <a:cxn ang="0">
                  <a:pos x="12" y="4"/>
                </a:cxn>
                <a:cxn ang="0">
                  <a:pos x="6" y="13"/>
                </a:cxn>
                <a:cxn ang="0">
                  <a:pos x="0" y="24"/>
                </a:cxn>
                <a:cxn ang="0">
                  <a:pos x="6" y="26"/>
                </a:cxn>
                <a:cxn ang="0">
                  <a:pos x="6" y="26"/>
                </a:cxn>
                <a:cxn ang="0">
                  <a:pos x="6" y="26"/>
                </a:cxn>
                <a:cxn ang="0">
                  <a:pos x="6" y="26"/>
                </a:cxn>
              </a:cxnLst>
              <a:rect l="0" t="0" r="r" b="b"/>
              <a:pathLst>
                <a:path w="42" h="26">
                  <a:moveTo>
                    <a:pt x="6" y="26"/>
                  </a:moveTo>
                  <a:lnTo>
                    <a:pt x="8" y="26"/>
                  </a:lnTo>
                  <a:lnTo>
                    <a:pt x="8" y="26"/>
                  </a:lnTo>
                  <a:lnTo>
                    <a:pt x="14" y="26"/>
                  </a:lnTo>
                  <a:lnTo>
                    <a:pt x="14" y="26"/>
                  </a:lnTo>
                  <a:lnTo>
                    <a:pt x="42" y="26"/>
                  </a:lnTo>
                  <a:lnTo>
                    <a:pt x="42" y="0"/>
                  </a:lnTo>
                  <a:lnTo>
                    <a:pt x="17" y="0"/>
                  </a:lnTo>
                  <a:lnTo>
                    <a:pt x="17" y="0"/>
                  </a:lnTo>
                  <a:lnTo>
                    <a:pt x="14" y="0"/>
                  </a:lnTo>
                  <a:lnTo>
                    <a:pt x="12" y="0"/>
                  </a:lnTo>
                  <a:lnTo>
                    <a:pt x="8" y="0"/>
                  </a:lnTo>
                  <a:lnTo>
                    <a:pt x="12" y="4"/>
                  </a:lnTo>
                  <a:lnTo>
                    <a:pt x="6" y="13"/>
                  </a:lnTo>
                  <a:lnTo>
                    <a:pt x="0" y="24"/>
                  </a:lnTo>
                  <a:lnTo>
                    <a:pt x="6" y="26"/>
                  </a:lnTo>
                  <a:lnTo>
                    <a:pt x="6" y="26"/>
                  </a:lnTo>
                  <a:lnTo>
                    <a:pt x="6" y="26"/>
                  </a:lnTo>
                  <a:lnTo>
                    <a:pt x="6"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1" name="Freeform 134">
              <a:extLst>
                <a:ext uri="{FF2B5EF4-FFF2-40B4-BE49-F238E27FC236}">
                  <a16:creationId xmlns:a16="http://schemas.microsoft.com/office/drawing/2014/main" id="{91EB90AC-1D72-4F8B-AFCF-198E4136F1D6}"/>
                </a:ext>
              </a:extLst>
            </p:cNvPr>
            <p:cNvSpPr>
              <a:spLocks/>
            </p:cNvSpPr>
            <p:nvPr/>
          </p:nvSpPr>
          <p:spPr bwMode="auto">
            <a:xfrm>
              <a:off x="2980" y="3030"/>
              <a:ext cx="147" cy="167"/>
            </a:xfrm>
            <a:custGeom>
              <a:avLst/>
              <a:gdLst/>
              <a:ahLst/>
              <a:cxnLst>
                <a:cxn ang="0">
                  <a:pos x="4" y="139"/>
                </a:cxn>
                <a:cxn ang="0">
                  <a:pos x="12" y="137"/>
                </a:cxn>
                <a:cxn ang="0">
                  <a:pos x="19" y="137"/>
                </a:cxn>
                <a:cxn ang="0">
                  <a:pos x="14" y="124"/>
                </a:cxn>
                <a:cxn ang="0">
                  <a:pos x="8" y="122"/>
                </a:cxn>
                <a:cxn ang="0">
                  <a:pos x="12" y="118"/>
                </a:cxn>
                <a:cxn ang="0">
                  <a:pos x="19" y="116"/>
                </a:cxn>
                <a:cxn ang="0">
                  <a:pos x="29" y="113"/>
                </a:cxn>
                <a:cxn ang="0">
                  <a:pos x="32" y="105"/>
                </a:cxn>
                <a:cxn ang="0">
                  <a:pos x="44" y="116"/>
                </a:cxn>
                <a:cxn ang="0">
                  <a:pos x="51" y="115"/>
                </a:cxn>
                <a:cxn ang="0">
                  <a:pos x="59" y="118"/>
                </a:cxn>
                <a:cxn ang="0">
                  <a:pos x="63" y="98"/>
                </a:cxn>
                <a:cxn ang="0">
                  <a:pos x="63" y="84"/>
                </a:cxn>
                <a:cxn ang="0">
                  <a:pos x="59" y="79"/>
                </a:cxn>
                <a:cxn ang="0">
                  <a:pos x="53" y="75"/>
                </a:cxn>
                <a:cxn ang="0">
                  <a:pos x="57" y="71"/>
                </a:cxn>
                <a:cxn ang="0">
                  <a:pos x="57" y="67"/>
                </a:cxn>
                <a:cxn ang="0">
                  <a:pos x="64" y="62"/>
                </a:cxn>
                <a:cxn ang="0">
                  <a:pos x="64" y="52"/>
                </a:cxn>
                <a:cxn ang="0">
                  <a:pos x="57" y="47"/>
                </a:cxn>
                <a:cxn ang="0">
                  <a:pos x="46" y="49"/>
                </a:cxn>
                <a:cxn ang="0">
                  <a:pos x="40" y="47"/>
                </a:cxn>
                <a:cxn ang="0">
                  <a:pos x="38" y="35"/>
                </a:cxn>
                <a:cxn ang="0">
                  <a:pos x="68" y="34"/>
                </a:cxn>
                <a:cxn ang="0">
                  <a:pos x="70" y="34"/>
                </a:cxn>
                <a:cxn ang="0">
                  <a:pos x="78" y="35"/>
                </a:cxn>
                <a:cxn ang="0">
                  <a:pos x="79" y="35"/>
                </a:cxn>
                <a:cxn ang="0">
                  <a:pos x="89" y="35"/>
                </a:cxn>
                <a:cxn ang="0">
                  <a:pos x="93" y="37"/>
                </a:cxn>
                <a:cxn ang="0">
                  <a:pos x="96" y="35"/>
                </a:cxn>
                <a:cxn ang="0">
                  <a:pos x="98" y="28"/>
                </a:cxn>
                <a:cxn ang="0">
                  <a:pos x="113" y="7"/>
                </a:cxn>
                <a:cxn ang="0">
                  <a:pos x="125" y="0"/>
                </a:cxn>
                <a:cxn ang="0">
                  <a:pos x="134" y="0"/>
                </a:cxn>
                <a:cxn ang="0">
                  <a:pos x="142" y="3"/>
                </a:cxn>
                <a:cxn ang="0">
                  <a:pos x="145" y="3"/>
                </a:cxn>
                <a:cxn ang="0">
                  <a:pos x="143" y="17"/>
                </a:cxn>
                <a:cxn ang="0">
                  <a:pos x="136" y="35"/>
                </a:cxn>
                <a:cxn ang="0">
                  <a:pos x="130" y="49"/>
                </a:cxn>
                <a:cxn ang="0">
                  <a:pos x="130" y="60"/>
                </a:cxn>
                <a:cxn ang="0">
                  <a:pos x="128" y="69"/>
                </a:cxn>
                <a:cxn ang="0">
                  <a:pos x="119" y="92"/>
                </a:cxn>
                <a:cxn ang="0">
                  <a:pos x="110" y="94"/>
                </a:cxn>
                <a:cxn ang="0">
                  <a:pos x="104" y="105"/>
                </a:cxn>
                <a:cxn ang="0">
                  <a:pos x="96" y="122"/>
                </a:cxn>
                <a:cxn ang="0">
                  <a:pos x="95" y="137"/>
                </a:cxn>
                <a:cxn ang="0">
                  <a:pos x="89" y="147"/>
                </a:cxn>
                <a:cxn ang="0">
                  <a:pos x="78" y="160"/>
                </a:cxn>
                <a:cxn ang="0">
                  <a:pos x="64" y="164"/>
                </a:cxn>
                <a:cxn ang="0">
                  <a:pos x="64" y="154"/>
                </a:cxn>
                <a:cxn ang="0">
                  <a:pos x="55" y="158"/>
                </a:cxn>
                <a:cxn ang="0">
                  <a:pos x="49" y="162"/>
                </a:cxn>
                <a:cxn ang="0">
                  <a:pos x="44" y="164"/>
                </a:cxn>
                <a:cxn ang="0">
                  <a:pos x="38" y="162"/>
                </a:cxn>
                <a:cxn ang="0">
                  <a:pos x="38" y="154"/>
                </a:cxn>
                <a:cxn ang="0">
                  <a:pos x="29" y="158"/>
                </a:cxn>
                <a:cxn ang="0">
                  <a:pos x="23" y="164"/>
                </a:cxn>
                <a:cxn ang="0">
                  <a:pos x="17" y="167"/>
                </a:cxn>
                <a:cxn ang="0">
                  <a:pos x="12" y="160"/>
                </a:cxn>
                <a:cxn ang="0">
                  <a:pos x="6" y="150"/>
                </a:cxn>
                <a:cxn ang="0">
                  <a:pos x="0" y="147"/>
                </a:cxn>
              </a:cxnLst>
              <a:rect l="0" t="0" r="r" b="b"/>
              <a:pathLst>
                <a:path w="147" h="167">
                  <a:moveTo>
                    <a:pt x="0" y="147"/>
                  </a:moveTo>
                  <a:lnTo>
                    <a:pt x="4" y="143"/>
                  </a:lnTo>
                  <a:lnTo>
                    <a:pt x="4" y="139"/>
                  </a:lnTo>
                  <a:lnTo>
                    <a:pt x="6" y="139"/>
                  </a:lnTo>
                  <a:lnTo>
                    <a:pt x="10" y="139"/>
                  </a:lnTo>
                  <a:lnTo>
                    <a:pt x="12" y="137"/>
                  </a:lnTo>
                  <a:lnTo>
                    <a:pt x="14" y="137"/>
                  </a:lnTo>
                  <a:lnTo>
                    <a:pt x="17" y="141"/>
                  </a:lnTo>
                  <a:lnTo>
                    <a:pt x="19" y="137"/>
                  </a:lnTo>
                  <a:lnTo>
                    <a:pt x="17" y="128"/>
                  </a:lnTo>
                  <a:lnTo>
                    <a:pt x="15" y="124"/>
                  </a:lnTo>
                  <a:lnTo>
                    <a:pt x="14" y="124"/>
                  </a:lnTo>
                  <a:lnTo>
                    <a:pt x="10" y="124"/>
                  </a:lnTo>
                  <a:lnTo>
                    <a:pt x="6" y="128"/>
                  </a:lnTo>
                  <a:lnTo>
                    <a:pt x="8" y="122"/>
                  </a:lnTo>
                  <a:lnTo>
                    <a:pt x="6" y="118"/>
                  </a:lnTo>
                  <a:lnTo>
                    <a:pt x="8" y="118"/>
                  </a:lnTo>
                  <a:lnTo>
                    <a:pt x="12" y="118"/>
                  </a:lnTo>
                  <a:lnTo>
                    <a:pt x="15" y="118"/>
                  </a:lnTo>
                  <a:lnTo>
                    <a:pt x="17" y="118"/>
                  </a:lnTo>
                  <a:lnTo>
                    <a:pt x="19" y="116"/>
                  </a:lnTo>
                  <a:lnTo>
                    <a:pt x="19" y="116"/>
                  </a:lnTo>
                  <a:lnTo>
                    <a:pt x="29" y="116"/>
                  </a:lnTo>
                  <a:lnTo>
                    <a:pt x="29" y="113"/>
                  </a:lnTo>
                  <a:lnTo>
                    <a:pt x="29" y="107"/>
                  </a:lnTo>
                  <a:lnTo>
                    <a:pt x="29" y="105"/>
                  </a:lnTo>
                  <a:lnTo>
                    <a:pt x="32" y="105"/>
                  </a:lnTo>
                  <a:lnTo>
                    <a:pt x="38" y="115"/>
                  </a:lnTo>
                  <a:lnTo>
                    <a:pt x="38" y="116"/>
                  </a:lnTo>
                  <a:lnTo>
                    <a:pt x="44" y="116"/>
                  </a:lnTo>
                  <a:lnTo>
                    <a:pt x="46" y="116"/>
                  </a:lnTo>
                  <a:lnTo>
                    <a:pt x="47" y="115"/>
                  </a:lnTo>
                  <a:lnTo>
                    <a:pt x="51" y="115"/>
                  </a:lnTo>
                  <a:lnTo>
                    <a:pt x="55" y="116"/>
                  </a:lnTo>
                  <a:lnTo>
                    <a:pt x="57" y="118"/>
                  </a:lnTo>
                  <a:lnTo>
                    <a:pt x="59" y="118"/>
                  </a:lnTo>
                  <a:lnTo>
                    <a:pt x="59" y="115"/>
                  </a:lnTo>
                  <a:lnTo>
                    <a:pt x="59" y="113"/>
                  </a:lnTo>
                  <a:lnTo>
                    <a:pt x="63" y="98"/>
                  </a:lnTo>
                  <a:lnTo>
                    <a:pt x="64" y="92"/>
                  </a:lnTo>
                  <a:lnTo>
                    <a:pt x="64" y="88"/>
                  </a:lnTo>
                  <a:lnTo>
                    <a:pt x="63" y="84"/>
                  </a:lnTo>
                  <a:lnTo>
                    <a:pt x="63" y="83"/>
                  </a:lnTo>
                  <a:lnTo>
                    <a:pt x="59" y="79"/>
                  </a:lnTo>
                  <a:lnTo>
                    <a:pt x="59" y="79"/>
                  </a:lnTo>
                  <a:lnTo>
                    <a:pt x="57" y="77"/>
                  </a:lnTo>
                  <a:lnTo>
                    <a:pt x="55" y="77"/>
                  </a:lnTo>
                  <a:lnTo>
                    <a:pt x="53" y="75"/>
                  </a:lnTo>
                  <a:lnTo>
                    <a:pt x="53" y="73"/>
                  </a:lnTo>
                  <a:lnTo>
                    <a:pt x="57" y="71"/>
                  </a:lnTo>
                  <a:lnTo>
                    <a:pt x="57" y="71"/>
                  </a:lnTo>
                  <a:lnTo>
                    <a:pt x="59" y="71"/>
                  </a:lnTo>
                  <a:lnTo>
                    <a:pt x="57" y="67"/>
                  </a:lnTo>
                  <a:lnTo>
                    <a:pt x="57" y="67"/>
                  </a:lnTo>
                  <a:lnTo>
                    <a:pt x="57" y="64"/>
                  </a:lnTo>
                  <a:lnTo>
                    <a:pt x="61" y="62"/>
                  </a:lnTo>
                  <a:lnTo>
                    <a:pt x="64" y="62"/>
                  </a:lnTo>
                  <a:lnTo>
                    <a:pt x="64" y="58"/>
                  </a:lnTo>
                  <a:lnTo>
                    <a:pt x="64" y="56"/>
                  </a:lnTo>
                  <a:lnTo>
                    <a:pt x="64" y="52"/>
                  </a:lnTo>
                  <a:lnTo>
                    <a:pt x="64" y="49"/>
                  </a:lnTo>
                  <a:lnTo>
                    <a:pt x="63" y="47"/>
                  </a:lnTo>
                  <a:lnTo>
                    <a:pt x="57" y="47"/>
                  </a:lnTo>
                  <a:lnTo>
                    <a:pt x="53" y="49"/>
                  </a:lnTo>
                  <a:lnTo>
                    <a:pt x="47" y="49"/>
                  </a:lnTo>
                  <a:lnTo>
                    <a:pt x="46" y="49"/>
                  </a:lnTo>
                  <a:lnTo>
                    <a:pt x="42" y="49"/>
                  </a:lnTo>
                  <a:lnTo>
                    <a:pt x="40" y="49"/>
                  </a:lnTo>
                  <a:lnTo>
                    <a:pt x="40" y="47"/>
                  </a:lnTo>
                  <a:lnTo>
                    <a:pt x="40" y="43"/>
                  </a:lnTo>
                  <a:lnTo>
                    <a:pt x="40" y="39"/>
                  </a:lnTo>
                  <a:lnTo>
                    <a:pt x="38" y="35"/>
                  </a:lnTo>
                  <a:lnTo>
                    <a:pt x="40" y="32"/>
                  </a:lnTo>
                  <a:lnTo>
                    <a:pt x="64" y="32"/>
                  </a:lnTo>
                  <a:lnTo>
                    <a:pt x="68" y="34"/>
                  </a:lnTo>
                  <a:lnTo>
                    <a:pt x="68" y="32"/>
                  </a:lnTo>
                  <a:lnTo>
                    <a:pt x="70" y="32"/>
                  </a:lnTo>
                  <a:lnTo>
                    <a:pt x="70" y="34"/>
                  </a:lnTo>
                  <a:lnTo>
                    <a:pt x="74" y="34"/>
                  </a:lnTo>
                  <a:lnTo>
                    <a:pt x="74" y="34"/>
                  </a:lnTo>
                  <a:lnTo>
                    <a:pt x="78" y="35"/>
                  </a:lnTo>
                  <a:lnTo>
                    <a:pt x="79" y="35"/>
                  </a:lnTo>
                  <a:lnTo>
                    <a:pt x="79" y="34"/>
                  </a:lnTo>
                  <a:lnTo>
                    <a:pt x="79" y="35"/>
                  </a:lnTo>
                  <a:lnTo>
                    <a:pt x="83" y="37"/>
                  </a:lnTo>
                  <a:lnTo>
                    <a:pt x="85" y="35"/>
                  </a:lnTo>
                  <a:lnTo>
                    <a:pt x="89" y="35"/>
                  </a:lnTo>
                  <a:lnTo>
                    <a:pt x="91" y="37"/>
                  </a:lnTo>
                  <a:lnTo>
                    <a:pt x="93" y="37"/>
                  </a:lnTo>
                  <a:lnTo>
                    <a:pt x="93" y="37"/>
                  </a:lnTo>
                  <a:lnTo>
                    <a:pt x="95" y="37"/>
                  </a:lnTo>
                  <a:lnTo>
                    <a:pt x="96" y="37"/>
                  </a:lnTo>
                  <a:lnTo>
                    <a:pt x="96" y="35"/>
                  </a:lnTo>
                  <a:lnTo>
                    <a:pt x="95" y="34"/>
                  </a:lnTo>
                  <a:lnTo>
                    <a:pt x="96" y="32"/>
                  </a:lnTo>
                  <a:lnTo>
                    <a:pt x="98" y="28"/>
                  </a:lnTo>
                  <a:lnTo>
                    <a:pt x="98" y="26"/>
                  </a:lnTo>
                  <a:lnTo>
                    <a:pt x="108" y="9"/>
                  </a:lnTo>
                  <a:lnTo>
                    <a:pt x="113" y="7"/>
                  </a:lnTo>
                  <a:lnTo>
                    <a:pt x="115" y="3"/>
                  </a:lnTo>
                  <a:lnTo>
                    <a:pt x="119" y="3"/>
                  </a:lnTo>
                  <a:lnTo>
                    <a:pt x="125" y="0"/>
                  </a:lnTo>
                  <a:lnTo>
                    <a:pt x="128" y="2"/>
                  </a:lnTo>
                  <a:lnTo>
                    <a:pt x="130" y="0"/>
                  </a:lnTo>
                  <a:lnTo>
                    <a:pt x="134" y="0"/>
                  </a:lnTo>
                  <a:lnTo>
                    <a:pt x="136" y="0"/>
                  </a:lnTo>
                  <a:lnTo>
                    <a:pt x="138" y="2"/>
                  </a:lnTo>
                  <a:lnTo>
                    <a:pt x="142" y="3"/>
                  </a:lnTo>
                  <a:lnTo>
                    <a:pt x="143" y="2"/>
                  </a:lnTo>
                  <a:lnTo>
                    <a:pt x="145" y="2"/>
                  </a:lnTo>
                  <a:lnTo>
                    <a:pt x="145" y="3"/>
                  </a:lnTo>
                  <a:lnTo>
                    <a:pt x="147" y="7"/>
                  </a:lnTo>
                  <a:lnTo>
                    <a:pt x="147" y="13"/>
                  </a:lnTo>
                  <a:lnTo>
                    <a:pt x="143" y="17"/>
                  </a:lnTo>
                  <a:lnTo>
                    <a:pt x="142" y="18"/>
                  </a:lnTo>
                  <a:lnTo>
                    <a:pt x="134" y="30"/>
                  </a:lnTo>
                  <a:lnTo>
                    <a:pt x="136" y="35"/>
                  </a:lnTo>
                  <a:lnTo>
                    <a:pt x="134" y="41"/>
                  </a:lnTo>
                  <a:lnTo>
                    <a:pt x="134" y="43"/>
                  </a:lnTo>
                  <a:lnTo>
                    <a:pt x="130" y="49"/>
                  </a:lnTo>
                  <a:lnTo>
                    <a:pt x="130" y="52"/>
                  </a:lnTo>
                  <a:lnTo>
                    <a:pt x="130" y="54"/>
                  </a:lnTo>
                  <a:lnTo>
                    <a:pt x="130" y="60"/>
                  </a:lnTo>
                  <a:lnTo>
                    <a:pt x="130" y="62"/>
                  </a:lnTo>
                  <a:lnTo>
                    <a:pt x="130" y="67"/>
                  </a:lnTo>
                  <a:lnTo>
                    <a:pt x="128" y="69"/>
                  </a:lnTo>
                  <a:lnTo>
                    <a:pt x="128" y="75"/>
                  </a:lnTo>
                  <a:lnTo>
                    <a:pt x="128" y="83"/>
                  </a:lnTo>
                  <a:lnTo>
                    <a:pt x="119" y="92"/>
                  </a:lnTo>
                  <a:lnTo>
                    <a:pt x="115" y="92"/>
                  </a:lnTo>
                  <a:lnTo>
                    <a:pt x="113" y="94"/>
                  </a:lnTo>
                  <a:lnTo>
                    <a:pt x="110" y="94"/>
                  </a:lnTo>
                  <a:lnTo>
                    <a:pt x="108" y="98"/>
                  </a:lnTo>
                  <a:lnTo>
                    <a:pt x="104" y="101"/>
                  </a:lnTo>
                  <a:lnTo>
                    <a:pt x="104" y="105"/>
                  </a:lnTo>
                  <a:lnTo>
                    <a:pt x="96" y="111"/>
                  </a:lnTo>
                  <a:lnTo>
                    <a:pt x="95" y="116"/>
                  </a:lnTo>
                  <a:lnTo>
                    <a:pt x="96" y="122"/>
                  </a:lnTo>
                  <a:lnTo>
                    <a:pt x="96" y="122"/>
                  </a:lnTo>
                  <a:lnTo>
                    <a:pt x="96" y="132"/>
                  </a:lnTo>
                  <a:lnTo>
                    <a:pt x="95" y="137"/>
                  </a:lnTo>
                  <a:lnTo>
                    <a:pt x="95" y="141"/>
                  </a:lnTo>
                  <a:lnTo>
                    <a:pt x="93" y="147"/>
                  </a:lnTo>
                  <a:lnTo>
                    <a:pt x="89" y="147"/>
                  </a:lnTo>
                  <a:lnTo>
                    <a:pt x="85" y="148"/>
                  </a:lnTo>
                  <a:lnTo>
                    <a:pt x="83" y="152"/>
                  </a:lnTo>
                  <a:lnTo>
                    <a:pt x="78" y="160"/>
                  </a:lnTo>
                  <a:lnTo>
                    <a:pt x="74" y="164"/>
                  </a:lnTo>
                  <a:lnTo>
                    <a:pt x="70" y="164"/>
                  </a:lnTo>
                  <a:lnTo>
                    <a:pt x="64" y="164"/>
                  </a:lnTo>
                  <a:lnTo>
                    <a:pt x="64" y="160"/>
                  </a:lnTo>
                  <a:lnTo>
                    <a:pt x="63" y="160"/>
                  </a:lnTo>
                  <a:lnTo>
                    <a:pt x="64" y="154"/>
                  </a:lnTo>
                  <a:lnTo>
                    <a:pt x="64" y="152"/>
                  </a:lnTo>
                  <a:lnTo>
                    <a:pt x="61" y="154"/>
                  </a:lnTo>
                  <a:lnTo>
                    <a:pt x="55" y="158"/>
                  </a:lnTo>
                  <a:lnTo>
                    <a:pt x="53" y="158"/>
                  </a:lnTo>
                  <a:lnTo>
                    <a:pt x="51" y="158"/>
                  </a:lnTo>
                  <a:lnTo>
                    <a:pt x="49" y="162"/>
                  </a:lnTo>
                  <a:lnTo>
                    <a:pt x="47" y="164"/>
                  </a:lnTo>
                  <a:lnTo>
                    <a:pt x="44" y="164"/>
                  </a:lnTo>
                  <a:lnTo>
                    <a:pt x="44" y="164"/>
                  </a:lnTo>
                  <a:lnTo>
                    <a:pt x="44" y="162"/>
                  </a:lnTo>
                  <a:lnTo>
                    <a:pt x="40" y="162"/>
                  </a:lnTo>
                  <a:lnTo>
                    <a:pt x="38" y="162"/>
                  </a:lnTo>
                  <a:lnTo>
                    <a:pt x="38" y="164"/>
                  </a:lnTo>
                  <a:lnTo>
                    <a:pt x="38" y="160"/>
                  </a:lnTo>
                  <a:lnTo>
                    <a:pt x="38" y="154"/>
                  </a:lnTo>
                  <a:lnTo>
                    <a:pt x="32" y="154"/>
                  </a:lnTo>
                  <a:lnTo>
                    <a:pt x="32" y="154"/>
                  </a:lnTo>
                  <a:lnTo>
                    <a:pt x="29" y="158"/>
                  </a:lnTo>
                  <a:lnTo>
                    <a:pt x="25" y="158"/>
                  </a:lnTo>
                  <a:lnTo>
                    <a:pt x="25" y="162"/>
                  </a:lnTo>
                  <a:lnTo>
                    <a:pt x="23" y="164"/>
                  </a:lnTo>
                  <a:lnTo>
                    <a:pt x="19" y="164"/>
                  </a:lnTo>
                  <a:lnTo>
                    <a:pt x="19" y="167"/>
                  </a:lnTo>
                  <a:lnTo>
                    <a:pt x="17" y="167"/>
                  </a:lnTo>
                  <a:lnTo>
                    <a:pt x="15" y="167"/>
                  </a:lnTo>
                  <a:lnTo>
                    <a:pt x="15" y="164"/>
                  </a:lnTo>
                  <a:lnTo>
                    <a:pt x="12" y="160"/>
                  </a:lnTo>
                  <a:lnTo>
                    <a:pt x="12" y="154"/>
                  </a:lnTo>
                  <a:lnTo>
                    <a:pt x="6" y="152"/>
                  </a:lnTo>
                  <a:lnTo>
                    <a:pt x="6" y="150"/>
                  </a:lnTo>
                  <a:lnTo>
                    <a:pt x="0" y="147"/>
                  </a:lnTo>
                  <a:lnTo>
                    <a:pt x="0" y="147"/>
                  </a:lnTo>
                  <a:lnTo>
                    <a:pt x="0" y="1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2" name="Freeform 135">
              <a:extLst>
                <a:ext uri="{FF2B5EF4-FFF2-40B4-BE49-F238E27FC236}">
                  <a16:creationId xmlns:a16="http://schemas.microsoft.com/office/drawing/2014/main" id="{BFD49C39-BAE7-4FE9-BC6A-082D53CCCF5B}"/>
                </a:ext>
              </a:extLst>
            </p:cNvPr>
            <p:cNvSpPr>
              <a:spLocks/>
            </p:cNvSpPr>
            <p:nvPr/>
          </p:nvSpPr>
          <p:spPr bwMode="auto">
            <a:xfrm>
              <a:off x="2980" y="3030"/>
              <a:ext cx="147" cy="167"/>
            </a:xfrm>
            <a:custGeom>
              <a:avLst/>
              <a:gdLst/>
              <a:ahLst/>
              <a:cxnLst>
                <a:cxn ang="0">
                  <a:pos x="4" y="139"/>
                </a:cxn>
                <a:cxn ang="0">
                  <a:pos x="12" y="137"/>
                </a:cxn>
                <a:cxn ang="0">
                  <a:pos x="19" y="137"/>
                </a:cxn>
                <a:cxn ang="0">
                  <a:pos x="14" y="124"/>
                </a:cxn>
                <a:cxn ang="0">
                  <a:pos x="8" y="122"/>
                </a:cxn>
                <a:cxn ang="0">
                  <a:pos x="12" y="118"/>
                </a:cxn>
                <a:cxn ang="0">
                  <a:pos x="19" y="116"/>
                </a:cxn>
                <a:cxn ang="0">
                  <a:pos x="29" y="113"/>
                </a:cxn>
                <a:cxn ang="0">
                  <a:pos x="32" y="105"/>
                </a:cxn>
                <a:cxn ang="0">
                  <a:pos x="44" y="116"/>
                </a:cxn>
                <a:cxn ang="0">
                  <a:pos x="51" y="115"/>
                </a:cxn>
                <a:cxn ang="0">
                  <a:pos x="59" y="118"/>
                </a:cxn>
                <a:cxn ang="0">
                  <a:pos x="63" y="98"/>
                </a:cxn>
                <a:cxn ang="0">
                  <a:pos x="63" y="84"/>
                </a:cxn>
                <a:cxn ang="0">
                  <a:pos x="59" y="79"/>
                </a:cxn>
                <a:cxn ang="0">
                  <a:pos x="53" y="75"/>
                </a:cxn>
                <a:cxn ang="0">
                  <a:pos x="57" y="71"/>
                </a:cxn>
                <a:cxn ang="0">
                  <a:pos x="57" y="67"/>
                </a:cxn>
                <a:cxn ang="0">
                  <a:pos x="64" y="62"/>
                </a:cxn>
                <a:cxn ang="0">
                  <a:pos x="64" y="52"/>
                </a:cxn>
                <a:cxn ang="0">
                  <a:pos x="57" y="47"/>
                </a:cxn>
                <a:cxn ang="0">
                  <a:pos x="46" y="49"/>
                </a:cxn>
                <a:cxn ang="0">
                  <a:pos x="40" y="47"/>
                </a:cxn>
                <a:cxn ang="0">
                  <a:pos x="38" y="35"/>
                </a:cxn>
                <a:cxn ang="0">
                  <a:pos x="68" y="34"/>
                </a:cxn>
                <a:cxn ang="0">
                  <a:pos x="70" y="34"/>
                </a:cxn>
                <a:cxn ang="0">
                  <a:pos x="78" y="35"/>
                </a:cxn>
                <a:cxn ang="0">
                  <a:pos x="79" y="35"/>
                </a:cxn>
                <a:cxn ang="0">
                  <a:pos x="89" y="35"/>
                </a:cxn>
                <a:cxn ang="0">
                  <a:pos x="93" y="37"/>
                </a:cxn>
                <a:cxn ang="0">
                  <a:pos x="96" y="35"/>
                </a:cxn>
                <a:cxn ang="0">
                  <a:pos x="98" y="28"/>
                </a:cxn>
                <a:cxn ang="0">
                  <a:pos x="113" y="7"/>
                </a:cxn>
                <a:cxn ang="0">
                  <a:pos x="125" y="0"/>
                </a:cxn>
                <a:cxn ang="0">
                  <a:pos x="134" y="0"/>
                </a:cxn>
                <a:cxn ang="0">
                  <a:pos x="142" y="3"/>
                </a:cxn>
                <a:cxn ang="0">
                  <a:pos x="145" y="3"/>
                </a:cxn>
                <a:cxn ang="0">
                  <a:pos x="143" y="17"/>
                </a:cxn>
                <a:cxn ang="0">
                  <a:pos x="136" y="35"/>
                </a:cxn>
                <a:cxn ang="0">
                  <a:pos x="130" y="49"/>
                </a:cxn>
                <a:cxn ang="0">
                  <a:pos x="130" y="60"/>
                </a:cxn>
                <a:cxn ang="0">
                  <a:pos x="128" y="69"/>
                </a:cxn>
                <a:cxn ang="0">
                  <a:pos x="119" y="92"/>
                </a:cxn>
                <a:cxn ang="0">
                  <a:pos x="110" y="94"/>
                </a:cxn>
                <a:cxn ang="0">
                  <a:pos x="104" y="105"/>
                </a:cxn>
                <a:cxn ang="0">
                  <a:pos x="96" y="122"/>
                </a:cxn>
                <a:cxn ang="0">
                  <a:pos x="95" y="137"/>
                </a:cxn>
                <a:cxn ang="0">
                  <a:pos x="89" y="147"/>
                </a:cxn>
                <a:cxn ang="0">
                  <a:pos x="78" y="160"/>
                </a:cxn>
                <a:cxn ang="0">
                  <a:pos x="64" y="164"/>
                </a:cxn>
                <a:cxn ang="0">
                  <a:pos x="64" y="154"/>
                </a:cxn>
                <a:cxn ang="0">
                  <a:pos x="55" y="158"/>
                </a:cxn>
                <a:cxn ang="0">
                  <a:pos x="49" y="162"/>
                </a:cxn>
                <a:cxn ang="0">
                  <a:pos x="44" y="164"/>
                </a:cxn>
                <a:cxn ang="0">
                  <a:pos x="38" y="162"/>
                </a:cxn>
                <a:cxn ang="0">
                  <a:pos x="38" y="154"/>
                </a:cxn>
                <a:cxn ang="0">
                  <a:pos x="29" y="158"/>
                </a:cxn>
                <a:cxn ang="0">
                  <a:pos x="23" y="164"/>
                </a:cxn>
                <a:cxn ang="0">
                  <a:pos x="17" y="167"/>
                </a:cxn>
                <a:cxn ang="0">
                  <a:pos x="12" y="160"/>
                </a:cxn>
                <a:cxn ang="0">
                  <a:pos x="6" y="150"/>
                </a:cxn>
                <a:cxn ang="0">
                  <a:pos x="0" y="147"/>
                </a:cxn>
              </a:cxnLst>
              <a:rect l="0" t="0" r="r" b="b"/>
              <a:pathLst>
                <a:path w="147" h="167">
                  <a:moveTo>
                    <a:pt x="0" y="147"/>
                  </a:moveTo>
                  <a:lnTo>
                    <a:pt x="4" y="143"/>
                  </a:lnTo>
                  <a:lnTo>
                    <a:pt x="4" y="139"/>
                  </a:lnTo>
                  <a:lnTo>
                    <a:pt x="6" y="139"/>
                  </a:lnTo>
                  <a:lnTo>
                    <a:pt x="10" y="139"/>
                  </a:lnTo>
                  <a:lnTo>
                    <a:pt x="12" y="137"/>
                  </a:lnTo>
                  <a:lnTo>
                    <a:pt x="14" y="137"/>
                  </a:lnTo>
                  <a:lnTo>
                    <a:pt x="17" y="141"/>
                  </a:lnTo>
                  <a:lnTo>
                    <a:pt x="19" y="137"/>
                  </a:lnTo>
                  <a:lnTo>
                    <a:pt x="17" y="128"/>
                  </a:lnTo>
                  <a:lnTo>
                    <a:pt x="15" y="124"/>
                  </a:lnTo>
                  <a:lnTo>
                    <a:pt x="14" y="124"/>
                  </a:lnTo>
                  <a:lnTo>
                    <a:pt x="10" y="124"/>
                  </a:lnTo>
                  <a:lnTo>
                    <a:pt x="6" y="128"/>
                  </a:lnTo>
                  <a:lnTo>
                    <a:pt x="8" y="122"/>
                  </a:lnTo>
                  <a:lnTo>
                    <a:pt x="6" y="118"/>
                  </a:lnTo>
                  <a:lnTo>
                    <a:pt x="8" y="118"/>
                  </a:lnTo>
                  <a:lnTo>
                    <a:pt x="12" y="118"/>
                  </a:lnTo>
                  <a:lnTo>
                    <a:pt x="15" y="118"/>
                  </a:lnTo>
                  <a:lnTo>
                    <a:pt x="17" y="118"/>
                  </a:lnTo>
                  <a:lnTo>
                    <a:pt x="19" y="116"/>
                  </a:lnTo>
                  <a:lnTo>
                    <a:pt x="19" y="116"/>
                  </a:lnTo>
                  <a:lnTo>
                    <a:pt x="29" y="116"/>
                  </a:lnTo>
                  <a:lnTo>
                    <a:pt x="29" y="113"/>
                  </a:lnTo>
                  <a:lnTo>
                    <a:pt x="29" y="107"/>
                  </a:lnTo>
                  <a:lnTo>
                    <a:pt x="29" y="105"/>
                  </a:lnTo>
                  <a:lnTo>
                    <a:pt x="32" y="105"/>
                  </a:lnTo>
                  <a:lnTo>
                    <a:pt x="38" y="115"/>
                  </a:lnTo>
                  <a:lnTo>
                    <a:pt x="38" y="116"/>
                  </a:lnTo>
                  <a:lnTo>
                    <a:pt x="44" y="116"/>
                  </a:lnTo>
                  <a:lnTo>
                    <a:pt x="46" y="116"/>
                  </a:lnTo>
                  <a:lnTo>
                    <a:pt x="47" y="115"/>
                  </a:lnTo>
                  <a:lnTo>
                    <a:pt x="51" y="115"/>
                  </a:lnTo>
                  <a:lnTo>
                    <a:pt x="55" y="116"/>
                  </a:lnTo>
                  <a:lnTo>
                    <a:pt x="57" y="118"/>
                  </a:lnTo>
                  <a:lnTo>
                    <a:pt x="59" y="118"/>
                  </a:lnTo>
                  <a:lnTo>
                    <a:pt x="59" y="115"/>
                  </a:lnTo>
                  <a:lnTo>
                    <a:pt x="59" y="113"/>
                  </a:lnTo>
                  <a:lnTo>
                    <a:pt x="63" y="98"/>
                  </a:lnTo>
                  <a:lnTo>
                    <a:pt x="64" y="92"/>
                  </a:lnTo>
                  <a:lnTo>
                    <a:pt x="64" y="88"/>
                  </a:lnTo>
                  <a:lnTo>
                    <a:pt x="63" y="84"/>
                  </a:lnTo>
                  <a:lnTo>
                    <a:pt x="63" y="83"/>
                  </a:lnTo>
                  <a:lnTo>
                    <a:pt x="59" y="79"/>
                  </a:lnTo>
                  <a:lnTo>
                    <a:pt x="59" y="79"/>
                  </a:lnTo>
                  <a:lnTo>
                    <a:pt x="57" y="77"/>
                  </a:lnTo>
                  <a:lnTo>
                    <a:pt x="55" y="77"/>
                  </a:lnTo>
                  <a:lnTo>
                    <a:pt x="53" y="75"/>
                  </a:lnTo>
                  <a:lnTo>
                    <a:pt x="53" y="73"/>
                  </a:lnTo>
                  <a:lnTo>
                    <a:pt x="57" y="71"/>
                  </a:lnTo>
                  <a:lnTo>
                    <a:pt x="57" y="71"/>
                  </a:lnTo>
                  <a:lnTo>
                    <a:pt x="59" y="71"/>
                  </a:lnTo>
                  <a:lnTo>
                    <a:pt x="57" y="67"/>
                  </a:lnTo>
                  <a:lnTo>
                    <a:pt x="57" y="67"/>
                  </a:lnTo>
                  <a:lnTo>
                    <a:pt x="57" y="64"/>
                  </a:lnTo>
                  <a:lnTo>
                    <a:pt x="61" y="62"/>
                  </a:lnTo>
                  <a:lnTo>
                    <a:pt x="64" y="62"/>
                  </a:lnTo>
                  <a:lnTo>
                    <a:pt x="64" y="58"/>
                  </a:lnTo>
                  <a:lnTo>
                    <a:pt x="64" y="56"/>
                  </a:lnTo>
                  <a:lnTo>
                    <a:pt x="64" y="52"/>
                  </a:lnTo>
                  <a:lnTo>
                    <a:pt x="64" y="49"/>
                  </a:lnTo>
                  <a:lnTo>
                    <a:pt x="63" y="47"/>
                  </a:lnTo>
                  <a:lnTo>
                    <a:pt x="57" y="47"/>
                  </a:lnTo>
                  <a:lnTo>
                    <a:pt x="53" y="49"/>
                  </a:lnTo>
                  <a:lnTo>
                    <a:pt x="47" y="49"/>
                  </a:lnTo>
                  <a:lnTo>
                    <a:pt x="46" y="49"/>
                  </a:lnTo>
                  <a:lnTo>
                    <a:pt x="42" y="49"/>
                  </a:lnTo>
                  <a:lnTo>
                    <a:pt x="40" y="49"/>
                  </a:lnTo>
                  <a:lnTo>
                    <a:pt x="40" y="47"/>
                  </a:lnTo>
                  <a:lnTo>
                    <a:pt x="40" y="43"/>
                  </a:lnTo>
                  <a:lnTo>
                    <a:pt x="40" y="39"/>
                  </a:lnTo>
                  <a:lnTo>
                    <a:pt x="38" y="35"/>
                  </a:lnTo>
                  <a:lnTo>
                    <a:pt x="40" y="32"/>
                  </a:lnTo>
                  <a:lnTo>
                    <a:pt x="64" y="32"/>
                  </a:lnTo>
                  <a:lnTo>
                    <a:pt x="68" y="34"/>
                  </a:lnTo>
                  <a:lnTo>
                    <a:pt x="68" y="32"/>
                  </a:lnTo>
                  <a:lnTo>
                    <a:pt x="70" y="32"/>
                  </a:lnTo>
                  <a:lnTo>
                    <a:pt x="70" y="34"/>
                  </a:lnTo>
                  <a:lnTo>
                    <a:pt x="74" y="34"/>
                  </a:lnTo>
                  <a:lnTo>
                    <a:pt x="74" y="34"/>
                  </a:lnTo>
                  <a:lnTo>
                    <a:pt x="78" y="35"/>
                  </a:lnTo>
                  <a:lnTo>
                    <a:pt x="79" y="35"/>
                  </a:lnTo>
                  <a:lnTo>
                    <a:pt x="79" y="34"/>
                  </a:lnTo>
                  <a:lnTo>
                    <a:pt x="79" y="35"/>
                  </a:lnTo>
                  <a:lnTo>
                    <a:pt x="83" y="37"/>
                  </a:lnTo>
                  <a:lnTo>
                    <a:pt x="85" y="35"/>
                  </a:lnTo>
                  <a:lnTo>
                    <a:pt x="89" y="35"/>
                  </a:lnTo>
                  <a:lnTo>
                    <a:pt x="91" y="37"/>
                  </a:lnTo>
                  <a:lnTo>
                    <a:pt x="93" y="37"/>
                  </a:lnTo>
                  <a:lnTo>
                    <a:pt x="93" y="37"/>
                  </a:lnTo>
                  <a:lnTo>
                    <a:pt x="95" y="37"/>
                  </a:lnTo>
                  <a:lnTo>
                    <a:pt x="96" y="37"/>
                  </a:lnTo>
                  <a:lnTo>
                    <a:pt x="96" y="35"/>
                  </a:lnTo>
                  <a:lnTo>
                    <a:pt x="95" y="34"/>
                  </a:lnTo>
                  <a:lnTo>
                    <a:pt x="96" y="32"/>
                  </a:lnTo>
                  <a:lnTo>
                    <a:pt x="98" y="28"/>
                  </a:lnTo>
                  <a:lnTo>
                    <a:pt x="98" y="26"/>
                  </a:lnTo>
                  <a:lnTo>
                    <a:pt x="108" y="9"/>
                  </a:lnTo>
                  <a:lnTo>
                    <a:pt x="113" y="7"/>
                  </a:lnTo>
                  <a:lnTo>
                    <a:pt x="115" y="3"/>
                  </a:lnTo>
                  <a:lnTo>
                    <a:pt x="119" y="3"/>
                  </a:lnTo>
                  <a:lnTo>
                    <a:pt x="125" y="0"/>
                  </a:lnTo>
                  <a:lnTo>
                    <a:pt x="128" y="2"/>
                  </a:lnTo>
                  <a:lnTo>
                    <a:pt x="130" y="0"/>
                  </a:lnTo>
                  <a:lnTo>
                    <a:pt x="134" y="0"/>
                  </a:lnTo>
                  <a:lnTo>
                    <a:pt x="136" y="0"/>
                  </a:lnTo>
                  <a:lnTo>
                    <a:pt x="138" y="2"/>
                  </a:lnTo>
                  <a:lnTo>
                    <a:pt x="142" y="3"/>
                  </a:lnTo>
                  <a:lnTo>
                    <a:pt x="143" y="2"/>
                  </a:lnTo>
                  <a:lnTo>
                    <a:pt x="145" y="2"/>
                  </a:lnTo>
                  <a:lnTo>
                    <a:pt x="145" y="3"/>
                  </a:lnTo>
                  <a:lnTo>
                    <a:pt x="147" y="7"/>
                  </a:lnTo>
                  <a:lnTo>
                    <a:pt x="147" y="13"/>
                  </a:lnTo>
                  <a:lnTo>
                    <a:pt x="143" y="17"/>
                  </a:lnTo>
                  <a:lnTo>
                    <a:pt x="142" y="18"/>
                  </a:lnTo>
                  <a:lnTo>
                    <a:pt x="134" y="30"/>
                  </a:lnTo>
                  <a:lnTo>
                    <a:pt x="136" y="35"/>
                  </a:lnTo>
                  <a:lnTo>
                    <a:pt x="134" y="41"/>
                  </a:lnTo>
                  <a:lnTo>
                    <a:pt x="134" y="43"/>
                  </a:lnTo>
                  <a:lnTo>
                    <a:pt x="130" y="49"/>
                  </a:lnTo>
                  <a:lnTo>
                    <a:pt x="130" y="52"/>
                  </a:lnTo>
                  <a:lnTo>
                    <a:pt x="130" y="54"/>
                  </a:lnTo>
                  <a:lnTo>
                    <a:pt x="130" y="60"/>
                  </a:lnTo>
                  <a:lnTo>
                    <a:pt x="130" y="62"/>
                  </a:lnTo>
                  <a:lnTo>
                    <a:pt x="130" y="67"/>
                  </a:lnTo>
                  <a:lnTo>
                    <a:pt x="128" y="69"/>
                  </a:lnTo>
                  <a:lnTo>
                    <a:pt x="128" y="75"/>
                  </a:lnTo>
                  <a:lnTo>
                    <a:pt x="128" y="83"/>
                  </a:lnTo>
                  <a:lnTo>
                    <a:pt x="119" y="92"/>
                  </a:lnTo>
                  <a:lnTo>
                    <a:pt x="115" y="92"/>
                  </a:lnTo>
                  <a:lnTo>
                    <a:pt x="113" y="94"/>
                  </a:lnTo>
                  <a:lnTo>
                    <a:pt x="110" y="94"/>
                  </a:lnTo>
                  <a:lnTo>
                    <a:pt x="108" y="98"/>
                  </a:lnTo>
                  <a:lnTo>
                    <a:pt x="104" y="101"/>
                  </a:lnTo>
                  <a:lnTo>
                    <a:pt x="104" y="105"/>
                  </a:lnTo>
                  <a:lnTo>
                    <a:pt x="96" y="111"/>
                  </a:lnTo>
                  <a:lnTo>
                    <a:pt x="95" y="116"/>
                  </a:lnTo>
                  <a:lnTo>
                    <a:pt x="96" y="122"/>
                  </a:lnTo>
                  <a:lnTo>
                    <a:pt x="96" y="122"/>
                  </a:lnTo>
                  <a:lnTo>
                    <a:pt x="96" y="132"/>
                  </a:lnTo>
                  <a:lnTo>
                    <a:pt x="95" y="137"/>
                  </a:lnTo>
                  <a:lnTo>
                    <a:pt x="95" y="141"/>
                  </a:lnTo>
                  <a:lnTo>
                    <a:pt x="93" y="147"/>
                  </a:lnTo>
                  <a:lnTo>
                    <a:pt x="89" y="147"/>
                  </a:lnTo>
                  <a:lnTo>
                    <a:pt x="85" y="148"/>
                  </a:lnTo>
                  <a:lnTo>
                    <a:pt x="83" y="152"/>
                  </a:lnTo>
                  <a:lnTo>
                    <a:pt x="78" y="160"/>
                  </a:lnTo>
                  <a:lnTo>
                    <a:pt x="74" y="164"/>
                  </a:lnTo>
                  <a:lnTo>
                    <a:pt x="70" y="164"/>
                  </a:lnTo>
                  <a:lnTo>
                    <a:pt x="64" y="164"/>
                  </a:lnTo>
                  <a:lnTo>
                    <a:pt x="64" y="160"/>
                  </a:lnTo>
                  <a:lnTo>
                    <a:pt x="63" y="160"/>
                  </a:lnTo>
                  <a:lnTo>
                    <a:pt x="64" y="154"/>
                  </a:lnTo>
                  <a:lnTo>
                    <a:pt x="64" y="152"/>
                  </a:lnTo>
                  <a:lnTo>
                    <a:pt x="61" y="154"/>
                  </a:lnTo>
                  <a:lnTo>
                    <a:pt x="55" y="158"/>
                  </a:lnTo>
                  <a:lnTo>
                    <a:pt x="53" y="158"/>
                  </a:lnTo>
                  <a:lnTo>
                    <a:pt x="51" y="158"/>
                  </a:lnTo>
                  <a:lnTo>
                    <a:pt x="49" y="162"/>
                  </a:lnTo>
                  <a:lnTo>
                    <a:pt x="47" y="164"/>
                  </a:lnTo>
                  <a:lnTo>
                    <a:pt x="44" y="164"/>
                  </a:lnTo>
                  <a:lnTo>
                    <a:pt x="44" y="164"/>
                  </a:lnTo>
                  <a:lnTo>
                    <a:pt x="44" y="162"/>
                  </a:lnTo>
                  <a:lnTo>
                    <a:pt x="40" y="162"/>
                  </a:lnTo>
                  <a:lnTo>
                    <a:pt x="38" y="162"/>
                  </a:lnTo>
                  <a:lnTo>
                    <a:pt x="38" y="164"/>
                  </a:lnTo>
                  <a:lnTo>
                    <a:pt x="38" y="160"/>
                  </a:lnTo>
                  <a:lnTo>
                    <a:pt x="38" y="154"/>
                  </a:lnTo>
                  <a:lnTo>
                    <a:pt x="32" y="154"/>
                  </a:lnTo>
                  <a:lnTo>
                    <a:pt x="32" y="154"/>
                  </a:lnTo>
                  <a:lnTo>
                    <a:pt x="29" y="158"/>
                  </a:lnTo>
                  <a:lnTo>
                    <a:pt x="25" y="158"/>
                  </a:lnTo>
                  <a:lnTo>
                    <a:pt x="25" y="162"/>
                  </a:lnTo>
                  <a:lnTo>
                    <a:pt x="23" y="164"/>
                  </a:lnTo>
                  <a:lnTo>
                    <a:pt x="19" y="164"/>
                  </a:lnTo>
                  <a:lnTo>
                    <a:pt x="19" y="167"/>
                  </a:lnTo>
                  <a:lnTo>
                    <a:pt x="17" y="167"/>
                  </a:lnTo>
                  <a:lnTo>
                    <a:pt x="15" y="167"/>
                  </a:lnTo>
                  <a:lnTo>
                    <a:pt x="15" y="164"/>
                  </a:lnTo>
                  <a:lnTo>
                    <a:pt x="12" y="160"/>
                  </a:lnTo>
                  <a:lnTo>
                    <a:pt x="12" y="154"/>
                  </a:lnTo>
                  <a:lnTo>
                    <a:pt x="6" y="152"/>
                  </a:lnTo>
                  <a:lnTo>
                    <a:pt x="6" y="150"/>
                  </a:lnTo>
                  <a:lnTo>
                    <a:pt x="0" y="147"/>
                  </a:lnTo>
                  <a:lnTo>
                    <a:pt x="0" y="147"/>
                  </a:lnTo>
                  <a:lnTo>
                    <a:pt x="0" y="14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3" name="Freeform 136">
              <a:extLst>
                <a:ext uri="{FF2B5EF4-FFF2-40B4-BE49-F238E27FC236}">
                  <a16:creationId xmlns:a16="http://schemas.microsoft.com/office/drawing/2014/main" id="{4C6B3069-2772-4BE1-BD3A-9F3BCF23D33E}"/>
                </a:ext>
              </a:extLst>
            </p:cNvPr>
            <p:cNvSpPr>
              <a:spLocks/>
            </p:cNvSpPr>
            <p:nvPr/>
          </p:nvSpPr>
          <p:spPr bwMode="auto">
            <a:xfrm>
              <a:off x="3001" y="3182"/>
              <a:ext cx="21" cy="32"/>
            </a:xfrm>
            <a:custGeom>
              <a:avLst/>
              <a:gdLst/>
              <a:ahLst/>
              <a:cxnLst>
                <a:cxn ang="0">
                  <a:pos x="21" y="10"/>
                </a:cxn>
                <a:cxn ang="0">
                  <a:pos x="21" y="4"/>
                </a:cxn>
                <a:cxn ang="0">
                  <a:pos x="21" y="0"/>
                </a:cxn>
                <a:cxn ang="0">
                  <a:pos x="15" y="0"/>
                </a:cxn>
                <a:cxn ang="0">
                  <a:pos x="15" y="0"/>
                </a:cxn>
                <a:cxn ang="0">
                  <a:pos x="11" y="4"/>
                </a:cxn>
                <a:cxn ang="0">
                  <a:pos x="8" y="4"/>
                </a:cxn>
                <a:cxn ang="0">
                  <a:pos x="8" y="8"/>
                </a:cxn>
                <a:cxn ang="0">
                  <a:pos x="6" y="10"/>
                </a:cxn>
                <a:cxn ang="0">
                  <a:pos x="2" y="10"/>
                </a:cxn>
                <a:cxn ang="0">
                  <a:pos x="2" y="15"/>
                </a:cxn>
                <a:cxn ang="0">
                  <a:pos x="0" y="15"/>
                </a:cxn>
                <a:cxn ang="0">
                  <a:pos x="2" y="19"/>
                </a:cxn>
                <a:cxn ang="0">
                  <a:pos x="2" y="27"/>
                </a:cxn>
                <a:cxn ang="0">
                  <a:pos x="2" y="30"/>
                </a:cxn>
                <a:cxn ang="0">
                  <a:pos x="2" y="32"/>
                </a:cxn>
                <a:cxn ang="0">
                  <a:pos x="8" y="30"/>
                </a:cxn>
                <a:cxn ang="0">
                  <a:pos x="11" y="27"/>
                </a:cxn>
                <a:cxn ang="0">
                  <a:pos x="11" y="27"/>
                </a:cxn>
                <a:cxn ang="0">
                  <a:pos x="11" y="17"/>
                </a:cxn>
                <a:cxn ang="0">
                  <a:pos x="11" y="15"/>
                </a:cxn>
                <a:cxn ang="0">
                  <a:pos x="17" y="12"/>
                </a:cxn>
                <a:cxn ang="0">
                  <a:pos x="21" y="10"/>
                </a:cxn>
                <a:cxn ang="0">
                  <a:pos x="21" y="10"/>
                </a:cxn>
                <a:cxn ang="0">
                  <a:pos x="21" y="10"/>
                </a:cxn>
              </a:cxnLst>
              <a:rect l="0" t="0" r="r" b="b"/>
              <a:pathLst>
                <a:path w="21" h="32">
                  <a:moveTo>
                    <a:pt x="21" y="10"/>
                  </a:moveTo>
                  <a:lnTo>
                    <a:pt x="21" y="4"/>
                  </a:lnTo>
                  <a:lnTo>
                    <a:pt x="21" y="0"/>
                  </a:lnTo>
                  <a:lnTo>
                    <a:pt x="15" y="0"/>
                  </a:lnTo>
                  <a:lnTo>
                    <a:pt x="15" y="0"/>
                  </a:lnTo>
                  <a:lnTo>
                    <a:pt x="11" y="4"/>
                  </a:lnTo>
                  <a:lnTo>
                    <a:pt x="8" y="4"/>
                  </a:lnTo>
                  <a:lnTo>
                    <a:pt x="8" y="8"/>
                  </a:lnTo>
                  <a:lnTo>
                    <a:pt x="6" y="10"/>
                  </a:lnTo>
                  <a:lnTo>
                    <a:pt x="2" y="10"/>
                  </a:lnTo>
                  <a:lnTo>
                    <a:pt x="2" y="15"/>
                  </a:lnTo>
                  <a:lnTo>
                    <a:pt x="0" y="15"/>
                  </a:lnTo>
                  <a:lnTo>
                    <a:pt x="2" y="19"/>
                  </a:lnTo>
                  <a:lnTo>
                    <a:pt x="2" y="27"/>
                  </a:lnTo>
                  <a:lnTo>
                    <a:pt x="2" y="30"/>
                  </a:lnTo>
                  <a:lnTo>
                    <a:pt x="2" y="32"/>
                  </a:lnTo>
                  <a:lnTo>
                    <a:pt x="8" y="30"/>
                  </a:lnTo>
                  <a:lnTo>
                    <a:pt x="11" y="27"/>
                  </a:lnTo>
                  <a:lnTo>
                    <a:pt x="11" y="27"/>
                  </a:lnTo>
                  <a:lnTo>
                    <a:pt x="11" y="17"/>
                  </a:lnTo>
                  <a:lnTo>
                    <a:pt x="11" y="15"/>
                  </a:lnTo>
                  <a:lnTo>
                    <a:pt x="17" y="12"/>
                  </a:lnTo>
                  <a:lnTo>
                    <a:pt x="21" y="10"/>
                  </a:lnTo>
                  <a:lnTo>
                    <a:pt x="21" y="10"/>
                  </a:lnTo>
                  <a:lnTo>
                    <a:pt x="21" y="1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4" name="Freeform 137">
              <a:extLst>
                <a:ext uri="{FF2B5EF4-FFF2-40B4-BE49-F238E27FC236}">
                  <a16:creationId xmlns:a16="http://schemas.microsoft.com/office/drawing/2014/main" id="{20FE2637-7D1A-461D-A37D-3105F0796A53}"/>
                </a:ext>
              </a:extLst>
            </p:cNvPr>
            <p:cNvSpPr>
              <a:spLocks/>
            </p:cNvSpPr>
            <p:nvPr/>
          </p:nvSpPr>
          <p:spPr bwMode="auto">
            <a:xfrm>
              <a:off x="3323" y="3118"/>
              <a:ext cx="205" cy="213"/>
            </a:xfrm>
            <a:custGeom>
              <a:avLst/>
              <a:gdLst/>
              <a:ahLst/>
              <a:cxnLst>
                <a:cxn ang="0">
                  <a:pos x="24" y="4"/>
                </a:cxn>
                <a:cxn ang="0">
                  <a:pos x="87" y="0"/>
                </a:cxn>
                <a:cxn ang="0">
                  <a:pos x="156" y="49"/>
                </a:cxn>
                <a:cxn ang="0">
                  <a:pos x="183" y="68"/>
                </a:cxn>
                <a:cxn ang="0">
                  <a:pos x="183" y="72"/>
                </a:cxn>
                <a:cxn ang="0">
                  <a:pos x="175" y="94"/>
                </a:cxn>
                <a:cxn ang="0">
                  <a:pos x="183" y="108"/>
                </a:cxn>
                <a:cxn ang="0">
                  <a:pos x="188" y="117"/>
                </a:cxn>
                <a:cxn ang="0">
                  <a:pos x="183" y="121"/>
                </a:cxn>
                <a:cxn ang="0">
                  <a:pos x="184" y="134"/>
                </a:cxn>
                <a:cxn ang="0">
                  <a:pos x="184" y="145"/>
                </a:cxn>
                <a:cxn ang="0">
                  <a:pos x="186" y="153"/>
                </a:cxn>
                <a:cxn ang="0">
                  <a:pos x="188" y="158"/>
                </a:cxn>
                <a:cxn ang="0">
                  <a:pos x="196" y="173"/>
                </a:cxn>
                <a:cxn ang="0">
                  <a:pos x="203" y="179"/>
                </a:cxn>
                <a:cxn ang="0">
                  <a:pos x="203" y="183"/>
                </a:cxn>
                <a:cxn ang="0">
                  <a:pos x="196" y="187"/>
                </a:cxn>
                <a:cxn ang="0">
                  <a:pos x="184" y="190"/>
                </a:cxn>
                <a:cxn ang="0">
                  <a:pos x="179" y="192"/>
                </a:cxn>
                <a:cxn ang="0">
                  <a:pos x="166" y="196"/>
                </a:cxn>
                <a:cxn ang="0">
                  <a:pos x="156" y="192"/>
                </a:cxn>
                <a:cxn ang="0">
                  <a:pos x="154" y="200"/>
                </a:cxn>
                <a:cxn ang="0">
                  <a:pos x="145" y="200"/>
                </a:cxn>
                <a:cxn ang="0">
                  <a:pos x="139" y="196"/>
                </a:cxn>
                <a:cxn ang="0">
                  <a:pos x="132" y="202"/>
                </a:cxn>
                <a:cxn ang="0">
                  <a:pos x="126" y="200"/>
                </a:cxn>
                <a:cxn ang="0">
                  <a:pos x="117" y="196"/>
                </a:cxn>
                <a:cxn ang="0">
                  <a:pos x="115" y="198"/>
                </a:cxn>
                <a:cxn ang="0">
                  <a:pos x="90" y="213"/>
                </a:cxn>
                <a:cxn ang="0">
                  <a:pos x="83" y="168"/>
                </a:cxn>
                <a:cxn ang="0">
                  <a:pos x="79" y="162"/>
                </a:cxn>
                <a:cxn ang="0">
                  <a:pos x="73" y="162"/>
                </a:cxn>
                <a:cxn ang="0">
                  <a:pos x="72" y="158"/>
                </a:cxn>
                <a:cxn ang="0">
                  <a:pos x="66" y="158"/>
                </a:cxn>
                <a:cxn ang="0">
                  <a:pos x="62" y="155"/>
                </a:cxn>
                <a:cxn ang="0">
                  <a:pos x="56" y="149"/>
                </a:cxn>
                <a:cxn ang="0">
                  <a:pos x="43" y="147"/>
                </a:cxn>
                <a:cxn ang="0">
                  <a:pos x="38" y="141"/>
                </a:cxn>
                <a:cxn ang="0">
                  <a:pos x="30" y="141"/>
                </a:cxn>
                <a:cxn ang="0">
                  <a:pos x="6" y="104"/>
                </a:cxn>
                <a:cxn ang="0">
                  <a:pos x="9" y="68"/>
                </a:cxn>
                <a:cxn ang="0">
                  <a:pos x="23" y="55"/>
                </a:cxn>
                <a:cxn ang="0">
                  <a:pos x="30" y="49"/>
                </a:cxn>
                <a:cxn ang="0">
                  <a:pos x="26" y="40"/>
                </a:cxn>
                <a:cxn ang="0">
                  <a:pos x="24" y="34"/>
                </a:cxn>
                <a:cxn ang="0">
                  <a:pos x="23" y="30"/>
                </a:cxn>
                <a:cxn ang="0">
                  <a:pos x="28" y="28"/>
                </a:cxn>
                <a:cxn ang="0">
                  <a:pos x="30" y="21"/>
                </a:cxn>
                <a:cxn ang="0">
                  <a:pos x="26" y="10"/>
                </a:cxn>
                <a:cxn ang="0">
                  <a:pos x="23" y="4"/>
                </a:cxn>
              </a:cxnLst>
              <a:rect l="0" t="0" r="r" b="b"/>
              <a:pathLst>
                <a:path w="205" h="213">
                  <a:moveTo>
                    <a:pt x="23" y="4"/>
                  </a:moveTo>
                  <a:lnTo>
                    <a:pt x="23" y="4"/>
                  </a:lnTo>
                  <a:lnTo>
                    <a:pt x="24" y="4"/>
                  </a:lnTo>
                  <a:lnTo>
                    <a:pt x="26" y="4"/>
                  </a:lnTo>
                  <a:lnTo>
                    <a:pt x="49" y="4"/>
                  </a:lnTo>
                  <a:lnTo>
                    <a:pt x="87" y="0"/>
                  </a:lnTo>
                  <a:lnTo>
                    <a:pt x="154" y="40"/>
                  </a:lnTo>
                  <a:lnTo>
                    <a:pt x="158" y="47"/>
                  </a:lnTo>
                  <a:lnTo>
                    <a:pt x="156" y="49"/>
                  </a:lnTo>
                  <a:lnTo>
                    <a:pt x="158" y="51"/>
                  </a:lnTo>
                  <a:lnTo>
                    <a:pt x="160" y="53"/>
                  </a:lnTo>
                  <a:lnTo>
                    <a:pt x="183" y="68"/>
                  </a:lnTo>
                  <a:lnTo>
                    <a:pt x="181" y="68"/>
                  </a:lnTo>
                  <a:lnTo>
                    <a:pt x="183" y="70"/>
                  </a:lnTo>
                  <a:lnTo>
                    <a:pt x="183" y="72"/>
                  </a:lnTo>
                  <a:lnTo>
                    <a:pt x="181" y="74"/>
                  </a:lnTo>
                  <a:lnTo>
                    <a:pt x="179" y="85"/>
                  </a:lnTo>
                  <a:lnTo>
                    <a:pt x="175" y="94"/>
                  </a:lnTo>
                  <a:lnTo>
                    <a:pt x="175" y="98"/>
                  </a:lnTo>
                  <a:lnTo>
                    <a:pt x="179" y="104"/>
                  </a:lnTo>
                  <a:lnTo>
                    <a:pt x="183" y="108"/>
                  </a:lnTo>
                  <a:lnTo>
                    <a:pt x="186" y="108"/>
                  </a:lnTo>
                  <a:lnTo>
                    <a:pt x="188" y="113"/>
                  </a:lnTo>
                  <a:lnTo>
                    <a:pt x="188" y="117"/>
                  </a:lnTo>
                  <a:lnTo>
                    <a:pt x="186" y="117"/>
                  </a:lnTo>
                  <a:lnTo>
                    <a:pt x="183" y="117"/>
                  </a:lnTo>
                  <a:lnTo>
                    <a:pt x="183" y="121"/>
                  </a:lnTo>
                  <a:lnTo>
                    <a:pt x="183" y="128"/>
                  </a:lnTo>
                  <a:lnTo>
                    <a:pt x="186" y="132"/>
                  </a:lnTo>
                  <a:lnTo>
                    <a:pt x="184" y="134"/>
                  </a:lnTo>
                  <a:lnTo>
                    <a:pt x="183" y="138"/>
                  </a:lnTo>
                  <a:lnTo>
                    <a:pt x="183" y="141"/>
                  </a:lnTo>
                  <a:lnTo>
                    <a:pt x="184" y="145"/>
                  </a:lnTo>
                  <a:lnTo>
                    <a:pt x="184" y="147"/>
                  </a:lnTo>
                  <a:lnTo>
                    <a:pt x="184" y="149"/>
                  </a:lnTo>
                  <a:lnTo>
                    <a:pt x="186" y="153"/>
                  </a:lnTo>
                  <a:lnTo>
                    <a:pt x="188" y="155"/>
                  </a:lnTo>
                  <a:lnTo>
                    <a:pt x="186" y="158"/>
                  </a:lnTo>
                  <a:lnTo>
                    <a:pt x="188" y="158"/>
                  </a:lnTo>
                  <a:lnTo>
                    <a:pt x="190" y="166"/>
                  </a:lnTo>
                  <a:lnTo>
                    <a:pt x="190" y="168"/>
                  </a:lnTo>
                  <a:lnTo>
                    <a:pt x="196" y="173"/>
                  </a:lnTo>
                  <a:lnTo>
                    <a:pt x="200" y="173"/>
                  </a:lnTo>
                  <a:lnTo>
                    <a:pt x="203" y="177"/>
                  </a:lnTo>
                  <a:lnTo>
                    <a:pt x="203" y="179"/>
                  </a:lnTo>
                  <a:lnTo>
                    <a:pt x="205" y="181"/>
                  </a:lnTo>
                  <a:lnTo>
                    <a:pt x="203" y="181"/>
                  </a:lnTo>
                  <a:lnTo>
                    <a:pt x="203" y="183"/>
                  </a:lnTo>
                  <a:lnTo>
                    <a:pt x="200" y="181"/>
                  </a:lnTo>
                  <a:lnTo>
                    <a:pt x="196" y="185"/>
                  </a:lnTo>
                  <a:lnTo>
                    <a:pt x="196" y="187"/>
                  </a:lnTo>
                  <a:lnTo>
                    <a:pt x="192" y="189"/>
                  </a:lnTo>
                  <a:lnTo>
                    <a:pt x="188" y="190"/>
                  </a:lnTo>
                  <a:lnTo>
                    <a:pt x="184" y="190"/>
                  </a:lnTo>
                  <a:lnTo>
                    <a:pt x="183" y="192"/>
                  </a:lnTo>
                  <a:lnTo>
                    <a:pt x="179" y="192"/>
                  </a:lnTo>
                  <a:lnTo>
                    <a:pt x="179" y="192"/>
                  </a:lnTo>
                  <a:lnTo>
                    <a:pt x="171" y="192"/>
                  </a:lnTo>
                  <a:lnTo>
                    <a:pt x="169" y="196"/>
                  </a:lnTo>
                  <a:lnTo>
                    <a:pt x="166" y="196"/>
                  </a:lnTo>
                  <a:lnTo>
                    <a:pt x="164" y="192"/>
                  </a:lnTo>
                  <a:lnTo>
                    <a:pt x="160" y="196"/>
                  </a:lnTo>
                  <a:lnTo>
                    <a:pt x="156" y="192"/>
                  </a:lnTo>
                  <a:lnTo>
                    <a:pt x="154" y="196"/>
                  </a:lnTo>
                  <a:lnTo>
                    <a:pt x="156" y="196"/>
                  </a:lnTo>
                  <a:lnTo>
                    <a:pt x="154" y="200"/>
                  </a:lnTo>
                  <a:lnTo>
                    <a:pt x="151" y="200"/>
                  </a:lnTo>
                  <a:lnTo>
                    <a:pt x="147" y="202"/>
                  </a:lnTo>
                  <a:lnTo>
                    <a:pt x="145" y="200"/>
                  </a:lnTo>
                  <a:lnTo>
                    <a:pt x="141" y="200"/>
                  </a:lnTo>
                  <a:lnTo>
                    <a:pt x="141" y="198"/>
                  </a:lnTo>
                  <a:lnTo>
                    <a:pt x="139" y="196"/>
                  </a:lnTo>
                  <a:lnTo>
                    <a:pt x="137" y="198"/>
                  </a:lnTo>
                  <a:lnTo>
                    <a:pt x="136" y="198"/>
                  </a:lnTo>
                  <a:lnTo>
                    <a:pt x="132" y="202"/>
                  </a:lnTo>
                  <a:lnTo>
                    <a:pt x="126" y="204"/>
                  </a:lnTo>
                  <a:lnTo>
                    <a:pt x="126" y="202"/>
                  </a:lnTo>
                  <a:lnTo>
                    <a:pt x="126" y="200"/>
                  </a:lnTo>
                  <a:lnTo>
                    <a:pt x="122" y="200"/>
                  </a:lnTo>
                  <a:lnTo>
                    <a:pt x="120" y="198"/>
                  </a:lnTo>
                  <a:lnTo>
                    <a:pt x="117" y="196"/>
                  </a:lnTo>
                  <a:lnTo>
                    <a:pt x="117" y="196"/>
                  </a:lnTo>
                  <a:lnTo>
                    <a:pt x="115" y="196"/>
                  </a:lnTo>
                  <a:lnTo>
                    <a:pt x="115" y="198"/>
                  </a:lnTo>
                  <a:lnTo>
                    <a:pt x="111" y="198"/>
                  </a:lnTo>
                  <a:lnTo>
                    <a:pt x="92" y="198"/>
                  </a:lnTo>
                  <a:lnTo>
                    <a:pt x="90" y="213"/>
                  </a:lnTo>
                  <a:lnTo>
                    <a:pt x="90" y="181"/>
                  </a:lnTo>
                  <a:lnTo>
                    <a:pt x="90" y="173"/>
                  </a:lnTo>
                  <a:lnTo>
                    <a:pt x="83" y="168"/>
                  </a:lnTo>
                  <a:lnTo>
                    <a:pt x="81" y="166"/>
                  </a:lnTo>
                  <a:lnTo>
                    <a:pt x="79" y="162"/>
                  </a:lnTo>
                  <a:lnTo>
                    <a:pt x="79" y="162"/>
                  </a:lnTo>
                  <a:lnTo>
                    <a:pt x="77" y="162"/>
                  </a:lnTo>
                  <a:lnTo>
                    <a:pt x="75" y="162"/>
                  </a:lnTo>
                  <a:lnTo>
                    <a:pt x="73" y="162"/>
                  </a:lnTo>
                  <a:lnTo>
                    <a:pt x="72" y="162"/>
                  </a:lnTo>
                  <a:lnTo>
                    <a:pt x="72" y="158"/>
                  </a:lnTo>
                  <a:lnTo>
                    <a:pt x="72" y="158"/>
                  </a:lnTo>
                  <a:lnTo>
                    <a:pt x="68" y="158"/>
                  </a:lnTo>
                  <a:lnTo>
                    <a:pt x="68" y="158"/>
                  </a:lnTo>
                  <a:lnTo>
                    <a:pt x="66" y="158"/>
                  </a:lnTo>
                  <a:lnTo>
                    <a:pt x="66" y="158"/>
                  </a:lnTo>
                  <a:lnTo>
                    <a:pt x="66" y="158"/>
                  </a:lnTo>
                  <a:lnTo>
                    <a:pt x="62" y="155"/>
                  </a:lnTo>
                  <a:lnTo>
                    <a:pt x="60" y="153"/>
                  </a:lnTo>
                  <a:lnTo>
                    <a:pt x="58" y="151"/>
                  </a:lnTo>
                  <a:lnTo>
                    <a:pt x="56" y="149"/>
                  </a:lnTo>
                  <a:lnTo>
                    <a:pt x="55" y="149"/>
                  </a:lnTo>
                  <a:lnTo>
                    <a:pt x="47" y="147"/>
                  </a:lnTo>
                  <a:lnTo>
                    <a:pt x="43" y="147"/>
                  </a:lnTo>
                  <a:lnTo>
                    <a:pt x="41" y="143"/>
                  </a:lnTo>
                  <a:lnTo>
                    <a:pt x="38" y="143"/>
                  </a:lnTo>
                  <a:lnTo>
                    <a:pt x="38" y="141"/>
                  </a:lnTo>
                  <a:lnTo>
                    <a:pt x="34" y="141"/>
                  </a:lnTo>
                  <a:lnTo>
                    <a:pt x="32" y="141"/>
                  </a:lnTo>
                  <a:lnTo>
                    <a:pt x="30" y="141"/>
                  </a:lnTo>
                  <a:lnTo>
                    <a:pt x="23" y="138"/>
                  </a:lnTo>
                  <a:lnTo>
                    <a:pt x="19" y="123"/>
                  </a:lnTo>
                  <a:lnTo>
                    <a:pt x="6" y="104"/>
                  </a:lnTo>
                  <a:lnTo>
                    <a:pt x="2" y="83"/>
                  </a:lnTo>
                  <a:lnTo>
                    <a:pt x="0" y="68"/>
                  </a:lnTo>
                  <a:lnTo>
                    <a:pt x="9" y="68"/>
                  </a:lnTo>
                  <a:lnTo>
                    <a:pt x="13" y="66"/>
                  </a:lnTo>
                  <a:lnTo>
                    <a:pt x="19" y="60"/>
                  </a:lnTo>
                  <a:lnTo>
                    <a:pt x="23" y="55"/>
                  </a:lnTo>
                  <a:lnTo>
                    <a:pt x="24" y="55"/>
                  </a:lnTo>
                  <a:lnTo>
                    <a:pt x="26" y="53"/>
                  </a:lnTo>
                  <a:lnTo>
                    <a:pt x="30" y="49"/>
                  </a:lnTo>
                  <a:lnTo>
                    <a:pt x="30" y="45"/>
                  </a:lnTo>
                  <a:lnTo>
                    <a:pt x="30" y="40"/>
                  </a:lnTo>
                  <a:lnTo>
                    <a:pt x="26" y="40"/>
                  </a:lnTo>
                  <a:lnTo>
                    <a:pt x="26" y="38"/>
                  </a:lnTo>
                  <a:lnTo>
                    <a:pt x="24" y="36"/>
                  </a:lnTo>
                  <a:lnTo>
                    <a:pt x="24" y="34"/>
                  </a:lnTo>
                  <a:lnTo>
                    <a:pt x="23" y="34"/>
                  </a:lnTo>
                  <a:lnTo>
                    <a:pt x="23" y="30"/>
                  </a:lnTo>
                  <a:lnTo>
                    <a:pt x="23" y="30"/>
                  </a:lnTo>
                  <a:lnTo>
                    <a:pt x="24" y="30"/>
                  </a:lnTo>
                  <a:lnTo>
                    <a:pt x="28" y="30"/>
                  </a:lnTo>
                  <a:lnTo>
                    <a:pt x="28" y="28"/>
                  </a:lnTo>
                  <a:lnTo>
                    <a:pt x="30" y="28"/>
                  </a:lnTo>
                  <a:lnTo>
                    <a:pt x="30" y="25"/>
                  </a:lnTo>
                  <a:lnTo>
                    <a:pt x="30" y="21"/>
                  </a:lnTo>
                  <a:lnTo>
                    <a:pt x="28" y="15"/>
                  </a:lnTo>
                  <a:lnTo>
                    <a:pt x="26" y="13"/>
                  </a:lnTo>
                  <a:lnTo>
                    <a:pt x="26" y="10"/>
                  </a:lnTo>
                  <a:lnTo>
                    <a:pt x="24" y="8"/>
                  </a:lnTo>
                  <a:lnTo>
                    <a:pt x="23" y="4"/>
                  </a:lnTo>
                  <a:lnTo>
                    <a:pt x="23" y="4"/>
                  </a:lnTo>
                  <a:lnTo>
                    <a:pt x="23" y="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5" name="Freeform 138">
              <a:extLst>
                <a:ext uri="{FF2B5EF4-FFF2-40B4-BE49-F238E27FC236}">
                  <a16:creationId xmlns:a16="http://schemas.microsoft.com/office/drawing/2014/main" id="{0747EA68-1181-4342-B73D-A0B7A390B971}"/>
                </a:ext>
              </a:extLst>
            </p:cNvPr>
            <p:cNvSpPr>
              <a:spLocks/>
            </p:cNvSpPr>
            <p:nvPr/>
          </p:nvSpPr>
          <p:spPr bwMode="auto">
            <a:xfrm>
              <a:off x="3312" y="3124"/>
              <a:ext cx="37" cy="32"/>
            </a:xfrm>
            <a:custGeom>
              <a:avLst/>
              <a:gdLst/>
              <a:ahLst/>
              <a:cxnLst>
                <a:cxn ang="0">
                  <a:pos x="11" y="5"/>
                </a:cxn>
                <a:cxn ang="0">
                  <a:pos x="13" y="5"/>
                </a:cxn>
                <a:cxn ang="0">
                  <a:pos x="15" y="4"/>
                </a:cxn>
                <a:cxn ang="0">
                  <a:pos x="17" y="2"/>
                </a:cxn>
                <a:cxn ang="0">
                  <a:pos x="20" y="4"/>
                </a:cxn>
                <a:cxn ang="0">
                  <a:pos x="20" y="4"/>
                </a:cxn>
                <a:cxn ang="0">
                  <a:pos x="26" y="4"/>
                </a:cxn>
                <a:cxn ang="0">
                  <a:pos x="26" y="4"/>
                </a:cxn>
                <a:cxn ang="0">
                  <a:pos x="26" y="0"/>
                </a:cxn>
                <a:cxn ang="0">
                  <a:pos x="30" y="0"/>
                </a:cxn>
                <a:cxn ang="0">
                  <a:pos x="32" y="4"/>
                </a:cxn>
                <a:cxn ang="0">
                  <a:pos x="34" y="5"/>
                </a:cxn>
                <a:cxn ang="0">
                  <a:pos x="34" y="9"/>
                </a:cxn>
                <a:cxn ang="0">
                  <a:pos x="35" y="11"/>
                </a:cxn>
                <a:cxn ang="0">
                  <a:pos x="37" y="17"/>
                </a:cxn>
                <a:cxn ang="0">
                  <a:pos x="37" y="21"/>
                </a:cxn>
                <a:cxn ang="0">
                  <a:pos x="37" y="24"/>
                </a:cxn>
                <a:cxn ang="0">
                  <a:pos x="35" y="24"/>
                </a:cxn>
                <a:cxn ang="0">
                  <a:pos x="35" y="26"/>
                </a:cxn>
                <a:cxn ang="0">
                  <a:pos x="32" y="26"/>
                </a:cxn>
                <a:cxn ang="0">
                  <a:pos x="30" y="26"/>
                </a:cxn>
                <a:cxn ang="0">
                  <a:pos x="30" y="26"/>
                </a:cxn>
                <a:cxn ang="0">
                  <a:pos x="30" y="24"/>
                </a:cxn>
                <a:cxn ang="0">
                  <a:pos x="30" y="24"/>
                </a:cxn>
                <a:cxn ang="0">
                  <a:pos x="26" y="21"/>
                </a:cxn>
                <a:cxn ang="0">
                  <a:pos x="26" y="21"/>
                </a:cxn>
                <a:cxn ang="0">
                  <a:pos x="24" y="21"/>
                </a:cxn>
                <a:cxn ang="0">
                  <a:pos x="20" y="21"/>
                </a:cxn>
                <a:cxn ang="0">
                  <a:pos x="20" y="24"/>
                </a:cxn>
                <a:cxn ang="0">
                  <a:pos x="20" y="30"/>
                </a:cxn>
                <a:cxn ang="0">
                  <a:pos x="20" y="30"/>
                </a:cxn>
                <a:cxn ang="0">
                  <a:pos x="17" y="32"/>
                </a:cxn>
                <a:cxn ang="0">
                  <a:pos x="15" y="30"/>
                </a:cxn>
                <a:cxn ang="0">
                  <a:pos x="13" y="30"/>
                </a:cxn>
                <a:cxn ang="0">
                  <a:pos x="13" y="32"/>
                </a:cxn>
                <a:cxn ang="0">
                  <a:pos x="9" y="30"/>
                </a:cxn>
                <a:cxn ang="0">
                  <a:pos x="7" y="26"/>
                </a:cxn>
                <a:cxn ang="0">
                  <a:pos x="5" y="26"/>
                </a:cxn>
                <a:cxn ang="0">
                  <a:pos x="2" y="26"/>
                </a:cxn>
                <a:cxn ang="0">
                  <a:pos x="0" y="26"/>
                </a:cxn>
                <a:cxn ang="0">
                  <a:pos x="0" y="24"/>
                </a:cxn>
                <a:cxn ang="0">
                  <a:pos x="3" y="11"/>
                </a:cxn>
                <a:cxn ang="0">
                  <a:pos x="7" y="9"/>
                </a:cxn>
                <a:cxn ang="0">
                  <a:pos x="11" y="5"/>
                </a:cxn>
                <a:cxn ang="0">
                  <a:pos x="11" y="5"/>
                </a:cxn>
                <a:cxn ang="0">
                  <a:pos x="11" y="5"/>
                </a:cxn>
              </a:cxnLst>
              <a:rect l="0" t="0" r="r" b="b"/>
              <a:pathLst>
                <a:path w="37" h="32">
                  <a:moveTo>
                    <a:pt x="11" y="5"/>
                  </a:moveTo>
                  <a:lnTo>
                    <a:pt x="13" y="5"/>
                  </a:lnTo>
                  <a:lnTo>
                    <a:pt x="15" y="4"/>
                  </a:lnTo>
                  <a:lnTo>
                    <a:pt x="17" y="2"/>
                  </a:lnTo>
                  <a:lnTo>
                    <a:pt x="20" y="4"/>
                  </a:lnTo>
                  <a:lnTo>
                    <a:pt x="20" y="4"/>
                  </a:lnTo>
                  <a:lnTo>
                    <a:pt x="26" y="4"/>
                  </a:lnTo>
                  <a:lnTo>
                    <a:pt x="26" y="4"/>
                  </a:lnTo>
                  <a:lnTo>
                    <a:pt x="26" y="0"/>
                  </a:lnTo>
                  <a:lnTo>
                    <a:pt x="30" y="0"/>
                  </a:lnTo>
                  <a:lnTo>
                    <a:pt x="32" y="4"/>
                  </a:lnTo>
                  <a:lnTo>
                    <a:pt x="34" y="5"/>
                  </a:lnTo>
                  <a:lnTo>
                    <a:pt x="34" y="9"/>
                  </a:lnTo>
                  <a:lnTo>
                    <a:pt x="35" y="11"/>
                  </a:lnTo>
                  <a:lnTo>
                    <a:pt x="37" y="17"/>
                  </a:lnTo>
                  <a:lnTo>
                    <a:pt x="37" y="21"/>
                  </a:lnTo>
                  <a:lnTo>
                    <a:pt x="37" y="24"/>
                  </a:lnTo>
                  <a:lnTo>
                    <a:pt x="35" y="24"/>
                  </a:lnTo>
                  <a:lnTo>
                    <a:pt x="35" y="26"/>
                  </a:lnTo>
                  <a:lnTo>
                    <a:pt x="32" y="26"/>
                  </a:lnTo>
                  <a:lnTo>
                    <a:pt x="30" y="26"/>
                  </a:lnTo>
                  <a:lnTo>
                    <a:pt x="30" y="26"/>
                  </a:lnTo>
                  <a:lnTo>
                    <a:pt x="30" y="24"/>
                  </a:lnTo>
                  <a:lnTo>
                    <a:pt x="30" y="24"/>
                  </a:lnTo>
                  <a:lnTo>
                    <a:pt x="26" y="21"/>
                  </a:lnTo>
                  <a:lnTo>
                    <a:pt x="26" y="21"/>
                  </a:lnTo>
                  <a:lnTo>
                    <a:pt x="24" y="21"/>
                  </a:lnTo>
                  <a:lnTo>
                    <a:pt x="20" y="21"/>
                  </a:lnTo>
                  <a:lnTo>
                    <a:pt x="20" y="24"/>
                  </a:lnTo>
                  <a:lnTo>
                    <a:pt x="20" y="30"/>
                  </a:lnTo>
                  <a:lnTo>
                    <a:pt x="20" y="30"/>
                  </a:lnTo>
                  <a:lnTo>
                    <a:pt x="17" y="32"/>
                  </a:lnTo>
                  <a:lnTo>
                    <a:pt x="15" y="30"/>
                  </a:lnTo>
                  <a:lnTo>
                    <a:pt x="13" y="30"/>
                  </a:lnTo>
                  <a:lnTo>
                    <a:pt x="13" y="32"/>
                  </a:lnTo>
                  <a:lnTo>
                    <a:pt x="9" y="30"/>
                  </a:lnTo>
                  <a:lnTo>
                    <a:pt x="7" y="26"/>
                  </a:lnTo>
                  <a:lnTo>
                    <a:pt x="5" y="26"/>
                  </a:lnTo>
                  <a:lnTo>
                    <a:pt x="2" y="26"/>
                  </a:lnTo>
                  <a:lnTo>
                    <a:pt x="0" y="26"/>
                  </a:lnTo>
                  <a:lnTo>
                    <a:pt x="0" y="24"/>
                  </a:lnTo>
                  <a:lnTo>
                    <a:pt x="3" y="11"/>
                  </a:lnTo>
                  <a:lnTo>
                    <a:pt x="7" y="9"/>
                  </a:lnTo>
                  <a:lnTo>
                    <a:pt x="11" y="5"/>
                  </a:lnTo>
                  <a:lnTo>
                    <a:pt x="11" y="5"/>
                  </a:lnTo>
                  <a:lnTo>
                    <a:pt x="11"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6" name="Freeform 139">
              <a:extLst>
                <a:ext uri="{FF2B5EF4-FFF2-40B4-BE49-F238E27FC236}">
                  <a16:creationId xmlns:a16="http://schemas.microsoft.com/office/drawing/2014/main" id="{AF2B1E63-DF0E-49A1-97A5-A96D0C446090}"/>
                </a:ext>
              </a:extLst>
            </p:cNvPr>
            <p:cNvSpPr>
              <a:spLocks/>
            </p:cNvSpPr>
            <p:nvPr/>
          </p:nvSpPr>
          <p:spPr bwMode="auto">
            <a:xfrm>
              <a:off x="3312" y="3141"/>
              <a:ext cx="37" cy="47"/>
            </a:xfrm>
            <a:custGeom>
              <a:avLst/>
              <a:gdLst/>
              <a:ahLst/>
              <a:cxnLst>
                <a:cxn ang="0">
                  <a:pos x="7" y="47"/>
                </a:cxn>
                <a:cxn ang="0">
                  <a:pos x="17" y="47"/>
                </a:cxn>
                <a:cxn ang="0">
                  <a:pos x="20" y="43"/>
                </a:cxn>
                <a:cxn ang="0">
                  <a:pos x="26" y="37"/>
                </a:cxn>
                <a:cxn ang="0">
                  <a:pos x="30" y="32"/>
                </a:cxn>
                <a:cxn ang="0">
                  <a:pos x="32" y="32"/>
                </a:cxn>
                <a:cxn ang="0">
                  <a:pos x="34" y="30"/>
                </a:cxn>
                <a:cxn ang="0">
                  <a:pos x="37" y="26"/>
                </a:cxn>
                <a:cxn ang="0">
                  <a:pos x="37" y="21"/>
                </a:cxn>
                <a:cxn ang="0">
                  <a:pos x="37" y="15"/>
                </a:cxn>
                <a:cxn ang="0">
                  <a:pos x="34" y="15"/>
                </a:cxn>
                <a:cxn ang="0">
                  <a:pos x="34" y="15"/>
                </a:cxn>
                <a:cxn ang="0">
                  <a:pos x="32" y="11"/>
                </a:cxn>
                <a:cxn ang="0">
                  <a:pos x="32" y="11"/>
                </a:cxn>
                <a:cxn ang="0">
                  <a:pos x="30" y="9"/>
                </a:cxn>
                <a:cxn ang="0">
                  <a:pos x="30" y="5"/>
                </a:cxn>
                <a:cxn ang="0">
                  <a:pos x="30" y="4"/>
                </a:cxn>
                <a:cxn ang="0">
                  <a:pos x="26" y="0"/>
                </a:cxn>
                <a:cxn ang="0">
                  <a:pos x="26" y="0"/>
                </a:cxn>
                <a:cxn ang="0">
                  <a:pos x="24" y="0"/>
                </a:cxn>
                <a:cxn ang="0">
                  <a:pos x="20" y="0"/>
                </a:cxn>
                <a:cxn ang="0">
                  <a:pos x="20" y="4"/>
                </a:cxn>
                <a:cxn ang="0">
                  <a:pos x="20" y="9"/>
                </a:cxn>
                <a:cxn ang="0">
                  <a:pos x="20" y="11"/>
                </a:cxn>
                <a:cxn ang="0">
                  <a:pos x="17" y="11"/>
                </a:cxn>
                <a:cxn ang="0">
                  <a:pos x="15" y="11"/>
                </a:cxn>
                <a:cxn ang="0">
                  <a:pos x="13" y="11"/>
                </a:cxn>
                <a:cxn ang="0">
                  <a:pos x="13" y="11"/>
                </a:cxn>
                <a:cxn ang="0">
                  <a:pos x="9" y="11"/>
                </a:cxn>
                <a:cxn ang="0">
                  <a:pos x="7" y="5"/>
                </a:cxn>
                <a:cxn ang="0">
                  <a:pos x="5" y="5"/>
                </a:cxn>
                <a:cxn ang="0">
                  <a:pos x="2" y="5"/>
                </a:cxn>
                <a:cxn ang="0">
                  <a:pos x="0" y="5"/>
                </a:cxn>
                <a:cxn ang="0">
                  <a:pos x="0" y="9"/>
                </a:cxn>
                <a:cxn ang="0">
                  <a:pos x="2" y="11"/>
                </a:cxn>
                <a:cxn ang="0">
                  <a:pos x="3" y="17"/>
                </a:cxn>
                <a:cxn ang="0">
                  <a:pos x="3" y="21"/>
                </a:cxn>
                <a:cxn ang="0">
                  <a:pos x="7" y="47"/>
                </a:cxn>
                <a:cxn ang="0">
                  <a:pos x="7" y="47"/>
                </a:cxn>
                <a:cxn ang="0">
                  <a:pos x="7" y="47"/>
                </a:cxn>
              </a:cxnLst>
              <a:rect l="0" t="0" r="r" b="b"/>
              <a:pathLst>
                <a:path w="37" h="47">
                  <a:moveTo>
                    <a:pt x="7" y="47"/>
                  </a:moveTo>
                  <a:lnTo>
                    <a:pt x="17" y="47"/>
                  </a:lnTo>
                  <a:lnTo>
                    <a:pt x="20" y="43"/>
                  </a:lnTo>
                  <a:lnTo>
                    <a:pt x="26" y="37"/>
                  </a:lnTo>
                  <a:lnTo>
                    <a:pt x="30" y="32"/>
                  </a:lnTo>
                  <a:lnTo>
                    <a:pt x="32" y="32"/>
                  </a:lnTo>
                  <a:lnTo>
                    <a:pt x="34" y="30"/>
                  </a:lnTo>
                  <a:lnTo>
                    <a:pt x="37" y="26"/>
                  </a:lnTo>
                  <a:lnTo>
                    <a:pt x="37" y="21"/>
                  </a:lnTo>
                  <a:lnTo>
                    <a:pt x="37" y="15"/>
                  </a:lnTo>
                  <a:lnTo>
                    <a:pt x="34" y="15"/>
                  </a:lnTo>
                  <a:lnTo>
                    <a:pt x="34" y="15"/>
                  </a:lnTo>
                  <a:lnTo>
                    <a:pt x="32" y="11"/>
                  </a:lnTo>
                  <a:lnTo>
                    <a:pt x="32" y="11"/>
                  </a:lnTo>
                  <a:lnTo>
                    <a:pt x="30" y="9"/>
                  </a:lnTo>
                  <a:lnTo>
                    <a:pt x="30" y="5"/>
                  </a:lnTo>
                  <a:lnTo>
                    <a:pt x="30" y="4"/>
                  </a:lnTo>
                  <a:lnTo>
                    <a:pt x="26" y="0"/>
                  </a:lnTo>
                  <a:lnTo>
                    <a:pt x="26" y="0"/>
                  </a:lnTo>
                  <a:lnTo>
                    <a:pt x="24" y="0"/>
                  </a:lnTo>
                  <a:lnTo>
                    <a:pt x="20" y="0"/>
                  </a:lnTo>
                  <a:lnTo>
                    <a:pt x="20" y="4"/>
                  </a:lnTo>
                  <a:lnTo>
                    <a:pt x="20" y="9"/>
                  </a:lnTo>
                  <a:lnTo>
                    <a:pt x="20" y="11"/>
                  </a:lnTo>
                  <a:lnTo>
                    <a:pt x="17" y="11"/>
                  </a:lnTo>
                  <a:lnTo>
                    <a:pt x="15" y="11"/>
                  </a:lnTo>
                  <a:lnTo>
                    <a:pt x="13" y="11"/>
                  </a:lnTo>
                  <a:lnTo>
                    <a:pt x="13" y="11"/>
                  </a:lnTo>
                  <a:lnTo>
                    <a:pt x="9" y="11"/>
                  </a:lnTo>
                  <a:lnTo>
                    <a:pt x="7" y="5"/>
                  </a:lnTo>
                  <a:lnTo>
                    <a:pt x="5" y="5"/>
                  </a:lnTo>
                  <a:lnTo>
                    <a:pt x="2" y="5"/>
                  </a:lnTo>
                  <a:lnTo>
                    <a:pt x="0" y="5"/>
                  </a:lnTo>
                  <a:lnTo>
                    <a:pt x="0" y="9"/>
                  </a:lnTo>
                  <a:lnTo>
                    <a:pt x="2" y="11"/>
                  </a:lnTo>
                  <a:lnTo>
                    <a:pt x="3" y="17"/>
                  </a:lnTo>
                  <a:lnTo>
                    <a:pt x="3" y="21"/>
                  </a:lnTo>
                  <a:lnTo>
                    <a:pt x="7" y="47"/>
                  </a:lnTo>
                  <a:lnTo>
                    <a:pt x="7" y="47"/>
                  </a:lnTo>
                  <a:lnTo>
                    <a:pt x="7" y="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7" name="Freeform 140">
              <a:extLst>
                <a:ext uri="{FF2B5EF4-FFF2-40B4-BE49-F238E27FC236}">
                  <a16:creationId xmlns:a16="http://schemas.microsoft.com/office/drawing/2014/main" id="{048E6826-C675-4167-8751-8518E3DA0154}"/>
                </a:ext>
              </a:extLst>
            </p:cNvPr>
            <p:cNvSpPr>
              <a:spLocks/>
            </p:cNvSpPr>
            <p:nvPr/>
          </p:nvSpPr>
          <p:spPr bwMode="auto">
            <a:xfrm>
              <a:off x="3312" y="3141"/>
              <a:ext cx="37" cy="47"/>
            </a:xfrm>
            <a:custGeom>
              <a:avLst/>
              <a:gdLst/>
              <a:ahLst/>
              <a:cxnLst>
                <a:cxn ang="0">
                  <a:pos x="7" y="47"/>
                </a:cxn>
                <a:cxn ang="0">
                  <a:pos x="17" y="47"/>
                </a:cxn>
                <a:cxn ang="0">
                  <a:pos x="20" y="43"/>
                </a:cxn>
                <a:cxn ang="0">
                  <a:pos x="26" y="37"/>
                </a:cxn>
                <a:cxn ang="0">
                  <a:pos x="30" y="32"/>
                </a:cxn>
                <a:cxn ang="0">
                  <a:pos x="32" y="32"/>
                </a:cxn>
                <a:cxn ang="0">
                  <a:pos x="34" y="30"/>
                </a:cxn>
                <a:cxn ang="0">
                  <a:pos x="37" y="26"/>
                </a:cxn>
                <a:cxn ang="0">
                  <a:pos x="37" y="21"/>
                </a:cxn>
                <a:cxn ang="0">
                  <a:pos x="37" y="15"/>
                </a:cxn>
                <a:cxn ang="0">
                  <a:pos x="34" y="15"/>
                </a:cxn>
                <a:cxn ang="0">
                  <a:pos x="34" y="15"/>
                </a:cxn>
                <a:cxn ang="0">
                  <a:pos x="32" y="11"/>
                </a:cxn>
                <a:cxn ang="0">
                  <a:pos x="32" y="11"/>
                </a:cxn>
                <a:cxn ang="0">
                  <a:pos x="30" y="9"/>
                </a:cxn>
                <a:cxn ang="0">
                  <a:pos x="30" y="5"/>
                </a:cxn>
                <a:cxn ang="0">
                  <a:pos x="30" y="4"/>
                </a:cxn>
                <a:cxn ang="0">
                  <a:pos x="26" y="0"/>
                </a:cxn>
                <a:cxn ang="0">
                  <a:pos x="26" y="0"/>
                </a:cxn>
                <a:cxn ang="0">
                  <a:pos x="24" y="0"/>
                </a:cxn>
                <a:cxn ang="0">
                  <a:pos x="20" y="0"/>
                </a:cxn>
                <a:cxn ang="0">
                  <a:pos x="20" y="4"/>
                </a:cxn>
                <a:cxn ang="0">
                  <a:pos x="20" y="9"/>
                </a:cxn>
                <a:cxn ang="0">
                  <a:pos x="20" y="11"/>
                </a:cxn>
                <a:cxn ang="0">
                  <a:pos x="17" y="11"/>
                </a:cxn>
                <a:cxn ang="0">
                  <a:pos x="15" y="11"/>
                </a:cxn>
                <a:cxn ang="0">
                  <a:pos x="13" y="11"/>
                </a:cxn>
                <a:cxn ang="0">
                  <a:pos x="13" y="11"/>
                </a:cxn>
                <a:cxn ang="0">
                  <a:pos x="9" y="11"/>
                </a:cxn>
                <a:cxn ang="0">
                  <a:pos x="7" y="5"/>
                </a:cxn>
                <a:cxn ang="0">
                  <a:pos x="5" y="5"/>
                </a:cxn>
                <a:cxn ang="0">
                  <a:pos x="2" y="5"/>
                </a:cxn>
                <a:cxn ang="0">
                  <a:pos x="0" y="5"/>
                </a:cxn>
                <a:cxn ang="0">
                  <a:pos x="0" y="9"/>
                </a:cxn>
                <a:cxn ang="0">
                  <a:pos x="2" y="11"/>
                </a:cxn>
                <a:cxn ang="0">
                  <a:pos x="3" y="17"/>
                </a:cxn>
                <a:cxn ang="0">
                  <a:pos x="3" y="21"/>
                </a:cxn>
                <a:cxn ang="0">
                  <a:pos x="7" y="47"/>
                </a:cxn>
                <a:cxn ang="0">
                  <a:pos x="7" y="47"/>
                </a:cxn>
                <a:cxn ang="0">
                  <a:pos x="7" y="47"/>
                </a:cxn>
              </a:cxnLst>
              <a:rect l="0" t="0" r="r" b="b"/>
              <a:pathLst>
                <a:path w="37" h="47">
                  <a:moveTo>
                    <a:pt x="7" y="47"/>
                  </a:moveTo>
                  <a:lnTo>
                    <a:pt x="17" y="47"/>
                  </a:lnTo>
                  <a:lnTo>
                    <a:pt x="20" y="43"/>
                  </a:lnTo>
                  <a:lnTo>
                    <a:pt x="26" y="37"/>
                  </a:lnTo>
                  <a:lnTo>
                    <a:pt x="30" y="32"/>
                  </a:lnTo>
                  <a:lnTo>
                    <a:pt x="32" y="32"/>
                  </a:lnTo>
                  <a:lnTo>
                    <a:pt x="34" y="30"/>
                  </a:lnTo>
                  <a:lnTo>
                    <a:pt x="37" y="26"/>
                  </a:lnTo>
                  <a:lnTo>
                    <a:pt x="37" y="21"/>
                  </a:lnTo>
                  <a:lnTo>
                    <a:pt x="37" y="15"/>
                  </a:lnTo>
                  <a:lnTo>
                    <a:pt x="34" y="15"/>
                  </a:lnTo>
                  <a:lnTo>
                    <a:pt x="34" y="15"/>
                  </a:lnTo>
                  <a:lnTo>
                    <a:pt x="32" y="11"/>
                  </a:lnTo>
                  <a:lnTo>
                    <a:pt x="32" y="11"/>
                  </a:lnTo>
                  <a:lnTo>
                    <a:pt x="30" y="9"/>
                  </a:lnTo>
                  <a:lnTo>
                    <a:pt x="30" y="5"/>
                  </a:lnTo>
                  <a:lnTo>
                    <a:pt x="30" y="4"/>
                  </a:lnTo>
                  <a:lnTo>
                    <a:pt x="26" y="0"/>
                  </a:lnTo>
                  <a:lnTo>
                    <a:pt x="26" y="0"/>
                  </a:lnTo>
                  <a:lnTo>
                    <a:pt x="24" y="0"/>
                  </a:lnTo>
                  <a:lnTo>
                    <a:pt x="20" y="0"/>
                  </a:lnTo>
                  <a:lnTo>
                    <a:pt x="20" y="4"/>
                  </a:lnTo>
                  <a:lnTo>
                    <a:pt x="20" y="9"/>
                  </a:lnTo>
                  <a:lnTo>
                    <a:pt x="20" y="11"/>
                  </a:lnTo>
                  <a:lnTo>
                    <a:pt x="17" y="11"/>
                  </a:lnTo>
                  <a:lnTo>
                    <a:pt x="15" y="11"/>
                  </a:lnTo>
                  <a:lnTo>
                    <a:pt x="13" y="11"/>
                  </a:lnTo>
                  <a:lnTo>
                    <a:pt x="13" y="11"/>
                  </a:lnTo>
                  <a:lnTo>
                    <a:pt x="9" y="11"/>
                  </a:lnTo>
                  <a:lnTo>
                    <a:pt x="7" y="5"/>
                  </a:lnTo>
                  <a:lnTo>
                    <a:pt x="5" y="5"/>
                  </a:lnTo>
                  <a:lnTo>
                    <a:pt x="2" y="5"/>
                  </a:lnTo>
                  <a:lnTo>
                    <a:pt x="0" y="5"/>
                  </a:lnTo>
                  <a:lnTo>
                    <a:pt x="0" y="9"/>
                  </a:lnTo>
                  <a:lnTo>
                    <a:pt x="2" y="11"/>
                  </a:lnTo>
                  <a:lnTo>
                    <a:pt x="3" y="17"/>
                  </a:lnTo>
                  <a:lnTo>
                    <a:pt x="3" y="21"/>
                  </a:lnTo>
                  <a:lnTo>
                    <a:pt x="7" y="47"/>
                  </a:lnTo>
                  <a:lnTo>
                    <a:pt x="7" y="47"/>
                  </a:lnTo>
                  <a:lnTo>
                    <a:pt x="7" y="4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8" name="Freeform 141">
              <a:extLst>
                <a:ext uri="{FF2B5EF4-FFF2-40B4-BE49-F238E27FC236}">
                  <a16:creationId xmlns:a16="http://schemas.microsoft.com/office/drawing/2014/main" id="{60E80876-E286-4827-AB17-0ECC738E9BF6}"/>
                </a:ext>
              </a:extLst>
            </p:cNvPr>
            <p:cNvSpPr>
              <a:spLocks/>
            </p:cNvSpPr>
            <p:nvPr/>
          </p:nvSpPr>
          <p:spPr bwMode="auto">
            <a:xfrm>
              <a:off x="3001" y="3003"/>
              <a:ext cx="354" cy="349"/>
            </a:xfrm>
            <a:custGeom>
              <a:avLst/>
              <a:gdLst/>
              <a:ahLst/>
              <a:cxnLst>
                <a:cxn ang="0">
                  <a:pos x="10" y="192"/>
                </a:cxn>
                <a:cxn ang="0">
                  <a:pos x="23" y="189"/>
                </a:cxn>
                <a:cxn ang="0">
                  <a:pos x="40" y="179"/>
                </a:cxn>
                <a:cxn ang="0">
                  <a:pos x="49" y="189"/>
                </a:cxn>
                <a:cxn ang="0">
                  <a:pos x="72" y="172"/>
                </a:cxn>
                <a:cxn ang="0">
                  <a:pos x="74" y="142"/>
                </a:cxn>
                <a:cxn ang="0">
                  <a:pos x="90" y="121"/>
                </a:cxn>
                <a:cxn ang="0">
                  <a:pos x="107" y="94"/>
                </a:cxn>
                <a:cxn ang="0">
                  <a:pos x="111" y="70"/>
                </a:cxn>
                <a:cxn ang="0">
                  <a:pos x="124" y="42"/>
                </a:cxn>
                <a:cxn ang="0">
                  <a:pos x="122" y="17"/>
                </a:cxn>
                <a:cxn ang="0">
                  <a:pos x="128" y="8"/>
                </a:cxn>
                <a:cxn ang="0">
                  <a:pos x="141" y="2"/>
                </a:cxn>
                <a:cxn ang="0">
                  <a:pos x="158" y="17"/>
                </a:cxn>
                <a:cxn ang="0">
                  <a:pos x="179" y="17"/>
                </a:cxn>
                <a:cxn ang="0">
                  <a:pos x="190" y="17"/>
                </a:cxn>
                <a:cxn ang="0">
                  <a:pos x="205" y="12"/>
                </a:cxn>
                <a:cxn ang="0">
                  <a:pos x="230" y="2"/>
                </a:cxn>
                <a:cxn ang="0">
                  <a:pos x="241" y="6"/>
                </a:cxn>
                <a:cxn ang="0">
                  <a:pos x="249" y="0"/>
                </a:cxn>
                <a:cxn ang="0">
                  <a:pos x="266" y="4"/>
                </a:cxn>
                <a:cxn ang="0">
                  <a:pos x="288" y="4"/>
                </a:cxn>
                <a:cxn ang="0">
                  <a:pos x="303" y="17"/>
                </a:cxn>
                <a:cxn ang="0">
                  <a:pos x="314" y="15"/>
                </a:cxn>
                <a:cxn ang="0">
                  <a:pos x="330" y="10"/>
                </a:cxn>
                <a:cxn ang="0">
                  <a:pos x="343" y="25"/>
                </a:cxn>
                <a:cxn ang="0">
                  <a:pos x="352" y="32"/>
                </a:cxn>
                <a:cxn ang="0">
                  <a:pos x="350" y="55"/>
                </a:cxn>
                <a:cxn ang="0">
                  <a:pos x="337" y="85"/>
                </a:cxn>
                <a:cxn ang="0">
                  <a:pos x="326" y="123"/>
                </a:cxn>
                <a:cxn ang="0">
                  <a:pos x="316" y="155"/>
                </a:cxn>
                <a:cxn ang="0">
                  <a:pos x="341" y="251"/>
                </a:cxn>
                <a:cxn ang="0">
                  <a:pos x="309" y="281"/>
                </a:cxn>
                <a:cxn ang="0">
                  <a:pos x="305" y="296"/>
                </a:cxn>
                <a:cxn ang="0">
                  <a:pos x="299" y="317"/>
                </a:cxn>
                <a:cxn ang="0">
                  <a:pos x="320" y="330"/>
                </a:cxn>
                <a:cxn ang="0">
                  <a:pos x="326" y="349"/>
                </a:cxn>
                <a:cxn ang="0">
                  <a:pos x="313" y="349"/>
                </a:cxn>
                <a:cxn ang="0">
                  <a:pos x="288" y="326"/>
                </a:cxn>
                <a:cxn ang="0">
                  <a:pos x="275" y="315"/>
                </a:cxn>
                <a:cxn ang="0">
                  <a:pos x="262" y="324"/>
                </a:cxn>
                <a:cxn ang="0">
                  <a:pos x="243" y="317"/>
                </a:cxn>
                <a:cxn ang="0">
                  <a:pos x="235" y="307"/>
                </a:cxn>
                <a:cxn ang="0">
                  <a:pos x="224" y="311"/>
                </a:cxn>
                <a:cxn ang="0">
                  <a:pos x="218" y="304"/>
                </a:cxn>
                <a:cxn ang="0">
                  <a:pos x="203" y="307"/>
                </a:cxn>
                <a:cxn ang="0">
                  <a:pos x="190" y="305"/>
                </a:cxn>
                <a:cxn ang="0">
                  <a:pos x="186" y="300"/>
                </a:cxn>
                <a:cxn ang="0">
                  <a:pos x="185" y="287"/>
                </a:cxn>
                <a:cxn ang="0">
                  <a:pos x="181" y="277"/>
                </a:cxn>
                <a:cxn ang="0">
                  <a:pos x="179" y="260"/>
                </a:cxn>
                <a:cxn ang="0">
                  <a:pos x="177" y="245"/>
                </a:cxn>
                <a:cxn ang="0">
                  <a:pos x="156" y="232"/>
                </a:cxn>
                <a:cxn ang="0">
                  <a:pos x="132" y="234"/>
                </a:cxn>
                <a:cxn ang="0">
                  <a:pos x="115" y="249"/>
                </a:cxn>
                <a:cxn ang="0">
                  <a:pos x="96" y="241"/>
                </a:cxn>
                <a:cxn ang="0">
                  <a:pos x="87" y="226"/>
                </a:cxn>
                <a:cxn ang="0">
                  <a:pos x="83" y="213"/>
                </a:cxn>
                <a:cxn ang="0">
                  <a:pos x="40" y="207"/>
                </a:cxn>
                <a:cxn ang="0">
                  <a:pos x="19" y="207"/>
                </a:cxn>
                <a:cxn ang="0">
                  <a:pos x="10" y="211"/>
                </a:cxn>
                <a:cxn ang="0">
                  <a:pos x="0" y="207"/>
                </a:cxn>
              </a:cxnLst>
              <a:rect l="0" t="0" r="r" b="b"/>
              <a:pathLst>
                <a:path w="354" h="349">
                  <a:moveTo>
                    <a:pt x="0" y="207"/>
                  </a:moveTo>
                  <a:lnTo>
                    <a:pt x="4" y="206"/>
                  </a:lnTo>
                  <a:lnTo>
                    <a:pt x="8" y="204"/>
                  </a:lnTo>
                  <a:lnTo>
                    <a:pt x="10" y="202"/>
                  </a:lnTo>
                  <a:lnTo>
                    <a:pt x="10" y="194"/>
                  </a:lnTo>
                  <a:lnTo>
                    <a:pt x="10" y="192"/>
                  </a:lnTo>
                  <a:lnTo>
                    <a:pt x="15" y="189"/>
                  </a:lnTo>
                  <a:lnTo>
                    <a:pt x="19" y="187"/>
                  </a:lnTo>
                  <a:lnTo>
                    <a:pt x="19" y="187"/>
                  </a:lnTo>
                  <a:lnTo>
                    <a:pt x="23" y="187"/>
                  </a:lnTo>
                  <a:lnTo>
                    <a:pt x="23" y="187"/>
                  </a:lnTo>
                  <a:lnTo>
                    <a:pt x="23" y="189"/>
                  </a:lnTo>
                  <a:lnTo>
                    <a:pt x="28" y="189"/>
                  </a:lnTo>
                  <a:lnTo>
                    <a:pt x="28" y="187"/>
                  </a:lnTo>
                  <a:lnTo>
                    <a:pt x="32" y="183"/>
                  </a:lnTo>
                  <a:lnTo>
                    <a:pt x="32" y="183"/>
                  </a:lnTo>
                  <a:lnTo>
                    <a:pt x="34" y="183"/>
                  </a:lnTo>
                  <a:lnTo>
                    <a:pt x="40" y="179"/>
                  </a:lnTo>
                  <a:lnTo>
                    <a:pt x="43" y="177"/>
                  </a:lnTo>
                  <a:lnTo>
                    <a:pt x="43" y="179"/>
                  </a:lnTo>
                  <a:lnTo>
                    <a:pt x="42" y="183"/>
                  </a:lnTo>
                  <a:lnTo>
                    <a:pt x="43" y="183"/>
                  </a:lnTo>
                  <a:lnTo>
                    <a:pt x="43" y="187"/>
                  </a:lnTo>
                  <a:lnTo>
                    <a:pt x="49" y="189"/>
                  </a:lnTo>
                  <a:lnTo>
                    <a:pt x="53" y="187"/>
                  </a:lnTo>
                  <a:lnTo>
                    <a:pt x="57" y="183"/>
                  </a:lnTo>
                  <a:lnTo>
                    <a:pt x="62" y="177"/>
                  </a:lnTo>
                  <a:lnTo>
                    <a:pt x="64" y="174"/>
                  </a:lnTo>
                  <a:lnTo>
                    <a:pt x="68" y="172"/>
                  </a:lnTo>
                  <a:lnTo>
                    <a:pt x="72" y="172"/>
                  </a:lnTo>
                  <a:lnTo>
                    <a:pt x="74" y="166"/>
                  </a:lnTo>
                  <a:lnTo>
                    <a:pt x="74" y="162"/>
                  </a:lnTo>
                  <a:lnTo>
                    <a:pt x="74" y="159"/>
                  </a:lnTo>
                  <a:lnTo>
                    <a:pt x="74" y="147"/>
                  </a:lnTo>
                  <a:lnTo>
                    <a:pt x="74" y="147"/>
                  </a:lnTo>
                  <a:lnTo>
                    <a:pt x="74" y="142"/>
                  </a:lnTo>
                  <a:lnTo>
                    <a:pt x="74" y="138"/>
                  </a:lnTo>
                  <a:lnTo>
                    <a:pt x="81" y="130"/>
                  </a:lnTo>
                  <a:lnTo>
                    <a:pt x="81" y="128"/>
                  </a:lnTo>
                  <a:lnTo>
                    <a:pt x="87" y="123"/>
                  </a:lnTo>
                  <a:lnTo>
                    <a:pt x="89" y="121"/>
                  </a:lnTo>
                  <a:lnTo>
                    <a:pt x="90" y="121"/>
                  </a:lnTo>
                  <a:lnTo>
                    <a:pt x="94" y="119"/>
                  </a:lnTo>
                  <a:lnTo>
                    <a:pt x="98" y="117"/>
                  </a:lnTo>
                  <a:lnTo>
                    <a:pt x="106" y="108"/>
                  </a:lnTo>
                  <a:lnTo>
                    <a:pt x="106" y="100"/>
                  </a:lnTo>
                  <a:lnTo>
                    <a:pt x="107" y="96"/>
                  </a:lnTo>
                  <a:lnTo>
                    <a:pt x="107" y="94"/>
                  </a:lnTo>
                  <a:lnTo>
                    <a:pt x="107" y="89"/>
                  </a:lnTo>
                  <a:lnTo>
                    <a:pt x="107" y="87"/>
                  </a:lnTo>
                  <a:lnTo>
                    <a:pt x="107" y="81"/>
                  </a:lnTo>
                  <a:lnTo>
                    <a:pt x="107" y="79"/>
                  </a:lnTo>
                  <a:lnTo>
                    <a:pt x="107" y="76"/>
                  </a:lnTo>
                  <a:lnTo>
                    <a:pt x="111" y="70"/>
                  </a:lnTo>
                  <a:lnTo>
                    <a:pt x="111" y="68"/>
                  </a:lnTo>
                  <a:lnTo>
                    <a:pt x="113" y="62"/>
                  </a:lnTo>
                  <a:lnTo>
                    <a:pt x="111" y="57"/>
                  </a:lnTo>
                  <a:lnTo>
                    <a:pt x="119" y="45"/>
                  </a:lnTo>
                  <a:lnTo>
                    <a:pt x="121" y="44"/>
                  </a:lnTo>
                  <a:lnTo>
                    <a:pt x="124" y="42"/>
                  </a:lnTo>
                  <a:lnTo>
                    <a:pt x="124" y="34"/>
                  </a:lnTo>
                  <a:lnTo>
                    <a:pt x="122" y="30"/>
                  </a:lnTo>
                  <a:lnTo>
                    <a:pt x="122" y="25"/>
                  </a:lnTo>
                  <a:lnTo>
                    <a:pt x="122" y="25"/>
                  </a:lnTo>
                  <a:lnTo>
                    <a:pt x="124" y="21"/>
                  </a:lnTo>
                  <a:lnTo>
                    <a:pt x="122" y="17"/>
                  </a:lnTo>
                  <a:lnTo>
                    <a:pt x="122" y="17"/>
                  </a:lnTo>
                  <a:lnTo>
                    <a:pt x="124" y="17"/>
                  </a:lnTo>
                  <a:lnTo>
                    <a:pt x="126" y="15"/>
                  </a:lnTo>
                  <a:lnTo>
                    <a:pt x="126" y="12"/>
                  </a:lnTo>
                  <a:lnTo>
                    <a:pt x="128" y="10"/>
                  </a:lnTo>
                  <a:lnTo>
                    <a:pt x="128" y="8"/>
                  </a:lnTo>
                  <a:lnTo>
                    <a:pt x="130" y="6"/>
                  </a:lnTo>
                  <a:lnTo>
                    <a:pt x="132" y="6"/>
                  </a:lnTo>
                  <a:lnTo>
                    <a:pt x="136" y="4"/>
                  </a:lnTo>
                  <a:lnTo>
                    <a:pt x="136" y="4"/>
                  </a:lnTo>
                  <a:lnTo>
                    <a:pt x="138" y="2"/>
                  </a:lnTo>
                  <a:lnTo>
                    <a:pt x="141" y="2"/>
                  </a:lnTo>
                  <a:lnTo>
                    <a:pt x="141" y="4"/>
                  </a:lnTo>
                  <a:lnTo>
                    <a:pt x="143" y="4"/>
                  </a:lnTo>
                  <a:lnTo>
                    <a:pt x="151" y="10"/>
                  </a:lnTo>
                  <a:lnTo>
                    <a:pt x="153" y="12"/>
                  </a:lnTo>
                  <a:lnTo>
                    <a:pt x="158" y="15"/>
                  </a:lnTo>
                  <a:lnTo>
                    <a:pt x="158" y="17"/>
                  </a:lnTo>
                  <a:lnTo>
                    <a:pt x="162" y="15"/>
                  </a:lnTo>
                  <a:lnTo>
                    <a:pt x="166" y="17"/>
                  </a:lnTo>
                  <a:lnTo>
                    <a:pt x="170" y="17"/>
                  </a:lnTo>
                  <a:lnTo>
                    <a:pt x="173" y="17"/>
                  </a:lnTo>
                  <a:lnTo>
                    <a:pt x="175" y="17"/>
                  </a:lnTo>
                  <a:lnTo>
                    <a:pt x="179" y="17"/>
                  </a:lnTo>
                  <a:lnTo>
                    <a:pt x="183" y="17"/>
                  </a:lnTo>
                  <a:lnTo>
                    <a:pt x="186" y="21"/>
                  </a:lnTo>
                  <a:lnTo>
                    <a:pt x="186" y="21"/>
                  </a:lnTo>
                  <a:lnTo>
                    <a:pt x="190" y="21"/>
                  </a:lnTo>
                  <a:lnTo>
                    <a:pt x="194" y="17"/>
                  </a:lnTo>
                  <a:lnTo>
                    <a:pt x="190" y="17"/>
                  </a:lnTo>
                  <a:lnTo>
                    <a:pt x="190" y="15"/>
                  </a:lnTo>
                  <a:lnTo>
                    <a:pt x="194" y="12"/>
                  </a:lnTo>
                  <a:lnTo>
                    <a:pt x="196" y="8"/>
                  </a:lnTo>
                  <a:lnTo>
                    <a:pt x="200" y="8"/>
                  </a:lnTo>
                  <a:lnTo>
                    <a:pt x="203" y="10"/>
                  </a:lnTo>
                  <a:lnTo>
                    <a:pt x="205" y="12"/>
                  </a:lnTo>
                  <a:lnTo>
                    <a:pt x="207" y="10"/>
                  </a:lnTo>
                  <a:lnTo>
                    <a:pt x="217" y="10"/>
                  </a:lnTo>
                  <a:lnTo>
                    <a:pt x="218" y="8"/>
                  </a:lnTo>
                  <a:lnTo>
                    <a:pt x="220" y="6"/>
                  </a:lnTo>
                  <a:lnTo>
                    <a:pt x="228" y="2"/>
                  </a:lnTo>
                  <a:lnTo>
                    <a:pt x="230" y="2"/>
                  </a:lnTo>
                  <a:lnTo>
                    <a:pt x="230" y="4"/>
                  </a:lnTo>
                  <a:lnTo>
                    <a:pt x="232" y="4"/>
                  </a:lnTo>
                  <a:lnTo>
                    <a:pt x="232" y="8"/>
                  </a:lnTo>
                  <a:lnTo>
                    <a:pt x="234" y="8"/>
                  </a:lnTo>
                  <a:lnTo>
                    <a:pt x="237" y="6"/>
                  </a:lnTo>
                  <a:lnTo>
                    <a:pt x="241" y="6"/>
                  </a:lnTo>
                  <a:lnTo>
                    <a:pt x="245" y="4"/>
                  </a:lnTo>
                  <a:lnTo>
                    <a:pt x="245" y="4"/>
                  </a:lnTo>
                  <a:lnTo>
                    <a:pt x="249" y="0"/>
                  </a:lnTo>
                  <a:lnTo>
                    <a:pt x="249" y="0"/>
                  </a:lnTo>
                  <a:lnTo>
                    <a:pt x="249" y="0"/>
                  </a:lnTo>
                  <a:lnTo>
                    <a:pt x="249" y="0"/>
                  </a:lnTo>
                  <a:lnTo>
                    <a:pt x="250" y="0"/>
                  </a:lnTo>
                  <a:lnTo>
                    <a:pt x="256" y="0"/>
                  </a:lnTo>
                  <a:lnTo>
                    <a:pt x="258" y="0"/>
                  </a:lnTo>
                  <a:lnTo>
                    <a:pt x="260" y="0"/>
                  </a:lnTo>
                  <a:lnTo>
                    <a:pt x="262" y="2"/>
                  </a:lnTo>
                  <a:lnTo>
                    <a:pt x="266" y="4"/>
                  </a:lnTo>
                  <a:lnTo>
                    <a:pt x="273" y="4"/>
                  </a:lnTo>
                  <a:lnTo>
                    <a:pt x="273" y="4"/>
                  </a:lnTo>
                  <a:lnTo>
                    <a:pt x="279" y="0"/>
                  </a:lnTo>
                  <a:lnTo>
                    <a:pt x="282" y="2"/>
                  </a:lnTo>
                  <a:lnTo>
                    <a:pt x="288" y="4"/>
                  </a:lnTo>
                  <a:lnTo>
                    <a:pt x="288" y="4"/>
                  </a:lnTo>
                  <a:lnTo>
                    <a:pt x="288" y="8"/>
                  </a:lnTo>
                  <a:lnTo>
                    <a:pt x="290" y="10"/>
                  </a:lnTo>
                  <a:lnTo>
                    <a:pt x="292" y="10"/>
                  </a:lnTo>
                  <a:lnTo>
                    <a:pt x="294" y="12"/>
                  </a:lnTo>
                  <a:lnTo>
                    <a:pt x="299" y="15"/>
                  </a:lnTo>
                  <a:lnTo>
                    <a:pt x="303" y="17"/>
                  </a:lnTo>
                  <a:lnTo>
                    <a:pt x="303" y="17"/>
                  </a:lnTo>
                  <a:lnTo>
                    <a:pt x="305" y="15"/>
                  </a:lnTo>
                  <a:lnTo>
                    <a:pt x="309" y="12"/>
                  </a:lnTo>
                  <a:lnTo>
                    <a:pt x="313" y="12"/>
                  </a:lnTo>
                  <a:lnTo>
                    <a:pt x="314" y="12"/>
                  </a:lnTo>
                  <a:lnTo>
                    <a:pt x="314" y="15"/>
                  </a:lnTo>
                  <a:lnTo>
                    <a:pt x="316" y="15"/>
                  </a:lnTo>
                  <a:lnTo>
                    <a:pt x="320" y="12"/>
                  </a:lnTo>
                  <a:lnTo>
                    <a:pt x="322" y="12"/>
                  </a:lnTo>
                  <a:lnTo>
                    <a:pt x="324" y="8"/>
                  </a:lnTo>
                  <a:lnTo>
                    <a:pt x="330" y="10"/>
                  </a:lnTo>
                  <a:lnTo>
                    <a:pt x="330" y="10"/>
                  </a:lnTo>
                  <a:lnTo>
                    <a:pt x="333" y="15"/>
                  </a:lnTo>
                  <a:lnTo>
                    <a:pt x="333" y="17"/>
                  </a:lnTo>
                  <a:lnTo>
                    <a:pt x="333" y="17"/>
                  </a:lnTo>
                  <a:lnTo>
                    <a:pt x="339" y="21"/>
                  </a:lnTo>
                  <a:lnTo>
                    <a:pt x="341" y="21"/>
                  </a:lnTo>
                  <a:lnTo>
                    <a:pt x="343" y="25"/>
                  </a:lnTo>
                  <a:lnTo>
                    <a:pt x="345" y="27"/>
                  </a:lnTo>
                  <a:lnTo>
                    <a:pt x="345" y="29"/>
                  </a:lnTo>
                  <a:lnTo>
                    <a:pt x="345" y="30"/>
                  </a:lnTo>
                  <a:lnTo>
                    <a:pt x="346" y="30"/>
                  </a:lnTo>
                  <a:lnTo>
                    <a:pt x="350" y="30"/>
                  </a:lnTo>
                  <a:lnTo>
                    <a:pt x="352" y="32"/>
                  </a:lnTo>
                  <a:lnTo>
                    <a:pt x="352" y="36"/>
                  </a:lnTo>
                  <a:lnTo>
                    <a:pt x="350" y="38"/>
                  </a:lnTo>
                  <a:lnTo>
                    <a:pt x="350" y="44"/>
                  </a:lnTo>
                  <a:lnTo>
                    <a:pt x="348" y="49"/>
                  </a:lnTo>
                  <a:lnTo>
                    <a:pt x="348" y="53"/>
                  </a:lnTo>
                  <a:lnTo>
                    <a:pt x="350" y="55"/>
                  </a:lnTo>
                  <a:lnTo>
                    <a:pt x="352" y="57"/>
                  </a:lnTo>
                  <a:lnTo>
                    <a:pt x="354" y="61"/>
                  </a:lnTo>
                  <a:lnTo>
                    <a:pt x="354" y="62"/>
                  </a:lnTo>
                  <a:lnTo>
                    <a:pt x="343" y="76"/>
                  </a:lnTo>
                  <a:lnTo>
                    <a:pt x="337" y="81"/>
                  </a:lnTo>
                  <a:lnTo>
                    <a:pt x="337" y="85"/>
                  </a:lnTo>
                  <a:lnTo>
                    <a:pt x="330" y="98"/>
                  </a:lnTo>
                  <a:lnTo>
                    <a:pt x="328" y="100"/>
                  </a:lnTo>
                  <a:lnTo>
                    <a:pt x="328" y="104"/>
                  </a:lnTo>
                  <a:lnTo>
                    <a:pt x="328" y="111"/>
                  </a:lnTo>
                  <a:lnTo>
                    <a:pt x="324" y="119"/>
                  </a:lnTo>
                  <a:lnTo>
                    <a:pt x="326" y="123"/>
                  </a:lnTo>
                  <a:lnTo>
                    <a:pt x="320" y="128"/>
                  </a:lnTo>
                  <a:lnTo>
                    <a:pt x="316" y="130"/>
                  </a:lnTo>
                  <a:lnTo>
                    <a:pt x="313" y="142"/>
                  </a:lnTo>
                  <a:lnTo>
                    <a:pt x="313" y="147"/>
                  </a:lnTo>
                  <a:lnTo>
                    <a:pt x="314" y="149"/>
                  </a:lnTo>
                  <a:lnTo>
                    <a:pt x="316" y="155"/>
                  </a:lnTo>
                  <a:lnTo>
                    <a:pt x="316" y="159"/>
                  </a:lnTo>
                  <a:lnTo>
                    <a:pt x="322" y="196"/>
                  </a:lnTo>
                  <a:lnTo>
                    <a:pt x="326" y="219"/>
                  </a:lnTo>
                  <a:lnTo>
                    <a:pt x="339" y="238"/>
                  </a:lnTo>
                  <a:lnTo>
                    <a:pt x="343" y="251"/>
                  </a:lnTo>
                  <a:lnTo>
                    <a:pt x="341" y="251"/>
                  </a:lnTo>
                  <a:lnTo>
                    <a:pt x="313" y="258"/>
                  </a:lnTo>
                  <a:lnTo>
                    <a:pt x="303" y="272"/>
                  </a:lnTo>
                  <a:lnTo>
                    <a:pt x="303" y="275"/>
                  </a:lnTo>
                  <a:lnTo>
                    <a:pt x="305" y="277"/>
                  </a:lnTo>
                  <a:lnTo>
                    <a:pt x="309" y="279"/>
                  </a:lnTo>
                  <a:lnTo>
                    <a:pt x="309" y="281"/>
                  </a:lnTo>
                  <a:lnTo>
                    <a:pt x="305" y="283"/>
                  </a:lnTo>
                  <a:lnTo>
                    <a:pt x="309" y="285"/>
                  </a:lnTo>
                  <a:lnTo>
                    <a:pt x="305" y="287"/>
                  </a:lnTo>
                  <a:lnTo>
                    <a:pt x="309" y="290"/>
                  </a:lnTo>
                  <a:lnTo>
                    <a:pt x="305" y="292"/>
                  </a:lnTo>
                  <a:lnTo>
                    <a:pt x="305" y="296"/>
                  </a:lnTo>
                  <a:lnTo>
                    <a:pt x="305" y="296"/>
                  </a:lnTo>
                  <a:lnTo>
                    <a:pt x="303" y="300"/>
                  </a:lnTo>
                  <a:lnTo>
                    <a:pt x="299" y="300"/>
                  </a:lnTo>
                  <a:lnTo>
                    <a:pt x="299" y="304"/>
                  </a:lnTo>
                  <a:lnTo>
                    <a:pt x="299" y="315"/>
                  </a:lnTo>
                  <a:lnTo>
                    <a:pt x="299" y="317"/>
                  </a:lnTo>
                  <a:lnTo>
                    <a:pt x="303" y="320"/>
                  </a:lnTo>
                  <a:lnTo>
                    <a:pt x="309" y="324"/>
                  </a:lnTo>
                  <a:lnTo>
                    <a:pt x="309" y="330"/>
                  </a:lnTo>
                  <a:lnTo>
                    <a:pt x="313" y="330"/>
                  </a:lnTo>
                  <a:lnTo>
                    <a:pt x="318" y="330"/>
                  </a:lnTo>
                  <a:lnTo>
                    <a:pt x="320" y="330"/>
                  </a:lnTo>
                  <a:lnTo>
                    <a:pt x="318" y="330"/>
                  </a:lnTo>
                  <a:lnTo>
                    <a:pt x="318" y="326"/>
                  </a:lnTo>
                  <a:lnTo>
                    <a:pt x="322" y="326"/>
                  </a:lnTo>
                  <a:lnTo>
                    <a:pt x="326" y="326"/>
                  </a:lnTo>
                  <a:lnTo>
                    <a:pt x="326" y="345"/>
                  </a:lnTo>
                  <a:lnTo>
                    <a:pt x="326" y="349"/>
                  </a:lnTo>
                  <a:lnTo>
                    <a:pt x="322" y="349"/>
                  </a:lnTo>
                  <a:lnTo>
                    <a:pt x="322" y="345"/>
                  </a:lnTo>
                  <a:lnTo>
                    <a:pt x="320" y="345"/>
                  </a:lnTo>
                  <a:lnTo>
                    <a:pt x="316" y="349"/>
                  </a:lnTo>
                  <a:lnTo>
                    <a:pt x="314" y="349"/>
                  </a:lnTo>
                  <a:lnTo>
                    <a:pt x="313" y="349"/>
                  </a:lnTo>
                  <a:lnTo>
                    <a:pt x="309" y="345"/>
                  </a:lnTo>
                  <a:lnTo>
                    <a:pt x="303" y="341"/>
                  </a:lnTo>
                  <a:lnTo>
                    <a:pt x="299" y="337"/>
                  </a:lnTo>
                  <a:lnTo>
                    <a:pt x="298" y="332"/>
                  </a:lnTo>
                  <a:lnTo>
                    <a:pt x="294" y="330"/>
                  </a:lnTo>
                  <a:lnTo>
                    <a:pt x="288" y="326"/>
                  </a:lnTo>
                  <a:lnTo>
                    <a:pt x="281" y="324"/>
                  </a:lnTo>
                  <a:lnTo>
                    <a:pt x="281" y="324"/>
                  </a:lnTo>
                  <a:lnTo>
                    <a:pt x="279" y="320"/>
                  </a:lnTo>
                  <a:lnTo>
                    <a:pt x="279" y="315"/>
                  </a:lnTo>
                  <a:lnTo>
                    <a:pt x="279" y="315"/>
                  </a:lnTo>
                  <a:lnTo>
                    <a:pt x="275" y="315"/>
                  </a:lnTo>
                  <a:lnTo>
                    <a:pt x="273" y="315"/>
                  </a:lnTo>
                  <a:lnTo>
                    <a:pt x="271" y="320"/>
                  </a:lnTo>
                  <a:lnTo>
                    <a:pt x="271" y="320"/>
                  </a:lnTo>
                  <a:lnTo>
                    <a:pt x="266" y="324"/>
                  </a:lnTo>
                  <a:lnTo>
                    <a:pt x="262" y="324"/>
                  </a:lnTo>
                  <a:lnTo>
                    <a:pt x="262" y="324"/>
                  </a:lnTo>
                  <a:lnTo>
                    <a:pt x="258" y="320"/>
                  </a:lnTo>
                  <a:lnTo>
                    <a:pt x="254" y="320"/>
                  </a:lnTo>
                  <a:lnTo>
                    <a:pt x="249" y="317"/>
                  </a:lnTo>
                  <a:lnTo>
                    <a:pt x="249" y="317"/>
                  </a:lnTo>
                  <a:lnTo>
                    <a:pt x="245" y="317"/>
                  </a:lnTo>
                  <a:lnTo>
                    <a:pt x="243" y="317"/>
                  </a:lnTo>
                  <a:lnTo>
                    <a:pt x="243" y="315"/>
                  </a:lnTo>
                  <a:lnTo>
                    <a:pt x="243" y="313"/>
                  </a:lnTo>
                  <a:lnTo>
                    <a:pt x="243" y="311"/>
                  </a:lnTo>
                  <a:lnTo>
                    <a:pt x="243" y="307"/>
                  </a:lnTo>
                  <a:lnTo>
                    <a:pt x="241" y="307"/>
                  </a:lnTo>
                  <a:lnTo>
                    <a:pt x="235" y="307"/>
                  </a:lnTo>
                  <a:lnTo>
                    <a:pt x="235" y="309"/>
                  </a:lnTo>
                  <a:lnTo>
                    <a:pt x="232" y="309"/>
                  </a:lnTo>
                  <a:lnTo>
                    <a:pt x="230" y="311"/>
                  </a:lnTo>
                  <a:lnTo>
                    <a:pt x="226" y="313"/>
                  </a:lnTo>
                  <a:lnTo>
                    <a:pt x="226" y="313"/>
                  </a:lnTo>
                  <a:lnTo>
                    <a:pt x="224" y="311"/>
                  </a:lnTo>
                  <a:lnTo>
                    <a:pt x="224" y="307"/>
                  </a:lnTo>
                  <a:lnTo>
                    <a:pt x="224" y="305"/>
                  </a:lnTo>
                  <a:lnTo>
                    <a:pt x="220" y="305"/>
                  </a:lnTo>
                  <a:lnTo>
                    <a:pt x="220" y="305"/>
                  </a:lnTo>
                  <a:lnTo>
                    <a:pt x="218" y="304"/>
                  </a:lnTo>
                  <a:lnTo>
                    <a:pt x="218" y="304"/>
                  </a:lnTo>
                  <a:lnTo>
                    <a:pt x="215" y="304"/>
                  </a:lnTo>
                  <a:lnTo>
                    <a:pt x="211" y="305"/>
                  </a:lnTo>
                  <a:lnTo>
                    <a:pt x="209" y="307"/>
                  </a:lnTo>
                  <a:lnTo>
                    <a:pt x="207" y="307"/>
                  </a:lnTo>
                  <a:lnTo>
                    <a:pt x="205" y="307"/>
                  </a:lnTo>
                  <a:lnTo>
                    <a:pt x="203" y="307"/>
                  </a:lnTo>
                  <a:lnTo>
                    <a:pt x="200" y="307"/>
                  </a:lnTo>
                  <a:lnTo>
                    <a:pt x="196" y="307"/>
                  </a:lnTo>
                  <a:lnTo>
                    <a:pt x="194" y="305"/>
                  </a:lnTo>
                  <a:lnTo>
                    <a:pt x="190" y="305"/>
                  </a:lnTo>
                  <a:lnTo>
                    <a:pt x="190" y="305"/>
                  </a:lnTo>
                  <a:lnTo>
                    <a:pt x="190" y="305"/>
                  </a:lnTo>
                  <a:lnTo>
                    <a:pt x="186" y="307"/>
                  </a:lnTo>
                  <a:lnTo>
                    <a:pt x="186" y="307"/>
                  </a:lnTo>
                  <a:lnTo>
                    <a:pt x="186" y="305"/>
                  </a:lnTo>
                  <a:lnTo>
                    <a:pt x="186" y="302"/>
                  </a:lnTo>
                  <a:lnTo>
                    <a:pt x="186" y="302"/>
                  </a:lnTo>
                  <a:lnTo>
                    <a:pt x="186" y="300"/>
                  </a:lnTo>
                  <a:lnTo>
                    <a:pt x="186" y="300"/>
                  </a:lnTo>
                  <a:lnTo>
                    <a:pt x="186" y="296"/>
                  </a:lnTo>
                  <a:lnTo>
                    <a:pt x="185" y="292"/>
                  </a:lnTo>
                  <a:lnTo>
                    <a:pt x="186" y="292"/>
                  </a:lnTo>
                  <a:lnTo>
                    <a:pt x="186" y="290"/>
                  </a:lnTo>
                  <a:lnTo>
                    <a:pt x="185" y="287"/>
                  </a:lnTo>
                  <a:lnTo>
                    <a:pt x="185" y="285"/>
                  </a:lnTo>
                  <a:lnTo>
                    <a:pt x="185" y="283"/>
                  </a:lnTo>
                  <a:lnTo>
                    <a:pt x="185" y="281"/>
                  </a:lnTo>
                  <a:lnTo>
                    <a:pt x="183" y="281"/>
                  </a:lnTo>
                  <a:lnTo>
                    <a:pt x="181" y="277"/>
                  </a:lnTo>
                  <a:lnTo>
                    <a:pt x="181" y="277"/>
                  </a:lnTo>
                  <a:lnTo>
                    <a:pt x="181" y="275"/>
                  </a:lnTo>
                  <a:lnTo>
                    <a:pt x="179" y="272"/>
                  </a:lnTo>
                  <a:lnTo>
                    <a:pt x="179" y="272"/>
                  </a:lnTo>
                  <a:lnTo>
                    <a:pt x="177" y="268"/>
                  </a:lnTo>
                  <a:lnTo>
                    <a:pt x="179" y="266"/>
                  </a:lnTo>
                  <a:lnTo>
                    <a:pt x="179" y="260"/>
                  </a:lnTo>
                  <a:lnTo>
                    <a:pt x="177" y="256"/>
                  </a:lnTo>
                  <a:lnTo>
                    <a:pt x="177" y="255"/>
                  </a:lnTo>
                  <a:lnTo>
                    <a:pt x="179" y="255"/>
                  </a:lnTo>
                  <a:lnTo>
                    <a:pt x="179" y="251"/>
                  </a:lnTo>
                  <a:lnTo>
                    <a:pt x="177" y="249"/>
                  </a:lnTo>
                  <a:lnTo>
                    <a:pt x="177" y="245"/>
                  </a:lnTo>
                  <a:lnTo>
                    <a:pt x="179" y="241"/>
                  </a:lnTo>
                  <a:lnTo>
                    <a:pt x="179" y="241"/>
                  </a:lnTo>
                  <a:lnTo>
                    <a:pt x="179" y="238"/>
                  </a:lnTo>
                  <a:lnTo>
                    <a:pt x="179" y="236"/>
                  </a:lnTo>
                  <a:lnTo>
                    <a:pt x="158" y="234"/>
                  </a:lnTo>
                  <a:lnTo>
                    <a:pt x="156" y="232"/>
                  </a:lnTo>
                  <a:lnTo>
                    <a:pt x="158" y="230"/>
                  </a:lnTo>
                  <a:lnTo>
                    <a:pt x="158" y="226"/>
                  </a:lnTo>
                  <a:lnTo>
                    <a:pt x="153" y="226"/>
                  </a:lnTo>
                  <a:lnTo>
                    <a:pt x="153" y="228"/>
                  </a:lnTo>
                  <a:lnTo>
                    <a:pt x="136" y="228"/>
                  </a:lnTo>
                  <a:lnTo>
                    <a:pt x="132" y="234"/>
                  </a:lnTo>
                  <a:lnTo>
                    <a:pt x="132" y="238"/>
                  </a:lnTo>
                  <a:lnTo>
                    <a:pt x="132" y="238"/>
                  </a:lnTo>
                  <a:lnTo>
                    <a:pt x="132" y="241"/>
                  </a:lnTo>
                  <a:lnTo>
                    <a:pt x="132" y="245"/>
                  </a:lnTo>
                  <a:lnTo>
                    <a:pt x="117" y="247"/>
                  </a:lnTo>
                  <a:lnTo>
                    <a:pt x="115" y="249"/>
                  </a:lnTo>
                  <a:lnTo>
                    <a:pt x="107" y="247"/>
                  </a:lnTo>
                  <a:lnTo>
                    <a:pt x="107" y="247"/>
                  </a:lnTo>
                  <a:lnTo>
                    <a:pt x="104" y="247"/>
                  </a:lnTo>
                  <a:lnTo>
                    <a:pt x="98" y="247"/>
                  </a:lnTo>
                  <a:lnTo>
                    <a:pt x="96" y="247"/>
                  </a:lnTo>
                  <a:lnTo>
                    <a:pt x="96" y="241"/>
                  </a:lnTo>
                  <a:lnTo>
                    <a:pt x="92" y="238"/>
                  </a:lnTo>
                  <a:lnTo>
                    <a:pt x="90" y="236"/>
                  </a:lnTo>
                  <a:lnTo>
                    <a:pt x="89" y="234"/>
                  </a:lnTo>
                  <a:lnTo>
                    <a:pt x="89" y="232"/>
                  </a:lnTo>
                  <a:lnTo>
                    <a:pt x="89" y="230"/>
                  </a:lnTo>
                  <a:lnTo>
                    <a:pt x="87" y="226"/>
                  </a:lnTo>
                  <a:lnTo>
                    <a:pt x="87" y="223"/>
                  </a:lnTo>
                  <a:lnTo>
                    <a:pt x="87" y="219"/>
                  </a:lnTo>
                  <a:lnTo>
                    <a:pt x="87" y="217"/>
                  </a:lnTo>
                  <a:lnTo>
                    <a:pt x="87" y="217"/>
                  </a:lnTo>
                  <a:lnTo>
                    <a:pt x="87" y="213"/>
                  </a:lnTo>
                  <a:lnTo>
                    <a:pt x="83" y="213"/>
                  </a:lnTo>
                  <a:lnTo>
                    <a:pt x="87" y="211"/>
                  </a:lnTo>
                  <a:lnTo>
                    <a:pt x="87" y="207"/>
                  </a:lnTo>
                  <a:lnTo>
                    <a:pt x="66" y="207"/>
                  </a:lnTo>
                  <a:lnTo>
                    <a:pt x="53" y="207"/>
                  </a:lnTo>
                  <a:lnTo>
                    <a:pt x="47" y="207"/>
                  </a:lnTo>
                  <a:lnTo>
                    <a:pt x="40" y="207"/>
                  </a:lnTo>
                  <a:lnTo>
                    <a:pt x="38" y="207"/>
                  </a:lnTo>
                  <a:lnTo>
                    <a:pt x="32" y="207"/>
                  </a:lnTo>
                  <a:lnTo>
                    <a:pt x="28" y="207"/>
                  </a:lnTo>
                  <a:lnTo>
                    <a:pt x="23" y="207"/>
                  </a:lnTo>
                  <a:lnTo>
                    <a:pt x="23" y="207"/>
                  </a:lnTo>
                  <a:lnTo>
                    <a:pt x="19" y="207"/>
                  </a:lnTo>
                  <a:lnTo>
                    <a:pt x="15" y="207"/>
                  </a:lnTo>
                  <a:lnTo>
                    <a:pt x="13" y="207"/>
                  </a:lnTo>
                  <a:lnTo>
                    <a:pt x="11" y="211"/>
                  </a:lnTo>
                  <a:lnTo>
                    <a:pt x="10" y="211"/>
                  </a:lnTo>
                  <a:lnTo>
                    <a:pt x="10" y="211"/>
                  </a:lnTo>
                  <a:lnTo>
                    <a:pt x="10" y="211"/>
                  </a:lnTo>
                  <a:lnTo>
                    <a:pt x="8" y="211"/>
                  </a:lnTo>
                  <a:lnTo>
                    <a:pt x="8" y="211"/>
                  </a:lnTo>
                  <a:lnTo>
                    <a:pt x="6" y="207"/>
                  </a:lnTo>
                  <a:lnTo>
                    <a:pt x="0" y="207"/>
                  </a:lnTo>
                  <a:lnTo>
                    <a:pt x="0" y="207"/>
                  </a:lnTo>
                  <a:lnTo>
                    <a:pt x="0" y="207"/>
                  </a:lnTo>
                  <a:lnTo>
                    <a:pt x="0" y="20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9" name="Freeform 142">
              <a:extLst>
                <a:ext uri="{FF2B5EF4-FFF2-40B4-BE49-F238E27FC236}">
                  <a16:creationId xmlns:a16="http://schemas.microsoft.com/office/drawing/2014/main" id="{F809DC95-3C0E-40C3-9136-5CFAC82CE21D}"/>
                </a:ext>
              </a:extLst>
            </p:cNvPr>
            <p:cNvSpPr>
              <a:spLocks/>
            </p:cNvSpPr>
            <p:nvPr/>
          </p:nvSpPr>
          <p:spPr bwMode="auto">
            <a:xfrm>
              <a:off x="3381" y="3278"/>
              <a:ext cx="59" cy="147"/>
            </a:xfrm>
            <a:custGeom>
              <a:avLst/>
              <a:gdLst/>
              <a:ahLst/>
              <a:cxnLst>
                <a:cxn ang="0">
                  <a:pos x="6" y="0"/>
                </a:cxn>
                <a:cxn ang="0">
                  <a:pos x="10" y="0"/>
                </a:cxn>
                <a:cxn ang="0">
                  <a:pos x="12" y="4"/>
                </a:cxn>
                <a:cxn ang="0">
                  <a:pos x="15" y="4"/>
                </a:cxn>
                <a:cxn ang="0">
                  <a:pos x="19" y="4"/>
                </a:cxn>
                <a:cxn ang="0">
                  <a:pos x="21" y="8"/>
                </a:cxn>
                <a:cxn ang="0">
                  <a:pos x="30" y="15"/>
                </a:cxn>
                <a:cxn ang="0">
                  <a:pos x="30" y="55"/>
                </a:cxn>
                <a:cxn ang="0">
                  <a:pos x="32" y="74"/>
                </a:cxn>
                <a:cxn ang="0">
                  <a:pos x="40" y="79"/>
                </a:cxn>
                <a:cxn ang="0">
                  <a:pos x="44" y="83"/>
                </a:cxn>
                <a:cxn ang="0">
                  <a:pos x="51" y="93"/>
                </a:cxn>
                <a:cxn ang="0">
                  <a:pos x="59" y="102"/>
                </a:cxn>
                <a:cxn ang="0">
                  <a:pos x="59" y="106"/>
                </a:cxn>
                <a:cxn ang="0">
                  <a:pos x="57" y="108"/>
                </a:cxn>
                <a:cxn ang="0">
                  <a:pos x="53" y="111"/>
                </a:cxn>
                <a:cxn ang="0">
                  <a:pos x="53" y="113"/>
                </a:cxn>
                <a:cxn ang="0">
                  <a:pos x="55" y="121"/>
                </a:cxn>
                <a:cxn ang="0">
                  <a:pos x="51" y="126"/>
                </a:cxn>
                <a:cxn ang="0">
                  <a:pos x="46" y="134"/>
                </a:cxn>
                <a:cxn ang="0">
                  <a:pos x="44" y="138"/>
                </a:cxn>
                <a:cxn ang="0">
                  <a:pos x="44" y="147"/>
                </a:cxn>
                <a:cxn ang="0">
                  <a:pos x="38" y="145"/>
                </a:cxn>
                <a:cxn ang="0">
                  <a:pos x="38" y="142"/>
                </a:cxn>
                <a:cxn ang="0">
                  <a:pos x="32" y="138"/>
                </a:cxn>
                <a:cxn ang="0">
                  <a:pos x="27" y="130"/>
                </a:cxn>
                <a:cxn ang="0">
                  <a:pos x="27" y="123"/>
                </a:cxn>
                <a:cxn ang="0">
                  <a:pos x="27" y="117"/>
                </a:cxn>
                <a:cxn ang="0">
                  <a:pos x="32" y="108"/>
                </a:cxn>
                <a:cxn ang="0">
                  <a:pos x="32" y="100"/>
                </a:cxn>
                <a:cxn ang="0">
                  <a:pos x="27" y="94"/>
                </a:cxn>
                <a:cxn ang="0">
                  <a:pos x="21" y="96"/>
                </a:cxn>
                <a:cxn ang="0">
                  <a:pos x="17" y="98"/>
                </a:cxn>
                <a:cxn ang="0">
                  <a:pos x="14" y="93"/>
                </a:cxn>
                <a:cxn ang="0">
                  <a:pos x="10" y="89"/>
                </a:cxn>
                <a:cxn ang="0">
                  <a:pos x="4" y="89"/>
                </a:cxn>
                <a:cxn ang="0">
                  <a:pos x="2" y="83"/>
                </a:cxn>
                <a:cxn ang="0">
                  <a:pos x="0" y="79"/>
                </a:cxn>
                <a:cxn ang="0">
                  <a:pos x="4" y="76"/>
                </a:cxn>
                <a:cxn ang="0">
                  <a:pos x="4" y="70"/>
                </a:cxn>
                <a:cxn ang="0">
                  <a:pos x="4" y="66"/>
                </a:cxn>
                <a:cxn ang="0">
                  <a:pos x="8" y="62"/>
                </a:cxn>
                <a:cxn ang="0">
                  <a:pos x="14" y="59"/>
                </a:cxn>
                <a:cxn ang="0">
                  <a:pos x="14" y="57"/>
                </a:cxn>
                <a:cxn ang="0">
                  <a:pos x="12" y="55"/>
                </a:cxn>
                <a:cxn ang="0">
                  <a:pos x="12" y="51"/>
                </a:cxn>
                <a:cxn ang="0">
                  <a:pos x="12" y="45"/>
                </a:cxn>
                <a:cxn ang="0">
                  <a:pos x="12" y="42"/>
                </a:cxn>
                <a:cxn ang="0">
                  <a:pos x="10" y="34"/>
                </a:cxn>
                <a:cxn ang="0">
                  <a:pos x="15" y="29"/>
                </a:cxn>
                <a:cxn ang="0">
                  <a:pos x="15" y="27"/>
                </a:cxn>
                <a:cxn ang="0">
                  <a:pos x="15" y="19"/>
                </a:cxn>
                <a:cxn ang="0">
                  <a:pos x="12" y="15"/>
                </a:cxn>
                <a:cxn ang="0">
                  <a:pos x="14" y="8"/>
                </a:cxn>
                <a:cxn ang="0">
                  <a:pos x="8" y="8"/>
                </a:cxn>
                <a:cxn ang="0">
                  <a:pos x="6" y="4"/>
                </a:cxn>
                <a:cxn ang="0">
                  <a:pos x="4" y="0"/>
                </a:cxn>
              </a:cxnLst>
              <a:rect l="0" t="0" r="r" b="b"/>
              <a:pathLst>
                <a:path w="59" h="147">
                  <a:moveTo>
                    <a:pt x="4" y="0"/>
                  </a:moveTo>
                  <a:lnTo>
                    <a:pt x="6" y="0"/>
                  </a:lnTo>
                  <a:lnTo>
                    <a:pt x="8" y="0"/>
                  </a:lnTo>
                  <a:lnTo>
                    <a:pt x="10" y="0"/>
                  </a:lnTo>
                  <a:lnTo>
                    <a:pt x="12" y="0"/>
                  </a:lnTo>
                  <a:lnTo>
                    <a:pt x="12" y="4"/>
                  </a:lnTo>
                  <a:lnTo>
                    <a:pt x="14" y="4"/>
                  </a:lnTo>
                  <a:lnTo>
                    <a:pt x="15" y="4"/>
                  </a:lnTo>
                  <a:lnTo>
                    <a:pt x="17" y="4"/>
                  </a:lnTo>
                  <a:lnTo>
                    <a:pt x="19" y="4"/>
                  </a:lnTo>
                  <a:lnTo>
                    <a:pt x="19" y="4"/>
                  </a:lnTo>
                  <a:lnTo>
                    <a:pt x="21" y="8"/>
                  </a:lnTo>
                  <a:lnTo>
                    <a:pt x="23" y="8"/>
                  </a:lnTo>
                  <a:lnTo>
                    <a:pt x="30" y="15"/>
                  </a:lnTo>
                  <a:lnTo>
                    <a:pt x="30" y="23"/>
                  </a:lnTo>
                  <a:lnTo>
                    <a:pt x="30" y="55"/>
                  </a:lnTo>
                  <a:lnTo>
                    <a:pt x="30" y="57"/>
                  </a:lnTo>
                  <a:lnTo>
                    <a:pt x="32" y="74"/>
                  </a:lnTo>
                  <a:lnTo>
                    <a:pt x="38" y="78"/>
                  </a:lnTo>
                  <a:lnTo>
                    <a:pt x="40" y="79"/>
                  </a:lnTo>
                  <a:lnTo>
                    <a:pt x="42" y="81"/>
                  </a:lnTo>
                  <a:lnTo>
                    <a:pt x="44" y="83"/>
                  </a:lnTo>
                  <a:lnTo>
                    <a:pt x="51" y="87"/>
                  </a:lnTo>
                  <a:lnTo>
                    <a:pt x="51" y="93"/>
                  </a:lnTo>
                  <a:lnTo>
                    <a:pt x="57" y="96"/>
                  </a:lnTo>
                  <a:lnTo>
                    <a:pt x="59" y="102"/>
                  </a:lnTo>
                  <a:lnTo>
                    <a:pt x="59" y="104"/>
                  </a:lnTo>
                  <a:lnTo>
                    <a:pt x="59" y="106"/>
                  </a:lnTo>
                  <a:lnTo>
                    <a:pt x="57" y="108"/>
                  </a:lnTo>
                  <a:lnTo>
                    <a:pt x="57" y="108"/>
                  </a:lnTo>
                  <a:lnTo>
                    <a:pt x="53" y="108"/>
                  </a:lnTo>
                  <a:lnTo>
                    <a:pt x="53" y="111"/>
                  </a:lnTo>
                  <a:lnTo>
                    <a:pt x="55" y="111"/>
                  </a:lnTo>
                  <a:lnTo>
                    <a:pt x="53" y="113"/>
                  </a:lnTo>
                  <a:lnTo>
                    <a:pt x="55" y="117"/>
                  </a:lnTo>
                  <a:lnTo>
                    <a:pt x="55" y="121"/>
                  </a:lnTo>
                  <a:lnTo>
                    <a:pt x="55" y="125"/>
                  </a:lnTo>
                  <a:lnTo>
                    <a:pt x="51" y="126"/>
                  </a:lnTo>
                  <a:lnTo>
                    <a:pt x="47" y="128"/>
                  </a:lnTo>
                  <a:lnTo>
                    <a:pt x="46" y="134"/>
                  </a:lnTo>
                  <a:lnTo>
                    <a:pt x="46" y="138"/>
                  </a:lnTo>
                  <a:lnTo>
                    <a:pt x="44" y="138"/>
                  </a:lnTo>
                  <a:lnTo>
                    <a:pt x="44" y="145"/>
                  </a:lnTo>
                  <a:lnTo>
                    <a:pt x="44" y="147"/>
                  </a:lnTo>
                  <a:lnTo>
                    <a:pt x="40" y="147"/>
                  </a:lnTo>
                  <a:lnTo>
                    <a:pt x="38" y="145"/>
                  </a:lnTo>
                  <a:lnTo>
                    <a:pt x="40" y="145"/>
                  </a:lnTo>
                  <a:lnTo>
                    <a:pt x="38" y="142"/>
                  </a:lnTo>
                  <a:lnTo>
                    <a:pt x="36" y="138"/>
                  </a:lnTo>
                  <a:lnTo>
                    <a:pt x="32" y="138"/>
                  </a:lnTo>
                  <a:lnTo>
                    <a:pt x="30" y="134"/>
                  </a:lnTo>
                  <a:lnTo>
                    <a:pt x="27" y="130"/>
                  </a:lnTo>
                  <a:lnTo>
                    <a:pt x="27" y="128"/>
                  </a:lnTo>
                  <a:lnTo>
                    <a:pt x="27" y="123"/>
                  </a:lnTo>
                  <a:lnTo>
                    <a:pt x="25" y="121"/>
                  </a:lnTo>
                  <a:lnTo>
                    <a:pt x="27" y="117"/>
                  </a:lnTo>
                  <a:lnTo>
                    <a:pt x="27" y="113"/>
                  </a:lnTo>
                  <a:lnTo>
                    <a:pt x="32" y="108"/>
                  </a:lnTo>
                  <a:lnTo>
                    <a:pt x="32" y="104"/>
                  </a:lnTo>
                  <a:lnTo>
                    <a:pt x="32" y="100"/>
                  </a:lnTo>
                  <a:lnTo>
                    <a:pt x="32" y="96"/>
                  </a:lnTo>
                  <a:lnTo>
                    <a:pt x="27" y="94"/>
                  </a:lnTo>
                  <a:lnTo>
                    <a:pt x="23" y="94"/>
                  </a:lnTo>
                  <a:lnTo>
                    <a:pt x="21" y="96"/>
                  </a:lnTo>
                  <a:lnTo>
                    <a:pt x="17" y="96"/>
                  </a:lnTo>
                  <a:lnTo>
                    <a:pt x="17" y="98"/>
                  </a:lnTo>
                  <a:lnTo>
                    <a:pt x="14" y="96"/>
                  </a:lnTo>
                  <a:lnTo>
                    <a:pt x="14" y="93"/>
                  </a:lnTo>
                  <a:lnTo>
                    <a:pt x="12" y="93"/>
                  </a:lnTo>
                  <a:lnTo>
                    <a:pt x="10" y="89"/>
                  </a:lnTo>
                  <a:lnTo>
                    <a:pt x="10" y="87"/>
                  </a:lnTo>
                  <a:lnTo>
                    <a:pt x="4" y="89"/>
                  </a:lnTo>
                  <a:lnTo>
                    <a:pt x="4" y="87"/>
                  </a:lnTo>
                  <a:lnTo>
                    <a:pt x="2" y="83"/>
                  </a:lnTo>
                  <a:lnTo>
                    <a:pt x="0" y="81"/>
                  </a:lnTo>
                  <a:lnTo>
                    <a:pt x="0" y="79"/>
                  </a:lnTo>
                  <a:lnTo>
                    <a:pt x="0" y="79"/>
                  </a:lnTo>
                  <a:lnTo>
                    <a:pt x="4" y="76"/>
                  </a:lnTo>
                  <a:lnTo>
                    <a:pt x="4" y="72"/>
                  </a:lnTo>
                  <a:lnTo>
                    <a:pt x="4" y="70"/>
                  </a:lnTo>
                  <a:lnTo>
                    <a:pt x="4" y="68"/>
                  </a:lnTo>
                  <a:lnTo>
                    <a:pt x="4" y="66"/>
                  </a:lnTo>
                  <a:lnTo>
                    <a:pt x="4" y="64"/>
                  </a:lnTo>
                  <a:lnTo>
                    <a:pt x="8" y="62"/>
                  </a:lnTo>
                  <a:lnTo>
                    <a:pt x="12" y="62"/>
                  </a:lnTo>
                  <a:lnTo>
                    <a:pt x="14" y="59"/>
                  </a:lnTo>
                  <a:lnTo>
                    <a:pt x="15" y="59"/>
                  </a:lnTo>
                  <a:lnTo>
                    <a:pt x="14" y="57"/>
                  </a:lnTo>
                  <a:lnTo>
                    <a:pt x="12" y="57"/>
                  </a:lnTo>
                  <a:lnTo>
                    <a:pt x="12" y="55"/>
                  </a:lnTo>
                  <a:lnTo>
                    <a:pt x="12" y="51"/>
                  </a:lnTo>
                  <a:lnTo>
                    <a:pt x="12" y="51"/>
                  </a:lnTo>
                  <a:lnTo>
                    <a:pt x="14" y="49"/>
                  </a:lnTo>
                  <a:lnTo>
                    <a:pt x="12" y="45"/>
                  </a:lnTo>
                  <a:lnTo>
                    <a:pt x="12" y="44"/>
                  </a:lnTo>
                  <a:lnTo>
                    <a:pt x="12" y="42"/>
                  </a:lnTo>
                  <a:lnTo>
                    <a:pt x="12" y="38"/>
                  </a:lnTo>
                  <a:lnTo>
                    <a:pt x="10" y="34"/>
                  </a:lnTo>
                  <a:lnTo>
                    <a:pt x="12" y="32"/>
                  </a:lnTo>
                  <a:lnTo>
                    <a:pt x="15" y="29"/>
                  </a:lnTo>
                  <a:lnTo>
                    <a:pt x="15" y="27"/>
                  </a:lnTo>
                  <a:lnTo>
                    <a:pt x="15" y="27"/>
                  </a:lnTo>
                  <a:lnTo>
                    <a:pt x="15" y="21"/>
                  </a:lnTo>
                  <a:lnTo>
                    <a:pt x="15" y="19"/>
                  </a:lnTo>
                  <a:lnTo>
                    <a:pt x="12" y="17"/>
                  </a:lnTo>
                  <a:lnTo>
                    <a:pt x="12" y="15"/>
                  </a:lnTo>
                  <a:lnTo>
                    <a:pt x="14" y="10"/>
                  </a:lnTo>
                  <a:lnTo>
                    <a:pt x="14" y="8"/>
                  </a:lnTo>
                  <a:lnTo>
                    <a:pt x="12" y="8"/>
                  </a:lnTo>
                  <a:lnTo>
                    <a:pt x="8" y="8"/>
                  </a:lnTo>
                  <a:lnTo>
                    <a:pt x="8" y="4"/>
                  </a:lnTo>
                  <a:lnTo>
                    <a:pt x="6" y="4"/>
                  </a:lnTo>
                  <a:lnTo>
                    <a:pt x="4" y="0"/>
                  </a:lnTo>
                  <a:lnTo>
                    <a:pt x="4" y="0"/>
                  </a:lnTo>
                  <a:lnTo>
                    <a:pt x="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0" name="Freeform 143">
              <a:extLst>
                <a:ext uri="{FF2B5EF4-FFF2-40B4-BE49-F238E27FC236}">
                  <a16:creationId xmlns:a16="http://schemas.microsoft.com/office/drawing/2014/main" id="{DCB237CD-04CE-4E70-9E08-0820C8997F70}"/>
                </a:ext>
              </a:extLst>
            </p:cNvPr>
            <p:cNvSpPr>
              <a:spLocks/>
            </p:cNvSpPr>
            <p:nvPr/>
          </p:nvSpPr>
          <p:spPr bwMode="auto">
            <a:xfrm>
              <a:off x="3381" y="3278"/>
              <a:ext cx="59" cy="147"/>
            </a:xfrm>
            <a:custGeom>
              <a:avLst/>
              <a:gdLst/>
              <a:ahLst/>
              <a:cxnLst>
                <a:cxn ang="0">
                  <a:pos x="6" y="0"/>
                </a:cxn>
                <a:cxn ang="0">
                  <a:pos x="10" y="0"/>
                </a:cxn>
                <a:cxn ang="0">
                  <a:pos x="12" y="4"/>
                </a:cxn>
                <a:cxn ang="0">
                  <a:pos x="15" y="4"/>
                </a:cxn>
                <a:cxn ang="0">
                  <a:pos x="19" y="4"/>
                </a:cxn>
                <a:cxn ang="0">
                  <a:pos x="21" y="8"/>
                </a:cxn>
                <a:cxn ang="0">
                  <a:pos x="30" y="15"/>
                </a:cxn>
                <a:cxn ang="0">
                  <a:pos x="30" y="55"/>
                </a:cxn>
                <a:cxn ang="0">
                  <a:pos x="32" y="74"/>
                </a:cxn>
                <a:cxn ang="0">
                  <a:pos x="40" y="79"/>
                </a:cxn>
                <a:cxn ang="0">
                  <a:pos x="44" y="83"/>
                </a:cxn>
                <a:cxn ang="0">
                  <a:pos x="51" y="93"/>
                </a:cxn>
                <a:cxn ang="0">
                  <a:pos x="59" y="102"/>
                </a:cxn>
                <a:cxn ang="0">
                  <a:pos x="59" y="106"/>
                </a:cxn>
                <a:cxn ang="0">
                  <a:pos x="57" y="108"/>
                </a:cxn>
                <a:cxn ang="0">
                  <a:pos x="53" y="111"/>
                </a:cxn>
                <a:cxn ang="0">
                  <a:pos x="53" y="113"/>
                </a:cxn>
                <a:cxn ang="0">
                  <a:pos x="55" y="121"/>
                </a:cxn>
                <a:cxn ang="0">
                  <a:pos x="51" y="126"/>
                </a:cxn>
                <a:cxn ang="0">
                  <a:pos x="46" y="134"/>
                </a:cxn>
                <a:cxn ang="0">
                  <a:pos x="44" y="138"/>
                </a:cxn>
                <a:cxn ang="0">
                  <a:pos x="44" y="147"/>
                </a:cxn>
                <a:cxn ang="0">
                  <a:pos x="38" y="145"/>
                </a:cxn>
                <a:cxn ang="0">
                  <a:pos x="38" y="142"/>
                </a:cxn>
                <a:cxn ang="0">
                  <a:pos x="32" y="138"/>
                </a:cxn>
                <a:cxn ang="0">
                  <a:pos x="27" y="130"/>
                </a:cxn>
                <a:cxn ang="0">
                  <a:pos x="27" y="123"/>
                </a:cxn>
                <a:cxn ang="0">
                  <a:pos x="27" y="117"/>
                </a:cxn>
                <a:cxn ang="0">
                  <a:pos x="32" y="108"/>
                </a:cxn>
                <a:cxn ang="0">
                  <a:pos x="32" y="100"/>
                </a:cxn>
                <a:cxn ang="0">
                  <a:pos x="27" y="94"/>
                </a:cxn>
                <a:cxn ang="0">
                  <a:pos x="21" y="96"/>
                </a:cxn>
                <a:cxn ang="0">
                  <a:pos x="17" y="98"/>
                </a:cxn>
                <a:cxn ang="0">
                  <a:pos x="14" y="93"/>
                </a:cxn>
                <a:cxn ang="0">
                  <a:pos x="10" y="89"/>
                </a:cxn>
                <a:cxn ang="0">
                  <a:pos x="4" y="89"/>
                </a:cxn>
                <a:cxn ang="0">
                  <a:pos x="2" y="83"/>
                </a:cxn>
                <a:cxn ang="0">
                  <a:pos x="0" y="79"/>
                </a:cxn>
                <a:cxn ang="0">
                  <a:pos x="4" y="76"/>
                </a:cxn>
                <a:cxn ang="0">
                  <a:pos x="4" y="70"/>
                </a:cxn>
                <a:cxn ang="0">
                  <a:pos x="4" y="66"/>
                </a:cxn>
                <a:cxn ang="0">
                  <a:pos x="8" y="62"/>
                </a:cxn>
                <a:cxn ang="0">
                  <a:pos x="14" y="59"/>
                </a:cxn>
                <a:cxn ang="0">
                  <a:pos x="14" y="57"/>
                </a:cxn>
                <a:cxn ang="0">
                  <a:pos x="12" y="55"/>
                </a:cxn>
                <a:cxn ang="0">
                  <a:pos x="12" y="51"/>
                </a:cxn>
                <a:cxn ang="0">
                  <a:pos x="12" y="45"/>
                </a:cxn>
                <a:cxn ang="0">
                  <a:pos x="12" y="42"/>
                </a:cxn>
                <a:cxn ang="0">
                  <a:pos x="10" y="34"/>
                </a:cxn>
                <a:cxn ang="0">
                  <a:pos x="15" y="29"/>
                </a:cxn>
                <a:cxn ang="0">
                  <a:pos x="15" y="27"/>
                </a:cxn>
                <a:cxn ang="0">
                  <a:pos x="15" y="19"/>
                </a:cxn>
                <a:cxn ang="0">
                  <a:pos x="12" y="15"/>
                </a:cxn>
                <a:cxn ang="0">
                  <a:pos x="14" y="8"/>
                </a:cxn>
                <a:cxn ang="0">
                  <a:pos x="8" y="8"/>
                </a:cxn>
                <a:cxn ang="0">
                  <a:pos x="6" y="4"/>
                </a:cxn>
                <a:cxn ang="0">
                  <a:pos x="4" y="0"/>
                </a:cxn>
              </a:cxnLst>
              <a:rect l="0" t="0" r="r" b="b"/>
              <a:pathLst>
                <a:path w="59" h="147">
                  <a:moveTo>
                    <a:pt x="4" y="0"/>
                  </a:moveTo>
                  <a:lnTo>
                    <a:pt x="6" y="0"/>
                  </a:lnTo>
                  <a:lnTo>
                    <a:pt x="8" y="0"/>
                  </a:lnTo>
                  <a:lnTo>
                    <a:pt x="10" y="0"/>
                  </a:lnTo>
                  <a:lnTo>
                    <a:pt x="12" y="0"/>
                  </a:lnTo>
                  <a:lnTo>
                    <a:pt x="12" y="4"/>
                  </a:lnTo>
                  <a:lnTo>
                    <a:pt x="14" y="4"/>
                  </a:lnTo>
                  <a:lnTo>
                    <a:pt x="15" y="4"/>
                  </a:lnTo>
                  <a:lnTo>
                    <a:pt x="17" y="4"/>
                  </a:lnTo>
                  <a:lnTo>
                    <a:pt x="19" y="4"/>
                  </a:lnTo>
                  <a:lnTo>
                    <a:pt x="19" y="4"/>
                  </a:lnTo>
                  <a:lnTo>
                    <a:pt x="21" y="8"/>
                  </a:lnTo>
                  <a:lnTo>
                    <a:pt x="23" y="8"/>
                  </a:lnTo>
                  <a:lnTo>
                    <a:pt x="30" y="15"/>
                  </a:lnTo>
                  <a:lnTo>
                    <a:pt x="30" y="23"/>
                  </a:lnTo>
                  <a:lnTo>
                    <a:pt x="30" y="55"/>
                  </a:lnTo>
                  <a:lnTo>
                    <a:pt x="30" y="57"/>
                  </a:lnTo>
                  <a:lnTo>
                    <a:pt x="32" y="74"/>
                  </a:lnTo>
                  <a:lnTo>
                    <a:pt x="38" y="78"/>
                  </a:lnTo>
                  <a:lnTo>
                    <a:pt x="40" y="79"/>
                  </a:lnTo>
                  <a:lnTo>
                    <a:pt x="42" y="81"/>
                  </a:lnTo>
                  <a:lnTo>
                    <a:pt x="44" y="83"/>
                  </a:lnTo>
                  <a:lnTo>
                    <a:pt x="51" y="87"/>
                  </a:lnTo>
                  <a:lnTo>
                    <a:pt x="51" y="93"/>
                  </a:lnTo>
                  <a:lnTo>
                    <a:pt x="57" y="96"/>
                  </a:lnTo>
                  <a:lnTo>
                    <a:pt x="59" y="102"/>
                  </a:lnTo>
                  <a:lnTo>
                    <a:pt x="59" y="104"/>
                  </a:lnTo>
                  <a:lnTo>
                    <a:pt x="59" y="106"/>
                  </a:lnTo>
                  <a:lnTo>
                    <a:pt x="57" y="108"/>
                  </a:lnTo>
                  <a:lnTo>
                    <a:pt x="57" y="108"/>
                  </a:lnTo>
                  <a:lnTo>
                    <a:pt x="53" y="108"/>
                  </a:lnTo>
                  <a:lnTo>
                    <a:pt x="53" y="111"/>
                  </a:lnTo>
                  <a:lnTo>
                    <a:pt x="55" y="111"/>
                  </a:lnTo>
                  <a:lnTo>
                    <a:pt x="53" y="113"/>
                  </a:lnTo>
                  <a:lnTo>
                    <a:pt x="55" y="117"/>
                  </a:lnTo>
                  <a:lnTo>
                    <a:pt x="55" y="121"/>
                  </a:lnTo>
                  <a:lnTo>
                    <a:pt x="55" y="125"/>
                  </a:lnTo>
                  <a:lnTo>
                    <a:pt x="51" y="126"/>
                  </a:lnTo>
                  <a:lnTo>
                    <a:pt x="47" y="128"/>
                  </a:lnTo>
                  <a:lnTo>
                    <a:pt x="46" y="134"/>
                  </a:lnTo>
                  <a:lnTo>
                    <a:pt x="46" y="138"/>
                  </a:lnTo>
                  <a:lnTo>
                    <a:pt x="44" y="138"/>
                  </a:lnTo>
                  <a:lnTo>
                    <a:pt x="44" y="145"/>
                  </a:lnTo>
                  <a:lnTo>
                    <a:pt x="44" y="147"/>
                  </a:lnTo>
                  <a:lnTo>
                    <a:pt x="40" y="147"/>
                  </a:lnTo>
                  <a:lnTo>
                    <a:pt x="38" y="145"/>
                  </a:lnTo>
                  <a:lnTo>
                    <a:pt x="40" y="145"/>
                  </a:lnTo>
                  <a:lnTo>
                    <a:pt x="38" y="142"/>
                  </a:lnTo>
                  <a:lnTo>
                    <a:pt x="36" y="138"/>
                  </a:lnTo>
                  <a:lnTo>
                    <a:pt x="32" y="138"/>
                  </a:lnTo>
                  <a:lnTo>
                    <a:pt x="30" y="134"/>
                  </a:lnTo>
                  <a:lnTo>
                    <a:pt x="27" y="130"/>
                  </a:lnTo>
                  <a:lnTo>
                    <a:pt x="27" y="128"/>
                  </a:lnTo>
                  <a:lnTo>
                    <a:pt x="27" y="123"/>
                  </a:lnTo>
                  <a:lnTo>
                    <a:pt x="25" y="121"/>
                  </a:lnTo>
                  <a:lnTo>
                    <a:pt x="27" y="117"/>
                  </a:lnTo>
                  <a:lnTo>
                    <a:pt x="27" y="113"/>
                  </a:lnTo>
                  <a:lnTo>
                    <a:pt x="32" y="108"/>
                  </a:lnTo>
                  <a:lnTo>
                    <a:pt x="32" y="104"/>
                  </a:lnTo>
                  <a:lnTo>
                    <a:pt x="32" y="100"/>
                  </a:lnTo>
                  <a:lnTo>
                    <a:pt x="32" y="96"/>
                  </a:lnTo>
                  <a:lnTo>
                    <a:pt x="27" y="94"/>
                  </a:lnTo>
                  <a:lnTo>
                    <a:pt x="23" y="94"/>
                  </a:lnTo>
                  <a:lnTo>
                    <a:pt x="21" y="96"/>
                  </a:lnTo>
                  <a:lnTo>
                    <a:pt x="17" y="96"/>
                  </a:lnTo>
                  <a:lnTo>
                    <a:pt x="17" y="98"/>
                  </a:lnTo>
                  <a:lnTo>
                    <a:pt x="14" y="96"/>
                  </a:lnTo>
                  <a:lnTo>
                    <a:pt x="14" y="93"/>
                  </a:lnTo>
                  <a:lnTo>
                    <a:pt x="12" y="93"/>
                  </a:lnTo>
                  <a:lnTo>
                    <a:pt x="10" y="89"/>
                  </a:lnTo>
                  <a:lnTo>
                    <a:pt x="10" y="87"/>
                  </a:lnTo>
                  <a:lnTo>
                    <a:pt x="4" y="89"/>
                  </a:lnTo>
                  <a:lnTo>
                    <a:pt x="4" y="87"/>
                  </a:lnTo>
                  <a:lnTo>
                    <a:pt x="2" y="83"/>
                  </a:lnTo>
                  <a:lnTo>
                    <a:pt x="0" y="81"/>
                  </a:lnTo>
                  <a:lnTo>
                    <a:pt x="0" y="79"/>
                  </a:lnTo>
                  <a:lnTo>
                    <a:pt x="0" y="79"/>
                  </a:lnTo>
                  <a:lnTo>
                    <a:pt x="4" y="76"/>
                  </a:lnTo>
                  <a:lnTo>
                    <a:pt x="4" y="72"/>
                  </a:lnTo>
                  <a:lnTo>
                    <a:pt x="4" y="70"/>
                  </a:lnTo>
                  <a:lnTo>
                    <a:pt x="4" y="68"/>
                  </a:lnTo>
                  <a:lnTo>
                    <a:pt x="4" y="66"/>
                  </a:lnTo>
                  <a:lnTo>
                    <a:pt x="4" y="64"/>
                  </a:lnTo>
                  <a:lnTo>
                    <a:pt x="8" y="62"/>
                  </a:lnTo>
                  <a:lnTo>
                    <a:pt x="12" y="62"/>
                  </a:lnTo>
                  <a:lnTo>
                    <a:pt x="14" y="59"/>
                  </a:lnTo>
                  <a:lnTo>
                    <a:pt x="15" y="59"/>
                  </a:lnTo>
                  <a:lnTo>
                    <a:pt x="14" y="57"/>
                  </a:lnTo>
                  <a:lnTo>
                    <a:pt x="12" y="57"/>
                  </a:lnTo>
                  <a:lnTo>
                    <a:pt x="12" y="55"/>
                  </a:lnTo>
                  <a:lnTo>
                    <a:pt x="12" y="51"/>
                  </a:lnTo>
                  <a:lnTo>
                    <a:pt x="12" y="51"/>
                  </a:lnTo>
                  <a:lnTo>
                    <a:pt x="14" y="49"/>
                  </a:lnTo>
                  <a:lnTo>
                    <a:pt x="12" y="45"/>
                  </a:lnTo>
                  <a:lnTo>
                    <a:pt x="12" y="44"/>
                  </a:lnTo>
                  <a:lnTo>
                    <a:pt x="12" y="42"/>
                  </a:lnTo>
                  <a:lnTo>
                    <a:pt x="12" y="38"/>
                  </a:lnTo>
                  <a:lnTo>
                    <a:pt x="10" y="34"/>
                  </a:lnTo>
                  <a:lnTo>
                    <a:pt x="12" y="32"/>
                  </a:lnTo>
                  <a:lnTo>
                    <a:pt x="15" y="29"/>
                  </a:lnTo>
                  <a:lnTo>
                    <a:pt x="15" y="27"/>
                  </a:lnTo>
                  <a:lnTo>
                    <a:pt x="15" y="27"/>
                  </a:lnTo>
                  <a:lnTo>
                    <a:pt x="15" y="21"/>
                  </a:lnTo>
                  <a:lnTo>
                    <a:pt x="15" y="19"/>
                  </a:lnTo>
                  <a:lnTo>
                    <a:pt x="12" y="17"/>
                  </a:lnTo>
                  <a:lnTo>
                    <a:pt x="12" y="15"/>
                  </a:lnTo>
                  <a:lnTo>
                    <a:pt x="14" y="10"/>
                  </a:lnTo>
                  <a:lnTo>
                    <a:pt x="14" y="8"/>
                  </a:lnTo>
                  <a:lnTo>
                    <a:pt x="12" y="8"/>
                  </a:lnTo>
                  <a:lnTo>
                    <a:pt x="8" y="8"/>
                  </a:lnTo>
                  <a:lnTo>
                    <a:pt x="8" y="4"/>
                  </a:lnTo>
                  <a:lnTo>
                    <a:pt x="6" y="4"/>
                  </a:lnTo>
                  <a:lnTo>
                    <a:pt x="4" y="0"/>
                  </a:lnTo>
                  <a:lnTo>
                    <a:pt x="4" y="0"/>
                  </a:lnTo>
                  <a:lnTo>
                    <a:pt x="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1" name="Freeform 144">
              <a:extLst>
                <a:ext uri="{FF2B5EF4-FFF2-40B4-BE49-F238E27FC236}">
                  <a16:creationId xmlns:a16="http://schemas.microsoft.com/office/drawing/2014/main" id="{F984717A-9CEE-4ECB-AFAB-B33ABD8F2DCE}"/>
                </a:ext>
              </a:extLst>
            </p:cNvPr>
            <p:cNvSpPr>
              <a:spLocks/>
            </p:cNvSpPr>
            <p:nvPr/>
          </p:nvSpPr>
          <p:spPr bwMode="auto">
            <a:xfrm>
              <a:off x="3180" y="3256"/>
              <a:ext cx="216" cy="186"/>
            </a:xfrm>
            <a:custGeom>
              <a:avLst/>
              <a:gdLst/>
              <a:ahLst/>
              <a:cxnLst>
                <a:cxn ang="0">
                  <a:pos x="47" y="54"/>
                </a:cxn>
                <a:cxn ang="0">
                  <a:pos x="49" y="62"/>
                </a:cxn>
                <a:cxn ang="0">
                  <a:pos x="58" y="56"/>
                </a:cxn>
                <a:cxn ang="0">
                  <a:pos x="66" y="62"/>
                </a:cxn>
                <a:cxn ang="0">
                  <a:pos x="71" y="67"/>
                </a:cxn>
                <a:cxn ang="0">
                  <a:pos x="83" y="73"/>
                </a:cxn>
                <a:cxn ang="0">
                  <a:pos x="92" y="69"/>
                </a:cxn>
                <a:cxn ang="0">
                  <a:pos x="100" y="64"/>
                </a:cxn>
                <a:cxn ang="0">
                  <a:pos x="109" y="75"/>
                </a:cxn>
                <a:cxn ang="0">
                  <a:pos x="126" y="90"/>
                </a:cxn>
                <a:cxn ang="0">
                  <a:pos x="139" y="98"/>
                </a:cxn>
                <a:cxn ang="0">
                  <a:pos x="147" y="98"/>
                </a:cxn>
                <a:cxn ang="0">
                  <a:pos x="139" y="75"/>
                </a:cxn>
                <a:cxn ang="0">
                  <a:pos x="134" y="81"/>
                </a:cxn>
                <a:cxn ang="0">
                  <a:pos x="122" y="67"/>
                </a:cxn>
                <a:cxn ang="0">
                  <a:pos x="126" y="49"/>
                </a:cxn>
                <a:cxn ang="0">
                  <a:pos x="130" y="39"/>
                </a:cxn>
                <a:cxn ang="0">
                  <a:pos x="130" y="30"/>
                </a:cxn>
                <a:cxn ang="0">
                  <a:pos x="124" y="20"/>
                </a:cxn>
                <a:cxn ang="0">
                  <a:pos x="173" y="3"/>
                </a:cxn>
                <a:cxn ang="0">
                  <a:pos x="183" y="7"/>
                </a:cxn>
                <a:cxn ang="0">
                  <a:pos x="198" y="13"/>
                </a:cxn>
                <a:cxn ang="0">
                  <a:pos x="207" y="20"/>
                </a:cxn>
                <a:cxn ang="0">
                  <a:pos x="209" y="30"/>
                </a:cxn>
                <a:cxn ang="0">
                  <a:pos x="213" y="37"/>
                </a:cxn>
                <a:cxn ang="0">
                  <a:pos x="216" y="49"/>
                </a:cxn>
                <a:cxn ang="0">
                  <a:pos x="211" y="56"/>
                </a:cxn>
                <a:cxn ang="0">
                  <a:pos x="213" y="67"/>
                </a:cxn>
                <a:cxn ang="0">
                  <a:pos x="213" y="75"/>
                </a:cxn>
                <a:cxn ang="0">
                  <a:pos x="215" y="81"/>
                </a:cxn>
                <a:cxn ang="0">
                  <a:pos x="207" y="88"/>
                </a:cxn>
                <a:cxn ang="0">
                  <a:pos x="207" y="98"/>
                </a:cxn>
                <a:cxn ang="0">
                  <a:pos x="203" y="105"/>
                </a:cxn>
                <a:cxn ang="0">
                  <a:pos x="201" y="115"/>
                </a:cxn>
                <a:cxn ang="0">
                  <a:pos x="164" y="126"/>
                </a:cxn>
                <a:cxn ang="0">
                  <a:pos x="158" y="139"/>
                </a:cxn>
                <a:cxn ang="0">
                  <a:pos x="149" y="139"/>
                </a:cxn>
                <a:cxn ang="0">
                  <a:pos x="135" y="143"/>
                </a:cxn>
                <a:cxn ang="0">
                  <a:pos x="128" y="150"/>
                </a:cxn>
                <a:cxn ang="0">
                  <a:pos x="126" y="156"/>
                </a:cxn>
                <a:cxn ang="0">
                  <a:pos x="96" y="184"/>
                </a:cxn>
                <a:cxn ang="0">
                  <a:pos x="83" y="182"/>
                </a:cxn>
                <a:cxn ang="0">
                  <a:pos x="75" y="182"/>
                </a:cxn>
                <a:cxn ang="0">
                  <a:pos x="66" y="181"/>
                </a:cxn>
                <a:cxn ang="0">
                  <a:pos x="56" y="177"/>
                </a:cxn>
                <a:cxn ang="0">
                  <a:pos x="51" y="175"/>
                </a:cxn>
                <a:cxn ang="0">
                  <a:pos x="28" y="179"/>
                </a:cxn>
                <a:cxn ang="0">
                  <a:pos x="19" y="169"/>
                </a:cxn>
                <a:cxn ang="0">
                  <a:pos x="7" y="160"/>
                </a:cxn>
                <a:cxn ang="0">
                  <a:pos x="0" y="152"/>
                </a:cxn>
                <a:cxn ang="0">
                  <a:pos x="41" y="84"/>
                </a:cxn>
                <a:cxn ang="0">
                  <a:pos x="41" y="71"/>
                </a:cxn>
                <a:cxn ang="0">
                  <a:pos x="41" y="54"/>
                </a:cxn>
              </a:cxnLst>
              <a:rect l="0" t="0" r="r" b="b"/>
              <a:pathLst>
                <a:path w="216" h="186">
                  <a:moveTo>
                    <a:pt x="41" y="54"/>
                  </a:moveTo>
                  <a:lnTo>
                    <a:pt x="43" y="54"/>
                  </a:lnTo>
                  <a:lnTo>
                    <a:pt x="43" y="54"/>
                  </a:lnTo>
                  <a:lnTo>
                    <a:pt x="47" y="54"/>
                  </a:lnTo>
                  <a:lnTo>
                    <a:pt x="47" y="56"/>
                  </a:lnTo>
                  <a:lnTo>
                    <a:pt x="47" y="60"/>
                  </a:lnTo>
                  <a:lnTo>
                    <a:pt x="49" y="62"/>
                  </a:lnTo>
                  <a:lnTo>
                    <a:pt x="49" y="62"/>
                  </a:lnTo>
                  <a:lnTo>
                    <a:pt x="53" y="60"/>
                  </a:lnTo>
                  <a:lnTo>
                    <a:pt x="55" y="58"/>
                  </a:lnTo>
                  <a:lnTo>
                    <a:pt x="58" y="58"/>
                  </a:lnTo>
                  <a:lnTo>
                    <a:pt x="58" y="56"/>
                  </a:lnTo>
                  <a:lnTo>
                    <a:pt x="64" y="56"/>
                  </a:lnTo>
                  <a:lnTo>
                    <a:pt x="66" y="56"/>
                  </a:lnTo>
                  <a:lnTo>
                    <a:pt x="66" y="60"/>
                  </a:lnTo>
                  <a:lnTo>
                    <a:pt x="66" y="62"/>
                  </a:lnTo>
                  <a:lnTo>
                    <a:pt x="66" y="64"/>
                  </a:lnTo>
                  <a:lnTo>
                    <a:pt x="66" y="66"/>
                  </a:lnTo>
                  <a:lnTo>
                    <a:pt x="68" y="66"/>
                  </a:lnTo>
                  <a:lnTo>
                    <a:pt x="71" y="67"/>
                  </a:lnTo>
                  <a:lnTo>
                    <a:pt x="71" y="67"/>
                  </a:lnTo>
                  <a:lnTo>
                    <a:pt x="77" y="71"/>
                  </a:lnTo>
                  <a:lnTo>
                    <a:pt x="81" y="71"/>
                  </a:lnTo>
                  <a:lnTo>
                    <a:pt x="83" y="73"/>
                  </a:lnTo>
                  <a:lnTo>
                    <a:pt x="83" y="73"/>
                  </a:lnTo>
                  <a:lnTo>
                    <a:pt x="87" y="73"/>
                  </a:lnTo>
                  <a:lnTo>
                    <a:pt x="92" y="71"/>
                  </a:lnTo>
                  <a:lnTo>
                    <a:pt x="92" y="69"/>
                  </a:lnTo>
                  <a:lnTo>
                    <a:pt x="96" y="64"/>
                  </a:lnTo>
                  <a:lnTo>
                    <a:pt x="98" y="64"/>
                  </a:lnTo>
                  <a:lnTo>
                    <a:pt x="100" y="64"/>
                  </a:lnTo>
                  <a:lnTo>
                    <a:pt x="100" y="64"/>
                  </a:lnTo>
                  <a:lnTo>
                    <a:pt x="100" y="69"/>
                  </a:lnTo>
                  <a:lnTo>
                    <a:pt x="103" y="73"/>
                  </a:lnTo>
                  <a:lnTo>
                    <a:pt x="103" y="75"/>
                  </a:lnTo>
                  <a:lnTo>
                    <a:pt x="109" y="75"/>
                  </a:lnTo>
                  <a:lnTo>
                    <a:pt x="115" y="81"/>
                  </a:lnTo>
                  <a:lnTo>
                    <a:pt x="119" y="81"/>
                  </a:lnTo>
                  <a:lnTo>
                    <a:pt x="122" y="86"/>
                  </a:lnTo>
                  <a:lnTo>
                    <a:pt x="126" y="90"/>
                  </a:lnTo>
                  <a:lnTo>
                    <a:pt x="130" y="94"/>
                  </a:lnTo>
                  <a:lnTo>
                    <a:pt x="134" y="98"/>
                  </a:lnTo>
                  <a:lnTo>
                    <a:pt x="135" y="98"/>
                  </a:lnTo>
                  <a:lnTo>
                    <a:pt x="139" y="98"/>
                  </a:lnTo>
                  <a:lnTo>
                    <a:pt x="141" y="96"/>
                  </a:lnTo>
                  <a:lnTo>
                    <a:pt x="143" y="96"/>
                  </a:lnTo>
                  <a:lnTo>
                    <a:pt x="143" y="98"/>
                  </a:lnTo>
                  <a:lnTo>
                    <a:pt x="147" y="98"/>
                  </a:lnTo>
                  <a:lnTo>
                    <a:pt x="147" y="96"/>
                  </a:lnTo>
                  <a:lnTo>
                    <a:pt x="147" y="75"/>
                  </a:lnTo>
                  <a:lnTo>
                    <a:pt x="143" y="75"/>
                  </a:lnTo>
                  <a:lnTo>
                    <a:pt x="139" y="75"/>
                  </a:lnTo>
                  <a:lnTo>
                    <a:pt x="139" y="79"/>
                  </a:lnTo>
                  <a:lnTo>
                    <a:pt x="141" y="81"/>
                  </a:lnTo>
                  <a:lnTo>
                    <a:pt x="139" y="81"/>
                  </a:lnTo>
                  <a:lnTo>
                    <a:pt x="134" y="81"/>
                  </a:lnTo>
                  <a:lnTo>
                    <a:pt x="132" y="79"/>
                  </a:lnTo>
                  <a:lnTo>
                    <a:pt x="130" y="75"/>
                  </a:lnTo>
                  <a:lnTo>
                    <a:pt x="126" y="69"/>
                  </a:lnTo>
                  <a:lnTo>
                    <a:pt x="122" y="67"/>
                  </a:lnTo>
                  <a:lnTo>
                    <a:pt x="122" y="64"/>
                  </a:lnTo>
                  <a:lnTo>
                    <a:pt x="122" y="54"/>
                  </a:lnTo>
                  <a:lnTo>
                    <a:pt x="122" y="51"/>
                  </a:lnTo>
                  <a:lnTo>
                    <a:pt x="126" y="49"/>
                  </a:lnTo>
                  <a:lnTo>
                    <a:pt x="128" y="45"/>
                  </a:lnTo>
                  <a:lnTo>
                    <a:pt x="128" y="45"/>
                  </a:lnTo>
                  <a:lnTo>
                    <a:pt x="128" y="41"/>
                  </a:lnTo>
                  <a:lnTo>
                    <a:pt x="130" y="39"/>
                  </a:lnTo>
                  <a:lnTo>
                    <a:pt x="128" y="37"/>
                  </a:lnTo>
                  <a:lnTo>
                    <a:pt x="130" y="34"/>
                  </a:lnTo>
                  <a:lnTo>
                    <a:pt x="128" y="32"/>
                  </a:lnTo>
                  <a:lnTo>
                    <a:pt x="130" y="30"/>
                  </a:lnTo>
                  <a:lnTo>
                    <a:pt x="130" y="30"/>
                  </a:lnTo>
                  <a:lnTo>
                    <a:pt x="128" y="26"/>
                  </a:lnTo>
                  <a:lnTo>
                    <a:pt x="126" y="24"/>
                  </a:lnTo>
                  <a:lnTo>
                    <a:pt x="124" y="20"/>
                  </a:lnTo>
                  <a:lnTo>
                    <a:pt x="134" y="7"/>
                  </a:lnTo>
                  <a:lnTo>
                    <a:pt x="164" y="0"/>
                  </a:lnTo>
                  <a:lnTo>
                    <a:pt x="171" y="3"/>
                  </a:lnTo>
                  <a:lnTo>
                    <a:pt x="173" y="3"/>
                  </a:lnTo>
                  <a:lnTo>
                    <a:pt x="175" y="5"/>
                  </a:lnTo>
                  <a:lnTo>
                    <a:pt x="179" y="5"/>
                  </a:lnTo>
                  <a:lnTo>
                    <a:pt x="179" y="7"/>
                  </a:lnTo>
                  <a:lnTo>
                    <a:pt x="183" y="7"/>
                  </a:lnTo>
                  <a:lnTo>
                    <a:pt x="183" y="11"/>
                  </a:lnTo>
                  <a:lnTo>
                    <a:pt x="186" y="11"/>
                  </a:lnTo>
                  <a:lnTo>
                    <a:pt x="196" y="13"/>
                  </a:lnTo>
                  <a:lnTo>
                    <a:pt x="198" y="13"/>
                  </a:lnTo>
                  <a:lnTo>
                    <a:pt x="199" y="15"/>
                  </a:lnTo>
                  <a:lnTo>
                    <a:pt x="201" y="17"/>
                  </a:lnTo>
                  <a:lnTo>
                    <a:pt x="203" y="17"/>
                  </a:lnTo>
                  <a:lnTo>
                    <a:pt x="207" y="20"/>
                  </a:lnTo>
                  <a:lnTo>
                    <a:pt x="207" y="20"/>
                  </a:lnTo>
                  <a:lnTo>
                    <a:pt x="207" y="24"/>
                  </a:lnTo>
                  <a:lnTo>
                    <a:pt x="209" y="24"/>
                  </a:lnTo>
                  <a:lnTo>
                    <a:pt x="209" y="30"/>
                  </a:lnTo>
                  <a:lnTo>
                    <a:pt x="213" y="30"/>
                  </a:lnTo>
                  <a:lnTo>
                    <a:pt x="215" y="30"/>
                  </a:lnTo>
                  <a:lnTo>
                    <a:pt x="215" y="32"/>
                  </a:lnTo>
                  <a:lnTo>
                    <a:pt x="213" y="37"/>
                  </a:lnTo>
                  <a:lnTo>
                    <a:pt x="213" y="39"/>
                  </a:lnTo>
                  <a:lnTo>
                    <a:pt x="216" y="41"/>
                  </a:lnTo>
                  <a:lnTo>
                    <a:pt x="216" y="41"/>
                  </a:lnTo>
                  <a:lnTo>
                    <a:pt x="216" y="49"/>
                  </a:lnTo>
                  <a:lnTo>
                    <a:pt x="216" y="49"/>
                  </a:lnTo>
                  <a:lnTo>
                    <a:pt x="216" y="51"/>
                  </a:lnTo>
                  <a:lnTo>
                    <a:pt x="213" y="54"/>
                  </a:lnTo>
                  <a:lnTo>
                    <a:pt x="211" y="56"/>
                  </a:lnTo>
                  <a:lnTo>
                    <a:pt x="213" y="60"/>
                  </a:lnTo>
                  <a:lnTo>
                    <a:pt x="213" y="64"/>
                  </a:lnTo>
                  <a:lnTo>
                    <a:pt x="213" y="66"/>
                  </a:lnTo>
                  <a:lnTo>
                    <a:pt x="213" y="67"/>
                  </a:lnTo>
                  <a:lnTo>
                    <a:pt x="215" y="71"/>
                  </a:lnTo>
                  <a:lnTo>
                    <a:pt x="213" y="73"/>
                  </a:lnTo>
                  <a:lnTo>
                    <a:pt x="213" y="73"/>
                  </a:lnTo>
                  <a:lnTo>
                    <a:pt x="213" y="75"/>
                  </a:lnTo>
                  <a:lnTo>
                    <a:pt x="213" y="79"/>
                  </a:lnTo>
                  <a:lnTo>
                    <a:pt x="215" y="79"/>
                  </a:lnTo>
                  <a:lnTo>
                    <a:pt x="216" y="81"/>
                  </a:lnTo>
                  <a:lnTo>
                    <a:pt x="215" y="81"/>
                  </a:lnTo>
                  <a:lnTo>
                    <a:pt x="213" y="84"/>
                  </a:lnTo>
                  <a:lnTo>
                    <a:pt x="209" y="84"/>
                  </a:lnTo>
                  <a:lnTo>
                    <a:pt x="207" y="86"/>
                  </a:lnTo>
                  <a:lnTo>
                    <a:pt x="207" y="88"/>
                  </a:lnTo>
                  <a:lnTo>
                    <a:pt x="207" y="90"/>
                  </a:lnTo>
                  <a:lnTo>
                    <a:pt x="207" y="92"/>
                  </a:lnTo>
                  <a:lnTo>
                    <a:pt x="207" y="94"/>
                  </a:lnTo>
                  <a:lnTo>
                    <a:pt x="207" y="98"/>
                  </a:lnTo>
                  <a:lnTo>
                    <a:pt x="203" y="101"/>
                  </a:lnTo>
                  <a:lnTo>
                    <a:pt x="201" y="101"/>
                  </a:lnTo>
                  <a:lnTo>
                    <a:pt x="201" y="103"/>
                  </a:lnTo>
                  <a:lnTo>
                    <a:pt x="203" y="105"/>
                  </a:lnTo>
                  <a:lnTo>
                    <a:pt x="207" y="109"/>
                  </a:lnTo>
                  <a:lnTo>
                    <a:pt x="207" y="111"/>
                  </a:lnTo>
                  <a:lnTo>
                    <a:pt x="207" y="111"/>
                  </a:lnTo>
                  <a:lnTo>
                    <a:pt x="201" y="115"/>
                  </a:lnTo>
                  <a:lnTo>
                    <a:pt x="190" y="116"/>
                  </a:lnTo>
                  <a:lnTo>
                    <a:pt x="186" y="118"/>
                  </a:lnTo>
                  <a:lnTo>
                    <a:pt x="167" y="126"/>
                  </a:lnTo>
                  <a:lnTo>
                    <a:pt x="164" y="126"/>
                  </a:lnTo>
                  <a:lnTo>
                    <a:pt x="158" y="130"/>
                  </a:lnTo>
                  <a:lnTo>
                    <a:pt x="154" y="133"/>
                  </a:lnTo>
                  <a:lnTo>
                    <a:pt x="158" y="139"/>
                  </a:lnTo>
                  <a:lnTo>
                    <a:pt x="158" y="139"/>
                  </a:lnTo>
                  <a:lnTo>
                    <a:pt x="154" y="139"/>
                  </a:lnTo>
                  <a:lnTo>
                    <a:pt x="154" y="139"/>
                  </a:lnTo>
                  <a:lnTo>
                    <a:pt x="151" y="139"/>
                  </a:lnTo>
                  <a:lnTo>
                    <a:pt x="149" y="139"/>
                  </a:lnTo>
                  <a:lnTo>
                    <a:pt x="149" y="139"/>
                  </a:lnTo>
                  <a:lnTo>
                    <a:pt x="143" y="139"/>
                  </a:lnTo>
                  <a:lnTo>
                    <a:pt x="139" y="139"/>
                  </a:lnTo>
                  <a:lnTo>
                    <a:pt x="135" y="143"/>
                  </a:lnTo>
                  <a:lnTo>
                    <a:pt x="135" y="143"/>
                  </a:lnTo>
                  <a:lnTo>
                    <a:pt x="130" y="145"/>
                  </a:lnTo>
                  <a:lnTo>
                    <a:pt x="128" y="148"/>
                  </a:lnTo>
                  <a:lnTo>
                    <a:pt x="128" y="150"/>
                  </a:lnTo>
                  <a:lnTo>
                    <a:pt x="128" y="152"/>
                  </a:lnTo>
                  <a:lnTo>
                    <a:pt x="128" y="154"/>
                  </a:lnTo>
                  <a:lnTo>
                    <a:pt x="128" y="154"/>
                  </a:lnTo>
                  <a:lnTo>
                    <a:pt x="126" y="156"/>
                  </a:lnTo>
                  <a:lnTo>
                    <a:pt x="119" y="158"/>
                  </a:lnTo>
                  <a:lnTo>
                    <a:pt x="109" y="167"/>
                  </a:lnTo>
                  <a:lnTo>
                    <a:pt x="100" y="177"/>
                  </a:lnTo>
                  <a:lnTo>
                    <a:pt x="96" y="184"/>
                  </a:lnTo>
                  <a:lnTo>
                    <a:pt x="90" y="186"/>
                  </a:lnTo>
                  <a:lnTo>
                    <a:pt x="87" y="186"/>
                  </a:lnTo>
                  <a:lnTo>
                    <a:pt x="83" y="182"/>
                  </a:lnTo>
                  <a:lnTo>
                    <a:pt x="83" y="182"/>
                  </a:lnTo>
                  <a:lnTo>
                    <a:pt x="83" y="182"/>
                  </a:lnTo>
                  <a:lnTo>
                    <a:pt x="81" y="182"/>
                  </a:lnTo>
                  <a:lnTo>
                    <a:pt x="79" y="182"/>
                  </a:lnTo>
                  <a:lnTo>
                    <a:pt x="75" y="182"/>
                  </a:lnTo>
                  <a:lnTo>
                    <a:pt x="71" y="184"/>
                  </a:lnTo>
                  <a:lnTo>
                    <a:pt x="71" y="184"/>
                  </a:lnTo>
                  <a:lnTo>
                    <a:pt x="68" y="182"/>
                  </a:lnTo>
                  <a:lnTo>
                    <a:pt x="66" y="181"/>
                  </a:lnTo>
                  <a:lnTo>
                    <a:pt x="62" y="181"/>
                  </a:lnTo>
                  <a:lnTo>
                    <a:pt x="60" y="181"/>
                  </a:lnTo>
                  <a:lnTo>
                    <a:pt x="56" y="177"/>
                  </a:lnTo>
                  <a:lnTo>
                    <a:pt x="56" y="177"/>
                  </a:lnTo>
                  <a:lnTo>
                    <a:pt x="55" y="175"/>
                  </a:lnTo>
                  <a:lnTo>
                    <a:pt x="53" y="177"/>
                  </a:lnTo>
                  <a:lnTo>
                    <a:pt x="51" y="175"/>
                  </a:lnTo>
                  <a:lnTo>
                    <a:pt x="51" y="175"/>
                  </a:lnTo>
                  <a:lnTo>
                    <a:pt x="49" y="175"/>
                  </a:lnTo>
                  <a:lnTo>
                    <a:pt x="47" y="175"/>
                  </a:lnTo>
                  <a:lnTo>
                    <a:pt x="43" y="175"/>
                  </a:lnTo>
                  <a:lnTo>
                    <a:pt x="28" y="179"/>
                  </a:lnTo>
                  <a:lnTo>
                    <a:pt x="24" y="177"/>
                  </a:lnTo>
                  <a:lnTo>
                    <a:pt x="23" y="175"/>
                  </a:lnTo>
                  <a:lnTo>
                    <a:pt x="23" y="173"/>
                  </a:lnTo>
                  <a:lnTo>
                    <a:pt x="19" y="169"/>
                  </a:lnTo>
                  <a:lnTo>
                    <a:pt x="17" y="169"/>
                  </a:lnTo>
                  <a:lnTo>
                    <a:pt x="15" y="169"/>
                  </a:lnTo>
                  <a:lnTo>
                    <a:pt x="11" y="164"/>
                  </a:lnTo>
                  <a:lnTo>
                    <a:pt x="7" y="160"/>
                  </a:lnTo>
                  <a:lnTo>
                    <a:pt x="7" y="160"/>
                  </a:lnTo>
                  <a:lnTo>
                    <a:pt x="4" y="158"/>
                  </a:lnTo>
                  <a:lnTo>
                    <a:pt x="4" y="154"/>
                  </a:lnTo>
                  <a:lnTo>
                    <a:pt x="0" y="152"/>
                  </a:lnTo>
                  <a:lnTo>
                    <a:pt x="4" y="90"/>
                  </a:lnTo>
                  <a:lnTo>
                    <a:pt x="43" y="90"/>
                  </a:lnTo>
                  <a:lnTo>
                    <a:pt x="41" y="88"/>
                  </a:lnTo>
                  <a:lnTo>
                    <a:pt x="41" y="84"/>
                  </a:lnTo>
                  <a:lnTo>
                    <a:pt x="43" y="81"/>
                  </a:lnTo>
                  <a:lnTo>
                    <a:pt x="43" y="79"/>
                  </a:lnTo>
                  <a:lnTo>
                    <a:pt x="41" y="75"/>
                  </a:lnTo>
                  <a:lnTo>
                    <a:pt x="41" y="71"/>
                  </a:lnTo>
                  <a:lnTo>
                    <a:pt x="41" y="64"/>
                  </a:lnTo>
                  <a:lnTo>
                    <a:pt x="39" y="56"/>
                  </a:lnTo>
                  <a:lnTo>
                    <a:pt x="41" y="54"/>
                  </a:lnTo>
                  <a:lnTo>
                    <a:pt x="41" y="54"/>
                  </a:lnTo>
                  <a:lnTo>
                    <a:pt x="41" y="54"/>
                  </a:lnTo>
                  <a:lnTo>
                    <a:pt x="41" y="54"/>
                  </a:lnTo>
                  <a:lnTo>
                    <a:pt x="41" y="5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2" name="Freeform 145">
              <a:extLst>
                <a:ext uri="{FF2B5EF4-FFF2-40B4-BE49-F238E27FC236}">
                  <a16:creationId xmlns:a16="http://schemas.microsoft.com/office/drawing/2014/main" id="{E026C1DE-79D7-4500-A3F0-CF742DFC7DC8}"/>
                </a:ext>
              </a:extLst>
            </p:cNvPr>
            <p:cNvSpPr>
              <a:spLocks/>
            </p:cNvSpPr>
            <p:nvPr/>
          </p:nvSpPr>
          <p:spPr bwMode="auto">
            <a:xfrm>
              <a:off x="2990" y="3214"/>
              <a:ext cx="233" cy="228"/>
            </a:xfrm>
            <a:custGeom>
              <a:avLst/>
              <a:gdLst/>
              <a:ahLst/>
              <a:cxnLst>
                <a:cxn ang="0">
                  <a:pos x="213" y="215"/>
                </a:cxn>
                <a:cxn ang="0">
                  <a:pos x="199" y="206"/>
                </a:cxn>
                <a:cxn ang="0">
                  <a:pos x="192" y="196"/>
                </a:cxn>
                <a:cxn ang="0">
                  <a:pos x="231" y="132"/>
                </a:cxn>
                <a:cxn ang="0">
                  <a:pos x="231" y="119"/>
                </a:cxn>
                <a:cxn ang="0">
                  <a:pos x="231" y="98"/>
                </a:cxn>
                <a:cxn ang="0">
                  <a:pos x="224" y="98"/>
                </a:cxn>
                <a:cxn ang="0">
                  <a:pos x="216" y="100"/>
                </a:cxn>
                <a:cxn ang="0">
                  <a:pos x="203" y="98"/>
                </a:cxn>
                <a:cxn ang="0">
                  <a:pos x="199" y="100"/>
                </a:cxn>
                <a:cxn ang="0">
                  <a:pos x="199" y="93"/>
                </a:cxn>
                <a:cxn ang="0">
                  <a:pos x="199" y="83"/>
                </a:cxn>
                <a:cxn ang="0">
                  <a:pos x="197" y="76"/>
                </a:cxn>
                <a:cxn ang="0">
                  <a:pos x="194" y="70"/>
                </a:cxn>
                <a:cxn ang="0">
                  <a:pos x="190" y="61"/>
                </a:cxn>
                <a:cxn ang="0">
                  <a:pos x="190" y="47"/>
                </a:cxn>
                <a:cxn ang="0">
                  <a:pos x="190" y="38"/>
                </a:cxn>
                <a:cxn ang="0">
                  <a:pos x="192" y="29"/>
                </a:cxn>
                <a:cxn ang="0">
                  <a:pos x="169" y="19"/>
                </a:cxn>
                <a:cxn ang="0">
                  <a:pos x="145" y="27"/>
                </a:cxn>
                <a:cxn ang="0">
                  <a:pos x="145" y="38"/>
                </a:cxn>
                <a:cxn ang="0">
                  <a:pos x="118" y="40"/>
                </a:cxn>
                <a:cxn ang="0">
                  <a:pos x="109" y="34"/>
                </a:cxn>
                <a:cxn ang="0">
                  <a:pos x="101" y="25"/>
                </a:cxn>
                <a:cxn ang="0">
                  <a:pos x="98" y="12"/>
                </a:cxn>
                <a:cxn ang="0">
                  <a:pos x="96" y="6"/>
                </a:cxn>
                <a:cxn ang="0">
                  <a:pos x="64" y="0"/>
                </a:cxn>
                <a:cxn ang="0">
                  <a:pos x="45" y="2"/>
                </a:cxn>
                <a:cxn ang="0">
                  <a:pos x="30" y="0"/>
                </a:cxn>
                <a:cxn ang="0">
                  <a:pos x="21" y="4"/>
                </a:cxn>
                <a:cxn ang="0">
                  <a:pos x="15" y="6"/>
                </a:cxn>
                <a:cxn ang="0">
                  <a:pos x="30" y="36"/>
                </a:cxn>
                <a:cxn ang="0">
                  <a:pos x="30" y="61"/>
                </a:cxn>
                <a:cxn ang="0">
                  <a:pos x="39" y="89"/>
                </a:cxn>
                <a:cxn ang="0">
                  <a:pos x="34" y="125"/>
                </a:cxn>
                <a:cxn ang="0">
                  <a:pos x="15" y="143"/>
                </a:cxn>
                <a:cxn ang="0">
                  <a:pos x="7" y="172"/>
                </a:cxn>
                <a:cxn ang="0">
                  <a:pos x="0" y="198"/>
                </a:cxn>
                <a:cxn ang="0">
                  <a:pos x="0" y="215"/>
                </a:cxn>
                <a:cxn ang="0">
                  <a:pos x="5" y="211"/>
                </a:cxn>
                <a:cxn ang="0">
                  <a:pos x="17" y="211"/>
                </a:cxn>
                <a:cxn ang="0">
                  <a:pos x="26" y="209"/>
                </a:cxn>
                <a:cxn ang="0">
                  <a:pos x="32" y="209"/>
                </a:cxn>
                <a:cxn ang="0">
                  <a:pos x="36" y="211"/>
                </a:cxn>
                <a:cxn ang="0">
                  <a:pos x="49" y="215"/>
                </a:cxn>
                <a:cxn ang="0">
                  <a:pos x="124" y="215"/>
                </a:cxn>
                <a:cxn ang="0">
                  <a:pos x="132" y="223"/>
                </a:cxn>
                <a:cxn ang="0">
                  <a:pos x="141" y="224"/>
                </a:cxn>
                <a:cxn ang="0">
                  <a:pos x="152" y="224"/>
                </a:cxn>
                <a:cxn ang="0">
                  <a:pos x="160" y="223"/>
                </a:cxn>
                <a:cxn ang="0">
                  <a:pos x="173" y="226"/>
                </a:cxn>
                <a:cxn ang="0">
                  <a:pos x="179" y="226"/>
                </a:cxn>
                <a:cxn ang="0">
                  <a:pos x="182" y="228"/>
                </a:cxn>
                <a:cxn ang="0">
                  <a:pos x="216" y="221"/>
                </a:cxn>
              </a:cxnLst>
              <a:rect l="0" t="0" r="r" b="b"/>
              <a:pathLst>
                <a:path w="233" h="228">
                  <a:moveTo>
                    <a:pt x="216" y="221"/>
                  </a:moveTo>
                  <a:lnTo>
                    <a:pt x="214" y="219"/>
                  </a:lnTo>
                  <a:lnTo>
                    <a:pt x="213" y="217"/>
                  </a:lnTo>
                  <a:lnTo>
                    <a:pt x="213" y="215"/>
                  </a:lnTo>
                  <a:lnTo>
                    <a:pt x="209" y="211"/>
                  </a:lnTo>
                  <a:lnTo>
                    <a:pt x="207" y="211"/>
                  </a:lnTo>
                  <a:lnTo>
                    <a:pt x="203" y="211"/>
                  </a:lnTo>
                  <a:lnTo>
                    <a:pt x="199" y="206"/>
                  </a:lnTo>
                  <a:lnTo>
                    <a:pt x="197" y="204"/>
                  </a:lnTo>
                  <a:lnTo>
                    <a:pt x="197" y="202"/>
                  </a:lnTo>
                  <a:lnTo>
                    <a:pt x="194" y="200"/>
                  </a:lnTo>
                  <a:lnTo>
                    <a:pt x="192" y="196"/>
                  </a:lnTo>
                  <a:lnTo>
                    <a:pt x="190" y="194"/>
                  </a:lnTo>
                  <a:lnTo>
                    <a:pt x="192" y="134"/>
                  </a:lnTo>
                  <a:lnTo>
                    <a:pt x="233" y="134"/>
                  </a:lnTo>
                  <a:lnTo>
                    <a:pt x="231" y="132"/>
                  </a:lnTo>
                  <a:lnTo>
                    <a:pt x="231" y="126"/>
                  </a:lnTo>
                  <a:lnTo>
                    <a:pt x="233" y="125"/>
                  </a:lnTo>
                  <a:lnTo>
                    <a:pt x="233" y="121"/>
                  </a:lnTo>
                  <a:lnTo>
                    <a:pt x="231" y="119"/>
                  </a:lnTo>
                  <a:lnTo>
                    <a:pt x="231" y="113"/>
                  </a:lnTo>
                  <a:lnTo>
                    <a:pt x="231" y="108"/>
                  </a:lnTo>
                  <a:lnTo>
                    <a:pt x="229" y="100"/>
                  </a:lnTo>
                  <a:lnTo>
                    <a:pt x="231" y="98"/>
                  </a:lnTo>
                  <a:lnTo>
                    <a:pt x="231" y="98"/>
                  </a:lnTo>
                  <a:lnTo>
                    <a:pt x="231" y="96"/>
                  </a:lnTo>
                  <a:lnTo>
                    <a:pt x="228" y="96"/>
                  </a:lnTo>
                  <a:lnTo>
                    <a:pt x="224" y="98"/>
                  </a:lnTo>
                  <a:lnTo>
                    <a:pt x="222" y="100"/>
                  </a:lnTo>
                  <a:lnTo>
                    <a:pt x="220" y="100"/>
                  </a:lnTo>
                  <a:lnTo>
                    <a:pt x="218" y="100"/>
                  </a:lnTo>
                  <a:lnTo>
                    <a:pt x="216" y="100"/>
                  </a:lnTo>
                  <a:lnTo>
                    <a:pt x="213" y="100"/>
                  </a:lnTo>
                  <a:lnTo>
                    <a:pt x="209" y="100"/>
                  </a:lnTo>
                  <a:lnTo>
                    <a:pt x="207" y="98"/>
                  </a:lnTo>
                  <a:lnTo>
                    <a:pt x="203" y="98"/>
                  </a:lnTo>
                  <a:lnTo>
                    <a:pt x="203" y="98"/>
                  </a:lnTo>
                  <a:lnTo>
                    <a:pt x="203" y="98"/>
                  </a:lnTo>
                  <a:lnTo>
                    <a:pt x="199" y="100"/>
                  </a:lnTo>
                  <a:lnTo>
                    <a:pt x="199" y="100"/>
                  </a:lnTo>
                  <a:lnTo>
                    <a:pt x="199" y="98"/>
                  </a:lnTo>
                  <a:lnTo>
                    <a:pt x="199" y="94"/>
                  </a:lnTo>
                  <a:lnTo>
                    <a:pt x="199" y="94"/>
                  </a:lnTo>
                  <a:lnTo>
                    <a:pt x="199" y="93"/>
                  </a:lnTo>
                  <a:lnTo>
                    <a:pt x="199" y="93"/>
                  </a:lnTo>
                  <a:lnTo>
                    <a:pt x="199" y="89"/>
                  </a:lnTo>
                  <a:lnTo>
                    <a:pt x="197" y="85"/>
                  </a:lnTo>
                  <a:lnTo>
                    <a:pt x="199" y="83"/>
                  </a:lnTo>
                  <a:lnTo>
                    <a:pt x="199" y="83"/>
                  </a:lnTo>
                  <a:lnTo>
                    <a:pt x="197" y="79"/>
                  </a:lnTo>
                  <a:lnTo>
                    <a:pt x="197" y="77"/>
                  </a:lnTo>
                  <a:lnTo>
                    <a:pt x="197" y="76"/>
                  </a:lnTo>
                  <a:lnTo>
                    <a:pt x="197" y="74"/>
                  </a:lnTo>
                  <a:lnTo>
                    <a:pt x="196" y="74"/>
                  </a:lnTo>
                  <a:lnTo>
                    <a:pt x="194" y="70"/>
                  </a:lnTo>
                  <a:lnTo>
                    <a:pt x="194" y="70"/>
                  </a:lnTo>
                  <a:lnTo>
                    <a:pt x="194" y="68"/>
                  </a:lnTo>
                  <a:lnTo>
                    <a:pt x="192" y="64"/>
                  </a:lnTo>
                  <a:lnTo>
                    <a:pt x="192" y="62"/>
                  </a:lnTo>
                  <a:lnTo>
                    <a:pt x="190" y="61"/>
                  </a:lnTo>
                  <a:lnTo>
                    <a:pt x="192" y="59"/>
                  </a:lnTo>
                  <a:lnTo>
                    <a:pt x="192" y="53"/>
                  </a:lnTo>
                  <a:lnTo>
                    <a:pt x="190" y="49"/>
                  </a:lnTo>
                  <a:lnTo>
                    <a:pt x="190" y="47"/>
                  </a:lnTo>
                  <a:lnTo>
                    <a:pt x="192" y="47"/>
                  </a:lnTo>
                  <a:lnTo>
                    <a:pt x="192" y="44"/>
                  </a:lnTo>
                  <a:lnTo>
                    <a:pt x="190" y="42"/>
                  </a:lnTo>
                  <a:lnTo>
                    <a:pt x="190" y="38"/>
                  </a:lnTo>
                  <a:lnTo>
                    <a:pt x="192" y="34"/>
                  </a:lnTo>
                  <a:lnTo>
                    <a:pt x="192" y="34"/>
                  </a:lnTo>
                  <a:lnTo>
                    <a:pt x="192" y="30"/>
                  </a:lnTo>
                  <a:lnTo>
                    <a:pt x="192" y="29"/>
                  </a:lnTo>
                  <a:lnTo>
                    <a:pt x="169" y="27"/>
                  </a:lnTo>
                  <a:lnTo>
                    <a:pt x="169" y="25"/>
                  </a:lnTo>
                  <a:lnTo>
                    <a:pt x="169" y="23"/>
                  </a:lnTo>
                  <a:lnTo>
                    <a:pt x="169" y="19"/>
                  </a:lnTo>
                  <a:lnTo>
                    <a:pt x="165" y="19"/>
                  </a:lnTo>
                  <a:lnTo>
                    <a:pt x="165" y="21"/>
                  </a:lnTo>
                  <a:lnTo>
                    <a:pt x="149" y="21"/>
                  </a:lnTo>
                  <a:lnTo>
                    <a:pt x="145" y="27"/>
                  </a:lnTo>
                  <a:lnTo>
                    <a:pt x="145" y="30"/>
                  </a:lnTo>
                  <a:lnTo>
                    <a:pt x="145" y="30"/>
                  </a:lnTo>
                  <a:lnTo>
                    <a:pt x="145" y="34"/>
                  </a:lnTo>
                  <a:lnTo>
                    <a:pt x="145" y="38"/>
                  </a:lnTo>
                  <a:lnTo>
                    <a:pt x="130" y="40"/>
                  </a:lnTo>
                  <a:lnTo>
                    <a:pt x="128" y="42"/>
                  </a:lnTo>
                  <a:lnTo>
                    <a:pt x="120" y="40"/>
                  </a:lnTo>
                  <a:lnTo>
                    <a:pt x="118" y="40"/>
                  </a:lnTo>
                  <a:lnTo>
                    <a:pt x="115" y="40"/>
                  </a:lnTo>
                  <a:lnTo>
                    <a:pt x="111" y="40"/>
                  </a:lnTo>
                  <a:lnTo>
                    <a:pt x="109" y="40"/>
                  </a:lnTo>
                  <a:lnTo>
                    <a:pt x="109" y="34"/>
                  </a:lnTo>
                  <a:lnTo>
                    <a:pt x="105" y="30"/>
                  </a:lnTo>
                  <a:lnTo>
                    <a:pt x="103" y="29"/>
                  </a:lnTo>
                  <a:lnTo>
                    <a:pt x="101" y="27"/>
                  </a:lnTo>
                  <a:lnTo>
                    <a:pt x="101" y="25"/>
                  </a:lnTo>
                  <a:lnTo>
                    <a:pt x="101" y="23"/>
                  </a:lnTo>
                  <a:lnTo>
                    <a:pt x="100" y="19"/>
                  </a:lnTo>
                  <a:lnTo>
                    <a:pt x="98" y="15"/>
                  </a:lnTo>
                  <a:lnTo>
                    <a:pt x="98" y="12"/>
                  </a:lnTo>
                  <a:lnTo>
                    <a:pt x="100" y="10"/>
                  </a:lnTo>
                  <a:lnTo>
                    <a:pt x="100" y="10"/>
                  </a:lnTo>
                  <a:lnTo>
                    <a:pt x="98" y="6"/>
                  </a:lnTo>
                  <a:lnTo>
                    <a:pt x="96" y="6"/>
                  </a:lnTo>
                  <a:lnTo>
                    <a:pt x="98" y="4"/>
                  </a:lnTo>
                  <a:lnTo>
                    <a:pt x="98" y="2"/>
                  </a:lnTo>
                  <a:lnTo>
                    <a:pt x="79" y="0"/>
                  </a:lnTo>
                  <a:lnTo>
                    <a:pt x="64" y="0"/>
                  </a:lnTo>
                  <a:lnTo>
                    <a:pt x="60" y="2"/>
                  </a:lnTo>
                  <a:lnTo>
                    <a:pt x="51" y="2"/>
                  </a:lnTo>
                  <a:lnTo>
                    <a:pt x="51" y="0"/>
                  </a:lnTo>
                  <a:lnTo>
                    <a:pt x="45" y="2"/>
                  </a:lnTo>
                  <a:lnTo>
                    <a:pt x="39" y="2"/>
                  </a:lnTo>
                  <a:lnTo>
                    <a:pt x="36" y="2"/>
                  </a:lnTo>
                  <a:lnTo>
                    <a:pt x="34" y="2"/>
                  </a:lnTo>
                  <a:lnTo>
                    <a:pt x="30" y="0"/>
                  </a:lnTo>
                  <a:lnTo>
                    <a:pt x="26" y="2"/>
                  </a:lnTo>
                  <a:lnTo>
                    <a:pt x="26" y="2"/>
                  </a:lnTo>
                  <a:lnTo>
                    <a:pt x="24" y="4"/>
                  </a:lnTo>
                  <a:lnTo>
                    <a:pt x="21" y="4"/>
                  </a:lnTo>
                  <a:lnTo>
                    <a:pt x="21" y="4"/>
                  </a:lnTo>
                  <a:lnTo>
                    <a:pt x="21" y="4"/>
                  </a:lnTo>
                  <a:lnTo>
                    <a:pt x="21" y="4"/>
                  </a:lnTo>
                  <a:lnTo>
                    <a:pt x="15" y="6"/>
                  </a:lnTo>
                  <a:lnTo>
                    <a:pt x="17" y="10"/>
                  </a:lnTo>
                  <a:lnTo>
                    <a:pt x="17" y="12"/>
                  </a:lnTo>
                  <a:lnTo>
                    <a:pt x="26" y="23"/>
                  </a:lnTo>
                  <a:lnTo>
                    <a:pt x="30" y="36"/>
                  </a:lnTo>
                  <a:lnTo>
                    <a:pt x="34" y="45"/>
                  </a:lnTo>
                  <a:lnTo>
                    <a:pt x="32" y="53"/>
                  </a:lnTo>
                  <a:lnTo>
                    <a:pt x="26" y="59"/>
                  </a:lnTo>
                  <a:lnTo>
                    <a:pt x="30" y="61"/>
                  </a:lnTo>
                  <a:lnTo>
                    <a:pt x="30" y="68"/>
                  </a:lnTo>
                  <a:lnTo>
                    <a:pt x="32" y="74"/>
                  </a:lnTo>
                  <a:lnTo>
                    <a:pt x="32" y="77"/>
                  </a:lnTo>
                  <a:lnTo>
                    <a:pt x="39" y="89"/>
                  </a:lnTo>
                  <a:lnTo>
                    <a:pt x="39" y="93"/>
                  </a:lnTo>
                  <a:lnTo>
                    <a:pt x="41" y="94"/>
                  </a:lnTo>
                  <a:lnTo>
                    <a:pt x="41" y="109"/>
                  </a:lnTo>
                  <a:lnTo>
                    <a:pt x="34" y="125"/>
                  </a:lnTo>
                  <a:lnTo>
                    <a:pt x="32" y="125"/>
                  </a:lnTo>
                  <a:lnTo>
                    <a:pt x="24" y="128"/>
                  </a:lnTo>
                  <a:lnTo>
                    <a:pt x="24" y="134"/>
                  </a:lnTo>
                  <a:lnTo>
                    <a:pt x="15" y="143"/>
                  </a:lnTo>
                  <a:lnTo>
                    <a:pt x="13" y="151"/>
                  </a:lnTo>
                  <a:lnTo>
                    <a:pt x="11" y="151"/>
                  </a:lnTo>
                  <a:lnTo>
                    <a:pt x="11" y="166"/>
                  </a:lnTo>
                  <a:lnTo>
                    <a:pt x="7" y="172"/>
                  </a:lnTo>
                  <a:lnTo>
                    <a:pt x="5" y="179"/>
                  </a:lnTo>
                  <a:lnTo>
                    <a:pt x="0" y="187"/>
                  </a:lnTo>
                  <a:lnTo>
                    <a:pt x="0" y="190"/>
                  </a:lnTo>
                  <a:lnTo>
                    <a:pt x="0" y="198"/>
                  </a:lnTo>
                  <a:lnTo>
                    <a:pt x="0" y="207"/>
                  </a:lnTo>
                  <a:lnTo>
                    <a:pt x="0" y="211"/>
                  </a:lnTo>
                  <a:lnTo>
                    <a:pt x="0" y="215"/>
                  </a:lnTo>
                  <a:lnTo>
                    <a:pt x="0" y="215"/>
                  </a:lnTo>
                  <a:lnTo>
                    <a:pt x="2" y="215"/>
                  </a:lnTo>
                  <a:lnTo>
                    <a:pt x="4" y="215"/>
                  </a:lnTo>
                  <a:lnTo>
                    <a:pt x="5" y="215"/>
                  </a:lnTo>
                  <a:lnTo>
                    <a:pt x="5" y="211"/>
                  </a:lnTo>
                  <a:lnTo>
                    <a:pt x="7" y="211"/>
                  </a:lnTo>
                  <a:lnTo>
                    <a:pt x="11" y="211"/>
                  </a:lnTo>
                  <a:lnTo>
                    <a:pt x="15" y="215"/>
                  </a:lnTo>
                  <a:lnTo>
                    <a:pt x="17" y="211"/>
                  </a:lnTo>
                  <a:lnTo>
                    <a:pt x="17" y="211"/>
                  </a:lnTo>
                  <a:lnTo>
                    <a:pt x="21" y="207"/>
                  </a:lnTo>
                  <a:lnTo>
                    <a:pt x="24" y="207"/>
                  </a:lnTo>
                  <a:lnTo>
                    <a:pt x="26" y="209"/>
                  </a:lnTo>
                  <a:lnTo>
                    <a:pt x="30" y="209"/>
                  </a:lnTo>
                  <a:lnTo>
                    <a:pt x="30" y="207"/>
                  </a:lnTo>
                  <a:lnTo>
                    <a:pt x="30" y="207"/>
                  </a:lnTo>
                  <a:lnTo>
                    <a:pt x="32" y="209"/>
                  </a:lnTo>
                  <a:lnTo>
                    <a:pt x="34" y="209"/>
                  </a:lnTo>
                  <a:lnTo>
                    <a:pt x="36" y="211"/>
                  </a:lnTo>
                  <a:lnTo>
                    <a:pt x="36" y="211"/>
                  </a:lnTo>
                  <a:lnTo>
                    <a:pt x="36" y="211"/>
                  </a:lnTo>
                  <a:lnTo>
                    <a:pt x="39" y="215"/>
                  </a:lnTo>
                  <a:lnTo>
                    <a:pt x="45" y="217"/>
                  </a:lnTo>
                  <a:lnTo>
                    <a:pt x="47" y="215"/>
                  </a:lnTo>
                  <a:lnTo>
                    <a:pt x="49" y="215"/>
                  </a:lnTo>
                  <a:lnTo>
                    <a:pt x="51" y="215"/>
                  </a:lnTo>
                  <a:lnTo>
                    <a:pt x="51" y="215"/>
                  </a:lnTo>
                  <a:lnTo>
                    <a:pt x="54" y="215"/>
                  </a:lnTo>
                  <a:lnTo>
                    <a:pt x="124" y="215"/>
                  </a:lnTo>
                  <a:lnTo>
                    <a:pt x="124" y="215"/>
                  </a:lnTo>
                  <a:lnTo>
                    <a:pt x="126" y="219"/>
                  </a:lnTo>
                  <a:lnTo>
                    <a:pt x="128" y="221"/>
                  </a:lnTo>
                  <a:lnTo>
                    <a:pt x="132" y="223"/>
                  </a:lnTo>
                  <a:lnTo>
                    <a:pt x="135" y="223"/>
                  </a:lnTo>
                  <a:lnTo>
                    <a:pt x="139" y="223"/>
                  </a:lnTo>
                  <a:lnTo>
                    <a:pt x="141" y="223"/>
                  </a:lnTo>
                  <a:lnTo>
                    <a:pt x="141" y="224"/>
                  </a:lnTo>
                  <a:lnTo>
                    <a:pt x="145" y="226"/>
                  </a:lnTo>
                  <a:lnTo>
                    <a:pt x="145" y="224"/>
                  </a:lnTo>
                  <a:lnTo>
                    <a:pt x="149" y="223"/>
                  </a:lnTo>
                  <a:lnTo>
                    <a:pt x="152" y="224"/>
                  </a:lnTo>
                  <a:lnTo>
                    <a:pt x="156" y="224"/>
                  </a:lnTo>
                  <a:lnTo>
                    <a:pt x="156" y="223"/>
                  </a:lnTo>
                  <a:lnTo>
                    <a:pt x="158" y="223"/>
                  </a:lnTo>
                  <a:lnTo>
                    <a:pt x="160" y="223"/>
                  </a:lnTo>
                  <a:lnTo>
                    <a:pt x="164" y="226"/>
                  </a:lnTo>
                  <a:lnTo>
                    <a:pt x="167" y="228"/>
                  </a:lnTo>
                  <a:lnTo>
                    <a:pt x="169" y="228"/>
                  </a:lnTo>
                  <a:lnTo>
                    <a:pt x="173" y="226"/>
                  </a:lnTo>
                  <a:lnTo>
                    <a:pt x="173" y="226"/>
                  </a:lnTo>
                  <a:lnTo>
                    <a:pt x="175" y="224"/>
                  </a:lnTo>
                  <a:lnTo>
                    <a:pt x="175" y="226"/>
                  </a:lnTo>
                  <a:lnTo>
                    <a:pt x="179" y="226"/>
                  </a:lnTo>
                  <a:lnTo>
                    <a:pt x="179" y="226"/>
                  </a:lnTo>
                  <a:lnTo>
                    <a:pt x="179" y="228"/>
                  </a:lnTo>
                  <a:lnTo>
                    <a:pt x="181" y="228"/>
                  </a:lnTo>
                  <a:lnTo>
                    <a:pt x="182" y="228"/>
                  </a:lnTo>
                  <a:lnTo>
                    <a:pt x="184" y="228"/>
                  </a:lnTo>
                  <a:lnTo>
                    <a:pt x="186" y="228"/>
                  </a:lnTo>
                  <a:lnTo>
                    <a:pt x="186" y="228"/>
                  </a:lnTo>
                  <a:lnTo>
                    <a:pt x="216" y="221"/>
                  </a:lnTo>
                  <a:lnTo>
                    <a:pt x="216" y="221"/>
                  </a:lnTo>
                  <a:lnTo>
                    <a:pt x="216" y="221"/>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3" name="Freeform 146">
              <a:extLst>
                <a:ext uri="{FF2B5EF4-FFF2-40B4-BE49-F238E27FC236}">
                  <a16:creationId xmlns:a16="http://schemas.microsoft.com/office/drawing/2014/main" id="{A78E4629-3932-4FBA-A200-51645E6FC1DB}"/>
                </a:ext>
              </a:extLst>
            </p:cNvPr>
            <p:cNvSpPr>
              <a:spLocks/>
            </p:cNvSpPr>
            <p:nvPr/>
          </p:nvSpPr>
          <p:spPr bwMode="auto">
            <a:xfrm>
              <a:off x="3238" y="3393"/>
              <a:ext cx="147" cy="134"/>
            </a:xfrm>
            <a:custGeom>
              <a:avLst/>
              <a:gdLst/>
              <a:ahLst/>
              <a:cxnLst>
                <a:cxn ang="0">
                  <a:pos x="8" y="42"/>
                </a:cxn>
                <a:cxn ang="0">
                  <a:pos x="13" y="45"/>
                </a:cxn>
                <a:cxn ang="0">
                  <a:pos x="23" y="44"/>
                </a:cxn>
                <a:cxn ang="0">
                  <a:pos x="25" y="44"/>
                </a:cxn>
                <a:cxn ang="0">
                  <a:pos x="38" y="45"/>
                </a:cxn>
                <a:cxn ang="0">
                  <a:pos x="62" y="19"/>
                </a:cxn>
                <a:cxn ang="0">
                  <a:pos x="70" y="15"/>
                </a:cxn>
                <a:cxn ang="0">
                  <a:pos x="70" y="10"/>
                </a:cxn>
                <a:cxn ang="0">
                  <a:pos x="79" y="4"/>
                </a:cxn>
                <a:cxn ang="0">
                  <a:pos x="93" y="0"/>
                </a:cxn>
                <a:cxn ang="0">
                  <a:pos x="98" y="0"/>
                </a:cxn>
                <a:cxn ang="0">
                  <a:pos x="102" y="8"/>
                </a:cxn>
                <a:cxn ang="0">
                  <a:pos x="113" y="11"/>
                </a:cxn>
                <a:cxn ang="0">
                  <a:pos x="119" y="10"/>
                </a:cxn>
                <a:cxn ang="0">
                  <a:pos x="132" y="17"/>
                </a:cxn>
                <a:cxn ang="0">
                  <a:pos x="143" y="25"/>
                </a:cxn>
                <a:cxn ang="0">
                  <a:pos x="147" y="30"/>
                </a:cxn>
                <a:cxn ang="0">
                  <a:pos x="147" y="36"/>
                </a:cxn>
                <a:cxn ang="0">
                  <a:pos x="143" y="47"/>
                </a:cxn>
                <a:cxn ang="0">
                  <a:pos x="147" y="53"/>
                </a:cxn>
                <a:cxn ang="0">
                  <a:pos x="143" y="60"/>
                </a:cxn>
                <a:cxn ang="0">
                  <a:pos x="140" y="66"/>
                </a:cxn>
                <a:cxn ang="0">
                  <a:pos x="143" y="74"/>
                </a:cxn>
                <a:cxn ang="0">
                  <a:pos x="143" y="83"/>
                </a:cxn>
                <a:cxn ang="0">
                  <a:pos x="138" y="91"/>
                </a:cxn>
                <a:cxn ang="0">
                  <a:pos x="134" y="98"/>
                </a:cxn>
                <a:cxn ang="0">
                  <a:pos x="134" y="106"/>
                </a:cxn>
                <a:cxn ang="0">
                  <a:pos x="108" y="130"/>
                </a:cxn>
                <a:cxn ang="0">
                  <a:pos x="94" y="130"/>
                </a:cxn>
                <a:cxn ang="0">
                  <a:pos x="87" y="128"/>
                </a:cxn>
                <a:cxn ang="0">
                  <a:pos x="74" y="125"/>
                </a:cxn>
                <a:cxn ang="0">
                  <a:pos x="74" y="121"/>
                </a:cxn>
                <a:cxn ang="0">
                  <a:pos x="64" y="115"/>
                </a:cxn>
                <a:cxn ang="0">
                  <a:pos x="55" y="115"/>
                </a:cxn>
                <a:cxn ang="0">
                  <a:pos x="45" y="109"/>
                </a:cxn>
                <a:cxn ang="0">
                  <a:pos x="42" y="98"/>
                </a:cxn>
                <a:cxn ang="0">
                  <a:pos x="38" y="94"/>
                </a:cxn>
                <a:cxn ang="0">
                  <a:pos x="38" y="91"/>
                </a:cxn>
                <a:cxn ang="0">
                  <a:pos x="29" y="83"/>
                </a:cxn>
                <a:cxn ang="0">
                  <a:pos x="19" y="70"/>
                </a:cxn>
                <a:cxn ang="0">
                  <a:pos x="15" y="66"/>
                </a:cxn>
                <a:cxn ang="0">
                  <a:pos x="10" y="59"/>
                </a:cxn>
                <a:cxn ang="0">
                  <a:pos x="8" y="53"/>
                </a:cxn>
                <a:cxn ang="0">
                  <a:pos x="0" y="49"/>
                </a:cxn>
                <a:cxn ang="0">
                  <a:pos x="0" y="44"/>
                </a:cxn>
                <a:cxn ang="0">
                  <a:pos x="0" y="42"/>
                </a:cxn>
              </a:cxnLst>
              <a:rect l="0" t="0" r="r" b="b"/>
              <a:pathLst>
                <a:path w="147" h="134">
                  <a:moveTo>
                    <a:pt x="0" y="42"/>
                  </a:moveTo>
                  <a:lnTo>
                    <a:pt x="2" y="42"/>
                  </a:lnTo>
                  <a:lnTo>
                    <a:pt x="8" y="42"/>
                  </a:lnTo>
                  <a:lnTo>
                    <a:pt x="10" y="44"/>
                  </a:lnTo>
                  <a:lnTo>
                    <a:pt x="12" y="45"/>
                  </a:lnTo>
                  <a:lnTo>
                    <a:pt x="13" y="45"/>
                  </a:lnTo>
                  <a:lnTo>
                    <a:pt x="17" y="44"/>
                  </a:lnTo>
                  <a:lnTo>
                    <a:pt x="21" y="44"/>
                  </a:lnTo>
                  <a:lnTo>
                    <a:pt x="23" y="44"/>
                  </a:lnTo>
                  <a:lnTo>
                    <a:pt x="25" y="44"/>
                  </a:lnTo>
                  <a:lnTo>
                    <a:pt x="25" y="44"/>
                  </a:lnTo>
                  <a:lnTo>
                    <a:pt x="25" y="44"/>
                  </a:lnTo>
                  <a:lnTo>
                    <a:pt x="29" y="47"/>
                  </a:lnTo>
                  <a:lnTo>
                    <a:pt x="32" y="47"/>
                  </a:lnTo>
                  <a:lnTo>
                    <a:pt x="38" y="45"/>
                  </a:lnTo>
                  <a:lnTo>
                    <a:pt x="42" y="38"/>
                  </a:lnTo>
                  <a:lnTo>
                    <a:pt x="51" y="28"/>
                  </a:lnTo>
                  <a:lnTo>
                    <a:pt x="62" y="19"/>
                  </a:lnTo>
                  <a:lnTo>
                    <a:pt x="68" y="17"/>
                  </a:lnTo>
                  <a:lnTo>
                    <a:pt x="70" y="15"/>
                  </a:lnTo>
                  <a:lnTo>
                    <a:pt x="70" y="15"/>
                  </a:lnTo>
                  <a:lnTo>
                    <a:pt x="70" y="13"/>
                  </a:lnTo>
                  <a:lnTo>
                    <a:pt x="70" y="11"/>
                  </a:lnTo>
                  <a:lnTo>
                    <a:pt x="70" y="10"/>
                  </a:lnTo>
                  <a:lnTo>
                    <a:pt x="74" y="6"/>
                  </a:lnTo>
                  <a:lnTo>
                    <a:pt x="77" y="4"/>
                  </a:lnTo>
                  <a:lnTo>
                    <a:pt x="79" y="4"/>
                  </a:lnTo>
                  <a:lnTo>
                    <a:pt x="83" y="0"/>
                  </a:lnTo>
                  <a:lnTo>
                    <a:pt x="87" y="0"/>
                  </a:lnTo>
                  <a:lnTo>
                    <a:pt x="93" y="0"/>
                  </a:lnTo>
                  <a:lnTo>
                    <a:pt x="93" y="0"/>
                  </a:lnTo>
                  <a:lnTo>
                    <a:pt x="94" y="0"/>
                  </a:lnTo>
                  <a:lnTo>
                    <a:pt x="98" y="0"/>
                  </a:lnTo>
                  <a:lnTo>
                    <a:pt x="100" y="0"/>
                  </a:lnTo>
                  <a:lnTo>
                    <a:pt x="102" y="0"/>
                  </a:lnTo>
                  <a:lnTo>
                    <a:pt x="102" y="8"/>
                  </a:lnTo>
                  <a:lnTo>
                    <a:pt x="108" y="8"/>
                  </a:lnTo>
                  <a:lnTo>
                    <a:pt x="109" y="8"/>
                  </a:lnTo>
                  <a:lnTo>
                    <a:pt x="113" y="11"/>
                  </a:lnTo>
                  <a:lnTo>
                    <a:pt x="113" y="10"/>
                  </a:lnTo>
                  <a:lnTo>
                    <a:pt x="115" y="8"/>
                  </a:lnTo>
                  <a:lnTo>
                    <a:pt x="119" y="10"/>
                  </a:lnTo>
                  <a:lnTo>
                    <a:pt x="125" y="13"/>
                  </a:lnTo>
                  <a:lnTo>
                    <a:pt x="128" y="17"/>
                  </a:lnTo>
                  <a:lnTo>
                    <a:pt x="132" y="17"/>
                  </a:lnTo>
                  <a:lnTo>
                    <a:pt x="138" y="19"/>
                  </a:lnTo>
                  <a:lnTo>
                    <a:pt x="140" y="21"/>
                  </a:lnTo>
                  <a:lnTo>
                    <a:pt x="143" y="25"/>
                  </a:lnTo>
                  <a:lnTo>
                    <a:pt x="147" y="25"/>
                  </a:lnTo>
                  <a:lnTo>
                    <a:pt x="147" y="28"/>
                  </a:lnTo>
                  <a:lnTo>
                    <a:pt x="147" y="30"/>
                  </a:lnTo>
                  <a:lnTo>
                    <a:pt x="147" y="34"/>
                  </a:lnTo>
                  <a:lnTo>
                    <a:pt x="147" y="34"/>
                  </a:lnTo>
                  <a:lnTo>
                    <a:pt x="147" y="36"/>
                  </a:lnTo>
                  <a:lnTo>
                    <a:pt x="147" y="40"/>
                  </a:lnTo>
                  <a:lnTo>
                    <a:pt x="143" y="42"/>
                  </a:lnTo>
                  <a:lnTo>
                    <a:pt x="143" y="47"/>
                  </a:lnTo>
                  <a:lnTo>
                    <a:pt x="143" y="51"/>
                  </a:lnTo>
                  <a:lnTo>
                    <a:pt x="143" y="53"/>
                  </a:lnTo>
                  <a:lnTo>
                    <a:pt x="147" y="53"/>
                  </a:lnTo>
                  <a:lnTo>
                    <a:pt x="147" y="55"/>
                  </a:lnTo>
                  <a:lnTo>
                    <a:pt x="143" y="59"/>
                  </a:lnTo>
                  <a:lnTo>
                    <a:pt x="143" y="60"/>
                  </a:lnTo>
                  <a:lnTo>
                    <a:pt x="143" y="64"/>
                  </a:lnTo>
                  <a:lnTo>
                    <a:pt x="140" y="64"/>
                  </a:lnTo>
                  <a:lnTo>
                    <a:pt x="140" y="66"/>
                  </a:lnTo>
                  <a:lnTo>
                    <a:pt x="143" y="70"/>
                  </a:lnTo>
                  <a:lnTo>
                    <a:pt x="143" y="72"/>
                  </a:lnTo>
                  <a:lnTo>
                    <a:pt x="143" y="74"/>
                  </a:lnTo>
                  <a:lnTo>
                    <a:pt x="143" y="77"/>
                  </a:lnTo>
                  <a:lnTo>
                    <a:pt x="143" y="79"/>
                  </a:lnTo>
                  <a:lnTo>
                    <a:pt x="143" y="83"/>
                  </a:lnTo>
                  <a:lnTo>
                    <a:pt x="143" y="85"/>
                  </a:lnTo>
                  <a:lnTo>
                    <a:pt x="140" y="89"/>
                  </a:lnTo>
                  <a:lnTo>
                    <a:pt x="138" y="91"/>
                  </a:lnTo>
                  <a:lnTo>
                    <a:pt x="134" y="91"/>
                  </a:lnTo>
                  <a:lnTo>
                    <a:pt x="134" y="94"/>
                  </a:lnTo>
                  <a:lnTo>
                    <a:pt x="134" y="98"/>
                  </a:lnTo>
                  <a:lnTo>
                    <a:pt x="134" y="98"/>
                  </a:lnTo>
                  <a:lnTo>
                    <a:pt x="134" y="104"/>
                  </a:lnTo>
                  <a:lnTo>
                    <a:pt x="134" y="106"/>
                  </a:lnTo>
                  <a:lnTo>
                    <a:pt x="134" y="113"/>
                  </a:lnTo>
                  <a:lnTo>
                    <a:pt x="113" y="134"/>
                  </a:lnTo>
                  <a:lnTo>
                    <a:pt x="108" y="130"/>
                  </a:lnTo>
                  <a:lnTo>
                    <a:pt x="104" y="128"/>
                  </a:lnTo>
                  <a:lnTo>
                    <a:pt x="98" y="130"/>
                  </a:lnTo>
                  <a:lnTo>
                    <a:pt x="94" y="130"/>
                  </a:lnTo>
                  <a:lnTo>
                    <a:pt x="94" y="130"/>
                  </a:lnTo>
                  <a:lnTo>
                    <a:pt x="91" y="128"/>
                  </a:lnTo>
                  <a:lnTo>
                    <a:pt x="87" y="128"/>
                  </a:lnTo>
                  <a:lnTo>
                    <a:pt x="85" y="125"/>
                  </a:lnTo>
                  <a:lnTo>
                    <a:pt x="81" y="125"/>
                  </a:lnTo>
                  <a:lnTo>
                    <a:pt x="74" y="125"/>
                  </a:lnTo>
                  <a:lnTo>
                    <a:pt x="74" y="125"/>
                  </a:lnTo>
                  <a:lnTo>
                    <a:pt x="74" y="123"/>
                  </a:lnTo>
                  <a:lnTo>
                    <a:pt x="74" y="121"/>
                  </a:lnTo>
                  <a:lnTo>
                    <a:pt x="70" y="119"/>
                  </a:lnTo>
                  <a:lnTo>
                    <a:pt x="68" y="119"/>
                  </a:lnTo>
                  <a:lnTo>
                    <a:pt x="64" y="115"/>
                  </a:lnTo>
                  <a:lnTo>
                    <a:pt x="62" y="115"/>
                  </a:lnTo>
                  <a:lnTo>
                    <a:pt x="57" y="115"/>
                  </a:lnTo>
                  <a:lnTo>
                    <a:pt x="55" y="115"/>
                  </a:lnTo>
                  <a:lnTo>
                    <a:pt x="51" y="115"/>
                  </a:lnTo>
                  <a:lnTo>
                    <a:pt x="49" y="111"/>
                  </a:lnTo>
                  <a:lnTo>
                    <a:pt x="45" y="109"/>
                  </a:lnTo>
                  <a:lnTo>
                    <a:pt x="44" y="106"/>
                  </a:lnTo>
                  <a:lnTo>
                    <a:pt x="44" y="104"/>
                  </a:lnTo>
                  <a:lnTo>
                    <a:pt x="42" y="98"/>
                  </a:lnTo>
                  <a:lnTo>
                    <a:pt x="44" y="98"/>
                  </a:lnTo>
                  <a:lnTo>
                    <a:pt x="40" y="94"/>
                  </a:lnTo>
                  <a:lnTo>
                    <a:pt x="38" y="94"/>
                  </a:lnTo>
                  <a:lnTo>
                    <a:pt x="38" y="91"/>
                  </a:lnTo>
                  <a:lnTo>
                    <a:pt x="38" y="91"/>
                  </a:lnTo>
                  <a:lnTo>
                    <a:pt x="38" y="91"/>
                  </a:lnTo>
                  <a:lnTo>
                    <a:pt x="34" y="89"/>
                  </a:lnTo>
                  <a:lnTo>
                    <a:pt x="34" y="85"/>
                  </a:lnTo>
                  <a:lnTo>
                    <a:pt x="29" y="83"/>
                  </a:lnTo>
                  <a:lnTo>
                    <a:pt x="25" y="81"/>
                  </a:lnTo>
                  <a:lnTo>
                    <a:pt x="21" y="74"/>
                  </a:lnTo>
                  <a:lnTo>
                    <a:pt x="19" y="70"/>
                  </a:lnTo>
                  <a:lnTo>
                    <a:pt x="17" y="70"/>
                  </a:lnTo>
                  <a:lnTo>
                    <a:pt x="15" y="68"/>
                  </a:lnTo>
                  <a:lnTo>
                    <a:pt x="15" y="66"/>
                  </a:lnTo>
                  <a:lnTo>
                    <a:pt x="13" y="64"/>
                  </a:lnTo>
                  <a:lnTo>
                    <a:pt x="12" y="60"/>
                  </a:lnTo>
                  <a:lnTo>
                    <a:pt x="10" y="59"/>
                  </a:lnTo>
                  <a:lnTo>
                    <a:pt x="10" y="59"/>
                  </a:lnTo>
                  <a:lnTo>
                    <a:pt x="10" y="57"/>
                  </a:lnTo>
                  <a:lnTo>
                    <a:pt x="8" y="53"/>
                  </a:lnTo>
                  <a:lnTo>
                    <a:pt x="4" y="53"/>
                  </a:lnTo>
                  <a:lnTo>
                    <a:pt x="4" y="51"/>
                  </a:lnTo>
                  <a:lnTo>
                    <a:pt x="0" y="49"/>
                  </a:lnTo>
                  <a:lnTo>
                    <a:pt x="0" y="47"/>
                  </a:lnTo>
                  <a:lnTo>
                    <a:pt x="0" y="45"/>
                  </a:lnTo>
                  <a:lnTo>
                    <a:pt x="0" y="44"/>
                  </a:lnTo>
                  <a:lnTo>
                    <a:pt x="0" y="42"/>
                  </a:lnTo>
                  <a:lnTo>
                    <a:pt x="0" y="42"/>
                  </a:lnTo>
                  <a:lnTo>
                    <a:pt x="0" y="42"/>
                  </a:lnTo>
                  <a:lnTo>
                    <a:pt x="0" y="42"/>
                  </a:lnTo>
                  <a:lnTo>
                    <a:pt x="0" y="4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4" name="Freeform 147">
              <a:extLst>
                <a:ext uri="{FF2B5EF4-FFF2-40B4-BE49-F238E27FC236}">
                  <a16:creationId xmlns:a16="http://schemas.microsoft.com/office/drawing/2014/main" id="{49AE77D7-079B-48A2-80BB-CDD2ADDEA824}"/>
                </a:ext>
              </a:extLst>
            </p:cNvPr>
            <p:cNvSpPr>
              <a:spLocks/>
            </p:cNvSpPr>
            <p:nvPr/>
          </p:nvSpPr>
          <p:spPr bwMode="auto">
            <a:xfrm>
              <a:off x="3238" y="3393"/>
              <a:ext cx="147" cy="134"/>
            </a:xfrm>
            <a:custGeom>
              <a:avLst/>
              <a:gdLst/>
              <a:ahLst/>
              <a:cxnLst>
                <a:cxn ang="0">
                  <a:pos x="8" y="42"/>
                </a:cxn>
                <a:cxn ang="0">
                  <a:pos x="13" y="45"/>
                </a:cxn>
                <a:cxn ang="0">
                  <a:pos x="23" y="44"/>
                </a:cxn>
                <a:cxn ang="0">
                  <a:pos x="25" y="44"/>
                </a:cxn>
                <a:cxn ang="0">
                  <a:pos x="38" y="45"/>
                </a:cxn>
                <a:cxn ang="0">
                  <a:pos x="62" y="19"/>
                </a:cxn>
                <a:cxn ang="0">
                  <a:pos x="70" y="15"/>
                </a:cxn>
                <a:cxn ang="0">
                  <a:pos x="70" y="10"/>
                </a:cxn>
                <a:cxn ang="0">
                  <a:pos x="79" y="4"/>
                </a:cxn>
                <a:cxn ang="0">
                  <a:pos x="93" y="0"/>
                </a:cxn>
                <a:cxn ang="0">
                  <a:pos x="98" y="0"/>
                </a:cxn>
                <a:cxn ang="0">
                  <a:pos x="102" y="8"/>
                </a:cxn>
                <a:cxn ang="0">
                  <a:pos x="113" y="11"/>
                </a:cxn>
                <a:cxn ang="0">
                  <a:pos x="119" y="10"/>
                </a:cxn>
                <a:cxn ang="0">
                  <a:pos x="132" y="17"/>
                </a:cxn>
                <a:cxn ang="0">
                  <a:pos x="143" y="25"/>
                </a:cxn>
                <a:cxn ang="0">
                  <a:pos x="147" y="30"/>
                </a:cxn>
                <a:cxn ang="0">
                  <a:pos x="147" y="36"/>
                </a:cxn>
                <a:cxn ang="0">
                  <a:pos x="143" y="47"/>
                </a:cxn>
                <a:cxn ang="0">
                  <a:pos x="147" y="53"/>
                </a:cxn>
                <a:cxn ang="0">
                  <a:pos x="143" y="60"/>
                </a:cxn>
                <a:cxn ang="0">
                  <a:pos x="140" y="66"/>
                </a:cxn>
                <a:cxn ang="0">
                  <a:pos x="143" y="74"/>
                </a:cxn>
                <a:cxn ang="0">
                  <a:pos x="143" y="83"/>
                </a:cxn>
                <a:cxn ang="0">
                  <a:pos x="138" y="91"/>
                </a:cxn>
                <a:cxn ang="0">
                  <a:pos x="134" y="98"/>
                </a:cxn>
                <a:cxn ang="0">
                  <a:pos x="134" y="106"/>
                </a:cxn>
                <a:cxn ang="0">
                  <a:pos x="108" y="130"/>
                </a:cxn>
                <a:cxn ang="0">
                  <a:pos x="94" y="130"/>
                </a:cxn>
                <a:cxn ang="0">
                  <a:pos x="87" y="128"/>
                </a:cxn>
                <a:cxn ang="0">
                  <a:pos x="74" y="125"/>
                </a:cxn>
                <a:cxn ang="0">
                  <a:pos x="74" y="121"/>
                </a:cxn>
                <a:cxn ang="0">
                  <a:pos x="64" y="115"/>
                </a:cxn>
                <a:cxn ang="0">
                  <a:pos x="55" y="115"/>
                </a:cxn>
                <a:cxn ang="0">
                  <a:pos x="45" y="109"/>
                </a:cxn>
                <a:cxn ang="0">
                  <a:pos x="42" y="98"/>
                </a:cxn>
                <a:cxn ang="0">
                  <a:pos x="38" y="94"/>
                </a:cxn>
                <a:cxn ang="0">
                  <a:pos x="38" y="91"/>
                </a:cxn>
                <a:cxn ang="0">
                  <a:pos x="29" y="83"/>
                </a:cxn>
                <a:cxn ang="0">
                  <a:pos x="19" y="70"/>
                </a:cxn>
                <a:cxn ang="0">
                  <a:pos x="15" y="66"/>
                </a:cxn>
                <a:cxn ang="0">
                  <a:pos x="10" y="59"/>
                </a:cxn>
                <a:cxn ang="0">
                  <a:pos x="8" y="53"/>
                </a:cxn>
                <a:cxn ang="0">
                  <a:pos x="0" y="49"/>
                </a:cxn>
                <a:cxn ang="0">
                  <a:pos x="0" y="44"/>
                </a:cxn>
                <a:cxn ang="0">
                  <a:pos x="0" y="42"/>
                </a:cxn>
              </a:cxnLst>
              <a:rect l="0" t="0" r="r" b="b"/>
              <a:pathLst>
                <a:path w="147" h="134">
                  <a:moveTo>
                    <a:pt x="0" y="42"/>
                  </a:moveTo>
                  <a:lnTo>
                    <a:pt x="2" y="42"/>
                  </a:lnTo>
                  <a:lnTo>
                    <a:pt x="8" y="42"/>
                  </a:lnTo>
                  <a:lnTo>
                    <a:pt x="10" y="44"/>
                  </a:lnTo>
                  <a:lnTo>
                    <a:pt x="12" y="45"/>
                  </a:lnTo>
                  <a:lnTo>
                    <a:pt x="13" y="45"/>
                  </a:lnTo>
                  <a:lnTo>
                    <a:pt x="17" y="44"/>
                  </a:lnTo>
                  <a:lnTo>
                    <a:pt x="21" y="44"/>
                  </a:lnTo>
                  <a:lnTo>
                    <a:pt x="23" y="44"/>
                  </a:lnTo>
                  <a:lnTo>
                    <a:pt x="25" y="44"/>
                  </a:lnTo>
                  <a:lnTo>
                    <a:pt x="25" y="44"/>
                  </a:lnTo>
                  <a:lnTo>
                    <a:pt x="25" y="44"/>
                  </a:lnTo>
                  <a:lnTo>
                    <a:pt x="29" y="47"/>
                  </a:lnTo>
                  <a:lnTo>
                    <a:pt x="32" y="47"/>
                  </a:lnTo>
                  <a:lnTo>
                    <a:pt x="38" y="45"/>
                  </a:lnTo>
                  <a:lnTo>
                    <a:pt x="42" y="38"/>
                  </a:lnTo>
                  <a:lnTo>
                    <a:pt x="51" y="28"/>
                  </a:lnTo>
                  <a:lnTo>
                    <a:pt x="62" y="19"/>
                  </a:lnTo>
                  <a:lnTo>
                    <a:pt x="68" y="17"/>
                  </a:lnTo>
                  <a:lnTo>
                    <a:pt x="70" y="15"/>
                  </a:lnTo>
                  <a:lnTo>
                    <a:pt x="70" y="15"/>
                  </a:lnTo>
                  <a:lnTo>
                    <a:pt x="70" y="13"/>
                  </a:lnTo>
                  <a:lnTo>
                    <a:pt x="70" y="11"/>
                  </a:lnTo>
                  <a:lnTo>
                    <a:pt x="70" y="10"/>
                  </a:lnTo>
                  <a:lnTo>
                    <a:pt x="74" y="6"/>
                  </a:lnTo>
                  <a:lnTo>
                    <a:pt x="77" y="4"/>
                  </a:lnTo>
                  <a:lnTo>
                    <a:pt x="79" y="4"/>
                  </a:lnTo>
                  <a:lnTo>
                    <a:pt x="83" y="0"/>
                  </a:lnTo>
                  <a:lnTo>
                    <a:pt x="87" y="0"/>
                  </a:lnTo>
                  <a:lnTo>
                    <a:pt x="93" y="0"/>
                  </a:lnTo>
                  <a:lnTo>
                    <a:pt x="93" y="0"/>
                  </a:lnTo>
                  <a:lnTo>
                    <a:pt x="94" y="0"/>
                  </a:lnTo>
                  <a:lnTo>
                    <a:pt x="98" y="0"/>
                  </a:lnTo>
                  <a:lnTo>
                    <a:pt x="100" y="0"/>
                  </a:lnTo>
                  <a:lnTo>
                    <a:pt x="102" y="0"/>
                  </a:lnTo>
                  <a:lnTo>
                    <a:pt x="102" y="8"/>
                  </a:lnTo>
                  <a:lnTo>
                    <a:pt x="108" y="8"/>
                  </a:lnTo>
                  <a:lnTo>
                    <a:pt x="109" y="8"/>
                  </a:lnTo>
                  <a:lnTo>
                    <a:pt x="113" y="11"/>
                  </a:lnTo>
                  <a:lnTo>
                    <a:pt x="113" y="10"/>
                  </a:lnTo>
                  <a:lnTo>
                    <a:pt x="115" y="8"/>
                  </a:lnTo>
                  <a:lnTo>
                    <a:pt x="119" y="10"/>
                  </a:lnTo>
                  <a:lnTo>
                    <a:pt x="125" y="13"/>
                  </a:lnTo>
                  <a:lnTo>
                    <a:pt x="128" y="17"/>
                  </a:lnTo>
                  <a:lnTo>
                    <a:pt x="132" y="17"/>
                  </a:lnTo>
                  <a:lnTo>
                    <a:pt x="138" y="19"/>
                  </a:lnTo>
                  <a:lnTo>
                    <a:pt x="140" y="21"/>
                  </a:lnTo>
                  <a:lnTo>
                    <a:pt x="143" y="25"/>
                  </a:lnTo>
                  <a:lnTo>
                    <a:pt x="147" y="25"/>
                  </a:lnTo>
                  <a:lnTo>
                    <a:pt x="147" y="28"/>
                  </a:lnTo>
                  <a:lnTo>
                    <a:pt x="147" y="30"/>
                  </a:lnTo>
                  <a:lnTo>
                    <a:pt x="147" y="34"/>
                  </a:lnTo>
                  <a:lnTo>
                    <a:pt x="147" y="34"/>
                  </a:lnTo>
                  <a:lnTo>
                    <a:pt x="147" y="36"/>
                  </a:lnTo>
                  <a:lnTo>
                    <a:pt x="147" y="40"/>
                  </a:lnTo>
                  <a:lnTo>
                    <a:pt x="143" y="42"/>
                  </a:lnTo>
                  <a:lnTo>
                    <a:pt x="143" y="47"/>
                  </a:lnTo>
                  <a:lnTo>
                    <a:pt x="143" y="51"/>
                  </a:lnTo>
                  <a:lnTo>
                    <a:pt x="143" y="53"/>
                  </a:lnTo>
                  <a:lnTo>
                    <a:pt x="147" y="53"/>
                  </a:lnTo>
                  <a:lnTo>
                    <a:pt x="147" y="55"/>
                  </a:lnTo>
                  <a:lnTo>
                    <a:pt x="143" y="59"/>
                  </a:lnTo>
                  <a:lnTo>
                    <a:pt x="143" y="60"/>
                  </a:lnTo>
                  <a:lnTo>
                    <a:pt x="143" y="64"/>
                  </a:lnTo>
                  <a:lnTo>
                    <a:pt x="140" y="64"/>
                  </a:lnTo>
                  <a:lnTo>
                    <a:pt x="140" y="66"/>
                  </a:lnTo>
                  <a:lnTo>
                    <a:pt x="143" y="70"/>
                  </a:lnTo>
                  <a:lnTo>
                    <a:pt x="143" y="72"/>
                  </a:lnTo>
                  <a:lnTo>
                    <a:pt x="143" y="74"/>
                  </a:lnTo>
                  <a:lnTo>
                    <a:pt x="143" y="77"/>
                  </a:lnTo>
                  <a:lnTo>
                    <a:pt x="143" y="79"/>
                  </a:lnTo>
                  <a:lnTo>
                    <a:pt x="143" y="83"/>
                  </a:lnTo>
                  <a:lnTo>
                    <a:pt x="143" y="85"/>
                  </a:lnTo>
                  <a:lnTo>
                    <a:pt x="140" y="89"/>
                  </a:lnTo>
                  <a:lnTo>
                    <a:pt x="138" y="91"/>
                  </a:lnTo>
                  <a:lnTo>
                    <a:pt x="134" y="91"/>
                  </a:lnTo>
                  <a:lnTo>
                    <a:pt x="134" y="94"/>
                  </a:lnTo>
                  <a:lnTo>
                    <a:pt x="134" y="98"/>
                  </a:lnTo>
                  <a:lnTo>
                    <a:pt x="134" y="98"/>
                  </a:lnTo>
                  <a:lnTo>
                    <a:pt x="134" y="104"/>
                  </a:lnTo>
                  <a:lnTo>
                    <a:pt x="134" y="106"/>
                  </a:lnTo>
                  <a:lnTo>
                    <a:pt x="134" y="113"/>
                  </a:lnTo>
                  <a:lnTo>
                    <a:pt x="113" y="134"/>
                  </a:lnTo>
                  <a:lnTo>
                    <a:pt x="108" y="130"/>
                  </a:lnTo>
                  <a:lnTo>
                    <a:pt x="104" y="128"/>
                  </a:lnTo>
                  <a:lnTo>
                    <a:pt x="98" y="130"/>
                  </a:lnTo>
                  <a:lnTo>
                    <a:pt x="94" y="130"/>
                  </a:lnTo>
                  <a:lnTo>
                    <a:pt x="94" y="130"/>
                  </a:lnTo>
                  <a:lnTo>
                    <a:pt x="91" y="128"/>
                  </a:lnTo>
                  <a:lnTo>
                    <a:pt x="87" y="128"/>
                  </a:lnTo>
                  <a:lnTo>
                    <a:pt x="85" y="125"/>
                  </a:lnTo>
                  <a:lnTo>
                    <a:pt x="81" y="125"/>
                  </a:lnTo>
                  <a:lnTo>
                    <a:pt x="74" y="125"/>
                  </a:lnTo>
                  <a:lnTo>
                    <a:pt x="74" y="125"/>
                  </a:lnTo>
                  <a:lnTo>
                    <a:pt x="74" y="123"/>
                  </a:lnTo>
                  <a:lnTo>
                    <a:pt x="74" y="121"/>
                  </a:lnTo>
                  <a:lnTo>
                    <a:pt x="70" y="119"/>
                  </a:lnTo>
                  <a:lnTo>
                    <a:pt x="68" y="119"/>
                  </a:lnTo>
                  <a:lnTo>
                    <a:pt x="64" y="115"/>
                  </a:lnTo>
                  <a:lnTo>
                    <a:pt x="62" y="115"/>
                  </a:lnTo>
                  <a:lnTo>
                    <a:pt x="57" y="115"/>
                  </a:lnTo>
                  <a:lnTo>
                    <a:pt x="55" y="115"/>
                  </a:lnTo>
                  <a:lnTo>
                    <a:pt x="51" y="115"/>
                  </a:lnTo>
                  <a:lnTo>
                    <a:pt x="49" y="111"/>
                  </a:lnTo>
                  <a:lnTo>
                    <a:pt x="45" y="109"/>
                  </a:lnTo>
                  <a:lnTo>
                    <a:pt x="44" y="106"/>
                  </a:lnTo>
                  <a:lnTo>
                    <a:pt x="44" y="104"/>
                  </a:lnTo>
                  <a:lnTo>
                    <a:pt x="42" y="98"/>
                  </a:lnTo>
                  <a:lnTo>
                    <a:pt x="44" y="98"/>
                  </a:lnTo>
                  <a:lnTo>
                    <a:pt x="40" y="94"/>
                  </a:lnTo>
                  <a:lnTo>
                    <a:pt x="38" y="94"/>
                  </a:lnTo>
                  <a:lnTo>
                    <a:pt x="38" y="91"/>
                  </a:lnTo>
                  <a:lnTo>
                    <a:pt x="38" y="91"/>
                  </a:lnTo>
                  <a:lnTo>
                    <a:pt x="38" y="91"/>
                  </a:lnTo>
                  <a:lnTo>
                    <a:pt x="34" y="89"/>
                  </a:lnTo>
                  <a:lnTo>
                    <a:pt x="34" y="85"/>
                  </a:lnTo>
                  <a:lnTo>
                    <a:pt x="29" y="83"/>
                  </a:lnTo>
                  <a:lnTo>
                    <a:pt x="25" y="81"/>
                  </a:lnTo>
                  <a:lnTo>
                    <a:pt x="21" y="74"/>
                  </a:lnTo>
                  <a:lnTo>
                    <a:pt x="19" y="70"/>
                  </a:lnTo>
                  <a:lnTo>
                    <a:pt x="17" y="70"/>
                  </a:lnTo>
                  <a:lnTo>
                    <a:pt x="15" y="68"/>
                  </a:lnTo>
                  <a:lnTo>
                    <a:pt x="15" y="66"/>
                  </a:lnTo>
                  <a:lnTo>
                    <a:pt x="13" y="64"/>
                  </a:lnTo>
                  <a:lnTo>
                    <a:pt x="12" y="60"/>
                  </a:lnTo>
                  <a:lnTo>
                    <a:pt x="10" y="59"/>
                  </a:lnTo>
                  <a:lnTo>
                    <a:pt x="10" y="59"/>
                  </a:lnTo>
                  <a:lnTo>
                    <a:pt x="10" y="57"/>
                  </a:lnTo>
                  <a:lnTo>
                    <a:pt x="8" y="53"/>
                  </a:lnTo>
                  <a:lnTo>
                    <a:pt x="4" y="53"/>
                  </a:lnTo>
                  <a:lnTo>
                    <a:pt x="4" y="51"/>
                  </a:lnTo>
                  <a:lnTo>
                    <a:pt x="0" y="49"/>
                  </a:lnTo>
                  <a:lnTo>
                    <a:pt x="0" y="47"/>
                  </a:lnTo>
                  <a:lnTo>
                    <a:pt x="0" y="45"/>
                  </a:lnTo>
                  <a:lnTo>
                    <a:pt x="0" y="44"/>
                  </a:lnTo>
                  <a:lnTo>
                    <a:pt x="0" y="42"/>
                  </a:lnTo>
                  <a:lnTo>
                    <a:pt x="0" y="42"/>
                  </a:lnTo>
                  <a:lnTo>
                    <a:pt x="0" y="42"/>
                  </a:lnTo>
                  <a:lnTo>
                    <a:pt x="0" y="42"/>
                  </a:lnTo>
                  <a:lnTo>
                    <a:pt x="0" y="4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5" name="Freeform 148">
              <a:extLst>
                <a:ext uri="{FF2B5EF4-FFF2-40B4-BE49-F238E27FC236}">
                  <a16:creationId xmlns:a16="http://schemas.microsoft.com/office/drawing/2014/main" id="{9312FC07-B808-441C-8A84-9C21A3C8EDE4}"/>
                </a:ext>
              </a:extLst>
            </p:cNvPr>
            <p:cNvSpPr>
              <a:spLocks/>
            </p:cNvSpPr>
            <p:nvPr/>
          </p:nvSpPr>
          <p:spPr bwMode="auto">
            <a:xfrm>
              <a:off x="3139" y="3437"/>
              <a:ext cx="173" cy="173"/>
            </a:xfrm>
            <a:custGeom>
              <a:avLst/>
              <a:gdLst/>
              <a:ahLst/>
              <a:cxnLst>
                <a:cxn ang="0">
                  <a:pos x="99" y="3"/>
                </a:cxn>
                <a:cxn ang="0">
                  <a:pos x="103" y="9"/>
                </a:cxn>
                <a:cxn ang="0">
                  <a:pos x="109" y="13"/>
                </a:cxn>
                <a:cxn ang="0">
                  <a:pos x="112" y="18"/>
                </a:cxn>
                <a:cxn ang="0">
                  <a:pos x="114" y="26"/>
                </a:cxn>
                <a:cxn ang="0">
                  <a:pos x="120" y="32"/>
                </a:cxn>
                <a:cxn ang="0">
                  <a:pos x="133" y="43"/>
                </a:cxn>
                <a:cxn ang="0">
                  <a:pos x="137" y="47"/>
                </a:cxn>
                <a:cxn ang="0">
                  <a:pos x="139" y="52"/>
                </a:cxn>
                <a:cxn ang="0">
                  <a:pos x="143" y="60"/>
                </a:cxn>
                <a:cxn ang="0">
                  <a:pos x="148" y="67"/>
                </a:cxn>
                <a:cxn ang="0">
                  <a:pos x="156" y="73"/>
                </a:cxn>
                <a:cxn ang="0">
                  <a:pos x="167" y="77"/>
                </a:cxn>
                <a:cxn ang="0">
                  <a:pos x="173" y="81"/>
                </a:cxn>
                <a:cxn ang="0">
                  <a:pos x="173" y="84"/>
                </a:cxn>
                <a:cxn ang="0">
                  <a:pos x="163" y="86"/>
                </a:cxn>
                <a:cxn ang="0">
                  <a:pos x="161" y="92"/>
                </a:cxn>
                <a:cxn ang="0">
                  <a:pos x="154" y="96"/>
                </a:cxn>
                <a:cxn ang="0">
                  <a:pos x="144" y="97"/>
                </a:cxn>
                <a:cxn ang="0">
                  <a:pos x="139" y="105"/>
                </a:cxn>
                <a:cxn ang="0">
                  <a:pos x="133" y="105"/>
                </a:cxn>
                <a:cxn ang="0">
                  <a:pos x="126" y="118"/>
                </a:cxn>
                <a:cxn ang="0">
                  <a:pos x="124" y="124"/>
                </a:cxn>
                <a:cxn ang="0">
                  <a:pos x="118" y="129"/>
                </a:cxn>
                <a:cxn ang="0">
                  <a:pos x="114" y="131"/>
                </a:cxn>
                <a:cxn ang="0">
                  <a:pos x="107" y="135"/>
                </a:cxn>
                <a:cxn ang="0">
                  <a:pos x="103" y="145"/>
                </a:cxn>
                <a:cxn ang="0">
                  <a:pos x="103" y="152"/>
                </a:cxn>
                <a:cxn ang="0">
                  <a:pos x="96" y="152"/>
                </a:cxn>
                <a:cxn ang="0">
                  <a:pos x="84" y="154"/>
                </a:cxn>
                <a:cxn ang="0">
                  <a:pos x="69" y="150"/>
                </a:cxn>
                <a:cxn ang="0">
                  <a:pos x="60" y="146"/>
                </a:cxn>
                <a:cxn ang="0">
                  <a:pos x="48" y="160"/>
                </a:cxn>
                <a:cxn ang="0">
                  <a:pos x="37" y="165"/>
                </a:cxn>
                <a:cxn ang="0">
                  <a:pos x="26" y="173"/>
                </a:cxn>
                <a:cxn ang="0">
                  <a:pos x="15" y="171"/>
                </a:cxn>
                <a:cxn ang="0">
                  <a:pos x="13" y="162"/>
                </a:cxn>
                <a:cxn ang="0">
                  <a:pos x="5" y="143"/>
                </a:cxn>
                <a:cxn ang="0">
                  <a:pos x="0" y="137"/>
                </a:cxn>
                <a:cxn ang="0">
                  <a:pos x="18" y="81"/>
                </a:cxn>
                <a:cxn ang="0">
                  <a:pos x="54" y="9"/>
                </a:cxn>
                <a:cxn ang="0">
                  <a:pos x="64" y="7"/>
                </a:cxn>
                <a:cxn ang="0">
                  <a:pos x="67" y="13"/>
                </a:cxn>
                <a:cxn ang="0">
                  <a:pos x="67" y="16"/>
                </a:cxn>
                <a:cxn ang="0">
                  <a:pos x="82" y="3"/>
                </a:cxn>
                <a:cxn ang="0">
                  <a:pos x="88" y="5"/>
                </a:cxn>
                <a:cxn ang="0">
                  <a:pos x="99" y="0"/>
                </a:cxn>
                <a:cxn ang="0">
                  <a:pos x="99" y="0"/>
                </a:cxn>
              </a:cxnLst>
              <a:rect l="0" t="0" r="r" b="b"/>
              <a:pathLst>
                <a:path w="173" h="173">
                  <a:moveTo>
                    <a:pt x="99" y="0"/>
                  </a:moveTo>
                  <a:lnTo>
                    <a:pt x="99" y="1"/>
                  </a:lnTo>
                  <a:lnTo>
                    <a:pt x="99" y="3"/>
                  </a:lnTo>
                  <a:lnTo>
                    <a:pt x="99" y="5"/>
                  </a:lnTo>
                  <a:lnTo>
                    <a:pt x="99" y="7"/>
                  </a:lnTo>
                  <a:lnTo>
                    <a:pt x="103" y="9"/>
                  </a:lnTo>
                  <a:lnTo>
                    <a:pt x="103" y="11"/>
                  </a:lnTo>
                  <a:lnTo>
                    <a:pt x="109" y="11"/>
                  </a:lnTo>
                  <a:lnTo>
                    <a:pt x="109" y="13"/>
                  </a:lnTo>
                  <a:lnTo>
                    <a:pt x="109" y="16"/>
                  </a:lnTo>
                  <a:lnTo>
                    <a:pt x="109" y="16"/>
                  </a:lnTo>
                  <a:lnTo>
                    <a:pt x="112" y="18"/>
                  </a:lnTo>
                  <a:lnTo>
                    <a:pt x="112" y="22"/>
                  </a:lnTo>
                  <a:lnTo>
                    <a:pt x="114" y="24"/>
                  </a:lnTo>
                  <a:lnTo>
                    <a:pt x="114" y="26"/>
                  </a:lnTo>
                  <a:lnTo>
                    <a:pt x="116" y="28"/>
                  </a:lnTo>
                  <a:lnTo>
                    <a:pt x="118" y="28"/>
                  </a:lnTo>
                  <a:lnTo>
                    <a:pt x="120" y="32"/>
                  </a:lnTo>
                  <a:lnTo>
                    <a:pt x="126" y="39"/>
                  </a:lnTo>
                  <a:lnTo>
                    <a:pt x="129" y="41"/>
                  </a:lnTo>
                  <a:lnTo>
                    <a:pt x="133" y="43"/>
                  </a:lnTo>
                  <a:lnTo>
                    <a:pt x="133" y="47"/>
                  </a:lnTo>
                  <a:lnTo>
                    <a:pt x="137" y="47"/>
                  </a:lnTo>
                  <a:lnTo>
                    <a:pt x="137" y="47"/>
                  </a:lnTo>
                  <a:lnTo>
                    <a:pt x="137" y="48"/>
                  </a:lnTo>
                  <a:lnTo>
                    <a:pt x="137" y="50"/>
                  </a:lnTo>
                  <a:lnTo>
                    <a:pt x="139" y="52"/>
                  </a:lnTo>
                  <a:lnTo>
                    <a:pt x="143" y="56"/>
                  </a:lnTo>
                  <a:lnTo>
                    <a:pt x="143" y="56"/>
                  </a:lnTo>
                  <a:lnTo>
                    <a:pt x="143" y="60"/>
                  </a:lnTo>
                  <a:lnTo>
                    <a:pt x="143" y="64"/>
                  </a:lnTo>
                  <a:lnTo>
                    <a:pt x="144" y="67"/>
                  </a:lnTo>
                  <a:lnTo>
                    <a:pt x="148" y="67"/>
                  </a:lnTo>
                  <a:lnTo>
                    <a:pt x="150" y="73"/>
                  </a:lnTo>
                  <a:lnTo>
                    <a:pt x="154" y="73"/>
                  </a:lnTo>
                  <a:lnTo>
                    <a:pt x="156" y="73"/>
                  </a:lnTo>
                  <a:lnTo>
                    <a:pt x="161" y="73"/>
                  </a:lnTo>
                  <a:lnTo>
                    <a:pt x="163" y="73"/>
                  </a:lnTo>
                  <a:lnTo>
                    <a:pt x="167" y="77"/>
                  </a:lnTo>
                  <a:lnTo>
                    <a:pt x="169" y="77"/>
                  </a:lnTo>
                  <a:lnTo>
                    <a:pt x="173" y="77"/>
                  </a:lnTo>
                  <a:lnTo>
                    <a:pt x="173" y="81"/>
                  </a:lnTo>
                  <a:lnTo>
                    <a:pt x="173" y="81"/>
                  </a:lnTo>
                  <a:lnTo>
                    <a:pt x="173" y="82"/>
                  </a:lnTo>
                  <a:lnTo>
                    <a:pt x="173" y="84"/>
                  </a:lnTo>
                  <a:lnTo>
                    <a:pt x="169" y="84"/>
                  </a:lnTo>
                  <a:lnTo>
                    <a:pt x="167" y="84"/>
                  </a:lnTo>
                  <a:lnTo>
                    <a:pt x="163" y="86"/>
                  </a:lnTo>
                  <a:lnTo>
                    <a:pt x="163" y="88"/>
                  </a:lnTo>
                  <a:lnTo>
                    <a:pt x="163" y="92"/>
                  </a:lnTo>
                  <a:lnTo>
                    <a:pt x="161" y="92"/>
                  </a:lnTo>
                  <a:lnTo>
                    <a:pt x="160" y="96"/>
                  </a:lnTo>
                  <a:lnTo>
                    <a:pt x="156" y="96"/>
                  </a:lnTo>
                  <a:lnTo>
                    <a:pt x="154" y="96"/>
                  </a:lnTo>
                  <a:lnTo>
                    <a:pt x="152" y="96"/>
                  </a:lnTo>
                  <a:lnTo>
                    <a:pt x="148" y="96"/>
                  </a:lnTo>
                  <a:lnTo>
                    <a:pt x="144" y="97"/>
                  </a:lnTo>
                  <a:lnTo>
                    <a:pt x="143" y="101"/>
                  </a:lnTo>
                  <a:lnTo>
                    <a:pt x="143" y="101"/>
                  </a:lnTo>
                  <a:lnTo>
                    <a:pt x="139" y="105"/>
                  </a:lnTo>
                  <a:lnTo>
                    <a:pt x="139" y="105"/>
                  </a:lnTo>
                  <a:lnTo>
                    <a:pt x="137" y="105"/>
                  </a:lnTo>
                  <a:lnTo>
                    <a:pt x="133" y="105"/>
                  </a:lnTo>
                  <a:lnTo>
                    <a:pt x="131" y="107"/>
                  </a:lnTo>
                  <a:lnTo>
                    <a:pt x="128" y="114"/>
                  </a:lnTo>
                  <a:lnTo>
                    <a:pt x="126" y="118"/>
                  </a:lnTo>
                  <a:lnTo>
                    <a:pt x="128" y="120"/>
                  </a:lnTo>
                  <a:lnTo>
                    <a:pt x="128" y="124"/>
                  </a:lnTo>
                  <a:lnTo>
                    <a:pt x="124" y="124"/>
                  </a:lnTo>
                  <a:lnTo>
                    <a:pt x="124" y="126"/>
                  </a:lnTo>
                  <a:lnTo>
                    <a:pt x="120" y="126"/>
                  </a:lnTo>
                  <a:lnTo>
                    <a:pt x="118" y="129"/>
                  </a:lnTo>
                  <a:lnTo>
                    <a:pt x="116" y="131"/>
                  </a:lnTo>
                  <a:lnTo>
                    <a:pt x="116" y="131"/>
                  </a:lnTo>
                  <a:lnTo>
                    <a:pt x="114" y="131"/>
                  </a:lnTo>
                  <a:lnTo>
                    <a:pt x="112" y="135"/>
                  </a:lnTo>
                  <a:lnTo>
                    <a:pt x="109" y="135"/>
                  </a:lnTo>
                  <a:lnTo>
                    <a:pt x="107" y="135"/>
                  </a:lnTo>
                  <a:lnTo>
                    <a:pt x="103" y="139"/>
                  </a:lnTo>
                  <a:lnTo>
                    <a:pt x="103" y="143"/>
                  </a:lnTo>
                  <a:lnTo>
                    <a:pt x="103" y="145"/>
                  </a:lnTo>
                  <a:lnTo>
                    <a:pt x="103" y="148"/>
                  </a:lnTo>
                  <a:lnTo>
                    <a:pt x="103" y="152"/>
                  </a:lnTo>
                  <a:lnTo>
                    <a:pt x="103" y="152"/>
                  </a:lnTo>
                  <a:lnTo>
                    <a:pt x="99" y="156"/>
                  </a:lnTo>
                  <a:lnTo>
                    <a:pt x="97" y="154"/>
                  </a:lnTo>
                  <a:lnTo>
                    <a:pt x="96" y="152"/>
                  </a:lnTo>
                  <a:lnTo>
                    <a:pt x="92" y="154"/>
                  </a:lnTo>
                  <a:lnTo>
                    <a:pt x="88" y="154"/>
                  </a:lnTo>
                  <a:lnTo>
                    <a:pt x="84" y="154"/>
                  </a:lnTo>
                  <a:lnTo>
                    <a:pt x="82" y="154"/>
                  </a:lnTo>
                  <a:lnTo>
                    <a:pt x="79" y="154"/>
                  </a:lnTo>
                  <a:lnTo>
                    <a:pt x="69" y="150"/>
                  </a:lnTo>
                  <a:lnTo>
                    <a:pt x="69" y="150"/>
                  </a:lnTo>
                  <a:lnTo>
                    <a:pt x="67" y="146"/>
                  </a:lnTo>
                  <a:lnTo>
                    <a:pt x="60" y="146"/>
                  </a:lnTo>
                  <a:lnTo>
                    <a:pt x="56" y="146"/>
                  </a:lnTo>
                  <a:lnTo>
                    <a:pt x="50" y="150"/>
                  </a:lnTo>
                  <a:lnTo>
                    <a:pt x="48" y="160"/>
                  </a:lnTo>
                  <a:lnTo>
                    <a:pt x="45" y="162"/>
                  </a:lnTo>
                  <a:lnTo>
                    <a:pt x="39" y="165"/>
                  </a:lnTo>
                  <a:lnTo>
                    <a:pt x="37" y="165"/>
                  </a:lnTo>
                  <a:lnTo>
                    <a:pt x="33" y="169"/>
                  </a:lnTo>
                  <a:lnTo>
                    <a:pt x="30" y="169"/>
                  </a:lnTo>
                  <a:lnTo>
                    <a:pt x="26" y="173"/>
                  </a:lnTo>
                  <a:lnTo>
                    <a:pt x="22" y="171"/>
                  </a:lnTo>
                  <a:lnTo>
                    <a:pt x="18" y="173"/>
                  </a:lnTo>
                  <a:lnTo>
                    <a:pt x="15" y="171"/>
                  </a:lnTo>
                  <a:lnTo>
                    <a:pt x="9" y="173"/>
                  </a:lnTo>
                  <a:lnTo>
                    <a:pt x="9" y="169"/>
                  </a:lnTo>
                  <a:lnTo>
                    <a:pt x="13" y="162"/>
                  </a:lnTo>
                  <a:lnTo>
                    <a:pt x="13" y="160"/>
                  </a:lnTo>
                  <a:lnTo>
                    <a:pt x="9" y="148"/>
                  </a:lnTo>
                  <a:lnTo>
                    <a:pt x="5" y="143"/>
                  </a:lnTo>
                  <a:lnTo>
                    <a:pt x="0" y="137"/>
                  </a:lnTo>
                  <a:lnTo>
                    <a:pt x="0" y="137"/>
                  </a:lnTo>
                  <a:lnTo>
                    <a:pt x="0" y="137"/>
                  </a:lnTo>
                  <a:lnTo>
                    <a:pt x="0" y="137"/>
                  </a:lnTo>
                  <a:lnTo>
                    <a:pt x="3" y="81"/>
                  </a:lnTo>
                  <a:lnTo>
                    <a:pt x="18" y="81"/>
                  </a:lnTo>
                  <a:lnTo>
                    <a:pt x="22" y="13"/>
                  </a:lnTo>
                  <a:lnTo>
                    <a:pt x="37" y="13"/>
                  </a:lnTo>
                  <a:lnTo>
                    <a:pt x="54" y="9"/>
                  </a:lnTo>
                  <a:lnTo>
                    <a:pt x="60" y="7"/>
                  </a:lnTo>
                  <a:lnTo>
                    <a:pt x="64" y="7"/>
                  </a:lnTo>
                  <a:lnTo>
                    <a:pt x="64" y="7"/>
                  </a:lnTo>
                  <a:lnTo>
                    <a:pt x="65" y="7"/>
                  </a:lnTo>
                  <a:lnTo>
                    <a:pt x="65" y="11"/>
                  </a:lnTo>
                  <a:lnTo>
                    <a:pt x="67" y="13"/>
                  </a:lnTo>
                  <a:lnTo>
                    <a:pt x="65" y="13"/>
                  </a:lnTo>
                  <a:lnTo>
                    <a:pt x="65" y="16"/>
                  </a:lnTo>
                  <a:lnTo>
                    <a:pt x="67" y="16"/>
                  </a:lnTo>
                  <a:lnTo>
                    <a:pt x="73" y="13"/>
                  </a:lnTo>
                  <a:lnTo>
                    <a:pt x="79" y="7"/>
                  </a:lnTo>
                  <a:lnTo>
                    <a:pt x="82" y="3"/>
                  </a:lnTo>
                  <a:lnTo>
                    <a:pt x="84" y="3"/>
                  </a:lnTo>
                  <a:lnTo>
                    <a:pt x="84" y="3"/>
                  </a:lnTo>
                  <a:lnTo>
                    <a:pt x="88" y="5"/>
                  </a:lnTo>
                  <a:lnTo>
                    <a:pt x="90" y="3"/>
                  </a:lnTo>
                  <a:lnTo>
                    <a:pt x="96" y="0"/>
                  </a:lnTo>
                  <a:lnTo>
                    <a:pt x="99" y="0"/>
                  </a:lnTo>
                  <a:lnTo>
                    <a:pt x="99" y="0"/>
                  </a:lnTo>
                  <a:lnTo>
                    <a:pt x="99" y="0"/>
                  </a:lnTo>
                  <a:lnTo>
                    <a:pt x="99" y="0"/>
                  </a:lnTo>
                  <a:lnTo>
                    <a:pt x="99" y="0"/>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6" name="Freeform 149">
              <a:extLst>
                <a:ext uri="{FF2B5EF4-FFF2-40B4-BE49-F238E27FC236}">
                  <a16:creationId xmlns:a16="http://schemas.microsoft.com/office/drawing/2014/main" id="{CA4828DE-F9C7-48BC-A979-41ADFB69B662}"/>
                </a:ext>
              </a:extLst>
            </p:cNvPr>
            <p:cNvSpPr>
              <a:spLocks/>
            </p:cNvSpPr>
            <p:nvPr/>
          </p:nvSpPr>
          <p:spPr bwMode="auto">
            <a:xfrm>
              <a:off x="2990" y="3420"/>
              <a:ext cx="248" cy="233"/>
            </a:xfrm>
            <a:custGeom>
              <a:avLst/>
              <a:gdLst/>
              <a:ahLst/>
              <a:cxnLst>
                <a:cxn ang="0">
                  <a:pos x="152" y="96"/>
                </a:cxn>
                <a:cxn ang="0">
                  <a:pos x="186" y="30"/>
                </a:cxn>
                <a:cxn ang="0">
                  <a:pos x="213" y="24"/>
                </a:cxn>
                <a:cxn ang="0">
                  <a:pos x="213" y="28"/>
                </a:cxn>
                <a:cxn ang="0">
                  <a:pos x="213" y="33"/>
                </a:cxn>
                <a:cxn ang="0">
                  <a:pos x="226" y="24"/>
                </a:cxn>
                <a:cxn ang="0">
                  <a:pos x="233" y="20"/>
                </a:cxn>
                <a:cxn ang="0">
                  <a:pos x="243" y="17"/>
                </a:cxn>
                <a:cxn ang="0">
                  <a:pos x="246" y="13"/>
                </a:cxn>
                <a:cxn ang="0">
                  <a:pos x="241" y="11"/>
                </a:cxn>
                <a:cxn ang="0">
                  <a:pos x="235" y="11"/>
                </a:cxn>
                <a:cxn ang="0">
                  <a:pos x="186" y="20"/>
                </a:cxn>
                <a:cxn ang="0">
                  <a:pos x="181" y="20"/>
                </a:cxn>
                <a:cxn ang="0">
                  <a:pos x="177" y="20"/>
                </a:cxn>
                <a:cxn ang="0">
                  <a:pos x="171" y="20"/>
                </a:cxn>
                <a:cxn ang="0">
                  <a:pos x="167" y="20"/>
                </a:cxn>
                <a:cxn ang="0">
                  <a:pos x="158" y="17"/>
                </a:cxn>
                <a:cxn ang="0">
                  <a:pos x="152" y="18"/>
                </a:cxn>
                <a:cxn ang="0">
                  <a:pos x="143" y="20"/>
                </a:cxn>
                <a:cxn ang="0">
                  <a:pos x="137" y="17"/>
                </a:cxn>
                <a:cxn ang="0">
                  <a:pos x="128" y="15"/>
                </a:cxn>
                <a:cxn ang="0">
                  <a:pos x="122" y="9"/>
                </a:cxn>
                <a:cxn ang="0">
                  <a:pos x="51" y="7"/>
                </a:cxn>
                <a:cxn ang="0">
                  <a:pos x="45" y="11"/>
                </a:cxn>
                <a:cxn ang="0">
                  <a:pos x="36" y="5"/>
                </a:cxn>
                <a:cxn ang="0">
                  <a:pos x="32" y="3"/>
                </a:cxn>
                <a:cxn ang="0">
                  <a:pos x="30" y="3"/>
                </a:cxn>
                <a:cxn ang="0">
                  <a:pos x="21" y="0"/>
                </a:cxn>
                <a:cxn ang="0">
                  <a:pos x="15" y="7"/>
                </a:cxn>
                <a:cxn ang="0">
                  <a:pos x="5" y="5"/>
                </a:cxn>
                <a:cxn ang="0">
                  <a:pos x="2" y="9"/>
                </a:cxn>
                <a:cxn ang="0">
                  <a:pos x="0" y="24"/>
                </a:cxn>
                <a:cxn ang="0">
                  <a:pos x="26" y="65"/>
                </a:cxn>
                <a:cxn ang="0">
                  <a:pos x="37" y="92"/>
                </a:cxn>
                <a:cxn ang="0">
                  <a:pos x="45" y="114"/>
                </a:cxn>
                <a:cxn ang="0">
                  <a:pos x="54" y="152"/>
                </a:cxn>
                <a:cxn ang="0">
                  <a:pos x="51" y="167"/>
                </a:cxn>
                <a:cxn ang="0">
                  <a:pos x="58" y="180"/>
                </a:cxn>
                <a:cxn ang="0">
                  <a:pos x="58" y="190"/>
                </a:cxn>
                <a:cxn ang="0">
                  <a:pos x="64" y="205"/>
                </a:cxn>
                <a:cxn ang="0">
                  <a:pos x="75" y="220"/>
                </a:cxn>
                <a:cxn ang="0">
                  <a:pos x="86" y="222"/>
                </a:cxn>
                <a:cxn ang="0">
                  <a:pos x="88" y="214"/>
                </a:cxn>
                <a:cxn ang="0">
                  <a:pos x="98" y="218"/>
                </a:cxn>
                <a:cxn ang="0">
                  <a:pos x="105" y="229"/>
                </a:cxn>
                <a:cxn ang="0">
                  <a:pos x="115" y="231"/>
                </a:cxn>
                <a:cxn ang="0">
                  <a:pos x="122" y="229"/>
                </a:cxn>
                <a:cxn ang="0">
                  <a:pos x="128" y="233"/>
                </a:cxn>
                <a:cxn ang="0">
                  <a:pos x="133" y="226"/>
                </a:cxn>
                <a:cxn ang="0">
                  <a:pos x="145" y="220"/>
                </a:cxn>
                <a:cxn ang="0">
                  <a:pos x="149" y="152"/>
                </a:cxn>
              </a:cxnLst>
              <a:rect l="0" t="0" r="r" b="b"/>
              <a:pathLst>
                <a:path w="248" h="233">
                  <a:moveTo>
                    <a:pt x="149" y="152"/>
                  </a:moveTo>
                  <a:lnTo>
                    <a:pt x="149" y="152"/>
                  </a:lnTo>
                  <a:lnTo>
                    <a:pt x="152" y="96"/>
                  </a:lnTo>
                  <a:lnTo>
                    <a:pt x="167" y="96"/>
                  </a:lnTo>
                  <a:lnTo>
                    <a:pt x="171" y="28"/>
                  </a:lnTo>
                  <a:lnTo>
                    <a:pt x="186" y="30"/>
                  </a:lnTo>
                  <a:lnTo>
                    <a:pt x="203" y="24"/>
                  </a:lnTo>
                  <a:lnTo>
                    <a:pt x="209" y="24"/>
                  </a:lnTo>
                  <a:lnTo>
                    <a:pt x="213" y="24"/>
                  </a:lnTo>
                  <a:lnTo>
                    <a:pt x="213" y="24"/>
                  </a:lnTo>
                  <a:lnTo>
                    <a:pt x="213" y="24"/>
                  </a:lnTo>
                  <a:lnTo>
                    <a:pt x="213" y="28"/>
                  </a:lnTo>
                  <a:lnTo>
                    <a:pt x="216" y="28"/>
                  </a:lnTo>
                  <a:lnTo>
                    <a:pt x="213" y="28"/>
                  </a:lnTo>
                  <a:lnTo>
                    <a:pt x="213" y="33"/>
                  </a:lnTo>
                  <a:lnTo>
                    <a:pt x="216" y="33"/>
                  </a:lnTo>
                  <a:lnTo>
                    <a:pt x="222" y="28"/>
                  </a:lnTo>
                  <a:lnTo>
                    <a:pt x="226" y="24"/>
                  </a:lnTo>
                  <a:lnTo>
                    <a:pt x="229" y="20"/>
                  </a:lnTo>
                  <a:lnTo>
                    <a:pt x="233" y="20"/>
                  </a:lnTo>
                  <a:lnTo>
                    <a:pt x="233" y="20"/>
                  </a:lnTo>
                  <a:lnTo>
                    <a:pt x="237" y="20"/>
                  </a:lnTo>
                  <a:lnTo>
                    <a:pt x="239" y="20"/>
                  </a:lnTo>
                  <a:lnTo>
                    <a:pt x="243" y="17"/>
                  </a:lnTo>
                  <a:lnTo>
                    <a:pt x="248" y="17"/>
                  </a:lnTo>
                  <a:lnTo>
                    <a:pt x="246" y="13"/>
                  </a:lnTo>
                  <a:lnTo>
                    <a:pt x="246" y="13"/>
                  </a:lnTo>
                  <a:lnTo>
                    <a:pt x="243" y="11"/>
                  </a:lnTo>
                  <a:lnTo>
                    <a:pt x="243" y="13"/>
                  </a:lnTo>
                  <a:lnTo>
                    <a:pt x="241" y="11"/>
                  </a:lnTo>
                  <a:lnTo>
                    <a:pt x="241" y="11"/>
                  </a:lnTo>
                  <a:lnTo>
                    <a:pt x="239" y="11"/>
                  </a:lnTo>
                  <a:lnTo>
                    <a:pt x="235" y="11"/>
                  </a:lnTo>
                  <a:lnTo>
                    <a:pt x="233" y="11"/>
                  </a:lnTo>
                  <a:lnTo>
                    <a:pt x="186" y="20"/>
                  </a:lnTo>
                  <a:lnTo>
                    <a:pt x="186" y="20"/>
                  </a:lnTo>
                  <a:lnTo>
                    <a:pt x="184" y="20"/>
                  </a:lnTo>
                  <a:lnTo>
                    <a:pt x="182" y="20"/>
                  </a:lnTo>
                  <a:lnTo>
                    <a:pt x="181" y="20"/>
                  </a:lnTo>
                  <a:lnTo>
                    <a:pt x="179" y="20"/>
                  </a:lnTo>
                  <a:lnTo>
                    <a:pt x="179" y="20"/>
                  </a:lnTo>
                  <a:lnTo>
                    <a:pt x="177" y="20"/>
                  </a:lnTo>
                  <a:lnTo>
                    <a:pt x="175" y="20"/>
                  </a:lnTo>
                  <a:lnTo>
                    <a:pt x="173" y="18"/>
                  </a:lnTo>
                  <a:lnTo>
                    <a:pt x="171" y="20"/>
                  </a:lnTo>
                  <a:lnTo>
                    <a:pt x="171" y="20"/>
                  </a:lnTo>
                  <a:lnTo>
                    <a:pt x="169" y="20"/>
                  </a:lnTo>
                  <a:lnTo>
                    <a:pt x="167" y="20"/>
                  </a:lnTo>
                  <a:lnTo>
                    <a:pt x="164" y="20"/>
                  </a:lnTo>
                  <a:lnTo>
                    <a:pt x="160" y="17"/>
                  </a:lnTo>
                  <a:lnTo>
                    <a:pt x="158" y="17"/>
                  </a:lnTo>
                  <a:lnTo>
                    <a:pt x="154" y="17"/>
                  </a:lnTo>
                  <a:lnTo>
                    <a:pt x="154" y="18"/>
                  </a:lnTo>
                  <a:lnTo>
                    <a:pt x="152" y="18"/>
                  </a:lnTo>
                  <a:lnTo>
                    <a:pt x="149" y="17"/>
                  </a:lnTo>
                  <a:lnTo>
                    <a:pt x="145" y="18"/>
                  </a:lnTo>
                  <a:lnTo>
                    <a:pt x="143" y="20"/>
                  </a:lnTo>
                  <a:lnTo>
                    <a:pt x="139" y="18"/>
                  </a:lnTo>
                  <a:lnTo>
                    <a:pt x="139" y="17"/>
                  </a:lnTo>
                  <a:lnTo>
                    <a:pt x="137" y="17"/>
                  </a:lnTo>
                  <a:lnTo>
                    <a:pt x="133" y="17"/>
                  </a:lnTo>
                  <a:lnTo>
                    <a:pt x="130" y="17"/>
                  </a:lnTo>
                  <a:lnTo>
                    <a:pt x="128" y="15"/>
                  </a:lnTo>
                  <a:lnTo>
                    <a:pt x="126" y="13"/>
                  </a:lnTo>
                  <a:lnTo>
                    <a:pt x="124" y="9"/>
                  </a:lnTo>
                  <a:lnTo>
                    <a:pt x="122" y="9"/>
                  </a:lnTo>
                  <a:lnTo>
                    <a:pt x="54" y="9"/>
                  </a:lnTo>
                  <a:lnTo>
                    <a:pt x="51" y="7"/>
                  </a:lnTo>
                  <a:lnTo>
                    <a:pt x="51" y="7"/>
                  </a:lnTo>
                  <a:lnTo>
                    <a:pt x="49" y="9"/>
                  </a:lnTo>
                  <a:lnTo>
                    <a:pt x="47" y="9"/>
                  </a:lnTo>
                  <a:lnTo>
                    <a:pt x="45" y="11"/>
                  </a:lnTo>
                  <a:lnTo>
                    <a:pt x="39" y="9"/>
                  </a:lnTo>
                  <a:lnTo>
                    <a:pt x="36" y="5"/>
                  </a:lnTo>
                  <a:lnTo>
                    <a:pt x="36" y="5"/>
                  </a:lnTo>
                  <a:lnTo>
                    <a:pt x="36" y="3"/>
                  </a:lnTo>
                  <a:lnTo>
                    <a:pt x="34" y="3"/>
                  </a:lnTo>
                  <a:lnTo>
                    <a:pt x="32" y="3"/>
                  </a:lnTo>
                  <a:lnTo>
                    <a:pt x="30" y="0"/>
                  </a:lnTo>
                  <a:lnTo>
                    <a:pt x="30" y="0"/>
                  </a:lnTo>
                  <a:lnTo>
                    <a:pt x="30" y="3"/>
                  </a:lnTo>
                  <a:lnTo>
                    <a:pt x="26" y="3"/>
                  </a:lnTo>
                  <a:lnTo>
                    <a:pt x="24" y="0"/>
                  </a:lnTo>
                  <a:lnTo>
                    <a:pt x="21" y="0"/>
                  </a:lnTo>
                  <a:lnTo>
                    <a:pt x="17" y="3"/>
                  </a:lnTo>
                  <a:lnTo>
                    <a:pt x="17" y="5"/>
                  </a:lnTo>
                  <a:lnTo>
                    <a:pt x="15" y="7"/>
                  </a:lnTo>
                  <a:lnTo>
                    <a:pt x="11" y="5"/>
                  </a:lnTo>
                  <a:lnTo>
                    <a:pt x="7" y="5"/>
                  </a:lnTo>
                  <a:lnTo>
                    <a:pt x="5" y="5"/>
                  </a:lnTo>
                  <a:lnTo>
                    <a:pt x="5" y="9"/>
                  </a:lnTo>
                  <a:lnTo>
                    <a:pt x="4" y="9"/>
                  </a:lnTo>
                  <a:lnTo>
                    <a:pt x="2" y="9"/>
                  </a:lnTo>
                  <a:lnTo>
                    <a:pt x="0" y="7"/>
                  </a:lnTo>
                  <a:lnTo>
                    <a:pt x="0" y="7"/>
                  </a:lnTo>
                  <a:lnTo>
                    <a:pt x="0" y="24"/>
                  </a:lnTo>
                  <a:lnTo>
                    <a:pt x="11" y="33"/>
                  </a:lnTo>
                  <a:lnTo>
                    <a:pt x="17" y="45"/>
                  </a:lnTo>
                  <a:lnTo>
                    <a:pt x="26" y="65"/>
                  </a:lnTo>
                  <a:lnTo>
                    <a:pt x="30" y="73"/>
                  </a:lnTo>
                  <a:lnTo>
                    <a:pt x="37" y="86"/>
                  </a:lnTo>
                  <a:lnTo>
                    <a:pt x="37" y="92"/>
                  </a:lnTo>
                  <a:lnTo>
                    <a:pt x="49" y="107"/>
                  </a:lnTo>
                  <a:lnTo>
                    <a:pt x="49" y="113"/>
                  </a:lnTo>
                  <a:lnTo>
                    <a:pt x="45" y="114"/>
                  </a:lnTo>
                  <a:lnTo>
                    <a:pt x="49" y="124"/>
                  </a:lnTo>
                  <a:lnTo>
                    <a:pt x="49" y="137"/>
                  </a:lnTo>
                  <a:lnTo>
                    <a:pt x="54" y="152"/>
                  </a:lnTo>
                  <a:lnTo>
                    <a:pt x="54" y="160"/>
                  </a:lnTo>
                  <a:lnTo>
                    <a:pt x="54" y="165"/>
                  </a:lnTo>
                  <a:lnTo>
                    <a:pt x="51" y="167"/>
                  </a:lnTo>
                  <a:lnTo>
                    <a:pt x="54" y="169"/>
                  </a:lnTo>
                  <a:lnTo>
                    <a:pt x="54" y="180"/>
                  </a:lnTo>
                  <a:lnTo>
                    <a:pt x="58" y="180"/>
                  </a:lnTo>
                  <a:lnTo>
                    <a:pt x="60" y="182"/>
                  </a:lnTo>
                  <a:lnTo>
                    <a:pt x="58" y="186"/>
                  </a:lnTo>
                  <a:lnTo>
                    <a:pt x="58" y="190"/>
                  </a:lnTo>
                  <a:lnTo>
                    <a:pt x="60" y="192"/>
                  </a:lnTo>
                  <a:lnTo>
                    <a:pt x="60" y="199"/>
                  </a:lnTo>
                  <a:lnTo>
                    <a:pt x="64" y="205"/>
                  </a:lnTo>
                  <a:lnTo>
                    <a:pt x="69" y="214"/>
                  </a:lnTo>
                  <a:lnTo>
                    <a:pt x="73" y="216"/>
                  </a:lnTo>
                  <a:lnTo>
                    <a:pt x="75" y="220"/>
                  </a:lnTo>
                  <a:lnTo>
                    <a:pt x="79" y="224"/>
                  </a:lnTo>
                  <a:lnTo>
                    <a:pt x="85" y="224"/>
                  </a:lnTo>
                  <a:lnTo>
                    <a:pt x="86" y="222"/>
                  </a:lnTo>
                  <a:lnTo>
                    <a:pt x="86" y="220"/>
                  </a:lnTo>
                  <a:lnTo>
                    <a:pt x="86" y="218"/>
                  </a:lnTo>
                  <a:lnTo>
                    <a:pt x="88" y="214"/>
                  </a:lnTo>
                  <a:lnTo>
                    <a:pt x="92" y="214"/>
                  </a:lnTo>
                  <a:lnTo>
                    <a:pt x="94" y="218"/>
                  </a:lnTo>
                  <a:lnTo>
                    <a:pt x="98" y="218"/>
                  </a:lnTo>
                  <a:lnTo>
                    <a:pt x="96" y="222"/>
                  </a:lnTo>
                  <a:lnTo>
                    <a:pt x="100" y="226"/>
                  </a:lnTo>
                  <a:lnTo>
                    <a:pt x="105" y="229"/>
                  </a:lnTo>
                  <a:lnTo>
                    <a:pt x="109" y="231"/>
                  </a:lnTo>
                  <a:lnTo>
                    <a:pt x="111" y="231"/>
                  </a:lnTo>
                  <a:lnTo>
                    <a:pt x="115" y="231"/>
                  </a:lnTo>
                  <a:lnTo>
                    <a:pt x="117" y="231"/>
                  </a:lnTo>
                  <a:lnTo>
                    <a:pt x="118" y="229"/>
                  </a:lnTo>
                  <a:lnTo>
                    <a:pt x="122" y="229"/>
                  </a:lnTo>
                  <a:lnTo>
                    <a:pt x="124" y="233"/>
                  </a:lnTo>
                  <a:lnTo>
                    <a:pt x="126" y="233"/>
                  </a:lnTo>
                  <a:lnTo>
                    <a:pt x="128" y="233"/>
                  </a:lnTo>
                  <a:lnTo>
                    <a:pt x="128" y="229"/>
                  </a:lnTo>
                  <a:lnTo>
                    <a:pt x="130" y="226"/>
                  </a:lnTo>
                  <a:lnTo>
                    <a:pt x="133" y="226"/>
                  </a:lnTo>
                  <a:lnTo>
                    <a:pt x="133" y="222"/>
                  </a:lnTo>
                  <a:lnTo>
                    <a:pt x="137" y="220"/>
                  </a:lnTo>
                  <a:lnTo>
                    <a:pt x="145" y="220"/>
                  </a:lnTo>
                  <a:lnTo>
                    <a:pt x="147" y="220"/>
                  </a:lnTo>
                  <a:lnTo>
                    <a:pt x="149" y="152"/>
                  </a:lnTo>
                  <a:lnTo>
                    <a:pt x="149" y="152"/>
                  </a:lnTo>
                  <a:lnTo>
                    <a:pt x="149" y="152"/>
                  </a:lnTo>
                  <a:lnTo>
                    <a:pt x="149" y="15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7" name="Freeform 150">
              <a:extLst>
                <a:ext uri="{FF2B5EF4-FFF2-40B4-BE49-F238E27FC236}">
                  <a16:creationId xmlns:a16="http://schemas.microsoft.com/office/drawing/2014/main" id="{2DA25134-8CC9-4AD9-8E8D-ACB33385E783}"/>
                </a:ext>
              </a:extLst>
            </p:cNvPr>
            <p:cNvSpPr>
              <a:spLocks noEditPoints="1"/>
            </p:cNvSpPr>
            <p:nvPr/>
          </p:nvSpPr>
          <p:spPr bwMode="auto">
            <a:xfrm>
              <a:off x="3566" y="3325"/>
              <a:ext cx="137" cy="264"/>
            </a:xfrm>
            <a:custGeom>
              <a:avLst/>
              <a:gdLst/>
              <a:ahLst/>
              <a:cxnLst>
                <a:cxn ang="0">
                  <a:pos x="39" y="260"/>
                </a:cxn>
                <a:cxn ang="0">
                  <a:pos x="64" y="253"/>
                </a:cxn>
                <a:cxn ang="0">
                  <a:pos x="71" y="240"/>
                </a:cxn>
                <a:cxn ang="0">
                  <a:pos x="75" y="226"/>
                </a:cxn>
                <a:cxn ang="0">
                  <a:pos x="79" y="217"/>
                </a:cxn>
                <a:cxn ang="0">
                  <a:pos x="90" y="191"/>
                </a:cxn>
                <a:cxn ang="0">
                  <a:pos x="103" y="153"/>
                </a:cxn>
                <a:cxn ang="0">
                  <a:pos x="113" y="132"/>
                </a:cxn>
                <a:cxn ang="0">
                  <a:pos x="120" y="108"/>
                </a:cxn>
                <a:cxn ang="0">
                  <a:pos x="122" y="91"/>
                </a:cxn>
                <a:cxn ang="0">
                  <a:pos x="126" y="78"/>
                </a:cxn>
                <a:cxn ang="0">
                  <a:pos x="126" y="68"/>
                </a:cxn>
                <a:cxn ang="0">
                  <a:pos x="133" y="78"/>
                </a:cxn>
                <a:cxn ang="0">
                  <a:pos x="135" y="68"/>
                </a:cxn>
                <a:cxn ang="0">
                  <a:pos x="132" y="53"/>
                </a:cxn>
                <a:cxn ang="0">
                  <a:pos x="133" y="40"/>
                </a:cxn>
                <a:cxn ang="0">
                  <a:pos x="128" y="15"/>
                </a:cxn>
                <a:cxn ang="0">
                  <a:pos x="122" y="10"/>
                </a:cxn>
                <a:cxn ang="0">
                  <a:pos x="118" y="8"/>
                </a:cxn>
                <a:cxn ang="0">
                  <a:pos x="113" y="14"/>
                </a:cxn>
                <a:cxn ang="0">
                  <a:pos x="111" y="21"/>
                </a:cxn>
                <a:cxn ang="0">
                  <a:pos x="103" y="32"/>
                </a:cxn>
                <a:cxn ang="0">
                  <a:pos x="100" y="32"/>
                </a:cxn>
                <a:cxn ang="0">
                  <a:pos x="98" y="44"/>
                </a:cxn>
                <a:cxn ang="0">
                  <a:pos x="92" y="44"/>
                </a:cxn>
                <a:cxn ang="0">
                  <a:pos x="96" y="53"/>
                </a:cxn>
                <a:cxn ang="0">
                  <a:pos x="85" y="59"/>
                </a:cxn>
                <a:cxn ang="0">
                  <a:pos x="83" y="55"/>
                </a:cxn>
                <a:cxn ang="0">
                  <a:pos x="79" y="64"/>
                </a:cxn>
                <a:cxn ang="0">
                  <a:pos x="77" y="68"/>
                </a:cxn>
                <a:cxn ang="0">
                  <a:pos x="75" y="63"/>
                </a:cxn>
                <a:cxn ang="0">
                  <a:pos x="66" y="78"/>
                </a:cxn>
                <a:cxn ang="0">
                  <a:pos x="60" y="72"/>
                </a:cxn>
                <a:cxn ang="0">
                  <a:pos x="51" y="74"/>
                </a:cxn>
                <a:cxn ang="0">
                  <a:pos x="49" y="78"/>
                </a:cxn>
                <a:cxn ang="0">
                  <a:pos x="36" y="81"/>
                </a:cxn>
                <a:cxn ang="0">
                  <a:pos x="26" y="83"/>
                </a:cxn>
                <a:cxn ang="0">
                  <a:pos x="19" y="104"/>
                </a:cxn>
                <a:cxn ang="0">
                  <a:pos x="21" y="119"/>
                </a:cxn>
                <a:cxn ang="0">
                  <a:pos x="26" y="140"/>
                </a:cxn>
                <a:cxn ang="0">
                  <a:pos x="22" y="153"/>
                </a:cxn>
                <a:cxn ang="0">
                  <a:pos x="17" y="166"/>
                </a:cxn>
                <a:cxn ang="0">
                  <a:pos x="5" y="179"/>
                </a:cxn>
                <a:cxn ang="0">
                  <a:pos x="2" y="196"/>
                </a:cxn>
                <a:cxn ang="0">
                  <a:pos x="5" y="213"/>
                </a:cxn>
                <a:cxn ang="0">
                  <a:pos x="11" y="221"/>
                </a:cxn>
                <a:cxn ang="0">
                  <a:pos x="5" y="232"/>
                </a:cxn>
                <a:cxn ang="0">
                  <a:pos x="7" y="247"/>
                </a:cxn>
                <a:cxn ang="0">
                  <a:pos x="17" y="255"/>
                </a:cxn>
                <a:cxn ang="0">
                  <a:pos x="26" y="260"/>
                </a:cxn>
                <a:cxn ang="0">
                  <a:pos x="30" y="264"/>
                </a:cxn>
                <a:cxn ang="0">
                  <a:pos x="107" y="19"/>
                </a:cxn>
                <a:cxn ang="0">
                  <a:pos x="107" y="19"/>
                </a:cxn>
                <a:cxn ang="0">
                  <a:pos x="107" y="25"/>
                </a:cxn>
                <a:cxn ang="0">
                  <a:pos x="107" y="25"/>
                </a:cxn>
                <a:cxn ang="0">
                  <a:pos x="101" y="23"/>
                </a:cxn>
                <a:cxn ang="0">
                  <a:pos x="101" y="27"/>
                </a:cxn>
                <a:cxn ang="0">
                  <a:pos x="101" y="25"/>
                </a:cxn>
                <a:cxn ang="0">
                  <a:pos x="126" y="95"/>
                </a:cxn>
                <a:cxn ang="0">
                  <a:pos x="128" y="93"/>
                </a:cxn>
                <a:cxn ang="0">
                  <a:pos x="126" y="98"/>
                </a:cxn>
              </a:cxnLst>
              <a:rect l="0" t="0" r="r" b="b"/>
              <a:pathLst>
                <a:path w="137" h="264">
                  <a:moveTo>
                    <a:pt x="30" y="264"/>
                  </a:moveTo>
                  <a:lnTo>
                    <a:pt x="30" y="262"/>
                  </a:lnTo>
                  <a:lnTo>
                    <a:pt x="36" y="262"/>
                  </a:lnTo>
                  <a:lnTo>
                    <a:pt x="39" y="260"/>
                  </a:lnTo>
                  <a:lnTo>
                    <a:pt x="41" y="257"/>
                  </a:lnTo>
                  <a:lnTo>
                    <a:pt x="54" y="255"/>
                  </a:lnTo>
                  <a:lnTo>
                    <a:pt x="58" y="255"/>
                  </a:lnTo>
                  <a:lnTo>
                    <a:pt x="64" y="253"/>
                  </a:lnTo>
                  <a:lnTo>
                    <a:pt x="64" y="251"/>
                  </a:lnTo>
                  <a:lnTo>
                    <a:pt x="68" y="251"/>
                  </a:lnTo>
                  <a:lnTo>
                    <a:pt x="69" y="245"/>
                  </a:lnTo>
                  <a:lnTo>
                    <a:pt x="71" y="240"/>
                  </a:lnTo>
                  <a:lnTo>
                    <a:pt x="73" y="236"/>
                  </a:lnTo>
                  <a:lnTo>
                    <a:pt x="77" y="234"/>
                  </a:lnTo>
                  <a:lnTo>
                    <a:pt x="75" y="228"/>
                  </a:lnTo>
                  <a:lnTo>
                    <a:pt x="75" y="226"/>
                  </a:lnTo>
                  <a:lnTo>
                    <a:pt x="77" y="225"/>
                  </a:lnTo>
                  <a:lnTo>
                    <a:pt x="79" y="221"/>
                  </a:lnTo>
                  <a:lnTo>
                    <a:pt x="79" y="217"/>
                  </a:lnTo>
                  <a:lnTo>
                    <a:pt x="79" y="217"/>
                  </a:lnTo>
                  <a:lnTo>
                    <a:pt x="85" y="213"/>
                  </a:lnTo>
                  <a:lnTo>
                    <a:pt x="85" y="200"/>
                  </a:lnTo>
                  <a:lnTo>
                    <a:pt x="88" y="193"/>
                  </a:lnTo>
                  <a:lnTo>
                    <a:pt x="90" y="191"/>
                  </a:lnTo>
                  <a:lnTo>
                    <a:pt x="92" y="183"/>
                  </a:lnTo>
                  <a:lnTo>
                    <a:pt x="98" y="174"/>
                  </a:lnTo>
                  <a:lnTo>
                    <a:pt x="101" y="159"/>
                  </a:lnTo>
                  <a:lnTo>
                    <a:pt x="103" y="153"/>
                  </a:lnTo>
                  <a:lnTo>
                    <a:pt x="103" y="147"/>
                  </a:lnTo>
                  <a:lnTo>
                    <a:pt x="107" y="140"/>
                  </a:lnTo>
                  <a:lnTo>
                    <a:pt x="109" y="138"/>
                  </a:lnTo>
                  <a:lnTo>
                    <a:pt x="113" y="132"/>
                  </a:lnTo>
                  <a:lnTo>
                    <a:pt x="115" y="121"/>
                  </a:lnTo>
                  <a:lnTo>
                    <a:pt x="117" y="113"/>
                  </a:lnTo>
                  <a:lnTo>
                    <a:pt x="118" y="112"/>
                  </a:lnTo>
                  <a:lnTo>
                    <a:pt x="120" y="108"/>
                  </a:lnTo>
                  <a:lnTo>
                    <a:pt x="118" y="102"/>
                  </a:lnTo>
                  <a:lnTo>
                    <a:pt x="120" y="98"/>
                  </a:lnTo>
                  <a:lnTo>
                    <a:pt x="122" y="93"/>
                  </a:lnTo>
                  <a:lnTo>
                    <a:pt x="122" y="91"/>
                  </a:lnTo>
                  <a:lnTo>
                    <a:pt x="126" y="87"/>
                  </a:lnTo>
                  <a:lnTo>
                    <a:pt x="126" y="83"/>
                  </a:lnTo>
                  <a:lnTo>
                    <a:pt x="122" y="81"/>
                  </a:lnTo>
                  <a:lnTo>
                    <a:pt x="126" y="78"/>
                  </a:lnTo>
                  <a:lnTo>
                    <a:pt x="122" y="74"/>
                  </a:lnTo>
                  <a:lnTo>
                    <a:pt x="122" y="74"/>
                  </a:lnTo>
                  <a:lnTo>
                    <a:pt x="122" y="68"/>
                  </a:lnTo>
                  <a:lnTo>
                    <a:pt x="126" y="68"/>
                  </a:lnTo>
                  <a:lnTo>
                    <a:pt x="126" y="68"/>
                  </a:lnTo>
                  <a:lnTo>
                    <a:pt x="126" y="74"/>
                  </a:lnTo>
                  <a:lnTo>
                    <a:pt x="130" y="78"/>
                  </a:lnTo>
                  <a:lnTo>
                    <a:pt x="133" y="78"/>
                  </a:lnTo>
                  <a:lnTo>
                    <a:pt x="133" y="74"/>
                  </a:lnTo>
                  <a:lnTo>
                    <a:pt x="133" y="72"/>
                  </a:lnTo>
                  <a:lnTo>
                    <a:pt x="135" y="72"/>
                  </a:lnTo>
                  <a:lnTo>
                    <a:pt x="135" y="68"/>
                  </a:lnTo>
                  <a:lnTo>
                    <a:pt x="137" y="64"/>
                  </a:lnTo>
                  <a:lnTo>
                    <a:pt x="137" y="63"/>
                  </a:lnTo>
                  <a:lnTo>
                    <a:pt x="133" y="57"/>
                  </a:lnTo>
                  <a:lnTo>
                    <a:pt x="132" y="53"/>
                  </a:lnTo>
                  <a:lnTo>
                    <a:pt x="133" y="51"/>
                  </a:lnTo>
                  <a:lnTo>
                    <a:pt x="133" y="47"/>
                  </a:lnTo>
                  <a:lnTo>
                    <a:pt x="132" y="44"/>
                  </a:lnTo>
                  <a:lnTo>
                    <a:pt x="133" y="40"/>
                  </a:lnTo>
                  <a:lnTo>
                    <a:pt x="133" y="32"/>
                  </a:lnTo>
                  <a:lnTo>
                    <a:pt x="130" y="29"/>
                  </a:lnTo>
                  <a:lnTo>
                    <a:pt x="130" y="19"/>
                  </a:lnTo>
                  <a:lnTo>
                    <a:pt x="128" y="15"/>
                  </a:lnTo>
                  <a:lnTo>
                    <a:pt x="128" y="19"/>
                  </a:lnTo>
                  <a:lnTo>
                    <a:pt x="126" y="14"/>
                  </a:lnTo>
                  <a:lnTo>
                    <a:pt x="122" y="10"/>
                  </a:lnTo>
                  <a:lnTo>
                    <a:pt x="122" y="10"/>
                  </a:lnTo>
                  <a:lnTo>
                    <a:pt x="122" y="4"/>
                  </a:lnTo>
                  <a:lnTo>
                    <a:pt x="122" y="0"/>
                  </a:lnTo>
                  <a:lnTo>
                    <a:pt x="117" y="6"/>
                  </a:lnTo>
                  <a:lnTo>
                    <a:pt x="118" y="8"/>
                  </a:lnTo>
                  <a:lnTo>
                    <a:pt x="115" y="10"/>
                  </a:lnTo>
                  <a:lnTo>
                    <a:pt x="111" y="8"/>
                  </a:lnTo>
                  <a:lnTo>
                    <a:pt x="109" y="8"/>
                  </a:lnTo>
                  <a:lnTo>
                    <a:pt x="113" y="14"/>
                  </a:lnTo>
                  <a:lnTo>
                    <a:pt x="113" y="14"/>
                  </a:lnTo>
                  <a:lnTo>
                    <a:pt x="115" y="15"/>
                  </a:lnTo>
                  <a:lnTo>
                    <a:pt x="115" y="19"/>
                  </a:lnTo>
                  <a:lnTo>
                    <a:pt x="111" y="21"/>
                  </a:lnTo>
                  <a:lnTo>
                    <a:pt x="111" y="27"/>
                  </a:lnTo>
                  <a:lnTo>
                    <a:pt x="109" y="31"/>
                  </a:lnTo>
                  <a:lnTo>
                    <a:pt x="107" y="29"/>
                  </a:lnTo>
                  <a:lnTo>
                    <a:pt x="103" y="32"/>
                  </a:lnTo>
                  <a:lnTo>
                    <a:pt x="103" y="34"/>
                  </a:lnTo>
                  <a:lnTo>
                    <a:pt x="101" y="38"/>
                  </a:lnTo>
                  <a:lnTo>
                    <a:pt x="100" y="34"/>
                  </a:lnTo>
                  <a:lnTo>
                    <a:pt x="100" y="32"/>
                  </a:lnTo>
                  <a:lnTo>
                    <a:pt x="98" y="32"/>
                  </a:lnTo>
                  <a:lnTo>
                    <a:pt x="94" y="34"/>
                  </a:lnTo>
                  <a:lnTo>
                    <a:pt x="94" y="38"/>
                  </a:lnTo>
                  <a:lnTo>
                    <a:pt x="98" y="44"/>
                  </a:lnTo>
                  <a:lnTo>
                    <a:pt x="100" y="44"/>
                  </a:lnTo>
                  <a:lnTo>
                    <a:pt x="98" y="44"/>
                  </a:lnTo>
                  <a:lnTo>
                    <a:pt x="96" y="44"/>
                  </a:lnTo>
                  <a:lnTo>
                    <a:pt x="92" y="44"/>
                  </a:lnTo>
                  <a:lnTo>
                    <a:pt x="92" y="47"/>
                  </a:lnTo>
                  <a:lnTo>
                    <a:pt x="96" y="49"/>
                  </a:lnTo>
                  <a:lnTo>
                    <a:pt x="98" y="51"/>
                  </a:lnTo>
                  <a:lnTo>
                    <a:pt x="96" y="53"/>
                  </a:lnTo>
                  <a:lnTo>
                    <a:pt x="94" y="51"/>
                  </a:lnTo>
                  <a:lnTo>
                    <a:pt x="90" y="53"/>
                  </a:lnTo>
                  <a:lnTo>
                    <a:pt x="90" y="55"/>
                  </a:lnTo>
                  <a:lnTo>
                    <a:pt x="85" y="59"/>
                  </a:lnTo>
                  <a:lnTo>
                    <a:pt x="85" y="55"/>
                  </a:lnTo>
                  <a:lnTo>
                    <a:pt x="85" y="55"/>
                  </a:lnTo>
                  <a:lnTo>
                    <a:pt x="85" y="51"/>
                  </a:lnTo>
                  <a:lnTo>
                    <a:pt x="83" y="55"/>
                  </a:lnTo>
                  <a:lnTo>
                    <a:pt x="85" y="57"/>
                  </a:lnTo>
                  <a:lnTo>
                    <a:pt x="83" y="59"/>
                  </a:lnTo>
                  <a:lnTo>
                    <a:pt x="79" y="61"/>
                  </a:lnTo>
                  <a:lnTo>
                    <a:pt x="79" y="64"/>
                  </a:lnTo>
                  <a:lnTo>
                    <a:pt x="83" y="64"/>
                  </a:lnTo>
                  <a:lnTo>
                    <a:pt x="83" y="68"/>
                  </a:lnTo>
                  <a:lnTo>
                    <a:pt x="79" y="68"/>
                  </a:lnTo>
                  <a:lnTo>
                    <a:pt x="77" y="68"/>
                  </a:lnTo>
                  <a:lnTo>
                    <a:pt x="77" y="68"/>
                  </a:lnTo>
                  <a:lnTo>
                    <a:pt x="75" y="68"/>
                  </a:lnTo>
                  <a:lnTo>
                    <a:pt x="77" y="64"/>
                  </a:lnTo>
                  <a:lnTo>
                    <a:pt x="75" y="63"/>
                  </a:lnTo>
                  <a:lnTo>
                    <a:pt x="68" y="68"/>
                  </a:lnTo>
                  <a:lnTo>
                    <a:pt x="68" y="74"/>
                  </a:lnTo>
                  <a:lnTo>
                    <a:pt x="68" y="78"/>
                  </a:lnTo>
                  <a:lnTo>
                    <a:pt x="66" y="78"/>
                  </a:lnTo>
                  <a:lnTo>
                    <a:pt x="64" y="78"/>
                  </a:lnTo>
                  <a:lnTo>
                    <a:pt x="64" y="78"/>
                  </a:lnTo>
                  <a:lnTo>
                    <a:pt x="64" y="72"/>
                  </a:lnTo>
                  <a:lnTo>
                    <a:pt x="60" y="72"/>
                  </a:lnTo>
                  <a:lnTo>
                    <a:pt x="58" y="74"/>
                  </a:lnTo>
                  <a:lnTo>
                    <a:pt x="53" y="74"/>
                  </a:lnTo>
                  <a:lnTo>
                    <a:pt x="53" y="74"/>
                  </a:lnTo>
                  <a:lnTo>
                    <a:pt x="51" y="74"/>
                  </a:lnTo>
                  <a:lnTo>
                    <a:pt x="51" y="78"/>
                  </a:lnTo>
                  <a:lnTo>
                    <a:pt x="49" y="78"/>
                  </a:lnTo>
                  <a:lnTo>
                    <a:pt x="49" y="79"/>
                  </a:lnTo>
                  <a:lnTo>
                    <a:pt x="49" y="78"/>
                  </a:lnTo>
                  <a:lnTo>
                    <a:pt x="45" y="74"/>
                  </a:lnTo>
                  <a:lnTo>
                    <a:pt x="45" y="78"/>
                  </a:lnTo>
                  <a:lnTo>
                    <a:pt x="41" y="74"/>
                  </a:lnTo>
                  <a:lnTo>
                    <a:pt x="36" y="81"/>
                  </a:lnTo>
                  <a:lnTo>
                    <a:pt x="34" y="81"/>
                  </a:lnTo>
                  <a:lnTo>
                    <a:pt x="32" y="81"/>
                  </a:lnTo>
                  <a:lnTo>
                    <a:pt x="30" y="81"/>
                  </a:lnTo>
                  <a:lnTo>
                    <a:pt x="26" y="83"/>
                  </a:lnTo>
                  <a:lnTo>
                    <a:pt x="30" y="89"/>
                  </a:lnTo>
                  <a:lnTo>
                    <a:pt x="22" y="98"/>
                  </a:lnTo>
                  <a:lnTo>
                    <a:pt x="22" y="98"/>
                  </a:lnTo>
                  <a:lnTo>
                    <a:pt x="19" y="104"/>
                  </a:lnTo>
                  <a:lnTo>
                    <a:pt x="19" y="108"/>
                  </a:lnTo>
                  <a:lnTo>
                    <a:pt x="21" y="110"/>
                  </a:lnTo>
                  <a:lnTo>
                    <a:pt x="19" y="113"/>
                  </a:lnTo>
                  <a:lnTo>
                    <a:pt x="21" y="119"/>
                  </a:lnTo>
                  <a:lnTo>
                    <a:pt x="21" y="125"/>
                  </a:lnTo>
                  <a:lnTo>
                    <a:pt x="26" y="132"/>
                  </a:lnTo>
                  <a:lnTo>
                    <a:pt x="22" y="136"/>
                  </a:lnTo>
                  <a:lnTo>
                    <a:pt x="26" y="140"/>
                  </a:lnTo>
                  <a:lnTo>
                    <a:pt x="26" y="142"/>
                  </a:lnTo>
                  <a:lnTo>
                    <a:pt x="26" y="144"/>
                  </a:lnTo>
                  <a:lnTo>
                    <a:pt x="26" y="145"/>
                  </a:lnTo>
                  <a:lnTo>
                    <a:pt x="22" y="153"/>
                  </a:lnTo>
                  <a:lnTo>
                    <a:pt x="21" y="159"/>
                  </a:lnTo>
                  <a:lnTo>
                    <a:pt x="21" y="162"/>
                  </a:lnTo>
                  <a:lnTo>
                    <a:pt x="17" y="162"/>
                  </a:lnTo>
                  <a:lnTo>
                    <a:pt x="17" y="166"/>
                  </a:lnTo>
                  <a:lnTo>
                    <a:pt x="13" y="168"/>
                  </a:lnTo>
                  <a:lnTo>
                    <a:pt x="13" y="176"/>
                  </a:lnTo>
                  <a:lnTo>
                    <a:pt x="11" y="177"/>
                  </a:lnTo>
                  <a:lnTo>
                    <a:pt x="5" y="179"/>
                  </a:lnTo>
                  <a:lnTo>
                    <a:pt x="5" y="181"/>
                  </a:lnTo>
                  <a:lnTo>
                    <a:pt x="5" y="187"/>
                  </a:lnTo>
                  <a:lnTo>
                    <a:pt x="2" y="191"/>
                  </a:lnTo>
                  <a:lnTo>
                    <a:pt x="2" y="196"/>
                  </a:lnTo>
                  <a:lnTo>
                    <a:pt x="0" y="198"/>
                  </a:lnTo>
                  <a:lnTo>
                    <a:pt x="2" y="200"/>
                  </a:lnTo>
                  <a:lnTo>
                    <a:pt x="2" y="208"/>
                  </a:lnTo>
                  <a:lnTo>
                    <a:pt x="5" y="213"/>
                  </a:lnTo>
                  <a:lnTo>
                    <a:pt x="5" y="217"/>
                  </a:lnTo>
                  <a:lnTo>
                    <a:pt x="5" y="221"/>
                  </a:lnTo>
                  <a:lnTo>
                    <a:pt x="7" y="221"/>
                  </a:lnTo>
                  <a:lnTo>
                    <a:pt x="11" y="221"/>
                  </a:lnTo>
                  <a:lnTo>
                    <a:pt x="7" y="221"/>
                  </a:lnTo>
                  <a:lnTo>
                    <a:pt x="5" y="223"/>
                  </a:lnTo>
                  <a:lnTo>
                    <a:pt x="5" y="226"/>
                  </a:lnTo>
                  <a:lnTo>
                    <a:pt x="5" y="232"/>
                  </a:lnTo>
                  <a:lnTo>
                    <a:pt x="5" y="241"/>
                  </a:lnTo>
                  <a:lnTo>
                    <a:pt x="7" y="241"/>
                  </a:lnTo>
                  <a:lnTo>
                    <a:pt x="7" y="245"/>
                  </a:lnTo>
                  <a:lnTo>
                    <a:pt x="7" y="247"/>
                  </a:lnTo>
                  <a:lnTo>
                    <a:pt x="11" y="251"/>
                  </a:lnTo>
                  <a:lnTo>
                    <a:pt x="11" y="251"/>
                  </a:lnTo>
                  <a:lnTo>
                    <a:pt x="13" y="253"/>
                  </a:lnTo>
                  <a:lnTo>
                    <a:pt x="17" y="255"/>
                  </a:lnTo>
                  <a:lnTo>
                    <a:pt x="19" y="255"/>
                  </a:lnTo>
                  <a:lnTo>
                    <a:pt x="21" y="257"/>
                  </a:lnTo>
                  <a:lnTo>
                    <a:pt x="22" y="257"/>
                  </a:lnTo>
                  <a:lnTo>
                    <a:pt x="26" y="260"/>
                  </a:lnTo>
                  <a:lnTo>
                    <a:pt x="26" y="262"/>
                  </a:lnTo>
                  <a:lnTo>
                    <a:pt x="30" y="262"/>
                  </a:lnTo>
                  <a:lnTo>
                    <a:pt x="30" y="264"/>
                  </a:lnTo>
                  <a:lnTo>
                    <a:pt x="30" y="264"/>
                  </a:lnTo>
                  <a:lnTo>
                    <a:pt x="30" y="264"/>
                  </a:lnTo>
                  <a:lnTo>
                    <a:pt x="30" y="264"/>
                  </a:lnTo>
                  <a:close/>
                  <a:moveTo>
                    <a:pt x="107" y="19"/>
                  </a:moveTo>
                  <a:lnTo>
                    <a:pt x="107" y="19"/>
                  </a:lnTo>
                  <a:lnTo>
                    <a:pt x="109" y="14"/>
                  </a:lnTo>
                  <a:lnTo>
                    <a:pt x="109" y="15"/>
                  </a:lnTo>
                  <a:lnTo>
                    <a:pt x="107" y="19"/>
                  </a:lnTo>
                  <a:lnTo>
                    <a:pt x="107" y="19"/>
                  </a:lnTo>
                  <a:lnTo>
                    <a:pt x="107" y="19"/>
                  </a:lnTo>
                  <a:lnTo>
                    <a:pt x="107" y="19"/>
                  </a:lnTo>
                  <a:close/>
                  <a:moveTo>
                    <a:pt x="107" y="25"/>
                  </a:moveTo>
                  <a:lnTo>
                    <a:pt x="107" y="25"/>
                  </a:lnTo>
                  <a:lnTo>
                    <a:pt x="107" y="27"/>
                  </a:lnTo>
                  <a:lnTo>
                    <a:pt x="107" y="27"/>
                  </a:lnTo>
                  <a:lnTo>
                    <a:pt x="107" y="25"/>
                  </a:lnTo>
                  <a:lnTo>
                    <a:pt x="107" y="25"/>
                  </a:lnTo>
                  <a:lnTo>
                    <a:pt x="107" y="25"/>
                  </a:lnTo>
                  <a:lnTo>
                    <a:pt x="107" y="25"/>
                  </a:lnTo>
                  <a:close/>
                  <a:moveTo>
                    <a:pt x="101" y="25"/>
                  </a:moveTo>
                  <a:lnTo>
                    <a:pt x="101" y="23"/>
                  </a:lnTo>
                  <a:lnTo>
                    <a:pt x="101" y="25"/>
                  </a:lnTo>
                  <a:lnTo>
                    <a:pt x="103" y="25"/>
                  </a:lnTo>
                  <a:lnTo>
                    <a:pt x="103" y="29"/>
                  </a:lnTo>
                  <a:lnTo>
                    <a:pt x="101" y="27"/>
                  </a:lnTo>
                  <a:lnTo>
                    <a:pt x="100" y="27"/>
                  </a:lnTo>
                  <a:lnTo>
                    <a:pt x="101" y="25"/>
                  </a:lnTo>
                  <a:lnTo>
                    <a:pt x="101" y="25"/>
                  </a:lnTo>
                  <a:lnTo>
                    <a:pt x="101" y="25"/>
                  </a:lnTo>
                  <a:lnTo>
                    <a:pt x="101" y="25"/>
                  </a:lnTo>
                  <a:close/>
                  <a:moveTo>
                    <a:pt x="126" y="98"/>
                  </a:moveTo>
                  <a:lnTo>
                    <a:pt x="126" y="96"/>
                  </a:lnTo>
                  <a:lnTo>
                    <a:pt x="126" y="95"/>
                  </a:lnTo>
                  <a:lnTo>
                    <a:pt x="126" y="93"/>
                  </a:lnTo>
                  <a:lnTo>
                    <a:pt x="126" y="93"/>
                  </a:lnTo>
                  <a:lnTo>
                    <a:pt x="128" y="91"/>
                  </a:lnTo>
                  <a:lnTo>
                    <a:pt x="128" y="93"/>
                  </a:lnTo>
                  <a:lnTo>
                    <a:pt x="126" y="96"/>
                  </a:lnTo>
                  <a:lnTo>
                    <a:pt x="126" y="98"/>
                  </a:lnTo>
                  <a:lnTo>
                    <a:pt x="126" y="98"/>
                  </a:lnTo>
                  <a:lnTo>
                    <a:pt x="126" y="9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8" name="Freeform 151">
              <a:extLst>
                <a:ext uri="{FF2B5EF4-FFF2-40B4-BE49-F238E27FC236}">
                  <a16:creationId xmlns:a16="http://schemas.microsoft.com/office/drawing/2014/main" id="{7981C100-D010-448C-B94C-EDFD35061645}"/>
                </a:ext>
              </a:extLst>
            </p:cNvPr>
            <p:cNvSpPr>
              <a:spLocks/>
            </p:cNvSpPr>
            <p:nvPr/>
          </p:nvSpPr>
          <p:spPr bwMode="auto">
            <a:xfrm>
              <a:off x="3332" y="3299"/>
              <a:ext cx="196" cy="311"/>
            </a:xfrm>
            <a:custGeom>
              <a:avLst/>
              <a:gdLst/>
              <a:ahLst/>
              <a:cxnLst>
                <a:cxn ang="0">
                  <a:pos x="34" y="194"/>
                </a:cxn>
                <a:cxn ang="0">
                  <a:pos x="40" y="183"/>
                </a:cxn>
                <a:cxn ang="0">
                  <a:pos x="44" y="170"/>
                </a:cxn>
                <a:cxn ang="0">
                  <a:pos x="44" y="158"/>
                </a:cxn>
                <a:cxn ang="0">
                  <a:pos x="46" y="147"/>
                </a:cxn>
                <a:cxn ang="0">
                  <a:pos x="47" y="130"/>
                </a:cxn>
                <a:cxn ang="0">
                  <a:pos x="49" y="119"/>
                </a:cxn>
                <a:cxn ang="0">
                  <a:pos x="31" y="111"/>
                </a:cxn>
                <a:cxn ang="0">
                  <a:pos x="14" y="105"/>
                </a:cxn>
                <a:cxn ang="0">
                  <a:pos x="0" y="89"/>
                </a:cxn>
                <a:cxn ang="0">
                  <a:pos x="36" y="72"/>
                </a:cxn>
                <a:cxn ang="0">
                  <a:pos x="61" y="70"/>
                </a:cxn>
                <a:cxn ang="0">
                  <a:pos x="68" y="73"/>
                </a:cxn>
                <a:cxn ang="0">
                  <a:pos x="81" y="81"/>
                </a:cxn>
                <a:cxn ang="0">
                  <a:pos x="74" y="100"/>
                </a:cxn>
                <a:cxn ang="0">
                  <a:pos x="85" y="117"/>
                </a:cxn>
                <a:cxn ang="0">
                  <a:pos x="91" y="126"/>
                </a:cxn>
                <a:cxn ang="0">
                  <a:pos x="95" y="105"/>
                </a:cxn>
                <a:cxn ang="0">
                  <a:pos x="100" y="90"/>
                </a:cxn>
                <a:cxn ang="0">
                  <a:pos x="104" y="85"/>
                </a:cxn>
                <a:cxn ang="0">
                  <a:pos x="98" y="70"/>
                </a:cxn>
                <a:cxn ang="0">
                  <a:pos x="85" y="55"/>
                </a:cxn>
                <a:cxn ang="0">
                  <a:pos x="102" y="17"/>
                </a:cxn>
                <a:cxn ang="0">
                  <a:pos x="111" y="19"/>
                </a:cxn>
                <a:cxn ang="0">
                  <a:pos x="123" y="17"/>
                </a:cxn>
                <a:cxn ang="0">
                  <a:pos x="132" y="19"/>
                </a:cxn>
                <a:cxn ang="0">
                  <a:pos x="143" y="13"/>
                </a:cxn>
                <a:cxn ang="0">
                  <a:pos x="157" y="13"/>
                </a:cxn>
                <a:cxn ang="0">
                  <a:pos x="174" y="9"/>
                </a:cxn>
                <a:cxn ang="0">
                  <a:pos x="189" y="0"/>
                </a:cxn>
                <a:cxn ang="0">
                  <a:pos x="194" y="4"/>
                </a:cxn>
                <a:cxn ang="0">
                  <a:pos x="191" y="15"/>
                </a:cxn>
                <a:cxn ang="0">
                  <a:pos x="192" y="30"/>
                </a:cxn>
                <a:cxn ang="0">
                  <a:pos x="191" y="47"/>
                </a:cxn>
                <a:cxn ang="0">
                  <a:pos x="187" y="66"/>
                </a:cxn>
                <a:cxn ang="0">
                  <a:pos x="194" y="79"/>
                </a:cxn>
                <a:cxn ang="0">
                  <a:pos x="189" y="85"/>
                </a:cxn>
                <a:cxn ang="0">
                  <a:pos x="189" y="90"/>
                </a:cxn>
                <a:cxn ang="0">
                  <a:pos x="177" y="109"/>
                </a:cxn>
                <a:cxn ang="0">
                  <a:pos x="159" y="121"/>
                </a:cxn>
                <a:cxn ang="0">
                  <a:pos x="130" y="134"/>
                </a:cxn>
                <a:cxn ang="0">
                  <a:pos x="119" y="139"/>
                </a:cxn>
                <a:cxn ang="0">
                  <a:pos x="110" y="154"/>
                </a:cxn>
                <a:cxn ang="0">
                  <a:pos x="91" y="166"/>
                </a:cxn>
                <a:cxn ang="0">
                  <a:pos x="79" y="173"/>
                </a:cxn>
                <a:cxn ang="0">
                  <a:pos x="78" y="181"/>
                </a:cxn>
                <a:cxn ang="0">
                  <a:pos x="79" y="200"/>
                </a:cxn>
                <a:cxn ang="0">
                  <a:pos x="85" y="224"/>
                </a:cxn>
                <a:cxn ang="0">
                  <a:pos x="89" y="224"/>
                </a:cxn>
                <a:cxn ang="0">
                  <a:pos x="89" y="235"/>
                </a:cxn>
                <a:cxn ang="0">
                  <a:pos x="83" y="251"/>
                </a:cxn>
                <a:cxn ang="0">
                  <a:pos x="85" y="264"/>
                </a:cxn>
                <a:cxn ang="0">
                  <a:pos x="40" y="286"/>
                </a:cxn>
                <a:cxn ang="0">
                  <a:pos x="31" y="294"/>
                </a:cxn>
                <a:cxn ang="0">
                  <a:pos x="36" y="303"/>
                </a:cxn>
                <a:cxn ang="0">
                  <a:pos x="34" y="309"/>
                </a:cxn>
                <a:cxn ang="0">
                  <a:pos x="23" y="309"/>
                </a:cxn>
                <a:cxn ang="0">
                  <a:pos x="21" y="298"/>
                </a:cxn>
                <a:cxn ang="0">
                  <a:pos x="21" y="279"/>
                </a:cxn>
                <a:cxn ang="0">
                  <a:pos x="19" y="252"/>
                </a:cxn>
                <a:cxn ang="0">
                  <a:pos x="14" y="228"/>
                </a:cxn>
              </a:cxnLst>
              <a:rect l="0" t="0" r="r" b="b"/>
              <a:pathLst>
                <a:path w="196" h="311">
                  <a:moveTo>
                    <a:pt x="14" y="228"/>
                  </a:moveTo>
                  <a:lnTo>
                    <a:pt x="34" y="207"/>
                  </a:lnTo>
                  <a:lnTo>
                    <a:pt x="34" y="200"/>
                  </a:lnTo>
                  <a:lnTo>
                    <a:pt x="34" y="200"/>
                  </a:lnTo>
                  <a:lnTo>
                    <a:pt x="34" y="194"/>
                  </a:lnTo>
                  <a:lnTo>
                    <a:pt x="36" y="192"/>
                  </a:lnTo>
                  <a:lnTo>
                    <a:pt x="36" y="188"/>
                  </a:lnTo>
                  <a:lnTo>
                    <a:pt x="36" y="186"/>
                  </a:lnTo>
                  <a:lnTo>
                    <a:pt x="40" y="185"/>
                  </a:lnTo>
                  <a:lnTo>
                    <a:pt x="40" y="183"/>
                  </a:lnTo>
                  <a:lnTo>
                    <a:pt x="44" y="181"/>
                  </a:lnTo>
                  <a:lnTo>
                    <a:pt x="46" y="177"/>
                  </a:lnTo>
                  <a:lnTo>
                    <a:pt x="46" y="173"/>
                  </a:lnTo>
                  <a:lnTo>
                    <a:pt x="44" y="173"/>
                  </a:lnTo>
                  <a:lnTo>
                    <a:pt x="44" y="170"/>
                  </a:lnTo>
                  <a:lnTo>
                    <a:pt x="46" y="166"/>
                  </a:lnTo>
                  <a:lnTo>
                    <a:pt x="44" y="164"/>
                  </a:lnTo>
                  <a:lnTo>
                    <a:pt x="42" y="160"/>
                  </a:lnTo>
                  <a:lnTo>
                    <a:pt x="42" y="160"/>
                  </a:lnTo>
                  <a:lnTo>
                    <a:pt x="44" y="158"/>
                  </a:lnTo>
                  <a:lnTo>
                    <a:pt x="44" y="154"/>
                  </a:lnTo>
                  <a:lnTo>
                    <a:pt x="44" y="153"/>
                  </a:lnTo>
                  <a:lnTo>
                    <a:pt x="47" y="149"/>
                  </a:lnTo>
                  <a:lnTo>
                    <a:pt x="47" y="147"/>
                  </a:lnTo>
                  <a:lnTo>
                    <a:pt x="46" y="147"/>
                  </a:lnTo>
                  <a:lnTo>
                    <a:pt x="44" y="145"/>
                  </a:lnTo>
                  <a:lnTo>
                    <a:pt x="46" y="141"/>
                  </a:lnTo>
                  <a:lnTo>
                    <a:pt x="46" y="136"/>
                  </a:lnTo>
                  <a:lnTo>
                    <a:pt x="47" y="134"/>
                  </a:lnTo>
                  <a:lnTo>
                    <a:pt x="47" y="130"/>
                  </a:lnTo>
                  <a:lnTo>
                    <a:pt x="47" y="130"/>
                  </a:lnTo>
                  <a:lnTo>
                    <a:pt x="47" y="128"/>
                  </a:lnTo>
                  <a:lnTo>
                    <a:pt x="47" y="124"/>
                  </a:lnTo>
                  <a:lnTo>
                    <a:pt x="49" y="122"/>
                  </a:lnTo>
                  <a:lnTo>
                    <a:pt x="49" y="119"/>
                  </a:lnTo>
                  <a:lnTo>
                    <a:pt x="44" y="119"/>
                  </a:lnTo>
                  <a:lnTo>
                    <a:pt x="42" y="115"/>
                  </a:lnTo>
                  <a:lnTo>
                    <a:pt x="40" y="113"/>
                  </a:lnTo>
                  <a:lnTo>
                    <a:pt x="34" y="111"/>
                  </a:lnTo>
                  <a:lnTo>
                    <a:pt x="31" y="111"/>
                  </a:lnTo>
                  <a:lnTo>
                    <a:pt x="27" y="109"/>
                  </a:lnTo>
                  <a:lnTo>
                    <a:pt x="21" y="104"/>
                  </a:lnTo>
                  <a:lnTo>
                    <a:pt x="17" y="104"/>
                  </a:lnTo>
                  <a:lnTo>
                    <a:pt x="15" y="104"/>
                  </a:lnTo>
                  <a:lnTo>
                    <a:pt x="14" y="105"/>
                  </a:lnTo>
                  <a:lnTo>
                    <a:pt x="12" y="104"/>
                  </a:lnTo>
                  <a:lnTo>
                    <a:pt x="10" y="104"/>
                  </a:lnTo>
                  <a:lnTo>
                    <a:pt x="4" y="104"/>
                  </a:lnTo>
                  <a:lnTo>
                    <a:pt x="4" y="94"/>
                  </a:lnTo>
                  <a:lnTo>
                    <a:pt x="0" y="89"/>
                  </a:lnTo>
                  <a:lnTo>
                    <a:pt x="4" y="85"/>
                  </a:lnTo>
                  <a:lnTo>
                    <a:pt x="10" y="81"/>
                  </a:lnTo>
                  <a:lnTo>
                    <a:pt x="14" y="81"/>
                  </a:lnTo>
                  <a:lnTo>
                    <a:pt x="34" y="73"/>
                  </a:lnTo>
                  <a:lnTo>
                    <a:pt x="36" y="72"/>
                  </a:lnTo>
                  <a:lnTo>
                    <a:pt x="47" y="70"/>
                  </a:lnTo>
                  <a:lnTo>
                    <a:pt x="53" y="66"/>
                  </a:lnTo>
                  <a:lnTo>
                    <a:pt x="59" y="66"/>
                  </a:lnTo>
                  <a:lnTo>
                    <a:pt x="59" y="66"/>
                  </a:lnTo>
                  <a:lnTo>
                    <a:pt x="61" y="70"/>
                  </a:lnTo>
                  <a:lnTo>
                    <a:pt x="61" y="70"/>
                  </a:lnTo>
                  <a:lnTo>
                    <a:pt x="61" y="73"/>
                  </a:lnTo>
                  <a:lnTo>
                    <a:pt x="64" y="75"/>
                  </a:lnTo>
                  <a:lnTo>
                    <a:pt x="64" y="73"/>
                  </a:lnTo>
                  <a:lnTo>
                    <a:pt x="68" y="73"/>
                  </a:lnTo>
                  <a:lnTo>
                    <a:pt x="70" y="72"/>
                  </a:lnTo>
                  <a:lnTo>
                    <a:pt x="74" y="72"/>
                  </a:lnTo>
                  <a:lnTo>
                    <a:pt x="79" y="73"/>
                  </a:lnTo>
                  <a:lnTo>
                    <a:pt x="81" y="79"/>
                  </a:lnTo>
                  <a:lnTo>
                    <a:pt x="81" y="81"/>
                  </a:lnTo>
                  <a:lnTo>
                    <a:pt x="79" y="87"/>
                  </a:lnTo>
                  <a:lnTo>
                    <a:pt x="76" y="90"/>
                  </a:lnTo>
                  <a:lnTo>
                    <a:pt x="76" y="96"/>
                  </a:lnTo>
                  <a:lnTo>
                    <a:pt x="72" y="98"/>
                  </a:lnTo>
                  <a:lnTo>
                    <a:pt x="74" y="100"/>
                  </a:lnTo>
                  <a:lnTo>
                    <a:pt x="74" y="105"/>
                  </a:lnTo>
                  <a:lnTo>
                    <a:pt x="76" y="109"/>
                  </a:lnTo>
                  <a:lnTo>
                    <a:pt x="78" y="111"/>
                  </a:lnTo>
                  <a:lnTo>
                    <a:pt x="81" y="115"/>
                  </a:lnTo>
                  <a:lnTo>
                    <a:pt x="85" y="117"/>
                  </a:lnTo>
                  <a:lnTo>
                    <a:pt x="85" y="119"/>
                  </a:lnTo>
                  <a:lnTo>
                    <a:pt x="89" y="122"/>
                  </a:lnTo>
                  <a:lnTo>
                    <a:pt x="85" y="124"/>
                  </a:lnTo>
                  <a:lnTo>
                    <a:pt x="89" y="126"/>
                  </a:lnTo>
                  <a:lnTo>
                    <a:pt x="91" y="126"/>
                  </a:lnTo>
                  <a:lnTo>
                    <a:pt x="91" y="122"/>
                  </a:lnTo>
                  <a:lnTo>
                    <a:pt x="91" y="117"/>
                  </a:lnTo>
                  <a:lnTo>
                    <a:pt x="95" y="115"/>
                  </a:lnTo>
                  <a:lnTo>
                    <a:pt x="95" y="111"/>
                  </a:lnTo>
                  <a:lnTo>
                    <a:pt x="95" y="105"/>
                  </a:lnTo>
                  <a:lnTo>
                    <a:pt x="98" y="104"/>
                  </a:lnTo>
                  <a:lnTo>
                    <a:pt x="102" y="104"/>
                  </a:lnTo>
                  <a:lnTo>
                    <a:pt x="102" y="100"/>
                  </a:lnTo>
                  <a:lnTo>
                    <a:pt x="102" y="94"/>
                  </a:lnTo>
                  <a:lnTo>
                    <a:pt x="100" y="90"/>
                  </a:lnTo>
                  <a:lnTo>
                    <a:pt x="102" y="89"/>
                  </a:lnTo>
                  <a:lnTo>
                    <a:pt x="100" y="89"/>
                  </a:lnTo>
                  <a:lnTo>
                    <a:pt x="100" y="87"/>
                  </a:lnTo>
                  <a:lnTo>
                    <a:pt x="104" y="87"/>
                  </a:lnTo>
                  <a:lnTo>
                    <a:pt x="104" y="85"/>
                  </a:lnTo>
                  <a:lnTo>
                    <a:pt x="106" y="83"/>
                  </a:lnTo>
                  <a:lnTo>
                    <a:pt x="106" y="81"/>
                  </a:lnTo>
                  <a:lnTo>
                    <a:pt x="106" y="79"/>
                  </a:lnTo>
                  <a:lnTo>
                    <a:pt x="104" y="73"/>
                  </a:lnTo>
                  <a:lnTo>
                    <a:pt x="98" y="70"/>
                  </a:lnTo>
                  <a:lnTo>
                    <a:pt x="98" y="66"/>
                  </a:lnTo>
                  <a:lnTo>
                    <a:pt x="91" y="60"/>
                  </a:lnTo>
                  <a:lnTo>
                    <a:pt x="89" y="58"/>
                  </a:lnTo>
                  <a:lnTo>
                    <a:pt x="89" y="57"/>
                  </a:lnTo>
                  <a:lnTo>
                    <a:pt x="85" y="55"/>
                  </a:lnTo>
                  <a:lnTo>
                    <a:pt x="79" y="51"/>
                  </a:lnTo>
                  <a:lnTo>
                    <a:pt x="78" y="34"/>
                  </a:lnTo>
                  <a:lnTo>
                    <a:pt x="81" y="17"/>
                  </a:lnTo>
                  <a:lnTo>
                    <a:pt x="98" y="17"/>
                  </a:lnTo>
                  <a:lnTo>
                    <a:pt x="102" y="17"/>
                  </a:lnTo>
                  <a:lnTo>
                    <a:pt x="102" y="15"/>
                  </a:lnTo>
                  <a:lnTo>
                    <a:pt x="106" y="15"/>
                  </a:lnTo>
                  <a:lnTo>
                    <a:pt x="106" y="15"/>
                  </a:lnTo>
                  <a:lnTo>
                    <a:pt x="108" y="17"/>
                  </a:lnTo>
                  <a:lnTo>
                    <a:pt x="111" y="19"/>
                  </a:lnTo>
                  <a:lnTo>
                    <a:pt x="113" y="19"/>
                  </a:lnTo>
                  <a:lnTo>
                    <a:pt x="115" y="21"/>
                  </a:lnTo>
                  <a:lnTo>
                    <a:pt x="115" y="23"/>
                  </a:lnTo>
                  <a:lnTo>
                    <a:pt x="119" y="21"/>
                  </a:lnTo>
                  <a:lnTo>
                    <a:pt x="123" y="17"/>
                  </a:lnTo>
                  <a:lnTo>
                    <a:pt x="125" y="17"/>
                  </a:lnTo>
                  <a:lnTo>
                    <a:pt x="128" y="15"/>
                  </a:lnTo>
                  <a:lnTo>
                    <a:pt x="128" y="17"/>
                  </a:lnTo>
                  <a:lnTo>
                    <a:pt x="128" y="19"/>
                  </a:lnTo>
                  <a:lnTo>
                    <a:pt x="132" y="19"/>
                  </a:lnTo>
                  <a:lnTo>
                    <a:pt x="134" y="21"/>
                  </a:lnTo>
                  <a:lnTo>
                    <a:pt x="138" y="19"/>
                  </a:lnTo>
                  <a:lnTo>
                    <a:pt x="143" y="19"/>
                  </a:lnTo>
                  <a:lnTo>
                    <a:pt x="143" y="15"/>
                  </a:lnTo>
                  <a:lnTo>
                    <a:pt x="143" y="13"/>
                  </a:lnTo>
                  <a:lnTo>
                    <a:pt x="143" y="11"/>
                  </a:lnTo>
                  <a:lnTo>
                    <a:pt x="149" y="13"/>
                  </a:lnTo>
                  <a:lnTo>
                    <a:pt x="153" y="11"/>
                  </a:lnTo>
                  <a:lnTo>
                    <a:pt x="153" y="13"/>
                  </a:lnTo>
                  <a:lnTo>
                    <a:pt x="157" y="13"/>
                  </a:lnTo>
                  <a:lnTo>
                    <a:pt x="159" y="11"/>
                  </a:lnTo>
                  <a:lnTo>
                    <a:pt x="166" y="9"/>
                  </a:lnTo>
                  <a:lnTo>
                    <a:pt x="168" y="11"/>
                  </a:lnTo>
                  <a:lnTo>
                    <a:pt x="172" y="9"/>
                  </a:lnTo>
                  <a:lnTo>
                    <a:pt x="174" y="9"/>
                  </a:lnTo>
                  <a:lnTo>
                    <a:pt x="177" y="9"/>
                  </a:lnTo>
                  <a:lnTo>
                    <a:pt x="179" y="6"/>
                  </a:lnTo>
                  <a:lnTo>
                    <a:pt x="183" y="6"/>
                  </a:lnTo>
                  <a:lnTo>
                    <a:pt x="185" y="4"/>
                  </a:lnTo>
                  <a:lnTo>
                    <a:pt x="189" y="0"/>
                  </a:lnTo>
                  <a:lnTo>
                    <a:pt x="191" y="0"/>
                  </a:lnTo>
                  <a:lnTo>
                    <a:pt x="192" y="0"/>
                  </a:lnTo>
                  <a:lnTo>
                    <a:pt x="194" y="0"/>
                  </a:lnTo>
                  <a:lnTo>
                    <a:pt x="196" y="0"/>
                  </a:lnTo>
                  <a:lnTo>
                    <a:pt x="194" y="4"/>
                  </a:lnTo>
                  <a:lnTo>
                    <a:pt x="194" y="6"/>
                  </a:lnTo>
                  <a:lnTo>
                    <a:pt x="194" y="6"/>
                  </a:lnTo>
                  <a:lnTo>
                    <a:pt x="191" y="11"/>
                  </a:lnTo>
                  <a:lnTo>
                    <a:pt x="191" y="13"/>
                  </a:lnTo>
                  <a:lnTo>
                    <a:pt x="191" y="15"/>
                  </a:lnTo>
                  <a:lnTo>
                    <a:pt x="191" y="17"/>
                  </a:lnTo>
                  <a:lnTo>
                    <a:pt x="191" y="19"/>
                  </a:lnTo>
                  <a:lnTo>
                    <a:pt x="191" y="24"/>
                  </a:lnTo>
                  <a:lnTo>
                    <a:pt x="192" y="30"/>
                  </a:lnTo>
                  <a:lnTo>
                    <a:pt x="192" y="30"/>
                  </a:lnTo>
                  <a:lnTo>
                    <a:pt x="192" y="36"/>
                  </a:lnTo>
                  <a:lnTo>
                    <a:pt x="192" y="36"/>
                  </a:lnTo>
                  <a:lnTo>
                    <a:pt x="192" y="40"/>
                  </a:lnTo>
                  <a:lnTo>
                    <a:pt x="191" y="41"/>
                  </a:lnTo>
                  <a:lnTo>
                    <a:pt x="191" y="47"/>
                  </a:lnTo>
                  <a:lnTo>
                    <a:pt x="191" y="57"/>
                  </a:lnTo>
                  <a:lnTo>
                    <a:pt x="189" y="57"/>
                  </a:lnTo>
                  <a:lnTo>
                    <a:pt x="191" y="58"/>
                  </a:lnTo>
                  <a:lnTo>
                    <a:pt x="191" y="66"/>
                  </a:lnTo>
                  <a:lnTo>
                    <a:pt x="187" y="66"/>
                  </a:lnTo>
                  <a:lnTo>
                    <a:pt x="187" y="70"/>
                  </a:lnTo>
                  <a:lnTo>
                    <a:pt x="189" y="70"/>
                  </a:lnTo>
                  <a:lnTo>
                    <a:pt x="192" y="70"/>
                  </a:lnTo>
                  <a:lnTo>
                    <a:pt x="192" y="70"/>
                  </a:lnTo>
                  <a:lnTo>
                    <a:pt x="194" y="79"/>
                  </a:lnTo>
                  <a:lnTo>
                    <a:pt x="192" y="79"/>
                  </a:lnTo>
                  <a:lnTo>
                    <a:pt x="191" y="81"/>
                  </a:lnTo>
                  <a:lnTo>
                    <a:pt x="191" y="83"/>
                  </a:lnTo>
                  <a:lnTo>
                    <a:pt x="191" y="85"/>
                  </a:lnTo>
                  <a:lnTo>
                    <a:pt x="189" y="85"/>
                  </a:lnTo>
                  <a:lnTo>
                    <a:pt x="185" y="89"/>
                  </a:lnTo>
                  <a:lnTo>
                    <a:pt x="187" y="89"/>
                  </a:lnTo>
                  <a:lnTo>
                    <a:pt x="187" y="89"/>
                  </a:lnTo>
                  <a:lnTo>
                    <a:pt x="191" y="89"/>
                  </a:lnTo>
                  <a:lnTo>
                    <a:pt x="189" y="90"/>
                  </a:lnTo>
                  <a:lnTo>
                    <a:pt x="187" y="94"/>
                  </a:lnTo>
                  <a:lnTo>
                    <a:pt x="185" y="96"/>
                  </a:lnTo>
                  <a:lnTo>
                    <a:pt x="183" y="100"/>
                  </a:lnTo>
                  <a:lnTo>
                    <a:pt x="183" y="104"/>
                  </a:lnTo>
                  <a:lnTo>
                    <a:pt x="177" y="109"/>
                  </a:lnTo>
                  <a:lnTo>
                    <a:pt x="174" y="109"/>
                  </a:lnTo>
                  <a:lnTo>
                    <a:pt x="174" y="111"/>
                  </a:lnTo>
                  <a:lnTo>
                    <a:pt x="162" y="119"/>
                  </a:lnTo>
                  <a:lnTo>
                    <a:pt x="160" y="119"/>
                  </a:lnTo>
                  <a:lnTo>
                    <a:pt x="159" y="121"/>
                  </a:lnTo>
                  <a:lnTo>
                    <a:pt x="149" y="128"/>
                  </a:lnTo>
                  <a:lnTo>
                    <a:pt x="143" y="126"/>
                  </a:lnTo>
                  <a:lnTo>
                    <a:pt x="143" y="128"/>
                  </a:lnTo>
                  <a:lnTo>
                    <a:pt x="138" y="130"/>
                  </a:lnTo>
                  <a:lnTo>
                    <a:pt x="130" y="134"/>
                  </a:lnTo>
                  <a:lnTo>
                    <a:pt x="128" y="134"/>
                  </a:lnTo>
                  <a:lnTo>
                    <a:pt x="128" y="136"/>
                  </a:lnTo>
                  <a:lnTo>
                    <a:pt x="123" y="141"/>
                  </a:lnTo>
                  <a:lnTo>
                    <a:pt x="123" y="141"/>
                  </a:lnTo>
                  <a:lnTo>
                    <a:pt x="119" y="139"/>
                  </a:lnTo>
                  <a:lnTo>
                    <a:pt x="119" y="145"/>
                  </a:lnTo>
                  <a:lnTo>
                    <a:pt x="119" y="145"/>
                  </a:lnTo>
                  <a:lnTo>
                    <a:pt x="117" y="147"/>
                  </a:lnTo>
                  <a:lnTo>
                    <a:pt x="110" y="153"/>
                  </a:lnTo>
                  <a:lnTo>
                    <a:pt x="110" y="154"/>
                  </a:lnTo>
                  <a:lnTo>
                    <a:pt x="108" y="156"/>
                  </a:lnTo>
                  <a:lnTo>
                    <a:pt x="106" y="156"/>
                  </a:lnTo>
                  <a:lnTo>
                    <a:pt x="106" y="160"/>
                  </a:lnTo>
                  <a:lnTo>
                    <a:pt x="100" y="160"/>
                  </a:lnTo>
                  <a:lnTo>
                    <a:pt x="91" y="166"/>
                  </a:lnTo>
                  <a:lnTo>
                    <a:pt x="91" y="170"/>
                  </a:lnTo>
                  <a:lnTo>
                    <a:pt x="89" y="173"/>
                  </a:lnTo>
                  <a:lnTo>
                    <a:pt x="85" y="173"/>
                  </a:lnTo>
                  <a:lnTo>
                    <a:pt x="83" y="175"/>
                  </a:lnTo>
                  <a:lnTo>
                    <a:pt x="79" y="173"/>
                  </a:lnTo>
                  <a:lnTo>
                    <a:pt x="78" y="173"/>
                  </a:lnTo>
                  <a:lnTo>
                    <a:pt x="78" y="173"/>
                  </a:lnTo>
                  <a:lnTo>
                    <a:pt x="79" y="177"/>
                  </a:lnTo>
                  <a:lnTo>
                    <a:pt x="79" y="179"/>
                  </a:lnTo>
                  <a:lnTo>
                    <a:pt x="78" y="181"/>
                  </a:lnTo>
                  <a:lnTo>
                    <a:pt x="78" y="185"/>
                  </a:lnTo>
                  <a:lnTo>
                    <a:pt x="76" y="186"/>
                  </a:lnTo>
                  <a:lnTo>
                    <a:pt x="81" y="194"/>
                  </a:lnTo>
                  <a:lnTo>
                    <a:pt x="81" y="198"/>
                  </a:lnTo>
                  <a:lnTo>
                    <a:pt x="79" y="200"/>
                  </a:lnTo>
                  <a:lnTo>
                    <a:pt x="81" y="200"/>
                  </a:lnTo>
                  <a:lnTo>
                    <a:pt x="83" y="203"/>
                  </a:lnTo>
                  <a:lnTo>
                    <a:pt x="83" y="207"/>
                  </a:lnTo>
                  <a:lnTo>
                    <a:pt x="85" y="211"/>
                  </a:lnTo>
                  <a:lnTo>
                    <a:pt x="85" y="224"/>
                  </a:lnTo>
                  <a:lnTo>
                    <a:pt x="85" y="228"/>
                  </a:lnTo>
                  <a:lnTo>
                    <a:pt x="85" y="228"/>
                  </a:lnTo>
                  <a:lnTo>
                    <a:pt x="85" y="224"/>
                  </a:lnTo>
                  <a:lnTo>
                    <a:pt x="89" y="219"/>
                  </a:lnTo>
                  <a:lnTo>
                    <a:pt x="89" y="224"/>
                  </a:lnTo>
                  <a:lnTo>
                    <a:pt x="89" y="224"/>
                  </a:lnTo>
                  <a:lnTo>
                    <a:pt x="89" y="228"/>
                  </a:lnTo>
                  <a:lnTo>
                    <a:pt x="89" y="230"/>
                  </a:lnTo>
                  <a:lnTo>
                    <a:pt x="89" y="234"/>
                  </a:lnTo>
                  <a:lnTo>
                    <a:pt x="89" y="235"/>
                  </a:lnTo>
                  <a:lnTo>
                    <a:pt x="85" y="243"/>
                  </a:lnTo>
                  <a:lnTo>
                    <a:pt x="85" y="245"/>
                  </a:lnTo>
                  <a:lnTo>
                    <a:pt x="85" y="247"/>
                  </a:lnTo>
                  <a:lnTo>
                    <a:pt x="85" y="251"/>
                  </a:lnTo>
                  <a:lnTo>
                    <a:pt x="83" y="251"/>
                  </a:lnTo>
                  <a:lnTo>
                    <a:pt x="85" y="254"/>
                  </a:lnTo>
                  <a:lnTo>
                    <a:pt x="85" y="252"/>
                  </a:lnTo>
                  <a:lnTo>
                    <a:pt x="89" y="254"/>
                  </a:lnTo>
                  <a:lnTo>
                    <a:pt x="85" y="258"/>
                  </a:lnTo>
                  <a:lnTo>
                    <a:pt x="85" y="264"/>
                  </a:lnTo>
                  <a:lnTo>
                    <a:pt x="78" y="269"/>
                  </a:lnTo>
                  <a:lnTo>
                    <a:pt x="64" y="275"/>
                  </a:lnTo>
                  <a:lnTo>
                    <a:pt x="49" y="279"/>
                  </a:lnTo>
                  <a:lnTo>
                    <a:pt x="42" y="284"/>
                  </a:lnTo>
                  <a:lnTo>
                    <a:pt x="40" y="286"/>
                  </a:lnTo>
                  <a:lnTo>
                    <a:pt x="36" y="288"/>
                  </a:lnTo>
                  <a:lnTo>
                    <a:pt x="34" y="290"/>
                  </a:lnTo>
                  <a:lnTo>
                    <a:pt x="34" y="294"/>
                  </a:lnTo>
                  <a:lnTo>
                    <a:pt x="31" y="294"/>
                  </a:lnTo>
                  <a:lnTo>
                    <a:pt x="31" y="294"/>
                  </a:lnTo>
                  <a:lnTo>
                    <a:pt x="31" y="298"/>
                  </a:lnTo>
                  <a:lnTo>
                    <a:pt x="31" y="300"/>
                  </a:lnTo>
                  <a:lnTo>
                    <a:pt x="31" y="303"/>
                  </a:lnTo>
                  <a:lnTo>
                    <a:pt x="34" y="303"/>
                  </a:lnTo>
                  <a:lnTo>
                    <a:pt x="36" y="303"/>
                  </a:lnTo>
                  <a:lnTo>
                    <a:pt x="36" y="298"/>
                  </a:lnTo>
                  <a:lnTo>
                    <a:pt x="40" y="298"/>
                  </a:lnTo>
                  <a:lnTo>
                    <a:pt x="40" y="300"/>
                  </a:lnTo>
                  <a:lnTo>
                    <a:pt x="36" y="305"/>
                  </a:lnTo>
                  <a:lnTo>
                    <a:pt x="34" y="309"/>
                  </a:lnTo>
                  <a:lnTo>
                    <a:pt x="34" y="311"/>
                  </a:lnTo>
                  <a:lnTo>
                    <a:pt x="31" y="311"/>
                  </a:lnTo>
                  <a:lnTo>
                    <a:pt x="27" y="311"/>
                  </a:lnTo>
                  <a:lnTo>
                    <a:pt x="25" y="311"/>
                  </a:lnTo>
                  <a:lnTo>
                    <a:pt x="23" y="309"/>
                  </a:lnTo>
                  <a:lnTo>
                    <a:pt x="25" y="305"/>
                  </a:lnTo>
                  <a:lnTo>
                    <a:pt x="25" y="303"/>
                  </a:lnTo>
                  <a:lnTo>
                    <a:pt x="25" y="303"/>
                  </a:lnTo>
                  <a:lnTo>
                    <a:pt x="23" y="300"/>
                  </a:lnTo>
                  <a:lnTo>
                    <a:pt x="21" y="298"/>
                  </a:lnTo>
                  <a:lnTo>
                    <a:pt x="19" y="298"/>
                  </a:lnTo>
                  <a:lnTo>
                    <a:pt x="19" y="298"/>
                  </a:lnTo>
                  <a:lnTo>
                    <a:pt x="19" y="290"/>
                  </a:lnTo>
                  <a:lnTo>
                    <a:pt x="19" y="284"/>
                  </a:lnTo>
                  <a:lnTo>
                    <a:pt x="21" y="279"/>
                  </a:lnTo>
                  <a:lnTo>
                    <a:pt x="21" y="264"/>
                  </a:lnTo>
                  <a:lnTo>
                    <a:pt x="19" y="260"/>
                  </a:lnTo>
                  <a:lnTo>
                    <a:pt x="19" y="256"/>
                  </a:lnTo>
                  <a:lnTo>
                    <a:pt x="19" y="252"/>
                  </a:lnTo>
                  <a:lnTo>
                    <a:pt x="19" y="252"/>
                  </a:lnTo>
                  <a:lnTo>
                    <a:pt x="19" y="243"/>
                  </a:lnTo>
                  <a:lnTo>
                    <a:pt x="17" y="237"/>
                  </a:lnTo>
                  <a:lnTo>
                    <a:pt x="15" y="234"/>
                  </a:lnTo>
                  <a:lnTo>
                    <a:pt x="14" y="230"/>
                  </a:lnTo>
                  <a:lnTo>
                    <a:pt x="14" y="228"/>
                  </a:lnTo>
                  <a:lnTo>
                    <a:pt x="14" y="228"/>
                  </a:lnTo>
                  <a:lnTo>
                    <a:pt x="14" y="228"/>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9" name="Freeform 152">
              <a:extLst>
                <a:ext uri="{FF2B5EF4-FFF2-40B4-BE49-F238E27FC236}">
                  <a16:creationId xmlns:a16="http://schemas.microsoft.com/office/drawing/2014/main" id="{0031C438-8EEE-4025-9537-169E960C50E4}"/>
                </a:ext>
              </a:extLst>
            </p:cNvPr>
            <p:cNvSpPr>
              <a:spLocks/>
            </p:cNvSpPr>
            <p:nvPr/>
          </p:nvSpPr>
          <p:spPr bwMode="auto">
            <a:xfrm>
              <a:off x="3332" y="3589"/>
              <a:ext cx="27" cy="26"/>
            </a:xfrm>
            <a:custGeom>
              <a:avLst/>
              <a:gdLst/>
              <a:ahLst/>
              <a:cxnLst>
                <a:cxn ang="0">
                  <a:pos x="23" y="8"/>
                </a:cxn>
                <a:cxn ang="0">
                  <a:pos x="23" y="8"/>
                </a:cxn>
                <a:cxn ang="0">
                  <a:pos x="23" y="8"/>
                </a:cxn>
                <a:cxn ang="0">
                  <a:pos x="25" y="10"/>
                </a:cxn>
                <a:cxn ang="0">
                  <a:pos x="27" y="11"/>
                </a:cxn>
                <a:cxn ang="0">
                  <a:pos x="27" y="13"/>
                </a:cxn>
                <a:cxn ang="0">
                  <a:pos x="27" y="15"/>
                </a:cxn>
                <a:cxn ang="0">
                  <a:pos x="25" y="17"/>
                </a:cxn>
                <a:cxn ang="0">
                  <a:pos x="27" y="21"/>
                </a:cxn>
                <a:cxn ang="0">
                  <a:pos x="25" y="21"/>
                </a:cxn>
                <a:cxn ang="0">
                  <a:pos x="23" y="21"/>
                </a:cxn>
                <a:cxn ang="0">
                  <a:pos x="23" y="23"/>
                </a:cxn>
                <a:cxn ang="0">
                  <a:pos x="23" y="26"/>
                </a:cxn>
                <a:cxn ang="0">
                  <a:pos x="19" y="26"/>
                </a:cxn>
                <a:cxn ang="0">
                  <a:pos x="14" y="26"/>
                </a:cxn>
                <a:cxn ang="0">
                  <a:pos x="8" y="25"/>
                </a:cxn>
                <a:cxn ang="0">
                  <a:pos x="4" y="21"/>
                </a:cxn>
                <a:cxn ang="0">
                  <a:pos x="4" y="17"/>
                </a:cxn>
                <a:cxn ang="0">
                  <a:pos x="0" y="17"/>
                </a:cxn>
                <a:cxn ang="0">
                  <a:pos x="4" y="13"/>
                </a:cxn>
                <a:cxn ang="0">
                  <a:pos x="8" y="6"/>
                </a:cxn>
                <a:cxn ang="0">
                  <a:pos x="8" y="2"/>
                </a:cxn>
                <a:cxn ang="0">
                  <a:pos x="12" y="0"/>
                </a:cxn>
                <a:cxn ang="0">
                  <a:pos x="17" y="4"/>
                </a:cxn>
                <a:cxn ang="0">
                  <a:pos x="19" y="6"/>
                </a:cxn>
                <a:cxn ang="0">
                  <a:pos x="23" y="8"/>
                </a:cxn>
                <a:cxn ang="0">
                  <a:pos x="23" y="8"/>
                </a:cxn>
                <a:cxn ang="0">
                  <a:pos x="23" y="8"/>
                </a:cxn>
                <a:cxn ang="0">
                  <a:pos x="23" y="8"/>
                </a:cxn>
              </a:cxnLst>
              <a:rect l="0" t="0" r="r" b="b"/>
              <a:pathLst>
                <a:path w="27" h="26">
                  <a:moveTo>
                    <a:pt x="23" y="8"/>
                  </a:moveTo>
                  <a:lnTo>
                    <a:pt x="23" y="8"/>
                  </a:lnTo>
                  <a:lnTo>
                    <a:pt x="23" y="8"/>
                  </a:lnTo>
                  <a:lnTo>
                    <a:pt x="25" y="10"/>
                  </a:lnTo>
                  <a:lnTo>
                    <a:pt x="27" y="11"/>
                  </a:lnTo>
                  <a:lnTo>
                    <a:pt x="27" y="13"/>
                  </a:lnTo>
                  <a:lnTo>
                    <a:pt x="27" y="15"/>
                  </a:lnTo>
                  <a:lnTo>
                    <a:pt x="25" y="17"/>
                  </a:lnTo>
                  <a:lnTo>
                    <a:pt x="27" y="21"/>
                  </a:lnTo>
                  <a:lnTo>
                    <a:pt x="25" y="21"/>
                  </a:lnTo>
                  <a:lnTo>
                    <a:pt x="23" y="21"/>
                  </a:lnTo>
                  <a:lnTo>
                    <a:pt x="23" y="23"/>
                  </a:lnTo>
                  <a:lnTo>
                    <a:pt x="23" y="26"/>
                  </a:lnTo>
                  <a:lnTo>
                    <a:pt x="19" y="26"/>
                  </a:lnTo>
                  <a:lnTo>
                    <a:pt x="14" y="26"/>
                  </a:lnTo>
                  <a:lnTo>
                    <a:pt x="8" y="25"/>
                  </a:lnTo>
                  <a:lnTo>
                    <a:pt x="4" y="21"/>
                  </a:lnTo>
                  <a:lnTo>
                    <a:pt x="4" y="17"/>
                  </a:lnTo>
                  <a:lnTo>
                    <a:pt x="0" y="17"/>
                  </a:lnTo>
                  <a:lnTo>
                    <a:pt x="4" y="13"/>
                  </a:lnTo>
                  <a:lnTo>
                    <a:pt x="8" y="6"/>
                  </a:lnTo>
                  <a:lnTo>
                    <a:pt x="8" y="2"/>
                  </a:lnTo>
                  <a:lnTo>
                    <a:pt x="12" y="0"/>
                  </a:lnTo>
                  <a:lnTo>
                    <a:pt x="17" y="4"/>
                  </a:lnTo>
                  <a:lnTo>
                    <a:pt x="19" y="6"/>
                  </a:lnTo>
                  <a:lnTo>
                    <a:pt x="23" y="8"/>
                  </a:lnTo>
                  <a:lnTo>
                    <a:pt x="23" y="8"/>
                  </a:lnTo>
                  <a:lnTo>
                    <a:pt x="23" y="8"/>
                  </a:lnTo>
                  <a:lnTo>
                    <a:pt x="23"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0" name="Freeform 153">
              <a:extLst>
                <a:ext uri="{FF2B5EF4-FFF2-40B4-BE49-F238E27FC236}">
                  <a16:creationId xmlns:a16="http://schemas.microsoft.com/office/drawing/2014/main" id="{95257DB8-32B8-4C91-B4B8-A353743E6820}"/>
                </a:ext>
              </a:extLst>
            </p:cNvPr>
            <p:cNvSpPr>
              <a:spLocks/>
            </p:cNvSpPr>
            <p:nvPr/>
          </p:nvSpPr>
          <p:spPr bwMode="auto">
            <a:xfrm>
              <a:off x="3259" y="3647"/>
              <a:ext cx="47" cy="44"/>
            </a:xfrm>
            <a:custGeom>
              <a:avLst/>
              <a:gdLst/>
              <a:ahLst/>
              <a:cxnLst>
                <a:cxn ang="0">
                  <a:pos x="6" y="34"/>
                </a:cxn>
                <a:cxn ang="0">
                  <a:pos x="6" y="33"/>
                </a:cxn>
                <a:cxn ang="0">
                  <a:pos x="6" y="29"/>
                </a:cxn>
                <a:cxn ang="0">
                  <a:pos x="6" y="25"/>
                </a:cxn>
                <a:cxn ang="0">
                  <a:pos x="0" y="25"/>
                </a:cxn>
                <a:cxn ang="0">
                  <a:pos x="0" y="21"/>
                </a:cxn>
                <a:cxn ang="0">
                  <a:pos x="2" y="19"/>
                </a:cxn>
                <a:cxn ang="0">
                  <a:pos x="9" y="16"/>
                </a:cxn>
                <a:cxn ang="0">
                  <a:pos x="11" y="10"/>
                </a:cxn>
                <a:cxn ang="0">
                  <a:pos x="15" y="8"/>
                </a:cxn>
                <a:cxn ang="0">
                  <a:pos x="23" y="4"/>
                </a:cxn>
                <a:cxn ang="0">
                  <a:pos x="23" y="2"/>
                </a:cxn>
                <a:cxn ang="0">
                  <a:pos x="26" y="2"/>
                </a:cxn>
                <a:cxn ang="0">
                  <a:pos x="26" y="0"/>
                </a:cxn>
                <a:cxn ang="0">
                  <a:pos x="30" y="0"/>
                </a:cxn>
                <a:cxn ang="0">
                  <a:pos x="32" y="2"/>
                </a:cxn>
                <a:cxn ang="0">
                  <a:pos x="34" y="0"/>
                </a:cxn>
                <a:cxn ang="0">
                  <a:pos x="36" y="2"/>
                </a:cxn>
                <a:cxn ang="0">
                  <a:pos x="40" y="2"/>
                </a:cxn>
                <a:cxn ang="0">
                  <a:pos x="43" y="4"/>
                </a:cxn>
                <a:cxn ang="0">
                  <a:pos x="47" y="12"/>
                </a:cxn>
                <a:cxn ang="0">
                  <a:pos x="47" y="17"/>
                </a:cxn>
                <a:cxn ang="0">
                  <a:pos x="43" y="21"/>
                </a:cxn>
                <a:cxn ang="0">
                  <a:pos x="40" y="23"/>
                </a:cxn>
                <a:cxn ang="0">
                  <a:pos x="40" y="25"/>
                </a:cxn>
                <a:cxn ang="0">
                  <a:pos x="41" y="25"/>
                </a:cxn>
                <a:cxn ang="0">
                  <a:pos x="41" y="29"/>
                </a:cxn>
                <a:cxn ang="0">
                  <a:pos x="38" y="33"/>
                </a:cxn>
                <a:cxn ang="0">
                  <a:pos x="34" y="31"/>
                </a:cxn>
                <a:cxn ang="0">
                  <a:pos x="32" y="33"/>
                </a:cxn>
                <a:cxn ang="0">
                  <a:pos x="28" y="33"/>
                </a:cxn>
                <a:cxn ang="0">
                  <a:pos x="23" y="34"/>
                </a:cxn>
                <a:cxn ang="0">
                  <a:pos x="23" y="38"/>
                </a:cxn>
                <a:cxn ang="0">
                  <a:pos x="23" y="38"/>
                </a:cxn>
                <a:cxn ang="0">
                  <a:pos x="21" y="40"/>
                </a:cxn>
                <a:cxn ang="0">
                  <a:pos x="17" y="44"/>
                </a:cxn>
                <a:cxn ang="0">
                  <a:pos x="11" y="40"/>
                </a:cxn>
                <a:cxn ang="0">
                  <a:pos x="11" y="38"/>
                </a:cxn>
                <a:cxn ang="0">
                  <a:pos x="6" y="34"/>
                </a:cxn>
                <a:cxn ang="0">
                  <a:pos x="6" y="34"/>
                </a:cxn>
                <a:cxn ang="0">
                  <a:pos x="6" y="34"/>
                </a:cxn>
              </a:cxnLst>
              <a:rect l="0" t="0" r="r" b="b"/>
              <a:pathLst>
                <a:path w="47" h="44">
                  <a:moveTo>
                    <a:pt x="6" y="34"/>
                  </a:moveTo>
                  <a:lnTo>
                    <a:pt x="6" y="33"/>
                  </a:lnTo>
                  <a:lnTo>
                    <a:pt x="6" y="29"/>
                  </a:lnTo>
                  <a:lnTo>
                    <a:pt x="6" y="25"/>
                  </a:lnTo>
                  <a:lnTo>
                    <a:pt x="0" y="25"/>
                  </a:lnTo>
                  <a:lnTo>
                    <a:pt x="0" y="21"/>
                  </a:lnTo>
                  <a:lnTo>
                    <a:pt x="2" y="19"/>
                  </a:lnTo>
                  <a:lnTo>
                    <a:pt x="9" y="16"/>
                  </a:lnTo>
                  <a:lnTo>
                    <a:pt x="11" y="10"/>
                  </a:lnTo>
                  <a:lnTo>
                    <a:pt x="15" y="8"/>
                  </a:lnTo>
                  <a:lnTo>
                    <a:pt x="23" y="4"/>
                  </a:lnTo>
                  <a:lnTo>
                    <a:pt x="23" y="2"/>
                  </a:lnTo>
                  <a:lnTo>
                    <a:pt x="26" y="2"/>
                  </a:lnTo>
                  <a:lnTo>
                    <a:pt x="26" y="0"/>
                  </a:lnTo>
                  <a:lnTo>
                    <a:pt x="30" y="0"/>
                  </a:lnTo>
                  <a:lnTo>
                    <a:pt x="32" y="2"/>
                  </a:lnTo>
                  <a:lnTo>
                    <a:pt x="34" y="0"/>
                  </a:lnTo>
                  <a:lnTo>
                    <a:pt x="36" y="2"/>
                  </a:lnTo>
                  <a:lnTo>
                    <a:pt x="40" y="2"/>
                  </a:lnTo>
                  <a:lnTo>
                    <a:pt x="43" y="4"/>
                  </a:lnTo>
                  <a:lnTo>
                    <a:pt x="47" y="12"/>
                  </a:lnTo>
                  <a:lnTo>
                    <a:pt x="47" y="17"/>
                  </a:lnTo>
                  <a:lnTo>
                    <a:pt x="43" y="21"/>
                  </a:lnTo>
                  <a:lnTo>
                    <a:pt x="40" y="23"/>
                  </a:lnTo>
                  <a:lnTo>
                    <a:pt x="40" y="25"/>
                  </a:lnTo>
                  <a:lnTo>
                    <a:pt x="41" y="25"/>
                  </a:lnTo>
                  <a:lnTo>
                    <a:pt x="41" y="29"/>
                  </a:lnTo>
                  <a:lnTo>
                    <a:pt x="38" y="33"/>
                  </a:lnTo>
                  <a:lnTo>
                    <a:pt x="34" y="31"/>
                  </a:lnTo>
                  <a:lnTo>
                    <a:pt x="32" y="33"/>
                  </a:lnTo>
                  <a:lnTo>
                    <a:pt x="28" y="33"/>
                  </a:lnTo>
                  <a:lnTo>
                    <a:pt x="23" y="34"/>
                  </a:lnTo>
                  <a:lnTo>
                    <a:pt x="23" y="38"/>
                  </a:lnTo>
                  <a:lnTo>
                    <a:pt x="23" y="38"/>
                  </a:lnTo>
                  <a:lnTo>
                    <a:pt x="21" y="40"/>
                  </a:lnTo>
                  <a:lnTo>
                    <a:pt x="17" y="44"/>
                  </a:lnTo>
                  <a:lnTo>
                    <a:pt x="11" y="40"/>
                  </a:lnTo>
                  <a:lnTo>
                    <a:pt x="11" y="38"/>
                  </a:lnTo>
                  <a:lnTo>
                    <a:pt x="6" y="34"/>
                  </a:lnTo>
                  <a:lnTo>
                    <a:pt x="6" y="34"/>
                  </a:lnTo>
                  <a:lnTo>
                    <a:pt x="6" y="3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1" name="Freeform 154">
              <a:extLst>
                <a:ext uri="{FF2B5EF4-FFF2-40B4-BE49-F238E27FC236}">
                  <a16:creationId xmlns:a16="http://schemas.microsoft.com/office/drawing/2014/main" id="{C1EB8EDF-7613-483E-94CD-02E978F849F5}"/>
                </a:ext>
              </a:extLst>
            </p:cNvPr>
            <p:cNvSpPr>
              <a:spLocks noEditPoints="1"/>
            </p:cNvSpPr>
            <p:nvPr/>
          </p:nvSpPr>
          <p:spPr bwMode="auto">
            <a:xfrm>
              <a:off x="2896" y="1020"/>
              <a:ext cx="195" cy="211"/>
            </a:xfrm>
            <a:custGeom>
              <a:avLst/>
              <a:gdLst/>
              <a:ahLst/>
              <a:cxnLst>
                <a:cxn ang="0">
                  <a:pos x="88" y="21"/>
                </a:cxn>
                <a:cxn ang="0">
                  <a:pos x="131" y="43"/>
                </a:cxn>
                <a:cxn ang="0">
                  <a:pos x="122" y="54"/>
                </a:cxn>
                <a:cxn ang="0">
                  <a:pos x="120" y="60"/>
                </a:cxn>
                <a:cxn ang="0">
                  <a:pos x="150" y="75"/>
                </a:cxn>
                <a:cxn ang="0">
                  <a:pos x="180" y="62"/>
                </a:cxn>
                <a:cxn ang="0">
                  <a:pos x="192" y="24"/>
                </a:cxn>
                <a:cxn ang="0">
                  <a:pos x="162" y="11"/>
                </a:cxn>
                <a:cxn ang="0">
                  <a:pos x="152" y="9"/>
                </a:cxn>
                <a:cxn ang="0">
                  <a:pos x="143" y="11"/>
                </a:cxn>
                <a:cxn ang="0">
                  <a:pos x="131" y="7"/>
                </a:cxn>
                <a:cxn ang="0">
                  <a:pos x="128" y="17"/>
                </a:cxn>
                <a:cxn ang="0">
                  <a:pos x="107" y="9"/>
                </a:cxn>
                <a:cxn ang="0">
                  <a:pos x="101" y="21"/>
                </a:cxn>
                <a:cxn ang="0">
                  <a:pos x="86" y="22"/>
                </a:cxn>
                <a:cxn ang="0">
                  <a:pos x="90" y="43"/>
                </a:cxn>
                <a:cxn ang="0">
                  <a:pos x="143" y="124"/>
                </a:cxn>
                <a:cxn ang="0">
                  <a:pos x="167" y="137"/>
                </a:cxn>
                <a:cxn ang="0">
                  <a:pos x="162" y="167"/>
                </a:cxn>
                <a:cxn ang="0">
                  <a:pos x="150" y="158"/>
                </a:cxn>
                <a:cxn ang="0">
                  <a:pos x="141" y="147"/>
                </a:cxn>
                <a:cxn ang="0">
                  <a:pos x="116" y="83"/>
                </a:cxn>
                <a:cxn ang="0">
                  <a:pos x="124" y="113"/>
                </a:cxn>
                <a:cxn ang="0">
                  <a:pos x="145" y="117"/>
                </a:cxn>
                <a:cxn ang="0">
                  <a:pos x="131" y="102"/>
                </a:cxn>
                <a:cxn ang="0">
                  <a:pos x="15" y="122"/>
                </a:cxn>
                <a:cxn ang="0">
                  <a:pos x="9" y="103"/>
                </a:cxn>
                <a:cxn ang="0">
                  <a:pos x="19" y="128"/>
                </a:cxn>
                <a:cxn ang="0">
                  <a:pos x="79" y="201"/>
                </a:cxn>
                <a:cxn ang="0">
                  <a:pos x="71" y="188"/>
                </a:cxn>
                <a:cxn ang="0">
                  <a:pos x="52" y="173"/>
                </a:cxn>
                <a:cxn ang="0">
                  <a:pos x="54" y="160"/>
                </a:cxn>
                <a:cxn ang="0">
                  <a:pos x="56" y="152"/>
                </a:cxn>
                <a:cxn ang="0">
                  <a:pos x="83" y="141"/>
                </a:cxn>
                <a:cxn ang="0">
                  <a:pos x="54" y="147"/>
                </a:cxn>
                <a:cxn ang="0">
                  <a:pos x="49" y="135"/>
                </a:cxn>
                <a:cxn ang="0">
                  <a:pos x="73" y="118"/>
                </a:cxn>
                <a:cxn ang="0">
                  <a:pos x="73" y="100"/>
                </a:cxn>
                <a:cxn ang="0">
                  <a:pos x="60" y="102"/>
                </a:cxn>
                <a:cxn ang="0">
                  <a:pos x="49" y="102"/>
                </a:cxn>
                <a:cxn ang="0">
                  <a:pos x="37" y="130"/>
                </a:cxn>
                <a:cxn ang="0">
                  <a:pos x="28" y="109"/>
                </a:cxn>
                <a:cxn ang="0">
                  <a:pos x="9" y="92"/>
                </a:cxn>
                <a:cxn ang="0">
                  <a:pos x="15" y="88"/>
                </a:cxn>
                <a:cxn ang="0">
                  <a:pos x="7" y="83"/>
                </a:cxn>
                <a:cxn ang="0">
                  <a:pos x="3" y="51"/>
                </a:cxn>
                <a:cxn ang="0">
                  <a:pos x="19" y="49"/>
                </a:cxn>
                <a:cxn ang="0">
                  <a:pos x="24" y="54"/>
                </a:cxn>
                <a:cxn ang="0">
                  <a:pos x="34" y="62"/>
                </a:cxn>
                <a:cxn ang="0">
                  <a:pos x="43" y="49"/>
                </a:cxn>
                <a:cxn ang="0">
                  <a:pos x="54" y="79"/>
                </a:cxn>
                <a:cxn ang="0">
                  <a:pos x="60" y="64"/>
                </a:cxn>
                <a:cxn ang="0">
                  <a:pos x="69" y="39"/>
                </a:cxn>
                <a:cxn ang="0">
                  <a:pos x="83" y="69"/>
                </a:cxn>
                <a:cxn ang="0">
                  <a:pos x="107" y="75"/>
                </a:cxn>
                <a:cxn ang="0">
                  <a:pos x="122" y="100"/>
                </a:cxn>
                <a:cxn ang="0">
                  <a:pos x="107" y="134"/>
                </a:cxn>
                <a:cxn ang="0">
                  <a:pos x="98" y="162"/>
                </a:cxn>
                <a:cxn ang="0">
                  <a:pos x="94" y="201"/>
                </a:cxn>
              </a:cxnLst>
              <a:rect l="0" t="0" r="r" b="b"/>
              <a:pathLst>
                <a:path w="195" h="211">
                  <a:moveTo>
                    <a:pt x="88" y="21"/>
                  </a:moveTo>
                  <a:lnTo>
                    <a:pt x="86" y="17"/>
                  </a:lnTo>
                  <a:lnTo>
                    <a:pt x="84" y="15"/>
                  </a:lnTo>
                  <a:lnTo>
                    <a:pt x="86" y="13"/>
                  </a:lnTo>
                  <a:lnTo>
                    <a:pt x="88" y="11"/>
                  </a:lnTo>
                  <a:lnTo>
                    <a:pt x="90" y="13"/>
                  </a:lnTo>
                  <a:lnTo>
                    <a:pt x="92" y="15"/>
                  </a:lnTo>
                  <a:lnTo>
                    <a:pt x="92" y="17"/>
                  </a:lnTo>
                  <a:lnTo>
                    <a:pt x="90" y="19"/>
                  </a:lnTo>
                  <a:lnTo>
                    <a:pt x="88" y="21"/>
                  </a:lnTo>
                  <a:lnTo>
                    <a:pt x="88" y="21"/>
                  </a:lnTo>
                  <a:lnTo>
                    <a:pt x="88" y="21"/>
                  </a:lnTo>
                  <a:lnTo>
                    <a:pt x="88" y="21"/>
                  </a:lnTo>
                  <a:close/>
                  <a:moveTo>
                    <a:pt x="107" y="49"/>
                  </a:moveTo>
                  <a:lnTo>
                    <a:pt x="107" y="49"/>
                  </a:lnTo>
                  <a:lnTo>
                    <a:pt x="107" y="47"/>
                  </a:lnTo>
                  <a:lnTo>
                    <a:pt x="111" y="45"/>
                  </a:lnTo>
                  <a:lnTo>
                    <a:pt x="113" y="43"/>
                  </a:lnTo>
                  <a:lnTo>
                    <a:pt x="120" y="43"/>
                  </a:lnTo>
                  <a:lnTo>
                    <a:pt x="126" y="43"/>
                  </a:lnTo>
                  <a:lnTo>
                    <a:pt x="128" y="41"/>
                  </a:lnTo>
                  <a:lnTo>
                    <a:pt x="131" y="41"/>
                  </a:lnTo>
                  <a:lnTo>
                    <a:pt x="131" y="41"/>
                  </a:lnTo>
                  <a:lnTo>
                    <a:pt x="131" y="43"/>
                  </a:lnTo>
                  <a:lnTo>
                    <a:pt x="131" y="45"/>
                  </a:lnTo>
                  <a:lnTo>
                    <a:pt x="128" y="47"/>
                  </a:lnTo>
                  <a:lnTo>
                    <a:pt x="128" y="49"/>
                  </a:lnTo>
                  <a:lnTo>
                    <a:pt x="124" y="47"/>
                  </a:lnTo>
                  <a:lnTo>
                    <a:pt x="118" y="49"/>
                  </a:lnTo>
                  <a:lnTo>
                    <a:pt x="115" y="47"/>
                  </a:lnTo>
                  <a:lnTo>
                    <a:pt x="115" y="49"/>
                  </a:lnTo>
                  <a:lnTo>
                    <a:pt x="116" y="51"/>
                  </a:lnTo>
                  <a:lnTo>
                    <a:pt x="122" y="51"/>
                  </a:lnTo>
                  <a:lnTo>
                    <a:pt x="124" y="53"/>
                  </a:lnTo>
                  <a:lnTo>
                    <a:pt x="124" y="54"/>
                  </a:lnTo>
                  <a:lnTo>
                    <a:pt x="122" y="54"/>
                  </a:lnTo>
                  <a:lnTo>
                    <a:pt x="118" y="53"/>
                  </a:lnTo>
                  <a:lnTo>
                    <a:pt x="116" y="54"/>
                  </a:lnTo>
                  <a:lnTo>
                    <a:pt x="115" y="54"/>
                  </a:lnTo>
                  <a:lnTo>
                    <a:pt x="111" y="53"/>
                  </a:lnTo>
                  <a:lnTo>
                    <a:pt x="107" y="51"/>
                  </a:lnTo>
                  <a:lnTo>
                    <a:pt x="103" y="53"/>
                  </a:lnTo>
                  <a:lnTo>
                    <a:pt x="103" y="54"/>
                  </a:lnTo>
                  <a:lnTo>
                    <a:pt x="107" y="54"/>
                  </a:lnTo>
                  <a:lnTo>
                    <a:pt x="113" y="60"/>
                  </a:lnTo>
                  <a:lnTo>
                    <a:pt x="115" y="60"/>
                  </a:lnTo>
                  <a:lnTo>
                    <a:pt x="118" y="58"/>
                  </a:lnTo>
                  <a:lnTo>
                    <a:pt x="120" y="60"/>
                  </a:lnTo>
                  <a:lnTo>
                    <a:pt x="122" y="64"/>
                  </a:lnTo>
                  <a:lnTo>
                    <a:pt x="122" y="66"/>
                  </a:lnTo>
                  <a:lnTo>
                    <a:pt x="124" y="68"/>
                  </a:lnTo>
                  <a:lnTo>
                    <a:pt x="128" y="66"/>
                  </a:lnTo>
                  <a:lnTo>
                    <a:pt x="131" y="66"/>
                  </a:lnTo>
                  <a:lnTo>
                    <a:pt x="137" y="64"/>
                  </a:lnTo>
                  <a:lnTo>
                    <a:pt x="141" y="64"/>
                  </a:lnTo>
                  <a:lnTo>
                    <a:pt x="145" y="62"/>
                  </a:lnTo>
                  <a:lnTo>
                    <a:pt x="147" y="64"/>
                  </a:lnTo>
                  <a:lnTo>
                    <a:pt x="145" y="68"/>
                  </a:lnTo>
                  <a:lnTo>
                    <a:pt x="147" y="71"/>
                  </a:lnTo>
                  <a:lnTo>
                    <a:pt x="150" y="75"/>
                  </a:lnTo>
                  <a:lnTo>
                    <a:pt x="154" y="75"/>
                  </a:lnTo>
                  <a:lnTo>
                    <a:pt x="160" y="73"/>
                  </a:lnTo>
                  <a:lnTo>
                    <a:pt x="162" y="71"/>
                  </a:lnTo>
                  <a:lnTo>
                    <a:pt x="162" y="69"/>
                  </a:lnTo>
                  <a:lnTo>
                    <a:pt x="162" y="68"/>
                  </a:lnTo>
                  <a:lnTo>
                    <a:pt x="162" y="66"/>
                  </a:lnTo>
                  <a:lnTo>
                    <a:pt x="165" y="62"/>
                  </a:lnTo>
                  <a:lnTo>
                    <a:pt x="167" y="62"/>
                  </a:lnTo>
                  <a:lnTo>
                    <a:pt x="171" y="64"/>
                  </a:lnTo>
                  <a:lnTo>
                    <a:pt x="173" y="66"/>
                  </a:lnTo>
                  <a:lnTo>
                    <a:pt x="175" y="66"/>
                  </a:lnTo>
                  <a:lnTo>
                    <a:pt x="180" y="62"/>
                  </a:lnTo>
                  <a:lnTo>
                    <a:pt x="180" y="60"/>
                  </a:lnTo>
                  <a:lnTo>
                    <a:pt x="180" y="54"/>
                  </a:lnTo>
                  <a:lnTo>
                    <a:pt x="179" y="54"/>
                  </a:lnTo>
                  <a:lnTo>
                    <a:pt x="182" y="53"/>
                  </a:lnTo>
                  <a:lnTo>
                    <a:pt x="184" y="49"/>
                  </a:lnTo>
                  <a:lnTo>
                    <a:pt x="186" y="43"/>
                  </a:lnTo>
                  <a:lnTo>
                    <a:pt x="190" y="39"/>
                  </a:lnTo>
                  <a:lnTo>
                    <a:pt x="192" y="36"/>
                  </a:lnTo>
                  <a:lnTo>
                    <a:pt x="195" y="34"/>
                  </a:lnTo>
                  <a:lnTo>
                    <a:pt x="195" y="30"/>
                  </a:lnTo>
                  <a:lnTo>
                    <a:pt x="192" y="28"/>
                  </a:lnTo>
                  <a:lnTo>
                    <a:pt x="192" y="24"/>
                  </a:lnTo>
                  <a:lnTo>
                    <a:pt x="192" y="22"/>
                  </a:lnTo>
                  <a:lnTo>
                    <a:pt x="192" y="21"/>
                  </a:lnTo>
                  <a:lnTo>
                    <a:pt x="192" y="19"/>
                  </a:lnTo>
                  <a:lnTo>
                    <a:pt x="186" y="19"/>
                  </a:lnTo>
                  <a:lnTo>
                    <a:pt x="184" y="17"/>
                  </a:lnTo>
                  <a:lnTo>
                    <a:pt x="182" y="17"/>
                  </a:lnTo>
                  <a:lnTo>
                    <a:pt x="175" y="17"/>
                  </a:lnTo>
                  <a:lnTo>
                    <a:pt x="173" y="17"/>
                  </a:lnTo>
                  <a:lnTo>
                    <a:pt x="171" y="15"/>
                  </a:lnTo>
                  <a:lnTo>
                    <a:pt x="165" y="15"/>
                  </a:lnTo>
                  <a:lnTo>
                    <a:pt x="165" y="13"/>
                  </a:lnTo>
                  <a:lnTo>
                    <a:pt x="162" y="11"/>
                  </a:lnTo>
                  <a:lnTo>
                    <a:pt x="162" y="9"/>
                  </a:lnTo>
                  <a:lnTo>
                    <a:pt x="160" y="11"/>
                  </a:lnTo>
                  <a:lnTo>
                    <a:pt x="160" y="11"/>
                  </a:lnTo>
                  <a:lnTo>
                    <a:pt x="160" y="7"/>
                  </a:lnTo>
                  <a:lnTo>
                    <a:pt x="160" y="5"/>
                  </a:lnTo>
                  <a:lnTo>
                    <a:pt x="158" y="7"/>
                  </a:lnTo>
                  <a:lnTo>
                    <a:pt x="156" y="11"/>
                  </a:lnTo>
                  <a:lnTo>
                    <a:pt x="154" y="11"/>
                  </a:lnTo>
                  <a:lnTo>
                    <a:pt x="154" y="7"/>
                  </a:lnTo>
                  <a:lnTo>
                    <a:pt x="152" y="5"/>
                  </a:lnTo>
                  <a:lnTo>
                    <a:pt x="152" y="7"/>
                  </a:lnTo>
                  <a:lnTo>
                    <a:pt x="152" y="9"/>
                  </a:lnTo>
                  <a:lnTo>
                    <a:pt x="152" y="11"/>
                  </a:lnTo>
                  <a:lnTo>
                    <a:pt x="148" y="15"/>
                  </a:lnTo>
                  <a:lnTo>
                    <a:pt x="148" y="17"/>
                  </a:lnTo>
                  <a:lnTo>
                    <a:pt x="148" y="21"/>
                  </a:lnTo>
                  <a:lnTo>
                    <a:pt x="145" y="19"/>
                  </a:lnTo>
                  <a:lnTo>
                    <a:pt x="145" y="17"/>
                  </a:lnTo>
                  <a:lnTo>
                    <a:pt x="143" y="17"/>
                  </a:lnTo>
                  <a:lnTo>
                    <a:pt x="143" y="19"/>
                  </a:lnTo>
                  <a:lnTo>
                    <a:pt x="143" y="21"/>
                  </a:lnTo>
                  <a:lnTo>
                    <a:pt x="141" y="19"/>
                  </a:lnTo>
                  <a:lnTo>
                    <a:pt x="141" y="17"/>
                  </a:lnTo>
                  <a:lnTo>
                    <a:pt x="143" y="11"/>
                  </a:lnTo>
                  <a:lnTo>
                    <a:pt x="143" y="5"/>
                  </a:lnTo>
                  <a:lnTo>
                    <a:pt x="141" y="4"/>
                  </a:lnTo>
                  <a:lnTo>
                    <a:pt x="137" y="0"/>
                  </a:lnTo>
                  <a:lnTo>
                    <a:pt x="137" y="0"/>
                  </a:lnTo>
                  <a:lnTo>
                    <a:pt x="135" y="0"/>
                  </a:lnTo>
                  <a:lnTo>
                    <a:pt x="135" y="4"/>
                  </a:lnTo>
                  <a:lnTo>
                    <a:pt x="137" y="4"/>
                  </a:lnTo>
                  <a:lnTo>
                    <a:pt x="137" y="5"/>
                  </a:lnTo>
                  <a:lnTo>
                    <a:pt x="135" y="5"/>
                  </a:lnTo>
                  <a:lnTo>
                    <a:pt x="131" y="4"/>
                  </a:lnTo>
                  <a:lnTo>
                    <a:pt x="131" y="4"/>
                  </a:lnTo>
                  <a:lnTo>
                    <a:pt x="131" y="7"/>
                  </a:lnTo>
                  <a:lnTo>
                    <a:pt x="135" y="11"/>
                  </a:lnTo>
                  <a:lnTo>
                    <a:pt x="135" y="15"/>
                  </a:lnTo>
                  <a:lnTo>
                    <a:pt x="135" y="19"/>
                  </a:lnTo>
                  <a:lnTo>
                    <a:pt x="135" y="22"/>
                  </a:lnTo>
                  <a:lnTo>
                    <a:pt x="137" y="28"/>
                  </a:lnTo>
                  <a:lnTo>
                    <a:pt x="135" y="30"/>
                  </a:lnTo>
                  <a:lnTo>
                    <a:pt x="135" y="30"/>
                  </a:lnTo>
                  <a:lnTo>
                    <a:pt x="131" y="28"/>
                  </a:lnTo>
                  <a:lnTo>
                    <a:pt x="128" y="24"/>
                  </a:lnTo>
                  <a:lnTo>
                    <a:pt x="126" y="22"/>
                  </a:lnTo>
                  <a:lnTo>
                    <a:pt x="126" y="21"/>
                  </a:lnTo>
                  <a:lnTo>
                    <a:pt x="128" y="17"/>
                  </a:lnTo>
                  <a:lnTo>
                    <a:pt x="128" y="15"/>
                  </a:lnTo>
                  <a:lnTo>
                    <a:pt x="126" y="15"/>
                  </a:lnTo>
                  <a:lnTo>
                    <a:pt x="122" y="17"/>
                  </a:lnTo>
                  <a:lnTo>
                    <a:pt x="120" y="17"/>
                  </a:lnTo>
                  <a:lnTo>
                    <a:pt x="118" y="17"/>
                  </a:lnTo>
                  <a:lnTo>
                    <a:pt x="116" y="21"/>
                  </a:lnTo>
                  <a:lnTo>
                    <a:pt x="113" y="19"/>
                  </a:lnTo>
                  <a:lnTo>
                    <a:pt x="113" y="17"/>
                  </a:lnTo>
                  <a:lnTo>
                    <a:pt x="113" y="15"/>
                  </a:lnTo>
                  <a:lnTo>
                    <a:pt x="111" y="15"/>
                  </a:lnTo>
                  <a:lnTo>
                    <a:pt x="109" y="11"/>
                  </a:lnTo>
                  <a:lnTo>
                    <a:pt x="107" y="9"/>
                  </a:lnTo>
                  <a:lnTo>
                    <a:pt x="107" y="7"/>
                  </a:lnTo>
                  <a:lnTo>
                    <a:pt x="103" y="7"/>
                  </a:lnTo>
                  <a:lnTo>
                    <a:pt x="103" y="5"/>
                  </a:lnTo>
                  <a:lnTo>
                    <a:pt x="103" y="4"/>
                  </a:lnTo>
                  <a:lnTo>
                    <a:pt x="101" y="0"/>
                  </a:lnTo>
                  <a:lnTo>
                    <a:pt x="101" y="0"/>
                  </a:lnTo>
                  <a:lnTo>
                    <a:pt x="99" y="4"/>
                  </a:lnTo>
                  <a:lnTo>
                    <a:pt x="98" y="5"/>
                  </a:lnTo>
                  <a:lnTo>
                    <a:pt x="99" y="11"/>
                  </a:lnTo>
                  <a:lnTo>
                    <a:pt x="101" y="15"/>
                  </a:lnTo>
                  <a:lnTo>
                    <a:pt x="101" y="21"/>
                  </a:lnTo>
                  <a:lnTo>
                    <a:pt x="101" y="21"/>
                  </a:lnTo>
                  <a:lnTo>
                    <a:pt x="98" y="19"/>
                  </a:lnTo>
                  <a:lnTo>
                    <a:pt x="98" y="15"/>
                  </a:lnTo>
                  <a:lnTo>
                    <a:pt x="96" y="13"/>
                  </a:lnTo>
                  <a:lnTo>
                    <a:pt x="96" y="17"/>
                  </a:lnTo>
                  <a:lnTo>
                    <a:pt x="96" y="21"/>
                  </a:lnTo>
                  <a:lnTo>
                    <a:pt x="98" y="24"/>
                  </a:lnTo>
                  <a:lnTo>
                    <a:pt x="98" y="24"/>
                  </a:lnTo>
                  <a:lnTo>
                    <a:pt x="98" y="30"/>
                  </a:lnTo>
                  <a:lnTo>
                    <a:pt x="96" y="28"/>
                  </a:lnTo>
                  <a:lnTo>
                    <a:pt x="94" y="24"/>
                  </a:lnTo>
                  <a:lnTo>
                    <a:pt x="92" y="22"/>
                  </a:lnTo>
                  <a:lnTo>
                    <a:pt x="86" y="22"/>
                  </a:lnTo>
                  <a:lnTo>
                    <a:pt x="83" y="21"/>
                  </a:lnTo>
                  <a:lnTo>
                    <a:pt x="83" y="22"/>
                  </a:lnTo>
                  <a:lnTo>
                    <a:pt x="83" y="28"/>
                  </a:lnTo>
                  <a:lnTo>
                    <a:pt x="84" y="24"/>
                  </a:lnTo>
                  <a:lnTo>
                    <a:pt x="88" y="28"/>
                  </a:lnTo>
                  <a:lnTo>
                    <a:pt x="86" y="30"/>
                  </a:lnTo>
                  <a:lnTo>
                    <a:pt x="86" y="30"/>
                  </a:lnTo>
                  <a:lnTo>
                    <a:pt x="90" y="30"/>
                  </a:lnTo>
                  <a:lnTo>
                    <a:pt x="92" y="34"/>
                  </a:lnTo>
                  <a:lnTo>
                    <a:pt x="86" y="36"/>
                  </a:lnTo>
                  <a:lnTo>
                    <a:pt x="86" y="37"/>
                  </a:lnTo>
                  <a:lnTo>
                    <a:pt x="90" y="43"/>
                  </a:lnTo>
                  <a:lnTo>
                    <a:pt x="94" y="45"/>
                  </a:lnTo>
                  <a:lnTo>
                    <a:pt x="96" y="47"/>
                  </a:lnTo>
                  <a:lnTo>
                    <a:pt x="101" y="47"/>
                  </a:lnTo>
                  <a:lnTo>
                    <a:pt x="103" y="47"/>
                  </a:lnTo>
                  <a:lnTo>
                    <a:pt x="107" y="49"/>
                  </a:lnTo>
                  <a:lnTo>
                    <a:pt x="107" y="49"/>
                  </a:lnTo>
                  <a:lnTo>
                    <a:pt x="107" y="49"/>
                  </a:lnTo>
                  <a:lnTo>
                    <a:pt x="107" y="49"/>
                  </a:lnTo>
                  <a:close/>
                  <a:moveTo>
                    <a:pt x="131" y="132"/>
                  </a:moveTo>
                  <a:lnTo>
                    <a:pt x="131" y="128"/>
                  </a:lnTo>
                  <a:lnTo>
                    <a:pt x="137" y="126"/>
                  </a:lnTo>
                  <a:lnTo>
                    <a:pt x="143" y="124"/>
                  </a:lnTo>
                  <a:lnTo>
                    <a:pt x="147" y="122"/>
                  </a:lnTo>
                  <a:lnTo>
                    <a:pt x="152" y="118"/>
                  </a:lnTo>
                  <a:lnTo>
                    <a:pt x="158" y="117"/>
                  </a:lnTo>
                  <a:lnTo>
                    <a:pt x="158" y="120"/>
                  </a:lnTo>
                  <a:lnTo>
                    <a:pt x="162" y="124"/>
                  </a:lnTo>
                  <a:lnTo>
                    <a:pt x="162" y="126"/>
                  </a:lnTo>
                  <a:lnTo>
                    <a:pt x="158" y="128"/>
                  </a:lnTo>
                  <a:lnTo>
                    <a:pt x="158" y="130"/>
                  </a:lnTo>
                  <a:lnTo>
                    <a:pt x="158" y="134"/>
                  </a:lnTo>
                  <a:lnTo>
                    <a:pt x="162" y="137"/>
                  </a:lnTo>
                  <a:lnTo>
                    <a:pt x="165" y="141"/>
                  </a:lnTo>
                  <a:lnTo>
                    <a:pt x="167" y="137"/>
                  </a:lnTo>
                  <a:lnTo>
                    <a:pt x="173" y="137"/>
                  </a:lnTo>
                  <a:lnTo>
                    <a:pt x="175" y="137"/>
                  </a:lnTo>
                  <a:lnTo>
                    <a:pt x="177" y="141"/>
                  </a:lnTo>
                  <a:lnTo>
                    <a:pt x="180" y="141"/>
                  </a:lnTo>
                  <a:lnTo>
                    <a:pt x="179" y="141"/>
                  </a:lnTo>
                  <a:lnTo>
                    <a:pt x="175" y="143"/>
                  </a:lnTo>
                  <a:lnTo>
                    <a:pt x="171" y="149"/>
                  </a:lnTo>
                  <a:lnTo>
                    <a:pt x="171" y="152"/>
                  </a:lnTo>
                  <a:lnTo>
                    <a:pt x="171" y="160"/>
                  </a:lnTo>
                  <a:lnTo>
                    <a:pt x="165" y="162"/>
                  </a:lnTo>
                  <a:lnTo>
                    <a:pt x="162" y="162"/>
                  </a:lnTo>
                  <a:lnTo>
                    <a:pt x="162" y="167"/>
                  </a:lnTo>
                  <a:lnTo>
                    <a:pt x="162" y="167"/>
                  </a:lnTo>
                  <a:lnTo>
                    <a:pt x="158" y="171"/>
                  </a:lnTo>
                  <a:lnTo>
                    <a:pt x="156" y="171"/>
                  </a:lnTo>
                  <a:lnTo>
                    <a:pt x="156" y="167"/>
                  </a:lnTo>
                  <a:lnTo>
                    <a:pt x="158" y="166"/>
                  </a:lnTo>
                  <a:lnTo>
                    <a:pt x="156" y="162"/>
                  </a:lnTo>
                  <a:lnTo>
                    <a:pt x="158" y="156"/>
                  </a:lnTo>
                  <a:lnTo>
                    <a:pt x="158" y="152"/>
                  </a:lnTo>
                  <a:lnTo>
                    <a:pt x="156" y="152"/>
                  </a:lnTo>
                  <a:lnTo>
                    <a:pt x="154" y="152"/>
                  </a:lnTo>
                  <a:lnTo>
                    <a:pt x="152" y="154"/>
                  </a:lnTo>
                  <a:lnTo>
                    <a:pt x="150" y="158"/>
                  </a:lnTo>
                  <a:lnTo>
                    <a:pt x="147" y="160"/>
                  </a:lnTo>
                  <a:lnTo>
                    <a:pt x="145" y="160"/>
                  </a:lnTo>
                  <a:lnTo>
                    <a:pt x="141" y="162"/>
                  </a:lnTo>
                  <a:lnTo>
                    <a:pt x="137" y="162"/>
                  </a:lnTo>
                  <a:lnTo>
                    <a:pt x="135" y="166"/>
                  </a:lnTo>
                  <a:lnTo>
                    <a:pt x="131" y="166"/>
                  </a:lnTo>
                  <a:lnTo>
                    <a:pt x="131" y="162"/>
                  </a:lnTo>
                  <a:lnTo>
                    <a:pt x="135" y="160"/>
                  </a:lnTo>
                  <a:lnTo>
                    <a:pt x="131" y="158"/>
                  </a:lnTo>
                  <a:lnTo>
                    <a:pt x="137" y="154"/>
                  </a:lnTo>
                  <a:lnTo>
                    <a:pt x="137" y="149"/>
                  </a:lnTo>
                  <a:lnTo>
                    <a:pt x="141" y="147"/>
                  </a:lnTo>
                  <a:lnTo>
                    <a:pt x="141" y="141"/>
                  </a:lnTo>
                  <a:lnTo>
                    <a:pt x="141" y="137"/>
                  </a:lnTo>
                  <a:lnTo>
                    <a:pt x="141" y="137"/>
                  </a:lnTo>
                  <a:lnTo>
                    <a:pt x="137" y="137"/>
                  </a:lnTo>
                  <a:lnTo>
                    <a:pt x="131" y="134"/>
                  </a:lnTo>
                  <a:lnTo>
                    <a:pt x="131" y="132"/>
                  </a:lnTo>
                  <a:lnTo>
                    <a:pt x="131" y="132"/>
                  </a:lnTo>
                  <a:lnTo>
                    <a:pt x="131" y="132"/>
                  </a:lnTo>
                  <a:lnTo>
                    <a:pt x="131" y="132"/>
                  </a:lnTo>
                  <a:close/>
                  <a:moveTo>
                    <a:pt x="113" y="79"/>
                  </a:moveTo>
                  <a:lnTo>
                    <a:pt x="115" y="83"/>
                  </a:lnTo>
                  <a:lnTo>
                    <a:pt x="116" y="83"/>
                  </a:lnTo>
                  <a:lnTo>
                    <a:pt x="120" y="86"/>
                  </a:lnTo>
                  <a:lnTo>
                    <a:pt x="124" y="83"/>
                  </a:lnTo>
                  <a:lnTo>
                    <a:pt x="124" y="79"/>
                  </a:lnTo>
                  <a:lnTo>
                    <a:pt x="120" y="79"/>
                  </a:lnTo>
                  <a:lnTo>
                    <a:pt x="115" y="77"/>
                  </a:lnTo>
                  <a:lnTo>
                    <a:pt x="113" y="77"/>
                  </a:lnTo>
                  <a:lnTo>
                    <a:pt x="113" y="79"/>
                  </a:lnTo>
                  <a:lnTo>
                    <a:pt x="113" y="79"/>
                  </a:lnTo>
                  <a:lnTo>
                    <a:pt x="113" y="79"/>
                  </a:lnTo>
                  <a:lnTo>
                    <a:pt x="113" y="79"/>
                  </a:lnTo>
                  <a:close/>
                  <a:moveTo>
                    <a:pt x="120" y="111"/>
                  </a:moveTo>
                  <a:lnTo>
                    <a:pt x="124" y="113"/>
                  </a:lnTo>
                  <a:lnTo>
                    <a:pt x="128" y="113"/>
                  </a:lnTo>
                  <a:lnTo>
                    <a:pt x="128" y="117"/>
                  </a:lnTo>
                  <a:lnTo>
                    <a:pt x="128" y="117"/>
                  </a:lnTo>
                  <a:lnTo>
                    <a:pt x="128" y="118"/>
                  </a:lnTo>
                  <a:lnTo>
                    <a:pt x="131" y="120"/>
                  </a:lnTo>
                  <a:lnTo>
                    <a:pt x="128" y="124"/>
                  </a:lnTo>
                  <a:lnTo>
                    <a:pt x="131" y="122"/>
                  </a:lnTo>
                  <a:lnTo>
                    <a:pt x="135" y="124"/>
                  </a:lnTo>
                  <a:lnTo>
                    <a:pt x="135" y="122"/>
                  </a:lnTo>
                  <a:lnTo>
                    <a:pt x="141" y="118"/>
                  </a:lnTo>
                  <a:lnTo>
                    <a:pt x="143" y="118"/>
                  </a:lnTo>
                  <a:lnTo>
                    <a:pt x="145" y="117"/>
                  </a:lnTo>
                  <a:lnTo>
                    <a:pt x="145" y="117"/>
                  </a:lnTo>
                  <a:lnTo>
                    <a:pt x="145" y="113"/>
                  </a:lnTo>
                  <a:lnTo>
                    <a:pt x="147" y="111"/>
                  </a:lnTo>
                  <a:lnTo>
                    <a:pt x="148" y="107"/>
                  </a:lnTo>
                  <a:lnTo>
                    <a:pt x="147" y="103"/>
                  </a:lnTo>
                  <a:lnTo>
                    <a:pt x="143" y="103"/>
                  </a:lnTo>
                  <a:lnTo>
                    <a:pt x="143" y="102"/>
                  </a:lnTo>
                  <a:lnTo>
                    <a:pt x="141" y="102"/>
                  </a:lnTo>
                  <a:lnTo>
                    <a:pt x="141" y="103"/>
                  </a:lnTo>
                  <a:lnTo>
                    <a:pt x="135" y="103"/>
                  </a:lnTo>
                  <a:lnTo>
                    <a:pt x="135" y="103"/>
                  </a:lnTo>
                  <a:lnTo>
                    <a:pt x="131" y="102"/>
                  </a:lnTo>
                  <a:lnTo>
                    <a:pt x="128" y="103"/>
                  </a:lnTo>
                  <a:lnTo>
                    <a:pt x="128" y="107"/>
                  </a:lnTo>
                  <a:lnTo>
                    <a:pt x="128" y="107"/>
                  </a:lnTo>
                  <a:lnTo>
                    <a:pt x="126" y="107"/>
                  </a:lnTo>
                  <a:lnTo>
                    <a:pt x="122" y="111"/>
                  </a:lnTo>
                  <a:lnTo>
                    <a:pt x="120" y="111"/>
                  </a:lnTo>
                  <a:lnTo>
                    <a:pt x="120" y="111"/>
                  </a:lnTo>
                  <a:lnTo>
                    <a:pt x="120" y="111"/>
                  </a:lnTo>
                  <a:lnTo>
                    <a:pt x="120" y="111"/>
                  </a:lnTo>
                  <a:close/>
                  <a:moveTo>
                    <a:pt x="19" y="128"/>
                  </a:moveTo>
                  <a:lnTo>
                    <a:pt x="15" y="122"/>
                  </a:lnTo>
                  <a:lnTo>
                    <a:pt x="15" y="122"/>
                  </a:lnTo>
                  <a:lnTo>
                    <a:pt x="15" y="118"/>
                  </a:lnTo>
                  <a:lnTo>
                    <a:pt x="11" y="117"/>
                  </a:lnTo>
                  <a:lnTo>
                    <a:pt x="7" y="117"/>
                  </a:lnTo>
                  <a:lnTo>
                    <a:pt x="5" y="113"/>
                  </a:lnTo>
                  <a:lnTo>
                    <a:pt x="5" y="107"/>
                  </a:lnTo>
                  <a:lnTo>
                    <a:pt x="3" y="103"/>
                  </a:lnTo>
                  <a:lnTo>
                    <a:pt x="2" y="102"/>
                  </a:lnTo>
                  <a:lnTo>
                    <a:pt x="2" y="96"/>
                  </a:lnTo>
                  <a:lnTo>
                    <a:pt x="2" y="94"/>
                  </a:lnTo>
                  <a:lnTo>
                    <a:pt x="3" y="96"/>
                  </a:lnTo>
                  <a:lnTo>
                    <a:pt x="7" y="100"/>
                  </a:lnTo>
                  <a:lnTo>
                    <a:pt x="9" y="103"/>
                  </a:lnTo>
                  <a:lnTo>
                    <a:pt x="7" y="107"/>
                  </a:lnTo>
                  <a:lnTo>
                    <a:pt x="11" y="111"/>
                  </a:lnTo>
                  <a:lnTo>
                    <a:pt x="13" y="113"/>
                  </a:lnTo>
                  <a:lnTo>
                    <a:pt x="15" y="113"/>
                  </a:lnTo>
                  <a:lnTo>
                    <a:pt x="15" y="113"/>
                  </a:lnTo>
                  <a:lnTo>
                    <a:pt x="15" y="113"/>
                  </a:lnTo>
                  <a:lnTo>
                    <a:pt x="19" y="117"/>
                  </a:lnTo>
                  <a:lnTo>
                    <a:pt x="19" y="122"/>
                  </a:lnTo>
                  <a:lnTo>
                    <a:pt x="22" y="126"/>
                  </a:lnTo>
                  <a:lnTo>
                    <a:pt x="22" y="128"/>
                  </a:lnTo>
                  <a:lnTo>
                    <a:pt x="19" y="128"/>
                  </a:lnTo>
                  <a:lnTo>
                    <a:pt x="19" y="128"/>
                  </a:lnTo>
                  <a:lnTo>
                    <a:pt x="19" y="128"/>
                  </a:lnTo>
                  <a:lnTo>
                    <a:pt x="19" y="128"/>
                  </a:lnTo>
                  <a:lnTo>
                    <a:pt x="19" y="128"/>
                  </a:lnTo>
                  <a:lnTo>
                    <a:pt x="19" y="128"/>
                  </a:lnTo>
                  <a:close/>
                  <a:moveTo>
                    <a:pt x="86" y="211"/>
                  </a:moveTo>
                  <a:lnTo>
                    <a:pt x="84" y="209"/>
                  </a:lnTo>
                  <a:lnTo>
                    <a:pt x="83" y="209"/>
                  </a:lnTo>
                  <a:lnTo>
                    <a:pt x="83" y="211"/>
                  </a:lnTo>
                  <a:lnTo>
                    <a:pt x="83" y="211"/>
                  </a:lnTo>
                  <a:lnTo>
                    <a:pt x="83" y="209"/>
                  </a:lnTo>
                  <a:lnTo>
                    <a:pt x="83" y="205"/>
                  </a:lnTo>
                  <a:lnTo>
                    <a:pt x="79" y="201"/>
                  </a:lnTo>
                  <a:lnTo>
                    <a:pt x="77" y="201"/>
                  </a:lnTo>
                  <a:lnTo>
                    <a:pt x="73" y="196"/>
                  </a:lnTo>
                  <a:lnTo>
                    <a:pt x="73" y="192"/>
                  </a:lnTo>
                  <a:lnTo>
                    <a:pt x="77" y="192"/>
                  </a:lnTo>
                  <a:lnTo>
                    <a:pt x="77" y="192"/>
                  </a:lnTo>
                  <a:lnTo>
                    <a:pt x="77" y="190"/>
                  </a:lnTo>
                  <a:lnTo>
                    <a:pt x="77" y="188"/>
                  </a:lnTo>
                  <a:lnTo>
                    <a:pt x="77" y="186"/>
                  </a:lnTo>
                  <a:lnTo>
                    <a:pt x="77" y="186"/>
                  </a:lnTo>
                  <a:lnTo>
                    <a:pt x="73" y="186"/>
                  </a:lnTo>
                  <a:lnTo>
                    <a:pt x="73" y="186"/>
                  </a:lnTo>
                  <a:lnTo>
                    <a:pt x="71" y="188"/>
                  </a:lnTo>
                  <a:lnTo>
                    <a:pt x="67" y="190"/>
                  </a:lnTo>
                  <a:lnTo>
                    <a:pt x="64" y="186"/>
                  </a:lnTo>
                  <a:lnTo>
                    <a:pt x="64" y="184"/>
                  </a:lnTo>
                  <a:lnTo>
                    <a:pt x="62" y="183"/>
                  </a:lnTo>
                  <a:lnTo>
                    <a:pt x="60" y="181"/>
                  </a:lnTo>
                  <a:lnTo>
                    <a:pt x="58" y="181"/>
                  </a:lnTo>
                  <a:lnTo>
                    <a:pt x="56" y="181"/>
                  </a:lnTo>
                  <a:lnTo>
                    <a:pt x="54" y="177"/>
                  </a:lnTo>
                  <a:lnTo>
                    <a:pt x="54" y="175"/>
                  </a:lnTo>
                  <a:lnTo>
                    <a:pt x="52" y="173"/>
                  </a:lnTo>
                  <a:lnTo>
                    <a:pt x="52" y="173"/>
                  </a:lnTo>
                  <a:lnTo>
                    <a:pt x="52" y="173"/>
                  </a:lnTo>
                  <a:lnTo>
                    <a:pt x="52" y="171"/>
                  </a:lnTo>
                  <a:lnTo>
                    <a:pt x="49" y="171"/>
                  </a:lnTo>
                  <a:lnTo>
                    <a:pt x="49" y="167"/>
                  </a:lnTo>
                  <a:lnTo>
                    <a:pt x="49" y="167"/>
                  </a:lnTo>
                  <a:lnTo>
                    <a:pt x="49" y="167"/>
                  </a:lnTo>
                  <a:lnTo>
                    <a:pt x="49" y="162"/>
                  </a:lnTo>
                  <a:lnTo>
                    <a:pt x="49" y="162"/>
                  </a:lnTo>
                  <a:lnTo>
                    <a:pt x="47" y="160"/>
                  </a:lnTo>
                  <a:lnTo>
                    <a:pt x="47" y="158"/>
                  </a:lnTo>
                  <a:lnTo>
                    <a:pt x="49" y="156"/>
                  </a:lnTo>
                  <a:lnTo>
                    <a:pt x="52" y="156"/>
                  </a:lnTo>
                  <a:lnTo>
                    <a:pt x="54" y="160"/>
                  </a:lnTo>
                  <a:lnTo>
                    <a:pt x="54" y="160"/>
                  </a:lnTo>
                  <a:lnTo>
                    <a:pt x="56" y="160"/>
                  </a:lnTo>
                  <a:lnTo>
                    <a:pt x="58" y="158"/>
                  </a:lnTo>
                  <a:lnTo>
                    <a:pt x="60" y="160"/>
                  </a:lnTo>
                  <a:lnTo>
                    <a:pt x="62" y="160"/>
                  </a:lnTo>
                  <a:lnTo>
                    <a:pt x="66" y="160"/>
                  </a:lnTo>
                  <a:lnTo>
                    <a:pt x="71" y="160"/>
                  </a:lnTo>
                  <a:lnTo>
                    <a:pt x="73" y="158"/>
                  </a:lnTo>
                  <a:lnTo>
                    <a:pt x="69" y="156"/>
                  </a:lnTo>
                  <a:lnTo>
                    <a:pt x="66" y="156"/>
                  </a:lnTo>
                  <a:lnTo>
                    <a:pt x="60" y="154"/>
                  </a:lnTo>
                  <a:lnTo>
                    <a:pt x="56" y="152"/>
                  </a:lnTo>
                  <a:lnTo>
                    <a:pt x="56" y="152"/>
                  </a:lnTo>
                  <a:lnTo>
                    <a:pt x="60" y="150"/>
                  </a:lnTo>
                  <a:lnTo>
                    <a:pt x="62" y="150"/>
                  </a:lnTo>
                  <a:lnTo>
                    <a:pt x="69" y="149"/>
                  </a:lnTo>
                  <a:lnTo>
                    <a:pt x="73" y="147"/>
                  </a:lnTo>
                  <a:lnTo>
                    <a:pt x="77" y="147"/>
                  </a:lnTo>
                  <a:lnTo>
                    <a:pt x="79" y="147"/>
                  </a:lnTo>
                  <a:lnTo>
                    <a:pt x="79" y="147"/>
                  </a:lnTo>
                  <a:lnTo>
                    <a:pt x="83" y="147"/>
                  </a:lnTo>
                  <a:lnTo>
                    <a:pt x="83" y="143"/>
                  </a:lnTo>
                  <a:lnTo>
                    <a:pt x="83" y="141"/>
                  </a:lnTo>
                  <a:lnTo>
                    <a:pt x="83" y="141"/>
                  </a:lnTo>
                  <a:lnTo>
                    <a:pt x="83" y="141"/>
                  </a:lnTo>
                  <a:lnTo>
                    <a:pt x="79" y="141"/>
                  </a:lnTo>
                  <a:lnTo>
                    <a:pt x="77" y="143"/>
                  </a:lnTo>
                  <a:lnTo>
                    <a:pt x="71" y="143"/>
                  </a:lnTo>
                  <a:lnTo>
                    <a:pt x="67" y="143"/>
                  </a:lnTo>
                  <a:lnTo>
                    <a:pt x="67" y="141"/>
                  </a:lnTo>
                  <a:lnTo>
                    <a:pt x="64" y="141"/>
                  </a:lnTo>
                  <a:lnTo>
                    <a:pt x="64" y="143"/>
                  </a:lnTo>
                  <a:lnTo>
                    <a:pt x="62" y="143"/>
                  </a:lnTo>
                  <a:lnTo>
                    <a:pt x="60" y="147"/>
                  </a:lnTo>
                  <a:lnTo>
                    <a:pt x="56" y="147"/>
                  </a:lnTo>
                  <a:lnTo>
                    <a:pt x="54" y="147"/>
                  </a:lnTo>
                  <a:lnTo>
                    <a:pt x="52" y="149"/>
                  </a:lnTo>
                  <a:lnTo>
                    <a:pt x="49" y="149"/>
                  </a:lnTo>
                  <a:lnTo>
                    <a:pt x="47" y="150"/>
                  </a:lnTo>
                  <a:lnTo>
                    <a:pt x="43" y="150"/>
                  </a:lnTo>
                  <a:lnTo>
                    <a:pt x="43" y="149"/>
                  </a:lnTo>
                  <a:lnTo>
                    <a:pt x="43" y="147"/>
                  </a:lnTo>
                  <a:lnTo>
                    <a:pt x="41" y="141"/>
                  </a:lnTo>
                  <a:lnTo>
                    <a:pt x="43" y="137"/>
                  </a:lnTo>
                  <a:lnTo>
                    <a:pt x="43" y="137"/>
                  </a:lnTo>
                  <a:lnTo>
                    <a:pt x="43" y="135"/>
                  </a:lnTo>
                  <a:lnTo>
                    <a:pt x="47" y="134"/>
                  </a:lnTo>
                  <a:lnTo>
                    <a:pt x="49" y="135"/>
                  </a:lnTo>
                  <a:lnTo>
                    <a:pt x="49" y="137"/>
                  </a:lnTo>
                  <a:lnTo>
                    <a:pt x="49" y="137"/>
                  </a:lnTo>
                  <a:lnTo>
                    <a:pt x="49" y="135"/>
                  </a:lnTo>
                  <a:lnTo>
                    <a:pt x="52" y="134"/>
                  </a:lnTo>
                  <a:lnTo>
                    <a:pt x="54" y="134"/>
                  </a:lnTo>
                  <a:lnTo>
                    <a:pt x="56" y="130"/>
                  </a:lnTo>
                  <a:lnTo>
                    <a:pt x="60" y="126"/>
                  </a:lnTo>
                  <a:lnTo>
                    <a:pt x="64" y="124"/>
                  </a:lnTo>
                  <a:lnTo>
                    <a:pt x="64" y="122"/>
                  </a:lnTo>
                  <a:lnTo>
                    <a:pt x="64" y="120"/>
                  </a:lnTo>
                  <a:lnTo>
                    <a:pt x="69" y="118"/>
                  </a:lnTo>
                  <a:lnTo>
                    <a:pt x="73" y="118"/>
                  </a:lnTo>
                  <a:lnTo>
                    <a:pt x="77" y="117"/>
                  </a:lnTo>
                  <a:lnTo>
                    <a:pt x="83" y="117"/>
                  </a:lnTo>
                  <a:lnTo>
                    <a:pt x="83" y="113"/>
                  </a:lnTo>
                  <a:lnTo>
                    <a:pt x="83" y="113"/>
                  </a:lnTo>
                  <a:lnTo>
                    <a:pt x="83" y="113"/>
                  </a:lnTo>
                  <a:lnTo>
                    <a:pt x="77" y="113"/>
                  </a:lnTo>
                  <a:lnTo>
                    <a:pt x="77" y="117"/>
                  </a:lnTo>
                  <a:lnTo>
                    <a:pt x="73" y="113"/>
                  </a:lnTo>
                  <a:lnTo>
                    <a:pt x="73" y="111"/>
                  </a:lnTo>
                  <a:lnTo>
                    <a:pt x="73" y="107"/>
                  </a:lnTo>
                  <a:lnTo>
                    <a:pt x="73" y="103"/>
                  </a:lnTo>
                  <a:lnTo>
                    <a:pt x="73" y="100"/>
                  </a:lnTo>
                  <a:lnTo>
                    <a:pt x="71" y="100"/>
                  </a:lnTo>
                  <a:lnTo>
                    <a:pt x="71" y="103"/>
                  </a:lnTo>
                  <a:lnTo>
                    <a:pt x="71" y="107"/>
                  </a:lnTo>
                  <a:lnTo>
                    <a:pt x="69" y="111"/>
                  </a:lnTo>
                  <a:lnTo>
                    <a:pt x="64" y="117"/>
                  </a:lnTo>
                  <a:lnTo>
                    <a:pt x="62" y="117"/>
                  </a:lnTo>
                  <a:lnTo>
                    <a:pt x="60" y="117"/>
                  </a:lnTo>
                  <a:lnTo>
                    <a:pt x="58" y="111"/>
                  </a:lnTo>
                  <a:lnTo>
                    <a:pt x="60" y="109"/>
                  </a:lnTo>
                  <a:lnTo>
                    <a:pt x="62" y="107"/>
                  </a:lnTo>
                  <a:lnTo>
                    <a:pt x="62" y="103"/>
                  </a:lnTo>
                  <a:lnTo>
                    <a:pt x="60" y="102"/>
                  </a:lnTo>
                  <a:lnTo>
                    <a:pt x="60" y="98"/>
                  </a:lnTo>
                  <a:lnTo>
                    <a:pt x="58" y="96"/>
                  </a:lnTo>
                  <a:lnTo>
                    <a:pt x="56" y="96"/>
                  </a:lnTo>
                  <a:lnTo>
                    <a:pt x="56" y="98"/>
                  </a:lnTo>
                  <a:lnTo>
                    <a:pt x="56" y="103"/>
                  </a:lnTo>
                  <a:lnTo>
                    <a:pt x="56" y="107"/>
                  </a:lnTo>
                  <a:lnTo>
                    <a:pt x="54" y="109"/>
                  </a:lnTo>
                  <a:lnTo>
                    <a:pt x="52" y="107"/>
                  </a:lnTo>
                  <a:lnTo>
                    <a:pt x="54" y="103"/>
                  </a:lnTo>
                  <a:lnTo>
                    <a:pt x="52" y="102"/>
                  </a:lnTo>
                  <a:lnTo>
                    <a:pt x="52" y="102"/>
                  </a:lnTo>
                  <a:lnTo>
                    <a:pt x="49" y="102"/>
                  </a:lnTo>
                  <a:lnTo>
                    <a:pt x="49" y="103"/>
                  </a:lnTo>
                  <a:lnTo>
                    <a:pt x="49" y="107"/>
                  </a:lnTo>
                  <a:lnTo>
                    <a:pt x="49" y="111"/>
                  </a:lnTo>
                  <a:lnTo>
                    <a:pt x="52" y="113"/>
                  </a:lnTo>
                  <a:lnTo>
                    <a:pt x="52" y="117"/>
                  </a:lnTo>
                  <a:lnTo>
                    <a:pt x="52" y="120"/>
                  </a:lnTo>
                  <a:lnTo>
                    <a:pt x="52" y="118"/>
                  </a:lnTo>
                  <a:lnTo>
                    <a:pt x="49" y="120"/>
                  </a:lnTo>
                  <a:lnTo>
                    <a:pt x="47" y="124"/>
                  </a:lnTo>
                  <a:lnTo>
                    <a:pt x="47" y="128"/>
                  </a:lnTo>
                  <a:lnTo>
                    <a:pt x="43" y="130"/>
                  </a:lnTo>
                  <a:lnTo>
                    <a:pt x="37" y="130"/>
                  </a:lnTo>
                  <a:lnTo>
                    <a:pt x="34" y="130"/>
                  </a:lnTo>
                  <a:lnTo>
                    <a:pt x="34" y="128"/>
                  </a:lnTo>
                  <a:lnTo>
                    <a:pt x="35" y="126"/>
                  </a:lnTo>
                  <a:lnTo>
                    <a:pt x="34" y="122"/>
                  </a:lnTo>
                  <a:lnTo>
                    <a:pt x="30" y="118"/>
                  </a:lnTo>
                  <a:lnTo>
                    <a:pt x="28" y="118"/>
                  </a:lnTo>
                  <a:lnTo>
                    <a:pt x="28" y="118"/>
                  </a:lnTo>
                  <a:lnTo>
                    <a:pt x="22" y="117"/>
                  </a:lnTo>
                  <a:lnTo>
                    <a:pt x="22" y="113"/>
                  </a:lnTo>
                  <a:lnTo>
                    <a:pt x="28" y="113"/>
                  </a:lnTo>
                  <a:lnTo>
                    <a:pt x="30" y="111"/>
                  </a:lnTo>
                  <a:lnTo>
                    <a:pt x="28" y="109"/>
                  </a:lnTo>
                  <a:lnTo>
                    <a:pt x="28" y="109"/>
                  </a:lnTo>
                  <a:lnTo>
                    <a:pt x="24" y="111"/>
                  </a:lnTo>
                  <a:lnTo>
                    <a:pt x="22" y="109"/>
                  </a:lnTo>
                  <a:lnTo>
                    <a:pt x="22" y="107"/>
                  </a:lnTo>
                  <a:lnTo>
                    <a:pt x="19" y="103"/>
                  </a:lnTo>
                  <a:lnTo>
                    <a:pt x="15" y="103"/>
                  </a:lnTo>
                  <a:lnTo>
                    <a:pt x="15" y="100"/>
                  </a:lnTo>
                  <a:lnTo>
                    <a:pt x="15" y="98"/>
                  </a:lnTo>
                  <a:lnTo>
                    <a:pt x="15" y="98"/>
                  </a:lnTo>
                  <a:lnTo>
                    <a:pt x="15" y="96"/>
                  </a:lnTo>
                  <a:lnTo>
                    <a:pt x="11" y="94"/>
                  </a:lnTo>
                  <a:lnTo>
                    <a:pt x="9" y="92"/>
                  </a:lnTo>
                  <a:lnTo>
                    <a:pt x="9" y="88"/>
                  </a:lnTo>
                  <a:lnTo>
                    <a:pt x="11" y="88"/>
                  </a:lnTo>
                  <a:lnTo>
                    <a:pt x="15" y="92"/>
                  </a:lnTo>
                  <a:lnTo>
                    <a:pt x="15" y="94"/>
                  </a:lnTo>
                  <a:lnTo>
                    <a:pt x="15" y="94"/>
                  </a:lnTo>
                  <a:lnTo>
                    <a:pt x="19" y="94"/>
                  </a:lnTo>
                  <a:lnTo>
                    <a:pt x="19" y="92"/>
                  </a:lnTo>
                  <a:lnTo>
                    <a:pt x="19" y="88"/>
                  </a:lnTo>
                  <a:lnTo>
                    <a:pt x="19" y="88"/>
                  </a:lnTo>
                  <a:lnTo>
                    <a:pt x="19" y="88"/>
                  </a:lnTo>
                  <a:lnTo>
                    <a:pt x="15" y="88"/>
                  </a:lnTo>
                  <a:lnTo>
                    <a:pt x="15" y="88"/>
                  </a:lnTo>
                  <a:lnTo>
                    <a:pt x="13" y="83"/>
                  </a:lnTo>
                  <a:lnTo>
                    <a:pt x="13" y="83"/>
                  </a:lnTo>
                  <a:lnTo>
                    <a:pt x="13" y="83"/>
                  </a:lnTo>
                  <a:lnTo>
                    <a:pt x="15" y="77"/>
                  </a:lnTo>
                  <a:lnTo>
                    <a:pt x="15" y="73"/>
                  </a:lnTo>
                  <a:lnTo>
                    <a:pt x="15" y="73"/>
                  </a:lnTo>
                  <a:lnTo>
                    <a:pt x="13" y="73"/>
                  </a:lnTo>
                  <a:lnTo>
                    <a:pt x="11" y="71"/>
                  </a:lnTo>
                  <a:lnTo>
                    <a:pt x="9" y="71"/>
                  </a:lnTo>
                  <a:lnTo>
                    <a:pt x="9" y="77"/>
                  </a:lnTo>
                  <a:lnTo>
                    <a:pt x="9" y="79"/>
                  </a:lnTo>
                  <a:lnTo>
                    <a:pt x="7" y="83"/>
                  </a:lnTo>
                  <a:lnTo>
                    <a:pt x="5" y="83"/>
                  </a:lnTo>
                  <a:lnTo>
                    <a:pt x="5" y="79"/>
                  </a:lnTo>
                  <a:lnTo>
                    <a:pt x="0" y="75"/>
                  </a:lnTo>
                  <a:lnTo>
                    <a:pt x="0" y="69"/>
                  </a:lnTo>
                  <a:lnTo>
                    <a:pt x="0" y="66"/>
                  </a:lnTo>
                  <a:lnTo>
                    <a:pt x="0" y="62"/>
                  </a:lnTo>
                  <a:lnTo>
                    <a:pt x="2" y="62"/>
                  </a:lnTo>
                  <a:lnTo>
                    <a:pt x="3" y="58"/>
                  </a:lnTo>
                  <a:lnTo>
                    <a:pt x="5" y="58"/>
                  </a:lnTo>
                  <a:lnTo>
                    <a:pt x="5" y="54"/>
                  </a:lnTo>
                  <a:lnTo>
                    <a:pt x="3" y="54"/>
                  </a:lnTo>
                  <a:lnTo>
                    <a:pt x="3" y="51"/>
                  </a:lnTo>
                  <a:lnTo>
                    <a:pt x="7" y="47"/>
                  </a:lnTo>
                  <a:lnTo>
                    <a:pt x="11" y="47"/>
                  </a:lnTo>
                  <a:lnTo>
                    <a:pt x="13" y="53"/>
                  </a:lnTo>
                  <a:lnTo>
                    <a:pt x="15" y="54"/>
                  </a:lnTo>
                  <a:lnTo>
                    <a:pt x="15" y="54"/>
                  </a:lnTo>
                  <a:lnTo>
                    <a:pt x="19" y="54"/>
                  </a:lnTo>
                  <a:lnTo>
                    <a:pt x="15" y="49"/>
                  </a:lnTo>
                  <a:lnTo>
                    <a:pt x="15" y="45"/>
                  </a:lnTo>
                  <a:lnTo>
                    <a:pt x="15" y="45"/>
                  </a:lnTo>
                  <a:lnTo>
                    <a:pt x="19" y="45"/>
                  </a:lnTo>
                  <a:lnTo>
                    <a:pt x="19" y="49"/>
                  </a:lnTo>
                  <a:lnTo>
                    <a:pt x="19" y="49"/>
                  </a:lnTo>
                  <a:lnTo>
                    <a:pt x="22" y="49"/>
                  </a:lnTo>
                  <a:lnTo>
                    <a:pt x="28" y="41"/>
                  </a:lnTo>
                  <a:lnTo>
                    <a:pt x="34" y="41"/>
                  </a:lnTo>
                  <a:lnTo>
                    <a:pt x="35" y="43"/>
                  </a:lnTo>
                  <a:lnTo>
                    <a:pt x="37" y="47"/>
                  </a:lnTo>
                  <a:lnTo>
                    <a:pt x="37" y="51"/>
                  </a:lnTo>
                  <a:lnTo>
                    <a:pt x="34" y="53"/>
                  </a:lnTo>
                  <a:lnTo>
                    <a:pt x="32" y="53"/>
                  </a:lnTo>
                  <a:lnTo>
                    <a:pt x="32" y="51"/>
                  </a:lnTo>
                  <a:lnTo>
                    <a:pt x="30" y="51"/>
                  </a:lnTo>
                  <a:lnTo>
                    <a:pt x="24" y="54"/>
                  </a:lnTo>
                  <a:lnTo>
                    <a:pt x="24" y="54"/>
                  </a:lnTo>
                  <a:lnTo>
                    <a:pt x="22" y="54"/>
                  </a:lnTo>
                  <a:lnTo>
                    <a:pt x="22" y="58"/>
                  </a:lnTo>
                  <a:lnTo>
                    <a:pt x="24" y="58"/>
                  </a:lnTo>
                  <a:lnTo>
                    <a:pt x="28" y="58"/>
                  </a:lnTo>
                  <a:lnTo>
                    <a:pt x="32" y="54"/>
                  </a:lnTo>
                  <a:lnTo>
                    <a:pt x="34" y="58"/>
                  </a:lnTo>
                  <a:lnTo>
                    <a:pt x="34" y="58"/>
                  </a:lnTo>
                  <a:lnTo>
                    <a:pt x="30" y="60"/>
                  </a:lnTo>
                  <a:lnTo>
                    <a:pt x="30" y="62"/>
                  </a:lnTo>
                  <a:lnTo>
                    <a:pt x="32" y="64"/>
                  </a:lnTo>
                  <a:lnTo>
                    <a:pt x="32" y="62"/>
                  </a:lnTo>
                  <a:lnTo>
                    <a:pt x="34" y="62"/>
                  </a:lnTo>
                  <a:lnTo>
                    <a:pt x="35" y="64"/>
                  </a:lnTo>
                  <a:lnTo>
                    <a:pt x="37" y="66"/>
                  </a:lnTo>
                  <a:lnTo>
                    <a:pt x="37" y="68"/>
                  </a:lnTo>
                  <a:lnTo>
                    <a:pt x="37" y="73"/>
                  </a:lnTo>
                  <a:lnTo>
                    <a:pt x="39" y="75"/>
                  </a:lnTo>
                  <a:lnTo>
                    <a:pt x="41" y="75"/>
                  </a:lnTo>
                  <a:lnTo>
                    <a:pt x="41" y="69"/>
                  </a:lnTo>
                  <a:lnTo>
                    <a:pt x="37" y="66"/>
                  </a:lnTo>
                  <a:lnTo>
                    <a:pt x="37" y="62"/>
                  </a:lnTo>
                  <a:lnTo>
                    <a:pt x="39" y="58"/>
                  </a:lnTo>
                  <a:lnTo>
                    <a:pt x="43" y="53"/>
                  </a:lnTo>
                  <a:lnTo>
                    <a:pt x="43" y="49"/>
                  </a:lnTo>
                  <a:lnTo>
                    <a:pt x="43" y="47"/>
                  </a:lnTo>
                  <a:lnTo>
                    <a:pt x="47" y="47"/>
                  </a:lnTo>
                  <a:lnTo>
                    <a:pt x="49" y="53"/>
                  </a:lnTo>
                  <a:lnTo>
                    <a:pt x="52" y="54"/>
                  </a:lnTo>
                  <a:lnTo>
                    <a:pt x="52" y="54"/>
                  </a:lnTo>
                  <a:lnTo>
                    <a:pt x="52" y="62"/>
                  </a:lnTo>
                  <a:lnTo>
                    <a:pt x="56" y="71"/>
                  </a:lnTo>
                  <a:lnTo>
                    <a:pt x="56" y="73"/>
                  </a:lnTo>
                  <a:lnTo>
                    <a:pt x="56" y="77"/>
                  </a:lnTo>
                  <a:lnTo>
                    <a:pt x="52" y="79"/>
                  </a:lnTo>
                  <a:lnTo>
                    <a:pt x="52" y="79"/>
                  </a:lnTo>
                  <a:lnTo>
                    <a:pt x="54" y="79"/>
                  </a:lnTo>
                  <a:lnTo>
                    <a:pt x="56" y="79"/>
                  </a:lnTo>
                  <a:lnTo>
                    <a:pt x="60" y="79"/>
                  </a:lnTo>
                  <a:lnTo>
                    <a:pt x="62" y="83"/>
                  </a:lnTo>
                  <a:lnTo>
                    <a:pt x="64" y="88"/>
                  </a:lnTo>
                  <a:lnTo>
                    <a:pt x="66" y="92"/>
                  </a:lnTo>
                  <a:lnTo>
                    <a:pt x="67" y="92"/>
                  </a:lnTo>
                  <a:lnTo>
                    <a:pt x="69" y="88"/>
                  </a:lnTo>
                  <a:lnTo>
                    <a:pt x="66" y="83"/>
                  </a:lnTo>
                  <a:lnTo>
                    <a:pt x="66" y="79"/>
                  </a:lnTo>
                  <a:lnTo>
                    <a:pt x="62" y="75"/>
                  </a:lnTo>
                  <a:lnTo>
                    <a:pt x="60" y="69"/>
                  </a:lnTo>
                  <a:lnTo>
                    <a:pt x="60" y="64"/>
                  </a:lnTo>
                  <a:lnTo>
                    <a:pt x="60" y="54"/>
                  </a:lnTo>
                  <a:lnTo>
                    <a:pt x="58" y="53"/>
                  </a:lnTo>
                  <a:lnTo>
                    <a:pt x="58" y="51"/>
                  </a:lnTo>
                  <a:lnTo>
                    <a:pt x="58" y="47"/>
                  </a:lnTo>
                  <a:lnTo>
                    <a:pt x="58" y="43"/>
                  </a:lnTo>
                  <a:lnTo>
                    <a:pt x="60" y="39"/>
                  </a:lnTo>
                  <a:lnTo>
                    <a:pt x="60" y="34"/>
                  </a:lnTo>
                  <a:lnTo>
                    <a:pt x="62" y="30"/>
                  </a:lnTo>
                  <a:lnTo>
                    <a:pt x="64" y="30"/>
                  </a:lnTo>
                  <a:lnTo>
                    <a:pt x="66" y="30"/>
                  </a:lnTo>
                  <a:lnTo>
                    <a:pt x="69" y="36"/>
                  </a:lnTo>
                  <a:lnTo>
                    <a:pt x="69" y="39"/>
                  </a:lnTo>
                  <a:lnTo>
                    <a:pt x="71" y="41"/>
                  </a:lnTo>
                  <a:lnTo>
                    <a:pt x="73" y="37"/>
                  </a:lnTo>
                  <a:lnTo>
                    <a:pt x="77" y="36"/>
                  </a:lnTo>
                  <a:lnTo>
                    <a:pt x="77" y="37"/>
                  </a:lnTo>
                  <a:lnTo>
                    <a:pt x="83" y="43"/>
                  </a:lnTo>
                  <a:lnTo>
                    <a:pt x="83" y="49"/>
                  </a:lnTo>
                  <a:lnTo>
                    <a:pt x="83" y="53"/>
                  </a:lnTo>
                  <a:lnTo>
                    <a:pt x="83" y="54"/>
                  </a:lnTo>
                  <a:lnTo>
                    <a:pt x="83" y="60"/>
                  </a:lnTo>
                  <a:lnTo>
                    <a:pt x="83" y="66"/>
                  </a:lnTo>
                  <a:lnTo>
                    <a:pt x="83" y="68"/>
                  </a:lnTo>
                  <a:lnTo>
                    <a:pt x="83" y="69"/>
                  </a:lnTo>
                  <a:lnTo>
                    <a:pt x="84" y="66"/>
                  </a:lnTo>
                  <a:lnTo>
                    <a:pt x="84" y="62"/>
                  </a:lnTo>
                  <a:lnTo>
                    <a:pt x="84" y="54"/>
                  </a:lnTo>
                  <a:lnTo>
                    <a:pt x="84" y="53"/>
                  </a:lnTo>
                  <a:lnTo>
                    <a:pt x="88" y="51"/>
                  </a:lnTo>
                  <a:lnTo>
                    <a:pt x="92" y="54"/>
                  </a:lnTo>
                  <a:lnTo>
                    <a:pt x="96" y="60"/>
                  </a:lnTo>
                  <a:lnTo>
                    <a:pt x="98" y="69"/>
                  </a:lnTo>
                  <a:lnTo>
                    <a:pt x="98" y="71"/>
                  </a:lnTo>
                  <a:lnTo>
                    <a:pt x="99" y="75"/>
                  </a:lnTo>
                  <a:lnTo>
                    <a:pt x="103" y="75"/>
                  </a:lnTo>
                  <a:lnTo>
                    <a:pt x="107" y="75"/>
                  </a:lnTo>
                  <a:lnTo>
                    <a:pt x="109" y="79"/>
                  </a:lnTo>
                  <a:lnTo>
                    <a:pt x="111" y="83"/>
                  </a:lnTo>
                  <a:lnTo>
                    <a:pt x="116" y="88"/>
                  </a:lnTo>
                  <a:lnTo>
                    <a:pt x="120" y="88"/>
                  </a:lnTo>
                  <a:lnTo>
                    <a:pt x="128" y="92"/>
                  </a:lnTo>
                  <a:lnTo>
                    <a:pt x="131" y="92"/>
                  </a:lnTo>
                  <a:lnTo>
                    <a:pt x="131" y="96"/>
                  </a:lnTo>
                  <a:lnTo>
                    <a:pt x="131" y="98"/>
                  </a:lnTo>
                  <a:lnTo>
                    <a:pt x="128" y="102"/>
                  </a:lnTo>
                  <a:lnTo>
                    <a:pt x="128" y="102"/>
                  </a:lnTo>
                  <a:lnTo>
                    <a:pt x="126" y="98"/>
                  </a:lnTo>
                  <a:lnTo>
                    <a:pt x="122" y="100"/>
                  </a:lnTo>
                  <a:lnTo>
                    <a:pt x="120" y="100"/>
                  </a:lnTo>
                  <a:lnTo>
                    <a:pt x="115" y="103"/>
                  </a:lnTo>
                  <a:lnTo>
                    <a:pt x="111" y="103"/>
                  </a:lnTo>
                  <a:lnTo>
                    <a:pt x="111" y="103"/>
                  </a:lnTo>
                  <a:lnTo>
                    <a:pt x="111" y="107"/>
                  </a:lnTo>
                  <a:lnTo>
                    <a:pt x="111" y="109"/>
                  </a:lnTo>
                  <a:lnTo>
                    <a:pt x="107" y="113"/>
                  </a:lnTo>
                  <a:lnTo>
                    <a:pt x="107" y="113"/>
                  </a:lnTo>
                  <a:lnTo>
                    <a:pt x="107" y="118"/>
                  </a:lnTo>
                  <a:lnTo>
                    <a:pt x="107" y="126"/>
                  </a:lnTo>
                  <a:lnTo>
                    <a:pt x="107" y="128"/>
                  </a:lnTo>
                  <a:lnTo>
                    <a:pt x="107" y="134"/>
                  </a:lnTo>
                  <a:lnTo>
                    <a:pt x="107" y="134"/>
                  </a:lnTo>
                  <a:lnTo>
                    <a:pt x="107" y="137"/>
                  </a:lnTo>
                  <a:lnTo>
                    <a:pt x="103" y="135"/>
                  </a:lnTo>
                  <a:lnTo>
                    <a:pt x="103" y="137"/>
                  </a:lnTo>
                  <a:lnTo>
                    <a:pt x="103" y="141"/>
                  </a:lnTo>
                  <a:lnTo>
                    <a:pt x="103" y="147"/>
                  </a:lnTo>
                  <a:lnTo>
                    <a:pt x="103" y="149"/>
                  </a:lnTo>
                  <a:lnTo>
                    <a:pt x="103" y="152"/>
                  </a:lnTo>
                  <a:lnTo>
                    <a:pt x="103" y="158"/>
                  </a:lnTo>
                  <a:lnTo>
                    <a:pt x="103" y="162"/>
                  </a:lnTo>
                  <a:lnTo>
                    <a:pt x="103" y="162"/>
                  </a:lnTo>
                  <a:lnTo>
                    <a:pt x="98" y="162"/>
                  </a:lnTo>
                  <a:lnTo>
                    <a:pt x="96" y="162"/>
                  </a:lnTo>
                  <a:lnTo>
                    <a:pt x="98" y="166"/>
                  </a:lnTo>
                  <a:lnTo>
                    <a:pt x="98" y="167"/>
                  </a:lnTo>
                  <a:lnTo>
                    <a:pt x="96" y="167"/>
                  </a:lnTo>
                  <a:lnTo>
                    <a:pt x="96" y="171"/>
                  </a:lnTo>
                  <a:lnTo>
                    <a:pt x="96" y="173"/>
                  </a:lnTo>
                  <a:lnTo>
                    <a:pt x="94" y="186"/>
                  </a:lnTo>
                  <a:lnTo>
                    <a:pt x="94" y="190"/>
                  </a:lnTo>
                  <a:lnTo>
                    <a:pt x="92" y="192"/>
                  </a:lnTo>
                  <a:lnTo>
                    <a:pt x="92" y="196"/>
                  </a:lnTo>
                  <a:lnTo>
                    <a:pt x="94" y="199"/>
                  </a:lnTo>
                  <a:lnTo>
                    <a:pt x="94" y="201"/>
                  </a:lnTo>
                  <a:lnTo>
                    <a:pt x="92" y="205"/>
                  </a:lnTo>
                  <a:lnTo>
                    <a:pt x="92" y="207"/>
                  </a:lnTo>
                  <a:lnTo>
                    <a:pt x="90" y="211"/>
                  </a:lnTo>
                  <a:lnTo>
                    <a:pt x="86" y="211"/>
                  </a:lnTo>
                  <a:lnTo>
                    <a:pt x="86" y="211"/>
                  </a:lnTo>
                  <a:lnTo>
                    <a:pt x="86" y="211"/>
                  </a:lnTo>
                  <a:lnTo>
                    <a:pt x="86" y="2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2" name="Freeform 155">
              <a:extLst>
                <a:ext uri="{FF2B5EF4-FFF2-40B4-BE49-F238E27FC236}">
                  <a16:creationId xmlns:a16="http://schemas.microsoft.com/office/drawing/2014/main" id="{AB79CE2E-50DC-4EBC-95D9-BC10AD688D54}"/>
                </a:ext>
              </a:extLst>
            </p:cNvPr>
            <p:cNvSpPr>
              <a:spLocks noEditPoints="1"/>
            </p:cNvSpPr>
            <p:nvPr/>
          </p:nvSpPr>
          <p:spPr bwMode="auto">
            <a:xfrm>
              <a:off x="2410" y="1617"/>
              <a:ext cx="164" cy="105"/>
            </a:xfrm>
            <a:custGeom>
              <a:avLst/>
              <a:gdLst/>
              <a:ahLst/>
              <a:cxnLst>
                <a:cxn ang="0">
                  <a:pos x="60" y="104"/>
                </a:cxn>
                <a:cxn ang="0">
                  <a:pos x="49" y="88"/>
                </a:cxn>
                <a:cxn ang="0">
                  <a:pos x="62" y="94"/>
                </a:cxn>
                <a:cxn ang="0">
                  <a:pos x="89" y="100"/>
                </a:cxn>
                <a:cxn ang="0">
                  <a:pos x="96" y="94"/>
                </a:cxn>
                <a:cxn ang="0">
                  <a:pos x="104" y="90"/>
                </a:cxn>
                <a:cxn ang="0">
                  <a:pos x="115" y="87"/>
                </a:cxn>
                <a:cxn ang="0">
                  <a:pos x="137" y="73"/>
                </a:cxn>
                <a:cxn ang="0">
                  <a:pos x="141" y="71"/>
                </a:cxn>
                <a:cxn ang="0">
                  <a:pos x="149" y="62"/>
                </a:cxn>
                <a:cxn ang="0">
                  <a:pos x="154" y="60"/>
                </a:cxn>
                <a:cxn ang="0">
                  <a:pos x="154" y="45"/>
                </a:cxn>
                <a:cxn ang="0">
                  <a:pos x="164" y="36"/>
                </a:cxn>
                <a:cxn ang="0">
                  <a:pos x="154" y="26"/>
                </a:cxn>
                <a:cxn ang="0">
                  <a:pos x="151" y="21"/>
                </a:cxn>
                <a:cxn ang="0">
                  <a:pos x="143" y="11"/>
                </a:cxn>
                <a:cxn ang="0">
                  <a:pos x="149" y="2"/>
                </a:cxn>
                <a:cxn ang="0">
                  <a:pos x="134" y="9"/>
                </a:cxn>
                <a:cxn ang="0">
                  <a:pos x="124" y="2"/>
                </a:cxn>
                <a:cxn ang="0">
                  <a:pos x="119" y="11"/>
                </a:cxn>
                <a:cxn ang="0">
                  <a:pos x="109" y="15"/>
                </a:cxn>
                <a:cxn ang="0">
                  <a:pos x="94" y="11"/>
                </a:cxn>
                <a:cxn ang="0">
                  <a:pos x="90" y="21"/>
                </a:cxn>
                <a:cxn ang="0">
                  <a:pos x="79" y="15"/>
                </a:cxn>
                <a:cxn ang="0">
                  <a:pos x="72" y="21"/>
                </a:cxn>
                <a:cxn ang="0">
                  <a:pos x="62" y="21"/>
                </a:cxn>
                <a:cxn ang="0">
                  <a:pos x="60" y="30"/>
                </a:cxn>
                <a:cxn ang="0">
                  <a:pos x="49" y="38"/>
                </a:cxn>
                <a:cxn ang="0">
                  <a:pos x="45" y="26"/>
                </a:cxn>
                <a:cxn ang="0">
                  <a:pos x="51" y="17"/>
                </a:cxn>
                <a:cxn ang="0">
                  <a:pos x="43" y="9"/>
                </a:cxn>
                <a:cxn ang="0">
                  <a:pos x="30" y="0"/>
                </a:cxn>
                <a:cxn ang="0">
                  <a:pos x="26" y="2"/>
                </a:cxn>
                <a:cxn ang="0">
                  <a:pos x="30" y="6"/>
                </a:cxn>
                <a:cxn ang="0">
                  <a:pos x="34" y="15"/>
                </a:cxn>
                <a:cxn ang="0">
                  <a:pos x="25" y="15"/>
                </a:cxn>
                <a:cxn ang="0">
                  <a:pos x="19" y="11"/>
                </a:cxn>
                <a:cxn ang="0">
                  <a:pos x="15" y="15"/>
                </a:cxn>
                <a:cxn ang="0">
                  <a:pos x="13" y="21"/>
                </a:cxn>
                <a:cxn ang="0">
                  <a:pos x="15" y="24"/>
                </a:cxn>
                <a:cxn ang="0">
                  <a:pos x="9" y="30"/>
                </a:cxn>
                <a:cxn ang="0">
                  <a:pos x="4" y="30"/>
                </a:cxn>
                <a:cxn ang="0">
                  <a:pos x="21" y="24"/>
                </a:cxn>
                <a:cxn ang="0">
                  <a:pos x="25" y="30"/>
                </a:cxn>
                <a:cxn ang="0">
                  <a:pos x="32" y="30"/>
                </a:cxn>
                <a:cxn ang="0">
                  <a:pos x="40" y="30"/>
                </a:cxn>
                <a:cxn ang="0">
                  <a:pos x="32" y="38"/>
                </a:cxn>
                <a:cxn ang="0">
                  <a:pos x="38" y="39"/>
                </a:cxn>
                <a:cxn ang="0">
                  <a:pos x="30" y="45"/>
                </a:cxn>
                <a:cxn ang="0">
                  <a:pos x="21" y="43"/>
                </a:cxn>
                <a:cxn ang="0">
                  <a:pos x="15" y="47"/>
                </a:cxn>
                <a:cxn ang="0">
                  <a:pos x="6" y="51"/>
                </a:cxn>
                <a:cxn ang="0">
                  <a:pos x="25" y="55"/>
                </a:cxn>
                <a:cxn ang="0">
                  <a:pos x="30" y="62"/>
                </a:cxn>
                <a:cxn ang="0">
                  <a:pos x="32" y="66"/>
                </a:cxn>
                <a:cxn ang="0">
                  <a:pos x="43" y="71"/>
                </a:cxn>
                <a:cxn ang="0">
                  <a:pos x="30" y="75"/>
                </a:cxn>
                <a:cxn ang="0">
                  <a:pos x="21" y="73"/>
                </a:cxn>
                <a:cxn ang="0">
                  <a:pos x="21" y="81"/>
                </a:cxn>
                <a:cxn ang="0">
                  <a:pos x="34" y="88"/>
                </a:cxn>
                <a:cxn ang="0">
                  <a:pos x="49" y="88"/>
                </a:cxn>
              </a:cxnLst>
              <a:rect l="0" t="0" r="r" b="b"/>
              <a:pathLst>
                <a:path w="164" h="105">
                  <a:moveTo>
                    <a:pt x="57" y="105"/>
                  </a:moveTo>
                  <a:lnTo>
                    <a:pt x="55" y="104"/>
                  </a:lnTo>
                  <a:lnTo>
                    <a:pt x="57" y="100"/>
                  </a:lnTo>
                  <a:lnTo>
                    <a:pt x="60" y="100"/>
                  </a:lnTo>
                  <a:lnTo>
                    <a:pt x="60" y="104"/>
                  </a:lnTo>
                  <a:lnTo>
                    <a:pt x="57" y="105"/>
                  </a:lnTo>
                  <a:lnTo>
                    <a:pt x="57" y="105"/>
                  </a:lnTo>
                  <a:lnTo>
                    <a:pt x="57" y="105"/>
                  </a:lnTo>
                  <a:lnTo>
                    <a:pt x="57" y="105"/>
                  </a:lnTo>
                  <a:close/>
                  <a:moveTo>
                    <a:pt x="49" y="88"/>
                  </a:moveTo>
                  <a:lnTo>
                    <a:pt x="51" y="87"/>
                  </a:lnTo>
                  <a:lnTo>
                    <a:pt x="51" y="90"/>
                  </a:lnTo>
                  <a:lnTo>
                    <a:pt x="57" y="96"/>
                  </a:lnTo>
                  <a:lnTo>
                    <a:pt x="60" y="98"/>
                  </a:lnTo>
                  <a:lnTo>
                    <a:pt x="62" y="94"/>
                  </a:lnTo>
                  <a:lnTo>
                    <a:pt x="66" y="94"/>
                  </a:lnTo>
                  <a:lnTo>
                    <a:pt x="72" y="102"/>
                  </a:lnTo>
                  <a:lnTo>
                    <a:pt x="79" y="100"/>
                  </a:lnTo>
                  <a:lnTo>
                    <a:pt x="81" y="102"/>
                  </a:lnTo>
                  <a:lnTo>
                    <a:pt x="89" y="100"/>
                  </a:lnTo>
                  <a:lnTo>
                    <a:pt x="89" y="96"/>
                  </a:lnTo>
                  <a:lnTo>
                    <a:pt x="89" y="94"/>
                  </a:lnTo>
                  <a:lnTo>
                    <a:pt x="90" y="96"/>
                  </a:lnTo>
                  <a:lnTo>
                    <a:pt x="94" y="98"/>
                  </a:lnTo>
                  <a:lnTo>
                    <a:pt x="96" y="94"/>
                  </a:lnTo>
                  <a:lnTo>
                    <a:pt x="98" y="88"/>
                  </a:lnTo>
                  <a:lnTo>
                    <a:pt x="102" y="88"/>
                  </a:lnTo>
                  <a:lnTo>
                    <a:pt x="100" y="90"/>
                  </a:lnTo>
                  <a:lnTo>
                    <a:pt x="102" y="92"/>
                  </a:lnTo>
                  <a:lnTo>
                    <a:pt x="104" y="90"/>
                  </a:lnTo>
                  <a:lnTo>
                    <a:pt x="105" y="90"/>
                  </a:lnTo>
                  <a:lnTo>
                    <a:pt x="109" y="85"/>
                  </a:lnTo>
                  <a:lnTo>
                    <a:pt x="111" y="87"/>
                  </a:lnTo>
                  <a:lnTo>
                    <a:pt x="113" y="87"/>
                  </a:lnTo>
                  <a:lnTo>
                    <a:pt x="115" y="87"/>
                  </a:lnTo>
                  <a:lnTo>
                    <a:pt x="115" y="87"/>
                  </a:lnTo>
                  <a:lnTo>
                    <a:pt x="119" y="87"/>
                  </a:lnTo>
                  <a:lnTo>
                    <a:pt x="124" y="81"/>
                  </a:lnTo>
                  <a:lnTo>
                    <a:pt x="128" y="75"/>
                  </a:lnTo>
                  <a:lnTo>
                    <a:pt x="137" y="73"/>
                  </a:lnTo>
                  <a:lnTo>
                    <a:pt x="139" y="71"/>
                  </a:lnTo>
                  <a:lnTo>
                    <a:pt x="137" y="68"/>
                  </a:lnTo>
                  <a:lnTo>
                    <a:pt x="139" y="66"/>
                  </a:lnTo>
                  <a:lnTo>
                    <a:pt x="141" y="66"/>
                  </a:lnTo>
                  <a:lnTo>
                    <a:pt x="141" y="71"/>
                  </a:lnTo>
                  <a:lnTo>
                    <a:pt x="145" y="71"/>
                  </a:lnTo>
                  <a:lnTo>
                    <a:pt x="149" y="68"/>
                  </a:lnTo>
                  <a:lnTo>
                    <a:pt x="149" y="66"/>
                  </a:lnTo>
                  <a:lnTo>
                    <a:pt x="149" y="66"/>
                  </a:lnTo>
                  <a:lnTo>
                    <a:pt x="149" y="62"/>
                  </a:lnTo>
                  <a:lnTo>
                    <a:pt x="149" y="62"/>
                  </a:lnTo>
                  <a:lnTo>
                    <a:pt x="149" y="58"/>
                  </a:lnTo>
                  <a:lnTo>
                    <a:pt x="149" y="56"/>
                  </a:lnTo>
                  <a:lnTo>
                    <a:pt x="154" y="58"/>
                  </a:lnTo>
                  <a:lnTo>
                    <a:pt x="154" y="60"/>
                  </a:lnTo>
                  <a:lnTo>
                    <a:pt x="156" y="60"/>
                  </a:lnTo>
                  <a:lnTo>
                    <a:pt x="158" y="56"/>
                  </a:lnTo>
                  <a:lnTo>
                    <a:pt x="158" y="53"/>
                  </a:lnTo>
                  <a:lnTo>
                    <a:pt x="154" y="49"/>
                  </a:lnTo>
                  <a:lnTo>
                    <a:pt x="154" y="45"/>
                  </a:lnTo>
                  <a:lnTo>
                    <a:pt x="156" y="43"/>
                  </a:lnTo>
                  <a:lnTo>
                    <a:pt x="156" y="39"/>
                  </a:lnTo>
                  <a:lnTo>
                    <a:pt x="160" y="38"/>
                  </a:lnTo>
                  <a:lnTo>
                    <a:pt x="162" y="38"/>
                  </a:lnTo>
                  <a:lnTo>
                    <a:pt x="164" y="36"/>
                  </a:lnTo>
                  <a:lnTo>
                    <a:pt x="160" y="32"/>
                  </a:lnTo>
                  <a:lnTo>
                    <a:pt x="154" y="32"/>
                  </a:lnTo>
                  <a:lnTo>
                    <a:pt x="151" y="34"/>
                  </a:lnTo>
                  <a:lnTo>
                    <a:pt x="154" y="30"/>
                  </a:lnTo>
                  <a:lnTo>
                    <a:pt x="154" y="26"/>
                  </a:lnTo>
                  <a:lnTo>
                    <a:pt x="149" y="26"/>
                  </a:lnTo>
                  <a:lnTo>
                    <a:pt x="149" y="30"/>
                  </a:lnTo>
                  <a:lnTo>
                    <a:pt x="145" y="24"/>
                  </a:lnTo>
                  <a:lnTo>
                    <a:pt x="149" y="21"/>
                  </a:lnTo>
                  <a:lnTo>
                    <a:pt x="151" y="21"/>
                  </a:lnTo>
                  <a:lnTo>
                    <a:pt x="151" y="15"/>
                  </a:lnTo>
                  <a:lnTo>
                    <a:pt x="149" y="15"/>
                  </a:lnTo>
                  <a:lnTo>
                    <a:pt x="145" y="15"/>
                  </a:lnTo>
                  <a:lnTo>
                    <a:pt x="145" y="15"/>
                  </a:lnTo>
                  <a:lnTo>
                    <a:pt x="143" y="11"/>
                  </a:lnTo>
                  <a:lnTo>
                    <a:pt x="145" y="11"/>
                  </a:lnTo>
                  <a:lnTo>
                    <a:pt x="145" y="6"/>
                  </a:lnTo>
                  <a:lnTo>
                    <a:pt x="149" y="6"/>
                  </a:lnTo>
                  <a:lnTo>
                    <a:pt x="151" y="6"/>
                  </a:lnTo>
                  <a:lnTo>
                    <a:pt x="149" y="2"/>
                  </a:lnTo>
                  <a:lnTo>
                    <a:pt x="145" y="2"/>
                  </a:lnTo>
                  <a:lnTo>
                    <a:pt x="139" y="11"/>
                  </a:lnTo>
                  <a:lnTo>
                    <a:pt x="137" y="11"/>
                  </a:lnTo>
                  <a:lnTo>
                    <a:pt x="136" y="11"/>
                  </a:lnTo>
                  <a:lnTo>
                    <a:pt x="134" y="9"/>
                  </a:lnTo>
                  <a:lnTo>
                    <a:pt x="134" y="6"/>
                  </a:lnTo>
                  <a:lnTo>
                    <a:pt x="132" y="6"/>
                  </a:lnTo>
                  <a:lnTo>
                    <a:pt x="132" y="2"/>
                  </a:lnTo>
                  <a:lnTo>
                    <a:pt x="128" y="2"/>
                  </a:lnTo>
                  <a:lnTo>
                    <a:pt x="124" y="2"/>
                  </a:lnTo>
                  <a:lnTo>
                    <a:pt x="124" y="2"/>
                  </a:lnTo>
                  <a:lnTo>
                    <a:pt x="121" y="6"/>
                  </a:lnTo>
                  <a:lnTo>
                    <a:pt x="124" y="9"/>
                  </a:lnTo>
                  <a:lnTo>
                    <a:pt x="121" y="11"/>
                  </a:lnTo>
                  <a:lnTo>
                    <a:pt x="119" y="11"/>
                  </a:lnTo>
                  <a:lnTo>
                    <a:pt x="115" y="15"/>
                  </a:lnTo>
                  <a:lnTo>
                    <a:pt x="115" y="11"/>
                  </a:lnTo>
                  <a:lnTo>
                    <a:pt x="113" y="9"/>
                  </a:lnTo>
                  <a:lnTo>
                    <a:pt x="111" y="11"/>
                  </a:lnTo>
                  <a:lnTo>
                    <a:pt x="109" y="15"/>
                  </a:lnTo>
                  <a:lnTo>
                    <a:pt x="105" y="15"/>
                  </a:lnTo>
                  <a:lnTo>
                    <a:pt x="102" y="11"/>
                  </a:lnTo>
                  <a:lnTo>
                    <a:pt x="98" y="11"/>
                  </a:lnTo>
                  <a:lnTo>
                    <a:pt x="98" y="11"/>
                  </a:lnTo>
                  <a:lnTo>
                    <a:pt x="94" y="11"/>
                  </a:lnTo>
                  <a:lnTo>
                    <a:pt x="94" y="15"/>
                  </a:lnTo>
                  <a:lnTo>
                    <a:pt x="96" y="23"/>
                  </a:lnTo>
                  <a:lnTo>
                    <a:pt x="94" y="32"/>
                  </a:lnTo>
                  <a:lnTo>
                    <a:pt x="94" y="24"/>
                  </a:lnTo>
                  <a:lnTo>
                    <a:pt x="90" y="21"/>
                  </a:lnTo>
                  <a:lnTo>
                    <a:pt x="90" y="15"/>
                  </a:lnTo>
                  <a:lnTo>
                    <a:pt x="90" y="15"/>
                  </a:lnTo>
                  <a:lnTo>
                    <a:pt x="90" y="11"/>
                  </a:lnTo>
                  <a:lnTo>
                    <a:pt x="85" y="9"/>
                  </a:lnTo>
                  <a:lnTo>
                    <a:pt x="79" y="15"/>
                  </a:lnTo>
                  <a:lnTo>
                    <a:pt x="77" y="17"/>
                  </a:lnTo>
                  <a:lnTo>
                    <a:pt x="79" y="21"/>
                  </a:lnTo>
                  <a:lnTo>
                    <a:pt x="75" y="24"/>
                  </a:lnTo>
                  <a:lnTo>
                    <a:pt x="73" y="24"/>
                  </a:lnTo>
                  <a:lnTo>
                    <a:pt x="72" y="21"/>
                  </a:lnTo>
                  <a:lnTo>
                    <a:pt x="70" y="21"/>
                  </a:lnTo>
                  <a:lnTo>
                    <a:pt x="70" y="11"/>
                  </a:lnTo>
                  <a:lnTo>
                    <a:pt x="66" y="9"/>
                  </a:lnTo>
                  <a:lnTo>
                    <a:pt x="62" y="11"/>
                  </a:lnTo>
                  <a:lnTo>
                    <a:pt x="62" y="21"/>
                  </a:lnTo>
                  <a:lnTo>
                    <a:pt x="64" y="24"/>
                  </a:lnTo>
                  <a:lnTo>
                    <a:pt x="64" y="30"/>
                  </a:lnTo>
                  <a:lnTo>
                    <a:pt x="62" y="34"/>
                  </a:lnTo>
                  <a:lnTo>
                    <a:pt x="60" y="34"/>
                  </a:lnTo>
                  <a:lnTo>
                    <a:pt x="60" y="30"/>
                  </a:lnTo>
                  <a:lnTo>
                    <a:pt x="55" y="30"/>
                  </a:lnTo>
                  <a:lnTo>
                    <a:pt x="55" y="36"/>
                  </a:lnTo>
                  <a:lnTo>
                    <a:pt x="51" y="38"/>
                  </a:lnTo>
                  <a:lnTo>
                    <a:pt x="51" y="43"/>
                  </a:lnTo>
                  <a:lnTo>
                    <a:pt x="49" y="38"/>
                  </a:lnTo>
                  <a:lnTo>
                    <a:pt x="47" y="36"/>
                  </a:lnTo>
                  <a:lnTo>
                    <a:pt x="47" y="34"/>
                  </a:lnTo>
                  <a:lnTo>
                    <a:pt x="49" y="30"/>
                  </a:lnTo>
                  <a:lnTo>
                    <a:pt x="49" y="26"/>
                  </a:lnTo>
                  <a:lnTo>
                    <a:pt x="45" y="26"/>
                  </a:lnTo>
                  <a:lnTo>
                    <a:pt x="47" y="24"/>
                  </a:lnTo>
                  <a:lnTo>
                    <a:pt x="45" y="21"/>
                  </a:lnTo>
                  <a:lnTo>
                    <a:pt x="47" y="23"/>
                  </a:lnTo>
                  <a:lnTo>
                    <a:pt x="51" y="21"/>
                  </a:lnTo>
                  <a:lnTo>
                    <a:pt x="51" y="17"/>
                  </a:lnTo>
                  <a:lnTo>
                    <a:pt x="47" y="15"/>
                  </a:lnTo>
                  <a:lnTo>
                    <a:pt x="49" y="11"/>
                  </a:lnTo>
                  <a:lnTo>
                    <a:pt x="47" y="11"/>
                  </a:lnTo>
                  <a:lnTo>
                    <a:pt x="45" y="11"/>
                  </a:lnTo>
                  <a:lnTo>
                    <a:pt x="43" y="9"/>
                  </a:lnTo>
                  <a:lnTo>
                    <a:pt x="38" y="6"/>
                  </a:lnTo>
                  <a:lnTo>
                    <a:pt x="38" y="2"/>
                  </a:lnTo>
                  <a:lnTo>
                    <a:pt x="36" y="0"/>
                  </a:lnTo>
                  <a:lnTo>
                    <a:pt x="32" y="0"/>
                  </a:lnTo>
                  <a:lnTo>
                    <a:pt x="30" y="0"/>
                  </a:lnTo>
                  <a:lnTo>
                    <a:pt x="25" y="0"/>
                  </a:lnTo>
                  <a:lnTo>
                    <a:pt x="21" y="2"/>
                  </a:lnTo>
                  <a:lnTo>
                    <a:pt x="25" y="2"/>
                  </a:lnTo>
                  <a:lnTo>
                    <a:pt x="26" y="2"/>
                  </a:lnTo>
                  <a:lnTo>
                    <a:pt x="26" y="2"/>
                  </a:lnTo>
                  <a:lnTo>
                    <a:pt x="30" y="2"/>
                  </a:lnTo>
                  <a:lnTo>
                    <a:pt x="32" y="2"/>
                  </a:lnTo>
                  <a:lnTo>
                    <a:pt x="34" y="2"/>
                  </a:lnTo>
                  <a:lnTo>
                    <a:pt x="32" y="6"/>
                  </a:lnTo>
                  <a:lnTo>
                    <a:pt x="30" y="6"/>
                  </a:lnTo>
                  <a:lnTo>
                    <a:pt x="26" y="6"/>
                  </a:lnTo>
                  <a:lnTo>
                    <a:pt x="26" y="6"/>
                  </a:lnTo>
                  <a:lnTo>
                    <a:pt x="32" y="9"/>
                  </a:lnTo>
                  <a:lnTo>
                    <a:pt x="36" y="15"/>
                  </a:lnTo>
                  <a:lnTo>
                    <a:pt x="34" y="15"/>
                  </a:lnTo>
                  <a:lnTo>
                    <a:pt x="32" y="15"/>
                  </a:lnTo>
                  <a:lnTo>
                    <a:pt x="32" y="15"/>
                  </a:lnTo>
                  <a:lnTo>
                    <a:pt x="30" y="11"/>
                  </a:lnTo>
                  <a:lnTo>
                    <a:pt x="26" y="15"/>
                  </a:lnTo>
                  <a:lnTo>
                    <a:pt x="25" y="15"/>
                  </a:lnTo>
                  <a:lnTo>
                    <a:pt x="25" y="11"/>
                  </a:lnTo>
                  <a:lnTo>
                    <a:pt x="21" y="6"/>
                  </a:lnTo>
                  <a:lnTo>
                    <a:pt x="19" y="6"/>
                  </a:lnTo>
                  <a:lnTo>
                    <a:pt x="17" y="6"/>
                  </a:lnTo>
                  <a:lnTo>
                    <a:pt x="19" y="11"/>
                  </a:lnTo>
                  <a:lnTo>
                    <a:pt x="19" y="11"/>
                  </a:lnTo>
                  <a:lnTo>
                    <a:pt x="17" y="9"/>
                  </a:lnTo>
                  <a:lnTo>
                    <a:pt x="13" y="9"/>
                  </a:lnTo>
                  <a:lnTo>
                    <a:pt x="11" y="11"/>
                  </a:lnTo>
                  <a:lnTo>
                    <a:pt x="15" y="15"/>
                  </a:lnTo>
                  <a:lnTo>
                    <a:pt x="17" y="15"/>
                  </a:lnTo>
                  <a:lnTo>
                    <a:pt x="19" y="15"/>
                  </a:lnTo>
                  <a:lnTo>
                    <a:pt x="15" y="15"/>
                  </a:lnTo>
                  <a:lnTo>
                    <a:pt x="11" y="15"/>
                  </a:lnTo>
                  <a:lnTo>
                    <a:pt x="13" y="21"/>
                  </a:lnTo>
                  <a:lnTo>
                    <a:pt x="19" y="21"/>
                  </a:lnTo>
                  <a:lnTo>
                    <a:pt x="15" y="21"/>
                  </a:lnTo>
                  <a:lnTo>
                    <a:pt x="15" y="23"/>
                  </a:lnTo>
                  <a:lnTo>
                    <a:pt x="15" y="24"/>
                  </a:lnTo>
                  <a:lnTo>
                    <a:pt x="15" y="24"/>
                  </a:lnTo>
                  <a:lnTo>
                    <a:pt x="9" y="21"/>
                  </a:lnTo>
                  <a:lnTo>
                    <a:pt x="8" y="21"/>
                  </a:lnTo>
                  <a:lnTo>
                    <a:pt x="6" y="21"/>
                  </a:lnTo>
                  <a:lnTo>
                    <a:pt x="8" y="24"/>
                  </a:lnTo>
                  <a:lnTo>
                    <a:pt x="9" y="30"/>
                  </a:lnTo>
                  <a:lnTo>
                    <a:pt x="8" y="30"/>
                  </a:lnTo>
                  <a:lnTo>
                    <a:pt x="4" y="24"/>
                  </a:lnTo>
                  <a:lnTo>
                    <a:pt x="2" y="23"/>
                  </a:lnTo>
                  <a:lnTo>
                    <a:pt x="0" y="26"/>
                  </a:lnTo>
                  <a:lnTo>
                    <a:pt x="4" y="30"/>
                  </a:lnTo>
                  <a:lnTo>
                    <a:pt x="6" y="32"/>
                  </a:lnTo>
                  <a:lnTo>
                    <a:pt x="11" y="34"/>
                  </a:lnTo>
                  <a:lnTo>
                    <a:pt x="13" y="30"/>
                  </a:lnTo>
                  <a:lnTo>
                    <a:pt x="19" y="30"/>
                  </a:lnTo>
                  <a:lnTo>
                    <a:pt x="21" y="24"/>
                  </a:lnTo>
                  <a:lnTo>
                    <a:pt x="21" y="26"/>
                  </a:lnTo>
                  <a:lnTo>
                    <a:pt x="21" y="30"/>
                  </a:lnTo>
                  <a:lnTo>
                    <a:pt x="21" y="30"/>
                  </a:lnTo>
                  <a:lnTo>
                    <a:pt x="25" y="26"/>
                  </a:lnTo>
                  <a:lnTo>
                    <a:pt x="25" y="30"/>
                  </a:lnTo>
                  <a:lnTo>
                    <a:pt x="26" y="30"/>
                  </a:lnTo>
                  <a:lnTo>
                    <a:pt x="30" y="30"/>
                  </a:lnTo>
                  <a:lnTo>
                    <a:pt x="30" y="26"/>
                  </a:lnTo>
                  <a:lnTo>
                    <a:pt x="30" y="30"/>
                  </a:lnTo>
                  <a:lnTo>
                    <a:pt x="32" y="30"/>
                  </a:lnTo>
                  <a:lnTo>
                    <a:pt x="36" y="26"/>
                  </a:lnTo>
                  <a:lnTo>
                    <a:pt x="36" y="30"/>
                  </a:lnTo>
                  <a:lnTo>
                    <a:pt x="34" y="32"/>
                  </a:lnTo>
                  <a:lnTo>
                    <a:pt x="36" y="34"/>
                  </a:lnTo>
                  <a:lnTo>
                    <a:pt x="40" y="30"/>
                  </a:lnTo>
                  <a:lnTo>
                    <a:pt x="43" y="34"/>
                  </a:lnTo>
                  <a:lnTo>
                    <a:pt x="41" y="34"/>
                  </a:lnTo>
                  <a:lnTo>
                    <a:pt x="38" y="34"/>
                  </a:lnTo>
                  <a:lnTo>
                    <a:pt x="36" y="36"/>
                  </a:lnTo>
                  <a:lnTo>
                    <a:pt x="32" y="38"/>
                  </a:lnTo>
                  <a:lnTo>
                    <a:pt x="26" y="39"/>
                  </a:lnTo>
                  <a:lnTo>
                    <a:pt x="26" y="39"/>
                  </a:lnTo>
                  <a:lnTo>
                    <a:pt x="34" y="41"/>
                  </a:lnTo>
                  <a:lnTo>
                    <a:pt x="38" y="41"/>
                  </a:lnTo>
                  <a:lnTo>
                    <a:pt x="38" y="39"/>
                  </a:lnTo>
                  <a:lnTo>
                    <a:pt x="41" y="38"/>
                  </a:lnTo>
                  <a:lnTo>
                    <a:pt x="41" y="41"/>
                  </a:lnTo>
                  <a:lnTo>
                    <a:pt x="38" y="45"/>
                  </a:lnTo>
                  <a:lnTo>
                    <a:pt x="32" y="45"/>
                  </a:lnTo>
                  <a:lnTo>
                    <a:pt x="30" y="45"/>
                  </a:lnTo>
                  <a:lnTo>
                    <a:pt x="26" y="47"/>
                  </a:lnTo>
                  <a:lnTo>
                    <a:pt x="25" y="45"/>
                  </a:lnTo>
                  <a:lnTo>
                    <a:pt x="25" y="45"/>
                  </a:lnTo>
                  <a:lnTo>
                    <a:pt x="25" y="43"/>
                  </a:lnTo>
                  <a:lnTo>
                    <a:pt x="21" y="43"/>
                  </a:lnTo>
                  <a:lnTo>
                    <a:pt x="21" y="43"/>
                  </a:lnTo>
                  <a:lnTo>
                    <a:pt x="21" y="45"/>
                  </a:lnTo>
                  <a:lnTo>
                    <a:pt x="21" y="47"/>
                  </a:lnTo>
                  <a:lnTo>
                    <a:pt x="19" y="45"/>
                  </a:lnTo>
                  <a:lnTo>
                    <a:pt x="15" y="47"/>
                  </a:lnTo>
                  <a:lnTo>
                    <a:pt x="11" y="47"/>
                  </a:lnTo>
                  <a:lnTo>
                    <a:pt x="8" y="47"/>
                  </a:lnTo>
                  <a:lnTo>
                    <a:pt x="4" y="47"/>
                  </a:lnTo>
                  <a:lnTo>
                    <a:pt x="2" y="47"/>
                  </a:lnTo>
                  <a:lnTo>
                    <a:pt x="6" y="51"/>
                  </a:lnTo>
                  <a:lnTo>
                    <a:pt x="8" y="55"/>
                  </a:lnTo>
                  <a:lnTo>
                    <a:pt x="11" y="55"/>
                  </a:lnTo>
                  <a:lnTo>
                    <a:pt x="11" y="55"/>
                  </a:lnTo>
                  <a:lnTo>
                    <a:pt x="19" y="56"/>
                  </a:lnTo>
                  <a:lnTo>
                    <a:pt x="25" y="55"/>
                  </a:lnTo>
                  <a:lnTo>
                    <a:pt x="30" y="55"/>
                  </a:lnTo>
                  <a:lnTo>
                    <a:pt x="30" y="56"/>
                  </a:lnTo>
                  <a:lnTo>
                    <a:pt x="25" y="58"/>
                  </a:lnTo>
                  <a:lnTo>
                    <a:pt x="25" y="60"/>
                  </a:lnTo>
                  <a:lnTo>
                    <a:pt x="30" y="62"/>
                  </a:lnTo>
                  <a:lnTo>
                    <a:pt x="30" y="66"/>
                  </a:lnTo>
                  <a:lnTo>
                    <a:pt x="32" y="66"/>
                  </a:lnTo>
                  <a:lnTo>
                    <a:pt x="38" y="62"/>
                  </a:lnTo>
                  <a:lnTo>
                    <a:pt x="36" y="62"/>
                  </a:lnTo>
                  <a:lnTo>
                    <a:pt x="32" y="66"/>
                  </a:lnTo>
                  <a:lnTo>
                    <a:pt x="30" y="68"/>
                  </a:lnTo>
                  <a:lnTo>
                    <a:pt x="34" y="71"/>
                  </a:lnTo>
                  <a:lnTo>
                    <a:pt x="40" y="66"/>
                  </a:lnTo>
                  <a:lnTo>
                    <a:pt x="43" y="68"/>
                  </a:lnTo>
                  <a:lnTo>
                    <a:pt x="43" y="71"/>
                  </a:lnTo>
                  <a:lnTo>
                    <a:pt x="41" y="68"/>
                  </a:lnTo>
                  <a:lnTo>
                    <a:pt x="38" y="71"/>
                  </a:lnTo>
                  <a:lnTo>
                    <a:pt x="36" y="71"/>
                  </a:lnTo>
                  <a:lnTo>
                    <a:pt x="32" y="71"/>
                  </a:lnTo>
                  <a:lnTo>
                    <a:pt x="30" y="75"/>
                  </a:lnTo>
                  <a:lnTo>
                    <a:pt x="30" y="77"/>
                  </a:lnTo>
                  <a:lnTo>
                    <a:pt x="26" y="77"/>
                  </a:lnTo>
                  <a:lnTo>
                    <a:pt x="25" y="77"/>
                  </a:lnTo>
                  <a:lnTo>
                    <a:pt x="25" y="75"/>
                  </a:lnTo>
                  <a:lnTo>
                    <a:pt x="21" y="73"/>
                  </a:lnTo>
                  <a:lnTo>
                    <a:pt x="21" y="75"/>
                  </a:lnTo>
                  <a:lnTo>
                    <a:pt x="21" y="75"/>
                  </a:lnTo>
                  <a:lnTo>
                    <a:pt x="21" y="81"/>
                  </a:lnTo>
                  <a:lnTo>
                    <a:pt x="21" y="81"/>
                  </a:lnTo>
                  <a:lnTo>
                    <a:pt x="21" y="81"/>
                  </a:lnTo>
                  <a:lnTo>
                    <a:pt x="21" y="88"/>
                  </a:lnTo>
                  <a:lnTo>
                    <a:pt x="25" y="88"/>
                  </a:lnTo>
                  <a:lnTo>
                    <a:pt x="25" y="87"/>
                  </a:lnTo>
                  <a:lnTo>
                    <a:pt x="30" y="88"/>
                  </a:lnTo>
                  <a:lnTo>
                    <a:pt x="34" y="88"/>
                  </a:lnTo>
                  <a:lnTo>
                    <a:pt x="40" y="85"/>
                  </a:lnTo>
                  <a:lnTo>
                    <a:pt x="43" y="87"/>
                  </a:lnTo>
                  <a:lnTo>
                    <a:pt x="47" y="85"/>
                  </a:lnTo>
                  <a:lnTo>
                    <a:pt x="47" y="88"/>
                  </a:lnTo>
                  <a:lnTo>
                    <a:pt x="49" y="88"/>
                  </a:lnTo>
                  <a:lnTo>
                    <a:pt x="49" y="88"/>
                  </a:lnTo>
                  <a:lnTo>
                    <a:pt x="49" y="8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3" name="Freeform 156">
              <a:extLst>
                <a:ext uri="{FF2B5EF4-FFF2-40B4-BE49-F238E27FC236}">
                  <a16:creationId xmlns:a16="http://schemas.microsoft.com/office/drawing/2014/main" id="{696F3D5F-8918-4CA3-B8F0-E225317CD455}"/>
                </a:ext>
              </a:extLst>
            </p:cNvPr>
            <p:cNvSpPr>
              <a:spLocks noEditPoints="1"/>
            </p:cNvSpPr>
            <p:nvPr/>
          </p:nvSpPr>
          <p:spPr bwMode="auto">
            <a:xfrm>
              <a:off x="1862" y="798"/>
              <a:ext cx="781" cy="1009"/>
            </a:xfrm>
            <a:custGeom>
              <a:avLst/>
              <a:gdLst/>
              <a:ahLst/>
              <a:cxnLst>
                <a:cxn ang="0">
                  <a:pos x="194" y="958"/>
                </a:cxn>
                <a:cxn ang="0">
                  <a:pos x="147" y="924"/>
                </a:cxn>
                <a:cxn ang="0">
                  <a:pos x="141" y="866"/>
                </a:cxn>
                <a:cxn ang="0">
                  <a:pos x="126" y="832"/>
                </a:cxn>
                <a:cxn ang="0">
                  <a:pos x="156" y="777"/>
                </a:cxn>
                <a:cxn ang="0">
                  <a:pos x="117" y="755"/>
                </a:cxn>
                <a:cxn ang="0">
                  <a:pos x="132" y="734"/>
                </a:cxn>
                <a:cxn ang="0">
                  <a:pos x="175" y="706"/>
                </a:cxn>
                <a:cxn ang="0">
                  <a:pos x="145" y="644"/>
                </a:cxn>
                <a:cxn ang="0">
                  <a:pos x="173" y="615"/>
                </a:cxn>
                <a:cxn ang="0">
                  <a:pos x="141" y="604"/>
                </a:cxn>
                <a:cxn ang="0">
                  <a:pos x="155" y="514"/>
                </a:cxn>
                <a:cxn ang="0">
                  <a:pos x="132" y="393"/>
                </a:cxn>
                <a:cxn ang="0">
                  <a:pos x="27" y="344"/>
                </a:cxn>
                <a:cxn ang="0">
                  <a:pos x="72" y="291"/>
                </a:cxn>
                <a:cxn ang="0">
                  <a:pos x="49" y="231"/>
                </a:cxn>
                <a:cxn ang="0">
                  <a:pos x="130" y="163"/>
                </a:cxn>
                <a:cxn ang="0">
                  <a:pos x="224" y="94"/>
                </a:cxn>
                <a:cxn ang="0">
                  <a:pos x="322" y="94"/>
                </a:cxn>
                <a:cxn ang="0">
                  <a:pos x="396" y="88"/>
                </a:cxn>
                <a:cxn ang="0">
                  <a:pos x="460" y="56"/>
                </a:cxn>
                <a:cxn ang="0">
                  <a:pos x="490" y="33"/>
                </a:cxn>
                <a:cxn ang="0">
                  <a:pos x="635" y="30"/>
                </a:cxn>
                <a:cxn ang="0">
                  <a:pos x="554" y="47"/>
                </a:cxn>
                <a:cxn ang="0">
                  <a:pos x="674" y="69"/>
                </a:cxn>
                <a:cxn ang="0">
                  <a:pos x="571" y="118"/>
                </a:cxn>
                <a:cxn ang="0">
                  <a:pos x="640" y="152"/>
                </a:cxn>
                <a:cxn ang="0">
                  <a:pos x="669" y="182"/>
                </a:cxn>
                <a:cxn ang="0">
                  <a:pos x="744" y="197"/>
                </a:cxn>
                <a:cxn ang="0">
                  <a:pos x="674" y="248"/>
                </a:cxn>
                <a:cxn ang="0">
                  <a:pos x="670" y="384"/>
                </a:cxn>
                <a:cxn ang="0">
                  <a:pos x="633" y="418"/>
                </a:cxn>
                <a:cxn ang="0">
                  <a:pos x="644" y="487"/>
                </a:cxn>
                <a:cxn ang="0">
                  <a:pos x="644" y="525"/>
                </a:cxn>
                <a:cxn ang="0">
                  <a:pos x="588" y="550"/>
                </a:cxn>
                <a:cxn ang="0">
                  <a:pos x="539" y="568"/>
                </a:cxn>
                <a:cxn ang="0">
                  <a:pos x="573" y="599"/>
                </a:cxn>
                <a:cxn ang="0">
                  <a:pos x="601" y="678"/>
                </a:cxn>
                <a:cxn ang="0">
                  <a:pos x="533" y="636"/>
                </a:cxn>
                <a:cxn ang="0">
                  <a:pos x="524" y="691"/>
                </a:cxn>
                <a:cxn ang="0">
                  <a:pos x="546" y="727"/>
                </a:cxn>
                <a:cxn ang="0">
                  <a:pos x="441" y="734"/>
                </a:cxn>
                <a:cxn ang="0">
                  <a:pos x="377" y="821"/>
                </a:cxn>
                <a:cxn ang="0">
                  <a:pos x="311" y="845"/>
                </a:cxn>
                <a:cxn ang="0">
                  <a:pos x="279" y="906"/>
                </a:cxn>
                <a:cxn ang="0">
                  <a:pos x="252" y="949"/>
                </a:cxn>
                <a:cxn ang="0">
                  <a:pos x="234" y="998"/>
                </a:cxn>
                <a:cxn ang="0">
                  <a:pos x="262" y="923"/>
                </a:cxn>
                <a:cxn ang="0">
                  <a:pos x="347" y="832"/>
                </a:cxn>
                <a:cxn ang="0">
                  <a:pos x="599" y="597"/>
                </a:cxn>
                <a:cxn ang="0">
                  <a:pos x="578" y="563"/>
                </a:cxn>
                <a:cxn ang="0">
                  <a:pos x="682" y="497"/>
                </a:cxn>
                <a:cxn ang="0">
                  <a:pos x="661" y="363"/>
                </a:cxn>
                <a:cxn ang="0">
                  <a:pos x="719" y="146"/>
                </a:cxn>
                <a:cxn ang="0">
                  <a:pos x="484" y="20"/>
                </a:cxn>
                <a:cxn ang="0">
                  <a:pos x="401" y="107"/>
                </a:cxn>
                <a:cxn ang="0">
                  <a:pos x="17" y="295"/>
                </a:cxn>
                <a:cxn ang="0">
                  <a:pos x="155" y="521"/>
                </a:cxn>
                <a:cxn ang="0">
                  <a:pos x="147" y="551"/>
                </a:cxn>
                <a:cxn ang="0">
                  <a:pos x="187" y="973"/>
                </a:cxn>
                <a:cxn ang="0">
                  <a:pos x="117" y="777"/>
                </a:cxn>
                <a:cxn ang="0">
                  <a:pos x="179" y="634"/>
                </a:cxn>
                <a:cxn ang="0">
                  <a:pos x="175" y="668"/>
                </a:cxn>
              </a:cxnLst>
              <a:rect l="0" t="0" r="r" b="b"/>
              <a:pathLst>
                <a:path w="781" h="1009">
                  <a:moveTo>
                    <a:pt x="234" y="998"/>
                  </a:moveTo>
                  <a:lnTo>
                    <a:pt x="224" y="994"/>
                  </a:lnTo>
                  <a:lnTo>
                    <a:pt x="220" y="994"/>
                  </a:lnTo>
                  <a:lnTo>
                    <a:pt x="219" y="994"/>
                  </a:lnTo>
                  <a:lnTo>
                    <a:pt x="220" y="990"/>
                  </a:lnTo>
                  <a:lnTo>
                    <a:pt x="220" y="990"/>
                  </a:lnTo>
                  <a:lnTo>
                    <a:pt x="220" y="988"/>
                  </a:lnTo>
                  <a:lnTo>
                    <a:pt x="219" y="988"/>
                  </a:lnTo>
                  <a:lnTo>
                    <a:pt x="217" y="990"/>
                  </a:lnTo>
                  <a:lnTo>
                    <a:pt x="217" y="990"/>
                  </a:lnTo>
                  <a:lnTo>
                    <a:pt x="215" y="994"/>
                  </a:lnTo>
                  <a:lnTo>
                    <a:pt x="213" y="994"/>
                  </a:lnTo>
                  <a:lnTo>
                    <a:pt x="211" y="994"/>
                  </a:lnTo>
                  <a:lnTo>
                    <a:pt x="211" y="994"/>
                  </a:lnTo>
                  <a:lnTo>
                    <a:pt x="211" y="998"/>
                  </a:lnTo>
                  <a:lnTo>
                    <a:pt x="209" y="1000"/>
                  </a:lnTo>
                  <a:lnTo>
                    <a:pt x="207" y="998"/>
                  </a:lnTo>
                  <a:lnTo>
                    <a:pt x="209" y="994"/>
                  </a:lnTo>
                  <a:lnTo>
                    <a:pt x="209" y="994"/>
                  </a:lnTo>
                  <a:lnTo>
                    <a:pt x="209" y="990"/>
                  </a:lnTo>
                  <a:lnTo>
                    <a:pt x="213" y="987"/>
                  </a:lnTo>
                  <a:lnTo>
                    <a:pt x="213" y="985"/>
                  </a:lnTo>
                  <a:lnTo>
                    <a:pt x="211" y="987"/>
                  </a:lnTo>
                  <a:lnTo>
                    <a:pt x="207" y="994"/>
                  </a:lnTo>
                  <a:lnTo>
                    <a:pt x="204" y="994"/>
                  </a:lnTo>
                  <a:lnTo>
                    <a:pt x="204" y="994"/>
                  </a:lnTo>
                  <a:lnTo>
                    <a:pt x="204" y="994"/>
                  </a:lnTo>
                  <a:lnTo>
                    <a:pt x="207" y="990"/>
                  </a:lnTo>
                  <a:lnTo>
                    <a:pt x="207" y="987"/>
                  </a:lnTo>
                  <a:lnTo>
                    <a:pt x="209" y="983"/>
                  </a:lnTo>
                  <a:lnTo>
                    <a:pt x="207" y="983"/>
                  </a:lnTo>
                  <a:lnTo>
                    <a:pt x="205" y="983"/>
                  </a:lnTo>
                  <a:lnTo>
                    <a:pt x="204" y="987"/>
                  </a:lnTo>
                  <a:lnTo>
                    <a:pt x="204" y="987"/>
                  </a:lnTo>
                  <a:lnTo>
                    <a:pt x="204" y="987"/>
                  </a:lnTo>
                  <a:lnTo>
                    <a:pt x="204" y="983"/>
                  </a:lnTo>
                  <a:lnTo>
                    <a:pt x="205" y="981"/>
                  </a:lnTo>
                  <a:lnTo>
                    <a:pt x="204" y="979"/>
                  </a:lnTo>
                  <a:lnTo>
                    <a:pt x="204" y="981"/>
                  </a:lnTo>
                  <a:lnTo>
                    <a:pt x="200" y="983"/>
                  </a:lnTo>
                  <a:lnTo>
                    <a:pt x="200" y="983"/>
                  </a:lnTo>
                  <a:lnTo>
                    <a:pt x="200" y="987"/>
                  </a:lnTo>
                  <a:lnTo>
                    <a:pt x="198" y="983"/>
                  </a:lnTo>
                  <a:lnTo>
                    <a:pt x="198" y="981"/>
                  </a:lnTo>
                  <a:lnTo>
                    <a:pt x="196" y="981"/>
                  </a:lnTo>
                  <a:lnTo>
                    <a:pt x="194" y="983"/>
                  </a:lnTo>
                  <a:lnTo>
                    <a:pt x="192" y="983"/>
                  </a:lnTo>
                  <a:lnTo>
                    <a:pt x="194" y="981"/>
                  </a:lnTo>
                  <a:lnTo>
                    <a:pt x="200" y="977"/>
                  </a:lnTo>
                  <a:lnTo>
                    <a:pt x="200" y="975"/>
                  </a:lnTo>
                  <a:lnTo>
                    <a:pt x="200" y="973"/>
                  </a:lnTo>
                  <a:lnTo>
                    <a:pt x="204" y="973"/>
                  </a:lnTo>
                  <a:lnTo>
                    <a:pt x="204" y="970"/>
                  </a:lnTo>
                  <a:lnTo>
                    <a:pt x="200" y="973"/>
                  </a:lnTo>
                  <a:lnTo>
                    <a:pt x="198" y="973"/>
                  </a:lnTo>
                  <a:lnTo>
                    <a:pt x="196" y="973"/>
                  </a:lnTo>
                  <a:lnTo>
                    <a:pt x="198" y="973"/>
                  </a:lnTo>
                  <a:lnTo>
                    <a:pt x="200" y="973"/>
                  </a:lnTo>
                  <a:lnTo>
                    <a:pt x="204" y="970"/>
                  </a:lnTo>
                  <a:lnTo>
                    <a:pt x="205" y="970"/>
                  </a:lnTo>
                  <a:lnTo>
                    <a:pt x="207" y="968"/>
                  </a:lnTo>
                  <a:lnTo>
                    <a:pt x="207" y="964"/>
                  </a:lnTo>
                  <a:lnTo>
                    <a:pt x="207" y="960"/>
                  </a:lnTo>
                  <a:lnTo>
                    <a:pt x="205" y="960"/>
                  </a:lnTo>
                  <a:lnTo>
                    <a:pt x="204" y="968"/>
                  </a:lnTo>
                  <a:lnTo>
                    <a:pt x="198" y="970"/>
                  </a:lnTo>
                  <a:lnTo>
                    <a:pt x="194" y="970"/>
                  </a:lnTo>
                  <a:lnTo>
                    <a:pt x="192" y="970"/>
                  </a:lnTo>
                  <a:lnTo>
                    <a:pt x="194" y="970"/>
                  </a:lnTo>
                  <a:lnTo>
                    <a:pt x="196" y="970"/>
                  </a:lnTo>
                  <a:lnTo>
                    <a:pt x="200" y="964"/>
                  </a:lnTo>
                  <a:lnTo>
                    <a:pt x="200" y="960"/>
                  </a:lnTo>
                  <a:lnTo>
                    <a:pt x="198" y="958"/>
                  </a:lnTo>
                  <a:lnTo>
                    <a:pt x="196" y="958"/>
                  </a:lnTo>
                  <a:lnTo>
                    <a:pt x="194" y="958"/>
                  </a:lnTo>
                  <a:lnTo>
                    <a:pt x="194" y="960"/>
                  </a:lnTo>
                  <a:lnTo>
                    <a:pt x="196" y="960"/>
                  </a:lnTo>
                  <a:lnTo>
                    <a:pt x="196" y="964"/>
                  </a:lnTo>
                  <a:lnTo>
                    <a:pt x="194" y="964"/>
                  </a:lnTo>
                  <a:lnTo>
                    <a:pt x="192" y="964"/>
                  </a:lnTo>
                  <a:lnTo>
                    <a:pt x="188" y="964"/>
                  </a:lnTo>
                  <a:lnTo>
                    <a:pt x="187" y="964"/>
                  </a:lnTo>
                  <a:lnTo>
                    <a:pt x="185" y="968"/>
                  </a:lnTo>
                  <a:lnTo>
                    <a:pt x="183" y="970"/>
                  </a:lnTo>
                  <a:lnTo>
                    <a:pt x="181" y="970"/>
                  </a:lnTo>
                  <a:lnTo>
                    <a:pt x="179" y="970"/>
                  </a:lnTo>
                  <a:lnTo>
                    <a:pt x="179" y="970"/>
                  </a:lnTo>
                  <a:lnTo>
                    <a:pt x="175" y="970"/>
                  </a:lnTo>
                  <a:lnTo>
                    <a:pt x="173" y="970"/>
                  </a:lnTo>
                  <a:lnTo>
                    <a:pt x="172" y="970"/>
                  </a:lnTo>
                  <a:lnTo>
                    <a:pt x="170" y="970"/>
                  </a:lnTo>
                  <a:lnTo>
                    <a:pt x="170" y="973"/>
                  </a:lnTo>
                  <a:lnTo>
                    <a:pt x="170" y="973"/>
                  </a:lnTo>
                  <a:lnTo>
                    <a:pt x="170" y="973"/>
                  </a:lnTo>
                  <a:lnTo>
                    <a:pt x="164" y="973"/>
                  </a:lnTo>
                  <a:lnTo>
                    <a:pt x="162" y="970"/>
                  </a:lnTo>
                  <a:lnTo>
                    <a:pt x="164" y="970"/>
                  </a:lnTo>
                  <a:lnTo>
                    <a:pt x="168" y="970"/>
                  </a:lnTo>
                  <a:lnTo>
                    <a:pt x="170" y="968"/>
                  </a:lnTo>
                  <a:lnTo>
                    <a:pt x="170" y="964"/>
                  </a:lnTo>
                  <a:lnTo>
                    <a:pt x="166" y="964"/>
                  </a:lnTo>
                  <a:lnTo>
                    <a:pt x="166" y="960"/>
                  </a:lnTo>
                  <a:lnTo>
                    <a:pt x="162" y="958"/>
                  </a:lnTo>
                  <a:lnTo>
                    <a:pt x="162" y="956"/>
                  </a:lnTo>
                  <a:lnTo>
                    <a:pt x="160" y="958"/>
                  </a:lnTo>
                  <a:lnTo>
                    <a:pt x="155" y="960"/>
                  </a:lnTo>
                  <a:lnTo>
                    <a:pt x="155" y="960"/>
                  </a:lnTo>
                  <a:lnTo>
                    <a:pt x="151" y="958"/>
                  </a:lnTo>
                  <a:lnTo>
                    <a:pt x="155" y="955"/>
                  </a:lnTo>
                  <a:lnTo>
                    <a:pt x="155" y="953"/>
                  </a:lnTo>
                  <a:lnTo>
                    <a:pt x="151" y="953"/>
                  </a:lnTo>
                  <a:lnTo>
                    <a:pt x="151" y="953"/>
                  </a:lnTo>
                  <a:lnTo>
                    <a:pt x="155" y="951"/>
                  </a:lnTo>
                  <a:lnTo>
                    <a:pt x="158" y="951"/>
                  </a:lnTo>
                  <a:lnTo>
                    <a:pt x="158" y="949"/>
                  </a:lnTo>
                  <a:lnTo>
                    <a:pt x="158" y="947"/>
                  </a:lnTo>
                  <a:lnTo>
                    <a:pt x="156" y="947"/>
                  </a:lnTo>
                  <a:lnTo>
                    <a:pt x="155" y="947"/>
                  </a:lnTo>
                  <a:lnTo>
                    <a:pt x="151" y="949"/>
                  </a:lnTo>
                  <a:lnTo>
                    <a:pt x="147" y="951"/>
                  </a:lnTo>
                  <a:lnTo>
                    <a:pt x="141" y="949"/>
                  </a:lnTo>
                  <a:lnTo>
                    <a:pt x="145" y="947"/>
                  </a:lnTo>
                  <a:lnTo>
                    <a:pt x="147" y="947"/>
                  </a:lnTo>
                  <a:lnTo>
                    <a:pt x="149" y="945"/>
                  </a:lnTo>
                  <a:lnTo>
                    <a:pt x="149" y="943"/>
                  </a:lnTo>
                  <a:lnTo>
                    <a:pt x="151" y="939"/>
                  </a:lnTo>
                  <a:lnTo>
                    <a:pt x="155" y="939"/>
                  </a:lnTo>
                  <a:lnTo>
                    <a:pt x="155" y="939"/>
                  </a:lnTo>
                  <a:lnTo>
                    <a:pt x="151" y="936"/>
                  </a:lnTo>
                  <a:lnTo>
                    <a:pt x="149" y="939"/>
                  </a:lnTo>
                  <a:lnTo>
                    <a:pt x="145" y="939"/>
                  </a:lnTo>
                  <a:lnTo>
                    <a:pt x="141" y="939"/>
                  </a:lnTo>
                  <a:lnTo>
                    <a:pt x="145" y="936"/>
                  </a:lnTo>
                  <a:lnTo>
                    <a:pt x="147" y="934"/>
                  </a:lnTo>
                  <a:lnTo>
                    <a:pt x="151" y="936"/>
                  </a:lnTo>
                  <a:lnTo>
                    <a:pt x="151" y="934"/>
                  </a:lnTo>
                  <a:lnTo>
                    <a:pt x="155" y="934"/>
                  </a:lnTo>
                  <a:lnTo>
                    <a:pt x="155" y="930"/>
                  </a:lnTo>
                  <a:lnTo>
                    <a:pt x="155" y="930"/>
                  </a:lnTo>
                  <a:lnTo>
                    <a:pt x="155" y="928"/>
                  </a:lnTo>
                  <a:lnTo>
                    <a:pt x="149" y="930"/>
                  </a:lnTo>
                  <a:lnTo>
                    <a:pt x="149" y="930"/>
                  </a:lnTo>
                  <a:lnTo>
                    <a:pt x="147" y="934"/>
                  </a:lnTo>
                  <a:lnTo>
                    <a:pt x="141" y="934"/>
                  </a:lnTo>
                  <a:lnTo>
                    <a:pt x="145" y="930"/>
                  </a:lnTo>
                  <a:lnTo>
                    <a:pt x="147" y="930"/>
                  </a:lnTo>
                  <a:lnTo>
                    <a:pt x="147" y="928"/>
                  </a:lnTo>
                  <a:lnTo>
                    <a:pt x="145" y="926"/>
                  </a:lnTo>
                  <a:lnTo>
                    <a:pt x="147" y="924"/>
                  </a:lnTo>
                  <a:lnTo>
                    <a:pt x="147" y="924"/>
                  </a:lnTo>
                  <a:lnTo>
                    <a:pt x="145" y="923"/>
                  </a:lnTo>
                  <a:lnTo>
                    <a:pt x="141" y="923"/>
                  </a:lnTo>
                  <a:lnTo>
                    <a:pt x="141" y="923"/>
                  </a:lnTo>
                  <a:lnTo>
                    <a:pt x="145" y="921"/>
                  </a:lnTo>
                  <a:lnTo>
                    <a:pt x="141" y="917"/>
                  </a:lnTo>
                  <a:lnTo>
                    <a:pt x="141" y="917"/>
                  </a:lnTo>
                  <a:lnTo>
                    <a:pt x="140" y="919"/>
                  </a:lnTo>
                  <a:lnTo>
                    <a:pt x="138" y="919"/>
                  </a:lnTo>
                  <a:lnTo>
                    <a:pt x="138" y="917"/>
                  </a:lnTo>
                  <a:lnTo>
                    <a:pt x="140" y="915"/>
                  </a:lnTo>
                  <a:lnTo>
                    <a:pt x="141" y="911"/>
                  </a:lnTo>
                  <a:lnTo>
                    <a:pt x="141" y="911"/>
                  </a:lnTo>
                  <a:lnTo>
                    <a:pt x="145" y="909"/>
                  </a:lnTo>
                  <a:lnTo>
                    <a:pt x="141" y="906"/>
                  </a:lnTo>
                  <a:lnTo>
                    <a:pt x="145" y="906"/>
                  </a:lnTo>
                  <a:lnTo>
                    <a:pt x="145" y="904"/>
                  </a:lnTo>
                  <a:lnTo>
                    <a:pt x="145" y="900"/>
                  </a:lnTo>
                  <a:lnTo>
                    <a:pt x="141" y="904"/>
                  </a:lnTo>
                  <a:lnTo>
                    <a:pt x="141" y="904"/>
                  </a:lnTo>
                  <a:lnTo>
                    <a:pt x="141" y="900"/>
                  </a:lnTo>
                  <a:lnTo>
                    <a:pt x="138" y="900"/>
                  </a:lnTo>
                  <a:lnTo>
                    <a:pt x="138" y="904"/>
                  </a:lnTo>
                  <a:lnTo>
                    <a:pt x="136" y="904"/>
                  </a:lnTo>
                  <a:lnTo>
                    <a:pt x="134" y="900"/>
                  </a:lnTo>
                  <a:lnTo>
                    <a:pt x="136" y="898"/>
                  </a:lnTo>
                  <a:lnTo>
                    <a:pt x="140" y="896"/>
                  </a:lnTo>
                  <a:lnTo>
                    <a:pt x="140" y="894"/>
                  </a:lnTo>
                  <a:lnTo>
                    <a:pt x="138" y="892"/>
                  </a:lnTo>
                  <a:lnTo>
                    <a:pt x="134" y="892"/>
                  </a:lnTo>
                  <a:lnTo>
                    <a:pt x="132" y="894"/>
                  </a:lnTo>
                  <a:lnTo>
                    <a:pt x="130" y="894"/>
                  </a:lnTo>
                  <a:lnTo>
                    <a:pt x="130" y="892"/>
                  </a:lnTo>
                  <a:lnTo>
                    <a:pt x="130" y="890"/>
                  </a:lnTo>
                  <a:lnTo>
                    <a:pt x="132" y="890"/>
                  </a:lnTo>
                  <a:lnTo>
                    <a:pt x="136" y="890"/>
                  </a:lnTo>
                  <a:lnTo>
                    <a:pt x="140" y="890"/>
                  </a:lnTo>
                  <a:lnTo>
                    <a:pt x="141" y="889"/>
                  </a:lnTo>
                  <a:lnTo>
                    <a:pt x="140" y="889"/>
                  </a:lnTo>
                  <a:lnTo>
                    <a:pt x="138" y="887"/>
                  </a:lnTo>
                  <a:lnTo>
                    <a:pt x="134" y="887"/>
                  </a:lnTo>
                  <a:lnTo>
                    <a:pt x="132" y="889"/>
                  </a:lnTo>
                  <a:lnTo>
                    <a:pt x="130" y="889"/>
                  </a:lnTo>
                  <a:lnTo>
                    <a:pt x="130" y="887"/>
                  </a:lnTo>
                  <a:lnTo>
                    <a:pt x="132" y="883"/>
                  </a:lnTo>
                  <a:lnTo>
                    <a:pt x="136" y="883"/>
                  </a:lnTo>
                  <a:lnTo>
                    <a:pt x="138" y="883"/>
                  </a:lnTo>
                  <a:lnTo>
                    <a:pt x="136" y="881"/>
                  </a:lnTo>
                  <a:lnTo>
                    <a:pt x="134" y="881"/>
                  </a:lnTo>
                  <a:lnTo>
                    <a:pt x="132" y="879"/>
                  </a:lnTo>
                  <a:lnTo>
                    <a:pt x="134" y="879"/>
                  </a:lnTo>
                  <a:lnTo>
                    <a:pt x="136" y="879"/>
                  </a:lnTo>
                  <a:lnTo>
                    <a:pt x="138" y="881"/>
                  </a:lnTo>
                  <a:lnTo>
                    <a:pt x="141" y="879"/>
                  </a:lnTo>
                  <a:lnTo>
                    <a:pt x="141" y="879"/>
                  </a:lnTo>
                  <a:lnTo>
                    <a:pt x="141" y="875"/>
                  </a:lnTo>
                  <a:lnTo>
                    <a:pt x="141" y="879"/>
                  </a:lnTo>
                  <a:lnTo>
                    <a:pt x="138" y="879"/>
                  </a:lnTo>
                  <a:lnTo>
                    <a:pt x="136" y="879"/>
                  </a:lnTo>
                  <a:lnTo>
                    <a:pt x="134" y="879"/>
                  </a:lnTo>
                  <a:lnTo>
                    <a:pt x="132" y="879"/>
                  </a:lnTo>
                  <a:lnTo>
                    <a:pt x="130" y="879"/>
                  </a:lnTo>
                  <a:lnTo>
                    <a:pt x="130" y="881"/>
                  </a:lnTo>
                  <a:lnTo>
                    <a:pt x="126" y="879"/>
                  </a:lnTo>
                  <a:lnTo>
                    <a:pt x="126" y="875"/>
                  </a:lnTo>
                  <a:lnTo>
                    <a:pt x="126" y="875"/>
                  </a:lnTo>
                  <a:lnTo>
                    <a:pt x="130" y="875"/>
                  </a:lnTo>
                  <a:lnTo>
                    <a:pt x="134" y="874"/>
                  </a:lnTo>
                  <a:lnTo>
                    <a:pt x="134" y="870"/>
                  </a:lnTo>
                  <a:lnTo>
                    <a:pt x="130" y="874"/>
                  </a:lnTo>
                  <a:lnTo>
                    <a:pt x="126" y="870"/>
                  </a:lnTo>
                  <a:lnTo>
                    <a:pt x="126" y="870"/>
                  </a:lnTo>
                  <a:lnTo>
                    <a:pt x="126" y="866"/>
                  </a:lnTo>
                  <a:lnTo>
                    <a:pt x="130" y="866"/>
                  </a:lnTo>
                  <a:lnTo>
                    <a:pt x="138" y="866"/>
                  </a:lnTo>
                  <a:lnTo>
                    <a:pt x="141" y="866"/>
                  </a:lnTo>
                  <a:lnTo>
                    <a:pt x="147" y="866"/>
                  </a:lnTo>
                  <a:lnTo>
                    <a:pt x="149" y="862"/>
                  </a:lnTo>
                  <a:lnTo>
                    <a:pt x="149" y="862"/>
                  </a:lnTo>
                  <a:lnTo>
                    <a:pt x="147" y="862"/>
                  </a:lnTo>
                  <a:lnTo>
                    <a:pt x="141" y="860"/>
                  </a:lnTo>
                  <a:lnTo>
                    <a:pt x="140" y="862"/>
                  </a:lnTo>
                  <a:lnTo>
                    <a:pt x="134" y="864"/>
                  </a:lnTo>
                  <a:lnTo>
                    <a:pt x="132" y="866"/>
                  </a:lnTo>
                  <a:lnTo>
                    <a:pt x="130" y="866"/>
                  </a:lnTo>
                  <a:lnTo>
                    <a:pt x="126" y="864"/>
                  </a:lnTo>
                  <a:lnTo>
                    <a:pt x="130" y="862"/>
                  </a:lnTo>
                  <a:lnTo>
                    <a:pt x="134" y="864"/>
                  </a:lnTo>
                  <a:lnTo>
                    <a:pt x="136" y="862"/>
                  </a:lnTo>
                  <a:lnTo>
                    <a:pt x="140" y="857"/>
                  </a:lnTo>
                  <a:lnTo>
                    <a:pt x="141" y="857"/>
                  </a:lnTo>
                  <a:lnTo>
                    <a:pt x="145" y="857"/>
                  </a:lnTo>
                  <a:lnTo>
                    <a:pt x="147" y="860"/>
                  </a:lnTo>
                  <a:lnTo>
                    <a:pt x="149" y="860"/>
                  </a:lnTo>
                  <a:lnTo>
                    <a:pt x="151" y="858"/>
                  </a:lnTo>
                  <a:lnTo>
                    <a:pt x="149" y="858"/>
                  </a:lnTo>
                  <a:lnTo>
                    <a:pt x="145" y="855"/>
                  </a:lnTo>
                  <a:lnTo>
                    <a:pt x="141" y="855"/>
                  </a:lnTo>
                  <a:lnTo>
                    <a:pt x="141" y="853"/>
                  </a:lnTo>
                  <a:lnTo>
                    <a:pt x="141" y="851"/>
                  </a:lnTo>
                  <a:lnTo>
                    <a:pt x="145" y="851"/>
                  </a:lnTo>
                  <a:lnTo>
                    <a:pt x="147" y="849"/>
                  </a:lnTo>
                  <a:lnTo>
                    <a:pt x="147" y="849"/>
                  </a:lnTo>
                  <a:lnTo>
                    <a:pt x="149" y="853"/>
                  </a:lnTo>
                  <a:lnTo>
                    <a:pt x="151" y="857"/>
                  </a:lnTo>
                  <a:lnTo>
                    <a:pt x="155" y="858"/>
                  </a:lnTo>
                  <a:lnTo>
                    <a:pt x="155" y="857"/>
                  </a:lnTo>
                  <a:lnTo>
                    <a:pt x="155" y="855"/>
                  </a:lnTo>
                  <a:lnTo>
                    <a:pt x="151" y="853"/>
                  </a:lnTo>
                  <a:lnTo>
                    <a:pt x="151" y="849"/>
                  </a:lnTo>
                  <a:lnTo>
                    <a:pt x="155" y="845"/>
                  </a:lnTo>
                  <a:lnTo>
                    <a:pt x="155" y="845"/>
                  </a:lnTo>
                  <a:lnTo>
                    <a:pt x="151" y="845"/>
                  </a:lnTo>
                  <a:lnTo>
                    <a:pt x="151" y="845"/>
                  </a:lnTo>
                  <a:lnTo>
                    <a:pt x="149" y="845"/>
                  </a:lnTo>
                  <a:lnTo>
                    <a:pt x="147" y="845"/>
                  </a:lnTo>
                  <a:lnTo>
                    <a:pt x="145" y="845"/>
                  </a:lnTo>
                  <a:lnTo>
                    <a:pt x="141" y="849"/>
                  </a:lnTo>
                  <a:lnTo>
                    <a:pt x="140" y="849"/>
                  </a:lnTo>
                  <a:lnTo>
                    <a:pt x="138" y="849"/>
                  </a:lnTo>
                  <a:lnTo>
                    <a:pt x="138" y="849"/>
                  </a:lnTo>
                  <a:lnTo>
                    <a:pt x="140" y="845"/>
                  </a:lnTo>
                  <a:lnTo>
                    <a:pt x="140" y="845"/>
                  </a:lnTo>
                  <a:lnTo>
                    <a:pt x="138" y="845"/>
                  </a:lnTo>
                  <a:lnTo>
                    <a:pt x="136" y="849"/>
                  </a:lnTo>
                  <a:lnTo>
                    <a:pt x="134" y="849"/>
                  </a:lnTo>
                  <a:lnTo>
                    <a:pt x="130" y="853"/>
                  </a:lnTo>
                  <a:lnTo>
                    <a:pt x="130" y="855"/>
                  </a:lnTo>
                  <a:lnTo>
                    <a:pt x="126" y="858"/>
                  </a:lnTo>
                  <a:lnTo>
                    <a:pt x="124" y="858"/>
                  </a:lnTo>
                  <a:lnTo>
                    <a:pt x="124" y="855"/>
                  </a:lnTo>
                  <a:lnTo>
                    <a:pt x="124" y="851"/>
                  </a:lnTo>
                  <a:lnTo>
                    <a:pt x="126" y="849"/>
                  </a:lnTo>
                  <a:lnTo>
                    <a:pt x="123" y="849"/>
                  </a:lnTo>
                  <a:lnTo>
                    <a:pt x="124" y="845"/>
                  </a:lnTo>
                  <a:lnTo>
                    <a:pt x="124" y="842"/>
                  </a:lnTo>
                  <a:lnTo>
                    <a:pt x="126" y="842"/>
                  </a:lnTo>
                  <a:lnTo>
                    <a:pt x="130" y="842"/>
                  </a:lnTo>
                  <a:lnTo>
                    <a:pt x="134" y="842"/>
                  </a:lnTo>
                  <a:lnTo>
                    <a:pt x="136" y="836"/>
                  </a:lnTo>
                  <a:lnTo>
                    <a:pt x="138" y="836"/>
                  </a:lnTo>
                  <a:lnTo>
                    <a:pt x="136" y="836"/>
                  </a:lnTo>
                  <a:lnTo>
                    <a:pt x="134" y="836"/>
                  </a:lnTo>
                  <a:lnTo>
                    <a:pt x="132" y="836"/>
                  </a:lnTo>
                  <a:lnTo>
                    <a:pt x="130" y="836"/>
                  </a:lnTo>
                  <a:lnTo>
                    <a:pt x="130" y="840"/>
                  </a:lnTo>
                  <a:lnTo>
                    <a:pt x="126" y="842"/>
                  </a:lnTo>
                  <a:lnTo>
                    <a:pt x="126" y="842"/>
                  </a:lnTo>
                  <a:lnTo>
                    <a:pt x="124" y="836"/>
                  </a:lnTo>
                  <a:lnTo>
                    <a:pt x="124" y="832"/>
                  </a:lnTo>
                  <a:lnTo>
                    <a:pt x="126" y="832"/>
                  </a:lnTo>
                  <a:lnTo>
                    <a:pt x="126" y="828"/>
                  </a:lnTo>
                  <a:lnTo>
                    <a:pt x="124" y="825"/>
                  </a:lnTo>
                  <a:lnTo>
                    <a:pt x="124" y="825"/>
                  </a:lnTo>
                  <a:lnTo>
                    <a:pt x="123" y="828"/>
                  </a:lnTo>
                  <a:lnTo>
                    <a:pt x="121" y="826"/>
                  </a:lnTo>
                  <a:lnTo>
                    <a:pt x="117" y="825"/>
                  </a:lnTo>
                  <a:lnTo>
                    <a:pt x="123" y="823"/>
                  </a:lnTo>
                  <a:lnTo>
                    <a:pt x="126" y="823"/>
                  </a:lnTo>
                  <a:lnTo>
                    <a:pt x="126" y="821"/>
                  </a:lnTo>
                  <a:lnTo>
                    <a:pt x="132" y="819"/>
                  </a:lnTo>
                  <a:lnTo>
                    <a:pt x="134" y="817"/>
                  </a:lnTo>
                  <a:lnTo>
                    <a:pt x="136" y="817"/>
                  </a:lnTo>
                  <a:lnTo>
                    <a:pt x="136" y="815"/>
                  </a:lnTo>
                  <a:lnTo>
                    <a:pt x="138" y="811"/>
                  </a:lnTo>
                  <a:lnTo>
                    <a:pt x="140" y="815"/>
                  </a:lnTo>
                  <a:lnTo>
                    <a:pt x="140" y="811"/>
                  </a:lnTo>
                  <a:lnTo>
                    <a:pt x="147" y="811"/>
                  </a:lnTo>
                  <a:lnTo>
                    <a:pt x="149" y="815"/>
                  </a:lnTo>
                  <a:lnTo>
                    <a:pt x="151" y="815"/>
                  </a:lnTo>
                  <a:lnTo>
                    <a:pt x="151" y="811"/>
                  </a:lnTo>
                  <a:lnTo>
                    <a:pt x="147" y="811"/>
                  </a:lnTo>
                  <a:lnTo>
                    <a:pt x="145" y="809"/>
                  </a:lnTo>
                  <a:lnTo>
                    <a:pt x="141" y="809"/>
                  </a:lnTo>
                  <a:lnTo>
                    <a:pt x="136" y="811"/>
                  </a:lnTo>
                  <a:lnTo>
                    <a:pt x="134" y="811"/>
                  </a:lnTo>
                  <a:lnTo>
                    <a:pt x="132" y="811"/>
                  </a:lnTo>
                  <a:lnTo>
                    <a:pt x="132" y="815"/>
                  </a:lnTo>
                  <a:lnTo>
                    <a:pt x="130" y="817"/>
                  </a:lnTo>
                  <a:lnTo>
                    <a:pt x="126" y="817"/>
                  </a:lnTo>
                  <a:lnTo>
                    <a:pt x="126" y="821"/>
                  </a:lnTo>
                  <a:lnTo>
                    <a:pt x="124" y="821"/>
                  </a:lnTo>
                  <a:lnTo>
                    <a:pt x="123" y="819"/>
                  </a:lnTo>
                  <a:lnTo>
                    <a:pt x="124" y="817"/>
                  </a:lnTo>
                  <a:lnTo>
                    <a:pt x="121" y="815"/>
                  </a:lnTo>
                  <a:lnTo>
                    <a:pt x="123" y="815"/>
                  </a:lnTo>
                  <a:lnTo>
                    <a:pt x="124" y="811"/>
                  </a:lnTo>
                  <a:lnTo>
                    <a:pt x="121" y="811"/>
                  </a:lnTo>
                  <a:lnTo>
                    <a:pt x="117" y="811"/>
                  </a:lnTo>
                  <a:lnTo>
                    <a:pt x="117" y="809"/>
                  </a:lnTo>
                  <a:lnTo>
                    <a:pt x="117" y="806"/>
                  </a:lnTo>
                  <a:lnTo>
                    <a:pt x="121" y="806"/>
                  </a:lnTo>
                  <a:lnTo>
                    <a:pt x="124" y="804"/>
                  </a:lnTo>
                  <a:lnTo>
                    <a:pt x="126" y="804"/>
                  </a:lnTo>
                  <a:lnTo>
                    <a:pt x="126" y="806"/>
                  </a:lnTo>
                  <a:lnTo>
                    <a:pt x="130" y="806"/>
                  </a:lnTo>
                  <a:lnTo>
                    <a:pt x="132" y="804"/>
                  </a:lnTo>
                  <a:lnTo>
                    <a:pt x="134" y="802"/>
                  </a:lnTo>
                  <a:lnTo>
                    <a:pt x="138" y="802"/>
                  </a:lnTo>
                  <a:lnTo>
                    <a:pt x="138" y="800"/>
                  </a:lnTo>
                  <a:lnTo>
                    <a:pt x="138" y="800"/>
                  </a:lnTo>
                  <a:lnTo>
                    <a:pt x="134" y="798"/>
                  </a:lnTo>
                  <a:lnTo>
                    <a:pt x="130" y="802"/>
                  </a:lnTo>
                  <a:lnTo>
                    <a:pt x="130" y="804"/>
                  </a:lnTo>
                  <a:lnTo>
                    <a:pt x="126" y="802"/>
                  </a:lnTo>
                  <a:lnTo>
                    <a:pt x="126" y="800"/>
                  </a:lnTo>
                  <a:lnTo>
                    <a:pt x="124" y="800"/>
                  </a:lnTo>
                  <a:lnTo>
                    <a:pt x="123" y="802"/>
                  </a:lnTo>
                  <a:lnTo>
                    <a:pt x="117" y="804"/>
                  </a:lnTo>
                  <a:lnTo>
                    <a:pt x="117" y="802"/>
                  </a:lnTo>
                  <a:lnTo>
                    <a:pt x="117" y="802"/>
                  </a:lnTo>
                  <a:lnTo>
                    <a:pt x="115" y="802"/>
                  </a:lnTo>
                  <a:lnTo>
                    <a:pt x="113" y="802"/>
                  </a:lnTo>
                  <a:lnTo>
                    <a:pt x="113" y="800"/>
                  </a:lnTo>
                  <a:lnTo>
                    <a:pt x="115" y="800"/>
                  </a:lnTo>
                  <a:lnTo>
                    <a:pt x="121" y="798"/>
                  </a:lnTo>
                  <a:lnTo>
                    <a:pt x="126" y="794"/>
                  </a:lnTo>
                  <a:lnTo>
                    <a:pt x="130" y="794"/>
                  </a:lnTo>
                  <a:lnTo>
                    <a:pt x="134" y="793"/>
                  </a:lnTo>
                  <a:lnTo>
                    <a:pt x="136" y="789"/>
                  </a:lnTo>
                  <a:lnTo>
                    <a:pt x="141" y="785"/>
                  </a:lnTo>
                  <a:lnTo>
                    <a:pt x="149" y="781"/>
                  </a:lnTo>
                  <a:lnTo>
                    <a:pt x="151" y="779"/>
                  </a:lnTo>
                  <a:lnTo>
                    <a:pt x="155" y="779"/>
                  </a:lnTo>
                  <a:lnTo>
                    <a:pt x="156" y="777"/>
                  </a:lnTo>
                  <a:lnTo>
                    <a:pt x="156" y="777"/>
                  </a:lnTo>
                  <a:lnTo>
                    <a:pt x="155" y="776"/>
                  </a:lnTo>
                  <a:lnTo>
                    <a:pt x="151" y="777"/>
                  </a:lnTo>
                  <a:lnTo>
                    <a:pt x="140" y="781"/>
                  </a:lnTo>
                  <a:lnTo>
                    <a:pt x="136" y="785"/>
                  </a:lnTo>
                  <a:lnTo>
                    <a:pt x="134" y="789"/>
                  </a:lnTo>
                  <a:lnTo>
                    <a:pt x="130" y="791"/>
                  </a:lnTo>
                  <a:lnTo>
                    <a:pt x="124" y="793"/>
                  </a:lnTo>
                  <a:lnTo>
                    <a:pt x="123" y="794"/>
                  </a:lnTo>
                  <a:lnTo>
                    <a:pt x="115" y="796"/>
                  </a:lnTo>
                  <a:lnTo>
                    <a:pt x="111" y="796"/>
                  </a:lnTo>
                  <a:lnTo>
                    <a:pt x="111" y="794"/>
                  </a:lnTo>
                  <a:lnTo>
                    <a:pt x="113" y="794"/>
                  </a:lnTo>
                  <a:lnTo>
                    <a:pt x="113" y="787"/>
                  </a:lnTo>
                  <a:lnTo>
                    <a:pt x="115" y="785"/>
                  </a:lnTo>
                  <a:lnTo>
                    <a:pt x="117" y="785"/>
                  </a:lnTo>
                  <a:lnTo>
                    <a:pt x="117" y="787"/>
                  </a:lnTo>
                  <a:lnTo>
                    <a:pt x="123" y="785"/>
                  </a:lnTo>
                  <a:lnTo>
                    <a:pt x="126" y="785"/>
                  </a:lnTo>
                  <a:lnTo>
                    <a:pt x="130" y="785"/>
                  </a:lnTo>
                  <a:lnTo>
                    <a:pt x="126" y="785"/>
                  </a:lnTo>
                  <a:lnTo>
                    <a:pt x="126" y="785"/>
                  </a:lnTo>
                  <a:lnTo>
                    <a:pt x="123" y="785"/>
                  </a:lnTo>
                  <a:lnTo>
                    <a:pt x="121" y="785"/>
                  </a:lnTo>
                  <a:lnTo>
                    <a:pt x="117" y="785"/>
                  </a:lnTo>
                  <a:lnTo>
                    <a:pt x="117" y="781"/>
                  </a:lnTo>
                  <a:lnTo>
                    <a:pt x="117" y="781"/>
                  </a:lnTo>
                  <a:lnTo>
                    <a:pt x="121" y="779"/>
                  </a:lnTo>
                  <a:lnTo>
                    <a:pt x="124" y="781"/>
                  </a:lnTo>
                  <a:lnTo>
                    <a:pt x="126" y="781"/>
                  </a:lnTo>
                  <a:lnTo>
                    <a:pt x="130" y="781"/>
                  </a:lnTo>
                  <a:lnTo>
                    <a:pt x="130" y="779"/>
                  </a:lnTo>
                  <a:lnTo>
                    <a:pt x="126" y="779"/>
                  </a:lnTo>
                  <a:lnTo>
                    <a:pt x="126" y="779"/>
                  </a:lnTo>
                  <a:lnTo>
                    <a:pt x="126" y="777"/>
                  </a:lnTo>
                  <a:lnTo>
                    <a:pt x="126" y="776"/>
                  </a:lnTo>
                  <a:lnTo>
                    <a:pt x="130" y="776"/>
                  </a:lnTo>
                  <a:lnTo>
                    <a:pt x="130" y="776"/>
                  </a:lnTo>
                  <a:lnTo>
                    <a:pt x="130" y="776"/>
                  </a:lnTo>
                  <a:lnTo>
                    <a:pt x="132" y="776"/>
                  </a:lnTo>
                  <a:lnTo>
                    <a:pt x="134" y="776"/>
                  </a:lnTo>
                  <a:lnTo>
                    <a:pt x="134" y="772"/>
                  </a:lnTo>
                  <a:lnTo>
                    <a:pt x="134" y="770"/>
                  </a:lnTo>
                  <a:lnTo>
                    <a:pt x="134" y="770"/>
                  </a:lnTo>
                  <a:lnTo>
                    <a:pt x="130" y="770"/>
                  </a:lnTo>
                  <a:lnTo>
                    <a:pt x="130" y="772"/>
                  </a:lnTo>
                  <a:lnTo>
                    <a:pt x="126" y="772"/>
                  </a:lnTo>
                  <a:lnTo>
                    <a:pt x="117" y="768"/>
                  </a:lnTo>
                  <a:lnTo>
                    <a:pt x="117" y="768"/>
                  </a:lnTo>
                  <a:lnTo>
                    <a:pt x="113" y="766"/>
                  </a:lnTo>
                  <a:lnTo>
                    <a:pt x="115" y="766"/>
                  </a:lnTo>
                  <a:lnTo>
                    <a:pt x="117" y="766"/>
                  </a:lnTo>
                  <a:lnTo>
                    <a:pt x="121" y="766"/>
                  </a:lnTo>
                  <a:lnTo>
                    <a:pt x="123" y="766"/>
                  </a:lnTo>
                  <a:lnTo>
                    <a:pt x="121" y="764"/>
                  </a:lnTo>
                  <a:lnTo>
                    <a:pt x="117" y="764"/>
                  </a:lnTo>
                  <a:lnTo>
                    <a:pt x="117" y="762"/>
                  </a:lnTo>
                  <a:lnTo>
                    <a:pt x="117" y="761"/>
                  </a:lnTo>
                  <a:lnTo>
                    <a:pt x="123" y="761"/>
                  </a:lnTo>
                  <a:lnTo>
                    <a:pt x="123" y="761"/>
                  </a:lnTo>
                  <a:lnTo>
                    <a:pt x="126" y="761"/>
                  </a:lnTo>
                  <a:lnTo>
                    <a:pt x="138" y="761"/>
                  </a:lnTo>
                  <a:lnTo>
                    <a:pt x="141" y="761"/>
                  </a:lnTo>
                  <a:lnTo>
                    <a:pt x="145" y="761"/>
                  </a:lnTo>
                  <a:lnTo>
                    <a:pt x="147" y="761"/>
                  </a:lnTo>
                  <a:lnTo>
                    <a:pt x="147" y="761"/>
                  </a:lnTo>
                  <a:lnTo>
                    <a:pt x="141" y="757"/>
                  </a:lnTo>
                  <a:lnTo>
                    <a:pt x="136" y="757"/>
                  </a:lnTo>
                  <a:lnTo>
                    <a:pt x="130" y="757"/>
                  </a:lnTo>
                  <a:lnTo>
                    <a:pt x="126" y="761"/>
                  </a:lnTo>
                  <a:lnTo>
                    <a:pt x="126" y="757"/>
                  </a:lnTo>
                  <a:lnTo>
                    <a:pt x="124" y="757"/>
                  </a:lnTo>
                  <a:lnTo>
                    <a:pt x="121" y="757"/>
                  </a:lnTo>
                  <a:lnTo>
                    <a:pt x="117" y="761"/>
                  </a:lnTo>
                  <a:lnTo>
                    <a:pt x="117" y="761"/>
                  </a:lnTo>
                  <a:lnTo>
                    <a:pt x="117" y="755"/>
                  </a:lnTo>
                  <a:lnTo>
                    <a:pt x="121" y="755"/>
                  </a:lnTo>
                  <a:lnTo>
                    <a:pt x="123" y="751"/>
                  </a:lnTo>
                  <a:lnTo>
                    <a:pt x="126" y="751"/>
                  </a:lnTo>
                  <a:lnTo>
                    <a:pt x="130" y="747"/>
                  </a:lnTo>
                  <a:lnTo>
                    <a:pt x="130" y="745"/>
                  </a:lnTo>
                  <a:lnTo>
                    <a:pt x="132" y="742"/>
                  </a:lnTo>
                  <a:lnTo>
                    <a:pt x="134" y="742"/>
                  </a:lnTo>
                  <a:lnTo>
                    <a:pt x="136" y="745"/>
                  </a:lnTo>
                  <a:lnTo>
                    <a:pt x="140" y="742"/>
                  </a:lnTo>
                  <a:lnTo>
                    <a:pt x="141" y="742"/>
                  </a:lnTo>
                  <a:lnTo>
                    <a:pt x="141" y="742"/>
                  </a:lnTo>
                  <a:lnTo>
                    <a:pt x="145" y="745"/>
                  </a:lnTo>
                  <a:lnTo>
                    <a:pt x="149" y="745"/>
                  </a:lnTo>
                  <a:lnTo>
                    <a:pt x="151" y="747"/>
                  </a:lnTo>
                  <a:lnTo>
                    <a:pt x="155" y="747"/>
                  </a:lnTo>
                  <a:lnTo>
                    <a:pt x="158" y="751"/>
                  </a:lnTo>
                  <a:lnTo>
                    <a:pt x="162" y="755"/>
                  </a:lnTo>
                  <a:lnTo>
                    <a:pt x="166" y="755"/>
                  </a:lnTo>
                  <a:lnTo>
                    <a:pt x="172" y="757"/>
                  </a:lnTo>
                  <a:lnTo>
                    <a:pt x="173" y="755"/>
                  </a:lnTo>
                  <a:lnTo>
                    <a:pt x="175" y="755"/>
                  </a:lnTo>
                  <a:lnTo>
                    <a:pt x="175" y="755"/>
                  </a:lnTo>
                  <a:lnTo>
                    <a:pt x="175" y="755"/>
                  </a:lnTo>
                  <a:lnTo>
                    <a:pt x="172" y="755"/>
                  </a:lnTo>
                  <a:lnTo>
                    <a:pt x="172" y="755"/>
                  </a:lnTo>
                  <a:lnTo>
                    <a:pt x="168" y="755"/>
                  </a:lnTo>
                  <a:lnTo>
                    <a:pt x="164" y="751"/>
                  </a:lnTo>
                  <a:lnTo>
                    <a:pt x="160" y="747"/>
                  </a:lnTo>
                  <a:lnTo>
                    <a:pt x="160" y="747"/>
                  </a:lnTo>
                  <a:lnTo>
                    <a:pt x="162" y="747"/>
                  </a:lnTo>
                  <a:lnTo>
                    <a:pt x="168" y="747"/>
                  </a:lnTo>
                  <a:lnTo>
                    <a:pt x="173" y="745"/>
                  </a:lnTo>
                  <a:lnTo>
                    <a:pt x="175" y="742"/>
                  </a:lnTo>
                  <a:lnTo>
                    <a:pt x="173" y="742"/>
                  </a:lnTo>
                  <a:lnTo>
                    <a:pt x="170" y="740"/>
                  </a:lnTo>
                  <a:lnTo>
                    <a:pt x="168" y="740"/>
                  </a:lnTo>
                  <a:lnTo>
                    <a:pt x="168" y="742"/>
                  </a:lnTo>
                  <a:lnTo>
                    <a:pt x="168" y="742"/>
                  </a:lnTo>
                  <a:lnTo>
                    <a:pt x="168" y="742"/>
                  </a:lnTo>
                  <a:lnTo>
                    <a:pt x="162" y="742"/>
                  </a:lnTo>
                  <a:lnTo>
                    <a:pt x="160" y="742"/>
                  </a:lnTo>
                  <a:lnTo>
                    <a:pt x="160" y="740"/>
                  </a:lnTo>
                  <a:lnTo>
                    <a:pt x="162" y="740"/>
                  </a:lnTo>
                  <a:lnTo>
                    <a:pt x="164" y="740"/>
                  </a:lnTo>
                  <a:lnTo>
                    <a:pt x="164" y="738"/>
                  </a:lnTo>
                  <a:lnTo>
                    <a:pt x="162" y="736"/>
                  </a:lnTo>
                  <a:lnTo>
                    <a:pt x="160" y="736"/>
                  </a:lnTo>
                  <a:lnTo>
                    <a:pt x="160" y="736"/>
                  </a:lnTo>
                  <a:lnTo>
                    <a:pt x="158" y="736"/>
                  </a:lnTo>
                  <a:lnTo>
                    <a:pt x="156" y="736"/>
                  </a:lnTo>
                  <a:lnTo>
                    <a:pt x="156" y="738"/>
                  </a:lnTo>
                  <a:lnTo>
                    <a:pt x="156" y="740"/>
                  </a:lnTo>
                  <a:lnTo>
                    <a:pt x="156" y="742"/>
                  </a:lnTo>
                  <a:lnTo>
                    <a:pt x="155" y="745"/>
                  </a:lnTo>
                  <a:lnTo>
                    <a:pt x="151" y="747"/>
                  </a:lnTo>
                  <a:lnTo>
                    <a:pt x="151" y="745"/>
                  </a:lnTo>
                  <a:lnTo>
                    <a:pt x="147" y="742"/>
                  </a:lnTo>
                  <a:lnTo>
                    <a:pt x="145" y="742"/>
                  </a:lnTo>
                  <a:lnTo>
                    <a:pt x="141" y="740"/>
                  </a:lnTo>
                  <a:lnTo>
                    <a:pt x="141" y="738"/>
                  </a:lnTo>
                  <a:lnTo>
                    <a:pt x="141" y="738"/>
                  </a:lnTo>
                  <a:lnTo>
                    <a:pt x="140" y="740"/>
                  </a:lnTo>
                  <a:lnTo>
                    <a:pt x="136" y="742"/>
                  </a:lnTo>
                  <a:lnTo>
                    <a:pt x="132" y="742"/>
                  </a:lnTo>
                  <a:lnTo>
                    <a:pt x="130" y="742"/>
                  </a:lnTo>
                  <a:lnTo>
                    <a:pt x="126" y="747"/>
                  </a:lnTo>
                  <a:lnTo>
                    <a:pt x="124" y="747"/>
                  </a:lnTo>
                  <a:lnTo>
                    <a:pt x="123" y="747"/>
                  </a:lnTo>
                  <a:lnTo>
                    <a:pt x="123" y="745"/>
                  </a:lnTo>
                  <a:lnTo>
                    <a:pt x="126" y="740"/>
                  </a:lnTo>
                  <a:lnTo>
                    <a:pt x="130" y="740"/>
                  </a:lnTo>
                  <a:lnTo>
                    <a:pt x="130" y="738"/>
                  </a:lnTo>
                  <a:lnTo>
                    <a:pt x="130" y="736"/>
                  </a:lnTo>
                  <a:lnTo>
                    <a:pt x="130" y="736"/>
                  </a:lnTo>
                  <a:lnTo>
                    <a:pt x="132" y="734"/>
                  </a:lnTo>
                  <a:lnTo>
                    <a:pt x="132" y="732"/>
                  </a:lnTo>
                  <a:lnTo>
                    <a:pt x="134" y="730"/>
                  </a:lnTo>
                  <a:lnTo>
                    <a:pt x="136" y="730"/>
                  </a:lnTo>
                  <a:lnTo>
                    <a:pt x="138" y="732"/>
                  </a:lnTo>
                  <a:lnTo>
                    <a:pt x="141" y="734"/>
                  </a:lnTo>
                  <a:lnTo>
                    <a:pt x="147" y="734"/>
                  </a:lnTo>
                  <a:lnTo>
                    <a:pt x="147" y="734"/>
                  </a:lnTo>
                  <a:lnTo>
                    <a:pt x="145" y="732"/>
                  </a:lnTo>
                  <a:lnTo>
                    <a:pt x="141" y="732"/>
                  </a:lnTo>
                  <a:lnTo>
                    <a:pt x="140" y="730"/>
                  </a:lnTo>
                  <a:lnTo>
                    <a:pt x="136" y="727"/>
                  </a:lnTo>
                  <a:lnTo>
                    <a:pt x="134" y="725"/>
                  </a:lnTo>
                  <a:lnTo>
                    <a:pt x="132" y="723"/>
                  </a:lnTo>
                  <a:lnTo>
                    <a:pt x="132" y="721"/>
                  </a:lnTo>
                  <a:lnTo>
                    <a:pt x="134" y="721"/>
                  </a:lnTo>
                  <a:lnTo>
                    <a:pt x="138" y="721"/>
                  </a:lnTo>
                  <a:lnTo>
                    <a:pt x="141" y="727"/>
                  </a:lnTo>
                  <a:lnTo>
                    <a:pt x="145" y="730"/>
                  </a:lnTo>
                  <a:lnTo>
                    <a:pt x="145" y="728"/>
                  </a:lnTo>
                  <a:lnTo>
                    <a:pt x="145" y="727"/>
                  </a:lnTo>
                  <a:lnTo>
                    <a:pt x="141" y="723"/>
                  </a:lnTo>
                  <a:lnTo>
                    <a:pt x="145" y="723"/>
                  </a:lnTo>
                  <a:lnTo>
                    <a:pt x="147" y="727"/>
                  </a:lnTo>
                  <a:lnTo>
                    <a:pt x="147" y="728"/>
                  </a:lnTo>
                  <a:lnTo>
                    <a:pt x="155" y="732"/>
                  </a:lnTo>
                  <a:lnTo>
                    <a:pt x="155" y="732"/>
                  </a:lnTo>
                  <a:lnTo>
                    <a:pt x="156" y="730"/>
                  </a:lnTo>
                  <a:lnTo>
                    <a:pt x="160" y="730"/>
                  </a:lnTo>
                  <a:lnTo>
                    <a:pt x="162" y="732"/>
                  </a:lnTo>
                  <a:lnTo>
                    <a:pt x="166" y="736"/>
                  </a:lnTo>
                  <a:lnTo>
                    <a:pt x="170" y="736"/>
                  </a:lnTo>
                  <a:lnTo>
                    <a:pt x="170" y="738"/>
                  </a:lnTo>
                  <a:lnTo>
                    <a:pt x="173" y="738"/>
                  </a:lnTo>
                  <a:lnTo>
                    <a:pt x="173" y="736"/>
                  </a:lnTo>
                  <a:lnTo>
                    <a:pt x="170" y="734"/>
                  </a:lnTo>
                  <a:lnTo>
                    <a:pt x="162" y="727"/>
                  </a:lnTo>
                  <a:lnTo>
                    <a:pt x="160" y="725"/>
                  </a:lnTo>
                  <a:lnTo>
                    <a:pt x="162" y="723"/>
                  </a:lnTo>
                  <a:lnTo>
                    <a:pt x="166" y="723"/>
                  </a:lnTo>
                  <a:lnTo>
                    <a:pt x="166" y="721"/>
                  </a:lnTo>
                  <a:lnTo>
                    <a:pt x="168" y="717"/>
                  </a:lnTo>
                  <a:lnTo>
                    <a:pt x="170" y="717"/>
                  </a:lnTo>
                  <a:lnTo>
                    <a:pt x="170" y="717"/>
                  </a:lnTo>
                  <a:lnTo>
                    <a:pt x="166" y="717"/>
                  </a:lnTo>
                  <a:lnTo>
                    <a:pt x="164" y="717"/>
                  </a:lnTo>
                  <a:lnTo>
                    <a:pt x="158" y="717"/>
                  </a:lnTo>
                  <a:lnTo>
                    <a:pt x="156" y="717"/>
                  </a:lnTo>
                  <a:lnTo>
                    <a:pt x="158" y="721"/>
                  </a:lnTo>
                  <a:lnTo>
                    <a:pt x="160" y="721"/>
                  </a:lnTo>
                  <a:lnTo>
                    <a:pt x="160" y="723"/>
                  </a:lnTo>
                  <a:lnTo>
                    <a:pt x="155" y="723"/>
                  </a:lnTo>
                  <a:lnTo>
                    <a:pt x="155" y="723"/>
                  </a:lnTo>
                  <a:lnTo>
                    <a:pt x="151" y="723"/>
                  </a:lnTo>
                  <a:lnTo>
                    <a:pt x="149" y="723"/>
                  </a:lnTo>
                  <a:lnTo>
                    <a:pt x="147" y="721"/>
                  </a:lnTo>
                  <a:lnTo>
                    <a:pt x="145" y="721"/>
                  </a:lnTo>
                  <a:lnTo>
                    <a:pt x="141" y="717"/>
                  </a:lnTo>
                  <a:lnTo>
                    <a:pt x="145" y="717"/>
                  </a:lnTo>
                  <a:lnTo>
                    <a:pt x="147" y="717"/>
                  </a:lnTo>
                  <a:lnTo>
                    <a:pt x="145" y="717"/>
                  </a:lnTo>
                  <a:lnTo>
                    <a:pt x="141" y="717"/>
                  </a:lnTo>
                  <a:lnTo>
                    <a:pt x="141" y="717"/>
                  </a:lnTo>
                  <a:lnTo>
                    <a:pt x="145" y="715"/>
                  </a:lnTo>
                  <a:lnTo>
                    <a:pt x="151" y="713"/>
                  </a:lnTo>
                  <a:lnTo>
                    <a:pt x="151" y="712"/>
                  </a:lnTo>
                  <a:lnTo>
                    <a:pt x="155" y="712"/>
                  </a:lnTo>
                  <a:lnTo>
                    <a:pt x="156" y="713"/>
                  </a:lnTo>
                  <a:lnTo>
                    <a:pt x="160" y="713"/>
                  </a:lnTo>
                  <a:lnTo>
                    <a:pt x="164" y="713"/>
                  </a:lnTo>
                  <a:lnTo>
                    <a:pt x="168" y="713"/>
                  </a:lnTo>
                  <a:lnTo>
                    <a:pt x="168" y="712"/>
                  </a:lnTo>
                  <a:lnTo>
                    <a:pt x="170" y="710"/>
                  </a:lnTo>
                  <a:lnTo>
                    <a:pt x="172" y="710"/>
                  </a:lnTo>
                  <a:lnTo>
                    <a:pt x="173" y="708"/>
                  </a:lnTo>
                  <a:lnTo>
                    <a:pt x="175" y="706"/>
                  </a:lnTo>
                  <a:lnTo>
                    <a:pt x="173" y="704"/>
                  </a:lnTo>
                  <a:lnTo>
                    <a:pt x="172" y="708"/>
                  </a:lnTo>
                  <a:lnTo>
                    <a:pt x="170" y="708"/>
                  </a:lnTo>
                  <a:lnTo>
                    <a:pt x="168" y="706"/>
                  </a:lnTo>
                  <a:lnTo>
                    <a:pt x="170" y="702"/>
                  </a:lnTo>
                  <a:lnTo>
                    <a:pt x="172" y="696"/>
                  </a:lnTo>
                  <a:lnTo>
                    <a:pt x="172" y="691"/>
                  </a:lnTo>
                  <a:lnTo>
                    <a:pt x="173" y="691"/>
                  </a:lnTo>
                  <a:lnTo>
                    <a:pt x="175" y="691"/>
                  </a:lnTo>
                  <a:lnTo>
                    <a:pt x="175" y="696"/>
                  </a:lnTo>
                  <a:lnTo>
                    <a:pt x="175" y="696"/>
                  </a:lnTo>
                  <a:lnTo>
                    <a:pt x="175" y="698"/>
                  </a:lnTo>
                  <a:lnTo>
                    <a:pt x="179" y="698"/>
                  </a:lnTo>
                  <a:lnTo>
                    <a:pt x="179" y="698"/>
                  </a:lnTo>
                  <a:lnTo>
                    <a:pt x="181" y="700"/>
                  </a:lnTo>
                  <a:lnTo>
                    <a:pt x="183" y="700"/>
                  </a:lnTo>
                  <a:lnTo>
                    <a:pt x="185" y="698"/>
                  </a:lnTo>
                  <a:lnTo>
                    <a:pt x="187" y="700"/>
                  </a:lnTo>
                  <a:lnTo>
                    <a:pt x="187" y="700"/>
                  </a:lnTo>
                  <a:lnTo>
                    <a:pt x="187" y="698"/>
                  </a:lnTo>
                  <a:lnTo>
                    <a:pt x="185" y="696"/>
                  </a:lnTo>
                  <a:lnTo>
                    <a:pt x="181" y="696"/>
                  </a:lnTo>
                  <a:lnTo>
                    <a:pt x="181" y="696"/>
                  </a:lnTo>
                  <a:lnTo>
                    <a:pt x="183" y="696"/>
                  </a:lnTo>
                  <a:lnTo>
                    <a:pt x="187" y="693"/>
                  </a:lnTo>
                  <a:lnTo>
                    <a:pt x="187" y="693"/>
                  </a:lnTo>
                  <a:lnTo>
                    <a:pt x="185" y="691"/>
                  </a:lnTo>
                  <a:lnTo>
                    <a:pt x="183" y="691"/>
                  </a:lnTo>
                  <a:lnTo>
                    <a:pt x="183" y="691"/>
                  </a:lnTo>
                  <a:lnTo>
                    <a:pt x="181" y="691"/>
                  </a:lnTo>
                  <a:lnTo>
                    <a:pt x="179" y="691"/>
                  </a:lnTo>
                  <a:lnTo>
                    <a:pt x="179" y="691"/>
                  </a:lnTo>
                  <a:lnTo>
                    <a:pt x="175" y="691"/>
                  </a:lnTo>
                  <a:lnTo>
                    <a:pt x="175" y="687"/>
                  </a:lnTo>
                  <a:lnTo>
                    <a:pt x="175" y="687"/>
                  </a:lnTo>
                  <a:lnTo>
                    <a:pt x="179" y="687"/>
                  </a:lnTo>
                  <a:lnTo>
                    <a:pt x="181" y="683"/>
                  </a:lnTo>
                  <a:lnTo>
                    <a:pt x="183" y="681"/>
                  </a:lnTo>
                  <a:lnTo>
                    <a:pt x="185" y="681"/>
                  </a:lnTo>
                  <a:lnTo>
                    <a:pt x="187" y="681"/>
                  </a:lnTo>
                  <a:lnTo>
                    <a:pt x="188" y="681"/>
                  </a:lnTo>
                  <a:lnTo>
                    <a:pt x="188" y="678"/>
                  </a:lnTo>
                  <a:lnTo>
                    <a:pt x="185" y="678"/>
                  </a:lnTo>
                  <a:lnTo>
                    <a:pt x="183" y="678"/>
                  </a:lnTo>
                  <a:lnTo>
                    <a:pt x="181" y="678"/>
                  </a:lnTo>
                  <a:lnTo>
                    <a:pt x="183" y="676"/>
                  </a:lnTo>
                  <a:lnTo>
                    <a:pt x="187" y="674"/>
                  </a:lnTo>
                  <a:lnTo>
                    <a:pt x="188" y="672"/>
                  </a:lnTo>
                  <a:lnTo>
                    <a:pt x="190" y="672"/>
                  </a:lnTo>
                  <a:lnTo>
                    <a:pt x="190" y="670"/>
                  </a:lnTo>
                  <a:lnTo>
                    <a:pt x="194" y="668"/>
                  </a:lnTo>
                  <a:lnTo>
                    <a:pt x="192" y="666"/>
                  </a:lnTo>
                  <a:lnTo>
                    <a:pt x="188" y="666"/>
                  </a:lnTo>
                  <a:lnTo>
                    <a:pt x="188" y="666"/>
                  </a:lnTo>
                  <a:lnTo>
                    <a:pt x="192" y="663"/>
                  </a:lnTo>
                  <a:lnTo>
                    <a:pt x="194" y="666"/>
                  </a:lnTo>
                  <a:lnTo>
                    <a:pt x="194" y="661"/>
                  </a:lnTo>
                  <a:lnTo>
                    <a:pt x="192" y="661"/>
                  </a:lnTo>
                  <a:lnTo>
                    <a:pt x="188" y="661"/>
                  </a:lnTo>
                  <a:lnTo>
                    <a:pt x="185" y="663"/>
                  </a:lnTo>
                  <a:lnTo>
                    <a:pt x="183" y="663"/>
                  </a:lnTo>
                  <a:lnTo>
                    <a:pt x="179" y="661"/>
                  </a:lnTo>
                  <a:lnTo>
                    <a:pt x="179" y="663"/>
                  </a:lnTo>
                  <a:lnTo>
                    <a:pt x="175" y="661"/>
                  </a:lnTo>
                  <a:lnTo>
                    <a:pt x="175" y="661"/>
                  </a:lnTo>
                  <a:lnTo>
                    <a:pt x="173" y="661"/>
                  </a:lnTo>
                  <a:lnTo>
                    <a:pt x="170" y="661"/>
                  </a:lnTo>
                  <a:lnTo>
                    <a:pt x="168" y="657"/>
                  </a:lnTo>
                  <a:lnTo>
                    <a:pt x="164" y="657"/>
                  </a:lnTo>
                  <a:lnTo>
                    <a:pt x="162" y="657"/>
                  </a:lnTo>
                  <a:lnTo>
                    <a:pt x="162" y="653"/>
                  </a:lnTo>
                  <a:lnTo>
                    <a:pt x="160" y="651"/>
                  </a:lnTo>
                  <a:lnTo>
                    <a:pt x="156" y="649"/>
                  </a:lnTo>
                  <a:lnTo>
                    <a:pt x="151" y="646"/>
                  </a:lnTo>
                  <a:lnTo>
                    <a:pt x="145" y="644"/>
                  </a:lnTo>
                  <a:lnTo>
                    <a:pt x="141" y="640"/>
                  </a:lnTo>
                  <a:lnTo>
                    <a:pt x="141" y="638"/>
                  </a:lnTo>
                  <a:lnTo>
                    <a:pt x="141" y="634"/>
                  </a:lnTo>
                  <a:lnTo>
                    <a:pt x="138" y="632"/>
                  </a:lnTo>
                  <a:lnTo>
                    <a:pt x="136" y="629"/>
                  </a:lnTo>
                  <a:lnTo>
                    <a:pt x="136" y="627"/>
                  </a:lnTo>
                  <a:lnTo>
                    <a:pt x="141" y="623"/>
                  </a:lnTo>
                  <a:lnTo>
                    <a:pt x="145" y="623"/>
                  </a:lnTo>
                  <a:lnTo>
                    <a:pt x="147" y="623"/>
                  </a:lnTo>
                  <a:lnTo>
                    <a:pt x="149" y="623"/>
                  </a:lnTo>
                  <a:lnTo>
                    <a:pt x="151" y="623"/>
                  </a:lnTo>
                  <a:lnTo>
                    <a:pt x="155" y="627"/>
                  </a:lnTo>
                  <a:lnTo>
                    <a:pt x="158" y="627"/>
                  </a:lnTo>
                  <a:lnTo>
                    <a:pt x="160" y="629"/>
                  </a:lnTo>
                  <a:lnTo>
                    <a:pt x="162" y="629"/>
                  </a:lnTo>
                  <a:lnTo>
                    <a:pt x="166" y="629"/>
                  </a:lnTo>
                  <a:lnTo>
                    <a:pt x="168" y="632"/>
                  </a:lnTo>
                  <a:lnTo>
                    <a:pt x="172" y="632"/>
                  </a:lnTo>
                  <a:lnTo>
                    <a:pt x="173" y="632"/>
                  </a:lnTo>
                  <a:lnTo>
                    <a:pt x="175" y="634"/>
                  </a:lnTo>
                  <a:lnTo>
                    <a:pt x="175" y="642"/>
                  </a:lnTo>
                  <a:lnTo>
                    <a:pt x="179" y="646"/>
                  </a:lnTo>
                  <a:lnTo>
                    <a:pt x="181" y="648"/>
                  </a:lnTo>
                  <a:lnTo>
                    <a:pt x="185" y="651"/>
                  </a:lnTo>
                  <a:lnTo>
                    <a:pt x="188" y="651"/>
                  </a:lnTo>
                  <a:lnTo>
                    <a:pt x="190" y="651"/>
                  </a:lnTo>
                  <a:lnTo>
                    <a:pt x="192" y="648"/>
                  </a:lnTo>
                  <a:lnTo>
                    <a:pt x="192" y="648"/>
                  </a:lnTo>
                  <a:lnTo>
                    <a:pt x="188" y="648"/>
                  </a:lnTo>
                  <a:lnTo>
                    <a:pt x="188" y="649"/>
                  </a:lnTo>
                  <a:lnTo>
                    <a:pt x="185" y="648"/>
                  </a:lnTo>
                  <a:lnTo>
                    <a:pt x="181" y="642"/>
                  </a:lnTo>
                  <a:lnTo>
                    <a:pt x="181" y="640"/>
                  </a:lnTo>
                  <a:lnTo>
                    <a:pt x="183" y="640"/>
                  </a:lnTo>
                  <a:lnTo>
                    <a:pt x="187" y="644"/>
                  </a:lnTo>
                  <a:lnTo>
                    <a:pt x="188" y="644"/>
                  </a:lnTo>
                  <a:lnTo>
                    <a:pt x="188" y="642"/>
                  </a:lnTo>
                  <a:lnTo>
                    <a:pt x="190" y="642"/>
                  </a:lnTo>
                  <a:lnTo>
                    <a:pt x="190" y="640"/>
                  </a:lnTo>
                  <a:lnTo>
                    <a:pt x="187" y="638"/>
                  </a:lnTo>
                  <a:lnTo>
                    <a:pt x="181" y="634"/>
                  </a:lnTo>
                  <a:lnTo>
                    <a:pt x="181" y="632"/>
                  </a:lnTo>
                  <a:lnTo>
                    <a:pt x="181" y="632"/>
                  </a:lnTo>
                  <a:lnTo>
                    <a:pt x="183" y="632"/>
                  </a:lnTo>
                  <a:lnTo>
                    <a:pt x="185" y="634"/>
                  </a:lnTo>
                  <a:lnTo>
                    <a:pt x="187" y="634"/>
                  </a:lnTo>
                  <a:lnTo>
                    <a:pt x="185" y="632"/>
                  </a:lnTo>
                  <a:lnTo>
                    <a:pt x="181" y="627"/>
                  </a:lnTo>
                  <a:lnTo>
                    <a:pt x="179" y="623"/>
                  </a:lnTo>
                  <a:lnTo>
                    <a:pt x="179" y="623"/>
                  </a:lnTo>
                  <a:lnTo>
                    <a:pt x="179" y="621"/>
                  </a:lnTo>
                  <a:lnTo>
                    <a:pt x="181" y="623"/>
                  </a:lnTo>
                  <a:lnTo>
                    <a:pt x="188" y="623"/>
                  </a:lnTo>
                  <a:lnTo>
                    <a:pt x="192" y="623"/>
                  </a:lnTo>
                  <a:lnTo>
                    <a:pt x="192" y="623"/>
                  </a:lnTo>
                  <a:lnTo>
                    <a:pt x="188" y="619"/>
                  </a:lnTo>
                  <a:lnTo>
                    <a:pt x="187" y="619"/>
                  </a:lnTo>
                  <a:lnTo>
                    <a:pt x="185" y="619"/>
                  </a:lnTo>
                  <a:lnTo>
                    <a:pt x="183" y="621"/>
                  </a:lnTo>
                  <a:lnTo>
                    <a:pt x="179" y="619"/>
                  </a:lnTo>
                  <a:lnTo>
                    <a:pt x="179" y="617"/>
                  </a:lnTo>
                  <a:lnTo>
                    <a:pt x="179" y="617"/>
                  </a:lnTo>
                  <a:lnTo>
                    <a:pt x="183" y="614"/>
                  </a:lnTo>
                  <a:lnTo>
                    <a:pt x="185" y="615"/>
                  </a:lnTo>
                  <a:lnTo>
                    <a:pt x="187" y="617"/>
                  </a:lnTo>
                  <a:lnTo>
                    <a:pt x="188" y="615"/>
                  </a:lnTo>
                  <a:lnTo>
                    <a:pt x="188" y="614"/>
                  </a:lnTo>
                  <a:lnTo>
                    <a:pt x="185" y="610"/>
                  </a:lnTo>
                  <a:lnTo>
                    <a:pt x="185" y="610"/>
                  </a:lnTo>
                  <a:lnTo>
                    <a:pt x="183" y="612"/>
                  </a:lnTo>
                  <a:lnTo>
                    <a:pt x="181" y="612"/>
                  </a:lnTo>
                  <a:lnTo>
                    <a:pt x="179" y="614"/>
                  </a:lnTo>
                  <a:lnTo>
                    <a:pt x="175" y="617"/>
                  </a:lnTo>
                  <a:lnTo>
                    <a:pt x="173" y="617"/>
                  </a:lnTo>
                  <a:lnTo>
                    <a:pt x="173" y="615"/>
                  </a:lnTo>
                  <a:lnTo>
                    <a:pt x="175" y="614"/>
                  </a:lnTo>
                  <a:lnTo>
                    <a:pt x="175" y="612"/>
                  </a:lnTo>
                  <a:lnTo>
                    <a:pt x="179" y="608"/>
                  </a:lnTo>
                  <a:lnTo>
                    <a:pt x="179" y="608"/>
                  </a:lnTo>
                  <a:lnTo>
                    <a:pt x="181" y="608"/>
                  </a:lnTo>
                  <a:lnTo>
                    <a:pt x="183" y="606"/>
                  </a:lnTo>
                  <a:lnTo>
                    <a:pt x="187" y="606"/>
                  </a:lnTo>
                  <a:lnTo>
                    <a:pt x="188" y="604"/>
                  </a:lnTo>
                  <a:lnTo>
                    <a:pt x="187" y="604"/>
                  </a:lnTo>
                  <a:lnTo>
                    <a:pt x="183" y="602"/>
                  </a:lnTo>
                  <a:lnTo>
                    <a:pt x="179" y="606"/>
                  </a:lnTo>
                  <a:lnTo>
                    <a:pt x="179" y="606"/>
                  </a:lnTo>
                  <a:lnTo>
                    <a:pt x="175" y="604"/>
                  </a:lnTo>
                  <a:lnTo>
                    <a:pt x="173" y="606"/>
                  </a:lnTo>
                  <a:lnTo>
                    <a:pt x="172" y="604"/>
                  </a:lnTo>
                  <a:lnTo>
                    <a:pt x="172" y="602"/>
                  </a:lnTo>
                  <a:lnTo>
                    <a:pt x="173" y="602"/>
                  </a:lnTo>
                  <a:lnTo>
                    <a:pt x="175" y="599"/>
                  </a:lnTo>
                  <a:lnTo>
                    <a:pt x="179" y="599"/>
                  </a:lnTo>
                  <a:lnTo>
                    <a:pt x="185" y="597"/>
                  </a:lnTo>
                  <a:lnTo>
                    <a:pt x="190" y="597"/>
                  </a:lnTo>
                  <a:lnTo>
                    <a:pt x="190" y="593"/>
                  </a:lnTo>
                  <a:lnTo>
                    <a:pt x="188" y="593"/>
                  </a:lnTo>
                  <a:lnTo>
                    <a:pt x="187" y="593"/>
                  </a:lnTo>
                  <a:lnTo>
                    <a:pt x="185" y="597"/>
                  </a:lnTo>
                  <a:lnTo>
                    <a:pt x="181" y="597"/>
                  </a:lnTo>
                  <a:lnTo>
                    <a:pt x="179" y="597"/>
                  </a:lnTo>
                  <a:lnTo>
                    <a:pt x="179" y="593"/>
                  </a:lnTo>
                  <a:lnTo>
                    <a:pt x="175" y="593"/>
                  </a:lnTo>
                  <a:lnTo>
                    <a:pt x="173" y="593"/>
                  </a:lnTo>
                  <a:lnTo>
                    <a:pt x="173" y="593"/>
                  </a:lnTo>
                  <a:lnTo>
                    <a:pt x="173" y="591"/>
                  </a:lnTo>
                  <a:lnTo>
                    <a:pt x="175" y="589"/>
                  </a:lnTo>
                  <a:lnTo>
                    <a:pt x="175" y="583"/>
                  </a:lnTo>
                  <a:lnTo>
                    <a:pt x="179" y="583"/>
                  </a:lnTo>
                  <a:lnTo>
                    <a:pt x="179" y="582"/>
                  </a:lnTo>
                  <a:lnTo>
                    <a:pt x="179" y="580"/>
                  </a:lnTo>
                  <a:lnTo>
                    <a:pt x="179" y="580"/>
                  </a:lnTo>
                  <a:lnTo>
                    <a:pt x="175" y="582"/>
                  </a:lnTo>
                  <a:lnTo>
                    <a:pt x="173" y="585"/>
                  </a:lnTo>
                  <a:lnTo>
                    <a:pt x="173" y="587"/>
                  </a:lnTo>
                  <a:lnTo>
                    <a:pt x="170" y="589"/>
                  </a:lnTo>
                  <a:lnTo>
                    <a:pt x="170" y="591"/>
                  </a:lnTo>
                  <a:lnTo>
                    <a:pt x="168" y="591"/>
                  </a:lnTo>
                  <a:lnTo>
                    <a:pt x="168" y="587"/>
                  </a:lnTo>
                  <a:lnTo>
                    <a:pt x="170" y="583"/>
                  </a:lnTo>
                  <a:lnTo>
                    <a:pt x="170" y="578"/>
                  </a:lnTo>
                  <a:lnTo>
                    <a:pt x="168" y="574"/>
                  </a:lnTo>
                  <a:lnTo>
                    <a:pt x="168" y="572"/>
                  </a:lnTo>
                  <a:lnTo>
                    <a:pt x="168" y="568"/>
                  </a:lnTo>
                  <a:lnTo>
                    <a:pt x="168" y="567"/>
                  </a:lnTo>
                  <a:lnTo>
                    <a:pt x="168" y="567"/>
                  </a:lnTo>
                  <a:lnTo>
                    <a:pt x="166" y="568"/>
                  </a:lnTo>
                  <a:lnTo>
                    <a:pt x="166" y="574"/>
                  </a:lnTo>
                  <a:lnTo>
                    <a:pt x="166" y="576"/>
                  </a:lnTo>
                  <a:lnTo>
                    <a:pt x="168" y="580"/>
                  </a:lnTo>
                  <a:lnTo>
                    <a:pt x="168" y="583"/>
                  </a:lnTo>
                  <a:lnTo>
                    <a:pt x="168" y="589"/>
                  </a:lnTo>
                  <a:lnTo>
                    <a:pt x="166" y="591"/>
                  </a:lnTo>
                  <a:lnTo>
                    <a:pt x="164" y="591"/>
                  </a:lnTo>
                  <a:lnTo>
                    <a:pt x="162" y="589"/>
                  </a:lnTo>
                  <a:lnTo>
                    <a:pt x="160" y="587"/>
                  </a:lnTo>
                  <a:lnTo>
                    <a:pt x="160" y="593"/>
                  </a:lnTo>
                  <a:lnTo>
                    <a:pt x="158" y="593"/>
                  </a:lnTo>
                  <a:lnTo>
                    <a:pt x="156" y="593"/>
                  </a:lnTo>
                  <a:lnTo>
                    <a:pt x="155" y="593"/>
                  </a:lnTo>
                  <a:lnTo>
                    <a:pt x="156" y="593"/>
                  </a:lnTo>
                  <a:lnTo>
                    <a:pt x="158" y="597"/>
                  </a:lnTo>
                  <a:lnTo>
                    <a:pt x="156" y="599"/>
                  </a:lnTo>
                  <a:lnTo>
                    <a:pt x="155" y="602"/>
                  </a:lnTo>
                  <a:lnTo>
                    <a:pt x="155" y="602"/>
                  </a:lnTo>
                  <a:lnTo>
                    <a:pt x="151" y="602"/>
                  </a:lnTo>
                  <a:lnTo>
                    <a:pt x="151" y="602"/>
                  </a:lnTo>
                  <a:lnTo>
                    <a:pt x="149" y="604"/>
                  </a:lnTo>
                  <a:lnTo>
                    <a:pt x="141" y="604"/>
                  </a:lnTo>
                  <a:lnTo>
                    <a:pt x="141" y="602"/>
                  </a:lnTo>
                  <a:lnTo>
                    <a:pt x="141" y="602"/>
                  </a:lnTo>
                  <a:lnTo>
                    <a:pt x="141" y="597"/>
                  </a:lnTo>
                  <a:lnTo>
                    <a:pt x="140" y="597"/>
                  </a:lnTo>
                  <a:lnTo>
                    <a:pt x="138" y="597"/>
                  </a:lnTo>
                  <a:lnTo>
                    <a:pt x="138" y="599"/>
                  </a:lnTo>
                  <a:lnTo>
                    <a:pt x="136" y="599"/>
                  </a:lnTo>
                  <a:lnTo>
                    <a:pt x="136" y="597"/>
                  </a:lnTo>
                  <a:lnTo>
                    <a:pt x="136" y="593"/>
                  </a:lnTo>
                  <a:lnTo>
                    <a:pt x="136" y="591"/>
                  </a:lnTo>
                  <a:lnTo>
                    <a:pt x="134" y="589"/>
                  </a:lnTo>
                  <a:lnTo>
                    <a:pt x="134" y="587"/>
                  </a:lnTo>
                  <a:lnTo>
                    <a:pt x="138" y="585"/>
                  </a:lnTo>
                  <a:lnTo>
                    <a:pt x="141" y="585"/>
                  </a:lnTo>
                  <a:lnTo>
                    <a:pt x="141" y="585"/>
                  </a:lnTo>
                  <a:lnTo>
                    <a:pt x="141" y="583"/>
                  </a:lnTo>
                  <a:lnTo>
                    <a:pt x="145" y="582"/>
                  </a:lnTo>
                  <a:lnTo>
                    <a:pt x="151" y="582"/>
                  </a:lnTo>
                  <a:lnTo>
                    <a:pt x="151" y="582"/>
                  </a:lnTo>
                  <a:lnTo>
                    <a:pt x="155" y="578"/>
                  </a:lnTo>
                  <a:lnTo>
                    <a:pt x="158" y="572"/>
                  </a:lnTo>
                  <a:lnTo>
                    <a:pt x="158" y="572"/>
                  </a:lnTo>
                  <a:lnTo>
                    <a:pt x="158" y="572"/>
                  </a:lnTo>
                  <a:lnTo>
                    <a:pt x="156" y="572"/>
                  </a:lnTo>
                  <a:lnTo>
                    <a:pt x="155" y="574"/>
                  </a:lnTo>
                  <a:lnTo>
                    <a:pt x="151" y="578"/>
                  </a:lnTo>
                  <a:lnTo>
                    <a:pt x="149" y="580"/>
                  </a:lnTo>
                  <a:lnTo>
                    <a:pt x="141" y="578"/>
                  </a:lnTo>
                  <a:lnTo>
                    <a:pt x="141" y="576"/>
                  </a:lnTo>
                  <a:lnTo>
                    <a:pt x="141" y="574"/>
                  </a:lnTo>
                  <a:lnTo>
                    <a:pt x="145" y="572"/>
                  </a:lnTo>
                  <a:lnTo>
                    <a:pt x="149" y="568"/>
                  </a:lnTo>
                  <a:lnTo>
                    <a:pt x="151" y="568"/>
                  </a:lnTo>
                  <a:lnTo>
                    <a:pt x="151" y="568"/>
                  </a:lnTo>
                  <a:lnTo>
                    <a:pt x="151" y="567"/>
                  </a:lnTo>
                  <a:lnTo>
                    <a:pt x="151" y="563"/>
                  </a:lnTo>
                  <a:lnTo>
                    <a:pt x="155" y="563"/>
                  </a:lnTo>
                  <a:lnTo>
                    <a:pt x="155" y="563"/>
                  </a:lnTo>
                  <a:lnTo>
                    <a:pt x="155" y="563"/>
                  </a:lnTo>
                  <a:lnTo>
                    <a:pt x="155" y="559"/>
                  </a:lnTo>
                  <a:lnTo>
                    <a:pt x="155" y="559"/>
                  </a:lnTo>
                  <a:lnTo>
                    <a:pt x="151" y="559"/>
                  </a:lnTo>
                  <a:lnTo>
                    <a:pt x="151" y="559"/>
                  </a:lnTo>
                  <a:lnTo>
                    <a:pt x="145" y="559"/>
                  </a:lnTo>
                  <a:lnTo>
                    <a:pt x="145" y="559"/>
                  </a:lnTo>
                  <a:lnTo>
                    <a:pt x="141" y="559"/>
                  </a:lnTo>
                  <a:lnTo>
                    <a:pt x="145" y="557"/>
                  </a:lnTo>
                  <a:lnTo>
                    <a:pt x="149" y="555"/>
                  </a:lnTo>
                  <a:lnTo>
                    <a:pt x="151" y="555"/>
                  </a:lnTo>
                  <a:lnTo>
                    <a:pt x="151" y="557"/>
                  </a:lnTo>
                  <a:lnTo>
                    <a:pt x="155" y="557"/>
                  </a:lnTo>
                  <a:lnTo>
                    <a:pt x="156" y="555"/>
                  </a:lnTo>
                  <a:lnTo>
                    <a:pt x="160" y="550"/>
                  </a:lnTo>
                  <a:lnTo>
                    <a:pt x="158" y="548"/>
                  </a:lnTo>
                  <a:lnTo>
                    <a:pt x="158" y="546"/>
                  </a:lnTo>
                  <a:lnTo>
                    <a:pt x="162" y="542"/>
                  </a:lnTo>
                  <a:lnTo>
                    <a:pt x="162" y="538"/>
                  </a:lnTo>
                  <a:lnTo>
                    <a:pt x="162" y="534"/>
                  </a:lnTo>
                  <a:lnTo>
                    <a:pt x="160" y="533"/>
                  </a:lnTo>
                  <a:lnTo>
                    <a:pt x="158" y="533"/>
                  </a:lnTo>
                  <a:lnTo>
                    <a:pt x="156" y="533"/>
                  </a:lnTo>
                  <a:lnTo>
                    <a:pt x="155" y="529"/>
                  </a:lnTo>
                  <a:lnTo>
                    <a:pt x="155" y="529"/>
                  </a:lnTo>
                  <a:lnTo>
                    <a:pt x="151" y="529"/>
                  </a:lnTo>
                  <a:lnTo>
                    <a:pt x="151" y="529"/>
                  </a:lnTo>
                  <a:lnTo>
                    <a:pt x="151" y="527"/>
                  </a:lnTo>
                  <a:lnTo>
                    <a:pt x="155" y="529"/>
                  </a:lnTo>
                  <a:lnTo>
                    <a:pt x="156" y="527"/>
                  </a:lnTo>
                  <a:lnTo>
                    <a:pt x="158" y="525"/>
                  </a:lnTo>
                  <a:lnTo>
                    <a:pt x="158" y="521"/>
                  </a:lnTo>
                  <a:lnTo>
                    <a:pt x="160" y="519"/>
                  </a:lnTo>
                  <a:lnTo>
                    <a:pt x="160" y="518"/>
                  </a:lnTo>
                  <a:lnTo>
                    <a:pt x="158" y="516"/>
                  </a:lnTo>
                  <a:lnTo>
                    <a:pt x="156" y="516"/>
                  </a:lnTo>
                  <a:lnTo>
                    <a:pt x="155" y="514"/>
                  </a:lnTo>
                  <a:lnTo>
                    <a:pt x="155" y="512"/>
                  </a:lnTo>
                  <a:lnTo>
                    <a:pt x="156" y="510"/>
                  </a:lnTo>
                  <a:lnTo>
                    <a:pt x="158" y="510"/>
                  </a:lnTo>
                  <a:lnTo>
                    <a:pt x="158" y="508"/>
                  </a:lnTo>
                  <a:lnTo>
                    <a:pt x="155" y="504"/>
                  </a:lnTo>
                  <a:lnTo>
                    <a:pt x="155" y="502"/>
                  </a:lnTo>
                  <a:lnTo>
                    <a:pt x="156" y="502"/>
                  </a:lnTo>
                  <a:lnTo>
                    <a:pt x="158" y="504"/>
                  </a:lnTo>
                  <a:lnTo>
                    <a:pt x="158" y="502"/>
                  </a:lnTo>
                  <a:lnTo>
                    <a:pt x="156" y="499"/>
                  </a:lnTo>
                  <a:lnTo>
                    <a:pt x="156" y="499"/>
                  </a:lnTo>
                  <a:lnTo>
                    <a:pt x="158" y="495"/>
                  </a:lnTo>
                  <a:lnTo>
                    <a:pt x="158" y="491"/>
                  </a:lnTo>
                  <a:lnTo>
                    <a:pt x="156" y="489"/>
                  </a:lnTo>
                  <a:lnTo>
                    <a:pt x="156" y="486"/>
                  </a:lnTo>
                  <a:lnTo>
                    <a:pt x="155" y="484"/>
                  </a:lnTo>
                  <a:lnTo>
                    <a:pt x="156" y="482"/>
                  </a:lnTo>
                  <a:lnTo>
                    <a:pt x="158" y="478"/>
                  </a:lnTo>
                  <a:lnTo>
                    <a:pt x="156" y="478"/>
                  </a:lnTo>
                  <a:lnTo>
                    <a:pt x="155" y="478"/>
                  </a:lnTo>
                  <a:lnTo>
                    <a:pt x="151" y="482"/>
                  </a:lnTo>
                  <a:lnTo>
                    <a:pt x="151" y="482"/>
                  </a:lnTo>
                  <a:lnTo>
                    <a:pt x="149" y="482"/>
                  </a:lnTo>
                  <a:lnTo>
                    <a:pt x="147" y="484"/>
                  </a:lnTo>
                  <a:lnTo>
                    <a:pt x="145" y="482"/>
                  </a:lnTo>
                  <a:lnTo>
                    <a:pt x="147" y="482"/>
                  </a:lnTo>
                  <a:lnTo>
                    <a:pt x="151" y="478"/>
                  </a:lnTo>
                  <a:lnTo>
                    <a:pt x="151" y="478"/>
                  </a:lnTo>
                  <a:lnTo>
                    <a:pt x="155" y="478"/>
                  </a:lnTo>
                  <a:lnTo>
                    <a:pt x="155" y="474"/>
                  </a:lnTo>
                  <a:lnTo>
                    <a:pt x="156" y="470"/>
                  </a:lnTo>
                  <a:lnTo>
                    <a:pt x="160" y="469"/>
                  </a:lnTo>
                  <a:lnTo>
                    <a:pt x="160" y="469"/>
                  </a:lnTo>
                  <a:lnTo>
                    <a:pt x="160" y="465"/>
                  </a:lnTo>
                  <a:lnTo>
                    <a:pt x="158" y="463"/>
                  </a:lnTo>
                  <a:lnTo>
                    <a:pt x="156" y="461"/>
                  </a:lnTo>
                  <a:lnTo>
                    <a:pt x="155" y="457"/>
                  </a:lnTo>
                  <a:lnTo>
                    <a:pt x="155" y="455"/>
                  </a:lnTo>
                  <a:lnTo>
                    <a:pt x="155" y="455"/>
                  </a:lnTo>
                  <a:lnTo>
                    <a:pt x="151" y="453"/>
                  </a:lnTo>
                  <a:lnTo>
                    <a:pt x="151" y="452"/>
                  </a:lnTo>
                  <a:lnTo>
                    <a:pt x="155" y="450"/>
                  </a:lnTo>
                  <a:lnTo>
                    <a:pt x="151" y="448"/>
                  </a:lnTo>
                  <a:lnTo>
                    <a:pt x="151" y="444"/>
                  </a:lnTo>
                  <a:lnTo>
                    <a:pt x="151" y="440"/>
                  </a:lnTo>
                  <a:lnTo>
                    <a:pt x="145" y="435"/>
                  </a:lnTo>
                  <a:lnTo>
                    <a:pt x="145" y="435"/>
                  </a:lnTo>
                  <a:lnTo>
                    <a:pt x="141" y="433"/>
                  </a:lnTo>
                  <a:lnTo>
                    <a:pt x="141" y="433"/>
                  </a:lnTo>
                  <a:lnTo>
                    <a:pt x="141" y="431"/>
                  </a:lnTo>
                  <a:lnTo>
                    <a:pt x="141" y="429"/>
                  </a:lnTo>
                  <a:lnTo>
                    <a:pt x="147" y="427"/>
                  </a:lnTo>
                  <a:lnTo>
                    <a:pt x="149" y="425"/>
                  </a:lnTo>
                  <a:lnTo>
                    <a:pt x="151" y="423"/>
                  </a:lnTo>
                  <a:lnTo>
                    <a:pt x="149" y="421"/>
                  </a:lnTo>
                  <a:lnTo>
                    <a:pt x="147" y="421"/>
                  </a:lnTo>
                  <a:lnTo>
                    <a:pt x="147" y="421"/>
                  </a:lnTo>
                  <a:lnTo>
                    <a:pt x="149" y="420"/>
                  </a:lnTo>
                  <a:lnTo>
                    <a:pt x="151" y="416"/>
                  </a:lnTo>
                  <a:lnTo>
                    <a:pt x="151" y="414"/>
                  </a:lnTo>
                  <a:lnTo>
                    <a:pt x="151" y="414"/>
                  </a:lnTo>
                  <a:lnTo>
                    <a:pt x="151" y="410"/>
                  </a:lnTo>
                  <a:lnTo>
                    <a:pt x="151" y="410"/>
                  </a:lnTo>
                  <a:lnTo>
                    <a:pt x="151" y="408"/>
                  </a:lnTo>
                  <a:lnTo>
                    <a:pt x="149" y="406"/>
                  </a:lnTo>
                  <a:lnTo>
                    <a:pt x="145" y="403"/>
                  </a:lnTo>
                  <a:lnTo>
                    <a:pt x="141" y="401"/>
                  </a:lnTo>
                  <a:lnTo>
                    <a:pt x="141" y="397"/>
                  </a:lnTo>
                  <a:lnTo>
                    <a:pt x="140" y="395"/>
                  </a:lnTo>
                  <a:lnTo>
                    <a:pt x="138" y="397"/>
                  </a:lnTo>
                  <a:lnTo>
                    <a:pt x="138" y="399"/>
                  </a:lnTo>
                  <a:lnTo>
                    <a:pt x="136" y="399"/>
                  </a:lnTo>
                  <a:lnTo>
                    <a:pt x="134" y="397"/>
                  </a:lnTo>
                  <a:lnTo>
                    <a:pt x="134" y="395"/>
                  </a:lnTo>
                  <a:lnTo>
                    <a:pt x="132" y="393"/>
                  </a:lnTo>
                  <a:lnTo>
                    <a:pt x="130" y="391"/>
                  </a:lnTo>
                  <a:lnTo>
                    <a:pt x="126" y="389"/>
                  </a:lnTo>
                  <a:lnTo>
                    <a:pt x="126" y="388"/>
                  </a:lnTo>
                  <a:lnTo>
                    <a:pt x="126" y="389"/>
                  </a:lnTo>
                  <a:lnTo>
                    <a:pt x="124" y="389"/>
                  </a:lnTo>
                  <a:lnTo>
                    <a:pt x="124" y="388"/>
                  </a:lnTo>
                  <a:lnTo>
                    <a:pt x="124" y="384"/>
                  </a:lnTo>
                  <a:lnTo>
                    <a:pt x="121" y="380"/>
                  </a:lnTo>
                  <a:lnTo>
                    <a:pt x="117" y="380"/>
                  </a:lnTo>
                  <a:lnTo>
                    <a:pt x="115" y="380"/>
                  </a:lnTo>
                  <a:lnTo>
                    <a:pt x="113" y="380"/>
                  </a:lnTo>
                  <a:lnTo>
                    <a:pt x="111" y="380"/>
                  </a:lnTo>
                  <a:lnTo>
                    <a:pt x="106" y="376"/>
                  </a:lnTo>
                  <a:lnTo>
                    <a:pt x="102" y="374"/>
                  </a:lnTo>
                  <a:lnTo>
                    <a:pt x="98" y="371"/>
                  </a:lnTo>
                  <a:lnTo>
                    <a:pt x="96" y="371"/>
                  </a:lnTo>
                  <a:lnTo>
                    <a:pt x="92" y="371"/>
                  </a:lnTo>
                  <a:lnTo>
                    <a:pt x="91" y="371"/>
                  </a:lnTo>
                  <a:lnTo>
                    <a:pt x="87" y="376"/>
                  </a:lnTo>
                  <a:lnTo>
                    <a:pt x="85" y="380"/>
                  </a:lnTo>
                  <a:lnTo>
                    <a:pt x="83" y="380"/>
                  </a:lnTo>
                  <a:lnTo>
                    <a:pt x="83" y="376"/>
                  </a:lnTo>
                  <a:lnTo>
                    <a:pt x="85" y="374"/>
                  </a:lnTo>
                  <a:lnTo>
                    <a:pt x="83" y="371"/>
                  </a:lnTo>
                  <a:lnTo>
                    <a:pt x="83" y="371"/>
                  </a:lnTo>
                  <a:lnTo>
                    <a:pt x="81" y="369"/>
                  </a:lnTo>
                  <a:lnTo>
                    <a:pt x="77" y="371"/>
                  </a:lnTo>
                  <a:lnTo>
                    <a:pt x="77" y="374"/>
                  </a:lnTo>
                  <a:lnTo>
                    <a:pt x="74" y="376"/>
                  </a:lnTo>
                  <a:lnTo>
                    <a:pt x="72" y="374"/>
                  </a:lnTo>
                  <a:lnTo>
                    <a:pt x="72" y="371"/>
                  </a:lnTo>
                  <a:lnTo>
                    <a:pt x="68" y="369"/>
                  </a:lnTo>
                  <a:lnTo>
                    <a:pt x="68" y="371"/>
                  </a:lnTo>
                  <a:lnTo>
                    <a:pt x="68" y="376"/>
                  </a:lnTo>
                  <a:lnTo>
                    <a:pt x="66" y="380"/>
                  </a:lnTo>
                  <a:lnTo>
                    <a:pt x="62" y="376"/>
                  </a:lnTo>
                  <a:lnTo>
                    <a:pt x="62" y="374"/>
                  </a:lnTo>
                  <a:lnTo>
                    <a:pt x="64" y="371"/>
                  </a:lnTo>
                  <a:lnTo>
                    <a:pt x="68" y="369"/>
                  </a:lnTo>
                  <a:lnTo>
                    <a:pt x="66" y="367"/>
                  </a:lnTo>
                  <a:lnTo>
                    <a:pt x="64" y="367"/>
                  </a:lnTo>
                  <a:lnTo>
                    <a:pt x="62" y="367"/>
                  </a:lnTo>
                  <a:lnTo>
                    <a:pt x="59" y="369"/>
                  </a:lnTo>
                  <a:lnTo>
                    <a:pt x="57" y="369"/>
                  </a:lnTo>
                  <a:lnTo>
                    <a:pt x="57" y="371"/>
                  </a:lnTo>
                  <a:lnTo>
                    <a:pt x="57" y="371"/>
                  </a:lnTo>
                  <a:lnTo>
                    <a:pt x="53" y="371"/>
                  </a:lnTo>
                  <a:lnTo>
                    <a:pt x="53" y="367"/>
                  </a:lnTo>
                  <a:lnTo>
                    <a:pt x="53" y="365"/>
                  </a:lnTo>
                  <a:lnTo>
                    <a:pt x="51" y="361"/>
                  </a:lnTo>
                  <a:lnTo>
                    <a:pt x="51" y="361"/>
                  </a:lnTo>
                  <a:lnTo>
                    <a:pt x="49" y="361"/>
                  </a:lnTo>
                  <a:lnTo>
                    <a:pt x="47" y="363"/>
                  </a:lnTo>
                  <a:lnTo>
                    <a:pt x="47" y="369"/>
                  </a:lnTo>
                  <a:lnTo>
                    <a:pt x="47" y="369"/>
                  </a:lnTo>
                  <a:lnTo>
                    <a:pt x="47" y="371"/>
                  </a:lnTo>
                  <a:lnTo>
                    <a:pt x="47" y="376"/>
                  </a:lnTo>
                  <a:lnTo>
                    <a:pt x="47" y="380"/>
                  </a:lnTo>
                  <a:lnTo>
                    <a:pt x="47" y="380"/>
                  </a:lnTo>
                  <a:lnTo>
                    <a:pt x="44" y="380"/>
                  </a:lnTo>
                  <a:lnTo>
                    <a:pt x="40" y="376"/>
                  </a:lnTo>
                  <a:lnTo>
                    <a:pt x="36" y="374"/>
                  </a:lnTo>
                  <a:lnTo>
                    <a:pt x="32" y="371"/>
                  </a:lnTo>
                  <a:lnTo>
                    <a:pt x="30" y="369"/>
                  </a:lnTo>
                  <a:lnTo>
                    <a:pt x="27" y="367"/>
                  </a:lnTo>
                  <a:lnTo>
                    <a:pt x="27" y="365"/>
                  </a:lnTo>
                  <a:lnTo>
                    <a:pt x="28" y="365"/>
                  </a:lnTo>
                  <a:lnTo>
                    <a:pt x="25" y="363"/>
                  </a:lnTo>
                  <a:lnTo>
                    <a:pt x="23" y="359"/>
                  </a:lnTo>
                  <a:lnTo>
                    <a:pt x="23" y="356"/>
                  </a:lnTo>
                  <a:lnTo>
                    <a:pt x="19" y="352"/>
                  </a:lnTo>
                  <a:lnTo>
                    <a:pt x="19" y="346"/>
                  </a:lnTo>
                  <a:lnTo>
                    <a:pt x="19" y="346"/>
                  </a:lnTo>
                  <a:lnTo>
                    <a:pt x="25" y="346"/>
                  </a:lnTo>
                  <a:lnTo>
                    <a:pt x="27" y="344"/>
                  </a:lnTo>
                  <a:lnTo>
                    <a:pt x="28" y="342"/>
                  </a:lnTo>
                  <a:lnTo>
                    <a:pt x="34" y="342"/>
                  </a:lnTo>
                  <a:lnTo>
                    <a:pt x="36" y="344"/>
                  </a:lnTo>
                  <a:lnTo>
                    <a:pt x="38" y="342"/>
                  </a:lnTo>
                  <a:lnTo>
                    <a:pt x="40" y="340"/>
                  </a:lnTo>
                  <a:lnTo>
                    <a:pt x="40" y="339"/>
                  </a:lnTo>
                  <a:lnTo>
                    <a:pt x="36" y="339"/>
                  </a:lnTo>
                  <a:lnTo>
                    <a:pt x="30" y="337"/>
                  </a:lnTo>
                  <a:lnTo>
                    <a:pt x="28" y="337"/>
                  </a:lnTo>
                  <a:lnTo>
                    <a:pt x="27" y="339"/>
                  </a:lnTo>
                  <a:lnTo>
                    <a:pt x="23" y="333"/>
                  </a:lnTo>
                  <a:lnTo>
                    <a:pt x="23" y="327"/>
                  </a:lnTo>
                  <a:lnTo>
                    <a:pt x="23" y="325"/>
                  </a:lnTo>
                  <a:lnTo>
                    <a:pt x="27" y="324"/>
                  </a:lnTo>
                  <a:lnTo>
                    <a:pt x="28" y="320"/>
                  </a:lnTo>
                  <a:lnTo>
                    <a:pt x="28" y="320"/>
                  </a:lnTo>
                  <a:lnTo>
                    <a:pt x="27" y="320"/>
                  </a:lnTo>
                  <a:lnTo>
                    <a:pt x="25" y="320"/>
                  </a:lnTo>
                  <a:lnTo>
                    <a:pt x="23" y="324"/>
                  </a:lnTo>
                  <a:lnTo>
                    <a:pt x="23" y="324"/>
                  </a:lnTo>
                  <a:lnTo>
                    <a:pt x="19" y="324"/>
                  </a:lnTo>
                  <a:lnTo>
                    <a:pt x="19" y="327"/>
                  </a:lnTo>
                  <a:lnTo>
                    <a:pt x="13" y="325"/>
                  </a:lnTo>
                  <a:lnTo>
                    <a:pt x="13" y="322"/>
                  </a:lnTo>
                  <a:lnTo>
                    <a:pt x="13" y="320"/>
                  </a:lnTo>
                  <a:lnTo>
                    <a:pt x="17" y="320"/>
                  </a:lnTo>
                  <a:lnTo>
                    <a:pt x="15" y="316"/>
                  </a:lnTo>
                  <a:lnTo>
                    <a:pt x="13" y="316"/>
                  </a:lnTo>
                  <a:lnTo>
                    <a:pt x="12" y="316"/>
                  </a:lnTo>
                  <a:lnTo>
                    <a:pt x="12" y="316"/>
                  </a:lnTo>
                  <a:lnTo>
                    <a:pt x="12" y="312"/>
                  </a:lnTo>
                  <a:lnTo>
                    <a:pt x="13" y="310"/>
                  </a:lnTo>
                  <a:lnTo>
                    <a:pt x="15" y="310"/>
                  </a:lnTo>
                  <a:lnTo>
                    <a:pt x="17" y="308"/>
                  </a:lnTo>
                  <a:lnTo>
                    <a:pt x="19" y="308"/>
                  </a:lnTo>
                  <a:lnTo>
                    <a:pt x="19" y="310"/>
                  </a:lnTo>
                  <a:lnTo>
                    <a:pt x="19" y="307"/>
                  </a:lnTo>
                  <a:lnTo>
                    <a:pt x="25" y="305"/>
                  </a:lnTo>
                  <a:lnTo>
                    <a:pt x="32" y="305"/>
                  </a:lnTo>
                  <a:lnTo>
                    <a:pt x="36" y="308"/>
                  </a:lnTo>
                  <a:lnTo>
                    <a:pt x="44" y="308"/>
                  </a:lnTo>
                  <a:lnTo>
                    <a:pt x="47" y="312"/>
                  </a:lnTo>
                  <a:lnTo>
                    <a:pt x="53" y="312"/>
                  </a:lnTo>
                  <a:lnTo>
                    <a:pt x="57" y="314"/>
                  </a:lnTo>
                  <a:lnTo>
                    <a:pt x="64" y="316"/>
                  </a:lnTo>
                  <a:lnTo>
                    <a:pt x="66" y="316"/>
                  </a:lnTo>
                  <a:lnTo>
                    <a:pt x="68" y="316"/>
                  </a:lnTo>
                  <a:lnTo>
                    <a:pt x="72" y="316"/>
                  </a:lnTo>
                  <a:lnTo>
                    <a:pt x="68" y="316"/>
                  </a:lnTo>
                  <a:lnTo>
                    <a:pt x="66" y="316"/>
                  </a:lnTo>
                  <a:lnTo>
                    <a:pt x="60" y="314"/>
                  </a:lnTo>
                  <a:lnTo>
                    <a:pt x="57" y="308"/>
                  </a:lnTo>
                  <a:lnTo>
                    <a:pt x="51" y="308"/>
                  </a:lnTo>
                  <a:lnTo>
                    <a:pt x="47" y="308"/>
                  </a:lnTo>
                  <a:lnTo>
                    <a:pt x="44" y="305"/>
                  </a:lnTo>
                  <a:lnTo>
                    <a:pt x="44" y="303"/>
                  </a:lnTo>
                  <a:lnTo>
                    <a:pt x="49" y="301"/>
                  </a:lnTo>
                  <a:lnTo>
                    <a:pt x="57" y="303"/>
                  </a:lnTo>
                  <a:lnTo>
                    <a:pt x="62" y="303"/>
                  </a:lnTo>
                  <a:lnTo>
                    <a:pt x="68" y="305"/>
                  </a:lnTo>
                  <a:lnTo>
                    <a:pt x="72" y="308"/>
                  </a:lnTo>
                  <a:lnTo>
                    <a:pt x="72" y="308"/>
                  </a:lnTo>
                  <a:lnTo>
                    <a:pt x="74" y="310"/>
                  </a:lnTo>
                  <a:lnTo>
                    <a:pt x="76" y="312"/>
                  </a:lnTo>
                  <a:lnTo>
                    <a:pt x="76" y="310"/>
                  </a:lnTo>
                  <a:lnTo>
                    <a:pt x="76" y="308"/>
                  </a:lnTo>
                  <a:lnTo>
                    <a:pt x="76" y="305"/>
                  </a:lnTo>
                  <a:lnTo>
                    <a:pt x="81" y="303"/>
                  </a:lnTo>
                  <a:lnTo>
                    <a:pt x="81" y="303"/>
                  </a:lnTo>
                  <a:lnTo>
                    <a:pt x="81" y="297"/>
                  </a:lnTo>
                  <a:lnTo>
                    <a:pt x="77" y="295"/>
                  </a:lnTo>
                  <a:lnTo>
                    <a:pt x="76" y="295"/>
                  </a:lnTo>
                  <a:lnTo>
                    <a:pt x="74" y="295"/>
                  </a:lnTo>
                  <a:lnTo>
                    <a:pt x="76" y="291"/>
                  </a:lnTo>
                  <a:lnTo>
                    <a:pt x="72" y="291"/>
                  </a:lnTo>
                  <a:lnTo>
                    <a:pt x="72" y="291"/>
                  </a:lnTo>
                  <a:lnTo>
                    <a:pt x="68" y="295"/>
                  </a:lnTo>
                  <a:lnTo>
                    <a:pt x="64" y="295"/>
                  </a:lnTo>
                  <a:lnTo>
                    <a:pt x="59" y="295"/>
                  </a:lnTo>
                  <a:lnTo>
                    <a:pt x="57" y="291"/>
                  </a:lnTo>
                  <a:lnTo>
                    <a:pt x="57" y="290"/>
                  </a:lnTo>
                  <a:lnTo>
                    <a:pt x="57" y="290"/>
                  </a:lnTo>
                  <a:lnTo>
                    <a:pt x="51" y="286"/>
                  </a:lnTo>
                  <a:lnTo>
                    <a:pt x="49" y="286"/>
                  </a:lnTo>
                  <a:lnTo>
                    <a:pt x="49" y="286"/>
                  </a:lnTo>
                  <a:lnTo>
                    <a:pt x="49" y="290"/>
                  </a:lnTo>
                  <a:lnTo>
                    <a:pt x="51" y="290"/>
                  </a:lnTo>
                  <a:lnTo>
                    <a:pt x="51" y="295"/>
                  </a:lnTo>
                  <a:lnTo>
                    <a:pt x="49" y="295"/>
                  </a:lnTo>
                  <a:lnTo>
                    <a:pt x="44" y="295"/>
                  </a:lnTo>
                  <a:lnTo>
                    <a:pt x="40" y="295"/>
                  </a:lnTo>
                  <a:lnTo>
                    <a:pt x="34" y="290"/>
                  </a:lnTo>
                  <a:lnTo>
                    <a:pt x="36" y="286"/>
                  </a:lnTo>
                  <a:lnTo>
                    <a:pt x="40" y="286"/>
                  </a:lnTo>
                  <a:lnTo>
                    <a:pt x="44" y="282"/>
                  </a:lnTo>
                  <a:lnTo>
                    <a:pt x="44" y="282"/>
                  </a:lnTo>
                  <a:lnTo>
                    <a:pt x="44" y="282"/>
                  </a:lnTo>
                  <a:lnTo>
                    <a:pt x="40" y="282"/>
                  </a:lnTo>
                  <a:lnTo>
                    <a:pt x="36" y="286"/>
                  </a:lnTo>
                  <a:lnTo>
                    <a:pt x="32" y="282"/>
                  </a:lnTo>
                  <a:lnTo>
                    <a:pt x="32" y="282"/>
                  </a:lnTo>
                  <a:lnTo>
                    <a:pt x="34" y="280"/>
                  </a:lnTo>
                  <a:lnTo>
                    <a:pt x="38" y="278"/>
                  </a:lnTo>
                  <a:lnTo>
                    <a:pt x="40" y="276"/>
                  </a:lnTo>
                  <a:lnTo>
                    <a:pt x="44" y="273"/>
                  </a:lnTo>
                  <a:lnTo>
                    <a:pt x="42" y="271"/>
                  </a:lnTo>
                  <a:lnTo>
                    <a:pt x="40" y="269"/>
                  </a:lnTo>
                  <a:lnTo>
                    <a:pt x="40" y="271"/>
                  </a:lnTo>
                  <a:lnTo>
                    <a:pt x="38" y="273"/>
                  </a:lnTo>
                  <a:lnTo>
                    <a:pt x="34" y="275"/>
                  </a:lnTo>
                  <a:lnTo>
                    <a:pt x="28" y="276"/>
                  </a:lnTo>
                  <a:lnTo>
                    <a:pt x="27" y="276"/>
                  </a:lnTo>
                  <a:lnTo>
                    <a:pt x="25" y="273"/>
                  </a:lnTo>
                  <a:lnTo>
                    <a:pt x="25" y="271"/>
                  </a:lnTo>
                  <a:lnTo>
                    <a:pt x="27" y="269"/>
                  </a:lnTo>
                  <a:lnTo>
                    <a:pt x="28" y="267"/>
                  </a:lnTo>
                  <a:lnTo>
                    <a:pt x="28" y="265"/>
                  </a:lnTo>
                  <a:lnTo>
                    <a:pt x="27" y="265"/>
                  </a:lnTo>
                  <a:lnTo>
                    <a:pt x="23" y="265"/>
                  </a:lnTo>
                  <a:lnTo>
                    <a:pt x="23" y="265"/>
                  </a:lnTo>
                  <a:lnTo>
                    <a:pt x="19" y="256"/>
                  </a:lnTo>
                  <a:lnTo>
                    <a:pt x="17" y="256"/>
                  </a:lnTo>
                  <a:lnTo>
                    <a:pt x="13" y="252"/>
                  </a:lnTo>
                  <a:lnTo>
                    <a:pt x="13" y="252"/>
                  </a:lnTo>
                  <a:lnTo>
                    <a:pt x="15" y="250"/>
                  </a:lnTo>
                  <a:lnTo>
                    <a:pt x="19" y="248"/>
                  </a:lnTo>
                  <a:lnTo>
                    <a:pt x="19" y="246"/>
                  </a:lnTo>
                  <a:lnTo>
                    <a:pt x="19" y="244"/>
                  </a:lnTo>
                  <a:lnTo>
                    <a:pt x="23" y="244"/>
                  </a:lnTo>
                  <a:lnTo>
                    <a:pt x="23" y="246"/>
                  </a:lnTo>
                  <a:lnTo>
                    <a:pt x="23" y="244"/>
                  </a:lnTo>
                  <a:lnTo>
                    <a:pt x="23" y="243"/>
                  </a:lnTo>
                  <a:lnTo>
                    <a:pt x="19" y="243"/>
                  </a:lnTo>
                  <a:lnTo>
                    <a:pt x="17" y="241"/>
                  </a:lnTo>
                  <a:lnTo>
                    <a:pt x="19" y="239"/>
                  </a:lnTo>
                  <a:lnTo>
                    <a:pt x="23" y="239"/>
                  </a:lnTo>
                  <a:lnTo>
                    <a:pt x="27" y="237"/>
                  </a:lnTo>
                  <a:lnTo>
                    <a:pt x="27" y="235"/>
                  </a:lnTo>
                  <a:lnTo>
                    <a:pt x="27" y="231"/>
                  </a:lnTo>
                  <a:lnTo>
                    <a:pt x="30" y="231"/>
                  </a:lnTo>
                  <a:lnTo>
                    <a:pt x="32" y="231"/>
                  </a:lnTo>
                  <a:lnTo>
                    <a:pt x="34" y="231"/>
                  </a:lnTo>
                  <a:lnTo>
                    <a:pt x="36" y="231"/>
                  </a:lnTo>
                  <a:lnTo>
                    <a:pt x="40" y="231"/>
                  </a:lnTo>
                  <a:lnTo>
                    <a:pt x="42" y="227"/>
                  </a:lnTo>
                  <a:lnTo>
                    <a:pt x="44" y="227"/>
                  </a:lnTo>
                  <a:lnTo>
                    <a:pt x="47" y="231"/>
                  </a:lnTo>
                  <a:lnTo>
                    <a:pt x="47" y="231"/>
                  </a:lnTo>
                  <a:lnTo>
                    <a:pt x="47" y="231"/>
                  </a:lnTo>
                  <a:lnTo>
                    <a:pt x="49" y="231"/>
                  </a:lnTo>
                  <a:lnTo>
                    <a:pt x="49" y="227"/>
                  </a:lnTo>
                  <a:lnTo>
                    <a:pt x="53" y="226"/>
                  </a:lnTo>
                  <a:lnTo>
                    <a:pt x="57" y="227"/>
                  </a:lnTo>
                  <a:lnTo>
                    <a:pt x="57" y="227"/>
                  </a:lnTo>
                  <a:lnTo>
                    <a:pt x="59" y="226"/>
                  </a:lnTo>
                  <a:lnTo>
                    <a:pt x="59" y="226"/>
                  </a:lnTo>
                  <a:lnTo>
                    <a:pt x="62" y="226"/>
                  </a:lnTo>
                  <a:lnTo>
                    <a:pt x="76" y="222"/>
                  </a:lnTo>
                  <a:lnTo>
                    <a:pt x="77" y="222"/>
                  </a:lnTo>
                  <a:lnTo>
                    <a:pt x="81" y="226"/>
                  </a:lnTo>
                  <a:lnTo>
                    <a:pt x="81" y="222"/>
                  </a:lnTo>
                  <a:lnTo>
                    <a:pt x="81" y="222"/>
                  </a:lnTo>
                  <a:lnTo>
                    <a:pt x="81" y="220"/>
                  </a:lnTo>
                  <a:lnTo>
                    <a:pt x="85" y="216"/>
                  </a:lnTo>
                  <a:lnTo>
                    <a:pt x="91" y="216"/>
                  </a:lnTo>
                  <a:lnTo>
                    <a:pt x="92" y="216"/>
                  </a:lnTo>
                  <a:lnTo>
                    <a:pt x="96" y="218"/>
                  </a:lnTo>
                  <a:lnTo>
                    <a:pt x="98" y="218"/>
                  </a:lnTo>
                  <a:lnTo>
                    <a:pt x="102" y="216"/>
                  </a:lnTo>
                  <a:lnTo>
                    <a:pt x="106" y="214"/>
                  </a:lnTo>
                  <a:lnTo>
                    <a:pt x="111" y="216"/>
                  </a:lnTo>
                  <a:lnTo>
                    <a:pt x="113" y="218"/>
                  </a:lnTo>
                  <a:lnTo>
                    <a:pt x="117" y="218"/>
                  </a:lnTo>
                  <a:lnTo>
                    <a:pt x="117" y="220"/>
                  </a:lnTo>
                  <a:lnTo>
                    <a:pt x="123" y="222"/>
                  </a:lnTo>
                  <a:lnTo>
                    <a:pt x="124" y="222"/>
                  </a:lnTo>
                  <a:lnTo>
                    <a:pt x="126" y="222"/>
                  </a:lnTo>
                  <a:lnTo>
                    <a:pt x="126" y="220"/>
                  </a:lnTo>
                  <a:lnTo>
                    <a:pt x="130" y="216"/>
                  </a:lnTo>
                  <a:lnTo>
                    <a:pt x="132" y="212"/>
                  </a:lnTo>
                  <a:lnTo>
                    <a:pt x="134" y="209"/>
                  </a:lnTo>
                  <a:lnTo>
                    <a:pt x="140" y="207"/>
                  </a:lnTo>
                  <a:lnTo>
                    <a:pt x="140" y="205"/>
                  </a:lnTo>
                  <a:lnTo>
                    <a:pt x="141" y="201"/>
                  </a:lnTo>
                  <a:lnTo>
                    <a:pt x="147" y="197"/>
                  </a:lnTo>
                  <a:lnTo>
                    <a:pt x="149" y="195"/>
                  </a:lnTo>
                  <a:lnTo>
                    <a:pt x="145" y="195"/>
                  </a:lnTo>
                  <a:lnTo>
                    <a:pt x="145" y="192"/>
                  </a:lnTo>
                  <a:lnTo>
                    <a:pt x="149" y="188"/>
                  </a:lnTo>
                  <a:lnTo>
                    <a:pt x="151" y="188"/>
                  </a:lnTo>
                  <a:lnTo>
                    <a:pt x="155" y="188"/>
                  </a:lnTo>
                  <a:lnTo>
                    <a:pt x="158" y="184"/>
                  </a:lnTo>
                  <a:lnTo>
                    <a:pt x="160" y="182"/>
                  </a:lnTo>
                  <a:lnTo>
                    <a:pt x="158" y="180"/>
                  </a:lnTo>
                  <a:lnTo>
                    <a:pt x="155" y="180"/>
                  </a:lnTo>
                  <a:lnTo>
                    <a:pt x="151" y="178"/>
                  </a:lnTo>
                  <a:lnTo>
                    <a:pt x="151" y="177"/>
                  </a:lnTo>
                  <a:lnTo>
                    <a:pt x="151" y="175"/>
                  </a:lnTo>
                  <a:lnTo>
                    <a:pt x="155" y="173"/>
                  </a:lnTo>
                  <a:lnTo>
                    <a:pt x="160" y="175"/>
                  </a:lnTo>
                  <a:lnTo>
                    <a:pt x="164" y="173"/>
                  </a:lnTo>
                  <a:lnTo>
                    <a:pt x="168" y="171"/>
                  </a:lnTo>
                  <a:lnTo>
                    <a:pt x="170" y="167"/>
                  </a:lnTo>
                  <a:lnTo>
                    <a:pt x="168" y="167"/>
                  </a:lnTo>
                  <a:lnTo>
                    <a:pt x="168" y="163"/>
                  </a:lnTo>
                  <a:lnTo>
                    <a:pt x="168" y="163"/>
                  </a:lnTo>
                  <a:lnTo>
                    <a:pt x="164" y="167"/>
                  </a:lnTo>
                  <a:lnTo>
                    <a:pt x="164" y="171"/>
                  </a:lnTo>
                  <a:lnTo>
                    <a:pt x="162" y="171"/>
                  </a:lnTo>
                  <a:lnTo>
                    <a:pt x="156" y="171"/>
                  </a:lnTo>
                  <a:lnTo>
                    <a:pt x="155" y="171"/>
                  </a:lnTo>
                  <a:lnTo>
                    <a:pt x="151" y="171"/>
                  </a:lnTo>
                  <a:lnTo>
                    <a:pt x="149" y="173"/>
                  </a:lnTo>
                  <a:lnTo>
                    <a:pt x="147" y="173"/>
                  </a:lnTo>
                  <a:lnTo>
                    <a:pt x="145" y="171"/>
                  </a:lnTo>
                  <a:lnTo>
                    <a:pt x="141" y="167"/>
                  </a:lnTo>
                  <a:lnTo>
                    <a:pt x="140" y="171"/>
                  </a:lnTo>
                  <a:lnTo>
                    <a:pt x="138" y="171"/>
                  </a:lnTo>
                  <a:lnTo>
                    <a:pt x="136" y="171"/>
                  </a:lnTo>
                  <a:lnTo>
                    <a:pt x="134" y="171"/>
                  </a:lnTo>
                  <a:lnTo>
                    <a:pt x="132" y="171"/>
                  </a:lnTo>
                  <a:lnTo>
                    <a:pt x="130" y="171"/>
                  </a:lnTo>
                  <a:lnTo>
                    <a:pt x="130" y="167"/>
                  </a:lnTo>
                  <a:lnTo>
                    <a:pt x="130" y="163"/>
                  </a:lnTo>
                  <a:lnTo>
                    <a:pt x="130" y="163"/>
                  </a:lnTo>
                  <a:lnTo>
                    <a:pt x="130" y="162"/>
                  </a:lnTo>
                  <a:lnTo>
                    <a:pt x="130" y="158"/>
                  </a:lnTo>
                  <a:lnTo>
                    <a:pt x="132" y="158"/>
                  </a:lnTo>
                  <a:lnTo>
                    <a:pt x="134" y="156"/>
                  </a:lnTo>
                  <a:lnTo>
                    <a:pt x="136" y="154"/>
                  </a:lnTo>
                  <a:lnTo>
                    <a:pt x="138" y="154"/>
                  </a:lnTo>
                  <a:lnTo>
                    <a:pt x="138" y="152"/>
                  </a:lnTo>
                  <a:lnTo>
                    <a:pt x="136" y="150"/>
                  </a:lnTo>
                  <a:lnTo>
                    <a:pt x="136" y="148"/>
                  </a:lnTo>
                  <a:lnTo>
                    <a:pt x="138" y="146"/>
                  </a:lnTo>
                  <a:lnTo>
                    <a:pt x="140" y="146"/>
                  </a:lnTo>
                  <a:lnTo>
                    <a:pt x="141" y="145"/>
                  </a:lnTo>
                  <a:lnTo>
                    <a:pt x="145" y="143"/>
                  </a:lnTo>
                  <a:lnTo>
                    <a:pt x="147" y="141"/>
                  </a:lnTo>
                  <a:lnTo>
                    <a:pt x="151" y="139"/>
                  </a:lnTo>
                  <a:lnTo>
                    <a:pt x="155" y="137"/>
                  </a:lnTo>
                  <a:lnTo>
                    <a:pt x="155" y="133"/>
                  </a:lnTo>
                  <a:lnTo>
                    <a:pt x="160" y="137"/>
                  </a:lnTo>
                  <a:lnTo>
                    <a:pt x="162" y="133"/>
                  </a:lnTo>
                  <a:lnTo>
                    <a:pt x="162" y="133"/>
                  </a:lnTo>
                  <a:lnTo>
                    <a:pt x="160" y="133"/>
                  </a:lnTo>
                  <a:lnTo>
                    <a:pt x="160" y="131"/>
                  </a:lnTo>
                  <a:lnTo>
                    <a:pt x="162" y="131"/>
                  </a:lnTo>
                  <a:lnTo>
                    <a:pt x="166" y="131"/>
                  </a:lnTo>
                  <a:lnTo>
                    <a:pt x="166" y="133"/>
                  </a:lnTo>
                  <a:lnTo>
                    <a:pt x="168" y="131"/>
                  </a:lnTo>
                  <a:lnTo>
                    <a:pt x="173" y="128"/>
                  </a:lnTo>
                  <a:lnTo>
                    <a:pt x="172" y="124"/>
                  </a:lnTo>
                  <a:lnTo>
                    <a:pt x="173" y="122"/>
                  </a:lnTo>
                  <a:lnTo>
                    <a:pt x="175" y="118"/>
                  </a:lnTo>
                  <a:lnTo>
                    <a:pt x="179" y="118"/>
                  </a:lnTo>
                  <a:lnTo>
                    <a:pt x="181" y="114"/>
                  </a:lnTo>
                  <a:lnTo>
                    <a:pt x="185" y="114"/>
                  </a:lnTo>
                  <a:lnTo>
                    <a:pt x="187" y="114"/>
                  </a:lnTo>
                  <a:lnTo>
                    <a:pt x="187" y="114"/>
                  </a:lnTo>
                  <a:lnTo>
                    <a:pt x="188" y="118"/>
                  </a:lnTo>
                  <a:lnTo>
                    <a:pt x="188" y="126"/>
                  </a:lnTo>
                  <a:lnTo>
                    <a:pt x="188" y="128"/>
                  </a:lnTo>
                  <a:lnTo>
                    <a:pt x="188" y="133"/>
                  </a:lnTo>
                  <a:lnTo>
                    <a:pt x="188" y="139"/>
                  </a:lnTo>
                  <a:lnTo>
                    <a:pt x="190" y="139"/>
                  </a:lnTo>
                  <a:lnTo>
                    <a:pt x="190" y="137"/>
                  </a:lnTo>
                  <a:lnTo>
                    <a:pt x="192" y="133"/>
                  </a:lnTo>
                  <a:lnTo>
                    <a:pt x="190" y="128"/>
                  </a:lnTo>
                  <a:lnTo>
                    <a:pt x="190" y="124"/>
                  </a:lnTo>
                  <a:lnTo>
                    <a:pt x="190" y="120"/>
                  </a:lnTo>
                  <a:lnTo>
                    <a:pt x="190" y="116"/>
                  </a:lnTo>
                  <a:lnTo>
                    <a:pt x="192" y="114"/>
                  </a:lnTo>
                  <a:lnTo>
                    <a:pt x="194" y="114"/>
                  </a:lnTo>
                  <a:lnTo>
                    <a:pt x="196" y="113"/>
                  </a:lnTo>
                  <a:lnTo>
                    <a:pt x="198" y="111"/>
                  </a:lnTo>
                  <a:lnTo>
                    <a:pt x="200" y="111"/>
                  </a:lnTo>
                  <a:lnTo>
                    <a:pt x="200" y="113"/>
                  </a:lnTo>
                  <a:lnTo>
                    <a:pt x="200" y="114"/>
                  </a:lnTo>
                  <a:lnTo>
                    <a:pt x="200" y="114"/>
                  </a:lnTo>
                  <a:lnTo>
                    <a:pt x="204" y="116"/>
                  </a:lnTo>
                  <a:lnTo>
                    <a:pt x="204" y="118"/>
                  </a:lnTo>
                  <a:lnTo>
                    <a:pt x="204" y="120"/>
                  </a:lnTo>
                  <a:lnTo>
                    <a:pt x="205" y="122"/>
                  </a:lnTo>
                  <a:lnTo>
                    <a:pt x="211" y="122"/>
                  </a:lnTo>
                  <a:lnTo>
                    <a:pt x="213" y="122"/>
                  </a:lnTo>
                  <a:lnTo>
                    <a:pt x="215" y="122"/>
                  </a:lnTo>
                  <a:lnTo>
                    <a:pt x="217" y="120"/>
                  </a:lnTo>
                  <a:lnTo>
                    <a:pt x="215" y="116"/>
                  </a:lnTo>
                  <a:lnTo>
                    <a:pt x="217" y="114"/>
                  </a:lnTo>
                  <a:lnTo>
                    <a:pt x="219" y="113"/>
                  </a:lnTo>
                  <a:lnTo>
                    <a:pt x="219" y="109"/>
                  </a:lnTo>
                  <a:lnTo>
                    <a:pt x="220" y="109"/>
                  </a:lnTo>
                  <a:lnTo>
                    <a:pt x="222" y="107"/>
                  </a:lnTo>
                  <a:lnTo>
                    <a:pt x="228" y="107"/>
                  </a:lnTo>
                  <a:lnTo>
                    <a:pt x="228" y="103"/>
                  </a:lnTo>
                  <a:lnTo>
                    <a:pt x="228" y="97"/>
                  </a:lnTo>
                  <a:lnTo>
                    <a:pt x="228" y="97"/>
                  </a:lnTo>
                  <a:lnTo>
                    <a:pt x="224" y="97"/>
                  </a:lnTo>
                  <a:lnTo>
                    <a:pt x="224" y="94"/>
                  </a:lnTo>
                  <a:lnTo>
                    <a:pt x="224" y="94"/>
                  </a:lnTo>
                  <a:lnTo>
                    <a:pt x="228" y="90"/>
                  </a:lnTo>
                  <a:lnTo>
                    <a:pt x="228" y="86"/>
                  </a:lnTo>
                  <a:lnTo>
                    <a:pt x="228" y="84"/>
                  </a:lnTo>
                  <a:lnTo>
                    <a:pt x="230" y="79"/>
                  </a:lnTo>
                  <a:lnTo>
                    <a:pt x="234" y="77"/>
                  </a:lnTo>
                  <a:lnTo>
                    <a:pt x="237" y="77"/>
                  </a:lnTo>
                  <a:lnTo>
                    <a:pt x="241" y="73"/>
                  </a:lnTo>
                  <a:lnTo>
                    <a:pt x="247" y="73"/>
                  </a:lnTo>
                  <a:lnTo>
                    <a:pt x="247" y="73"/>
                  </a:lnTo>
                  <a:lnTo>
                    <a:pt x="249" y="77"/>
                  </a:lnTo>
                  <a:lnTo>
                    <a:pt x="249" y="79"/>
                  </a:lnTo>
                  <a:lnTo>
                    <a:pt x="252" y="82"/>
                  </a:lnTo>
                  <a:lnTo>
                    <a:pt x="252" y="86"/>
                  </a:lnTo>
                  <a:lnTo>
                    <a:pt x="249" y="94"/>
                  </a:lnTo>
                  <a:lnTo>
                    <a:pt x="249" y="101"/>
                  </a:lnTo>
                  <a:lnTo>
                    <a:pt x="252" y="103"/>
                  </a:lnTo>
                  <a:lnTo>
                    <a:pt x="258" y="107"/>
                  </a:lnTo>
                  <a:lnTo>
                    <a:pt x="258" y="109"/>
                  </a:lnTo>
                  <a:lnTo>
                    <a:pt x="260" y="111"/>
                  </a:lnTo>
                  <a:lnTo>
                    <a:pt x="260" y="109"/>
                  </a:lnTo>
                  <a:lnTo>
                    <a:pt x="260" y="103"/>
                  </a:lnTo>
                  <a:lnTo>
                    <a:pt x="260" y="101"/>
                  </a:lnTo>
                  <a:lnTo>
                    <a:pt x="254" y="94"/>
                  </a:lnTo>
                  <a:lnTo>
                    <a:pt x="254" y="88"/>
                  </a:lnTo>
                  <a:lnTo>
                    <a:pt x="258" y="84"/>
                  </a:lnTo>
                  <a:lnTo>
                    <a:pt x="258" y="81"/>
                  </a:lnTo>
                  <a:lnTo>
                    <a:pt x="258" y="79"/>
                  </a:lnTo>
                  <a:lnTo>
                    <a:pt x="254" y="77"/>
                  </a:lnTo>
                  <a:lnTo>
                    <a:pt x="254" y="73"/>
                  </a:lnTo>
                  <a:lnTo>
                    <a:pt x="254" y="69"/>
                  </a:lnTo>
                  <a:lnTo>
                    <a:pt x="254" y="69"/>
                  </a:lnTo>
                  <a:lnTo>
                    <a:pt x="258" y="64"/>
                  </a:lnTo>
                  <a:lnTo>
                    <a:pt x="262" y="64"/>
                  </a:lnTo>
                  <a:lnTo>
                    <a:pt x="264" y="67"/>
                  </a:lnTo>
                  <a:lnTo>
                    <a:pt x="266" y="64"/>
                  </a:lnTo>
                  <a:lnTo>
                    <a:pt x="269" y="64"/>
                  </a:lnTo>
                  <a:lnTo>
                    <a:pt x="273" y="67"/>
                  </a:lnTo>
                  <a:lnTo>
                    <a:pt x="283" y="67"/>
                  </a:lnTo>
                  <a:lnTo>
                    <a:pt x="288" y="64"/>
                  </a:lnTo>
                  <a:lnTo>
                    <a:pt x="296" y="64"/>
                  </a:lnTo>
                  <a:lnTo>
                    <a:pt x="298" y="64"/>
                  </a:lnTo>
                  <a:lnTo>
                    <a:pt x="298" y="69"/>
                  </a:lnTo>
                  <a:lnTo>
                    <a:pt x="298" y="73"/>
                  </a:lnTo>
                  <a:lnTo>
                    <a:pt x="298" y="73"/>
                  </a:lnTo>
                  <a:lnTo>
                    <a:pt x="301" y="73"/>
                  </a:lnTo>
                  <a:lnTo>
                    <a:pt x="303" y="69"/>
                  </a:lnTo>
                  <a:lnTo>
                    <a:pt x="301" y="67"/>
                  </a:lnTo>
                  <a:lnTo>
                    <a:pt x="301" y="64"/>
                  </a:lnTo>
                  <a:lnTo>
                    <a:pt x="307" y="60"/>
                  </a:lnTo>
                  <a:lnTo>
                    <a:pt x="311" y="62"/>
                  </a:lnTo>
                  <a:lnTo>
                    <a:pt x="311" y="64"/>
                  </a:lnTo>
                  <a:lnTo>
                    <a:pt x="311" y="69"/>
                  </a:lnTo>
                  <a:lnTo>
                    <a:pt x="313" y="69"/>
                  </a:lnTo>
                  <a:lnTo>
                    <a:pt x="315" y="67"/>
                  </a:lnTo>
                  <a:lnTo>
                    <a:pt x="315" y="62"/>
                  </a:lnTo>
                  <a:lnTo>
                    <a:pt x="311" y="60"/>
                  </a:lnTo>
                  <a:lnTo>
                    <a:pt x="311" y="58"/>
                  </a:lnTo>
                  <a:lnTo>
                    <a:pt x="311" y="56"/>
                  </a:lnTo>
                  <a:lnTo>
                    <a:pt x="315" y="56"/>
                  </a:lnTo>
                  <a:lnTo>
                    <a:pt x="318" y="58"/>
                  </a:lnTo>
                  <a:lnTo>
                    <a:pt x="322" y="56"/>
                  </a:lnTo>
                  <a:lnTo>
                    <a:pt x="326" y="54"/>
                  </a:lnTo>
                  <a:lnTo>
                    <a:pt x="332" y="56"/>
                  </a:lnTo>
                  <a:lnTo>
                    <a:pt x="332" y="58"/>
                  </a:lnTo>
                  <a:lnTo>
                    <a:pt x="332" y="67"/>
                  </a:lnTo>
                  <a:lnTo>
                    <a:pt x="328" y="73"/>
                  </a:lnTo>
                  <a:lnTo>
                    <a:pt x="328" y="77"/>
                  </a:lnTo>
                  <a:lnTo>
                    <a:pt x="326" y="81"/>
                  </a:lnTo>
                  <a:lnTo>
                    <a:pt x="326" y="84"/>
                  </a:lnTo>
                  <a:lnTo>
                    <a:pt x="326" y="86"/>
                  </a:lnTo>
                  <a:lnTo>
                    <a:pt x="324" y="90"/>
                  </a:lnTo>
                  <a:lnTo>
                    <a:pt x="322" y="90"/>
                  </a:lnTo>
                  <a:lnTo>
                    <a:pt x="320" y="92"/>
                  </a:lnTo>
                  <a:lnTo>
                    <a:pt x="322" y="94"/>
                  </a:lnTo>
                  <a:lnTo>
                    <a:pt x="322" y="94"/>
                  </a:lnTo>
                  <a:lnTo>
                    <a:pt x="322" y="97"/>
                  </a:lnTo>
                  <a:lnTo>
                    <a:pt x="318" y="101"/>
                  </a:lnTo>
                  <a:lnTo>
                    <a:pt x="316" y="107"/>
                  </a:lnTo>
                  <a:lnTo>
                    <a:pt x="313" y="107"/>
                  </a:lnTo>
                  <a:lnTo>
                    <a:pt x="311" y="109"/>
                  </a:lnTo>
                  <a:lnTo>
                    <a:pt x="311" y="113"/>
                  </a:lnTo>
                  <a:lnTo>
                    <a:pt x="311" y="116"/>
                  </a:lnTo>
                  <a:lnTo>
                    <a:pt x="307" y="120"/>
                  </a:lnTo>
                  <a:lnTo>
                    <a:pt x="311" y="122"/>
                  </a:lnTo>
                  <a:lnTo>
                    <a:pt x="311" y="122"/>
                  </a:lnTo>
                  <a:lnTo>
                    <a:pt x="313" y="116"/>
                  </a:lnTo>
                  <a:lnTo>
                    <a:pt x="316" y="114"/>
                  </a:lnTo>
                  <a:lnTo>
                    <a:pt x="316" y="113"/>
                  </a:lnTo>
                  <a:lnTo>
                    <a:pt x="318" y="111"/>
                  </a:lnTo>
                  <a:lnTo>
                    <a:pt x="322" y="107"/>
                  </a:lnTo>
                  <a:lnTo>
                    <a:pt x="324" y="103"/>
                  </a:lnTo>
                  <a:lnTo>
                    <a:pt x="326" y="101"/>
                  </a:lnTo>
                  <a:lnTo>
                    <a:pt x="328" y="101"/>
                  </a:lnTo>
                  <a:lnTo>
                    <a:pt x="328" y="97"/>
                  </a:lnTo>
                  <a:lnTo>
                    <a:pt x="328" y="94"/>
                  </a:lnTo>
                  <a:lnTo>
                    <a:pt x="332" y="94"/>
                  </a:lnTo>
                  <a:lnTo>
                    <a:pt x="332" y="90"/>
                  </a:lnTo>
                  <a:lnTo>
                    <a:pt x="335" y="88"/>
                  </a:lnTo>
                  <a:lnTo>
                    <a:pt x="335" y="90"/>
                  </a:lnTo>
                  <a:lnTo>
                    <a:pt x="335" y="94"/>
                  </a:lnTo>
                  <a:lnTo>
                    <a:pt x="337" y="94"/>
                  </a:lnTo>
                  <a:lnTo>
                    <a:pt x="337" y="97"/>
                  </a:lnTo>
                  <a:lnTo>
                    <a:pt x="341" y="103"/>
                  </a:lnTo>
                  <a:lnTo>
                    <a:pt x="341" y="107"/>
                  </a:lnTo>
                  <a:lnTo>
                    <a:pt x="343" y="111"/>
                  </a:lnTo>
                  <a:lnTo>
                    <a:pt x="345" y="113"/>
                  </a:lnTo>
                  <a:lnTo>
                    <a:pt x="347" y="113"/>
                  </a:lnTo>
                  <a:lnTo>
                    <a:pt x="348" y="114"/>
                  </a:lnTo>
                  <a:lnTo>
                    <a:pt x="350" y="114"/>
                  </a:lnTo>
                  <a:lnTo>
                    <a:pt x="350" y="113"/>
                  </a:lnTo>
                  <a:lnTo>
                    <a:pt x="350" y="111"/>
                  </a:lnTo>
                  <a:lnTo>
                    <a:pt x="350" y="109"/>
                  </a:lnTo>
                  <a:lnTo>
                    <a:pt x="348" y="107"/>
                  </a:lnTo>
                  <a:lnTo>
                    <a:pt x="347" y="103"/>
                  </a:lnTo>
                  <a:lnTo>
                    <a:pt x="348" y="103"/>
                  </a:lnTo>
                  <a:lnTo>
                    <a:pt x="350" y="103"/>
                  </a:lnTo>
                  <a:lnTo>
                    <a:pt x="352" y="107"/>
                  </a:lnTo>
                  <a:lnTo>
                    <a:pt x="356" y="107"/>
                  </a:lnTo>
                  <a:lnTo>
                    <a:pt x="360" y="107"/>
                  </a:lnTo>
                  <a:lnTo>
                    <a:pt x="360" y="109"/>
                  </a:lnTo>
                  <a:lnTo>
                    <a:pt x="360" y="109"/>
                  </a:lnTo>
                  <a:lnTo>
                    <a:pt x="362" y="107"/>
                  </a:lnTo>
                  <a:lnTo>
                    <a:pt x="365" y="107"/>
                  </a:lnTo>
                  <a:lnTo>
                    <a:pt x="365" y="109"/>
                  </a:lnTo>
                  <a:lnTo>
                    <a:pt x="367" y="109"/>
                  </a:lnTo>
                  <a:lnTo>
                    <a:pt x="365" y="103"/>
                  </a:lnTo>
                  <a:lnTo>
                    <a:pt x="365" y="97"/>
                  </a:lnTo>
                  <a:lnTo>
                    <a:pt x="367" y="94"/>
                  </a:lnTo>
                  <a:lnTo>
                    <a:pt x="367" y="90"/>
                  </a:lnTo>
                  <a:lnTo>
                    <a:pt x="365" y="86"/>
                  </a:lnTo>
                  <a:lnTo>
                    <a:pt x="365" y="82"/>
                  </a:lnTo>
                  <a:lnTo>
                    <a:pt x="365" y="77"/>
                  </a:lnTo>
                  <a:lnTo>
                    <a:pt x="367" y="73"/>
                  </a:lnTo>
                  <a:lnTo>
                    <a:pt x="369" y="69"/>
                  </a:lnTo>
                  <a:lnTo>
                    <a:pt x="367" y="67"/>
                  </a:lnTo>
                  <a:lnTo>
                    <a:pt x="369" y="64"/>
                  </a:lnTo>
                  <a:lnTo>
                    <a:pt x="369" y="60"/>
                  </a:lnTo>
                  <a:lnTo>
                    <a:pt x="371" y="58"/>
                  </a:lnTo>
                  <a:lnTo>
                    <a:pt x="373" y="58"/>
                  </a:lnTo>
                  <a:lnTo>
                    <a:pt x="377" y="60"/>
                  </a:lnTo>
                  <a:lnTo>
                    <a:pt x="379" y="60"/>
                  </a:lnTo>
                  <a:lnTo>
                    <a:pt x="381" y="62"/>
                  </a:lnTo>
                  <a:lnTo>
                    <a:pt x="381" y="64"/>
                  </a:lnTo>
                  <a:lnTo>
                    <a:pt x="386" y="64"/>
                  </a:lnTo>
                  <a:lnTo>
                    <a:pt x="386" y="69"/>
                  </a:lnTo>
                  <a:lnTo>
                    <a:pt x="390" y="77"/>
                  </a:lnTo>
                  <a:lnTo>
                    <a:pt x="390" y="79"/>
                  </a:lnTo>
                  <a:lnTo>
                    <a:pt x="392" y="84"/>
                  </a:lnTo>
                  <a:lnTo>
                    <a:pt x="396" y="88"/>
                  </a:lnTo>
                  <a:lnTo>
                    <a:pt x="396" y="97"/>
                  </a:lnTo>
                  <a:lnTo>
                    <a:pt x="396" y="97"/>
                  </a:lnTo>
                  <a:lnTo>
                    <a:pt x="394" y="101"/>
                  </a:lnTo>
                  <a:lnTo>
                    <a:pt x="394" y="103"/>
                  </a:lnTo>
                  <a:lnTo>
                    <a:pt x="394" y="107"/>
                  </a:lnTo>
                  <a:lnTo>
                    <a:pt x="396" y="109"/>
                  </a:lnTo>
                  <a:lnTo>
                    <a:pt x="397" y="114"/>
                  </a:lnTo>
                  <a:lnTo>
                    <a:pt x="397" y="120"/>
                  </a:lnTo>
                  <a:lnTo>
                    <a:pt x="397" y="124"/>
                  </a:lnTo>
                  <a:lnTo>
                    <a:pt x="399" y="126"/>
                  </a:lnTo>
                  <a:lnTo>
                    <a:pt x="403" y="126"/>
                  </a:lnTo>
                  <a:lnTo>
                    <a:pt x="407" y="128"/>
                  </a:lnTo>
                  <a:lnTo>
                    <a:pt x="411" y="128"/>
                  </a:lnTo>
                  <a:lnTo>
                    <a:pt x="414" y="128"/>
                  </a:lnTo>
                  <a:lnTo>
                    <a:pt x="414" y="122"/>
                  </a:lnTo>
                  <a:lnTo>
                    <a:pt x="416" y="120"/>
                  </a:lnTo>
                  <a:lnTo>
                    <a:pt x="418" y="122"/>
                  </a:lnTo>
                  <a:lnTo>
                    <a:pt x="418" y="124"/>
                  </a:lnTo>
                  <a:lnTo>
                    <a:pt x="418" y="128"/>
                  </a:lnTo>
                  <a:lnTo>
                    <a:pt x="420" y="126"/>
                  </a:lnTo>
                  <a:lnTo>
                    <a:pt x="422" y="126"/>
                  </a:lnTo>
                  <a:lnTo>
                    <a:pt x="424" y="128"/>
                  </a:lnTo>
                  <a:lnTo>
                    <a:pt x="426" y="128"/>
                  </a:lnTo>
                  <a:lnTo>
                    <a:pt x="426" y="131"/>
                  </a:lnTo>
                  <a:lnTo>
                    <a:pt x="428" y="133"/>
                  </a:lnTo>
                  <a:lnTo>
                    <a:pt x="429" y="133"/>
                  </a:lnTo>
                  <a:lnTo>
                    <a:pt x="431" y="133"/>
                  </a:lnTo>
                  <a:lnTo>
                    <a:pt x="435" y="133"/>
                  </a:lnTo>
                  <a:lnTo>
                    <a:pt x="435" y="133"/>
                  </a:lnTo>
                  <a:lnTo>
                    <a:pt x="435" y="133"/>
                  </a:lnTo>
                  <a:lnTo>
                    <a:pt x="431" y="128"/>
                  </a:lnTo>
                  <a:lnTo>
                    <a:pt x="431" y="128"/>
                  </a:lnTo>
                  <a:lnTo>
                    <a:pt x="431" y="126"/>
                  </a:lnTo>
                  <a:lnTo>
                    <a:pt x="428" y="126"/>
                  </a:lnTo>
                  <a:lnTo>
                    <a:pt x="426" y="124"/>
                  </a:lnTo>
                  <a:lnTo>
                    <a:pt x="428" y="120"/>
                  </a:lnTo>
                  <a:lnTo>
                    <a:pt x="426" y="116"/>
                  </a:lnTo>
                  <a:lnTo>
                    <a:pt x="420" y="114"/>
                  </a:lnTo>
                  <a:lnTo>
                    <a:pt x="420" y="111"/>
                  </a:lnTo>
                  <a:lnTo>
                    <a:pt x="420" y="107"/>
                  </a:lnTo>
                  <a:lnTo>
                    <a:pt x="418" y="103"/>
                  </a:lnTo>
                  <a:lnTo>
                    <a:pt x="418" y="103"/>
                  </a:lnTo>
                  <a:lnTo>
                    <a:pt x="418" y="97"/>
                  </a:lnTo>
                  <a:lnTo>
                    <a:pt x="418" y="94"/>
                  </a:lnTo>
                  <a:lnTo>
                    <a:pt x="414" y="90"/>
                  </a:lnTo>
                  <a:lnTo>
                    <a:pt x="414" y="86"/>
                  </a:lnTo>
                  <a:lnTo>
                    <a:pt x="416" y="84"/>
                  </a:lnTo>
                  <a:lnTo>
                    <a:pt x="414" y="79"/>
                  </a:lnTo>
                  <a:lnTo>
                    <a:pt x="414" y="77"/>
                  </a:lnTo>
                  <a:lnTo>
                    <a:pt x="414" y="73"/>
                  </a:lnTo>
                  <a:lnTo>
                    <a:pt x="414" y="69"/>
                  </a:lnTo>
                  <a:lnTo>
                    <a:pt x="411" y="64"/>
                  </a:lnTo>
                  <a:lnTo>
                    <a:pt x="411" y="64"/>
                  </a:lnTo>
                  <a:lnTo>
                    <a:pt x="411" y="60"/>
                  </a:lnTo>
                  <a:lnTo>
                    <a:pt x="411" y="54"/>
                  </a:lnTo>
                  <a:lnTo>
                    <a:pt x="411" y="52"/>
                  </a:lnTo>
                  <a:lnTo>
                    <a:pt x="416" y="54"/>
                  </a:lnTo>
                  <a:lnTo>
                    <a:pt x="418" y="56"/>
                  </a:lnTo>
                  <a:lnTo>
                    <a:pt x="420" y="56"/>
                  </a:lnTo>
                  <a:lnTo>
                    <a:pt x="422" y="54"/>
                  </a:lnTo>
                  <a:lnTo>
                    <a:pt x="424" y="54"/>
                  </a:lnTo>
                  <a:lnTo>
                    <a:pt x="429" y="62"/>
                  </a:lnTo>
                  <a:lnTo>
                    <a:pt x="435" y="64"/>
                  </a:lnTo>
                  <a:lnTo>
                    <a:pt x="435" y="64"/>
                  </a:lnTo>
                  <a:lnTo>
                    <a:pt x="435" y="60"/>
                  </a:lnTo>
                  <a:lnTo>
                    <a:pt x="435" y="58"/>
                  </a:lnTo>
                  <a:lnTo>
                    <a:pt x="435" y="52"/>
                  </a:lnTo>
                  <a:lnTo>
                    <a:pt x="439" y="52"/>
                  </a:lnTo>
                  <a:lnTo>
                    <a:pt x="441" y="52"/>
                  </a:lnTo>
                  <a:lnTo>
                    <a:pt x="445" y="52"/>
                  </a:lnTo>
                  <a:lnTo>
                    <a:pt x="448" y="50"/>
                  </a:lnTo>
                  <a:lnTo>
                    <a:pt x="452" y="50"/>
                  </a:lnTo>
                  <a:lnTo>
                    <a:pt x="456" y="52"/>
                  </a:lnTo>
                  <a:lnTo>
                    <a:pt x="458" y="54"/>
                  </a:lnTo>
                  <a:lnTo>
                    <a:pt x="460" y="56"/>
                  </a:lnTo>
                  <a:lnTo>
                    <a:pt x="460" y="62"/>
                  </a:lnTo>
                  <a:lnTo>
                    <a:pt x="460" y="64"/>
                  </a:lnTo>
                  <a:lnTo>
                    <a:pt x="463" y="67"/>
                  </a:lnTo>
                  <a:lnTo>
                    <a:pt x="463" y="69"/>
                  </a:lnTo>
                  <a:lnTo>
                    <a:pt x="463" y="73"/>
                  </a:lnTo>
                  <a:lnTo>
                    <a:pt x="465" y="79"/>
                  </a:lnTo>
                  <a:lnTo>
                    <a:pt x="465" y="84"/>
                  </a:lnTo>
                  <a:lnTo>
                    <a:pt x="465" y="86"/>
                  </a:lnTo>
                  <a:lnTo>
                    <a:pt x="469" y="88"/>
                  </a:lnTo>
                  <a:lnTo>
                    <a:pt x="473" y="88"/>
                  </a:lnTo>
                  <a:lnTo>
                    <a:pt x="478" y="92"/>
                  </a:lnTo>
                  <a:lnTo>
                    <a:pt x="484" y="94"/>
                  </a:lnTo>
                  <a:lnTo>
                    <a:pt x="482" y="92"/>
                  </a:lnTo>
                  <a:lnTo>
                    <a:pt x="482" y="90"/>
                  </a:lnTo>
                  <a:lnTo>
                    <a:pt x="478" y="88"/>
                  </a:lnTo>
                  <a:lnTo>
                    <a:pt x="477" y="84"/>
                  </a:lnTo>
                  <a:lnTo>
                    <a:pt x="473" y="84"/>
                  </a:lnTo>
                  <a:lnTo>
                    <a:pt x="469" y="82"/>
                  </a:lnTo>
                  <a:lnTo>
                    <a:pt x="469" y="81"/>
                  </a:lnTo>
                  <a:lnTo>
                    <a:pt x="469" y="77"/>
                  </a:lnTo>
                  <a:lnTo>
                    <a:pt x="465" y="73"/>
                  </a:lnTo>
                  <a:lnTo>
                    <a:pt x="465" y="69"/>
                  </a:lnTo>
                  <a:lnTo>
                    <a:pt x="467" y="64"/>
                  </a:lnTo>
                  <a:lnTo>
                    <a:pt x="467" y="62"/>
                  </a:lnTo>
                  <a:lnTo>
                    <a:pt x="467" y="58"/>
                  </a:lnTo>
                  <a:lnTo>
                    <a:pt x="469" y="58"/>
                  </a:lnTo>
                  <a:lnTo>
                    <a:pt x="467" y="54"/>
                  </a:lnTo>
                  <a:lnTo>
                    <a:pt x="463" y="52"/>
                  </a:lnTo>
                  <a:lnTo>
                    <a:pt x="460" y="47"/>
                  </a:lnTo>
                  <a:lnTo>
                    <a:pt x="458" y="47"/>
                  </a:lnTo>
                  <a:lnTo>
                    <a:pt x="454" y="47"/>
                  </a:lnTo>
                  <a:lnTo>
                    <a:pt x="452" y="49"/>
                  </a:lnTo>
                  <a:lnTo>
                    <a:pt x="450" y="49"/>
                  </a:lnTo>
                  <a:lnTo>
                    <a:pt x="445" y="47"/>
                  </a:lnTo>
                  <a:lnTo>
                    <a:pt x="445" y="43"/>
                  </a:lnTo>
                  <a:lnTo>
                    <a:pt x="446" y="39"/>
                  </a:lnTo>
                  <a:lnTo>
                    <a:pt x="450" y="39"/>
                  </a:lnTo>
                  <a:lnTo>
                    <a:pt x="450" y="37"/>
                  </a:lnTo>
                  <a:lnTo>
                    <a:pt x="445" y="33"/>
                  </a:lnTo>
                  <a:lnTo>
                    <a:pt x="445" y="30"/>
                  </a:lnTo>
                  <a:lnTo>
                    <a:pt x="445" y="26"/>
                  </a:lnTo>
                  <a:lnTo>
                    <a:pt x="446" y="22"/>
                  </a:lnTo>
                  <a:lnTo>
                    <a:pt x="448" y="22"/>
                  </a:lnTo>
                  <a:lnTo>
                    <a:pt x="450" y="26"/>
                  </a:lnTo>
                  <a:lnTo>
                    <a:pt x="452" y="30"/>
                  </a:lnTo>
                  <a:lnTo>
                    <a:pt x="454" y="30"/>
                  </a:lnTo>
                  <a:lnTo>
                    <a:pt x="458" y="24"/>
                  </a:lnTo>
                  <a:lnTo>
                    <a:pt x="460" y="22"/>
                  </a:lnTo>
                  <a:lnTo>
                    <a:pt x="463" y="20"/>
                  </a:lnTo>
                  <a:lnTo>
                    <a:pt x="463" y="18"/>
                  </a:lnTo>
                  <a:lnTo>
                    <a:pt x="467" y="15"/>
                  </a:lnTo>
                  <a:lnTo>
                    <a:pt x="473" y="15"/>
                  </a:lnTo>
                  <a:lnTo>
                    <a:pt x="467" y="16"/>
                  </a:lnTo>
                  <a:lnTo>
                    <a:pt x="467" y="18"/>
                  </a:lnTo>
                  <a:lnTo>
                    <a:pt x="467" y="20"/>
                  </a:lnTo>
                  <a:lnTo>
                    <a:pt x="473" y="18"/>
                  </a:lnTo>
                  <a:lnTo>
                    <a:pt x="473" y="18"/>
                  </a:lnTo>
                  <a:lnTo>
                    <a:pt x="475" y="20"/>
                  </a:lnTo>
                  <a:lnTo>
                    <a:pt x="475" y="24"/>
                  </a:lnTo>
                  <a:lnTo>
                    <a:pt x="478" y="26"/>
                  </a:lnTo>
                  <a:lnTo>
                    <a:pt x="478" y="28"/>
                  </a:lnTo>
                  <a:lnTo>
                    <a:pt x="477" y="30"/>
                  </a:lnTo>
                  <a:lnTo>
                    <a:pt x="477" y="32"/>
                  </a:lnTo>
                  <a:lnTo>
                    <a:pt x="478" y="30"/>
                  </a:lnTo>
                  <a:lnTo>
                    <a:pt x="482" y="26"/>
                  </a:lnTo>
                  <a:lnTo>
                    <a:pt x="484" y="28"/>
                  </a:lnTo>
                  <a:lnTo>
                    <a:pt x="488" y="30"/>
                  </a:lnTo>
                  <a:lnTo>
                    <a:pt x="488" y="33"/>
                  </a:lnTo>
                  <a:lnTo>
                    <a:pt x="490" y="39"/>
                  </a:lnTo>
                  <a:lnTo>
                    <a:pt x="490" y="43"/>
                  </a:lnTo>
                  <a:lnTo>
                    <a:pt x="490" y="47"/>
                  </a:lnTo>
                  <a:lnTo>
                    <a:pt x="493" y="45"/>
                  </a:lnTo>
                  <a:lnTo>
                    <a:pt x="493" y="39"/>
                  </a:lnTo>
                  <a:lnTo>
                    <a:pt x="492" y="37"/>
                  </a:lnTo>
                  <a:lnTo>
                    <a:pt x="490" y="33"/>
                  </a:lnTo>
                  <a:lnTo>
                    <a:pt x="490" y="32"/>
                  </a:lnTo>
                  <a:lnTo>
                    <a:pt x="490" y="30"/>
                  </a:lnTo>
                  <a:lnTo>
                    <a:pt x="490" y="30"/>
                  </a:lnTo>
                  <a:lnTo>
                    <a:pt x="493" y="32"/>
                  </a:lnTo>
                  <a:lnTo>
                    <a:pt x="499" y="33"/>
                  </a:lnTo>
                  <a:lnTo>
                    <a:pt x="503" y="39"/>
                  </a:lnTo>
                  <a:lnTo>
                    <a:pt x="507" y="43"/>
                  </a:lnTo>
                  <a:lnTo>
                    <a:pt x="512" y="43"/>
                  </a:lnTo>
                  <a:lnTo>
                    <a:pt x="512" y="43"/>
                  </a:lnTo>
                  <a:lnTo>
                    <a:pt x="509" y="39"/>
                  </a:lnTo>
                  <a:lnTo>
                    <a:pt x="505" y="39"/>
                  </a:lnTo>
                  <a:lnTo>
                    <a:pt x="501" y="33"/>
                  </a:lnTo>
                  <a:lnTo>
                    <a:pt x="501" y="30"/>
                  </a:lnTo>
                  <a:lnTo>
                    <a:pt x="503" y="24"/>
                  </a:lnTo>
                  <a:lnTo>
                    <a:pt x="507" y="24"/>
                  </a:lnTo>
                  <a:lnTo>
                    <a:pt x="509" y="24"/>
                  </a:lnTo>
                  <a:lnTo>
                    <a:pt x="512" y="26"/>
                  </a:lnTo>
                  <a:lnTo>
                    <a:pt x="518" y="26"/>
                  </a:lnTo>
                  <a:lnTo>
                    <a:pt x="518" y="24"/>
                  </a:lnTo>
                  <a:lnTo>
                    <a:pt x="518" y="22"/>
                  </a:lnTo>
                  <a:lnTo>
                    <a:pt x="514" y="22"/>
                  </a:lnTo>
                  <a:lnTo>
                    <a:pt x="514" y="20"/>
                  </a:lnTo>
                  <a:lnTo>
                    <a:pt x="518" y="16"/>
                  </a:lnTo>
                  <a:lnTo>
                    <a:pt x="522" y="13"/>
                  </a:lnTo>
                  <a:lnTo>
                    <a:pt x="522" y="13"/>
                  </a:lnTo>
                  <a:lnTo>
                    <a:pt x="518" y="9"/>
                  </a:lnTo>
                  <a:lnTo>
                    <a:pt x="518" y="7"/>
                  </a:lnTo>
                  <a:lnTo>
                    <a:pt x="522" y="7"/>
                  </a:lnTo>
                  <a:lnTo>
                    <a:pt x="524" y="7"/>
                  </a:lnTo>
                  <a:lnTo>
                    <a:pt x="525" y="5"/>
                  </a:lnTo>
                  <a:lnTo>
                    <a:pt x="525" y="0"/>
                  </a:lnTo>
                  <a:lnTo>
                    <a:pt x="527" y="0"/>
                  </a:lnTo>
                  <a:lnTo>
                    <a:pt x="529" y="0"/>
                  </a:lnTo>
                  <a:lnTo>
                    <a:pt x="531" y="0"/>
                  </a:lnTo>
                  <a:lnTo>
                    <a:pt x="533" y="3"/>
                  </a:lnTo>
                  <a:lnTo>
                    <a:pt x="533" y="5"/>
                  </a:lnTo>
                  <a:lnTo>
                    <a:pt x="533" y="9"/>
                  </a:lnTo>
                  <a:lnTo>
                    <a:pt x="537" y="9"/>
                  </a:lnTo>
                  <a:lnTo>
                    <a:pt x="539" y="9"/>
                  </a:lnTo>
                  <a:lnTo>
                    <a:pt x="539" y="7"/>
                  </a:lnTo>
                  <a:lnTo>
                    <a:pt x="539" y="3"/>
                  </a:lnTo>
                  <a:lnTo>
                    <a:pt x="539" y="0"/>
                  </a:lnTo>
                  <a:lnTo>
                    <a:pt x="539" y="0"/>
                  </a:lnTo>
                  <a:lnTo>
                    <a:pt x="542" y="0"/>
                  </a:lnTo>
                  <a:lnTo>
                    <a:pt x="546" y="0"/>
                  </a:lnTo>
                  <a:lnTo>
                    <a:pt x="552" y="0"/>
                  </a:lnTo>
                  <a:lnTo>
                    <a:pt x="554" y="0"/>
                  </a:lnTo>
                  <a:lnTo>
                    <a:pt x="556" y="3"/>
                  </a:lnTo>
                  <a:lnTo>
                    <a:pt x="556" y="0"/>
                  </a:lnTo>
                  <a:lnTo>
                    <a:pt x="557" y="0"/>
                  </a:lnTo>
                  <a:lnTo>
                    <a:pt x="563" y="0"/>
                  </a:lnTo>
                  <a:lnTo>
                    <a:pt x="567" y="0"/>
                  </a:lnTo>
                  <a:lnTo>
                    <a:pt x="571" y="3"/>
                  </a:lnTo>
                  <a:lnTo>
                    <a:pt x="573" y="3"/>
                  </a:lnTo>
                  <a:lnTo>
                    <a:pt x="574" y="3"/>
                  </a:lnTo>
                  <a:lnTo>
                    <a:pt x="576" y="5"/>
                  </a:lnTo>
                  <a:lnTo>
                    <a:pt x="578" y="7"/>
                  </a:lnTo>
                  <a:lnTo>
                    <a:pt x="584" y="9"/>
                  </a:lnTo>
                  <a:lnTo>
                    <a:pt x="586" y="9"/>
                  </a:lnTo>
                  <a:lnTo>
                    <a:pt x="586" y="9"/>
                  </a:lnTo>
                  <a:lnTo>
                    <a:pt x="588" y="7"/>
                  </a:lnTo>
                  <a:lnTo>
                    <a:pt x="591" y="9"/>
                  </a:lnTo>
                  <a:lnTo>
                    <a:pt x="595" y="9"/>
                  </a:lnTo>
                  <a:lnTo>
                    <a:pt x="599" y="15"/>
                  </a:lnTo>
                  <a:lnTo>
                    <a:pt x="606" y="15"/>
                  </a:lnTo>
                  <a:lnTo>
                    <a:pt x="608" y="16"/>
                  </a:lnTo>
                  <a:lnTo>
                    <a:pt x="612" y="15"/>
                  </a:lnTo>
                  <a:lnTo>
                    <a:pt x="614" y="16"/>
                  </a:lnTo>
                  <a:lnTo>
                    <a:pt x="616" y="18"/>
                  </a:lnTo>
                  <a:lnTo>
                    <a:pt x="620" y="16"/>
                  </a:lnTo>
                  <a:lnTo>
                    <a:pt x="620" y="18"/>
                  </a:lnTo>
                  <a:lnTo>
                    <a:pt x="623" y="20"/>
                  </a:lnTo>
                  <a:lnTo>
                    <a:pt x="629" y="22"/>
                  </a:lnTo>
                  <a:lnTo>
                    <a:pt x="633" y="26"/>
                  </a:lnTo>
                  <a:lnTo>
                    <a:pt x="635" y="30"/>
                  </a:lnTo>
                  <a:lnTo>
                    <a:pt x="638" y="30"/>
                  </a:lnTo>
                  <a:lnTo>
                    <a:pt x="644" y="33"/>
                  </a:lnTo>
                  <a:lnTo>
                    <a:pt x="644" y="33"/>
                  </a:lnTo>
                  <a:lnTo>
                    <a:pt x="640" y="39"/>
                  </a:lnTo>
                  <a:lnTo>
                    <a:pt x="638" y="39"/>
                  </a:lnTo>
                  <a:lnTo>
                    <a:pt x="635" y="39"/>
                  </a:lnTo>
                  <a:lnTo>
                    <a:pt x="633" y="39"/>
                  </a:lnTo>
                  <a:lnTo>
                    <a:pt x="631" y="43"/>
                  </a:lnTo>
                  <a:lnTo>
                    <a:pt x="627" y="43"/>
                  </a:lnTo>
                  <a:lnTo>
                    <a:pt x="625" y="39"/>
                  </a:lnTo>
                  <a:lnTo>
                    <a:pt x="621" y="43"/>
                  </a:lnTo>
                  <a:lnTo>
                    <a:pt x="620" y="43"/>
                  </a:lnTo>
                  <a:lnTo>
                    <a:pt x="612" y="39"/>
                  </a:lnTo>
                  <a:lnTo>
                    <a:pt x="608" y="37"/>
                  </a:lnTo>
                  <a:lnTo>
                    <a:pt x="606" y="37"/>
                  </a:lnTo>
                  <a:lnTo>
                    <a:pt x="603" y="37"/>
                  </a:lnTo>
                  <a:lnTo>
                    <a:pt x="599" y="37"/>
                  </a:lnTo>
                  <a:lnTo>
                    <a:pt x="597" y="37"/>
                  </a:lnTo>
                  <a:lnTo>
                    <a:pt x="595" y="39"/>
                  </a:lnTo>
                  <a:lnTo>
                    <a:pt x="595" y="37"/>
                  </a:lnTo>
                  <a:lnTo>
                    <a:pt x="591" y="37"/>
                  </a:lnTo>
                  <a:lnTo>
                    <a:pt x="584" y="39"/>
                  </a:lnTo>
                  <a:lnTo>
                    <a:pt x="582" y="39"/>
                  </a:lnTo>
                  <a:lnTo>
                    <a:pt x="578" y="39"/>
                  </a:lnTo>
                  <a:lnTo>
                    <a:pt x="576" y="39"/>
                  </a:lnTo>
                  <a:lnTo>
                    <a:pt x="571" y="39"/>
                  </a:lnTo>
                  <a:lnTo>
                    <a:pt x="567" y="39"/>
                  </a:lnTo>
                  <a:lnTo>
                    <a:pt x="565" y="39"/>
                  </a:lnTo>
                  <a:lnTo>
                    <a:pt x="565" y="33"/>
                  </a:lnTo>
                  <a:lnTo>
                    <a:pt x="567" y="33"/>
                  </a:lnTo>
                  <a:lnTo>
                    <a:pt x="567" y="33"/>
                  </a:lnTo>
                  <a:lnTo>
                    <a:pt x="567" y="32"/>
                  </a:lnTo>
                  <a:lnTo>
                    <a:pt x="567" y="30"/>
                  </a:lnTo>
                  <a:lnTo>
                    <a:pt x="565" y="30"/>
                  </a:lnTo>
                  <a:lnTo>
                    <a:pt x="563" y="30"/>
                  </a:lnTo>
                  <a:lnTo>
                    <a:pt x="557" y="33"/>
                  </a:lnTo>
                  <a:lnTo>
                    <a:pt x="557" y="37"/>
                  </a:lnTo>
                  <a:lnTo>
                    <a:pt x="561" y="39"/>
                  </a:lnTo>
                  <a:lnTo>
                    <a:pt x="565" y="39"/>
                  </a:lnTo>
                  <a:lnTo>
                    <a:pt x="563" y="43"/>
                  </a:lnTo>
                  <a:lnTo>
                    <a:pt x="561" y="43"/>
                  </a:lnTo>
                  <a:lnTo>
                    <a:pt x="557" y="43"/>
                  </a:lnTo>
                  <a:lnTo>
                    <a:pt x="556" y="43"/>
                  </a:lnTo>
                  <a:lnTo>
                    <a:pt x="552" y="43"/>
                  </a:lnTo>
                  <a:lnTo>
                    <a:pt x="550" y="43"/>
                  </a:lnTo>
                  <a:lnTo>
                    <a:pt x="546" y="43"/>
                  </a:lnTo>
                  <a:lnTo>
                    <a:pt x="542" y="43"/>
                  </a:lnTo>
                  <a:lnTo>
                    <a:pt x="539" y="43"/>
                  </a:lnTo>
                  <a:lnTo>
                    <a:pt x="533" y="45"/>
                  </a:lnTo>
                  <a:lnTo>
                    <a:pt x="527" y="49"/>
                  </a:lnTo>
                  <a:lnTo>
                    <a:pt x="525" y="52"/>
                  </a:lnTo>
                  <a:lnTo>
                    <a:pt x="525" y="58"/>
                  </a:lnTo>
                  <a:lnTo>
                    <a:pt x="525" y="60"/>
                  </a:lnTo>
                  <a:lnTo>
                    <a:pt x="524" y="62"/>
                  </a:lnTo>
                  <a:lnTo>
                    <a:pt x="525" y="64"/>
                  </a:lnTo>
                  <a:lnTo>
                    <a:pt x="529" y="64"/>
                  </a:lnTo>
                  <a:lnTo>
                    <a:pt x="529" y="60"/>
                  </a:lnTo>
                  <a:lnTo>
                    <a:pt x="529" y="56"/>
                  </a:lnTo>
                  <a:lnTo>
                    <a:pt x="529" y="56"/>
                  </a:lnTo>
                  <a:lnTo>
                    <a:pt x="531" y="54"/>
                  </a:lnTo>
                  <a:lnTo>
                    <a:pt x="533" y="54"/>
                  </a:lnTo>
                  <a:lnTo>
                    <a:pt x="539" y="52"/>
                  </a:lnTo>
                  <a:lnTo>
                    <a:pt x="539" y="54"/>
                  </a:lnTo>
                  <a:lnTo>
                    <a:pt x="539" y="56"/>
                  </a:lnTo>
                  <a:lnTo>
                    <a:pt x="537" y="60"/>
                  </a:lnTo>
                  <a:lnTo>
                    <a:pt x="537" y="62"/>
                  </a:lnTo>
                  <a:lnTo>
                    <a:pt x="539" y="62"/>
                  </a:lnTo>
                  <a:lnTo>
                    <a:pt x="539" y="60"/>
                  </a:lnTo>
                  <a:lnTo>
                    <a:pt x="539" y="54"/>
                  </a:lnTo>
                  <a:lnTo>
                    <a:pt x="539" y="54"/>
                  </a:lnTo>
                  <a:lnTo>
                    <a:pt x="542" y="50"/>
                  </a:lnTo>
                  <a:lnTo>
                    <a:pt x="542" y="50"/>
                  </a:lnTo>
                  <a:lnTo>
                    <a:pt x="546" y="49"/>
                  </a:lnTo>
                  <a:lnTo>
                    <a:pt x="548" y="49"/>
                  </a:lnTo>
                  <a:lnTo>
                    <a:pt x="554" y="47"/>
                  </a:lnTo>
                  <a:lnTo>
                    <a:pt x="557" y="47"/>
                  </a:lnTo>
                  <a:lnTo>
                    <a:pt x="557" y="47"/>
                  </a:lnTo>
                  <a:lnTo>
                    <a:pt x="561" y="47"/>
                  </a:lnTo>
                  <a:lnTo>
                    <a:pt x="561" y="49"/>
                  </a:lnTo>
                  <a:lnTo>
                    <a:pt x="565" y="54"/>
                  </a:lnTo>
                  <a:lnTo>
                    <a:pt x="567" y="56"/>
                  </a:lnTo>
                  <a:lnTo>
                    <a:pt x="567" y="56"/>
                  </a:lnTo>
                  <a:lnTo>
                    <a:pt x="567" y="52"/>
                  </a:lnTo>
                  <a:lnTo>
                    <a:pt x="567" y="49"/>
                  </a:lnTo>
                  <a:lnTo>
                    <a:pt x="567" y="47"/>
                  </a:lnTo>
                  <a:lnTo>
                    <a:pt x="571" y="47"/>
                  </a:lnTo>
                  <a:lnTo>
                    <a:pt x="573" y="47"/>
                  </a:lnTo>
                  <a:lnTo>
                    <a:pt x="578" y="47"/>
                  </a:lnTo>
                  <a:lnTo>
                    <a:pt x="582" y="47"/>
                  </a:lnTo>
                  <a:lnTo>
                    <a:pt x="588" y="43"/>
                  </a:lnTo>
                  <a:lnTo>
                    <a:pt x="591" y="43"/>
                  </a:lnTo>
                  <a:lnTo>
                    <a:pt x="597" y="43"/>
                  </a:lnTo>
                  <a:lnTo>
                    <a:pt x="603" y="43"/>
                  </a:lnTo>
                  <a:lnTo>
                    <a:pt x="606" y="45"/>
                  </a:lnTo>
                  <a:lnTo>
                    <a:pt x="610" y="47"/>
                  </a:lnTo>
                  <a:lnTo>
                    <a:pt x="612" y="47"/>
                  </a:lnTo>
                  <a:lnTo>
                    <a:pt x="616" y="49"/>
                  </a:lnTo>
                  <a:lnTo>
                    <a:pt x="620" y="50"/>
                  </a:lnTo>
                  <a:lnTo>
                    <a:pt x="620" y="52"/>
                  </a:lnTo>
                  <a:lnTo>
                    <a:pt x="621" y="50"/>
                  </a:lnTo>
                  <a:lnTo>
                    <a:pt x="625" y="50"/>
                  </a:lnTo>
                  <a:lnTo>
                    <a:pt x="627" y="50"/>
                  </a:lnTo>
                  <a:lnTo>
                    <a:pt x="627" y="52"/>
                  </a:lnTo>
                  <a:lnTo>
                    <a:pt x="629" y="52"/>
                  </a:lnTo>
                  <a:lnTo>
                    <a:pt x="633" y="50"/>
                  </a:lnTo>
                  <a:lnTo>
                    <a:pt x="635" y="50"/>
                  </a:lnTo>
                  <a:lnTo>
                    <a:pt x="638" y="50"/>
                  </a:lnTo>
                  <a:lnTo>
                    <a:pt x="644" y="47"/>
                  </a:lnTo>
                  <a:lnTo>
                    <a:pt x="646" y="45"/>
                  </a:lnTo>
                  <a:lnTo>
                    <a:pt x="650" y="43"/>
                  </a:lnTo>
                  <a:lnTo>
                    <a:pt x="650" y="45"/>
                  </a:lnTo>
                  <a:lnTo>
                    <a:pt x="652" y="49"/>
                  </a:lnTo>
                  <a:lnTo>
                    <a:pt x="655" y="50"/>
                  </a:lnTo>
                  <a:lnTo>
                    <a:pt x="655" y="50"/>
                  </a:lnTo>
                  <a:lnTo>
                    <a:pt x="653" y="54"/>
                  </a:lnTo>
                  <a:lnTo>
                    <a:pt x="653" y="54"/>
                  </a:lnTo>
                  <a:lnTo>
                    <a:pt x="655" y="56"/>
                  </a:lnTo>
                  <a:lnTo>
                    <a:pt x="655" y="58"/>
                  </a:lnTo>
                  <a:lnTo>
                    <a:pt x="655" y="60"/>
                  </a:lnTo>
                  <a:lnTo>
                    <a:pt x="650" y="64"/>
                  </a:lnTo>
                  <a:lnTo>
                    <a:pt x="644" y="67"/>
                  </a:lnTo>
                  <a:lnTo>
                    <a:pt x="644" y="64"/>
                  </a:lnTo>
                  <a:lnTo>
                    <a:pt x="640" y="64"/>
                  </a:lnTo>
                  <a:lnTo>
                    <a:pt x="638" y="62"/>
                  </a:lnTo>
                  <a:lnTo>
                    <a:pt x="637" y="64"/>
                  </a:lnTo>
                  <a:lnTo>
                    <a:pt x="637" y="64"/>
                  </a:lnTo>
                  <a:lnTo>
                    <a:pt x="640" y="67"/>
                  </a:lnTo>
                  <a:lnTo>
                    <a:pt x="640" y="69"/>
                  </a:lnTo>
                  <a:lnTo>
                    <a:pt x="640" y="69"/>
                  </a:lnTo>
                  <a:lnTo>
                    <a:pt x="637" y="69"/>
                  </a:lnTo>
                  <a:lnTo>
                    <a:pt x="635" y="67"/>
                  </a:lnTo>
                  <a:lnTo>
                    <a:pt x="633" y="67"/>
                  </a:lnTo>
                  <a:lnTo>
                    <a:pt x="633" y="69"/>
                  </a:lnTo>
                  <a:lnTo>
                    <a:pt x="633" y="69"/>
                  </a:lnTo>
                  <a:lnTo>
                    <a:pt x="637" y="73"/>
                  </a:lnTo>
                  <a:lnTo>
                    <a:pt x="640" y="73"/>
                  </a:lnTo>
                  <a:lnTo>
                    <a:pt x="644" y="73"/>
                  </a:lnTo>
                  <a:lnTo>
                    <a:pt x="646" y="73"/>
                  </a:lnTo>
                  <a:lnTo>
                    <a:pt x="652" y="69"/>
                  </a:lnTo>
                  <a:lnTo>
                    <a:pt x="653" y="69"/>
                  </a:lnTo>
                  <a:lnTo>
                    <a:pt x="655" y="73"/>
                  </a:lnTo>
                  <a:lnTo>
                    <a:pt x="655" y="69"/>
                  </a:lnTo>
                  <a:lnTo>
                    <a:pt x="655" y="69"/>
                  </a:lnTo>
                  <a:lnTo>
                    <a:pt x="659" y="69"/>
                  </a:lnTo>
                  <a:lnTo>
                    <a:pt x="665" y="69"/>
                  </a:lnTo>
                  <a:lnTo>
                    <a:pt x="669" y="69"/>
                  </a:lnTo>
                  <a:lnTo>
                    <a:pt x="669" y="73"/>
                  </a:lnTo>
                  <a:lnTo>
                    <a:pt x="670" y="73"/>
                  </a:lnTo>
                  <a:lnTo>
                    <a:pt x="670" y="73"/>
                  </a:lnTo>
                  <a:lnTo>
                    <a:pt x="674" y="69"/>
                  </a:lnTo>
                  <a:lnTo>
                    <a:pt x="674" y="73"/>
                  </a:lnTo>
                  <a:lnTo>
                    <a:pt x="674" y="73"/>
                  </a:lnTo>
                  <a:lnTo>
                    <a:pt x="678" y="77"/>
                  </a:lnTo>
                  <a:lnTo>
                    <a:pt x="682" y="77"/>
                  </a:lnTo>
                  <a:lnTo>
                    <a:pt x="685" y="79"/>
                  </a:lnTo>
                  <a:lnTo>
                    <a:pt x="685" y="81"/>
                  </a:lnTo>
                  <a:lnTo>
                    <a:pt x="689" y="84"/>
                  </a:lnTo>
                  <a:lnTo>
                    <a:pt x="693" y="86"/>
                  </a:lnTo>
                  <a:lnTo>
                    <a:pt x="695" y="88"/>
                  </a:lnTo>
                  <a:lnTo>
                    <a:pt x="699" y="90"/>
                  </a:lnTo>
                  <a:lnTo>
                    <a:pt x="699" y="94"/>
                  </a:lnTo>
                  <a:lnTo>
                    <a:pt x="695" y="94"/>
                  </a:lnTo>
                  <a:lnTo>
                    <a:pt x="695" y="97"/>
                  </a:lnTo>
                  <a:lnTo>
                    <a:pt x="695" y="97"/>
                  </a:lnTo>
                  <a:lnTo>
                    <a:pt x="693" y="101"/>
                  </a:lnTo>
                  <a:lnTo>
                    <a:pt x="689" y="103"/>
                  </a:lnTo>
                  <a:lnTo>
                    <a:pt x="687" y="103"/>
                  </a:lnTo>
                  <a:lnTo>
                    <a:pt x="685" y="103"/>
                  </a:lnTo>
                  <a:lnTo>
                    <a:pt x="684" y="103"/>
                  </a:lnTo>
                  <a:lnTo>
                    <a:pt x="684" y="107"/>
                  </a:lnTo>
                  <a:lnTo>
                    <a:pt x="684" y="107"/>
                  </a:lnTo>
                  <a:lnTo>
                    <a:pt x="680" y="109"/>
                  </a:lnTo>
                  <a:lnTo>
                    <a:pt x="674" y="111"/>
                  </a:lnTo>
                  <a:lnTo>
                    <a:pt x="670" y="113"/>
                  </a:lnTo>
                  <a:lnTo>
                    <a:pt x="669" y="113"/>
                  </a:lnTo>
                  <a:lnTo>
                    <a:pt x="665" y="113"/>
                  </a:lnTo>
                  <a:lnTo>
                    <a:pt x="663" y="111"/>
                  </a:lnTo>
                  <a:lnTo>
                    <a:pt x="661" y="109"/>
                  </a:lnTo>
                  <a:lnTo>
                    <a:pt x="661" y="109"/>
                  </a:lnTo>
                  <a:lnTo>
                    <a:pt x="661" y="111"/>
                  </a:lnTo>
                  <a:lnTo>
                    <a:pt x="663" y="113"/>
                  </a:lnTo>
                  <a:lnTo>
                    <a:pt x="663" y="114"/>
                  </a:lnTo>
                  <a:lnTo>
                    <a:pt x="659" y="114"/>
                  </a:lnTo>
                  <a:lnTo>
                    <a:pt x="655" y="113"/>
                  </a:lnTo>
                  <a:lnTo>
                    <a:pt x="652" y="114"/>
                  </a:lnTo>
                  <a:lnTo>
                    <a:pt x="650" y="114"/>
                  </a:lnTo>
                  <a:lnTo>
                    <a:pt x="650" y="113"/>
                  </a:lnTo>
                  <a:lnTo>
                    <a:pt x="644" y="113"/>
                  </a:lnTo>
                  <a:lnTo>
                    <a:pt x="644" y="114"/>
                  </a:lnTo>
                  <a:lnTo>
                    <a:pt x="638" y="116"/>
                  </a:lnTo>
                  <a:lnTo>
                    <a:pt x="635" y="116"/>
                  </a:lnTo>
                  <a:lnTo>
                    <a:pt x="633" y="116"/>
                  </a:lnTo>
                  <a:lnTo>
                    <a:pt x="631" y="116"/>
                  </a:lnTo>
                  <a:lnTo>
                    <a:pt x="627" y="114"/>
                  </a:lnTo>
                  <a:lnTo>
                    <a:pt x="625" y="114"/>
                  </a:lnTo>
                  <a:lnTo>
                    <a:pt x="623" y="116"/>
                  </a:lnTo>
                  <a:lnTo>
                    <a:pt x="620" y="116"/>
                  </a:lnTo>
                  <a:lnTo>
                    <a:pt x="616" y="116"/>
                  </a:lnTo>
                  <a:lnTo>
                    <a:pt x="614" y="113"/>
                  </a:lnTo>
                  <a:lnTo>
                    <a:pt x="612" y="113"/>
                  </a:lnTo>
                  <a:lnTo>
                    <a:pt x="610" y="111"/>
                  </a:lnTo>
                  <a:lnTo>
                    <a:pt x="606" y="111"/>
                  </a:lnTo>
                  <a:lnTo>
                    <a:pt x="603" y="111"/>
                  </a:lnTo>
                  <a:lnTo>
                    <a:pt x="601" y="109"/>
                  </a:lnTo>
                  <a:lnTo>
                    <a:pt x="597" y="111"/>
                  </a:lnTo>
                  <a:lnTo>
                    <a:pt x="595" y="111"/>
                  </a:lnTo>
                  <a:lnTo>
                    <a:pt x="591" y="109"/>
                  </a:lnTo>
                  <a:lnTo>
                    <a:pt x="589" y="109"/>
                  </a:lnTo>
                  <a:lnTo>
                    <a:pt x="588" y="113"/>
                  </a:lnTo>
                  <a:lnTo>
                    <a:pt x="584" y="113"/>
                  </a:lnTo>
                  <a:lnTo>
                    <a:pt x="580" y="113"/>
                  </a:lnTo>
                  <a:lnTo>
                    <a:pt x="576" y="114"/>
                  </a:lnTo>
                  <a:lnTo>
                    <a:pt x="576" y="114"/>
                  </a:lnTo>
                  <a:lnTo>
                    <a:pt x="574" y="114"/>
                  </a:lnTo>
                  <a:lnTo>
                    <a:pt x="574" y="111"/>
                  </a:lnTo>
                  <a:lnTo>
                    <a:pt x="573" y="111"/>
                  </a:lnTo>
                  <a:lnTo>
                    <a:pt x="571" y="111"/>
                  </a:lnTo>
                  <a:lnTo>
                    <a:pt x="567" y="111"/>
                  </a:lnTo>
                  <a:lnTo>
                    <a:pt x="567" y="111"/>
                  </a:lnTo>
                  <a:lnTo>
                    <a:pt x="567" y="111"/>
                  </a:lnTo>
                  <a:lnTo>
                    <a:pt x="567" y="113"/>
                  </a:lnTo>
                  <a:lnTo>
                    <a:pt x="571" y="113"/>
                  </a:lnTo>
                  <a:lnTo>
                    <a:pt x="571" y="113"/>
                  </a:lnTo>
                  <a:lnTo>
                    <a:pt x="573" y="114"/>
                  </a:lnTo>
                  <a:lnTo>
                    <a:pt x="571" y="118"/>
                  </a:lnTo>
                  <a:lnTo>
                    <a:pt x="571" y="118"/>
                  </a:lnTo>
                  <a:lnTo>
                    <a:pt x="567" y="118"/>
                  </a:lnTo>
                  <a:lnTo>
                    <a:pt x="565" y="118"/>
                  </a:lnTo>
                  <a:lnTo>
                    <a:pt x="563" y="120"/>
                  </a:lnTo>
                  <a:lnTo>
                    <a:pt x="557" y="122"/>
                  </a:lnTo>
                  <a:lnTo>
                    <a:pt x="554" y="122"/>
                  </a:lnTo>
                  <a:lnTo>
                    <a:pt x="552" y="124"/>
                  </a:lnTo>
                  <a:lnTo>
                    <a:pt x="550" y="126"/>
                  </a:lnTo>
                  <a:lnTo>
                    <a:pt x="546" y="128"/>
                  </a:lnTo>
                  <a:lnTo>
                    <a:pt x="542" y="128"/>
                  </a:lnTo>
                  <a:lnTo>
                    <a:pt x="539" y="128"/>
                  </a:lnTo>
                  <a:lnTo>
                    <a:pt x="539" y="128"/>
                  </a:lnTo>
                  <a:lnTo>
                    <a:pt x="537" y="131"/>
                  </a:lnTo>
                  <a:lnTo>
                    <a:pt x="537" y="133"/>
                  </a:lnTo>
                  <a:lnTo>
                    <a:pt x="539" y="137"/>
                  </a:lnTo>
                  <a:lnTo>
                    <a:pt x="539" y="137"/>
                  </a:lnTo>
                  <a:lnTo>
                    <a:pt x="539" y="141"/>
                  </a:lnTo>
                  <a:lnTo>
                    <a:pt x="539" y="143"/>
                  </a:lnTo>
                  <a:lnTo>
                    <a:pt x="542" y="143"/>
                  </a:lnTo>
                  <a:lnTo>
                    <a:pt x="542" y="141"/>
                  </a:lnTo>
                  <a:lnTo>
                    <a:pt x="542" y="137"/>
                  </a:lnTo>
                  <a:lnTo>
                    <a:pt x="546" y="137"/>
                  </a:lnTo>
                  <a:lnTo>
                    <a:pt x="548" y="137"/>
                  </a:lnTo>
                  <a:lnTo>
                    <a:pt x="552" y="133"/>
                  </a:lnTo>
                  <a:lnTo>
                    <a:pt x="554" y="133"/>
                  </a:lnTo>
                  <a:lnTo>
                    <a:pt x="557" y="133"/>
                  </a:lnTo>
                  <a:lnTo>
                    <a:pt x="557" y="133"/>
                  </a:lnTo>
                  <a:lnTo>
                    <a:pt x="561" y="128"/>
                  </a:lnTo>
                  <a:lnTo>
                    <a:pt x="567" y="128"/>
                  </a:lnTo>
                  <a:lnTo>
                    <a:pt x="573" y="126"/>
                  </a:lnTo>
                  <a:lnTo>
                    <a:pt x="576" y="126"/>
                  </a:lnTo>
                  <a:lnTo>
                    <a:pt x="576" y="128"/>
                  </a:lnTo>
                  <a:lnTo>
                    <a:pt x="574" y="128"/>
                  </a:lnTo>
                  <a:lnTo>
                    <a:pt x="576" y="128"/>
                  </a:lnTo>
                  <a:lnTo>
                    <a:pt x="578" y="128"/>
                  </a:lnTo>
                  <a:lnTo>
                    <a:pt x="578" y="126"/>
                  </a:lnTo>
                  <a:lnTo>
                    <a:pt x="582" y="122"/>
                  </a:lnTo>
                  <a:lnTo>
                    <a:pt x="584" y="120"/>
                  </a:lnTo>
                  <a:lnTo>
                    <a:pt x="588" y="122"/>
                  </a:lnTo>
                  <a:lnTo>
                    <a:pt x="589" y="122"/>
                  </a:lnTo>
                  <a:lnTo>
                    <a:pt x="591" y="122"/>
                  </a:lnTo>
                  <a:lnTo>
                    <a:pt x="597" y="122"/>
                  </a:lnTo>
                  <a:lnTo>
                    <a:pt x="601" y="124"/>
                  </a:lnTo>
                  <a:lnTo>
                    <a:pt x="605" y="124"/>
                  </a:lnTo>
                  <a:lnTo>
                    <a:pt x="614" y="124"/>
                  </a:lnTo>
                  <a:lnTo>
                    <a:pt x="616" y="124"/>
                  </a:lnTo>
                  <a:lnTo>
                    <a:pt x="620" y="126"/>
                  </a:lnTo>
                  <a:lnTo>
                    <a:pt x="625" y="128"/>
                  </a:lnTo>
                  <a:lnTo>
                    <a:pt x="631" y="128"/>
                  </a:lnTo>
                  <a:lnTo>
                    <a:pt x="635" y="128"/>
                  </a:lnTo>
                  <a:lnTo>
                    <a:pt x="635" y="128"/>
                  </a:lnTo>
                  <a:lnTo>
                    <a:pt x="637" y="131"/>
                  </a:lnTo>
                  <a:lnTo>
                    <a:pt x="637" y="133"/>
                  </a:lnTo>
                  <a:lnTo>
                    <a:pt x="633" y="133"/>
                  </a:lnTo>
                  <a:lnTo>
                    <a:pt x="633" y="137"/>
                  </a:lnTo>
                  <a:lnTo>
                    <a:pt x="631" y="139"/>
                  </a:lnTo>
                  <a:lnTo>
                    <a:pt x="629" y="141"/>
                  </a:lnTo>
                  <a:lnTo>
                    <a:pt x="620" y="141"/>
                  </a:lnTo>
                  <a:lnTo>
                    <a:pt x="616" y="143"/>
                  </a:lnTo>
                  <a:lnTo>
                    <a:pt x="616" y="145"/>
                  </a:lnTo>
                  <a:lnTo>
                    <a:pt x="614" y="143"/>
                  </a:lnTo>
                  <a:lnTo>
                    <a:pt x="612" y="143"/>
                  </a:lnTo>
                  <a:lnTo>
                    <a:pt x="612" y="146"/>
                  </a:lnTo>
                  <a:lnTo>
                    <a:pt x="612" y="148"/>
                  </a:lnTo>
                  <a:lnTo>
                    <a:pt x="610" y="152"/>
                  </a:lnTo>
                  <a:lnTo>
                    <a:pt x="612" y="154"/>
                  </a:lnTo>
                  <a:lnTo>
                    <a:pt x="612" y="154"/>
                  </a:lnTo>
                  <a:lnTo>
                    <a:pt x="616" y="152"/>
                  </a:lnTo>
                  <a:lnTo>
                    <a:pt x="620" y="152"/>
                  </a:lnTo>
                  <a:lnTo>
                    <a:pt x="623" y="150"/>
                  </a:lnTo>
                  <a:lnTo>
                    <a:pt x="623" y="150"/>
                  </a:lnTo>
                  <a:lnTo>
                    <a:pt x="631" y="150"/>
                  </a:lnTo>
                  <a:lnTo>
                    <a:pt x="631" y="150"/>
                  </a:lnTo>
                  <a:lnTo>
                    <a:pt x="638" y="152"/>
                  </a:lnTo>
                  <a:lnTo>
                    <a:pt x="640" y="152"/>
                  </a:lnTo>
                  <a:lnTo>
                    <a:pt x="640" y="154"/>
                  </a:lnTo>
                  <a:lnTo>
                    <a:pt x="644" y="152"/>
                  </a:lnTo>
                  <a:lnTo>
                    <a:pt x="644" y="150"/>
                  </a:lnTo>
                  <a:lnTo>
                    <a:pt x="644" y="150"/>
                  </a:lnTo>
                  <a:lnTo>
                    <a:pt x="650" y="150"/>
                  </a:lnTo>
                  <a:lnTo>
                    <a:pt x="650" y="152"/>
                  </a:lnTo>
                  <a:lnTo>
                    <a:pt x="653" y="148"/>
                  </a:lnTo>
                  <a:lnTo>
                    <a:pt x="653" y="143"/>
                  </a:lnTo>
                  <a:lnTo>
                    <a:pt x="653" y="137"/>
                  </a:lnTo>
                  <a:lnTo>
                    <a:pt x="655" y="137"/>
                  </a:lnTo>
                  <a:lnTo>
                    <a:pt x="655" y="133"/>
                  </a:lnTo>
                  <a:lnTo>
                    <a:pt x="655" y="133"/>
                  </a:lnTo>
                  <a:lnTo>
                    <a:pt x="657" y="131"/>
                  </a:lnTo>
                  <a:lnTo>
                    <a:pt x="663" y="131"/>
                  </a:lnTo>
                  <a:lnTo>
                    <a:pt x="665" y="131"/>
                  </a:lnTo>
                  <a:lnTo>
                    <a:pt x="670" y="131"/>
                  </a:lnTo>
                  <a:lnTo>
                    <a:pt x="674" y="131"/>
                  </a:lnTo>
                  <a:lnTo>
                    <a:pt x="676" y="131"/>
                  </a:lnTo>
                  <a:lnTo>
                    <a:pt x="678" y="133"/>
                  </a:lnTo>
                  <a:lnTo>
                    <a:pt x="678" y="141"/>
                  </a:lnTo>
                  <a:lnTo>
                    <a:pt x="678" y="145"/>
                  </a:lnTo>
                  <a:lnTo>
                    <a:pt x="674" y="148"/>
                  </a:lnTo>
                  <a:lnTo>
                    <a:pt x="670" y="156"/>
                  </a:lnTo>
                  <a:lnTo>
                    <a:pt x="670" y="158"/>
                  </a:lnTo>
                  <a:lnTo>
                    <a:pt x="670" y="162"/>
                  </a:lnTo>
                  <a:lnTo>
                    <a:pt x="659" y="171"/>
                  </a:lnTo>
                  <a:lnTo>
                    <a:pt x="657" y="171"/>
                  </a:lnTo>
                  <a:lnTo>
                    <a:pt x="655" y="171"/>
                  </a:lnTo>
                  <a:lnTo>
                    <a:pt x="653" y="173"/>
                  </a:lnTo>
                  <a:lnTo>
                    <a:pt x="652" y="175"/>
                  </a:lnTo>
                  <a:lnTo>
                    <a:pt x="650" y="173"/>
                  </a:lnTo>
                  <a:lnTo>
                    <a:pt x="646" y="175"/>
                  </a:lnTo>
                  <a:lnTo>
                    <a:pt x="644" y="178"/>
                  </a:lnTo>
                  <a:lnTo>
                    <a:pt x="644" y="180"/>
                  </a:lnTo>
                  <a:lnTo>
                    <a:pt x="640" y="182"/>
                  </a:lnTo>
                  <a:lnTo>
                    <a:pt x="640" y="186"/>
                  </a:lnTo>
                  <a:lnTo>
                    <a:pt x="638" y="184"/>
                  </a:lnTo>
                  <a:lnTo>
                    <a:pt x="637" y="184"/>
                  </a:lnTo>
                  <a:lnTo>
                    <a:pt x="637" y="186"/>
                  </a:lnTo>
                  <a:lnTo>
                    <a:pt x="637" y="188"/>
                  </a:lnTo>
                  <a:lnTo>
                    <a:pt x="635" y="188"/>
                  </a:lnTo>
                  <a:lnTo>
                    <a:pt x="631" y="195"/>
                  </a:lnTo>
                  <a:lnTo>
                    <a:pt x="629" y="197"/>
                  </a:lnTo>
                  <a:lnTo>
                    <a:pt x="627" y="201"/>
                  </a:lnTo>
                  <a:lnTo>
                    <a:pt x="621" y="203"/>
                  </a:lnTo>
                  <a:lnTo>
                    <a:pt x="620" y="207"/>
                  </a:lnTo>
                  <a:lnTo>
                    <a:pt x="616" y="207"/>
                  </a:lnTo>
                  <a:lnTo>
                    <a:pt x="612" y="210"/>
                  </a:lnTo>
                  <a:lnTo>
                    <a:pt x="612" y="212"/>
                  </a:lnTo>
                  <a:lnTo>
                    <a:pt x="608" y="212"/>
                  </a:lnTo>
                  <a:lnTo>
                    <a:pt x="608" y="216"/>
                  </a:lnTo>
                  <a:lnTo>
                    <a:pt x="608" y="220"/>
                  </a:lnTo>
                  <a:lnTo>
                    <a:pt x="606" y="222"/>
                  </a:lnTo>
                  <a:lnTo>
                    <a:pt x="608" y="226"/>
                  </a:lnTo>
                  <a:lnTo>
                    <a:pt x="608" y="222"/>
                  </a:lnTo>
                  <a:lnTo>
                    <a:pt x="610" y="220"/>
                  </a:lnTo>
                  <a:lnTo>
                    <a:pt x="614" y="216"/>
                  </a:lnTo>
                  <a:lnTo>
                    <a:pt x="616" y="212"/>
                  </a:lnTo>
                  <a:lnTo>
                    <a:pt x="620" y="210"/>
                  </a:lnTo>
                  <a:lnTo>
                    <a:pt x="620" y="210"/>
                  </a:lnTo>
                  <a:lnTo>
                    <a:pt x="620" y="210"/>
                  </a:lnTo>
                  <a:lnTo>
                    <a:pt x="623" y="207"/>
                  </a:lnTo>
                  <a:lnTo>
                    <a:pt x="631" y="203"/>
                  </a:lnTo>
                  <a:lnTo>
                    <a:pt x="633" y="201"/>
                  </a:lnTo>
                  <a:lnTo>
                    <a:pt x="633" y="201"/>
                  </a:lnTo>
                  <a:lnTo>
                    <a:pt x="638" y="195"/>
                  </a:lnTo>
                  <a:lnTo>
                    <a:pt x="644" y="188"/>
                  </a:lnTo>
                  <a:lnTo>
                    <a:pt x="644" y="188"/>
                  </a:lnTo>
                  <a:lnTo>
                    <a:pt x="650" y="188"/>
                  </a:lnTo>
                  <a:lnTo>
                    <a:pt x="650" y="188"/>
                  </a:lnTo>
                  <a:lnTo>
                    <a:pt x="653" y="188"/>
                  </a:lnTo>
                  <a:lnTo>
                    <a:pt x="653" y="186"/>
                  </a:lnTo>
                  <a:lnTo>
                    <a:pt x="657" y="186"/>
                  </a:lnTo>
                  <a:lnTo>
                    <a:pt x="663" y="186"/>
                  </a:lnTo>
                  <a:lnTo>
                    <a:pt x="669" y="182"/>
                  </a:lnTo>
                  <a:lnTo>
                    <a:pt x="670" y="178"/>
                  </a:lnTo>
                  <a:lnTo>
                    <a:pt x="674" y="178"/>
                  </a:lnTo>
                  <a:lnTo>
                    <a:pt x="676" y="177"/>
                  </a:lnTo>
                  <a:lnTo>
                    <a:pt x="678" y="175"/>
                  </a:lnTo>
                  <a:lnTo>
                    <a:pt x="682" y="175"/>
                  </a:lnTo>
                  <a:lnTo>
                    <a:pt x="684" y="171"/>
                  </a:lnTo>
                  <a:lnTo>
                    <a:pt x="689" y="167"/>
                  </a:lnTo>
                  <a:lnTo>
                    <a:pt x="689" y="162"/>
                  </a:lnTo>
                  <a:lnTo>
                    <a:pt x="689" y="162"/>
                  </a:lnTo>
                  <a:lnTo>
                    <a:pt x="693" y="158"/>
                  </a:lnTo>
                  <a:lnTo>
                    <a:pt x="693" y="158"/>
                  </a:lnTo>
                  <a:lnTo>
                    <a:pt x="695" y="156"/>
                  </a:lnTo>
                  <a:lnTo>
                    <a:pt x="695" y="158"/>
                  </a:lnTo>
                  <a:lnTo>
                    <a:pt x="695" y="162"/>
                  </a:lnTo>
                  <a:lnTo>
                    <a:pt x="695" y="162"/>
                  </a:lnTo>
                  <a:lnTo>
                    <a:pt x="695" y="167"/>
                  </a:lnTo>
                  <a:lnTo>
                    <a:pt x="699" y="167"/>
                  </a:lnTo>
                  <a:lnTo>
                    <a:pt x="699" y="171"/>
                  </a:lnTo>
                  <a:lnTo>
                    <a:pt x="695" y="173"/>
                  </a:lnTo>
                  <a:lnTo>
                    <a:pt x="699" y="175"/>
                  </a:lnTo>
                  <a:lnTo>
                    <a:pt x="699" y="173"/>
                  </a:lnTo>
                  <a:lnTo>
                    <a:pt x="699" y="171"/>
                  </a:lnTo>
                  <a:lnTo>
                    <a:pt x="701" y="167"/>
                  </a:lnTo>
                  <a:lnTo>
                    <a:pt x="699" y="167"/>
                  </a:lnTo>
                  <a:lnTo>
                    <a:pt x="699" y="163"/>
                  </a:lnTo>
                  <a:lnTo>
                    <a:pt x="701" y="162"/>
                  </a:lnTo>
                  <a:lnTo>
                    <a:pt x="702" y="162"/>
                  </a:lnTo>
                  <a:lnTo>
                    <a:pt x="702" y="167"/>
                  </a:lnTo>
                  <a:lnTo>
                    <a:pt x="704" y="167"/>
                  </a:lnTo>
                  <a:lnTo>
                    <a:pt x="708" y="167"/>
                  </a:lnTo>
                  <a:lnTo>
                    <a:pt x="712" y="167"/>
                  </a:lnTo>
                  <a:lnTo>
                    <a:pt x="712" y="163"/>
                  </a:lnTo>
                  <a:lnTo>
                    <a:pt x="712" y="162"/>
                  </a:lnTo>
                  <a:lnTo>
                    <a:pt x="712" y="162"/>
                  </a:lnTo>
                  <a:lnTo>
                    <a:pt x="714" y="162"/>
                  </a:lnTo>
                  <a:lnTo>
                    <a:pt x="716" y="158"/>
                  </a:lnTo>
                  <a:lnTo>
                    <a:pt x="716" y="154"/>
                  </a:lnTo>
                  <a:lnTo>
                    <a:pt x="716" y="152"/>
                  </a:lnTo>
                  <a:lnTo>
                    <a:pt x="716" y="150"/>
                  </a:lnTo>
                  <a:lnTo>
                    <a:pt x="717" y="148"/>
                  </a:lnTo>
                  <a:lnTo>
                    <a:pt x="719" y="150"/>
                  </a:lnTo>
                  <a:lnTo>
                    <a:pt x="723" y="152"/>
                  </a:lnTo>
                  <a:lnTo>
                    <a:pt x="727" y="150"/>
                  </a:lnTo>
                  <a:lnTo>
                    <a:pt x="727" y="148"/>
                  </a:lnTo>
                  <a:lnTo>
                    <a:pt x="733" y="146"/>
                  </a:lnTo>
                  <a:lnTo>
                    <a:pt x="736" y="146"/>
                  </a:lnTo>
                  <a:lnTo>
                    <a:pt x="738" y="146"/>
                  </a:lnTo>
                  <a:lnTo>
                    <a:pt x="744" y="146"/>
                  </a:lnTo>
                  <a:lnTo>
                    <a:pt x="748" y="150"/>
                  </a:lnTo>
                  <a:lnTo>
                    <a:pt x="751" y="152"/>
                  </a:lnTo>
                  <a:lnTo>
                    <a:pt x="757" y="152"/>
                  </a:lnTo>
                  <a:lnTo>
                    <a:pt x="759" y="154"/>
                  </a:lnTo>
                  <a:lnTo>
                    <a:pt x="761" y="156"/>
                  </a:lnTo>
                  <a:lnTo>
                    <a:pt x="765" y="156"/>
                  </a:lnTo>
                  <a:lnTo>
                    <a:pt x="768" y="158"/>
                  </a:lnTo>
                  <a:lnTo>
                    <a:pt x="768" y="162"/>
                  </a:lnTo>
                  <a:lnTo>
                    <a:pt x="768" y="162"/>
                  </a:lnTo>
                  <a:lnTo>
                    <a:pt x="776" y="167"/>
                  </a:lnTo>
                  <a:lnTo>
                    <a:pt x="776" y="171"/>
                  </a:lnTo>
                  <a:lnTo>
                    <a:pt x="778" y="171"/>
                  </a:lnTo>
                  <a:lnTo>
                    <a:pt x="781" y="177"/>
                  </a:lnTo>
                  <a:lnTo>
                    <a:pt x="778" y="180"/>
                  </a:lnTo>
                  <a:lnTo>
                    <a:pt x="776" y="184"/>
                  </a:lnTo>
                  <a:lnTo>
                    <a:pt x="772" y="184"/>
                  </a:lnTo>
                  <a:lnTo>
                    <a:pt x="772" y="188"/>
                  </a:lnTo>
                  <a:lnTo>
                    <a:pt x="768" y="188"/>
                  </a:lnTo>
                  <a:lnTo>
                    <a:pt x="768" y="188"/>
                  </a:lnTo>
                  <a:lnTo>
                    <a:pt x="765" y="192"/>
                  </a:lnTo>
                  <a:lnTo>
                    <a:pt x="761" y="197"/>
                  </a:lnTo>
                  <a:lnTo>
                    <a:pt x="759" y="201"/>
                  </a:lnTo>
                  <a:lnTo>
                    <a:pt x="757" y="201"/>
                  </a:lnTo>
                  <a:lnTo>
                    <a:pt x="757" y="201"/>
                  </a:lnTo>
                  <a:lnTo>
                    <a:pt x="751" y="197"/>
                  </a:lnTo>
                  <a:lnTo>
                    <a:pt x="748" y="197"/>
                  </a:lnTo>
                  <a:lnTo>
                    <a:pt x="744" y="197"/>
                  </a:lnTo>
                  <a:lnTo>
                    <a:pt x="744" y="201"/>
                  </a:lnTo>
                  <a:lnTo>
                    <a:pt x="744" y="203"/>
                  </a:lnTo>
                  <a:lnTo>
                    <a:pt x="744" y="203"/>
                  </a:lnTo>
                  <a:lnTo>
                    <a:pt x="744" y="205"/>
                  </a:lnTo>
                  <a:lnTo>
                    <a:pt x="748" y="209"/>
                  </a:lnTo>
                  <a:lnTo>
                    <a:pt x="748" y="209"/>
                  </a:lnTo>
                  <a:lnTo>
                    <a:pt x="748" y="212"/>
                  </a:lnTo>
                  <a:lnTo>
                    <a:pt x="748" y="214"/>
                  </a:lnTo>
                  <a:lnTo>
                    <a:pt x="744" y="214"/>
                  </a:lnTo>
                  <a:lnTo>
                    <a:pt x="742" y="214"/>
                  </a:lnTo>
                  <a:lnTo>
                    <a:pt x="736" y="218"/>
                  </a:lnTo>
                  <a:lnTo>
                    <a:pt x="733" y="220"/>
                  </a:lnTo>
                  <a:lnTo>
                    <a:pt x="731" y="220"/>
                  </a:lnTo>
                  <a:lnTo>
                    <a:pt x="727" y="220"/>
                  </a:lnTo>
                  <a:lnTo>
                    <a:pt x="727" y="218"/>
                  </a:lnTo>
                  <a:lnTo>
                    <a:pt x="723" y="218"/>
                  </a:lnTo>
                  <a:lnTo>
                    <a:pt x="719" y="218"/>
                  </a:lnTo>
                  <a:lnTo>
                    <a:pt x="719" y="216"/>
                  </a:lnTo>
                  <a:lnTo>
                    <a:pt x="717" y="216"/>
                  </a:lnTo>
                  <a:lnTo>
                    <a:pt x="716" y="214"/>
                  </a:lnTo>
                  <a:lnTo>
                    <a:pt x="714" y="214"/>
                  </a:lnTo>
                  <a:lnTo>
                    <a:pt x="714" y="214"/>
                  </a:lnTo>
                  <a:lnTo>
                    <a:pt x="712" y="216"/>
                  </a:lnTo>
                  <a:lnTo>
                    <a:pt x="712" y="216"/>
                  </a:lnTo>
                  <a:lnTo>
                    <a:pt x="708" y="216"/>
                  </a:lnTo>
                  <a:lnTo>
                    <a:pt x="708" y="218"/>
                  </a:lnTo>
                  <a:lnTo>
                    <a:pt x="706" y="220"/>
                  </a:lnTo>
                  <a:lnTo>
                    <a:pt x="704" y="220"/>
                  </a:lnTo>
                  <a:lnTo>
                    <a:pt x="702" y="218"/>
                  </a:lnTo>
                  <a:lnTo>
                    <a:pt x="701" y="220"/>
                  </a:lnTo>
                  <a:lnTo>
                    <a:pt x="699" y="222"/>
                  </a:lnTo>
                  <a:lnTo>
                    <a:pt x="695" y="220"/>
                  </a:lnTo>
                  <a:lnTo>
                    <a:pt x="693" y="220"/>
                  </a:lnTo>
                  <a:lnTo>
                    <a:pt x="689" y="220"/>
                  </a:lnTo>
                  <a:lnTo>
                    <a:pt x="685" y="222"/>
                  </a:lnTo>
                  <a:lnTo>
                    <a:pt x="682" y="222"/>
                  </a:lnTo>
                  <a:lnTo>
                    <a:pt x="680" y="222"/>
                  </a:lnTo>
                  <a:lnTo>
                    <a:pt x="682" y="222"/>
                  </a:lnTo>
                  <a:lnTo>
                    <a:pt x="685" y="222"/>
                  </a:lnTo>
                  <a:lnTo>
                    <a:pt x="693" y="222"/>
                  </a:lnTo>
                  <a:lnTo>
                    <a:pt x="695" y="222"/>
                  </a:lnTo>
                  <a:lnTo>
                    <a:pt x="699" y="222"/>
                  </a:lnTo>
                  <a:lnTo>
                    <a:pt x="701" y="222"/>
                  </a:lnTo>
                  <a:lnTo>
                    <a:pt x="704" y="222"/>
                  </a:lnTo>
                  <a:lnTo>
                    <a:pt x="712" y="222"/>
                  </a:lnTo>
                  <a:lnTo>
                    <a:pt x="716" y="226"/>
                  </a:lnTo>
                  <a:lnTo>
                    <a:pt x="716" y="226"/>
                  </a:lnTo>
                  <a:lnTo>
                    <a:pt x="719" y="222"/>
                  </a:lnTo>
                  <a:lnTo>
                    <a:pt x="719" y="222"/>
                  </a:lnTo>
                  <a:lnTo>
                    <a:pt x="723" y="226"/>
                  </a:lnTo>
                  <a:lnTo>
                    <a:pt x="723" y="226"/>
                  </a:lnTo>
                  <a:lnTo>
                    <a:pt x="727" y="226"/>
                  </a:lnTo>
                  <a:lnTo>
                    <a:pt x="729" y="231"/>
                  </a:lnTo>
                  <a:lnTo>
                    <a:pt x="729" y="231"/>
                  </a:lnTo>
                  <a:lnTo>
                    <a:pt x="727" y="235"/>
                  </a:lnTo>
                  <a:lnTo>
                    <a:pt x="723" y="235"/>
                  </a:lnTo>
                  <a:lnTo>
                    <a:pt x="723" y="235"/>
                  </a:lnTo>
                  <a:lnTo>
                    <a:pt x="723" y="237"/>
                  </a:lnTo>
                  <a:lnTo>
                    <a:pt x="723" y="239"/>
                  </a:lnTo>
                  <a:lnTo>
                    <a:pt x="719" y="241"/>
                  </a:lnTo>
                  <a:lnTo>
                    <a:pt x="714" y="243"/>
                  </a:lnTo>
                  <a:lnTo>
                    <a:pt x="710" y="243"/>
                  </a:lnTo>
                  <a:lnTo>
                    <a:pt x="706" y="244"/>
                  </a:lnTo>
                  <a:lnTo>
                    <a:pt x="699" y="243"/>
                  </a:lnTo>
                  <a:lnTo>
                    <a:pt x="699" y="241"/>
                  </a:lnTo>
                  <a:lnTo>
                    <a:pt x="691" y="235"/>
                  </a:lnTo>
                  <a:lnTo>
                    <a:pt x="685" y="235"/>
                  </a:lnTo>
                  <a:lnTo>
                    <a:pt x="684" y="235"/>
                  </a:lnTo>
                  <a:lnTo>
                    <a:pt x="680" y="237"/>
                  </a:lnTo>
                  <a:lnTo>
                    <a:pt x="678" y="243"/>
                  </a:lnTo>
                  <a:lnTo>
                    <a:pt x="674" y="244"/>
                  </a:lnTo>
                  <a:lnTo>
                    <a:pt x="674" y="246"/>
                  </a:lnTo>
                  <a:lnTo>
                    <a:pt x="670" y="246"/>
                  </a:lnTo>
                  <a:lnTo>
                    <a:pt x="674" y="248"/>
                  </a:lnTo>
                  <a:lnTo>
                    <a:pt x="674" y="248"/>
                  </a:lnTo>
                  <a:lnTo>
                    <a:pt x="674" y="250"/>
                  </a:lnTo>
                  <a:lnTo>
                    <a:pt x="674" y="252"/>
                  </a:lnTo>
                  <a:lnTo>
                    <a:pt x="674" y="252"/>
                  </a:lnTo>
                  <a:lnTo>
                    <a:pt x="670" y="252"/>
                  </a:lnTo>
                  <a:lnTo>
                    <a:pt x="670" y="256"/>
                  </a:lnTo>
                  <a:lnTo>
                    <a:pt x="674" y="258"/>
                  </a:lnTo>
                  <a:lnTo>
                    <a:pt x="676" y="258"/>
                  </a:lnTo>
                  <a:lnTo>
                    <a:pt x="678" y="258"/>
                  </a:lnTo>
                  <a:lnTo>
                    <a:pt x="680" y="256"/>
                  </a:lnTo>
                  <a:lnTo>
                    <a:pt x="684" y="256"/>
                  </a:lnTo>
                  <a:lnTo>
                    <a:pt x="685" y="252"/>
                  </a:lnTo>
                  <a:lnTo>
                    <a:pt x="689" y="250"/>
                  </a:lnTo>
                  <a:lnTo>
                    <a:pt x="695" y="248"/>
                  </a:lnTo>
                  <a:lnTo>
                    <a:pt x="699" y="246"/>
                  </a:lnTo>
                  <a:lnTo>
                    <a:pt x="702" y="246"/>
                  </a:lnTo>
                  <a:lnTo>
                    <a:pt x="704" y="248"/>
                  </a:lnTo>
                  <a:lnTo>
                    <a:pt x="706" y="250"/>
                  </a:lnTo>
                  <a:lnTo>
                    <a:pt x="708" y="250"/>
                  </a:lnTo>
                  <a:lnTo>
                    <a:pt x="712" y="252"/>
                  </a:lnTo>
                  <a:lnTo>
                    <a:pt x="712" y="252"/>
                  </a:lnTo>
                  <a:lnTo>
                    <a:pt x="710" y="256"/>
                  </a:lnTo>
                  <a:lnTo>
                    <a:pt x="706" y="258"/>
                  </a:lnTo>
                  <a:lnTo>
                    <a:pt x="704" y="261"/>
                  </a:lnTo>
                  <a:lnTo>
                    <a:pt x="701" y="265"/>
                  </a:lnTo>
                  <a:lnTo>
                    <a:pt x="701" y="267"/>
                  </a:lnTo>
                  <a:lnTo>
                    <a:pt x="695" y="273"/>
                  </a:lnTo>
                  <a:lnTo>
                    <a:pt x="693" y="276"/>
                  </a:lnTo>
                  <a:lnTo>
                    <a:pt x="687" y="286"/>
                  </a:lnTo>
                  <a:lnTo>
                    <a:pt x="685" y="290"/>
                  </a:lnTo>
                  <a:lnTo>
                    <a:pt x="682" y="291"/>
                  </a:lnTo>
                  <a:lnTo>
                    <a:pt x="682" y="295"/>
                  </a:lnTo>
                  <a:lnTo>
                    <a:pt x="680" y="301"/>
                  </a:lnTo>
                  <a:lnTo>
                    <a:pt x="680" y="303"/>
                  </a:lnTo>
                  <a:lnTo>
                    <a:pt x="678" y="305"/>
                  </a:lnTo>
                  <a:lnTo>
                    <a:pt x="678" y="310"/>
                  </a:lnTo>
                  <a:lnTo>
                    <a:pt x="676" y="316"/>
                  </a:lnTo>
                  <a:lnTo>
                    <a:pt x="674" y="322"/>
                  </a:lnTo>
                  <a:lnTo>
                    <a:pt x="676" y="324"/>
                  </a:lnTo>
                  <a:lnTo>
                    <a:pt x="676" y="327"/>
                  </a:lnTo>
                  <a:lnTo>
                    <a:pt x="676" y="333"/>
                  </a:lnTo>
                  <a:lnTo>
                    <a:pt x="674" y="335"/>
                  </a:lnTo>
                  <a:lnTo>
                    <a:pt x="670" y="337"/>
                  </a:lnTo>
                  <a:lnTo>
                    <a:pt x="670" y="342"/>
                  </a:lnTo>
                  <a:lnTo>
                    <a:pt x="670" y="344"/>
                  </a:lnTo>
                  <a:lnTo>
                    <a:pt x="670" y="346"/>
                  </a:lnTo>
                  <a:lnTo>
                    <a:pt x="670" y="350"/>
                  </a:lnTo>
                  <a:lnTo>
                    <a:pt x="669" y="354"/>
                  </a:lnTo>
                  <a:lnTo>
                    <a:pt x="665" y="359"/>
                  </a:lnTo>
                  <a:lnTo>
                    <a:pt x="663" y="356"/>
                  </a:lnTo>
                  <a:lnTo>
                    <a:pt x="661" y="354"/>
                  </a:lnTo>
                  <a:lnTo>
                    <a:pt x="661" y="352"/>
                  </a:lnTo>
                  <a:lnTo>
                    <a:pt x="659" y="350"/>
                  </a:lnTo>
                  <a:lnTo>
                    <a:pt x="657" y="350"/>
                  </a:lnTo>
                  <a:lnTo>
                    <a:pt x="661" y="350"/>
                  </a:lnTo>
                  <a:lnTo>
                    <a:pt x="659" y="346"/>
                  </a:lnTo>
                  <a:lnTo>
                    <a:pt x="657" y="346"/>
                  </a:lnTo>
                  <a:lnTo>
                    <a:pt x="655" y="346"/>
                  </a:lnTo>
                  <a:lnTo>
                    <a:pt x="653" y="346"/>
                  </a:lnTo>
                  <a:lnTo>
                    <a:pt x="652" y="350"/>
                  </a:lnTo>
                  <a:lnTo>
                    <a:pt x="652" y="350"/>
                  </a:lnTo>
                  <a:lnTo>
                    <a:pt x="653" y="350"/>
                  </a:lnTo>
                  <a:lnTo>
                    <a:pt x="653" y="352"/>
                  </a:lnTo>
                  <a:lnTo>
                    <a:pt x="652" y="354"/>
                  </a:lnTo>
                  <a:lnTo>
                    <a:pt x="652" y="356"/>
                  </a:lnTo>
                  <a:lnTo>
                    <a:pt x="653" y="359"/>
                  </a:lnTo>
                  <a:lnTo>
                    <a:pt x="655" y="359"/>
                  </a:lnTo>
                  <a:lnTo>
                    <a:pt x="657" y="363"/>
                  </a:lnTo>
                  <a:lnTo>
                    <a:pt x="659" y="365"/>
                  </a:lnTo>
                  <a:lnTo>
                    <a:pt x="661" y="369"/>
                  </a:lnTo>
                  <a:lnTo>
                    <a:pt x="665" y="371"/>
                  </a:lnTo>
                  <a:lnTo>
                    <a:pt x="669" y="371"/>
                  </a:lnTo>
                  <a:lnTo>
                    <a:pt x="670" y="376"/>
                  </a:lnTo>
                  <a:lnTo>
                    <a:pt x="674" y="380"/>
                  </a:lnTo>
                  <a:lnTo>
                    <a:pt x="670" y="380"/>
                  </a:lnTo>
                  <a:lnTo>
                    <a:pt x="670" y="384"/>
                  </a:lnTo>
                  <a:lnTo>
                    <a:pt x="665" y="380"/>
                  </a:lnTo>
                  <a:lnTo>
                    <a:pt x="663" y="376"/>
                  </a:lnTo>
                  <a:lnTo>
                    <a:pt x="663" y="374"/>
                  </a:lnTo>
                  <a:lnTo>
                    <a:pt x="659" y="374"/>
                  </a:lnTo>
                  <a:lnTo>
                    <a:pt x="659" y="371"/>
                  </a:lnTo>
                  <a:lnTo>
                    <a:pt x="657" y="374"/>
                  </a:lnTo>
                  <a:lnTo>
                    <a:pt x="657" y="376"/>
                  </a:lnTo>
                  <a:lnTo>
                    <a:pt x="657" y="376"/>
                  </a:lnTo>
                  <a:lnTo>
                    <a:pt x="659" y="380"/>
                  </a:lnTo>
                  <a:lnTo>
                    <a:pt x="659" y="380"/>
                  </a:lnTo>
                  <a:lnTo>
                    <a:pt x="657" y="380"/>
                  </a:lnTo>
                  <a:lnTo>
                    <a:pt x="655" y="380"/>
                  </a:lnTo>
                  <a:lnTo>
                    <a:pt x="655" y="380"/>
                  </a:lnTo>
                  <a:lnTo>
                    <a:pt x="655" y="384"/>
                  </a:lnTo>
                  <a:lnTo>
                    <a:pt x="659" y="384"/>
                  </a:lnTo>
                  <a:lnTo>
                    <a:pt x="657" y="386"/>
                  </a:lnTo>
                  <a:lnTo>
                    <a:pt x="657" y="386"/>
                  </a:lnTo>
                  <a:lnTo>
                    <a:pt x="657" y="388"/>
                  </a:lnTo>
                  <a:lnTo>
                    <a:pt x="661" y="388"/>
                  </a:lnTo>
                  <a:lnTo>
                    <a:pt x="665" y="388"/>
                  </a:lnTo>
                  <a:lnTo>
                    <a:pt x="665" y="389"/>
                  </a:lnTo>
                  <a:lnTo>
                    <a:pt x="665" y="393"/>
                  </a:lnTo>
                  <a:lnTo>
                    <a:pt x="665" y="393"/>
                  </a:lnTo>
                  <a:lnTo>
                    <a:pt x="665" y="395"/>
                  </a:lnTo>
                  <a:lnTo>
                    <a:pt x="669" y="395"/>
                  </a:lnTo>
                  <a:lnTo>
                    <a:pt x="670" y="391"/>
                  </a:lnTo>
                  <a:lnTo>
                    <a:pt x="674" y="388"/>
                  </a:lnTo>
                  <a:lnTo>
                    <a:pt x="674" y="388"/>
                  </a:lnTo>
                  <a:lnTo>
                    <a:pt x="674" y="389"/>
                  </a:lnTo>
                  <a:lnTo>
                    <a:pt x="674" y="391"/>
                  </a:lnTo>
                  <a:lnTo>
                    <a:pt x="676" y="391"/>
                  </a:lnTo>
                  <a:lnTo>
                    <a:pt x="678" y="393"/>
                  </a:lnTo>
                  <a:lnTo>
                    <a:pt x="682" y="393"/>
                  </a:lnTo>
                  <a:lnTo>
                    <a:pt x="682" y="397"/>
                  </a:lnTo>
                  <a:lnTo>
                    <a:pt x="682" y="399"/>
                  </a:lnTo>
                  <a:lnTo>
                    <a:pt x="680" y="401"/>
                  </a:lnTo>
                  <a:lnTo>
                    <a:pt x="680" y="406"/>
                  </a:lnTo>
                  <a:lnTo>
                    <a:pt x="680" y="410"/>
                  </a:lnTo>
                  <a:lnTo>
                    <a:pt x="680" y="410"/>
                  </a:lnTo>
                  <a:lnTo>
                    <a:pt x="678" y="416"/>
                  </a:lnTo>
                  <a:lnTo>
                    <a:pt x="676" y="418"/>
                  </a:lnTo>
                  <a:lnTo>
                    <a:pt x="676" y="421"/>
                  </a:lnTo>
                  <a:lnTo>
                    <a:pt x="674" y="423"/>
                  </a:lnTo>
                  <a:lnTo>
                    <a:pt x="674" y="423"/>
                  </a:lnTo>
                  <a:lnTo>
                    <a:pt x="674" y="420"/>
                  </a:lnTo>
                  <a:lnTo>
                    <a:pt x="670" y="418"/>
                  </a:lnTo>
                  <a:lnTo>
                    <a:pt x="669" y="416"/>
                  </a:lnTo>
                  <a:lnTo>
                    <a:pt x="665" y="416"/>
                  </a:lnTo>
                  <a:lnTo>
                    <a:pt x="665" y="416"/>
                  </a:lnTo>
                  <a:lnTo>
                    <a:pt x="661" y="416"/>
                  </a:lnTo>
                  <a:lnTo>
                    <a:pt x="661" y="414"/>
                  </a:lnTo>
                  <a:lnTo>
                    <a:pt x="661" y="410"/>
                  </a:lnTo>
                  <a:lnTo>
                    <a:pt x="659" y="410"/>
                  </a:lnTo>
                  <a:lnTo>
                    <a:pt x="657" y="410"/>
                  </a:lnTo>
                  <a:lnTo>
                    <a:pt x="657" y="410"/>
                  </a:lnTo>
                  <a:lnTo>
                    <a:pt x="655" y="410"/>
                  </a:lnTo>
                  <a:lnTo>
                    <a:pt x="652" y="406"/>
                  </a:lnTo>
                  <a:lnTo>
                    <a:pt x="650" y="406"/>
                  </a:lnTo>
                  <a:lnTo>
                    <a:pt x="646" y="408"/>
                  </a:lnTo>
                  <a:lnTo>
                    <a:pt x="646" y="410"/>
                  </a:lnTo>
                  <a:lnTo>
                    <a:pt x="650" y="410"/>
                  </a:lnTo>
                  <a:lnTo>
                    <a:pt x="644" y="410"/>
                  </a:lnTo>
                  <a:lnTo>
                    <a:pt x="644" y="410"/>
                  </a:lnTo>
                  <a:lnTo>
                    <a:pt x="640" y="410"/>
                  </a:lnTo>
                  <a:lnTo>
                    <a:pt x="638" y="410"/>
                  </a:lnTo>
                  <a:lnTo>
                    <a:pt x="640" y="410"/>
                  </a:lnTo>
                  <a:lnTo>
                    <a:pt x="640" y="410"/>
                  </a:lnTo>
                  <a:lnTo>
                    <a:pt x="644" y="414"/>
                  </a:lnTo>
                  <a:lnTo>
                    <a:pt x="646" y="414"/>
                  </a:lnTo>
                  <a:lnTo>
                    <a:pt x="644" y="414"/>
                  </a:lnTo>
                  <a:lnTo>
                    <a:pt x="644" y="414"/>
                  </a:lnTo>
                  <a:lnTo>
                    <a:pt x="640" y="418"/>
                  </a:lnTo>
                  <a:lnTo>
                    <a:pt x="637" y="421"/>
                  </a:lnTo>
                  <a:lnTo>
                    <a:pt x="635" y="420"/>
                  </a:lnTo>
                  <a:lnTo>
                    <a:pt x="633" y="418"/>
                  </a:lnTo>
                  <a:lnTo>
                    <a:pt x="633" y="416"/>
                  </a:lnTo>
                  <a:lnTo>
                    <a:pt x="633" y="414"/>
                  </a:lnTo>
                  <a:lnTo>
                    <a:pt x="631" y="416"/>
                  </a:lnTo>
                  <a:lnTo>
                    <a:pt x="631" y="418"/>
                  </a:lnTo>
                  <a:lnTo>
                    <a:pt x="631" y="421"/>
                  </a:lnTo>
                  <a:lnTo>
                    <a:pt x="631" y="423"/>
                  </a:lnTo>
                  <a:lnTo>
                    <a:pt x="631" y="423"/>
                  </a:lnTo>
                  <a:lnTo>
                    <a:pt x="631" y="427"/>
                  </a:lnTo>
                  <a:lnTo>
                    <a:pt x="631" y="429"/>
                  </a:lnTo>
                  <a:lnTo>
                    <a:pt x="631" y="429"/>
                  </a:lnTo>
                  <a:lnTo>
                    <a:pt x="631" y="431"/>
                  </a:lnTo>
                  <a:lnTo>
                    <a:pt x="631" y="433"/>
                  </a:lnTo>
                  <a:lnTo>
                    <a:pt x="627" y="431"/>
                  </a:lnTo>
                  <a:lnTo>
                    <a:pt x="623" y="431"/>
                  </a:lnTo>
                  <a:lnTo>
                    <a:pt x="623" y="433"/>
                  </a:lnTo>
                  <a:lnTo>
                    <a:pt x="625" y="435"/>
                  </a:lnTo>
                  <a:lnTo>
                    <a:pt x="627" y="435"/>
                  </a:lnTo>
                  <a:lnTo>
                    <a:pt x="633" y="435"/>
                  </a:lnTo>
                  <a:lnTo>
                    <a:pt x="633" y="435"/>
                  </a:lnTo>
                  <a:lnTo>
                    <a:pt x="633" y="438"/>
                  </a:lnTo>
                  <a:lnTo>
                    <a:pt x="633" y="440"/>
                  </a:lnTo>
                  <a:lnTo>
                    <a:pt x="635" y="440"/>
                  </a:lnTo>
                  <a:lnTo>
                    <a:pt x="635" y="440"/>
                  </a:lnTo>
                  <a:lnTo>
                    <a:pt x="638" y="440"/>
                  </a:lnTo>
                  <a:lnTo>
                    <a:pt x="640" y="440"/>
                  </a:lnTo>
                  <a:lnTo>
                    <a:pt x="644" y="440"/>
                  </a:lnTo>
                  <a:lnTo>
                    <a:pt x="646" y="440"/>
                  </a:lnTo>
                  <a:lnTo>
                    <a:pt x="650" y="440"/>
                  </a:lnTo>
                  <a:lnTo>
                    <a:pt x="652" y="440"/>
                  </a:lnTo>
                  <a:lnTo>
                    <a:pt x="653" y="440"/>
                  </a:lnTo>
                  <a:lnTo>
                    <a:pt x="655" y="440"/>
                  </a:lnTo>
                  <a:lnTo>
                    <a:pt x="655" y="444"/>
                  </a:lnTo>
                  <a:lnTo>
                    <a:pt x="655" y="446"/>
                  </a:lnTo>
                  <a:lnTo>
                    <a:pt x="655" y="448"/>
                  </a:lnTo>
                  <a:lnTo>
                    <a:pt x="655" y="450"/>
                  </a:lnTo>
                  <a:lnTo>
                    <a:pt x="653" y="450"/>
                  </a:lnTo>
                  <a:lnTo>
                    <a:pt x="652" y="450"/>
                  </a:lnTo>
                  <a:lnTo>
                    <a:pt x="650" y="448"/>
                  </a:lnTo>
                  <a:lnTo>
                    <a:pt x="646" y="450"/>
                  </a:lnTo>
                  <a:lnTo>
                    <a:pt x="644" y="450"/>
                  </a:lnTo>
                  <a:lnTo>
                    <a:pt x="644" y="448"/>
                  </a:lnTo>
                  <a:lnTo>
                    <a:pt x="638" y="450"/>
                  </a:lnTo>
                  <a:lnTo>
                    <a:pt x="635" y="450"/>
                  </a:lnTo>
                  <a:lnTo>
                    <a:pt x="633" y="450"/>
                  </a:lnTo>
                  <a:lnTo>
                    <a:pt x="631" y="448"/>
                  </a:lnTo>
                  <a:lnTo>
                    <a:pt x="631" y="450"/>
                  </a:lnTo>
                  <a:lnTo>
                    <a:pt x="631" y="452"/>
                  </a:lnTo>
                  <a:lnTo>
                    <a:pt x="633" y="452"/>
                  </a:lnTo>
                  <a:lnTo>
                    <a:pt x="635" y="452"/>
                  </a:lnTo>
                  <a:lnTo>
                    <a:pt x="638" y="452"/>
                  </a:lnTo>
                  <a:lnTo>
                    <a:pt x="644" y="452"/>
                  </a:lnTo>
                  <a:lnTo>
                    <a:pt x="644" y="453"/>
                  </a:lnTo>
                  <a:lnTo>
                    <a:pt x="646" y="455"/>
                  </a:lnTo>
                  <a:lnTo>
                    <a:pt x="650" y="455"/>
                  </a:lnTo>
                  <a:lnTo>
                    <a:pt x="652" y="457"/>
                  </a:lnTo>
                  <a:lnTo>
                    <a:pt x="653" y="459"/>
                  </a:lnTo>
                  <a:lnTo>
                    <a:pt x="655" y="461"/>
                  </a:lnTo>
                  <a:lnTo>
                    <a:pt x="659" y="465"/>
                  </a:lnTo>
                  <a:lnTo>
                    <a:pt x="659" y="465"/>
                  </a:lnTo>
                  <a:lnTo>
                    <a:pt x="659" y="465"/>
                  </a:lnTo>
                  <a:lnTo>
                    <a:pt x="655" y="465"/>
                  </a:lnTo>
                  <a:lnTo>
                    <a:pt x="655" y="465"/>
                  </a:lnTo>
                  <a:lnTo>
                    <a:pt x="655" y="465"/>
                  </a:lnTo>
                  <a:lnTo>
                    <a:pt x="653" y="469"/>
                  </a:lnTo>
                  <a:lnTo>
                    <a:pt x="655" y="470"/>
                  </a:lnTo>
                  <a:lnTo>
                    <a:pt x="655" y="474"/>
                  </a:lnTo>
                  <a:lnTo>
                    <a:pt x="655" y="478"/>
                  </a:lnTo>
                  <a:lnTo>
                    <a:pt x="655" y="480"/>
                  </a:lnTo>
                  <a:lnTo>
                    <a:pt x="655" y="482"/>
                  </a:lnTo>
                  <a:lnTo>
                    <a:pt x="655" y="484"/>
                  </a:lnTo>
                  <a:lnTo>
                    <a:pt x="652" y="489"/>
                  </a:lnTo>
                  <a:lnTo>
                    <a:pt x="650" y="493"/>
                  </a:lnTo>
                  <a:lnTo>
                    <a:pt x="650" y="493"/>
                  </a:lnTo>
                  <a:lnTo>
                    <a:pt x="646" y="491"/>
                  </a:lnTo>
                  <a:lnTo>
                    <a:pt x="644" y="487"/>
                  </a:lnTo>
                  <a:lnTo>
                    <a:pt x="650" y="486"/>
                  </a:lnTo>
                  <a:lnTo>
                    <a:pt x="646" y="484"/>
                  </a:lnTo>
                  <a:lnTo>
                    <a:pt x="644" y="484"/>
                  </a:lnTo>
                  <a:lnTo>
                    <a:pt x="644" y="484"/>
                  </a:lnTo>
                  <a:lnTo>
                    <a:pt x="640" y="484"/>
                  </a:lnTo>
                  <a:lnTo>
                    <a:pt x="638" y="478"/>
                  </a:lnTo>
                  <a:lnTo>
                    <a:pt x="635" y="478"/>
                  </a:lnTo>
                  <a:lnTo>
                    <a:pt x="631" y="474"/>
                  </a:lnTo>
                  <a:lnTo>
                    <a:pt x="631" y="470"/>
                  </a:lnTo>
                  <a:lnTo>
                    <a:pt x="629" y="469"/>
                  </a:lnTo>
                  <a:lnTo>
                    <a:pt x="625" y="465"/>
                  </a:lnTo>
                  <a:lnTo>
                    <a:pt x="623" y="463"/>
                  </a:lnTo>
                  <a:lnTo>
                    <a:pt x="621" y="463"/>
                  </a:lnTo>
                  <a:lnTo>
                    <a:pt x="621" y="465"/>
                  </a:lnTo>
                  <a:lnTo>
                    <a:pt x="623" y="465"/>
                  </a:lnTo>
                  <a:lnTo>
                    <a:pt x="627" y="469"/>
                  </a:lnTo>
                  <a:lnTo>
                    <a:pt x="627" y="470"/>
                  </a:lnTo>
                  <a:lnTo>
                    <a:pt x="625" y="470"/>
                  </a:lnTo>
                  <a:lnTo>
                    <a:pt x="621" y="470"/>
                  </a:lnTo>
                  <a:lnTo>
                    <a:pt x="620" y="469"/>
                  </a:lnTo>
                  <a:lnTo>
                    <a:pt x="616" y="465"/>
                  </a:lnTo>
                  <a:lnTo>
                    <a:pt x="616" y="465"/>
                  </a:lnTo>
                  <a:lnTo>
                    <a:pt x="616" y="465"/>
                  </a:lnTo>
                  <a:lnTo>
                    <a:pt x="616" y="469"/>
                  </a:lnTo>
                  <a:lnTo>
                    <a:pt x="620" y="474"/>
                  </a:lnTo>
                  <a:lnTo>
                    <a:pt x="623" y="474"/>
                  </a:lnTo>
                  <a:lnTo>
                    <a:pt x="629" y="474"/>
                  </a:lnTo>
                  <a:lnTo>
                    <a:pt x="635" y="478"/>
                  </a:lnTo>
                  <a:lnTo>
                    <a:pt x="640" y="486"/>
                  </a:lnTo>
                  <a:lnTo>
                    <a:pt x="640" y="487"/>
                  </a:lnTo>
                  <a:lnTo>
                    <a:pt x="640" y="489"/>
                  </a:lnTo>
                  <a:lnTo>
                    <a:pt x="640" y="489"/>
                  </a:lnTo>
                  <a:lnTo>
                    <a:pt x="637" y="487"/>
                  </a:lnTo>
                  <a:lnTo>
                    <a:pt x="635" y="487"/>
                  </a:lnTo>
                  <a:lnTo>
                    <a:pt x="631" y="489"/>
                  </a:lnTo>
                  <a:lnTo>
                    <a:pt x="627" y="493"/>
                  </a:lnTo>
                  <a:lnTo>
                    <a:pt x="625" y="493"/>
                  </a:lnTo>
                  <a:lnTo>
                    <a:pt x="623" y="491"/>
                  </a:lnTo>
                  <a:lnTo>
                    <a:pt x="621" y="489"/>
                  </a:lnTo>
                  <a:lnTo>
                    <a:pt x="621" y="487"/>
                  </a:lnTo>
                  <a:lnTo>
                    <a:pt x="621" y="486"/>
                  </a:lnTo>
                  <a:lnTo>
                    <a:pt x="620" y="484"/>
                  </a:lnTo>
                  <a:lnTo>
                    <a:pt x="620" y="487"/>
                  </a:lnTo>
                  <a:lnTo>
                    <a:pt x="620" y="489"/>
                  </a:lnTo>
                  <a:lnTo>
                    <a:pt x="621" y="493"/>
                  </a:lnTo>
                  <a:lnTo>
                    <a:pt x="621" y="495"/>
                  </a:lnTo>
                  <a:lnTo>
                    <a:pt x="625" y="495"/>
                  </a:lnTo>
                  <a:lnTo>
                    <a:pt x="629" y="495"/>
                  </a:lnTo>
                  <a:lnTo>
                    <a:pt x="633" y="491"/>
                  </a:lnTo>
                  <a:lnTo>
                    <a:pt x="635" y="491"/>
                  </a:lnTo>
                  <a:lnTo>
                    <a:pt x="638" y="493"/>
                  </a:lnTo>
                  <a:lnTo>
                    <a:pt x="638" y="495"/>
                  </a:lnTo>
                  <a:lnTo>
                    <a:pt x="638" y="497"/>
                  </a:lnTo>
                  <a:lnTo>
                    <a:pt x="637" y="502"/>
                  </a:lnTo>
                  <a:lnTo>
                    <a:pt x="637" y="504"/>
                  </a:lnTo>
                  <a:lnTo>
                    <a:pt x="635" y="504"/>
                  </a:lnTo>
                  <a:lnTo>
                    <a:pt x="635" y="504"/>
                  </a:lnTo>
                  <a:lnTo>
                    <a:pt x="637" y="508"/>
                  </a:lnTo>
                  <a:lnTo>
                    <a:pt x="638" y="508"/>
                  </a:lnTo>
                  <a:lnTo>
                    <a:pt x="640" y="508"/>
                  </a:lnTo>
                  <a:lnTo>
                    <a:pt x="644" y="510"/>
                  </a:lnTo>
                  <a:lnTo>
                    <a:pt x="650" y="512"/>
                  </a:lnTo>
                  <a:lnTo>
                    <a:pt x="650" y="510"/>
                  </a:lnTo>
                  <a:lnTo>
                    <a:pt x="652" y="510"/>
                  </a:lnTo>
                  <a:lnTo>
                    <a:pt x="655" y="510"/>
                  </a:lnTo>
                  <a:lnTo>
                    <a:pt x="655" y="512"/>
                  </a:lnTo>
                  <a:lnTo>
                    <a:pt x="653" y="514"/>
                  </a:lnTo>
                  <a:lnTo>
                    <a:pt x="653" y="516"/>
                  </a:lnTo>
                  <a:lnTo>
                    <a:pt x="655" y="519"/>
                  </a:lnTo>
                  <a:lnTo>
                    <a:pt x="655" y="521"/>
                  </a:lnTo>
                  <a:lnTo>
                    <a:pt x="652" y="527"/>
                  </a:lnTo>
                  <a:lnTo>
                    <a:pt x="646" y="529"/>
                  </a:lnTo>
                  <a:lnTo>
                    <a:pt x="644" y="529"/>
                  </a:lnTo>
                  <a:lnTo>
                    <a:pt x="644" y="527"/>
                  </a:lnTo>
                  <a:lnTo>
                    <a:pt x="644" y="525"/>
                  </a:lnTo>
                  <a:lnTo>
                    <a:pt x="640" y="523"/>
                  </a:lnTo>
                  <a:lnTo>
                    <a:pt x="640" y="519"/>
                  </a:lnTo>
                  <a:lnTo>
                    <a:pt x="638" y="516"/>
                  </a:lnTo>
                  <a:lnTo>
                    <a:pt x="635" y="516"/>
                  </a:lnTo>
                  <a:lnTo>
                    <a:pt x="633" y="514"/>
                  </a:lnTo>
                  <a:lnTo>
                    <a:pt x="629" y="512"/>
                  </a:lnTo>
                  <a:lnTo>
                    <a:pt x="627" y="514"/>
                  </a:lnTo>
                  <a:lnTo>
                    <a:pt x="625" y="514"/>
                  </a:lnTo>
                  <a:lnTo>
                    <a:pt x="623" y="514"/>
                  </a:lnTo>
                  <a:lnTo>
                    <a:pt x="621" y="510"/>
                  </a:lnTo>
                  <a:lnTo>
                    <a:pt x="620" y="508"/>
                  </a:lnTo>
                  <a:lnTo>
                    <a:pt x="620" y="508"/>
                  </a:lnTo>
                  <a:lnTo>
                    <a:pt x="620" y="510"/>
                  </a:lnTo>
                  <a:lnTo>
                    <a:pt x="620" y="512"/>
                  </a:lnTo>
                  <a:lnTo>
                    <a:pt x="620" y="516"/>
                  </a:lnTo>
                  <a:lnTo>
                    <a:pt x="620" y="519"/>
                  </a:lnTo>
                  <a:lnTo>
                    <a:pt x="616" y="521"/>
                  </a:lnTo>
                  <a:lnTo>
                    <a:pt x="616" y="521"/>
                  </a:lnTo>
                  <a:lnTo>
                    <a:pt x="614" y="521"/>
                  </a:lnTo>
                  <a:lnTo>
                    <a:pt x="616" y="521"/>
                  </a:lnTo>
                  <a:lnTo>
                    <a:pt x="616" y="523"/>
                  </a:lnTo>
                  <a:lnTo>
                    <a:pt x="616" y="525"/>
                  </a:lnTo>
                  <a:lnTo>
                    <a:pt x="614" y="529"/>
                  </a:lnTo>
                  <a:lnTo>
                    <a:pt x="612" y="529"/>
                  </a:lnTo>
                  <a:lnTo>
                    <a:pt x="612" y="533"/>
                  </a:lnTo>
                  <a:lnTo>
                    <a:pt x="612" y="533"/>
                  </a:lnTo>
                  <a:lnTo>
                    <a:pt x="614" y="533"/>
                  </a:lnTo>
                  <a:lnTo>
                    <a:pt x="616" y="538"/>
                  </a:lnTo>
                  <a:lnTo>
                    <a:pt x="616" y="538"/>
                  </a:lnTo>
                  <a:lnTo>
                    <a:pt x="620" y="542"/>
                  </a:lnTo>
                  <a:lnTo>
                    <a:pt x="616" y="546"/>
                  </a:lnTo>
                  <a:lnTo>
                    <a:pt x="616" y="548"/>
                  </a:lnTo>
                  <a:lnTo>
                    <a:pt x="620" y="546"/>
                  </a:lnTo>
                  <a:lnTo>
                    <a:pt x="620" y="542"/>
                  </a:lnTo>
                  <a:lnTo>
                    <a:pt x="620" y="540"/>
                  </a:lnTo>
                  <a:lnTo>
                    <a:pt x="620" y="538"/>
                  </a:lnTo>
                  <a:lnTo>
                    <a:pt x="620" y="534"/>
                  </a:lnTo>
                  <a:lnTo>
                    <a:pt x="620" y="533"/>
                  </a:lnTo>
                  <a:lnTo>
                    <a:pt x="620" y="533"/>
                  </a:lnTo>
                  <a:lnTo>
                    <a:pt x="621" y="534"/>
                  </a:lnTo>
                  <a:lnTo>
                    <a:pt x="623" y="538"/>
                  </a:lnTo>
                  <a:lnTo>
                    <a:pt x="625" y="538"/>
                  </a:lnTo>
                  <a:lnTo>
                    <a:pt x="627" y="542"/>
                  </a:lnTo>
                  <a:lnTo>
                    <a:pt x="629" y="540"/>
                  </a:lnTo>
                  <a:lnTo>
                    <a:pt x="629" y="540"/>
                  </a:lnTo>
                  <a:lnTo>
                    <a:pt x="631" y="542"/>
                  </a:lnTo>
                  <a:lnTo>
                    <a:pt x="633" y="540"/>
                  </a:lnTo>
                  <a:lnTo>
                    <a:pt x="635" y="538"/>
                  </a:lnTo>
                  <a:lnTo>
                    <a:pt x="638" y="540"/>
                  </a:lnTo>
                  <a:lnTo>
                    <a:pt x="638" y="542"/>
                  </a:lnTo>
                  <a:lnTo>
                    <a:pt x="638" y="544"/>
                  </a:lnTo>
                  <a:lnTo>
                    <a:pt x="637" y="548"/>
                  </a:lnTo>
                  <a:lnTo>
                    <a:pt x="635" y="551"/>
                  </a:lnTo>
                  <a:lnTo>
                    <a:pt x="635" y="555"/>
                  </a:lnTo>
                  <a:lnTo>
                    <a:pt x="635" y="559"/>
                  </a:lnTo>
                  <a:lnTo>
                    <a:pt x="633" y="559"/>
                  </a:lnTo>
                  <a:lnTo>
                    <a:pt x="629" y="559"/>
                  </a:lnTo>
                  <a:lnTo>
                    <a:pt x="625" y="559"/>
                  </a:lnTo>
                  <a:lnTo>
                    <a:pt x="623" y="559"/>
                  </a:lnTo>
                  <a:lnTo>
                    <a:pt x="621" y="559"/>
                  </a:lnTo>
                  <a:lnTo>
                    <a:pt x="620" y="559"/>
                  </a:lnTo>
                  <a:lnTo>
                    <a:pt x="616" y="559"/>
                  </a:lnTo>
                  <a:lnTo>
                    <a:pt x="616" y="563"/>
                  </a:lnTo>
                  <a:lnTo>
                    <a:pt x="616" y="563"/>
                  </a:lnTo>
                  <a:lnTo>
                    <a:pt x="614" y="563"/>
                  </a:lnTo>
                  <a:lnTo>
                    <a:pt x="612" y="563"/>
                  </a:lnTo>
                  <a:lnTo>
                    <a:pt x="610" y="568"/>
                  </a:lnTo>
                  <a:lnTo>
                    <a:pt x="610" y="568"/>
                  </a:lnTo>
                  <a:lnTo>
                    <a:pt x="608" y="568"/>
                  </a:lnTo>
                  <a:lnTo>
                    <a:pt x="606" y="568"/>
                  </a:lnTo>
                  <a:lnTo>
                    <a:pt x="603" y="567"/>
                  </a:lnTo>
                  <a:lnTo>
                    <a:pt x="597" y="563"/>
                  </a:lnTo>
                  <a:lnTo>
                    <a:pt x="595" y="559"/>
                  </a:lnTo>
                  <a:lnTo>
                    <a:pt x="588" y="553"/>
                  </a:lnTo>
                  <a:lnTo>
                    <a:pt x="588" y="550"/>
                  </a:lnTo>
                  <a:lnTo>
                    <a:pt x="588" y="548"/>
                  </a:lnTo>
                  <a:lnTo>
                    <a:pt x="588" y="548"/>
                  </a:lnTo>
                  <a:lnTo>
                    <a:pt x="589" y="548"/>
                  </a:lnTo>
                  <a:lnTo>
                    <a:pt x="591" y="548"/>
                  </a:lnTo>
                  <a:lnTo>
                    <a:pt x="591" y="550"/>
                  </a:lnTo>
                  <a:lnTo>
                    <a:pt x="597" y="551"/>
                  </a:lnTo>
                  <a:lnTo>
                    <a:pt x="601" y="555"/>
                  </a:lnTo>
                  <a:lnTo>
                    <a:pt x="603" y="555"/>
                  </a:lnTo>
                  <a:lnTo>
                    <a:pt x="608" y="553"/>
                  </a:lnTo>
                  <a:lnTo>
                    <a:pt x="608" y="551"/>
                  </a:lnTo>
                  <a:lnTo>
                    <a:pt x="606" y="551"/>
                  </a:lnTo>
                  <a:lnTo>
                    <a:pt x="605" y="551"/>
                  </a:lnTo>
                  <a:lnTo>
                    <a:pt x="603" y="551"/>
                  </a:lnTo>
                  <a:lnTo>
                    <a:pt x="601" y="551"/>
                  </a:lnTo>
                  <a:lnTo>
                    <a:pt x="595" y="548"/>
                  </a:lnTo>
                  <a:lnTo>
                    <a:pt x="589" y="544"/>
                  </a:lnTo>
                  <a:lnTo>
                    <a:pt x="588" y="544"/>
                  </a:lnTo>
                  <a:lnTo>
                    <a:pt x="588" y="542"/>
                  </a:lnTo>
                  <a:lnTo>
                    <a:pt x="588" y="540"/>
                  </a:lnTo>
                  <a:lnTo>
                    <a:pt x="586" y="540"/>
                  </a:lnTo>
                  <a:lnTo>
                    <a:pt x="584" y="540"/>
                  </a:lnTo>
                  <a:lnTo>
                    <a:pt x="582" y="542"/>
                  </a:lnTo>
                  <a:lnTo>
                    <a:pt x="582" y="546"/>
                  </a:lnTo>
                  <a:lnTo>
                    <a:pt x="582" y="551"/>
                  </a:lnTo>
                  <a:lnTo>
                    <a:pt x="582" y="553"/>
                  </a:lnTo>
                  <a:lnTo>
                    <a:pt x="580" y="555"/>
                  </a:lnTo>
                  <a:lnTo>
                    <a:pt x="580" y="555"/>
                  </a:lnTo>
                  <a:lnTo>
                    <a:pt x="573" y="548"/>
                  </a:lnTo>
                  <a:lnTo>
                    <a:pt x="571" y="540"/>
                  </a:lnTo>
                  <a:lnTo>
                    <a:pt x="571" y="538"/>
                  </a:lnTo>
                  <a:lnTo>
                    <a:pt x="567" y="538"/>
                  </a:lnTo>
                  <a:lnTo>
                    <a:pt x="567" y="534"/>
                  </a:lnTo>
                  <a:lnTo>
                    <a:pt x="567" y="534"/>
                  </a:lnTo>
                  <a:lnTo>
                    <a:pt x="567" y="538"/>
                  </a:lnTo>
                  <a:lnTo>
                    <a:pt x="567" y="538"/>
                  </a:lnTo>
                  <a:lnTo>
                    <a:pt x="567" y="540"/>
                  </a:lnTo>
                  <a:lnTo>
                    <a:pt x="571" y="548"/>
                  </a:lnTo>
                  <a:lnTo>
                    <a:pt x="573" y="550"/>
                  </a:lnTo>
                  <a:lnTo>
                    <a:pt x="574" y="551"/>
                  </a:lnTo>
                  <a:lnTo>
                    <a:pt x="574" y="553"/>
                  </a:lnTo>
                  <a:lnTo>
                    <a:pt x="574" y="555"/>
                  </a:lnTo>
                  <a:lnTo>
                    <a:pt x="573" y="555"/>
                  </a:lnTo>
                  <a:lnTo>
                    <a:pt x="571" y="557"/>
                  </a:lnTo>
                  <a:lnTo>
                    <a:pt x="567" y="559"/>
                  </a:lnTo>
                  <a:lnTo>
                    <a:pt x="567" y="559"/>
                  </a:lnTo>
                  <a:lnTo>
                    <a:pt x="565" y="559"/>
                  </a:lnTo>
                  <a:lnTo>
                    <a:pt x="563" y="563"/>
                  </a:lnTo>
                  <a:lnTo>
                    <a:pt x="557" y="563"/>
                  </a:lnTo>
                  <a:lnTo>
                    <a:pt x="556" y="563"/>
                  </a:lnTo>
                  <a:lnTo>
                    <a:pt x="554" y="559"/>
                  </a:lnTo>
                  <a:lnTo>
                    <a:pt x="552" y="559"/>
                  </a:lnTo>
                  <a:lnTo>
                    <a:pt x="550" y="559"/>
                  </a:lnTo>
                  <a:lnTo>
                    <a:pt x="550" y="559"/>
                  </a:lnTo>
                  <a:lnTo>
                    <a:pt x="546" y="555"/>
                  </a:lnTo>
                  <a:lnTo>
                    <a:pt x="542" y="553"/>
                  </a:lnTo>
                  <a:lnTo>
                    <a:pt x="542" y="551"/>
                  </a:lnTo>
                  <a:lnTo>
                    <a:pt x="542" y="550"/>
                  </a:lnTo>
                  <a:lnTo>
                    <a:pt x="542" y="550"/>
                  </a:lnTo>
                  <a:lnTo>
                    <a:pt x="542" y="550"/>
                  </a:lnTo>
                  <a:lnTo>
                    <a:pt x="542" y="553"/>
                  </a:lnTo>
                  <a:lnTo>
                    <a:pt x="542" y="555"/>
                  </a:lnTo>
                  <a:lnTo>
                    <a:pt x="546" y="557"/>
                  </a:lnTo>
                  <a:lnTo>
                    <a:pt x="548" y="559"/>
                  </a:lnTo>
                  <a:lnTo>
                    <a:pt x="550" y="563"/>
                  </a:lnTo>
                  <a:lnTo>
                    <a:pt x="550" y="563"/>
                  </a:lnTo>
                  <a:lnTo>
                    <a:pt x="548" y="567"/>
                  </a:lnTo>
                  <a:lnTo>
                    <a:pt x="542" y="567"/>
                  </a:lnTo>
                  <a:lnTo>
                    <a:pt x="539" y="563"/>
                  </a:lnTo>
                  <a:lnTo>
                    <a:pt x="537" y="567"/>
                  </a:lnTo>
                  <a:lnTo>
                    <a:pt x="533" y="568"/>
                  </a:lnTo>
                  <a:lnTo>
                    <a:pt x="533" y="568"/>
                  </a:lnTo>
                  <a:lnTo>
                    <a:pt x="537" y="568"/>
                  </a:lnTo>
                  <a:lnTo>
                    <a:pt x="539" y="572"/>
                  </a:lnTo>
                  <a:lnTo>
                    <a:pt x="539" y="572"/>
                  </a:lnTo>
                  <a:lnTo>
                    <a:pt x="539" y="568"/>
                  </a:lnTo>
                  <a:lnTo>
                    <a:pt x="539" y="568"/>
                  </a:lnTo>
                  <a:lnTo>
                    <a:pt x="542" y="568"/>
                  </a:lnTo>
                  <a:lnTo>
                    <a:pt x="542" y="568"/>
                  </a:lnTo>
                  <a:lnTo>
                    <a:pt x="546" y="568"/>
                  </a:lnTo>
                  <a:lnTo>
                    <a:pt x="546" y="568"/>
                  </a:lnTo>
                  <a:lnTo>
                    <a:pt x="548" y="568"/>
                  </a:lnTo>
                  <a:lnTo>
                    <a:pt x="550" y="568"/>
                  </a:lnTo>
                  <a:lnTo>
                    <a:pt x="552" y="567"/>
                  </a:lnTo>
                  <a:lnTo>
                    <a:pt x="554" y="567"/>
                  </a:lnTo>
                  <a:lnTo>
                    <a:pt x="557" y="567"/>
                  </a:lnTo>
                  <a:lnTo>
                    <a:pt x="561" y="567"/>
                  </a:lnTo>
                  <a:lnTo>
                    <a:pt x="563" y="568"/>
                  </a:lnTo>
                  <a:lnTo>
                    <a:pt x="565" y="568"/>
                  </a:lnTo>
                  <a:lnTo>
                    <a:pt x="567" y="568"/>
                  </a:lnTo>
                  <a:lnTo>
                    <a:pt x="571" y="572"/>
                  </a:lnTo>
                  <a:lnTo>
                    <a:pt x="571" y="572"/>
                  </a:lnTo>
                  <a:lnTo>
                    <a:pt x="571" y="574"/>
                  </a:lnTo>
                  <a:lnTo>
                    <a:pt x="571" y="576"/>
                  </a:lnTo>
                  <a:lnTo>
                    <a:pt x="567" y="578"/>
                  </a:lnTo>
                  <a:lnTo>
                    <a:pt x="565" y="578"/>
                  </a:lnTo>
                  <a:lnTo>
                    <a:pt x="561" y="578"/>
                  </a:lnTo>
                  <a:lnTo>
                    <a:pt x="557" y="582"/>
                  </a:lnTo>
                  <a:lnTo>
                    <a:pt x="556" y="582"/>
                  </a:lnTo>
                  <a:lnTo>
                    <a:pt x="554" y="582"/>
                  </a:lnTo>
                  <a:lnTo>
                    <a:pt x="550" y="578"/>
                  </a:lnTo>
                  <a:lnTo>
                    <a:pt x="548" y="576"/>
                  </a:lnTo>
                  <a:lnTo>
                    <a:pt x="546" y="578"/>
                  </a:lnTo>
                  <a:lnTo>
                    <a:pt x="546" y="578"/>
                  </a:lnTo>
                  <a:lnTo>
                    <a:pt x="542" y="580"/>
                  </a:lnTo>
                  <a:lnTo>
                    <a:pt x="542" y="578"/>
                  </a:lnTo>
                  <a:lnTo>
                    <a:pt x="539" y="578"/>
                  </a:lnTo>
                  <a:lnTo>
                    <a:pt x="539" y="580"/>
                  </a:lnTo>
                  <a:lnTo>
                    <a:pt x="542" y="580"/>
                  </a:lnTo>
                  <a:lnTo>
                    <a:pt x="546" y="580"/>
                  </a:lnTo>
                  <a:lnTo>
                    <a:pt x="546" y="580"/>
                  </a:lnTo>
                  <a:lnTo>
                    <a:pt x="548" y="580"/>
                  </a:lnTo>
                  <a:lnTo>
                    <a:pt x="550" y="582"/>
                  </a:lnTo>
                  <a:lnTo>
                    <a:pt x="548" y="583"/>
                  </a:lnTo>
                  <a:lnTo>
                    <a:pt x="546" y="583"/>
                  </a:lnTo>
                  <a:lnTo>
                    <a:pt x="542" y="585"/>
                  </a:lnTo>
                  <a:lnTo>
                    <a:pt x="542" y="587"/>
                  </a:lnTo>
                  <a:lnTo>
                    <a:pt x="542" y="587"/>
                  </a:lnTo>
                  <a:lnTo>
                    <a:pt x="546" y="585"/>
                  </a:lnTo>
                  <a:lnTo>
                    <a:pt x="548" y="585"/>
                  </a:lnTo>
                  <a:lnTo>
                    <a:pt x="550" y="585"/>
                  </a:lnTo>
                  <a:lnTo>
                    <a:pt x="552" y="585"/>
                  </a:lnTo>
                  <a:lnTo>
                    <a:pt x="552" y="589"/>
                  </a:lnTo>
                  <a:lnTo>
                    <a:pt x="552" y="589"/>
                  </a:lnTo>
                  <a:lnTo>
                    <a:pt x="554" y="585"/>
                  </a:lnTo>
                  <a:lnTo>
                    <a:pt x="557" y="585"/>
                  </a:lnTo>
                  <a:lnTo>
                    <a:pt x="557" y="585"/>
                  </a:lnTo>
                  <a:lnTo>
                    <a:pt x="561" y="582"/>
                  </a:lnTo>
                  <a:lnTo>
                    <a:pt x="563" y="582"/>
                  </a:lnTo>
                  <a:lnTo>
                    <a:pt x="565" y="583"/>
                  </a:lnTo>
                  <a:lnTo>
                    <a:pt x="571" y="587"/>
                  </a:lnTo>
                  <a:lnTo>
                    <a:pt x="571" y="587"/>
                  </a:lnTo>
                  <a:lnTo>
                    <a:pt x="571" y="587"/>
                  </a:lnTo>
                  <a:lnTo>
                    <a:pt x="571" y="589"/>
                  </a:lnTo>
                  <a:lnTo>
                    <a:pt x="571" y="597"/>
                  </a:lnTo>
                  <a:lnTo>
                    <a:pt x="571" y="597"/>
                  </a:lnTo>
                  <a:lnTo>
                    <a:pt x="567" y="597"/>
                  </a:lnTo>
                  <a:lnTo>
                    <a:pt x="563" y="597"/>
                  </a:lnTo>
                  <a:lnTo>
                    <a:pt x="561" y="597"/>
                  </a:lnTo>
                  <a:lnTo>
                    <a:pt x="554" y="597"/>
                  </a:lnTo>
                  <a:lnTo>
                    <a:pt x="552" y="597"/>
                  </a:lnTo>
                  <a:lnTo>
                    <a:pt x="550" y="597"/>
                  </a:lnTo>
                  <a:lnTo>
                    <a:pt x="552" y="599"/>
                  </a:lnTo>
                  <a:lnTo>
                    <a:pt x="554" y="597"/>
                  </a:lnTo>
                  <a:lnTo>
                    <a:pt x="557" y="597"/>
                  </a:lnTo>
                  <a:lnTo>
                    <a:pt x="563" y="599"/>
                  </a:lnTo>
                  <a:lnTo>
                    <a:pt x="565" y="602"/>
                  </a:lnTo>
                  <a:lnTo>
                    <a:pt x="565" y="602"/>
                  </a:lnTo>
                  <a:lnTo>
                    <a:pt x="567" y="602"/>
                  </a:lnTo>
                  <a:lnTo>
                    <a:pt x="571" y="599"/>
                  </a:lnTo>
                  <a:lnTo>
                    <a:pt x="573" y="599"/>
                  </a:lnTo>
                  <a:lnTo>
                    <a:pt x="576" y="602"/>
                  </a:lnTo>
                  <a:lnTo>
                    <a:pt x="576" y="602"/>
                  </a:lnTo>
                  <a:lnTo>
                    <a:pt x="584" y="606"/>
                  </a:lnTo>
                  <a:lnTo>
                    <a:pt x="584" y="608"/>
                  </a:lnTo>
                  <a:lnTo>
                    <a:pt x="584" y="610"/>
                  </a:lnTo>
                  <a:lnTo>
                    <a:pt x="586" y="610"/>
                  </a:lnTo>
                  <a:lnTo>
                    <a:pt x="588" y="612"/>
                  </a:lnTo>
                  <a:lnTo>
                    <a:pt x="589" y="612"/>
                  </a:lnTo>
                  <a:lnTo>
                    <a:pt x="591" y="614"/>
                  </a:lnTo>
                  <a:lnTo>
                    <a:pt x="591" y="615"/>
                  </a:lnTo>
                  <a:lnTo>
                    <a:pt x="595" y="617"/>
                  </a:lnTo>
                  <a:lnTo>
                    <a:pt x="595" y="619"/>
                  </a:lnTo>
                  <a:lnTo>
                    <a:pt x="595" y="619"/>
                  </a:lnTo>
                  <a:lnTo>
                    <a:pt x="597" y="621"/>
                  </a:lnTo>
                  <a:lnTo>
                    <a:pt x="599" y="623"/>
                  </a:lnTo>
                  <a:lnTo>
                    <a:pt x="599" y="623"/>
                  </a:lnTo>
                  <a:lnTo>
                    <a:pt x="597" y="627"/>
                  </a:lnTo>
                  <a:lnTo>
                    <a:pt x="595" y="627"/>
                  </a:lnTo>
                  <a:lnTo>
                    <a:pt x="595" y="629"/>
                  </a:lnTo>
                  <a:lnTo>
                    <a:pt x="595" y="632"/>
                  </a:lnTo>
                  <a:lnTo>
                    <a:pt x="595" y="632"/>
                  </a:lnTo>
                  <a:lnTo>
                    <a:pt x="595" y="632"/>
                  </a:lnTo>
                  <a:lnTo>
                    <a:pt x="599" y="627"/>
                  </a:lnTo>
                  <a:lnTo>
                    <a:pt x="601" y="627"/>
                  </a:lnTo>
                  <a:lnTo>
                    <a:pt x="601" y="627"/>
                  </a:lnTo>
                  <a:lnTo>
                    <a:pt x="601" y="629"/>
                  </a:lnTo>
                  <a:lnTo>
                    <a:pt x="599" y="632"/>
                  </a:lnTo>
                  <a:lnTo>
                    <a:pt x="601" y="632"/>
                  </a:lnTo>
                  <a:lnTo>
                    <a:pt x="601" y="629"/>
                  </a:lnTo>
                  <a:lnTo>
                    <a:pt x="603" y="629"/>
                  </a:lnTo>
                  <a:lnTo>
                    <a:pt x="605" y="629"/>
                  </a:lnTo>
                  <a:lnTo>
                    <a:pt x="606" y="632"/>
                  </a:lnTo>
                  <a:lnTo>
                    <a:pt x="606" y="632"/>
                  </a:lnTo>
                  <a:lnTo>
                    <a:pt x="603" y="634"/>
                  </a:lnTo>
                  <a:lnTo>
                    <a:pt x="599" y="636"/>
                  </a:lnTo>
                  <a:lnTo>
                    <a:pt x="599" y="640"/>
                  </a:lnTo>
                  <a:lnTo>
                    <a:pt x="599" y="642"/>
                  </a:lnTo>
                  <a:lnTo>
                    <a:pt x="601" y="644"/>
                  </a:lnTo>
                  <a:lnTo>
                    <a:pt x="599" y="646"/>
                  </a:lnTo>
                  <a:lnTo>
                    <a:pt x="599" y="649"/>
                  </a:lnTo>
                  <a:lnTo>
                    <a:pt x="599" y="651"/>
                  </a:lnTo>
                  <a:lnTo>
                    <a:pt x="601" y="649"/>
                  </a:lnTo>
                  <a:lnTo>
                    <a:pt x="601" y="646"/>
                  </a:lnTo>
                  <a:lnTo>
                    <a:pt x="605" y="640"/>
                  </a:lnTo>
                  <a:lnTo>
                    <a:pt x="606" y="640"/>
                  </a:lnTo>
                  <a:lnTo>
                    <a:pt x="608" y="640"/>
                  </a:lnTo>
                  <a:lnTo>
                    <a:pt x="608" y="640"/>
                  </a:lnTo>
                  <a:lnTo>
                    <a:pt x="606" y="644"/>
                  </a:lnTo>
                  <a:lnTo>
                    <a:pt x="605" y="648"/>
                  </a:lnTo>
                  <a:lnTo>
                    <a:pt x="606" y="649"/>
                  </a:lnTo>
                  <a:lnTo>
                    <a:pt x="608" y="648"/>
                  </a:lnTo>
                  <a:lnTo>
                    <a:pt x="608" y="649"/>
                  </a:lnTo>
                  <a:lnTo>
                    <a:pt x="608" y="653"/>
                  </a:lnTo>
                  <a:lnTo>
                    <a:pt x="606" y="653"/>
                  </a:lnTo>
                  <a:lnTo>
                    <a:pt x="603" y="653"/>
                  </a:lnTo>
                  <a:lnTo>
                    <a:pt x="603" y="657"/>
                  </a:lnTo>
                  <a:lnTo>
                    <a:pt x="603" y="657"/>
                  </a:lnTo>
                  <a:lnTo>
                    <a:pt x="606" y="657"/>
                  </a:lnTo>
                  <a:lnTo>
                    <a:pt x="608" y="657"/>
                  </a:lnTo>
                  <a:lnTo>
                    <a:pt x="606" y="661"/>
                  </a:lnTo>
                  <a:lnTo>
                    <a:pt x="606" y="661"/>
                  </a:lnTo>
                  <a:lnTo>
                    <a:pt x="608" y="661"/>
                  </a:lnTo>
                  <a:lnTo>
                    <a:pt x="608" y="663"/>
                  </a:lnTo>
                  <a:lnTo>
                    <a:pt x="608" y="666"/>
                  </a:lnTo>
                  <a:lnTo>
                    <a:pt x="608" y="668"/>
                  </a:lnTo>
                  <a:lnTo>
                    <a:pt x="606" y="670"/>
                  </a:lnTo>
                  <a:lnTo>
                    <a:pt x="606" y="676"/>
                  </a:lnTo>
                  <a:lnTo>
                    <a:pt x="606" y="678"/>
                  </a:lnTo>
                  <a:lnTo>
                    <a:pt x="606" y="681"/>
                  </a:lnTo>
                  <a:lnTo>
                    <a:pt x="605" y="683"/>
                  </a:lnTo>
                  <a:lnTo>
                    <a:pt x="603" y="683"/>
                  </a:lnTo>
                  <a:lnTo>
                    <a:pt x="603" y="683"/>
                  </a:lnTo>
                  <a:lnTo>
                    <a:pt x="601" y="681"/>
                  </a:lnTo>
                  <a:lnTo>
                    <a:pt x="603" y="678"/>
                  </a:lnTo>
                  <a:lnTo>
                    <a:pt x="601" y="678"/>
                  </a:lnTo>
                  <a:lnTo>
                    <a:pt x="599" y="678"/>
                  </a:lnTo>
                  <a:lnTo>
                    <a:pt x="597" y="678"/>
                  </a:lnTo>
                  <a:lnTo>
                    <a:pt x="595" y="678"/>
                  </a:lnTo>
                  <a:lnTo>
                    <a:pt x="595" y="678"/>
                  </a:lnTo>
                  <a:lnTo>
                    <a:pt x="595" y="676"/>
                  </a:lnTo>
                  <a:lnTo>
                    <a:pt x="595" y="672"/>
                  </a:lnTo>
                  <a:lnTo>
                    <a:pt x="595" y="670"/>
                  </a:lnTo>
                  <a:lnTo>
                    <a:pt x="595" y="666"/>
                  </a:lnTo>
                  <a:lnTo>
                    <a:pt x="595" y="663"/>
                  </a:lnTo>
                  <a:lnTo>
                    <a:pt x="595" y="663"/>
                  </a:lnTo>
                  <a:lnTo>
                    <a:pt x="595" y="663"/>
                  </a:lnTo>
                  <a:lnTo>
                    <a:pt x="591" y="666"/>
                  </a:lnTo>
                  <a:lnTo>
                    <a:pt x="591" y="668"/>
                  </a:lnTo>
                  <a:lnTo>
                    <a:pt x="591" y="672"/>
                  </a:lnTo>
                  <a:lnTo>
                    <a:pt x="591" y="678"/>
                  </a:lnTo>
                  <a:lnTo>
                    <a:pt x="591" y="678"/>
                  </a:lnTo>
                  <a:lnTo>
                    <a:pt x="591" y="678"/>
                  </a:lnTo>
                  <a:lnTo>
                    <a:pt x="589" y="678"/>
                  </a:lnTo>
                  <a:lnTo>
                    <a:pt x="588" y="681"/>
                  </a:lnTo>
                  <a:lnTo>
                    <a:pt x="584" y="681"/>
                  </a:lnTo>
                  <a:lnTo>
                    <a:pt x="582" y="678"/>
                  </a:lnTo>
                  <a:lnTo>
                    <a:pt x="578" y="676"/>
                  </a:lnTo>
                  <a:lnTo>
                    <a:pt x="574" y="670"/>
                  </a:lnTo>
                  <a:lnTo>
                    <a:pt x="573" y="666"/>
                  </a:lnTo>
                  <a:lnTo>
                    <a:pt x="571" y="666"/>
                  </a:lnTo>
                  <a:lnTo>
                    <a:pt x="571" y="661"/>
                  </a:lnTo>
                  <a:lnTo>
                    <a:pt x="567" y="657"/>
                  </a:lnTo>
                  <a:lnTo>
                    <a:pt x="567" y="653"/>
                  </a:lnTo>
                  <a:lnTo>
                    <a:pt x="567" y="651"/>
                  </a:lnTo>
                  <a:lnTo>
                    <a:pt x="567" y="648"/>
                  </a:lnTo>
                  <a:lnTo>
                    <a:pt x="567" y="644"/>
                  </a:lnTo>
                  <a:lnTo>
                    <a:pt x="567" y="642"/>
                  </a:lnTo>
                  <a:lnTo>
                    <a:pt x="567" y="642"/>
                  </a:lnTo>
                  <a:lnTo>
                    <a:pt x="563" y="644"/>
                  </a:lnTo>
                  <a:lnTo>
                    <a:pt x="561" y="646"/>
                  </a:lnTo>
                  <a:lnTo>
                    <a:pt x="557" y="644"/>
                  </a:lnTo>
                  <a:lnTo>
                    <a:pt x="552" y="634"/>
                  </a:lnTo>
                  <a:lnTo>
                    <a:pt x="552" y="632"/>
                  </a:lnTo>
                  <a:lnTo>
                    <a:pt x="550" y="632"/>
                  </a:lnTo>
                  <a:lnTo>
                    <a:pt x="548" y="632"/>
                  </a:lnTo>
                  <a:lnTo>
                    <a:pt x="546" y="632"/>
                  </a:lnTo>
                  <a:lnTo>
                    <a:pt x="542" y="632"/>
                  </a:lnTo>
                  <a:lnTo>
                    <a:pt x="542" y="632"/>
                  </a:lnTo>
                  <a:lnTo>
                    <a:pt x="539" y="632"/>
                  </a:lnTo>
                  <a:lnTo>
                    <a:pt x="537" y="632"/>
                  </a:lnTo>
                  <a:lnTo>
                    <a:pt x="533" y="629"/>
                  </a:lnTo>
                  <a:lnTo>
                    <a:pt x="533" y="627"/>
                  </a:lnTo>
                  <a:lnTo>
                    <a:pt x="531" y="623"/>
                  </a:lnTo>
                  <a:lnTo>
                    <a:pt x="531" y="623"/>
                  </a:lnTo>
                  <a:lnTo>
                    <a:pt x="529" y="619"/>
                  </a:lnTo>
                  <a:lnTo>
                    <a:pt x="527" y="615"/>
                  </a:lnTo>
                  <a:lnTo>
                    <a:pt x="525" y="614"/>
                  </a:lnTo>
                  <a:lnTo>
                    <a:pt x="524" y="615"/>
                  </a:lnTo>
                  <a:lnTo>
                    <a:pt x="525" y="619"/>
                  </a:lnTo>
                  <a:lnTo>
                    <a:pt x="525" y="621"/>
                  </a:lnTo>
                  <a:lnTo>
                    <a:pt x="522" y="623"/>
                  </a:lnTo>
                  <a:lnTo>
                    <a:pt x="522" y="623"/>
                  </a:lnTo>
                  <a:lnTo>
                    <a:pt x="524" y="623"/>
                  </a:lnTo>
                  <a:lnTo>
                    <a:pt x="525" y="623"/>
                  </a:lnTo>
                  <a:lnTo>
                    <a:pt x="527" y="627"/>
                  </a:lnTo>
                  <a:lnTo>
                    <a:pt x="529" y="629"/>
                  </a:lnTo>
                  <a:lnTo>
                    <a:pt x="529" y="632"/>
                  </a:lnTo>
                  <a:lnTo>
                    <a:pt x="524" y="632"/>
                  </a:lnTo>
                  <a:lnTo>
                    <a:pt x="524" y="632"/>
                  </a:lnTo>
                  <a:lnTo>
                    <a:pt x="522" y="634"/>
                  </a:lnTo>
                  <a:lnTo>
                    <a:pt x="518" y="632"/>
                  </a:lnTo>
                  <a:lnTo>
                    <a:pt x="518" y="634"/>
                  </a:lnTo>
                  <a:lnTo>
                    <a:pt x="522" y="636"/>
                  </a:lnTo>
                  <a:lnTo>
                    <a:pt x="524" y="636"/>
                  </a:lnTo>
                  <a:lnTo>
                    <a:pt x="527" y="632"/>
                  </a:lnTo>
                  <a:lnTo>
                    <a:pt x="529" y="632"/>
                  </a:lnTo>
                  <a:lnTo>
                    <a:pt x="533" y="632"/>
                  </a:lnTo>
                  <a:lnTo>
                    <a:pt x="533" y="632"/>
                  </a:lnTo>
                  <a:lnTo>
                    <a:pt x="533" y="634"/>
                  </a:lnTo>
                  <a:lnTo>
                    <a:pt x="533" y="636"/>
                  </a:lnTo>
                  <a:lnTo>
                    <a:pt x="539" y="634"/>
                  </a:lnTo>
                  <a:lnTo>
                    <a:pt x="539" y="634"/>
                  </a:lnTo>
                  <a:lnTo>
                    <a:pt x="548" y="638"/>
                  </a:lnTo>
                  <a:lnTo>
                    <a:pt x="552" y="640"/>
                  </a:lnTo>
                  <a:lnTo>
                    <a:pt x="554" y="640"/>
                  </a:lnTo>
                  <a:lnTo>
                    <a:pt x="554" y="642"/>
                  </a:lnTo>
                  <a:lnTo>
                    <a:pt x="556" y="646"/>
                  </a:lnTo>
                  <a:lnTo>
                    <a:pt x="554" y="649"/>
                  </a:lnTo>
                  <a:lnTo>
                    <a:pt x="552" y="651"/>
                  </a:lnTo>
                  <a:lnTo>
                    <a:pt x="550" y="653"/>
                  </a:lnTo>
                  <a:lnTo>
                    <a:pt x="548" y="653"/>
                  </a:lnTo>
                  <a:lnTo>
                    <a:pt x="546" y="653"/>
                  </a:lnTo>
                  <a:lnTo>
                    <a:pt x="537" y="657"/>
                  </a:lnTo>
                  <a:lnTo>
                    <a:pt x="531" y="657"/>
                  </a:lnTo>
                  <a:lnTo>
                    <a:pt x="529" y="661"/>
                  </a:lnTo>
                  <a:lnTo>
                    <a:pt x="525" y="657"/>
                  </a:lnTo>
                  <a:lnTo>
                    <a:pt x="524" y="653"/>
                  </a:lnTo>
                  <a:lnTo>
                    <a:pt x="524" y="653"/>
                  </a:lnTo>
                  <a:lnTo>
                    <a:pt x="524" y="651"/>
                  </a:lnTo>
                  <a:lnTo>
                    <a:pt x="522" y="649"/>
                  </a:lnTo>
                  <a:lnTo>
                    <a:pt x="522" y="653"/>
                  </a:lnTo>
                  <a:lnTo>
                    <a:pt x="522" y="653"/>
                  </a:lnTo>
                  <a:lnTo>
                    <a:pt x="522" y="657"/>
                  </a:lnTo>
                  <a:lnTo>
                    <a:pt x="522" y="657"/>
                  </a:lnTo>
                  <a:lnTo>
                    <a:pt x="518" y="657"/>
                  </a:lnTo>
                  <a:lnTo>
                    <a:pt x="518" y="657"/>
                  </a:lnTo>
                  <a:lnTo>
                    <a:pt x="518" y="657"/>
                  </a:lnTo>
                  <a:lnTo>
                    <a:pt x="514" y="657"/>
                  </a:lnTo>
                  <a:lnTo>
                    <a:pt x="514" y="657"/>
                  </a:lnTo>
                  <a:lnTo>
                    <a:pt x="518" y="661"/>
                  </a:lnTo>
                  <a:lnTo>
                    <a:pt x="522" y="661"/>
                  </a:lnTo>
                  <a:lnTo>
                    <a:pt x="522" y="663"/>
                  </a:lnTo>
                  <a:lnTo>
                    <a:pt x="518" y="666"/>
                  </a:lnTo>
                  <a:lnTo>
                    <a:pt x="518" y="666"/>
                  </a:lnTo>
                  <a:lnTo>
                    <a:pt x="514" y="666"/>
                  </a:lnTo>
                  <a:lnTo>
                    <a:pt x="512" y="666"/>
                  </a:lnTo>
                  <a:lnTo>
                    <a:pt x="512" y="670"/>
                  </a:lnTo>
                  <a:lnTo>
                    <a:pt x="512" y="672"/>
                  </a:lnTo>
                  <a:lnTo>
                    <a:pt x="507" y="674"/>
                  </a:lnTo>
                  <a:lnTo>
                    <a:pt x="503" y="674"/>
                  </a:lnTo>
                  <a:lnTo>
                    <a:pt x="501" y="674"/>
                  </a:lnTo>
                  <a:lnTo>
                    <a:pt x="497" y="676"/>
                  </a:lnTo>
                  <a:lnTo>
                    <a:pt x="497" y="678"/>
                  </a:lnTo>
                  <a:lnTo>
                    <a:pt x="497" y="678"/>
                  </a:lnTo>
                  <a:lnTo>
                    <a:pt x="503" y="678"/>
                  </a:lnTo>
                  <a:lnTo>
                    <a:pt x="507" y="678"/>
                  </a:lnTo>
                  <a:lnTo>
                    <a:pt x="509" y="676"/>
                  </a:lnTo>
                  <a:lnTo>
                    <a:pt x="512" y="676"/>
                  </a:lnTo>
                  <a:lnTo>
                    <a:pt x="512" y="678"/>
                  </a:lnTo>
                  <a:lnTo>
                    <a:pt x="518" y="678"/>
                  </a:lnTo>
                  <a:lnTo>
                    <a:pt x="522" y="678"/>
                  </a:lnTo>
                  <a:lnTo>
                    <a:pt x="524" y="678"/>
                  </a:lnTo>
                  <a:lnTo>
                    <a:pt x="529" y="678"/>
                  </a:lnTo>
                  <a:lnTo>
                    <a:pt x="531" y="678"/>
                  </a:lnTo>
                  <a:lnTo>
                    <a:pt x="533" y="678"/>
                  </a:lnTo>
                  <a:lnTo>
                    <a:pt x="537" y="678"/>
                  </a:lnTo>
                  <a:lnTo>
                    <a:pt x="539" y="678"/>
                  </a:lnTo>
                  <a:lnTo>
                    <a:pt x="539" y="678"/>
                  </a:lnTo>
                  <a:lnTo>
                    <a:pt x="539" y="681"/>
                  </a:lnTo>
                  <a:lnTo>
                    <a:pt x="539" y="683"/>
                  </a:lnTo>
                  <a:lnTo>
                    <a:pt x="537" y="685"/>
                  </a:lnTo>
                  <a:lnTo>
                    <a:pt x="533" y="683"/>
                  </a:lnTo>
                  <a:lnTo>
                    <a:pt x="529" y="683"/>
                  </a:lnTo>
                  <a:lnTo>
                    <a:pt x="527" y="687"/>
                  </a:lnTo>
                  <a:lnTo>
                    <a:pt x="522" y="687"/>
                  </a:lnTo>
                  <a:lnTo>
                    <a:pt x="518" y="687"/>
                  </a:lnTo>
                  <a:lnTo>
                    <a:pt x="518" y="687"/>
                  </a:lnTo>
                  <a:lnTo>
                    <a:pt x="514" y="687"/>
                  </a:lnTo>
                  <a:lnTo>
                    <a:pt x="512" y="687"/>
                  </a:lnTo>
                  <a:lnTo>
                    <a:pt x="509" y="687"/>
                  </a:lnTo>
                  <a:lnTo>
                    <a:pt x="512" y="691"/>
                  </a:lnTo>
                  <a:lnTo>
                    <a:pt x="512" y="687"/>
                  </a:lnTo>
                  <a:lnTo>
                    <a:pt x="514" y="691"/>
                  </a:lnTo>
                  <a:lnTo>
                    <a:pt x="522" y="691"/>
                  </a:lnTo>
                  <a:lnTo>
                    <a:pt x="524" y="691"/>
                  </a:lnTo>
                  <a:lnTo>
                    <a:pt x="524" y="693"/>
                  </a:lnTo>
                  <a:lnTo>
                    <a:pt x="525" y="691"/>
                  </a:lnTo>
                  <a:lnTo>
                    <a:pt x="531" y="687"/>
                  </a:lnTo>
                  <a:lnTo>
                    <a:pt x="531" y="687"/>
                  </a:lnTo>
                  <a:lnTo>
                    <a:pt x="533" y="687"/>
                  </a:lnTo>
                  <a:lnTo>
                    <a:pt x="533" y="687"/>
                  </a:lnTo>
                  <a:lnTo>
                    <a:pt x="537" y="687"/>
                  </a:lnTo>
                  <a:lnTo>
                    <a:pt x="539" y="687"/>
                  </a:lnTo>
                  <a:lnTo>
                    <a:pt x="539" y="687"/>
                  </a:lnTo>
                  <a:lnTo>
                    <a:pt x="542" y="687"/>
                  </a:lnTo>
                  <a:lnTo>
                    <a:pt x="546" y="687"/>
                  </a:lnTo>
                  <a:lnTo>
                    <a:pt x="548" y="687"/>
                  </a:lnTo>
                  <a:lnTo>
                    <a:pt x="554" y="681"/>
                  </a:lnTo>
                  <a:lnTo>
                    <a:pt x="556" y="678"/>
                  </a:lnTo>
                  <a:lnTo>
                    <a:pt x="556" y="681"/>
                  </a:lnTo>
                  <a:lnTo>
                    <a:pt x="556" y="683"/>
                  </a:lnTo>
                  <a:lnTo>
                    <a:pt x="556" y="683"/>
                  </a:lnTo>
                  <a:lnTo>
                    <a:pt x="557" y="681"/>
                  </a:lnTo>
                  <a:lnTo>
                    <a:pt x="557" y="681"/>
                  </a:lnTo>
                  <a:lnTo>
                    <a:pt x="561" y="683"/>
                  </a:lnTo>
                  <a:lnTo>
                    <a:pt x="567" y="687"/>
                  </a:lnTo>
                  <a:lnTo>
                    <a:pt x="571" y="687"/>
                  </a:lnTo>
                  <a:lnTo>
                    <a:pt x="574" y="691"/>
                  </a:lnTo>
                  <a:lnTo>
                    <a:pt x="578" y="691"/>
                  </a:lnTo>
                  <a:lnTo>
                    <a:pt x="582" y="691"/>
                  </a:lnTo>
                  <a:lnTo>
                    <a:pt x="588" y="691"/>
                  </a:lnTo>
                  <a:lnTo>
                    <a:pt x="589" y="691"/>
                  </a:lnTo>
                  <a:lnTo>
                    <a:pt x="591" y="691"/>
                  </a:lnTo>
                  <a:lnTo>
                    <a:pt x="597" y="691"/>
                  </a:lnTo>
                  <a:lnTo>
                    <a:pt x="597" y="691"/>
                  </a:lnTo>
                  <a:lnTo>
                    <a:pt x="595" y="696"/>
                  </a:lnTo>
                  <a:lnTo>
                    <a:pt x="591" y="696"/>
                  </a:lnTo>
                  <a:lnTo>
                    <a:pt x="588" y="696"/>
                  </a:lnTo>
                  <a:lnTo>
                    <a:pt x="588" y="696"/>
                  </a:lnTo>
                  <a:lnTo>
                    <a:pt x="584" y="698"/>
                  </a:lnTo>
                  <a:lnTo>
                    <a:pt x="584" y="700"/>
                  </a:lnTo>
                  <a:lnTo>
                    <a:pt x="586" y="702"/>
                  </a:lnTo>
                  <a:lnTo>
                    <a:pt x="586" y="704"/>
                  </a:lnTo>
                  <a:lnTo>
                    <a:pt x="586" y="704"/>
                  </a:lnTo>
                  <a:lnTo>
                    <a:pt x="584" y="704"/>
                  </a:lnTo>
                  <a:lnTo>
                    <a:pt x="582" y="702"/>
                  </a:lnTo>
                  <a:lnTo>
                    <a:pt x="580" y="702"/>
                  </a:lnTo>
                  <a:lnTo>
                    <a:pt x="578" y="704"/>
                  </a:lnTo>
                  <a:lnTo>
                    <a:pt x="578" y="706"/>
                  </a:lnTo>
                  <a:lnTo>
                    <a:pt x="576" y="704"/>
                  </a:lnTo>
                  <a:lnTo>
                    <a:pt x="573" y="704"/>
                  </a:lnTo>
                  <a:lnTo>
                    <a:pt x="573" y="706"/>
                  </a:lnTo>
                  <a:lnTo>
                    <a:pt x="573" y="708"/>
                  </a:lnTo>
                  <a:lnTo>
                    <a:pt x="574" y="708"/>
                  </a:lnTo>
                  <a:lnTo>
                    <a:pt x="574" y="710"/>
                  </a:lnTo>
                  <a:lnTo>
                    <a:pt x="573" y="712"/>
                  </a:lnTo>
                  <a:lnTo>
                    <a:pt x="571" y="713"/>
                  </a:lnTo>
                  <a:lnTo>
                    <a:pt x="571" y="712"/>
                  </a:lnTo>
                  <a:lnTo>
                    <a:pt x="567" y="710"/>
                  </a:lnTo>
                  <a:lnTo>
                    <a:pt x="567" y="712"/>
                  </a:lnTo>
                  <a:lnTo>
                    <a:pt x="567" y="713"/>
                  </a:lnTo>
                  <a:lnTo>
                    <a:pt x="567" y="715"/>
                  </a:lnTo>
                  <a:lnTo>
                    <a:pt x="565" y="715"/>
                  </a:lnTo>
                  <a:lnTo>
                    <a:pt x="565" y="717"/>
                  </a:lnTo>
                  <a:lnTo>
                    <a:pt x="563" y="717"/>
                  </a:lnTo>
                  <a:lnTo>
                    <a:pt x="557" y="717"/>
                  </a:lnTo>
                  <a:lnTo>
                    <a:pt x="557" y="715"/>
                  </a:lnTo>
                  <a:lnTo>
                    <a:pt x="557" y="715"/>
                  </a:lnTo>
                  <a:lnTo>
                    <a:pt x="557" y="717"/>
                  </a:lnTo>
                  <a:lnTo>
                    <a:pt x="557" y="721"/>
                  </a:lnTo>
                  <a:lnTo>
                    <a:pt x="557" y="723"/>
                  </a:lnTo>
                  <a:lnTo>
                    <a:pt x="554" y="721"/>
                  </a:lnTo>
                  <a:lnTo>
                    <a:pt x="554" y="721"/>
                  </a:lnTo>
                  <a:lnTo>
                    <a:pt x="552" y="721"/>
                  </a:lnTo>
                  <a:lnTo>
                    <a:pt x="550" y="721"/>
                  </a:lnTo>
                  <a:lnTo>
                    <a:pt x="552" y="723"/>
                  </a:lnTo>
                  <a:lnTo>
                    <a:pt x="552" y="725"/>
                  </a:lnTo>
                  <a:lnTo>
                    <a:pt x="548" y="728"/>
                  </a:lnTo>
                  <a:lnTo>
                    <a:pt x="546" y="728"/>
                  </a:lnTo>
                  <a:lnTo>
                    <a:pt x="546" y="727"/>
                  </a:lnTo>
                  <a:lnTo>
                    <a:pt x="546" y="725"/>
                  </a:lnTo>
                  <a:lnTo>
                    <a:pt x="542" y="725"/>
                  </a:lnTo>
                  <a:lnTo>
                    <a:pt x="542" y="727"/>
                  </a:lnTo>
                  <a:lnTo>
                    <a:pt x="542" y="728"/>
                  </a:lnTo>
                  <a:lnTo>
                    <a:pt x="542" y="730"/>
                  </a:lnTo>
                  <a:lnTo>
                    <a:pt x="542" y="732"/>
                  </a:lnTo>
                  <a:lnTo>
                    <a:pt x="539" y="734"/>
                  </a:lnTo>
                  <a:lnTo>
                    <a:pt x="539" y="734"/>
                  </a:lnTo>
                  <a:lnTo>
                    <a:pt x="533" y="736"/>
                  </a:lnTo>
                  <a:lnTo>
                    <a:pt x="533" y="738"/>
                  </a:lnTo>
                  <a:lnTo>
                    <a:pt x="531" y="740"/>
                  </a:lnTo>
                  <a:lnTo>
                    <a:pt x="529" y="740"/>
                  </a:lnTo>
                  <a:lnTo>
                    <a:pt x="529" y="738"/>
                  </a:lnTo>
                  <a:lnTo>
                    <a:pt x="527" y="738"/>
                  </a:lnTo>
                  <a:lnTo>
                    <a:pt x="524" y="740"/>
                  </a:lnTo>
                  <a:lnTo>
                    <a:pt x="522" y="740"/>
                  </a:lnTo>
                  <a:lnTo>
                    <a:pt x="518" y="740"/>
                  </a:lnTo>
                  <a:lnTo>
                    <a:pt x="518" y="742"/>
                  </a:lnTo>
                  <a:lnTo>
                    <a:pt x="518" y="742"/>
                  </a:lnTo>
                  <a:lnTo>
                    <a:pt x="514" y="742"/>
                  </a:lnTo>
                  <a:lnTo>
                    <a:pt x="512" y="742"/>
                  </a:lnTo>
                  <a:lnTo>
                    <a:pt x="512" y="742"/>
                  </a:lnTo>
                  <a:lnTo>
                    <a:pt x="509" y="745"/>
                  </a:lnTo>
                  <a:lnTo>
                    <a:pt x="509" y="742"/>
                  </a:lnTo>
                  <a:lnTo>
                    <a:pt x="509" y="742"/>
                  </a:lnTo>
                  <a:lnTo>
                    <a:pt x="507" y="742"/>
                  </a:lnTo>
                  <a:lnTo>
                    <a:pt x="507" y="742"/>
                  </a:lnTo>
                  <a:lnTo>
                    <a:pt x="505" y="745"/>
                  </a:lnTo>
                  <a:lnTo>
                    <a:pt x="503" y="745"/>
                  </a:lnTo>
                  <a:lnTo>
                    <a:pt x="501" y="742"/>
                  </a:lnTo>
                  <a:lnTo>
                    <a:pt x="501" y="742"/>
                  </a:lnTo>
                  <a:lnTo>
                    <a:pt x="501" y="745"/>
                  </a:lnTo>
                  <a:lnTo>
                    <a:pt x="499" y="745"/>
                  </a:lnTo>
                  <a:lnTo>
                    <a:pt x="497" y="745"/>
                  </a:lnTo>
                  <a:lnTo>
                    <a:pt x="493" y="745"/>
                  </a:lnTo>
                  <a:lnTo>
                    <a:pt x="497" y="747"/>
                  </a:lnTo>
                  <a:lnTo>
                    <a:pt x="493" y="747"/>
                  </a:lnTo>
                  <a:lnTo>
                    <a:pt x="492" y="747"/>
                  </a:lnTo>
                  <a:lnTo>
                    <a:pt x="490" y="747"/>
                  </a:lnTo>
                  <a:lnTo>
                    <a:pt x="490" y="747"/>
                  </a:lnTo>
                  <a:lnTo>
                    <a:pt x="488" y="751"/>
                  </a:lnTo>
                  <a:lnTo>
                    <a:pt x="488" y="751"/>
                  </a:lnTo>
                  <a:lnTo>
                    <a:pt x="488" y="747"/>
                  </a:lnTo>
                  <a:lnTo>
                    <a:pt x="488" y="747"/>
                  </a:lnTo>
                  <a:lnTo>
                    <a:pt x="484" y="751"/>
                  </a:lnTo>
                  <a:lnTo>
                    <a:pt x="484" y="755"/>
                  </a:lnTo>
                  <a:lnTo>
                    <a:pt x="484" y="755"/>
                  </a:lnTo>
                  <a:lnTo>
                    <a:pt x="482" y="755"/>
                  </a:lnTo>
                  <a:lnTo>
                    <a:pt x="480" y="751"/>
                  </a:lnTo>
                  <a:lnTo>
                    <a:pt x="477" y="747"/>
                  </a:lnTo>
                  <a:lnTo>
                    <a:pt x="475" y="747"/>
                  </a:lnTo>
                  <a:lnTo>
                    <a:pt x="473" y="747"/>
                  </a:lnTo>
                  <a:lnTo>
                    <a:pt x="473" y="751"/>
                  </a:lnTo>
                  <a:lnTo>
                    <a:pt x="473" y="751"/>
                  </a:lnTo>
                  <a:lnTo>
                    <a:pt x="473" y="751"/>
                  </a:lnTo>
                  <a:lnTo>
                    <a:pt x="467" y="755"/>
                  </a:lnTo>
                  <a:lnTo>
                    <a:pt x="465" y="755"/>
                  </a:lnTo>
                  <a:lnTo>
                    <a:pt x="465" y="755"/>
                  </a:lnTo>
                  <a:lnTo>
                    <a:pt x="463" y="755"/>
                  </a:lnTo>
                  <a:lnTo>
                    <a:pt x="460" y="755"/>
                  </a:lnTo>
                  <a:lnTo>
                    <a:pt x="460" y="755"/>
                  </a:lnTo>
                  <a:lnTo>
                    <a:pt x="458" y="755"/>
                  </a:lnTo>
                  <a:lnTo>
                    <a:pt x="456" y="755"/>
                  </a:lnTo>
                  <a:lnTo>
                    <a:pt x="454" y="755"/>
                  </a:lnTo>
                  <a:lnTo>
                    <a:pt x="454" y="755"/>
                  </a:lnTo>
                  <a:lnTo>
                    <a:pt x="452" y="755"/>
                  </a:lnTo>
                  <a:lnTo>
                    <a:pt x="450" y="755"/>
                  </a:lnTo>
                  <a:lnTo>
                    <a:pt x="448" y="751"/>
                  </a:lnTo>
                  <a:lnTo>
                    <a:pt x="448" y="747"/>
                  </a:lnTo>
                  <a:lnTo>
                    <a:pt x="446" y="747"/>
                  </a:lnTo>
                  <a:lnTo>
                    <a:pt x="445" y="747"/>
                  </a:lnTo>
                  <a:lnTo>
                    <a:pt x="443" y="742"/>
                  </a:lnTo>
                  <a:lnTo>
                    <a:pt x="443" y="742"/>
                  </a:lnTo>
                  <a:lnTo>
                    <a:pt x="443" y="738"/>
                  </a:lnTo>
                  <a:lnTo>
                    <a:pt x="441" y="734"/>
                  </a:lnTo>
                  <a:lnTo>
                    <a:pt x="439" y="734"/>
                  </a:lnTo>
                  <a:lnTo>
                    <a:pt x="439" y="734"/>
                  </a:lnTo>
                  <a:lnTo>
                    <a:pt x="439" y="738"/>
                  </a:lnTo>
                  <a:lnTo>
                    <a:pt x="439" y="738"/>
                  </a:lnTo>
                  <a:lnTo>
                    <a:pt x="439" y="742"/>
                  </a:lnTo>
                  <a:lnTo>
                    <a:pt x="441" y="742"/>
                  </a:lnTo>
                  <a:lnTo>
                    <a:pt x="443" y="745"/>
                  </a:lnTo>
                  <a:lnTo>
                    <a:pt x="443" y="747"/>
                  </a:lnTo>
                  <a:lnTo>
                    <a:pt x="441" y="751"/>
                  </a:lnTo>
                  <a:lnTo>
                    <a:pt x="443" y="751"/>
                  </a:lnTo>
                  <a:lnTo>
                    <a:pt x="445" y="751"/>
                  </a:lnTo>
                  <a:lnTo>
                    <a:pt x="445" y="755"/>
                  </a:lnTo>
                  <a:lnTo>
                    <a:pt x="445" y="761"/>
                  </a:lnTo>
                  <a:lnTo>
                    <a:pt x="443" y="762"/>
                  </a:lnTo>
                  <a:lnTo>
                    <a:pt x="439" y="764"/>
                  </a:lnTo>
                  <a:lnTo>
                    <a:pt x="439" y="762"/>
                  </a:lnTo>
                  <a:lnTo>
                    <a:pt x="439" y="762"/>
                  </a:lnTo>
                  <a:lnTo>
                    <a:pt x="435" y="764"/>
                  </a:lnTo>
                  <a:lnTo>
                    <a:pt x="433" y="768"/>
                  </a:lnTo>
                  <a:lnTo>
                    <a:pt x="431" y="768"/>
                  </a:lnTo>
                  <a:lnTo>
                    <a:pt x="429" y="768"/>
                  </a:lnTo>
                  <a:lnTo>
                    <a:pt x="428" y="770"/>
                  </a:lnTo>
                  <a:lnTo>
                    <a:pt x="429" y="770"/>
                  </a:lnTo>
                  <a:lnTo>
                    <a:pt x="428" y="772"/>
                  </a:lnTo>
                  <a:lnTo>
                    <a:pt x="426" y="772"/>
                  </a:lnTo>
                  <a:lnTo>
                    <a:pt x="424" y="772"/>
                  </a:lnTo>
                  <a:lnTo>
                    <a:pt x="424" y="777"/>
                  </a:lnTo>
                  <a:lnTo>
                    <a:pt x="424" y="779"/>
                  </a:lnTo>
                  <a:lnTo>
                    <a:pt x="422" y="781"/>
                  </a:lnTo>
                  <a:lnTo>
                    <a:pt x="420" y="779"/>
                  </a:lnTo>
                  <a:lnTo>
                    <a:pt x="418" y="777"/>
                  </a:lnTo>
                  <a:lnTo>
                    <a:pt x="420" y="779"/>
                  </a:lnTo>
                  <a:lnTo>
                    <a:pt x="420" y="781"/>
                  </a:lnTo>
                  <a:lnTo>
                    <a:pt x="420" y="785"/>
                  </a:lnTo>
                  <a:lnTo>
                    <a:pt x="418" y="785"/>
                  </a:lnTo>
                  <a:lnTo>
                    <a:pt x="418" y="781"/>
                  </a:lnTo>
                  <a:lnTo>
                    <a:pt x="416" y="781"/>
                  </a:lnTo>
                  <a:lnTo>
                    <a:pt x="414" y="781"/>
                  </a:lnTo>
                  <a:lnTo>
                    <a:pt x="416" y="785"/>
                  </a:lnTo>
                  <a:lnTo>
                    <a:pt x="416" y="785"/>
                  </a:lnTo>
                  <a:lnTo>
                    <a:pt x="414" y="787"/>
                  </a:lnTo>
                  <a:lnTo>
                    <a:pt x="411" y="789"/>
                  </a:lnTo>
                  <a:lnTo>
                    <a:pt x="409" y="793"/>
                  </a:lnTo>
                  <a:lnTo>
                    <a:pt x="409" y="794"/>
                  </a:lnTo>
                  <a:lnTo>
                    <a:pt x="409" y="798"/>
                  </a:lnTo>
                  <a:lnTo>
                    <a:pt x="409" y="800"/>
                  </a:lnTo>
                  <a:lnTo>
                    <a:pt x="405" y="804"/>
                  </a:lnTo>
                  <a:lnTo>
                    <a:pt x="403" y="806"/>
                  </a:lnTo>
                  <a:lnTo>
                    <a:pt x="403" y="804"/>
                  </a:lnTo>
                  <a:lnTo>
                    <a:pt x="401" y="804"/>
                  </a:lnTo>
                  <a:lnTo>
                    <a:pt x="403" y="802"/>
                  </a:lnTo>
                  <a:lnTo>
                    <a:pt x="401" y="802"/>
                  </a:lnTo>
                  <a:lnTo>
                    <a:pt x="399" y="804"/>
                  </a:lnTo>
                  <a:lnTo>
                    <a:pt x="399" y="806"/>
                  </a:lnTo>
                  <a:lnTo>
                    <a:pt x="399" y="806"/>
                  </a:lnTo>
                  <a:lnTo>
                    <a:pt x="399" y="809"/>
                  </a:lnTo>
                  <a:lnTo>
                    <a:pt x="394" y="811"/>
                  </a:lnTo>
                  <a:lnTo>
                    <a:pt x="392" y="815"/>
                  </a:lnTo>
                  <a:lnTo>
                    <a:pt x="390" y="811"/>
                  </a:lnTo>
                  <a:lnTo>
                    <a:pt x="390" y="811"/>
                  </a:lnTo>
                  <a:lnTo>
                    <a:pt x="390" y="809"/>
                  </a:lnTo>
                  <a:lnTo>
                    <a:pt x="390" y="809"/>
                  </a:lnTo>
                  <a:lnTo>
                    <a:pt x="390" y="811"/>
                  </a:lnTo>
                  <a:lnTo>
                    <a:pt x="386" y="811"/>
                  </a:lnTo>
                  <a:lnTo>
                    <a:pt x="384" y="811"/>
                  </a:lnTo>
                  <a:lnTo>
                    <a:pt x="381" y="809"/>
                  </a:lnTo>
                  <a:lnTo>
                    <a:pt x="381" y="806"/>
                  </a:lnTo>
                  <a:lnTo>
                    <a:pt x="381" y="809"/>
                  </a:lnTo>
                  <a:lnTo>
                    <a:pt x="381" y="811"/>
                  </a:lnTo>
                  <a:lnTo>
                    <a:pt x="384" y="811"/>
                  </a:lnTo>
                  <a:lnTo>
                    <a:pt x="384" y="815"/>
                  </a:lnTo>
                  <a:lnTo>
                    <a:pt x="384" y="815"/>
                  </a:lnTo>
                  <a:lnTo>
                    <a:pt x="381" y="817"/>
                  </a:lnTo>
                  <a:lnTo>
                    <a:pt x="381" y="817"/>
                  </a:lnTo>
                  <a:lnTo>
                    <a:pt x="377" y="821"/>
                  </a:lnTo>
                  <a:lnTo>
                    <a:pt x="373" y="823"/>
                  </a:lnTo>
                  <a:lnTo>
                    <a:pt x="371" y="823"/>
                  </a:lnTo>
                  <a:lnTo>
                    <a:pt x="369" y="823"/>
                  </a:lnTo>
                  <a:lnTo>
                    <a:pt x="369" y="821"/>
                  </a:lnTo>
                  <a:lnTo>
                    <a:pt x="369" y="819"/>
                  </a:lnTo>
                  <a:lnTo>
                    <a:pt x="369" y="817"/>
                  </a:lnTo>
                  <a:lnTo>
                    <a:pt x="367" y="817"/>
                  </a:lnTo>
                  <a:lnTo>
                    <a:pt x="367" y="821"/>
                  </a:lnTo>
                  <a:lnTo>
                    <a:pt x="367" y="821"/>
                  </a:lnTo>
                  <a:lnTo>
                    <a:pt x="365" y="825"/>
                  </a:lnTo>
                  <a:lnTo>
                    <a:pt x="365" y="825"/>
                  </a:lnTo>
                  <a:lnTo>
                    <a:pt x="362" y="825"/>
                  </a:lnTo>
                  <a:lnTo>
                    <a:pt x="360" y="825"/>
                  </a:lnTo>
                  <a:lnTo>
                    <a:pt x="356" y="821"/>
                  </a:lnTo>
                  <a:lnTo>
                    <a:pt x="356" y="819"/>
                  </a:lnTo>
                  <a:lnTo>
                    <a:pt x="360" y="815"/>
                  </a:lnTo>
                  <a:lnTo>
                    <a:pt x="356" y="815"/>
                  </a:lnTo>
                  <a:lnTo>
                    <a:pt x="356" y="815"/>
                  </a:lnTo>
                  <a:lnTo>
                    <a:pt x="356" y="817"/>
                  </a:lnTo>
                  <a:lnTo>
                    <a:pt x="356" y="821"/>
                  </a:lnTo>
                  <a:lnTo>
                    <a:pt x="356" y="823"/>
                  </a:lnTo>
                  <a:lnTo>
                    <a:pt x="356" y="825"/>
                  </a:lnTo>
                  <a:lnTo>
                    <a:pt x="352" y="825"/>
                  </a:lnTo>
                  <a:lnTo>
                    <a:pt x="350" y="819"/>
                  </a:lnTo>
                  <a:lnTo>
                    <a:pt x="350" y="817"/>
                  </a:lnTo>
                  <a:lnTo>
                    <a:pt x="350" y="815"/>
                  </a:lnTo>
                  <a:lnTo>
                    <a:pt x="352" y="811"/>
                  </a:lnTo>
                  <a:lnTo>
                    <a:pt x="356" y="811"/>
                  </a:lnTo>
                  <a:lnTo>
                    <a:pt x="352" y="809"/>
                  </a:lnTo>
                  <a:lnTo>
                    <a:pt x="350" y="809"/>
                  </a:lnTo>
                  <a:lnTo>
                    <a:pt x="348" y="806"/>
                  </a:lnTo>
                  <a:lnTo>
                    <a:pt x="348" y="806"/>
                  </a:lnTo>
                  <a:lnTo>
                    <a:pt x="348" y="804"/>
                  </a:lnTo>
                  <a:lnTo>
                    <a:pt x="347" y="806"/>
                  </a:lnTo>
                  <a:lnTo>
                    <a:pt x="345" y="806"/>
                  </a:lnTo>
                  <a:lnTo>
                    <a:pt x="345" y="809"/>
                  </a:lnTo>
                  <a:lnTo>
                    <a:pt x="348" y="811"/>
                  </a:lnTo>
                  <a:lnTo>
                    <a:pt x="347" y="811"/>
                  </a:lnTo>
                  <a:lnTo>
                    <a:pt x="345" y="815"/>
                  </a:lnTo>
                  <a:lnTo>
                    <a:pt x="345" y="817"/>
                  </a:lnTo>
                  <a:lnTo>
                    <a:pt x="343" y="819"/>
                  </a:lnTo>
                  <a:lnTo>
                    <a:pt x="341" y="821"/>
                  </a:lnTo>
                  <a:lnTo>
                    <a:pt x="341" y="817"/>
                  </a:lnTo>
                  <a:lnTo>
                    <a:pt x="341" y="815"/>
                  </a:lnTo>
                  <a:lnTo>
                    <a:pt x="337" y="817"/>
                  </a:lnTo>
                  <a:lnTo>
                    <a:pt x="337" y="821"/>
                  </a:lnTo>
                  <a:lnTo>
                    <a:pt x="341" y="825"/>
                  </a:lnTo>
                  <a:lnTo>
                    <a:pt x="341" y="826"/>
                  </a:lnTo>
                  <a:lnTo>
                    <a:pt x="341" y="828"/>
                  </a:lnTo>
                  <a:lnTo>
                    <a:pt x="341" y="828"/>
                  </a:lnTo>
                  <a:lnTo>
                    <a:pt x="341" y="832"/>
                  </a:lnTo>
                  <a:lnTo>
                    <a:pt x="335" y="832"/>
                  </a:lnTo>
                  <a:lnTo>
                    <a:pt x="335" y="832"/>
                  </a:lnTo>
                  <a:lnTo>
                    <a:pt x="332" y="830"/>
                  </a:lnTo>
                  <a:lnTo>
                    <a:pt x="332" y="832"/>
                  </a:lnTo>
                  <a:lnTo>
                    <a:pt x="332" y="834"/>
                  </a:lnTo>
                  <a:lnTo>
                    <a:pt x="328" y="836"/>
                  </a:lnTo>
                  <a:lnTo>
                    <a:pt x="326" y="834"/>
                  </a:lnTo>
                  <a:lnTo>
                    <a:pt x="326" y="830"/>
                  </a:lnTo>
                  <a:lnTo>
                    <a:pt x="324" y="828"/>
                  </a:lnTo>
                  <a:lnTo>
                    <a:pt x="322" y="828"/>
                  </a:lnTo>
                  <a:lnTo>
                    <a:pt x="322" y="830"/>
                  </a:lnTo>
                  <a:lnTo>
                    <a:pt x="322" y="832"/>
                  </a:lnTo>
                  <a:lnTo>
                    <a:pt x="320" y="834"/>
                  </a:lnTo>
                  <a:lnTo>
                    <a:pt x="318" y="834"/>
                  </a:lnTo>
                  <a:lnTo>
                    <a:pt x="316" y="830"/>
                  </a:lnTo>
                  <a:lnTo>
                    <a:pt x="316" y="828"/>
                  </a:lnTo>
                  <a:lnTo>
                    <a:pt x="315" y="828"/>
                  </a:lnTo>
                  <a:lnTo>
                    <a:pt x="313" y="830"/>
                  </a:lnTo>
                  <a:lnTo>
                    <a:pt x="311" y="830"/>
                  </a:lnTo>
                  <a:lnTo>
                    <a:pt x="311" y="832"/>
                  </a:lnTo>
                  <a:lnTo>
                    <a:pt x="311" y="834"/>
                  </a:lnTo>
                  <a:lnTo>
                    <a:pt x="311" y="836"/>
                  </a:lnTo>
                  <a:lnTo>
                    <a:pt x="311" y="842"/>
                  </a:lnTo>
                  <a:lnTo>
                    <a:pt x="311" y="845"/>
                  </a:lnTo>
                  <a:lnTo>
                    <a:pt x="307" y="849"/>
                  </a:lnTo>
                  <a:lnTo>
                    <a:pt x="303" y="849"/>
                  </a:lnTo>
                  <a:lnTo>
                    <a:pt x="303" y="849"/>
                  </a:lnTo>
                  <a:lnTo>
                    <a:pt x="303" y="842"/>
                  </a:lnTo>
                  <a:lnTo>
                    <a:pt x="301" y="842"/>
                  </a:lnTo>
                  <a:lnTo>
                    <a:pt x="300" y="842"/>
                  </a:lnTo>
                  <a:lnTo>
                    <a:pt x="300" y="845"/>
                  </a:lnTo>
                  <a:lnTo>
                    <a:pt x="296" y="845"/>
                  </a:lnTo>
                  <a:lnTo>
                    <a:pt x="294" y="842"/>
                  </a:lnTo>
                  <a:lnTo>
                    <a:pt x="294" y="842"/>
                  </a:lnTo>
                  <a:lnTo>
                    <a:pt x="292" y="842"/>
                  </a:lnTo>
                  <a:lnTo>
                    <a:pt x="294" y="845"/>
                  </a:lnTo>
                  <a:lnTo>
                    <a:pt x="294" y="845"/>
                  </a:lnTo>
                  <a:lnTo>
                    <a:pt x="292" y="849"/>
                  </a:lnTo>
                  <a:lnTo>
                    <a:pt x="292" y="849"/>
                  </a:lnTo>
                  <a:lnTo>
                    <a:pt x="294" y="853"/>
                  </a:lnTo>
                  <a:lnTo>
                    <a:pt x="296" y="855"/>
                  </a:lnTo>
                  <a:lnTo>
                    <a:pt x="296" y="858"/>
                  </a:lnTo>
                  <a:lnTo>
                    <a:pt x="298" y="864"/>
                  </a:lnTo>
                  <a:lnTo>
                    <a:pt x="296" y="866"/>
                  </a:lnTo>
                  <a:lnTo>
                    <a:pt x="294" y="866"/>
                  </a:lnTo>
                  <a:lnTo>
                    <a:pt x="292" y="866"/>
                  </a:lnTo>
                  <a:lnTo>
                    <a:pt x="292" y="866"/>
                  </a:lnTo>
                  <a:lnTo>
                    <a:pt x="288" y="866"/>
                  </a:lnTo>
                  <a:lnTo>
                    <a:pt x="286" y="866"/>
                  </a:lnTo>
                  <a:lnTo>
                    <a:pt x="283" y="866"/>
                  </a:lnTo>
                  <a:lnTo>
                    <a:pt x="283" y="866"/>
                  </a:lnTo>
                  <a:lnTo>
                    <a:pt x="283" y="870"/>
                  </a:lnTo>
                  <a:lnTo>
                    <a:pt x="286" y="870"/>
                  </a:lnTo>
                  <a:lnTo>
                    <a:pt x="288" y="874"/>
                  </a:lnTo>
                  <a:lnTo>
                    <a:pt x="290" y="875"/>
                  </a:lnTo>
                  <a:lnTo>
                    <a:pt x="292" y="875"/>
                  </a:lnTo>
                  <a:lnTo>
                    <a:pt x="292" y="875"/>
                  </a:lnTo>
                  <a:lnTo>
                    <a:pt x="296" y="875"/>
                  </a:lnTo>
                  <a:lnTo>
                    <a:pt x="296" y="875"/>
                  </a:lnTo>
                  <a:lnTo>
                    <a:pt x="294" y="879"/>
                  </a:lnTo>
                  <a:lnTo>
                    <a:pt x="292" y="879"/>
                  </a:lnTo>
                  <a:lnTo>
                    <a:pt x="290" y="879"/>
                  </a:lnTo>
                  <a:lnTo>
                    <a:pt x="290" y="879"/>
                  </a:lnTo>
                  <a:lnTo>
                    <a:pt x="292" y="881"/>
                  </a:lnTo>
                  <a:lnTo>
                    <a:pt x="292" y="883"/>
                  </a:lnTo>
                  <a:lnTo>
                    <a:pt x="292" y="885"/>
                  </a:lnTo>
                  <a:lnTo>
                    <a:pt x="292" y="889"/>
                  </a:lnTo>
                  <a:lnTo>
                    <a:pt x="292" y="889"/>
                  </a:lnTo>
                  <a:lnTo>
                    <a:pt x="290" y="890"/>
                  </a:lnTo>
                  <a:lnTo>
                    <a:pt x="288" y="889"/>
                  </a:lnTo>
                  <a:lnTo>
                    <a:pt x="286" y="885"/>
                  </a:lnTo>
                  <a:lnTo>
                    <a:pt x="283" y="885"/>
                  </a:lnTo>
                  <a:lnTo>
                    <a:pt x="283" y="885"/>
                  </a:lnTo>
                  <a:lnTo>
                    <a:pt x="279" y="881"/>
                  </a:lnTo>
                  <a:lnTo>
                    <a:pt x="279" y="881"/>
                  </a:lnTo>
                  <a:lnTo>
                    <a:pt x="279" y="883"/>
                  </a:lnTo>
                  <a:lnTo>
                    <a:pt x="277" y="885"/>
                  </a:lnTo>
                  <a:lnTo>
                    <a:pt x="279" y="885"/>
                  </a:lnTo>
                  <a:lnTo>
                    <a:pt x="283" y="887"/>
                  </a:lnTo>
                  <a:lnTo>
                    <a:pt x="286" y="889"/>
                  </a:lnTo>
                  <a:lnTo>
                    <a:pt x="286" y="890"/>
                  </a:lnTo>
                  <a:lnTo>
                    <a:pt x="290" y="890"/>
                  </a:lnTo>
                  <a:lnTo>
                    <a:pt x="290" y="892"/>
                  </a:lnTo>
                  <a:lnTo>
                    <a:pt x="288" y="894"/>
                  </a:lnTo>
                  <a:lnTo>
                    <a:pt x="286" y="896"/>
                  </a:lnTo>
                  <a:lnTo>
                    <a:pt x="286" y="896"/>
                  </a:lnTo>
                  <a:lnTo>
                    <a:pt x="283" y="896"/>
                  </a:lnTo>
                  <a:lnTo>
                    <a:pt x="279" y="896"/>
                  </a:lnTo>
                  <a:lnTo>
                    <a:pt x="277" y="892"/>
                  </a:lnTo>
                  <a:lnTo>
                    <a:pt x="277" y="890"/>
                  </a:lnTo>
                  <a:lnTo>
                    <a:pt x="273" y="890"/>
                  </a:lnTo>
                  <a:lnTo>
                    <a:pt x="273" y="892"/>
                  </a:lnTo>
                  <a:lnTo>
                    <a:pt x="271" y="894"/>
                  </a:lnTo>
                  <a:lnTo>
                    <a:pt x="271" y="896"/>
                  </a:lnTo>
                  <a:lnTo>
                    <a:pt x="273" y="900"/>
                  </a:lnTo>
                  <a:lnTo>
                    <a:pt x="279" y="900"/>
                  </a:lnTo>
                  <a:lnTo>
                    <a:pt x="279" y="904"/>
                  </a:lnTo>
                  <a:lnTo>
                    <a:pt x="279" y="904"/>
                  </a:lnTo>
                  <a:lnTo>
                    <a:pt x="279" y="906"/>
                  </a:lnTo>
                  <a:lnTo>
                    <a:pt x="273" y="904"/>
                  </a:lnTo>
                  <a:lnTo>
                    <a:pt x="273" y="904"/>
                  </a:lnTo>
                  <a:lnTo>
                    <a:pt x="269" y="900"/>
                  </a:lnTo>
                  <a:lnTo>
                    <a:pt x="268" y="898"/>
                  </a:lnTo>
                  <a:lnTo>
                    <a:pt x="268" y="898"/>
                  </a:lnTo>
                  <a:lnTo>
                    <a:pt x="268" y="900"/>
                  </a:lnTo>
                  <a:lnTo>
                    <a:pt x="271" y="904"/>
                  </a:lnTo>
                  <a:lnTo>
                    <a:pt x="273" y="906"/>
                  </a:lnTo>
                  <a:lnTo>
                    <a:pt x="273" y="906"/>
                  </a:lnTo>
                  <a:lnTo>
                    <a:pt x="273" y="909"/>
                  </a:lnTo>
                  <a:lnTo>
                    <a:pt x="273" y="909"/>
                  </a:lnTo>
                  <a:lnTo>
                    <a:pt x="269" y="909"/>
                  </a:lnTo>
                  <a:lnTo>
                    <a:pt x="268" y="906"/>
                  </a:lnTo>
                  <a:lnTo>
                    <a:pt x="268" y="906"/>
                  </a:lnTo>
                  <a:lnTo>
                    <a:pt x="266" y="904"/>
                  </a:lnTo>
                  <a:lnTo>
                    <a:pt x="264" y="904"/>
                  </a:lnTo>
                  <a:lnTo>
                    <a:pt x="262" y="906"/>
                  </a:lnTo>
                  <a:lnTo>
                    <a:pt x="262" y="906"/>
                  </a:lnTo>
                  <a:lnTo>
                    <a:pt x="264" y="909"/>
                  </a:lnTo>
                  <a:lnTo>
                    <a:pt x="266" y="909"/>
                  </a:lnTo>
                  <a:lnTo>
                    <a:pt x="264" y="909"/>
                  </a:lnTo>
                  <a:lnTo>
                    <a:pt x="266" y="911"/>
                  </a:lnTo>
                  <a:lnTo>
                    <a:pt x="271" y="911"/>
                  </a:lnTo>
                  <a:lnTo>
                    <a:pt x="273" y="911"/>
                  </a:lnTo>
                  <a:lnTo>
                    <a:pt x="273" y="915"/>
                  </a:lnTo>
                  <a:lnTo>
                    <a:pt x="273" y="915"/>
                  </a:lnTo>
                  <a:lnTo>
                    <a:pt x="271" y="917"/>
                  </a:lnTo>
                  <a:lnTo>
                    <a:pt x="271" y="919"/>
                  </a:lnTo>
                  <a:lnTo>
                    <a:pt x="268" y="919"/>
                  </a:lnTo>
                  <a:lnTo>
                    <a:pt x="266" y="917"/>
                  </a:lnTo>
                  <a:lnTo>
                    <a:pt x="264" y="917"/>
                  </a:lnTo>
                  <a:lnTo>
                    <a:pt x="260" y="915"/>
                  </a:lnTo>
                  <a:lnTo>
                    <a:pt x="260" y="913"/>
                  </a:lnTo>
                  <a:lnTo>
                    <a:pt x="260" y="913"/>
                  </a:lnTo>
                  <a:lnTo>
                    <a:pt x="258" y="911"/>
                  </a:lnTo>
                  <a:lnTo>
                    <a:pt x="258" y="911"/>
                  </a:lnTo>
                  <a:lnTo>
                    <a:pt x="258" y="915"/>
                  </a:lnTo>
                  <a:lnTo>
                    <a:pt x="258" y="917"/>
                  </a:lnTo>
                  <a:lnTo>
                    <a:pt x="254" y="919"/>
                  </a:lnTo>
                  <a:lnTo>
                    <a:pt x="254" y="919"/>
                  </a:lnTo>
                  <a:lnTo>
                    <a:pt x="252" y="917"/>
                  </a:lnTo>
                  <a:lnTo>
                    <a:pt x="249" y="917"/>
                  </a:lnTo>
                  <a:lnTo>
                    <a:pt x="249" y="917"/>
                  </a:lnTo>
                  <a:lnTo>
                    <a:pt x="249" y="919"/>
                  </a:lnTo>
                  <a:lnTo>
                    <a:pt x="249" y="921"/>
                  </a:lnTo>
                  <a:lnTo>
                    <a:pt x="254" y="923"/>
                  </a:lnTo>
                  <a:lnTo>
                    <a:pt x="258" y="924"/>
                  </a:lnTo>
                  <a:lnTo>
                    <a:pt x="260" y="926"/>
                  </a:lnTo>
                  <a:lnTo>
                    <a:pt x="262" y="930"/>
                  </a:lnTo>
                  <a:lnTo>
                    <a:pt x="260" y="930"/>
                  </a:lnTo>
                  <a:lnTo>
                    <a:pt x="258" y="930"/>
                  </a:lnTo>
                  <a:lnTo>
                    <a:pt x="254" y="930"/>
                  </a:lnTo>
                  <a:lnTo>
                    <a:pt x="252" y="926"/>
                  </a:lnTo>
                  <a:lnTo>
                    <a:pt x="249" y="924"/>
                  </a:lnTo>
                  <a:lnTo>
                    <a:pt x="249" y="924"/>
                  </a:lnTo>
                  <a:lnTo>
                    <a:pt x="249" y="926"/>
                  </a:lnTo>
                  <a:lnTo>
                    <a:pt x="249" y="928"/>
                  </a:lnTo>
                  <a:lnTo>
                    <a:pt x="252" y="928"/>
                  </a:lnTo>
                  <a:lnTo>
                    <a:pt x="258" y="930"/>
                  </a:lnTo>
                  <a:lnTo>
                    <a:pt x="258" y="934"/>
                  </a:lnTo>
                  <a:lnTo>
                    <a:pt x="258" y="936"/>
                  </a:lnTo>
                  <a:lnTo>
                    <a:pt x="258" y="939"/>
                  </a:lnTo>
                  <a:lnTo>
                    <a:pt x="258" y="943"/>
                  </a:lnTo>
                  <a:lnTo>
                    <a:pt x="258" y="943"/>
                  </a:lnTo>
                  <a:lnTo>
                    <a:pt x="258" y="943"/>
                  </a:lnTo>
                  <a:lnTo>
                    <a:pt x="258" y="945"/>
                  </a:lnTo>
                  <a:lnTo>
                    <a:pt x="254" y="949"/>
                  </a:lnTo>
                  <a:lnTo>
                    <a:pt x="254" y="949"/>
                  </a:lnTo>
                  <a:lnTo>
                    <a:pt x="252" y="947"/>
                  </a:lnTo>
                  <a:lnTo>
                    <a:pt x="249" y="947"/>
                  </a:lnTo>
                  <a:lnTo>
                    <a:pt x="247" y="945"/>
                  </a:lnTo>
                  <a:lnTo>
                    <a:pt x="245" y="945"/>
                  </a:lnTo>
                  <a:lnTo>
                    <a:pt x="245" y="947"/>
                  </a:lnTo>
                  <a:lnTo>
                    <a:pt x="249" y="949"/>
                  </a:lnTo>
                  <a:lnTo>
                    <a:pt x="252" y="949"/>
                  </a:lnTo>
                  <a:lnTo>
                    <a:pt x="252" y="951"/>
                  </a:lnTo>
                  <a:lnTo>
                    <a:pt x="249" y="953"/>
                  </a:lnTo>
                  <a:lnTo>
                    <a:pt x="249" y="953"/>
                  </a:lnTo>
                  <a:lnTo>
                    <a:pt x="247" y="951"/>
                  </a:lnTo>
                  <a:lnTo>
                    <a:pt x="245" y="953"/>
                  </a:lnTo>
                  <a:lnTo>
                    <a:pt x="245" y="953"/>
                  </a:lnTo>
                  <a:lnTo>
                    <a:pt x="249" y="955"/>
                  </a:lnTo>
                  <a:lnTo>
                    <a:pt x="249" y="955"/>
                  </a:lnTo>
                  <a:lnTo>
                    <a:pt x="249" y="956"/>
                  </a:lnTo>
                  <a:lnTo>
                    <a:pt x="247" y="958"/>
                  </a:lnTo>
                  <a:lnTo>
                    <a:pt x="245" y="960"/>
                  </a:lnTo>
                  <a:lnTo>
                    <a:pt x="243" y="958"/>
                  </a:lnTo>
                  <a:lnTo>
                    <a:pt x="241" y="958"/>
                  </a:lnTo>
                  <a:lnTo>
                    <a:pt x="239" y="958"/>
                  </a:lnTo>
                  <a:lnTo>
                    <a:pt x="241" y="960"/>
                  </a:lnTo>
                  <a:lnTo>
                    <a:pt x="243" y="960"/>
                  </a:lnTo>
                  <a:lnTo>
                    <a:pt x="245" y="960"/>
                  </a:lnTo>
                  <a:lnTo>
                    <a:pt x="245" y="964"/>
                  </a:lnTo>
                  <a:lnTo>
                    <a:pt x="243" y="964"/>
                  </a:lnTo>
                  <a:lnTo>
                    <a:pt x="237" y="964"/>
                  </a:lnTo>
                  <a:lnTo>
                    <a:pt x="236" y="964"/>
                  </a:lnTo>
                  <a:lnTo>
                    <a:pt x="234" y="964"/>
                  </a:lnTo>
                  <a:lnTo>
                    <a:pt x="234" y="964"/>
                  </a:lnTo>
                  <a:lnTo>
                    <a:pt x="237" y="968"/>
                  </a:lnTo>
                  <a:lnTo>
                    <a:pt x="243" y="968"/>
                  </a:lnTo>
                  <a:lnTo>
                    <a:pt x="247" y="970"/>
                  </a:lnTo>
                  <a:lnTo>
                    <a:pt x="247" y="970"/>
                  </a:lnTo>
                  <a:lnTo>
                    <a:pt x="247" y="970"/>
                  </a:lnTo>
                  <a:lnTo>
                    <a:pt x="243" y="973"/>
                  </a:lnTo>
                  <a:lnTo>
                    <a:pt x="239" y="973"/>
                  </a:lnTo>
                  <a:lnTo>
                    <a:pt x="236" y="973"/>
                  </a:lnTo>
                  <a:lnTo>
                    <a:pt x="234" y="970"/>
                  </a:lnTo>
                  <a:lnTo>
                    <a:pt x="234" y="973"/>
                  </a:lnTo>
                  <a:lnTo>
                    <a:pt x="234" y="973"/>
                  </a:lnTo>
                  <a:lnTo>
                    <a:pt x="237" y="973"/>
                  </a:lnTo>
                  <a:lnTo>
                    <a:pt x="237" y="975"/>
                  </a:lnTo>
                  <a:lnTo>
                    <a:pt x="237" y="975"/>
                  </a:lnTo>
                  <a:lnTo>
                    <a:pt x="236" y="977"/>
                  </a:lnTo>
                  <a:lnTo>
                    <a:pt x="236" y="977"/>
                  </a:lnTo>
                  <a:lnTo>
                    <a:pt x="237" y="977"/>
                  </a:lnTo>
                  <a:lnTo>
                    <a:pt x="241" y="979"/>
                  </a:lnTo>
                  <a:lnTo>
                    <a:pt x="241" y="981"/>
                  </a:lnTo>
                  <a:lnTo>
                    <a:pt x="239" y="981"/>
                  </a:lnTo>
                  <a:lnTo>
                    <a:pt x="236" y="981"/>
                  </a:lnTo>
                  <a:lnTo>
                    <a:pt x="236" y="981"/>
                  </a:lnTo>
                  <a:lnTo>
                    <a:pt x="234" y="983"/>
                  </a:lnTo>
                  <a:lnTo>
                    <a:pt x="236" y="985"/>
                  </a:lnTo>
                  <a:lnTo>
                    <a:pt x="239" y="983"/>
                  </a:lnTo>
                  <a:lnTo>
                    <a:pt x="243" y="985"/>
                  </a:lnTo>
                  <a:lnTo>
                    <a:pt x="241" y="985"/>
                  </a:lnTo>
                  <a:lnTo>
                    <a:pt x="239" y="987"/>
                  </a:lnTo>
                  <a:lnTo>
                    <a:pt x="236" y="988"/>
                  </a:lnTo>
                  <a:lnTo>
                    <a:pt x="234" y="988"/>
                  </a:lnTo>
                  <a:lnTo>
                    <a:pt x="234" y="987"/>
                  </a:lnTo>
                  <a:lnTo>
                    <a:pt x="228" y="985"/>
                  </a:lnTo>
                  <a:lnTo>
                    <a:pt x="228" y="983"/>
                  </a:lnTo>
                  <a:lnTo>
                    <a:pt x="228" y="983"/>
                  </a:lnTo>
                  <a:lnTo>
                    <a:pt x="224" y="983"/>
                  </a:lnTo>
                  <a:lnTo>
                    <a:pt x="224" y="983"/>
                  </a:lnTo>
                  <a:lnTo>
                    <a:pt x="222" y="983"/>
                  </a:lnTo>
                  <a:lnTo>
                    <a:pt x="224" y="985"/>
                  </a:lnTo>
                  <a:lnTo>
                    <a:pt x="228" y="987"/>
                  </a:lnTo>
                  <a:lnTo>
                    <a:pt x="234" y="990"/>
                  </a:lnTo>
                  <a:lnTo>
                    <a:pt x="234" y="990"/>
                  </a:lnTo>
                  <a:lnTo>
                    <a:pt x="230" y="992"/>
                  </a:lnTo>
                  <a:lnTo>
                    <a:pt x="230" y="994"/>
                  </a:lnTo>
                  <a:lnTo>
                    <a:pt x="234" y="994"/>
                  </a:lnTo>
                  <a:lnTo>
                    <a:pt x="234" y="994"/>
                  </a:lnTo>
                  <a:lnTo>
                    <a:pt x="236" y="994"/>
                  </a:lnTo>
                  <a:lnTo>
                    <a:pt x="237" y="994"/>
                  </a:lnTo>
                  <a:lnTo>
                    <a:pt x="237" y="994"/>
                  </a:lnTo>
                  <a:lnTo>
                    <a:pt x="236" y="998"/>
                  </a:lnTo>
                  <a:lnTo>
                    <a:pt x="234" y="998"/>
                  </a:lnTo>
                  <a:lnTo>
                    <a:pt x="234" y="998"/>
                  </a:lnTo>
                  <a:lnTo>
                    <a:pt x="234" y="998"/>
                  </a:lnTo>
                  <a:lnTo>
                    <a:pt x="234" y="998"/>
                  </a:lnTo>
                  <a:lnTo>
                    <a:pt x="234" y="998"/>
                  </a:lnTo>
                  <a:lnTo>
                    <a:pt x="234" y="998"/>
                  </a:lnTo>
                  <a:close/>
                  <a:moveTo>
                    <a:pt x="228" y="1000"/>
                  </a:moveTo>
                  <a:lnTo>
                    <a:pt x="222" y="998"/>
                  </a:lnTo>
                  <a:lnTo>
                    <a:pt x="220" y="998"/>
                  </a:lnTo>
                  <a:lnTo>
                    <a:pt x="220" y="998"/>
                  </a:lnTo>
                  <a:lnTo>
                    <a:pt x="224" y="1000"/>
                  </a:lnTo>
                  <a:lnTo>
                    <a:pt x="224" y="1004"/>
                  </a:lnTo>
                  <a:lnTo>
                    <a:pt x="228" y="1000"/>
                  </a:lnTo>
                  <a:lnTo>
                    <a:pt x="228" y="1000"/>
                  </a:lnTo>
                  <a:lnTo>
                    <a:pt x="228" y="1000"/>
                  </a:lnTo>
                  <a:lnTo>
                    <a:pt x="228" y="1000"/>
                  </a:lnTo>
                  <a:close/>
                  <a:moveTo>
                    <a:pt x="514" y="676"/>
                  </a:moveTo>
                  <a:lnTo>
                    <a:pt x="518" y="678"/>
                  </a:lnTo>
                  <a:lnTo>
                    <a:pt x="522" y="676"/>
                  </a:lnTo>
                  <a:lnTo>
                    <a:pt x="529" y="674"/>
                  </a:lnTo>
                  <a:lnTo>
                    <a:pt x="537" y="676"/>
                  </a:lnTo>
                  <a:lnTo>
                    <a:pt x="539" y="674"/>
                  </a:lnTo>
                  <a:lnTo>
                    <a:pt x="542" y="672"/>
                  </a:lnTo>
                  <a:lnTo>
                    <a:pt x="546" y="676"/>
                  </a:lnTo>
                  <a:lnTo>
                    <a:pt x="550" y="674"/>
                  </a:lnTo>
                  <a:lnTo>
                    <a:pt x="552" y="674"/>
                  </a:lnTo>
                  <a:lnTo>
                    <a:pt x="557" y="670"/>
                  </a:lnTo>
                  <a:lnTo>
                    <a:pt x="557" y="661"/>
                  </a:lnTo>
                  <a:lnTo>
                    <a:pt x="556" y="657"/>
                  </a:lnTo>
                  <a:lnTo>
                    <a:pt x="554" y="653"/>
                  </a:lnTo>
                  <a:lnTo>
                    <a:pt x="550" y="653"/>
                  </a:lnTo>
                  <a:lnTo>
                    <a:pt x="539" y="661"/>
                  </a:lnTo>
                  <a:lnTo>
                    <a:pt x="529" y="661"/>
                  </a:lnTo>
                  <a:lnTo>
                    <a:pt x="527" y="663"/>
                  </a:lnTo>
                  <a:lnTo>
                    <a:pt x="524" y="666"/>
                  </a:lnTo>
                  <a:lnTo>
                    <a:pt x="522" y="668"/>
                  </a:lnTo>
                  <a:lnTo>
                    <a:pt x="518" y="670"/>
                  </a:lnTo>
                  <a:lnTo>
                    <a:pt x="518" y="672"/>
                  </a:lnTo>
                  <a:lnTo>
                    <a:pt x="514" y="676"/>
                  </a:lnTo>
                  <a:lnTo>
                    <a:pt x="514" y="676"/>
                  </a:lnTo>
                  <a:lnTo>
                    <a:pt x="514" y="676"/>
                  </a:lnTo>
                  <a:lnTo>
                    <a:pt x="514" y="676"/>
                  </a:lnTo>
                  <a:close/>
                  <a:moveTo>
                    <a:pt x="241" y="975"/>
                  </a:moveTo>
                  <a:lnTo>
                    <a:pt x="243" y="977"/>
                  </a:lnTo>
                  <a:lnTo>
                    <a:pt x="245" y="975"/>
                  </a:lnTo>
                  <a:lnTo>
                    <a:pt x="245" y="973"/>
                  </a:lnTo>
                  <a:lnTo>
                    <a:pt x="243" y="973"/>
                  </a:lnTo>
                  <a:lnTo>
                    <a:pt x="241" y="975"/>
                  </a:lnTo>
                  <a:lnTo>
                    <a:pt x="241" y="975"/>
                  </a:lnTo>
                  <a:lnTo>
                    <a:pt x="241" y="975"/>
                  </a:lnTo>
                  <a:lnTo>
                    <a:pt x="241" y="975"/>
                  </a:lnTo>
                  <a:close/>
                  <a:moveTo>
                    <a:pt x="258" y="939"/>
                  </a:moveTo>
                  <a:lnTo>
                    <a:pt x="260" y="939"/>
                  </a:lnTo>
                  <a:lnTo>
                    <a:pt x="260" y="939"/>
                  </a:lnTo>
                  <a:lnTo>
                    <a:pt x="258" y="939"/>
                  </a:lnTo>
                  <a:lnTo>
                    <a:pt x="258" y="939"/>
                  </a:lnTo>
                  <a:lnTo>
                    <a:pt x="258" y="939"/>
                  </a:lnTo>
                  <a:lnTo>
                    <a:pt x="258" y="939"/>
                  </a:lnTo>
                  <a:close/>
                  <a:moveTo>
                    <a:pt x="260" y="934"/>
                  </a:moveTo>
                  <a:lnTo>
                    <a:pt x="260" y="934"/>
                  </a:lnTo>
                  <a:lnTo>
                    <a:pt x="262" y="934"/>
                  </a:lnTo>
                  <a:lnTo>
                    <a:pt x="262" y="934"/>
                  </a:lnTo>
                  <a:lnTo>
                    <a:pt x="260" y="934"/>
                  </a:lnTo>
                  <a:lnTo>
                    <a:pt x="260" y="934"/>
                  </a:lnTo>
                  <a:lnTo>
                    <a:pt x="260" y="934"/>
                  </a:lnTo>
                  <a:lnTo>
                    <a:pt x="260" y="934"/>
                  </a:lnTo>
                  <a:close/>
                  <a:moveTo>
                    <a:pt x="262" y="928"/>
                  </a:moveTo>
                  <a:lnTo>
                    <a:pt x="264" y="928"/>
                  </a:lnTo>
                  <a:lnTo>
                    <a:pt x="264" y="928"/>
                  </a:lnTo>
                  <a:lnTo>
                    <a:pt x="264" y="926"/>
                  </a:lnTo>
                  <a:lnTo>
                    <a:pt x="264" y="926"/>
                  </a:lnTo>
                  <a:lnTo>
                    <a:pt x="262" y="928"/>
                  </a:lnTo>
                  <a:lnTo>
                    <a:pt x="262" y="928"/>
                  </a:lnTo>
                  <a:lnTo>
                    <a:pt x="262" y="928"/>
                  </a:lnTo>
                  <a:lnTo>
                    <a:pt x="262" y="928"/>
                  </a:lnTo>
                  <a:close/>
                  <a:moveTo>
                    <a:pt x="260" y="919"/>
                  </a:moveTo>
                  <a:lnTo>
                    <a:pt x="260" y="921"/>
                  </a:lnTo>
                  <a:lnTo>
                    <a:pt x="262" y="923"/>
                  </a:lnTo>
                  <a:lnTo>
                    <a:pt x="264" y="923"/>
                  </a:lnTo>
                  <a:lnTo>
                    <a:pt x="268" y="923"/>
                  </a:lnTo>
                  <a:lnTo>
                    <a:pt x="268" y="923"/>
                  </a:lnTo>
                  <a:lnTo>
                    <a:pt x="266" y="921"/>
                  </a:lnTo>
                  <a:lnTo>
                    <a:pt x="262" y="921"/>
                  </a:lnTo>
                  <a:lnTo>
                    <a:pt x="260" y="919"/>
                  </a:lnTo>
                  <a:lnTo>
                    <a:pt x="260" y="919"/>
                  </a:lnTo>
                  <a:lnTo>
                    <a:pt x="260" y="919"/>
                  </a:lnTo>
                  <a:lnTo>
                    <a:pt x="260" y="919"/>
                  </a:lnTo>
                  <a:lnTo>
                    <a:pt x="260" y="919"/>
                  </a:lnTo>
                  <a:close/>
                  <a:moveTo>
                    <a:pt x="273" y="917"/>
                  </a:moveTo>
                  <a:lnTo>
                    <a:pt x="277" y="915"/>
                  </a:lnTo>
                  <a:lnTo>
                    <a:pt x="277" y="913"/>
                  </a:lnTo>
                  <a:lnTo>
                    <a:pt x="273" y="913"/>
                  </a:lnTo>
                  <a:lnTo>
                    <a:pt x="273" y="917"/>
                  </a:lnTo>
                  <a:lnTo>
                    <a:pt x="273" y="917"/>
                  </a:lnTo>
                  <a:lnTo>
                    <a:pt x="273" y="917"/>
                  </a:lnTo>
                  <a:lnTo>
                    <a:pt x="273" y="917"/>
                  </a:lnTo>
                  <a:close/>
                  <a:moveTo>
                    <a:pt x="273" y="894"/>
                  </a:moveTo>
                  <a:lnTo>
                    <a:pt x="273" y="896"/>
                  </a:lnTo>
                  <a:lnTo>
                    <a:pt x="277" y="898"/>
                  </a:lnTo>
                  <a:lnTo>
                    <a:pt x="279" y="900"/>
                  </a:lnTo>
                  <a:lnTo>
                    <a:pt x="279" y="900"/>
                  </a:lnTo>
                  <a:lnTo>
                    <a:pt x="283" y="900"/>
                  </a:lnTo>
                  <a:lnTo>
                    <a:pt x="279" y="898"/>
                  </a:lnTo>
                  <a:lnTo>
                    <a:pt x="277" y="896"/>
                  </a:lnTo>
                  <a:lnTo>
                    <a:pt x="273" y="894"/>
                  </a:lnTo>
                  <a:lnTo>
                    <a:pt x="273" y="894"/>
                  </a:lnTo>
                  <a:lnTo>
                    <a:pt x="273" y="894"/>
                  </a:lnTo>
                  <a:lnTo>
                    <a:pt x="273" y="894"/>
                  </a:lnTo>
                  <a:lnTo>
                    <a:pt x="273" y="894"/>
                  </a:lnTo>
                  <a:close/>
                  <a:moveTo>
                    <a:pt x="298" y="851"/>
                  </a:moveTo>
                  <a:lnTo>
                    <a:pt x="298" y="855"/>
                  </a:lnTo>
                  <a:lnTo>
                    <a:pt x="300" y="857"/>
                  </a:lnTo>
                  <a:lnTo>
                    <a:pt x="300" y="862"/>
                  </a:lnTo>
                  <a:lnTo>
                    <a:pt x="301" y="864"/>
                  </a:lnTo>
                  <a:lnTo>
                    <a:pt x="303" y="866"/>
                  </a:lnTo>
                  <a:lnTo>
                    <a:pt x="301" y="860"/>
                  </a:lnTo>
                  <a:lnTo>
                    <a:pt x="303" y="857"/>
                  </a:lnTo>
                  <a:lnTo>
                    <a:pt x="301" y="855"/>
                  </a:lnTo>
                  <a:lnTo>
                    <a:pt x="300" y="851"/>
                  </a:lnTo>
                  <a:lnTo>
                    <a:pt x="298" y="849"/>
                  </a:lnTo>
                  <a:lnTo>
                    <a:pt x="298" y="851"/>
                  </a:lnTo>
                  <a:lnTo>
                    <a:pt x="298" y="851"/>
                  </a:lnTo>
                  <a:lnTo>
                    <a:pt x="298" y="851"/>
                  </a:lnTo>
                  <a:lnTo>
                    <a:pt x="298" y="851"/>
                  </a:lnTo>
                  <a:close/>
                  <a:moveTo>
                    <a:pt x="315" y="842"/>
                  </a:moveTo>
                  <a:lnTo>
                    <a:pt x="315" y="842"/>
                  </a:lnTo>
                  <a:lnTo>
                    <a:pt x="316" y="842"/>
                  </a:lnTo>
                  <a:lnTo>
                    <a:pt x="316" y="842"/>
                  </a:lnTo>
                  <a:lnTo>
                    <a:pt x="315" y="842"/>
                  </a:lnTo>
                  <a:lnTo>
                    <a:pt x="315" y="842"/>
                  </a:lnTo>
                  <a:lnTo>
                    <a:pt x="315" y="842"/>
                  </a:lnTo>
                  <a:lnTo>
                    <a:pt x="315" y="842"/>
                  </a:lnTo>
                  <a:lnTo>
                    <a:pt x="315" y="842"/>
                  </a:lnTo>
                  <a:close/>
                  <a:moveTo>
                    <a:pt x="320" y="836"/>
                  </a:moveTo>
                  <a:lnTo>
                    <a:pt x="320" y="836"/>
                  </a:lnTo>
                  <a:lnTo>
                    <a:pt x="320" y="836"/>
                  </a:lnTo>
                  <a:lnTo>
                    <a:pt x="320" y="836"/>
                  </a:lnTo>
                  <a:lnTo>
                    <a:pt x="320" y="836"/>
                  </a:lnTo>
                  <a:lnTo>
                    <a:pt x="320" y="836"/>
                  </a:lnTo>
                  <a:lnTo>
                    <a:pt x="320" y="836"/>
                  </a:lnTo>
                  <a:lnTo>
                    <a:pt x="320" y="836"/>
                  </a:lnTo>
                  <a:close/>
                  <a:moveTo>
                    <a:pt x="348" y="834"/>
                  </a:moveTo>
                  <a:lnTo>
                    <a:pt x="350" y="832"/>
                  </a:lnTo>
                  <a:lnTo>
                    <a:pt x="352" y="832"/>
                  </a:lnTo>
                  <a:lnTo>
                    <a:pt x="352" y="830"/>
                  </a:lnTo>
                  <a:lnTo>
                    <a:pt x="352" y="826"/>
                  </a:lnTo>
                  <a:lnTo>
                    <a:pt x="350" y="825"/>
                  </a:lnTo>
                  <a:lnTo>
                    <a:pt x="350" y="823"/>
                  </a:lnTo>
                  <a:lnTo>
                    <a:pt x="348" y="823"/>
                  </a:lnTo>
                  <a:lnTo>
                    <a:pt x="345" y="826"/>
                  </a:lnTo>
                  <a:lnTo>
                    <a:pt x="345" y="828"/>
                  </a:lnTo>
                  <a:lnTo>
                    <a:pt x="345" y="830"/>
                  </a:lnTo>
                  <a:lnTo>
                    <a:pt x="347" y="832"/>
                  </a:lnTo>
                  <a:lnTo>
                    <a:pt x="347" y="834"/>
                  </a:lnTo>
                  <a:lnTo>
                    <a:pt x="348" y="834"/>
                  </a:lnTo>
                  <a:lnTo>
                    <a:pt x="348" y="834"/>
                  </a:lnTo>
                  <a:lnTo>
                    <a:pt x="348" y="834"/>
                  </a:lnTo>
                  <a:lnTo>
                    <a:pt x="348" y="834"/>
                  </a:lnTo>
                  <a:close/>
                  <a:moveTo>
                    <a:pt x="360" y="832"/>
                  </a:moveTo>
                  <a:lnTo>
                    <a:pt x="360" y="830"/>
                  </a:lnTo>
                  <a:lnTo>
                    <a:pt x="360" y="828"/>
                  </a:lnTo>
                  <a:lnTo>
                    <a:pt x="360" y="830"/>
                  </a:lnTo>
                  <a:lnTo>
                    <a:pt x="360" y="832"/>
                  </a:lnTo>
                  <a:lnTo>
                    <a:pt x="360" y="832"/>
                  </a:lnTo>
                  <a:lnTo>
                    <a:pt x="360" y="832"/>
                  </a:lnTo>
                  <a:lnTo>
                    <a:pt x="360" y="832"/>
                  </a:lnTo>
                  <a:lnTo>
                    <a:pt x="360" y="832"/>
                  </a:lnTo>
                  <a:lnTo>
                    <a:pt x="360" y="832"/>
                  </a:lnTo>
                  <a:close/>
                  <a:moveTo>
                    <a:pt x="578" y="710"/>
                  </a:moveTo>
                  <a:lnTo>
                    <a:pt x="578" y="710"/>
                  </a:lnTo>
                  <a:lnTo>
                    <a:pt x="580" y="708"/>
                  </a:lnTo>
                  <a:lnTo>
                    <a:pt x="580" y="706"/>
                  </a:lnTo>
                  <a:lnTo>
                    <a:pt x="578" y="708"/>
                  </a:lnTo>
                  <a:lnTo>
                    <a:pt x="578" y="710"/>
                  </a:lnTo>
                  <a:lnTo>
                    <a:pt x="578" y="710"/>
                  </a:lnTo>
                  <a:lnTo>
                    <a:pt x="578" y="710"/>
                  </a:lnTo>
                  <a:lnTo>
                    <a:pt x="578" y="710"/>
                  </a:lnTo>
                  <a:close/>
                  <a:moveTo>
                    <a:pt x="539" y="678"/>
                  </a:moveTo>
                  <a:lnTo>
                    <a:pt x="542" y="678"/>
                  </a:lnTo>
                  <a:lnTo>
                    <a:pt x="542" y="678"/>
                  </a:lnTo>
                  <a:lnTo>
                    <a:pt x="542" y="676"/>
                  </a:lnTo>
                  <a:lnTo>
                    <a:pt x="539" y="676"/>
                  </a:lnTo>
                  <a:lnTo>
                    <a:pt x="539" y="676"/>
                  </a:lnTo>
                  <a:lnTo>
                    <a:pt x="539" y="678"/>
                  </a:lnTo>
                  <a:lnTo>
                    <a:pt x="539" y="678"/>
                  </a:lnTo>
                  <a:lnTo>
                    <a:pt x="539" y="678"/>
                  </a:lnTo>
                  <a:lnTo>
                    <a:pt x="539" y="678"/>
                  </a:lnTo>
                  <a:close/>
                  <a:moveTo>
                    <a:pt x="522" y="661"/>
                  </a:moveTo>
                  <a:lnTo>
                    <a:pt x="524" y="663"/>
                  </a:lnTo>
                  <a:lnTo>
                    <a:pt x="525" y="661"/>
                  </a:lnTo>
                  <a:lnTo>
                    <a:pt x="527" y="661"/>
                  </a:lnTo>
                  <a:lnTo>
                    <a:pt x="524" y="661"/>
                  </a:lnTo>
                  <a:lnTo>
                    <a:pt x="522" y="661"/>
                  </a:lnTo>
                  <a:lnTo>
                    <a:pt x="522" y="661"/>
                  </a:lnTo>
                  <a:lnTo>
                    <a:pt x="522" y="661"/>
                  </a:lnTo>
                  <a:lnTo>
                    <a:pt x="522" y="661"/>
                  </a:lnTo>
                  <a:close/>
                  <a:moveTo>
                    <a:pt x="556" y="653"/>
                  </a:moveTo>
                  <a:lnTo>
                    <a:pt x="556" y="653"/>
                  </a:lnTo>
                  <a:lnTo>
                    <a:pt x="557" y="657"/>
                  </a:lnTo>
                  <a:lnTo>
                    <a:pt x="557" y="653"/>
                  </a:lnTo>
                  <a:lnTo>
                    <a:pt x="557" y="653"/>
                  </a:lnTo>
                  <a:lnTo>
                    <a:pt x="556" y="651"/>
                  </a:lnTo>
                  <a:lnTo>
                    <a:pt x="556" y="653"/>
                  </a:lnTo>
                  <a:lnTo>
                    <a:pt x="556" y="653"/>
                  </a:lnTo>
                  <a:lnTo>
                    <a:pt x="556" y="653"/>
                  </a:lnTo>
                  <a:lnTo>
                    <a:pt x="556" y="653"/>
                  </a:lnTo>
                  <a:close/>
                  <a:moveTo>
                    <a:pt x="578" y="582"/>
                  </a:moveTo>
                  <a:lnTo>
                    <a:pt x="578" y="585"/>
                  </a:lnTo>
                  <a:lnTo>
                    <a:pt x="578" y="585"/>
                  </a:lnTo>
                  <a:lnTo>
                    <a:pt x="578" y="589"/>
                  </a:lnTo>
                  <a:lnTo>
                    <a:pt x="582" y="593"/>
                  </a:lnTo>
                  <a:lnTo>
                    <a:pt x="582" y="597"/>
                  </a:lnTo>
                  <a:lnTo>
                    <a:pt x="588" y="599"/>
                  </a:lnTo>
                  <a:lnTo>
                    <a:pt x="591" y="602"/>
                  </a:lnTo>
                  <a:lnTo>
                    <a:pt x="595" y="606"/>
                  </a:lnTo>
                  <a:lnTo>
                    <a:pt x="597" y="608"/>
                  </a:lnTo>
                  <a:lnTo>
                    <a:pt x="599" y="608"/>
                  </a:lnTo>
                  <a:lnTo>
                    <a:pt x="601" y="610"/>
                  </a:lnTo>
                  <a:lnTo>
                    <a:pt x="605" y="612"/>
                  </a:lnTo>
                  <a:lnTo>
                    <a:pt x="605" y="610"/>
                  </a:lnTo>
                  <a:lnTo>
                    <a:pt x="605" y="608"/>
                  </a:lnTo>
                  <a:lnTo>
                    <a:pt x="606" y="606"/>
                  </a:lnTo>
                  <a:lnTo>
                    <a:pt x="605" y="602"/>
                  </a:lnTo>
                  <a:lnTo>
                    <a:pt x="601" y="602"/>
                  </a:lnTo>
                  <a:lnTo>
                    <a:pt x="599" y="602"/>
                  </a:lnTo>
                  <a:lnTo>
                    <a:pt x="597" y="599"/>
                  </a:lnTo>
                  <a:lnTo>
                    <a:pt x="599" y="597"/>
                  </a:lnTo>
                  <a:lnTo>
                    <a:pt x="599" y="597"/>
                  </a:lnTo>
                  <a:lnTo>
                    <a:pt x="601" y="597"/>
                  </a:lnTo>
                  <a:lnTo>
                    <a:pt x="605" y="599"/>
                  </a:lnTo>
                  <a:lnTo>
                    <a:pt x="608" y="599"/>
                  </a:lnTo>
                  <a:lnTo>
                    <a:pt x="610" y="602"/>
                  </a:lnTo>
                  <a:lnTo>
                    <a:pt x="610" y="599"/>
                  </a:lnTo>
                  <a:lnTo>
                    <a:pt x="608" y="597"/>
                  </a:lnTo>
                  <a:lnTo>
                    <a:pt x="599" y="593"/>
                  </a:lnTo>
                  <a:lnTo>
                    <a:pt x="597" y="587"/>
                  </a:lnTo>
                  <a:lnTo>
                    <a:pt x="595" y="585"/>
                  </a:lnTo>
                  <a:lnTo>
                    <a:pt x="591" y="585"/>
                  </a:lnTo>
                  <a:lnTo>
                    <a:pt x="588" y="582"/>
                  </a:lnTo>
                  <a:lnTo>
                    <a:pt x="586" y="582"/>
                  </a:lnTo>
                  <a:lnTo>
                    <a:pt x="584" y="582"/>
                  </a:lnTo>
                  <a:lnTo>
                    <a:pt x="580" y="582"/>
                  </a:lnTo>
                  <a:lnTo>
                    <a:pt x="578" y="582"/>
                  </a:lnTo>
                  <a:lnTo>
                    <a:pt x="578" y="582"/>
                  </a:lnTo>
                  <a:lnTo>
                    <a:pt x="578" y="582"/>
                  </a:lnTo>
                  <a:lnTo>
                    <a:pt x="578" y="582"/>
                  </a:lnTo>
                  <a:close/>
                  <a:moveTo>
                    <a:pt x="571" y="583"/>
                  </a:moveTo>
                  <a:lnTo>
                    <a:pt x="571" y="583"/>
                  </a:lnTo>
                  <a:lnTo>
                    <a:pt x="571" y="582"/>
                  </a:lnTo>
                  <a:lnTo>
                    <a:pt x="573" y="578"/>
                  </a:lnTo>
                  <a:lnTo>
                    <a:pt x="567" y="580"/>
                  </a:lnTo>
                  <a:lnTo>
                    <a:pt x="567" y="583"/>
                  </a:lnTo>
                  <a:lnTo>
                    <a:pt x="571" y="583"/>
                  </a:lnTo>
                  <a:lnTo>
                    <a:pt x="571" y="583"/>
                  </a:lnTo>
                  <a:lnTo>
                    <a:pt x="571" y="583"/>
                  </a:lnTo>
                  <a:lnTo>
                    <a:pt x="571" y="583"/>
                  </a:lnTo>
                  <a:close/>
                  <a:moveTo>
                    <a:pt x="578" y="578"/>
                  </a:moveTo>
                  <a:lnTo>
                    <a:pt x="580" y="580"/>
                  </a:lnTo>
                  <a:lnTo>
                    <a:pt x="586" y="580"/>
                  </a:lnTo>
                  <a:lnTo>
                    <a:pt x="589" y="582"/>
                  </a:lnTo>
                  <a:lnTo>
                    <a:pt x="595" y="582"/>
                  </a:lnTo>
                  <a:lnTo>
                    <a:pt x="597" y="585"/>
                  </a:lnTo>
                  <a:lnTo>
                    <a:pt x="601" y="583"/>
                  </a:lnTo>
                  <a:lnTo>
                    <a:pt x="603" y="585"/>
                  </a:lnTo>
                  <a:lnTo>
                    <a:pt x="603" y="587"/>
                  </a:lnTo>
                  <a:lnTo>
                    <a:pt x="605" y="589"/>
                  </a:lnTo>
                  <a:lnTo>
                    <a:pt x="608" y="589"/>
                  </a:lnTo>
                  <a:lnTo>
                    <a:pt x="610" y="589"/>
                  </a:lnTo>
                  <a:lnTo>
                    <a:pt x="612" y="589"/>
                  </a:lnTo>
                  <a:lnTo>
                    <a:pt x="612" y="587"/>
                  </a:lnTo>
                  <a:lnTo>
                    <a:pt x="612" y="585"/>
                  </a:lnTo>
                  <a:lnTo>
                    <a:pt x="612" y="582"/>
                  </a:lnTo>
                  <a:lnTo>
                    <a:pt x="614" y="582"/>
                  </a:lnTo>
                  <a:lnTo>
                    <a:pt x="610" y="578"/>
                  </a:lnTo>
                  <a:lnTo>
                    <a:pt x="606" y="578"/>
                  </a:lnTo>
                  <a:lnTo>
                    <a:pt x="601" y="574"/>
                  </a:lnTo>
                  <a:lnTo>
                    <a:pt x="597" y="574"/>
                  </a:lnTo>
                  <a:lnTo>
                    <a:pt x="591" y="576"/>
                  </a:lnTo>
                  <a:lnTo>
                    <a:pt x="588" y="574"/>
                  </a:lnTo>
                  <a:lnTo>
                    <a:pt x="582" y="576"/>
                  </a:lnTo>
                  <a:lnTo>
                    <a:pt x="578" y="576"/>
                  </a:lnTo>
                  <a:lnTo>
                    <a:pt x="578" y="576"/>
                  </a:lnTo>
                  <a:lnTo>
                    <a:pt x="578" y="578"/>
                  </a:lnTo>
                  <a:lnTo>
                    <a:pt x="578" y="578"/>
                  </a:lnTo>
                  <a:lnTo>
                    <a:pt x="578" y="578"/>
                  </a:lnTo>
                  <a:lnTo>
                    <a:pt x="578" y="578"/>
                  </a:lnTo>
                  <a:close/>
                  <a:moveTo>
                    <a:pt x="563" y="563"/>
                  </a:moveTo>
                  <a:lnTo>
                    <a:pt x="567" y="568"/>
                  </a:lnTo>
                  <a:lnTo>
                    <a:pt x="571" y="568"/>
                  </a:lnTo>
                  <a:lnTo>
                    <a:pt x="574" y="572"/>
                  </a:lnTo>
                  <a:lnTo>
                    <a:pt x="580" y="574"/>
                  </a:lnTo>
                  <a:lnTo>
                    <a:pt x="588" y="572"/>
                  </a:lnTo>
                  <a:lnTo>
                    <a:pt x="597" y="574"/>
                  </a:lnTo>
                  <a:lnTo>
                    <a:pt x="601" y="572"/>
                  </a:lnTo>
                  <a:lnTo>
                    <a:pt x="601" y="572"/>
                  </a:lnTo>
                  <a:lnTo>
                    <a:pt x="597" y="572"/>
                  </a:lnTo>
                  <a:lnTo>
                    <a:pt x="589" y="572"/>
                  </a:lnTo>
                  <a:lnTo>
                    <a:pt x="586" y="568"/>
                  </a:lnTo>
                  <a:lnTo>
                    <a:pt x="580" y="568"/>
                  </a:lnTo>
                  <a:lnTo>
                    <a:pt x="576" y="567"/>
                  </a:lnTo>
                  <a:lnTo>
                    <a:pt x="574" y="563"/>
                  </a:lnTo>
                  <a:lnTo>
                    <a:pt x="576" y="563"/>
                  </a:lnTo>
                  <a:lnTo>
                    <a:pt x="578" y="563"/>
                  </a:lnTo>
                  <a:lnTo>
                    <a:pt x="586" y="568"/>
                  </a:lnTo>
                  <a:lnTo>
                    <a:pt x="591" y="568"/>
                  </a:lnTo>
                  <a:lnTo>
                    <a:pt x="595" y="568"/>
                  </a:lnTo>
                  <a:lnTo>
                    <a:pt x="591" y="567"/>
                  </a:lnTo>
                  <a:lnTo>
                    <a:pt x="584" y="559"/>
                  </a:lnTo>
                  <a:lnTo>
                    <a:pt x="573" y="559"/>
                  </a:lnTo>
                  <a:lnTo>
                    <a:pt x="571" y="559"/>
                  </a:lnTo>
                  <a:lnTo>
                    <a:pt x="571" y="559"/>
                  </a:lnTo>
                  <a:lnTo>
                    <a:pt x="565" y="563"/>
                  </a:lnTo>
                  <a:lnTo>
                    <a:pt x="563" y="563"/>
                  </a:lnTo>
                  <a:lnTo>
                    <a:pt x="563" y="563"/>
                  </a:lnTo>
                  <a:lnTo>
                    <a:pt x="563" y="563"/>
                  </a:lnTo>
                  <a:lnTo>
                    <a:pt x="563" y="563"/>
                  </a:lnTo>
                  <a:close/>
                  <a:moveTo>
                    <a:pt x="620" y="574"/>
                  </a:moveTo>
                  <a:lnTo>
                    <a:pt x="620" y="574"/>
                  </a:lnTo>
                  <a:lnTo>
                    <a:pt x="621" y="574"/>
                  </a:lnTo>
                  <a:lnTo>
                    <a:pt x="621" y="572"/>
                  </a:lnTo>
                  <a:lnTo>
                    <a:pt x="620" y="572"/>
                  </a:lnTo>
                  <a:lnTo>
                    <a:pt x="620" y="574"/>
                  </a:lnTo>
                  <a:lnTo>
                    <a:pt x="620" y="574"/>
                  </a:lnTo>
                  <a:lnTo>
                    <a:pt x="620" y="574"/>
                  </a:lnTo>
                  <a:lnTo>
                    <a:pt x="620" y="574"/>
                  </a:lnTo>
                  <a:close/>
                  <a:moveTo>
                    <a:pt x="621" y="518"/>
                  </a:moveTo>
                  <a:lnTo>
                    <a:pt x="620" y="523"/>
                  </a:lnTo>
                  <a:lnTo>
                    <a:pt x="620" y="527"/>
                  </a:lnTo>
                  <a:lnTo>
                    <a:pt x="621" y="529"/>
                  </a:lnTo>
                  <a:lnTo>
                    <a:pt x="625" y="529"/>
                  </a:lnTo>
                  <a:lnTo>
                    <a:pt x="629" y="533"/>
                  </a:lnTo>
                  <a:lnTo>
                    <a:pt x="631" y="533"/>
                  </a:lnTo>
                  <a:lnTo>
                    <a:pt x="635" y="533"/>
                  </a:lnTo>
                  <a:lnTo>
                    <a:pt x="638" y="533"/>
                  </a:lnTo>
                  <a:lnTo>
                    <a:pt x="638" y="529"/>
                  </a:lnTo>
                  <a:lnTo>
                    <a:pt x="640" y="525"/>
                  </a:lnTo>
                  <a:lnTo>
                    <a:pt x="640" y="521"/>
                  </a:lnTo>
                  <a:lnTo>
                    <a:pt x="633" y="516"/>
                  </a:lnTo>
                  <a:lnTo>
                    <a:pt x="627" y="518"/>
                  </a:lnTo>
                  <a:lnTo>
                    <a:pt x="621" y="518"/>
                  </a:lnTo>
                  <a:lnTo>
                    <a:pt x="621" y="518"/>
                  </a:lnTo>
                  <a:lnTo>
                    <a:pt x="621" y="518"/>
                  </a:lnTo>
                  <a:lnTo>
                    <a:pt x="621" y="518"/>
                  </a:lnTo>
                  <a:close/>
                  <a:moveTo>
                    <a:pt x="657" y="516"/>
                  </a:moveTo>
                  <a:lnTo>
                    <a:pt x="659" y="516"/>
                  </a:lnTo>
                  <a:lnTo>
                    <a:pt x="661" y="512"/>
                  </a:lnTo>
                  <a:lnTo>
                    <a:pt x="661" y="510"/>
                  </a:lnTo>
                  <a:lnTo>
                    <a:pt x="659" y="510"/>
                  </a:lnTo>
                  <a:lnTo>
                    <a:pt x="657" y="512"/>
                  </a:lnTo>
                  <a:lnTo>
                    <a:pt x="657" y="516"/>
                  </a:lnTo>
                  <a:lnTo>
                    <a:pt x="657" y="516"/>
                  </a:lnTo>
                  <a:lnTo>
                    <a:pt x="657" y="516"/>
                  </a:lnTo>
                  <a:lnTo>
                    <a:pt x="657" y="516"/>
                  </a:lnTo>
                  <a:close/>
                  <a:moveTo>
                    <a:pt x="640" y="495"/>
                  </a:moveTo>
                  <a:lnTo>
                    <a:pt x="640" y="497"/>
                  </a:lnTo>
                  <a:lnTo>
                    <a:pt x="640" y="502"/>
                  </a:lnTo>
                  <a:lnTo>
                    <a:pt x="640" y="504"/>
                  </a:lnTo>
                  <a:lnTo>
                    <a:pt x="644" y="508"/>
                  </a:lnTo>
                  <a:lnTo>
                    <a:pt x="646" y="504"/>
                  </a:lnTo>
                  <a:lnTo>
                    <a:pt x="646" y="502"/>
                  </a:lnTo>
                  <a:lnTo>
                    <a:pt x="650" y="499"/>
                  </a:lnTo>
                  <a:lnTo>
                    <a:pt x="650" y="499"/>
                  </a:lnTo>
                  <a:lnTo>
                    <a:pt x="644" y="495"/>
                  </a:lnTo>
                  <a:lnTo>
                    <a:pt x="640" y="495"/>
                  </a:lnTo>
                  <a:lnTo>
                    <a:pt x="640" y="495"/>
                  </a:lnTo>
                  <a:lnTo>
                    <a:pt x="640" y="495"/>
                  </a:lnTo>
                  <a:lnTo>
                    <a:pt x="640" y="495"/>
                  </a:lnTo>
                  <a:close/>
                  <a:moveTo>
                    <a:pt x="665" y="480"/>
                  </a:moveTo>
                  <a:lnTo>
                    <a:pt x="665" y="487"/>
                  </a:lnTo>
                  <a:lnTo>
                    <a:pt x="663" y="493"/>
                  </a:lnTo>
                  <a:lnTo>
                    <a:pt x="665" y="495"/>
                  </a:lnTo>
                  <a:lnTo>
                    <a:pt x="669" y="499"/>
                  </a:lnTo>
                  <a:lnTo>
                    <a:pt x="670" y="497"/>
                  </a:lnTo>
                  <a:lnTo>
                    <a:pt x="674" y="497"/>
                  </a:lnTo>
                  <a:lnTo>
                    <a:pt x="676" y="497"/>
                  </a:lnTo>
                  <a:lnTo>
                    <a:pt x="676" y="499"/>
                  </a:lnTo>
                  <a:lnTo>
                    <a:pt x="680" y="499"/>
                  </a:lnTo>
                  <a:lnTo>
                    <a:pt x="682" y="497"/>
                  </a:lnTo>
                  <a:lnTo>
                    <a:pt x="684" y="495"/>
                  </a:lnTo>
                  <a:lnTo>
                    <a:pt x="684" y="489"/>
                  </a:lnTo>
                  <a:lnTo>
                    <a:pt x="680" y="487"/>
                  </a:lnTo>
                  <a:lnTo>
                    <a:pt x="680" y="491"/>
                  </a:lnTo>
                  <a:lnTo>
                    <a:pt x="680" y="493"/>
                  </a:lnTo>
                  <a:lnTo>
                    <a:pt x="678" y="491"/>
                  </a:lnTo>
                  <a:lnTo>
                    <a:pt x="674" y="487"/>
                  </a:lnTo>
                  <a:lnTo>
                    <a:pt x="674" y="486"/>
                  </a:lnTo>
                  <a:lnTo>
                    <a:pt x="674" y="482"/>
                  </a:lnTo>
                  <a:lnTo>
                    <a:pt x="674" y="480"/>
                  </a:lnTo>
                  <a:lnTo>
                    <a:pt x="676" y="480"/>
                  </a:lnTo>
                  <a:lnTo>
                    <a:pt x="676" y="478"/>
                  </a:lnTo>
                  <a:lnTo>
                    <a:pt x="674" y="478"/>
                  </a:lnTo>
                  <a:lnTo>
                    <a:pt x="670" y="480"/>
                  </a:lnTo>
                  <a:lnTo>
                    <a:pt x="669" y="478"/>
                  </a:lnTo>
                  <a:lnTo>
                    <a:pt x="669" y="480"/>
                  </a:lnTo>
                  <a:lnTo>
                    <a:pt x="665" y="480"/>
                  </a:lnTo>
                  <a:lnTo>
                    <a:pt x="665" y="480"/>
                  </a:lnTo>
                  <a:lnTo>
                    <a:pt x="665" y="480"/>
                  </a:lnTo>
                  <a:lnTo>
                    <a:pt x="665" y="480"/>
                  </a:lnTo>
                  <a:close/>
                  <a:moveTo>
                    <a:pt x="670" y="421"/>
                  </a:moveTo>
                  <a:lnTo>
                    <a:pt x="665" y="423"/>
                  </a:lnTo>
                  <a:lnTo>
                    <a:pt x="665" y="425"/>
                  </a:lnTo>
                  <a:lnTo>
                    <a:pt x="669" y="427"/>
                  </a:lnTo>
                  <a:lnTo>
                    <a:pt x="670" y="429"/>
                  </a:lnTo>
                  <a:lnTo>
                    <a:pt x="669" y="431"/>
                  </a:lnTo>
                  <a:lnTo>
                    <a:pt x="669" y="435"/>
                  </a:lnTo>
                  <a:lnTo>
                    <a:pt x="670" y="440"/>
                  </a:lnTo>
                  <a:lnTo>
                    <a:pt x="670" y="444"/>
                  </a:lnTo>
                  <a:lnTo>
                    <a:pt x="669" y="450"/>
                  </a:lnTo>
                  <a:lnTo>
                    <a:pt x="669" y="453"/>
                  </a:lnTo>
                  <a:lnTo>
                    <a:pt x="670" y="455"/>
                  </a:lnTo>
                  <a:lnTo>
                    <a:pt x="670" y="453"/>
                  </a:lnTo>
                  <a:lnTo>
                    <a:pt x="670" y="448"/>
                  </a:lnTo>
                  <a:lnTo>
                    <a:pt x="674" y="446"/>
                  </a:lnTo>
                  <a:lnTo>
                    <a:pt x="674" y="440"/>
                  </a:lnTo>
                  <a:lnTo>
                    <a:pt x="670" y="438"/>
                  </a:lnTo>
                  <a:lnTo>
                    <a:pt x="670" y="431"/>
                  </a:lnTo>
                  <a:lnTo>
                    <a:pt x="670" y="425"/>
                  </a:lnTo>
                  <a:lnTo>
                    <a:pt x="670" y="423"/>
                  </a:lnTo>
                  <a:lnTo>
                    <a:pt x="670" y="421"/>
                  </a:lnTo>
                  <a:lnTo>
                    <a:pt x="670" y="421"/>
                  </a:lnTo>
                  <a:lnTo>
                    <a:pt x="670" y="421"/>
                  </a:lnTo>
                  <a:lnTo>
                    <a:pt x="670" y="421"/>
                  </a:lnTo>
                  <a:close/>
                  <a:moveTo>
                    <a:pt x="640" y="431"/>
                  </a:moveTo>
                  <a:lnTo>
                    <a:pt x="640" y="433"/>
                  </a:lnTo>
                  <a:lnTo>
                    <a:pt x="640" y="435"/>
                  </a:lnTo>
                  <a:lnTo>
                    <a:pt x="644" y="435"/>
                  </a:lnTo>
                  <a:lnTo>
                    <a:pt x="646" y="433"/>
                  </a:lnTo>
                  <a:lnTo>
                    <a:pt x="644" y="429"/>
                  </a:lnTo>
                  <a:lnTo>
                    <a:pt x="644" y="429"/>
                  </a:lnTo>
                  <a:lnTo>
                    <a:pt x="640" y="431"/>
                  </a:lnTo>
                  <a:lnTo>
                    <a:pt x="640" y="431"/>
                  </a:lnTo>
                  <a:lnTo>
                    <a:pt x="640" y="431"/>
                  </a:lnTo>
                  <a:lnTo>
                    <a:pt x="640" y="431"/>
                  </a:lnTo>
                  <a:close/>
                  <a:moveTo>
                    <a:pt x="637" y="423"/>
                  </a:moveTo>
                  <a:lnTo>
                    <a:pt x="638" y="427"/>
                  </a:lnTo>
                  <a:lnTo>
                    <a:pt x="640" y="425"/>
                  </a:lnTo>
                  <a:lnTo>
                    <a:pt x="640" y="423"/>
                  </a:lnTo>
                  <a:lnTo>
                    <a:pt x="638" y="423"/>
                  </a:lnTo>
                  <a:lnTo>
                    <a:pt x="637" y="423"/>
                  </a:lnTo>
                  <a:lnTo>
                    <a:pt x="637" y="423"/>
                  </a:lnTo>
                  <a:lnTo>
                    <a:pt x="637" y="423"/>
                  </a:lnTo>
                  <a:lnTo>
                    <a:pt x="637" y="423"/>
                  </a:lnTo>
                  <a:close/>
                  <a:moveTo>
                    <a:pt x="661" y="363"/>
                  </a:moveTo>
                  <a:lnTo>
                    <a:pt x="663" y="367"/>
                  </a:lnTo>
                  <a:lnTo>
                    <a:pt x="665" y="369"/>
                  </a:lnTo>
                  <a:lnTo>
                    <a:pt x="669" y="369"/>
                  </a:lnTo>
                  <a:lnTo>
                    <a:pt x="669" y="367"/>
                  </a:lnTo>
                  <a:lnTo>
                    <a:pt x="665" y="365"/>
                  </a:lnTo>
                  <a:lnTo>
                    <a:pt x="663" y="361"/>
                  </a:lnTo>
                  <a:lnTo>
                    <a:pt x="661" y="361"/>
                  </a:lnTo>
                  <a:lnTo>
                    <a:pt x="661" y="363"/>
                  </a:lnTo>
                  <a:lnTo>
                    <a:pt x="661" y="363"/>
                  </a:lnTo>
                  <a:lnTo>
                    <a:pt x="661" y="363"/>
                  </a:lnTo>
                  <a:lnTo>
                    <a:pt x="661" y="363"/>
                  </a:lnTo>
                  <a:close/>
                  <a:moveTo>
                    <a:pt x="684" y="376"/>
                  </a:moveTo>
                  <a:lnTo>
                    <a:pt x="684" y="376"/>
                  </a:lnTo>
                  <a:lnTo>
                    <a:pt x="685" y="380"/>
                  </a:lnTo>
                  <a:lnTo>
                    <a:pt x="687" y="380"/>
                  </a:lnTo>
                  <a:lnTo>
                    <a:pt x="689" y="376"/>
                  </a:lnTo>
                  <a:lnTo>
                    <a:pt x="689" y="376"/>
                  </a:lnTo>
                  <a:lnTo>
                    <a:pt x="689" y="371"/>
                  </a:lnTo>
                  <a:lnTo>
                    <a:pt x="691" y="371"/>
                  </a:lnTo>
                  <a:lnTo>
                    <a:pt x="691" y="365"/>
                  </a:lnTo>
                  <a:lnTo>
                    <a:pt x="685" y="371"/>
                  </a:lnTo>
                  <a:lnTo>
                    <a:pt x="685" y="374"/>
                  </a:lnTo>
                  <a:lnTo>
                    <a:pt x="684" y="376"/>
                  </a:lnTo>
                  <a:lnTo>
                    <a:pt x="684" y="376"/>
                  </a:lnTo>
                  <a:lnTo>
                    <a:pt x="684" y="376"/>
                  </a:lnTo>
                  <a:lnTo>
                    <a:pt x="684" y="376"/>
                  </a:lnTo>
                  <a:close/>
                  <a:moveTo>
                    <a:pt x="674" y="356"/>
                  </a:moveTo>
                  <a:lnTo>
                    <a:pt x="674" y="356"/>
                  </a:lnTo>
                  <a:lnTo>
                    <a:pt x="676" y="356"/>
                  </a:lnTo>
                  <a:lnTo>
                    <a:pt x="676" y="352"/>
                  </a:lnTo>
                  <a:lnTo>
                    <a:pt x="676" y="350"/>
                  </a:lnTo>
                  <a:lnTo>
                    <a:pt x="674" y="350"/>
                  </a:lnTo>
                  <a:lnTo>
                    <a:pt x="674" y="356"/>
                  </a:lnTo>
                  <a:lnTo>
                    <a:pt x="674" y="356"/>
                  </a:lnTo>
                  <a:lnTo>
                    <a:pt x="674" y="356"/>
                  </a:lnTo>
                  <a:lnTo>
                    <a:pt x="674" y="356"/>
                  </a:lnTo>
                  <a:close/>
                  <a:moveTo>
                    <a:pt x="674" y="342"/>
                  </a:moveTo>
                  <a:lnTo>
                    <a:pt x="674" y="344"/>
                  </a:lnTo>
                  <a:lnTo>
                    <a:pt x="676" y="346"/>
                  </a:lnTo>
                  <a:lnTo>
                    <a:pt x="676" y="344"/>
                  </a:lnTo>
                  <a:lnTo>
                    <a:pt x="676" y="342"/>
                  </a:lnTo>
                  <a:lnTo>
                    <a:pt x="674" y="342"/>
                  </a:lnTo>
                  <a:lnTo>
                    <a:pt x="674" y="342"/>
                  </a:lnTo>
                  <a:lnTo>
                    <a:pt x="674" y="342"/>
                  </a:lnTo>
                  <a:lnTo>
                    <a:pt x="674" y="342"/>
                  </a:lnTo>
                  <a:close/>
                  <a:moveTo>
                    <a:pt x="693" y="303"/>
                  </a:moveTo>
                  <a:lnTo>
                    <a:pt x="695" y="307"/>
                  </a:lnTo>
                  <a:lnTo>
                    <a:pt x="695" y="308"/>
                  </a:lnTo>
                  <a:lnTo>
                    <a:pt x="699" y="305"/>
                  </a:lnTo>
                  <a:lnTo>
                    <a:pt x="699" y="301"/>
                  </a:lnTo>
                  <a:lnTo>
                    <a:pt x="699" y="297"/>
                  </a:lnTo>
                  <a:lnTo>
                    <a:pt x="699" y="295"/>
                  </a:lnTo>
                  <a:lnTo>
                    <a:pt x="699" y="291"/>
                  </a:lnTo>
                  <a:lnTo>
                    <a:pt x="695" y="295"/>
                  </a:lnTo>
                  <a:lnTo>
                    <a:pt x="695" y="297"/>
                  </a:lnTo>
                  <a:lnTo>
                    <a:pt x="693" y="303"/>
                  </a:lnTo>
                  <a:lnTo>
                    <a:pt x="693" y="303"/>
                  </a:lnTo>
                  <a:lnTo>
                    <a:pt x="693" y="303"/>
                  </a:lnTo>
                  <a:lnTo>
                    <a:pt x="693" y="303"/>
                  </a:lnTo>
                  <a:close/>
                  <a:moveTo>
                    <a:pt x="682" y="248"/>
                  </a:moveTo>
                  <a:lnTo>
                    <a:pt x="682" y="248"/>
                  </a:lnTo>
                  <a:lnTo>
                    <a:pt x="684" y="246"/>
                  </a:lnTo>
                  <a:lnTo>
                    <a:pt x="689" y="248"/>
                  </a:lnTo>
                  <a:lnTo>
                    <a:pt x="691" y="244"/>
                  </a:lnTo>
                  <a:lnTo>
                    <a:pt x="691" y="241"/>
                  </a:lnTo>
                  <a:lnTo>
                    <a:pt x="689" y="237"/>
                  </a:lnTo>
                  <a:lnTo>
                    <a:pt x="682" y="241"/>
                  </a:lnTo>
                  <a:lnTo>
                    <a:pt x="680" y="246"/>
                  </a:lnTo>
                  <a:lnTo>
                    <a:pt x="682" y="248"/>
                  </a:lnTo>
                  <a:lnTo>
                    <a:pt x="682" y="248"/>
                  </a:lnTo>
                  <a:lnTo>
                    <a:pt x="682" y="248"/>
                  </a:lnTo>
                  <a:lnTo>
                    <a:pt x="682" y="248"/>
                  </a:lnTo>
                  <a:close/>
                  <a:moveTo>
                    <a:pt x="719" y="146"/>
                  </a:moveTo>
                  <a:lnTo>
                    <a:pt x="719" y="145"/>
                  </a:lnTo>
                  <a:lnTo>
                    <a:pt x="719" y="141"/>
                  </a:lnTo>
                  <a:lnTo>
                    <a:pt x="719" y="133"/>
                  </a:lnTo>
                  <a:lnTo>
                    <a:pt x="719" y="133"/>
                  </a:lnTo>
                  <a:lnTo>
                    <a:pt x="719" y="128"/>
                  </a:lnTo>
                  <a:lnTo>
                    <a:pt x="717" y="131"/>
                  </a:lnTo>
                  <a:lnTo>
                    <a:pt x="717" y="133"/>
                  </a:lnTo>
                  <a:lnTo>
                    <a:pt x="719" y="133"/>
                  </a:lnTo>
                  <a:lnTo>
                    <a:pt x="719" y="137"/>
                  </a:lnTo>
                  <a:lnTo>
                    <a:pt x="717" y="141"/>
                  </a:lnTo>
                  <a:lnTo>
                    <a:pt x="719" y="146"/>
                  </a:lnTo>
                  <a:lnTo>
                    <a:pt x="719" y="146"/>
                  </a:lnTo>
                  <a:lnTo>
                    <a:pt x="719" y="146"/>
                  </a:lnTo>
                  <a:lnTo>
                    <a:pt x="719" y="146"/>
                  </a:lnTo>
                  <a:close/>
                  <a:moveTo>
                    <a:pt x="708" y="158"/>
                  </a:moveTo>
                  <a:lnTo>
                    <a:pt x="708" y="158"/>
                  </a:lnTo>
                  <a:lnTo>
                    <a:pt x="710" y="158"/>
                  </a:lnTo>
                  <a:lnTo>
                    <a:pt x="710" y="156"/>
                  </a:lnTo>
                  <a:lnTo>
                    <a:pt x="710" y="150"/>
                  </a:lnTo>
                  <a:lnTo>
                    <a:pt x="708" y="148"/>
                  </a:lnTo>
                  <a:lnTo>
                    <a:pt x="706" y="150"/>
                  </a:lnTo>
                  <a:lnTo>
                    <a:pt x="706" y="154"/>
                  </a:lnTo>
                  <a:lnTo>
                    <a:pt x="708" y="158"/>
                  </a:lnTo>
                  <a:lnTo>
                    <a:pt x="708" y="158"/>
                  </a:lnTo>
                  <a:lnTo>
                    <a:pt x="708" y="158"/>
                  </a:lnTo>
                  <a:lnTo>
                    <a:pt x="708" y="158"/>
                  </a:lnTo>
                  <a:close/>
                  <a:moveTo>
                    <a:pt x="701" y="146"/>
                  </a:moveTo>
                  <a:lnTo>
                    <a:pt x="702" y="148"/>
                  </a:lnTo>
                  <a:lnTo>
                    <a:pt x="704" y="146"/>
                  </a:lnTo>
                  <a:lnTo>
                    <a:pt x="706" y="141"/>
                  </a:lnTo>
                  <a:lnTo>
                    <a:pt x="706" y="139"/>
                  </a:lnTo>
                  <a:lnTo>
                    <a:pt x="706" y="137"/>
                  </a:lnTo>
                  <a:lnTo>
                    <a:pt x="704" y="137"/>
                  </a:lnTo>
                  <a:lnTo>
                    <a:pt x="702" y="137"/>
                  </a:lnTo>
                  <a:lnTo>
                    <a:pt x="701" y="139"/>
                  </a:lnTo>
                  <a:lnTo>
                    <a:pt x="701" y="143"/>
                  </a:lnTo>
                  <a:lnTo>
                    <a:pt x="701" y="146"/>
                  </a:lnTo>
                  <a:lnTo>
                    <a:pt x="701" y="146"/>
                  </a:lnTo>
                  <a:lnTo>
                    <a:pt x="701" y="146"/>
                  </a:lnTo>
                  <a:lnTo>
                    <a:pt x="701" y="146"/>
                  </a:lnTo>
                  <a:close/>
                  <a:moveTo>
                    <a:pt x="509" y="9"/>
                  </a:moveTo>
                  <a:lnTo>
                    <a:pt x="509" y="9"/>
                  </a:lnTo>
                  <a:lnTo>
                    <a:pt x="509" y="9"/>
                  </a:lnTo>
                  <a:lnTo>
                    <a:pt x="512" y="7"/>
                  </a:lnTo>
                  <a:lnTo>
                    <a:pt x="509" y="5"/>
                  </a:lnTo>
                  <a:lnTo>
                    <a:pt x="509" y="5"/>
                  </a:lnTo>
                  <a:lnTo>
                    <a:pt x="507" y="7"/>
                  </a:lnTo>
                  <a:lnTo>
                    <a:pt x="509" y="9"/>
                  </a:lnTo>
                  <a:lnTo>
                    <a:pt x="509" y="9"/>
                  </a:lnTo>
                  <a:lnTo>
                    <a:pt x="509" y="9"/>
                  </a:lnTo>
                  <a:lnTo>
                    <a:pt x="509" y="9"/>
                  </a:lnTo>
                  <a:close/>
                  <a:moveTo>
                    <a:pt x="509" y="16"/>
                  </a:moveTo>
                  <a:lnTo>
                    <a:pt x="509" y="18"/>
                  </a:lnTo>
                  <a:lnTo>
                    <a:pt x="512" y="18"/>
                  </a:lnTo>
                  <a:lnTo>
                    <a:pt x="512" y="15"/>
                  </a:lnTo>
                  <a:lnTo>
                    <a:pt x="512" y="13"/>
                  </a:lnTo>
                  <a:lnTo>
                    <a:pt x="512" y="13"/>
                  </a:lnTo>
                  <a:lnTo>
                    <a:pt x="509" y="15"/>
                  </a:lnTo>
                  <a:lnTo>
                    <a:pt x="509" y="16"/>
                  </a:lnTo>
                  <a:lnTo>
                    <a:pt x="509" y="16"/>
                  </a:lnTo>
                  <a:lnTo>
                    <a:pt x="509" y="16"/>
                  </a:lnTo>
                  <a:lnTo>
                    <a:pt x="509" y="16"/>
                  </a:lnTo>
                  <a:close/>
                  <a:moveTo>
                    <a:pt x="493" y="16"/>
                  </a:moveTo>
                  <a:lnTo>
                    <a:pt x="497" y="20"/>
                  </a:lnTo>
                  <a:lnTo>
                    <a:pt x="497" y="24"/>
                  </a:lnTo>
                  <a:lnTo>
                    <a:pt x="499" y="24"/>
                  </a:lnTo>
                  <a:lnTo>
                    <a:pt x="501" y="20"/>
                  </a:lnTo>
                  <a:lnTo>
                    <a:pt x="503" y="20"/>
                  </a:lnTo>
                  <a:lnTo>
                    <a:pt x="497" y="15"/>
                  </a:lnTo>
                  <a:lnTo>
                    <a:pt x="497" y="13"/>
                  </a:lnTo>
                  <a:lnTo>
                    <a:pt x="497" y="9"/>
                  </a:lnTo>
                  <a:lnTo>
                    <a:pt x="493" y="13"/>
                  </a:lnTo>
                  <a:lnTo>
                    <a:pt x="493" y="15"/>
                  </a:lnTo>
                  <a:lnTo>
                    <a:pt x="492" y="15"/>
                  </a:lnTo>
                  <a:lnTo>
                    <a:pt x="493" y="16"/>
                  </a:lnTo>
                  <a:lnTo>
                    <a:pt x="493" y="16"/>
                  </a:lnTo>
                  <a:lnTo>
                    <a:pt x="493" y="16"/>
                  </a:lnTo>
                  <a:lnTo>
                    <a:pt x="493" y="16"/>
                  </a:lnTo>
                  <a:close/>
                  <a:moveTo>
                    <a:pt x="484" y="20"/>
                  </a:moveTo>
                  <a:lnTo>
                    <a:pt x="484" y="24"/>
                  </a:lnTo>
                  <a:lnTo>
                    <a:pt x="484" y="24"/>
                  </a:lnTo>
                  <a:lnTo>
                    <a:pt x="488" y="24"/>
                  </a:lnTo>
                  <a:lnTo>
                    <a:pt x="488" y="22"/>
                  </a:lnTo>
                  <a:lnTo>
                    <a:pt x="484" y="20"/>
                  </a:lnTo>
                  <a:lnTo>
                    <a:pt x="484" y="20"/>
                  </a:lnTo>
                  <a:lnTo>
                    <a:pt x="484" y="20"/>
                  </a:lnTo>
                  <a:lnTo>
                    <a:pt x="484" y="20"/>
                  </a:lnTo>
                  <a:lnTo>
                    <a:pt x="484" y="20"/>
                  </a:lnTo>
                  <a:close/>
                  <a:moveTo>
                    <a:pt x="429" y="37"/>
                  </a:moveTo>
                  <a:lnTo>
                    <a:pt x="431" y="39"/>
                  </a:lnTo>
                  <a:lnTo>
                    <a:pt x="433" y="39"/>
                  </a:lnTo>
                  <a:lnTo>
                    <a:pt x="439" y="45"/>
                  </a:lnTo>
                  <a:lnTo>
                    <a:pt x="439" y="45"/>
                  </a:lnTo>
                  <a:lnTo>
                    <a:pt x="441" y="43"/>
                  </a:lnTo>
                  <a:lnTo>
                    <a:pt x="441" y="39"/>
                  </a:lnTo>
                  <a:lnTo>
                    <a:pt x="443" y="37"/>
                  </a:lnTo>
                  <a:lnTo>
                    <a:pt x="443" y="33"/>
                  </a:lnTo>
                  <a:lnTo>
                    <a:pt x="439" y="33"/>
                  </a:lnTo>
                  <a:lnTo>
                    <a:pt x="439" y="30"/>
                  </a:lnTo>
                  <a:lnTo>
                    <a:pt x="435" y="30"/>
                  </a:lnTo>
                  <a:lnTo>
                    <a:pt x="433" y="32"/>
                  </a:lnTo>
                  <a:lnTo>
                    <a:pt x="435" y="33"/>
                  </a:lnTo>
                  <a:lnTo>
                    <a:pt x="435" y="37"/>
                  </a:lnTo>
                  <a:lnTo>
                    <a:pt x="433" y="39"/>
                  </a:lnTo>
                  <a:lnTo>
                    <a:pt x="431" y="33"/>
                  </a:lnTo>
                  <a:lnTo>
                    <a:pt x="429" y="37"/>
                  </a:lnTo>
                  <a:lnTo>
                    <a:pt x="429" y="37"/>
                  </a:lnTo>
                  <a:lnTo>
                    <a:pt x="429" y="37"/>
                  </a:lnTo>
                  <a:lnTo>
                    <a:pt x="429" y="37"/>
                  </a:lnTo>
                  <a:close/>
                  <a:moveTo>
                    <a:pt x="426" y="39"/>
                  </a:moveTo>
                  <a:lnTo>
                    <a:pt x="428" y="43"/>
                  </a:lnTo>
                  <a:lnTo>
                    <a:pt x="429" y="45"/>
                  </a:lnTo>
                  <a:lnTo>
                    <a:pt x="429" y="39"/>
                  </a:lnTo>
                  <a:lnTo>
                    <a:pt x="428" y="39"/>
                  </a:lnTo>
                  <a:lnTo>
                    <a:pt x="426" y="39"/>
                  </a:lnTo>
                  <a:lnTo>
                    <a:pt x="426" y="39"/>
                  </a:lnTo>
                  <a:lnTo>
                    <a:pt x="426" y="39"/>
                  </a:lnTo>
                  <a:lnTo>
                    <a:pt x="426" y="39"/>
                  </a:lnTo>
                  <a:close/>
                  <a:moveTo>
                    <a:pt x="409" y="39"/>
                  </a:moveTo>
                  <a:lnTo>
                    <a:pt x="409" y="39"/>
                  </a:lnTo>
                  <a:lnTo>
                    <a:pt x="414" y="43"/>
                  </a:lnTo>
                  <a:lnTo>
                    <a:pt x="414" y="43"/>
                  </a:lnTo>
                  <a:lnTo>
                    <a:pt x="416" y="43"/>
                  </a:lnTo>
                  <a:lnTo>
                    <a:pt x="416" y="39"/>
                  </a:lnTo>
                  <a:lnTo>
                    <a:pt x="414" y="39"/>
                  </a:lnTo>
                  <a:lnTo>
                    <a:pt x="414" y="39"/>
                  </a:lnTo>
                  <a:lnTo>
                    <a:pt x="414" y="33"/>
                  </a:lnTo>
                  <a:lnTo>
                    <a:pt x="411" y="33"/>
                  </a:lnTo>
                  <a:lnTo>
                    <a:pt x="409" y="37"/>
                  </a:lnTo>
                  <a:lnTo>
                    <a:pt x="409" y="39"/>
                  </a:lnTo>
                  <a:lnTo>
                    <a:pt x="409" y="39"/>
                  </a:lnTo>
                  <a:lnTo>
                    <a:pt x="409" y="39"/>
                  </a:lnTo>
                  <a:lnTo>
                    <a:pt x="409" y="39"/>
                  </a:lnTo>
                  <a:close/>
                  <a:moveTo>
                    <a:pt x="397" y="73"/>
                  </a:moveTo>
                  <a:lnTo>
                    <a:pt x="397" y="73"/>
                  </a:lnTo>
                  <a:lnTo>
                    <a:pt x="401" y="73"/>
                  </a:lnTo>
                  <a:lnTo>
                    <a:pt x="401" y="69"/>
                  </a:lnTo>
                  <a:lnTo>
                    <a:pt x="399" y="67"/>
                  </a:lnTo>
                  <a:lnTo>
                    <a:pt x="397" y="64"/>
                  </a:lnTo>
                  <a:lnTo>
                    <a:pt x="396" y="60"/>
                  </a:lnTo>
                  <a:lnTo>
                    <a:pt x="394" y="60"/>
                  </a:lnTo>
                  <a:lnTo>
                    <a:pt x="394" y="64"/>
                  </a:lnTo>
                  <a:lnTo>
                    <a:pt x="396" y="67"/>
                  </a:lnTo>
                  <a:lnTo>
                    <a:pt x="396" y="69"/>
                  </a:lnTo>
                  <a:lnTo>
                    <a:pt x="397" y="73"/>
                  </a:lnTo>
                  <a:lnTo>
                    <a:pt x="397" y="73"/>
                  </a:lnTo>
                  <a:lnTo>
                    <a:pt x="397" y="73"/>
                  </a:lnTo>
                  <a:lnTo>
                    <a:pt x="397" y="73"/>
                  </a:lnTo>
                  <a:close/>
                  <a:moveTo>
                    <a:pt x="401" y="107"/>
                  </a:moveTo>
                  <a:lnTo>
                    <a:pt x="407" y="107"/>
                  </a:lnTo>
                  <a:lnTo>
                    <a:pt x="409" y="107"/>
                  </a:lnTo>
                  <a:lnTo>
                    <a:pt x="409" y="103"/>
                  </a:lnTo>
                  <a:lnTo>
                    <a:pt x="405" y="101"/>
                  </a:lnTo>
                  <a:lnTo>
                    <a:pt x="405" y="97"/>
                  </a:lnTo>
                  <a:lnTo>
                    <a:pt x="403" y="97"/>
                  </a:lnTo>
                  <a:lnTo>
                    <a:pt x="399" y="97"/>
                  </a:lnTo>
                  <a:lnTo>
                    <a:pt x="397" y="103"/>
                  </a:lnTo>
                  <a:lnTo>
                    <a:pt x="397" y="103"/>
                  </a:lnTo>
                  <a:lnTo>
                    <a:pt x="401" y="107"/>
                  </a:lnTo>
                  <a:lnTo>
                    <a:pt x="401" y="107"/>
                  </a:lnTo>
                  <a:lnTo>
                    <a:pt x="401" y="107"/>
                  </a:lnTo>
                  <a:lnTo>
                    <a:pt x="401" y="107"/>
                  </a:lnTo>
                  <a:lnTo>
                    <a:pt x="401" y="107"/>
                  </a:lnTo>
                  <a:close/>
                  <a:moveTo>
                    <a:pt x="401" y="113"/>
                  </a:moveTo>
                  <a:lnTo>
                    <a:pt x="401" y="116"/>
                  </a:lnTo>
                  <a:lnTo>
                    <a:pt x="403" y="118"/>
                  </a:lnTo>
                  <a:lnTo>
                    <a:pt x="401" y="122"/>
                  </a:lnTo>
                  <a:lnTo>
                    <a:pt x="407" y="126"/>
                  </a:lnTo>
                  <a:lnTo>
                    <a:pt x="411" y="124"/>
                  </a:lnTo>
                  <a:lnTo>
                    <a:pt x="409" y="114"/>
                  </a:lnTo>
                  <a:lnTo>
                    <a:pt x="407" y="113"/>
                  </a:lnTo>
                  <a:lnTo>
                    <a:pt x="405" y="111"/>
                  </a:lnTo>
                  <a:lnTo>
                    <a:pt x="401" y="113"/>
                  </a:lnTo>
                  <a:lnTo>
                    <a:pt x="401" y="113"/>
                  </a:lnTo>
                  <a:lnTo>
                    <a:pt x="401" y="113"/>
                  </a:lnTo>
                  <a:lnTo>
                    <a:pt x="401" y="113"/>
                  </a:lnTo>
                  <a:close/>
                  <a:moveTo>
                    <a:pt x="350" y="77"/>
                  </a:moveTo>
                  <a:lnTo>
                    <a:pt x="352" y="77"/>
                  </a:lnTo>
                  <a:lnTo>
                    <a:pt x="350" y="73"/>
                  </a:lnTo>
                  <a:lnTo>
                    <a:pt x="350" y="73"/>
                  </a:lnTo>
                  <a:lnTo>
                    <a:pt x="350" y="69"/>
                  </a:lnTo>
                  <a:lnTo>
                    <a:pt x="348" y="69"/>
                  </a:lnTo>
                  <a:lnTo>
                    <a:pt x="348" y="73"/>
                  </a:lnTo>
                  <a:lnTo>
                    <a:pt x="350" y="77"/>
                  </a:lnTo>
                  <a:lnTo>
                    <a:pt x="350" y="77"/>
                  </a:lnTo>
                  <a:lnTo>
                    <a:pt x="350" y="77"/>
                  </a:lnTo>
                  <a:lnTo>
                    <a:pt x="350" y="77"/>
                  </a:lnTo>
                  <a:close/>
                  <a:moveTo>
                    <a:pt x="343" y="101"/>
                  </a:moveTo>
                  <a:lnTo>
                    <a:pt x="345" y="103"/>
                  </a:lnTo>
                  <a:lnTo>
                    <a:pt x="347" y="97"/>
                  </a:lnTo>
                  <a:lnTo>
                    <a:pt x="345" y="94"/>
                  </a:lnTo>
                  <a:lnTo>
                    <a:pt x="341" y="88"/>
                  </a:lnTo>
                  <a:lnTo>
                    <a:pt x="341" y="82"/>
                  </a:lnTo>
                  <a:lnTo>
                    <a:pt x="343" y="77"/>
                  </a:lnTo>
                  <a:lnTo>
                    <a:pt x="343" y="73"/>
                  </a:lnTo>
                  <a:lnTo>
                    <a:pt x="341" y="69"/>
                  </a:lnTo>
                  <a:lnTo>
                    <a:pt x="341" y="62"/>
                  </a:lnTo>
                  <a:lnTo>
                    <a:pt x="341" y="60"/>
                  </a:lnTo>
                  <a:lnTo>
                    <a:pt x="335" y="64"/>
                  </a:lnTo>
                  <a:lnTo>
                    <a:pt x="335" y="73"/>
                  </a:lnTo>
                  <a:lnTo>
                    <a:pt x="335" y="77"/>
                  </a:lnTo>
                  <a:lnTo>
                    <a:pt x="335" y="81"/>
                  </a:lnTo>
                  <a:lnTo>
                    <a:pt x="341" y="88"/>
                  </a:lnTo>
                  <a:lnTo>
                    <a:pt x="341" y="94"/>
                  </a:lnTo>
                  <a:lnTo>
                    <a:pt x="343" y="101"/>
                  </a:lnTo>
                  <a:lnTo>
                    <a:pt x="343" y="101"/>
                  </a:lnTo>
                  <a:lnTo>
                    <a:pt x="343" y="101"/>
                  </a:lnTo>
                  <a:lnTo>
                    <a:pt x="343" y="101"/>
                  </a:lnTo>
                  <a:close/>
                  <a:moveTo>
                    <a:pt x="145" y="131"/>
                  </a:moveTo>
                  <a:lnTo>
                    <a:pt x="147" y="133"/>
                  </a:lnTo>
                  <a:lnTo>
                    <a:pt x="147" y="133"/>
                  </a:lnTo>
                  <a:lnTo>
                    <a:pt x="151" y="137"/>
                  </a:lnTo>
                  <a:lnTo>
                    <a:pt x="151" y="133"/>
                  </a:lnTo>
                  <a:lnTo>
                    <a:pt x="149" y="131"/>
                  </a:lnTo>
                  <a:lnTo>
                    <a:pt x="145" y="131"/>
                  </a:lnTo>
                  <a:lnTo>
                    <a:pt x="145" y="131"/>
                  </a:lnTo>
                  <a:lnTo>
                    <a:pt x="145" y="131"/>
                  </a:lnTo>
                  <a:lnTo>
                    <a:pt x="145" y="131"/>
                  </a:lnTo>
                  <a:close/>
                  <a:moveTo>
                    <a:pt x="19" y="291"/>
                  </a:moveTo>
                  <a:lnTo>
                    <a:pt x="23" y="295"/>
                  </a:lnTo>
                  <a:lnTo>
                    <a:pt x="27" y="295"/>
                  </a:lnTo>
                  <a:lnTo>
                    <a:pt x="28" y="297"/>
                  </a:lnTo>
                  <a:lnTo>
                    <a:pt x="32" y="297"/>
                  </a:lnTo>
                  <a:lnTo>
                    <a:pt x="30" y="295"/>
                  </a:lnTo>
                  <a:lnTo>
                    <a:pt x="28" y="295"/>
                  </a:lnTo>
                  <a:lnTo>
                    <a:pt x="25" y="290"/>
                  </a:lnTo>
                  <a:lnTo>
                    <a:pt x="23" y="290"/>
                  </a:lnTo>
                  <a:lnTo>
                    <a:pt x="19" y="290"/>
                  </a:lnTo>
                  <a:lnTo>
                    <a:pt x="19" y="291"/>
                  </a:lnTo>
                  <a:lnTo>
                    <a:pt x="19" y="291"/>
                  </a:lnTo>
                  <a:lnTo>
                    <a:pt x="19" y="291"/>
                  </a:lnTo>
                  <a:lnTo>
                    <a:pt x="19" y="291"/>
                  </a:lnTo>
                  <a:close/>
                  <a:moveTo>
                    <a:pt x="0" y="291"/>
                  </a:moveTo>
                  <a:lnTo>
                    <a:pt x="4" y="297"/>
                  </a:lnTo>
                  <a:lnTo>
                    <a:pt x="10" y="297"/>
                  </a:lnTo>
                  <a:lnTo>
                    <a:pt x="13" y="299"/>
                  </a:lnTo>
                  <a:lnTo>
                    <a:pt x="17" y="295"/>
                  </a:lnTo>
                  <a:lnTo>
                    <a:pt x="13" y="291"/>
                  </a:lnTo>
                  <a:lnTo>
                    <a:pt x="8" y="290"/>
                  </a:lnTo>
                  <a:lnTo>
                    <a:pt x="2" y="290"/>
                  </a:lnTo>
                  <a:lnTo>
                    <a:pt x="0" y="291"/>
                  </a:lnTo>
                  <a:lnTo>
                    <a:pt x="0" y="291"/>
                  </a:lnTo>
                  <a:lnTo>
                    <a:pt x="0" y="291"/>
                  </a:lnTo>
                  <a:lnTo>
                    <a:pt x="0" y="291"/>
                  </a:lnTo>
                  <a:close/>
                  <a:moveTo>
                    <a:pt x="141" y="446"/>
                  </a:moveTo>
                  <a:lnTo>
                    <a:pt x="141" y="448"/>
                  </a:lnTo>
                  <a:lnTo>
                    <a:pt x="141" y="450"/>
                  </a:lnTo>
                  <a:lnTo>
                    <a:pt x="145" y="448"/>
                  </a:lnTo>
                  <a:lnTo>
                    <a:pt x="141" y="446"/>
                  </a:lnTo>
                  <a:lnTo>
                    <a:pt x="141" y="446"/>
                  </a:lnTo>
                  <a:lnTo>
                    <a:pt x="141" y="446"/>
                  </a:lnTo>
                  <a:lnTo>
                    <a:pt x="141" y="446"/>
                  </a:lnTo>
                  <a:lnTo>
                    <a:pt x="141" y="446"/>
                  </a:lnTo>
                  <a:close/>
                  <a:moveTo>
                    <a:pt x="141" y="463"/>
                  </a:moveTo>
                  <a:lnTo>
                    <a:pt x="145" y="465"/>
                  </a:lnTo>
                  <a:lnTo>
                    <a:pt x="147" y="465"/>
                  </a:lnTo>
                  <a:lnTo>
                    <a:pt x="155" y="465"/>
                  </a:lnTo>
                  <a:lnTo>
                    <a:pt x="155" y="465"/>
                  </a:lnTo>
                  <a:lnTo>
                    <a:pt x="156" y="465"/>
                  </a:lnTo>
                  <a:lnTo>
                    <a:pt x="156" y="465"/>
                  </a:lnTo>
                  <a:lnTo>
                    <a:pt x="155" y="463"/>
                  </a:lnTo>
                  <a:lnTo>
                    <a:pt x="151" y="461"/>
                  </a:lnTo>
                  <a:lnTo>
                    <a:pt x="149" y="463"/>
                  </a:lnTo>
                  <a:lnTo>
                    <a:pt x="147" y="459"/>
                  </a:lnTo>
                  <a:lnTo>
                    <a:pt x="141" y="459"/>
                  </a:lnTo>
                  <a:lnTo>
                    <a:pt x="141" y="461"/>
                  </a:lnTo>
                  <a:lnTo>
                    <a:pt x="141" y="463"/>
                  </a:lnTo>
                  <a:lnTo>
                    <a:pt x="141" y="463"/>
                  </a:lnTo>
                  <a:lnTo>
                    <a:pt x="141" y="463"/>
                  </a:lnTo>
                  <a:lnTo>
                    <a:pt x="141" y="463"/>
                  </a:lnTo>
                  <a:close/>
                  <a:moveTo>
                    <a:pt x="147" y="469"/>
                  </a:moveTo>
                  <a:lnTo>
                    <a:pt x="149" y="469"/>
                  </a:lnTo>
                  <a:lnTo>
                    <a:pt x="151" y="469"/>
                  </a:lnTo>
                  <a:lnTo>
                    <a:pt x="149" y="469"/>
                  </a:lnTo>
                  <a:lnTo>
                    <a:pt x="147" y="469"/>
                  </a:lnTo>
                  <a:lnTo>
                    <a:pt x="147" y="469"/>
                  </a:lnTo>
                  <a:lnTo>
                    <a:pt x="147" y="469"/>
                  </a:lnTo>
                  <a:lnTo>
                    <a:pt x="147" y="469"/>
                  </a:lnTo>
                  <a:close/>
                  <a:moveTo>
                    <a:pt x="149" y="493"/>
                  </a:moveTo>
                  <a:lnTo>
                    <a:pt x="151" y="495"/>
                  </a:lnTo>
                  <a:lnTo>
                    <a:pt x="151" y="495"/>
                  </a:lnTo>
                  <a:lnTo>
                    <a:pt x="155" y="497"/>
                  </a:lnTo>
                  <a:lnTo>
                    <a:pt x="155" y="495"/>
                  </a:lnTo>
                  <a:lnTo>
                    <a:pt x="155" y="493"/>
                  </a:lnTo>
                  <a:lnTo>
                    <a:pt x="151" y="491"/>
                  </a:lnTo>
                  <a:lnTo>
                    <a:pt x="149" y="491"/>
                  </a:lnTo>
                  <a:lnTo>
                    <a:pt x="149" y="493"/>
                  </a:lnTo>
                  <a:lnTo>
                    <a:pt x="149" y="493"/>
                  </a:lnTo>
                  <a:lnTo>
                    <a:pt x="149" y="493"/>
                  </a:lnTo>
                  <a:lnTo>
                    <a:pt x="149" y="493"/>
                  </a:lnTo>
                  <a:close/>
                  <a:moveTo>
                    <a:pt x="145" y="502"/>
                  </a:moveTo>
                  <a:lnTo>
                    <a:pt x="145" y="504"/>
                  </a:lnTo>
                  <a:lnTo>
                    <a:pt x="149" y="504"/>
                  </a:lnTo>
                  <a:lnTo>
                    <a:pt x="151" y="502"/>
                  </a:lnTo>
                  <a:lnTo>
                    <a:pt x="147" y="499"/>
                  </a:lnTo>
                  <a:lnTo>
                    <a:pt x="145" y="499"/>
                  </a:lnTo>
                  <a:lnTo>
                    <a:pt x="145" y="502"/>
                  </a:lnTo>
                  <a:lnTo>
                    <a:pt x="145" y="502"/>
                  </a:lnTo>
                  <a:lnTo>
                    <a:pt x="145" y="502"/>
                  </a:lnTo>
                  <a:lnTo>
                    <a:pt x="145" y="502"/>
                  </a:lnTo>
                  <a:close/>
                  <a:moveTo>
                    <a:pt x="151" y="516"/>
                  </a:moveTo>
                  <a:lnTo>
                    <a:pt x="151" y="516"/>
                  </a:lnTo>
                  <a:lnTo>
                    <a:pt x="151" y="514"/>
                  </a:lnTo>
                  <a:lnTo>
                    <a:pt x="151" y="512"/>
                  </a:lnTo>
                  <a:lnTo>
                    <a:pt x="151" y="510"/>
                  </a:lnTo>
                  <a:lnTo>
                    <a:pt x="151" y="512"/>
                  </a:lnTo>
                  <a:lnTo>
                    <a:pt x="151" y="516"/>
                  </a:lnTo>
                  <a:lnTo>
                    <a:pt x="151" y="516"/>
                  </a:lnTo>
                  <a:lnTo>
                    <a:pt x="151" y="516"/>
                  </a:lnTo>
                  <a:lnTo>
                    <a:pt x="151" y="516"/>
                  </a:lnTo>
                  <a:close/>
                  <a:moveTo>
                    <a:pt x="155" y="519"/>
                  </a:moveTo>
                  <a:lnTo>
                    <a:pt x="155" y="521"/>
                  </a:lnTo>
                  <a:lnTo>
                    <a:pt x="155" y="521"/>
                  </a:lnTo>
                  <a:lnTo>
                    <a:pt x="155" y="519"/>
                  </a:lnTo>
                  <a:lnTo>
                    <a:pt x="155" y="519"/>
                  </a:lnTo>
                  <a:lnTo>
                    <a:pt x="155" y="519"/>
                  </a:lnTo>
                  <a:lnTo>
                    <a:pt x="155" y="519"/>
                  </a:lnTo>
                  <a:lnTo>
                    <a:pt x="155" y="519"/>
                  </a:lnTo>
                  <a:close/>
                  <a:moveTo>
                    <a:pt x="141" y="523"/>
                  </a:moveTo>
                  <a:lnTo>
                    <a:pt x="145" y="521"/>
                  </a:lnTo>
                  <a:lnTo>
                    <a:pt x="145" y="519"/>
                  </a:lnTo>
                  <a:lnTo>
                    <a:pt x="141" y="521"/>
                  </a:lnTo>
                  <a:lnTo>
                    <a:pt x="141" y="523"/>
                  </a:lnTo>
                  <a:lnTo>
                    <a:pt x="141" y="523"/>
                  </a:lnTo>
                  <a:lnTo>
                    <a:pt x="141" y="523"/>
                  </a:lnTo>
                  <a:lnTo>
                    <a:pt x="141" y="523"/>
                  </a:lnTo>
                  <a:close/>
                  <a:moveTo>
                    <a:pt x="149" y="521"/>
                  </a:moveTo>
                  <a:lnTo>
                    <a:pt x="151" y="521"/>
                  </a:lnTo>
                  <a:lnTo>
                    <a:pt x="151" y="521"/>
                  </a:lnTo>
                  <a:lnTo>
                    <a:pt x="151" y="519"/>
                  </a:lnTo>
                  <a:lnTo>
                    <a:pt x="149" y="521"/>
                  </a:lnTo>
                  <a:lnTo>
                    <a:pt x="149" y="521"/>
                  </a:lnTo>
                  <a:lnTo>
                    <a:pt x="149" y="521"/>
                  </a:lnTo>
                  <a:lnTo>
                    <a:pt x="149" y="521"/>
                  </a:lnTo>
                  <a:close/>
                  <a:moveTo>
                    <a:pt x="147" y="527"/>
                  </a:moveTo>
                  <a:lnTo>
                    <a:pt x="149" y="525"/>
                  </a:lnTo>
                  <a:lnTo>
                    <a:pt x="151" y="525"/>
                  </a:lnTo>
                  <a:lnTo>
                    <a:pt x="149" y="525"/>
                  </a:lnTo>
                  <a:lnTo>
                    <a:pt x="147" y="527"/>
                  </a:lnTo>
                  <a:lnTo>
                    <a:pt x="147" y="527"/>
                  </a:lnTo>
                  <a:lnTo>
                    <a:pt x="147" y="527"/>
                  </a:lnTo>
                  <a:lnTo>
                    <a:pt x="147" y="527"/>
                  </a:lnTo>
                  <a:close/>
                  <a:moveTo>
                    <a:pt x="151" y="533"/>
                  </a:moveTo>
                  <a:lnTo>
                    <a:pt x="151" y="533"/>
                  </a:lnTo>
                  <a:lnTo>
                    <a:pt x="149" y="533"/>
                  </a:lnTo>
                  <a:lnTo>
                    <a:pt x="147" y="529"/>
                  </a:lnTo>
                  <a:lnTo>
                    <a:pt x="147" y="533"/>
                  </a:lnTo>
                  <a:lnTo>
                    <a:pt x="151" y="533"/>
                  </a:lnTo>
                  <a:lnTo>
                    <a:pt x="151" y="533"/>
                  </a:lnTo>
                  <a:lnTo>
                    <a:pt x="151" y="533"/>
                  </a:lnTo>
                  <a:lnTo>
                    <a:pt x="151" y="533"/>
                  </a:lnTo>
                  <a:close/>
                  <a:moveTo>
                    <a:pt x="151" y="534"/>
                  </a:moveTo>
                  <a:lnTo>
                    <a:pt x="155" y="534"/>
                  </a:lnTo>
                  <a:lnTo>
                    <a:pt x="155" y="533"/>
                  </a:lnTo>
                  <a:lnTo>
                    <a:pt x="155" y="533"/>
                  </a:lnTo>
                  <a:lnTo>
                    <a:pt x="151" y="533"/>
                  </a:lnTo>
                  <a:lnTo>
                    <a:pt x="151" y="533"/>
                  </a:lnTo>
                  <a:lnTo>
                    <a:pt x="151" y="534"/>
                  </a:lnTo>
                  <a:lnTo>
                    <a:pt x="151" y="534"/>
                  </a:lnTo>
                  <a:lnTo>
                    <a:pt x="151" y="534"/>
                  </a:lnTo>
                  <a:lnTo>
                    <a:pt x="151" y="534"/>
                  </a:lnTo>
                  <a:close/>
                  <a:moveTo>
                    <a:pt x="141" y="544"/>
                  </a:moveTo>
                  <a:lnTo>
                    <a:pt x="145" y="542"/>
                  </a:lnTo>
                  <a:lnTo>
                    <a:pt x="145" y="542"/>
                  </a:lnTo>
                  <a:lnTo>
                    <a:pt x="145" y="542"/>
                  </a:lnTo>
                  <a:lnTo>
                    <a:pt x="141" y="542"/>
                  </a:lnTo>
                  <a:lnTo>
                    <a:pt x="140" y="544"/>
                  </a:lnTo>
                  <a:lnTo>
                    <a:pt x="141" y="544"/>
                  </a:lnTo>
                  <a:lnTo>
                    <a:pt x="141" y="544"/>
                  </a:lnTo>
                  <a:lnTo>
                    <a:pt x="141" y="544"/>
                  </a:lnTo>
                  <a:lnTo>
                    <a:pt x="141" y="544"/>
                  </a:lnTo>
                  <a:close/>
                  <a:moveTo>
                    <a:pt x="147" y="551"/>
                  </a:moveTo>
                  <a:lnTo>
                    <a:pt x="155" y="546"/>
                  </a:lnTo>
                  <a:lnTo>
                    <a:pt x="155" y="542"/>
                  </a:lnTo>
                  <a:lnTo>
                    <a:pt x="155" y="540"/>
                  </a:lnTo>
                  <a:lnTo>
                    <a:pt x="155" y="540"/>
                  </a:lnTo>
                  <a:lnTo>
                    <a:pt x="151" y="544"/>
                  </a:lnTo>
                  <a:lnTo>
                    <a:pt x="147" y="544"/>
                  </a:lnTo>
                  <a:lnTo>
                    <a:pt x="147" y="546"/>
                  </a:lnTo>
                  <a:lnTo>
                    <a:pt x="145" y="548"/>
                  </a:lnTo>
                  <a:lnTo>
                    <a:pt x="145" y="550"/>
                  </a:lnTo>
                  <a:lnTo>
                    <a:pt x="145" y="551"/>
                  </a:lnTo>
                  <a:lnTo>
                    <a:pt x="147" y="551"/>
                  </a:lnTo>
                  <a:lnTo>
                    <a:pt x="147" y="551"/>
                  </a:lnTo>
                  <a:lnTo>
                    <a:pt x="147" y="551"/>
                  </a:lnTo>
                  <a:lnTo>
                    <a:pt x="147" y="551"/>
                  </a:lnTo>
                  <a:lnTo>
                    <a:pt x="147" y="551"/>
                  </a:lnTo>
                  <a:close/>
                  <a:moveTo>
                    <a:pt x="155" y="550"/>
                  </a:moveTo>
                  <a:lnTo>
                    <a:pt x="155" y="550"/>
                  </a:lnTo>
                  <a:lnTo>
                    <a:pt x="155" y="548"/>
                  </a:lnTo>
                  <a:lnTo>
                    <a:pt x="155" y="548"/>
                  </a:lnTo>
                  <a:lnTo>
                    <a:pt x="155" y="550"/>
                  </a:lnTo>
                  <a:lnTo>
                    <a:pt x="155" y="550"/>
                  </a:lnTo>
                  <a:lnTo>
                    <a:pt x="155" y="550"/>
                  </a:lnTo>
                  <a:lnTo>
                    <a:pt x="155" y="550"/>
                  </a:lnTo>
                  <a:close/>
                  <a:moveTo>
                    <a:pt x="151" y="553"/>
                  </a:moveTo>
                  <a:lnTo>
                    <a:pt x="151" y="553"/>
                  </a:lnTo>
                  <a:lnTo>
                    <a:pt x="151" y="551"/>
                  </a:lnTo>
                  <a:lnTo>
                    <a:pt x="151" y="551"/>
                  </a:lnTo>
                  <a:lnTo>
                    <a:pt x="151" y="553"/>
                  </a:lnTo>
                  <a:lnTo>
                    <a:pt x="151" y="553"/>
                  </a:lnTo>
                  <a:lnTo>
                    <a:pt x="151" y="553"/>
                  </a:lnTo>
                  <a:lnTo>
                    <a:pt x="151" y="553"/>
                  </a:lnTo>
                  <a:close/>
                  <a:moveTo>
                    <a:pt x="145" y="555"/>
                  </a:moveTo>
                  <a:lnTo>
                    <a:pt x="147" y="553"/>
                  </a:lnTo>
                  <a:lnTo>
                    <a:pt x="145" y="553"/>
                  </a:lnTo>
                  <a:lnTo>
                    <a:pt x="145" y="553"/>
                  </a:lnTo>
                  <a:lnTo>
                    <a:pt x="145" y="555"/>
                  </a:lnTo>
                  <a:lnTo>
                    <a:pt x="145" y="555"/>
                  </a:lnTo>
                  <a:lnTo>
                    <a:pt x="145" y="555"/>
                  </a:lnTo>
                  <a:lnTo>
                    <a:pt x="145" y="555"/>
                  </a:lnTo>
                  <a:lnTo>
                    <a:pt x="145" y="555"/>
                  </a:lnTo>
                  <a:close/>
                  <a:moveTo>
                    <a:pt x="140" y="568"/>
                  </a:moveTo>
                  <a:lnTo>
                    <a:pt x="140" y="572"/>
                  </a:lnTo>
                  <a:lnTo>
                    <a:pt x="141" y="572"/>
                  </a:lnTo>
                  <a:lnTo>
                    <a:pt x="145" y="568"/>
                  </a:lnTo>
                  <a:lnTo>
                    <a:pt x="149" y="567"/>
                  </a:lnTo>
                  <a:lnTo>
                    <a:pt x="149" y="563"/>
                  </a:lnTo>
                  <a:lnTo>
                    <a:pt x="147" y="563"/>
                  </a:lnTo>
                  <a:lnTo>
                    <a:pt x="145" y="563"/>
                  </a:lnTo>
                  <a:lnTo>
                    <a:pt x="141" y="563"/>
                  </a:lnTo>
                  <a:lnTo>
                    <a:pt x="141" y="568"/>
                  </a:lnTo>
                  <a:lnTo>
                    <a:pt x="141" y="568"/>
                  </a:lnTo>
                  <a:lnTo>
                    <a:pt x="140" y="568"/>
                  </a:lnTo>
                  <a:lnTo>
                    <a:pt x="140" y="568"/>
                  </a:lnTo>
                  <a:lnTo>
                    <a:pt x="140" y="568"/>
                  </a:lnTo>
                  <a:lnTo>
                    <a:pt x="140" y="568"/>
                  </a:lnTo>
                  <a:close/>
                  <a:moveTo>
                    <a:pt x="136" y="578"/>
                  </a:moveTo>
                  <a:lnTo>
                    <a:pt x="138" y="582"/>
                  </a:lnTo>
                  <a:lnTo>
                    <a:pt x="140" y="582"/>
                  </a:lnTo>
                  <a:lnTo>
                    <a:pt x="141" y="580"/>
                  </a:lnTo>
                  <a:lnTo>
                    <a:pt x="138" y="578"/>
                  </a:lnTo>
                  <a:lnTo>
                    <a:pt x="136" y="578"/>
                  </a:lnTo>
                  <a:lnTo>
                    <a:pt x="136" y="578"/>
                  </a:lnTo>
                  <a:lnTo>
                    <a:pt x="136" y="578"/>
                  </a:lnTo>
                  <a:lnTo>
                    <a:pt x="136" y="578"/>
                  </a:lnTo>
                  <a:close/>
                  <a:moveTo>
                    <a:pt x="217" y="1007"/>
                  </a:moveTo>
                  <a:lnTo>
                    <a:pt x="220" y="1005"/>
                  </a:lnTo>
                  <a:lnTo>
                    <a:pt x="222" y="1004"/>
                  </a:lnTo>
                  <a:lnTo>
                    <a:pt x="224" y="1005"/>
                  </a:lnTo>
                  <a:lnTo>
                    <a:pt x="222" y="1007"/>
                  </a:lnTo>
                  <a:lnTo>
                    <a:pt x="220" y="1007"/>
                  </a:lnTo>
                  <a:lnTo>
                    <a:pt x="219" y="1009"/>
                  </a:lnTo>
                  <a:lnTo>
                    <a:pt x="217" y="1007"/>
                  </a:lnTo>
                  <a:lnTo>
                    <a:pt x="217" y="1007"/>
                  </a:lnTo>
                  <a:lnTo>
                    <a:pt x="217" y="1007"/>
                  </a:lnTo>
                  <a:lnTo>
                    <a:pt x="217" y="1007"/>
                  </a:lnTo>
                  <a:close/>
                  <a:moveTo>
                    <a:pt x="198" y="998"/>
                  </a:moveTo>
                  <a:lnTo>
                    <a:pt x="200" y="998"/>
                  </a:lnTo>
                  <a:lnTo>
                    <a:pt x="200" y="994"/>
                  </a:lnTo>
                  <a:lnTo>
                    <a:pt x="200" y="994"/>
                  </a:lnTo>
                  <a:lnTo>
                    <a:pt x="200" y="990"/>
                  </a:lnTo>
                  <a:lnTo>
                    <a:pt x="200" y="990"/>
                  </a:lnTo>
                  <a:lnTo>
                    <a:pt x="200" y="992"/>
                  </a:lnTo>
                  <a:lnTo>
                    <a:pt x="198" y="994"/>
                  </a:lnTo>
                  <a:lnTo>
                    <a:pt x="198" y="998"/>
                  </a:lnTo>
                  <a:lnTo>
                    <a:pt x="198" y="998"/>
                  </a:lnTo>
                  <a:lnTo>
                    <a:pt x="198" y="998"/>
                  </a:lnTo>
                  <a:lnTo>
                    <a:pt x="198" y="998"/>
                  </a:lnTo>
                  <a:close/>
                  <a:moveTo>
                    <a:pt x="183" y="973"/>
                  </a:moveTo>
                  <a:lnTo>
                    <a:pt x="185" y="973"/>
                  </a:lnTo>
                  <a:lnTo>
                    <a:pt x="187" y="973"/>
                  </a:lnTo>
                  <a:lnTo>
                    <a:pt x="188" y="973"/>
                  </a:lnTo>
                  <a:lnTo>
                    <a:pt x="188" y="970"/>
                  </a:lnTo>
                  <a:lnTo>
                    <a:pt x="187" y="970"/>
                  </a:lnTo>
                  <a:lnTo>
                    <a:pt x="183" y="973"/>
                  </a:lnTo>
                  <a:lnTo>
                    <a:pt x="183" y="973"/>
                  </a:lnTo>
                  <a:lnTo>
                    <a:pt x="183" y="973"/>
                  </a:lnTo>
                  <a:lnTo>
                    <a:pt x="183" y="973"/>
                  </a:lnTo>
                  <a:close/>
                  <a:moveTo>
                    <a:pt x="175" y="973"/>
                  </a:moveTo>
                  <a:lnTo>
                    <a:pt x="179" y="973"/>
                  </a:lnTo>
                  <a:lnTo>
                    <a:pt x="179" y="973"/>
                  </a:lnTo>
                  <a:lnTo>
                    <a:pt x="179" y="973"/>
                  </a:lnTo>
                  <a:lnTo>
                    <a:pt x="179" y="970"/>
                  </a:lnTo>
                  <a:lnTo>
                    <a:pt x="175" y="973"/>
                  </a:lnTo>
                  <a:lnTo>
                    <a:pt x="175" y="973"/>
                  </a:lnTo>
                  <a:lnTo>
                    <a:pt x="175" y="973"/>
                  </a:lnTo>
                  <a:lnTo>
                    <a:pt x="175" y="973"/>
                  </a:lnTo>
                  <a:close/>
                  <a:moveTo>
                    <a:pt x="156" y="973"/>
                  </a:moveTo>
                  <a:lnTo>
                    <a:pt x="156" y="973"/>
                  </a:lnTo>
                  <a:lnTo>
                    <a:pt x="158" y="975"/>
                  </a:lnTo>
                  <a:lnTo>
                    <a:pt x="160" y="977"/>
                  </a:lnTo>
                  <a:lnTo>
                    <a:pt x="162" y="975"/>
                  </a:lnTo>
                  <a:lnTo>
                    <a:pt x="160" y="973"/>
                  </a:lnTo>
                  <a:lnTo>
                    <a:pt x="158" y="973"/>
                  </a:lnTo>
                  <a:lnTo>
                    <a:pt x="156" y="973"/>
                  </a:lnTo>
                  <a:lnTo>
                    <a:pt x="156" y="973"/>
                  </a:lnTo>
                  <a:lnTo>
                    <a:pt x="156" y="973"/>
                  </a:lnTo>
                  <a:lnTo>
                    <a:pt x="156" y="973"/>
                  </a:lnTo>
                  <a:close/>
                  <a:moveTo>
                    <a:pt x="132" y="860"/>
                  </a:moveTo>
                  <a:lnTo>
                    <a:pt x="132" y="860"/>
                  </a:lnTo>
                  <a:lnTo>
                    <a:pt x="136" y="857"/>
                  </a:lnTo>
                  <a:lnTo>
                    <a:pt x="140" y="853"/>
                  </a:lnTo>
                  <a:lnTo>
                    <a:pt x="138" y="853"/>
                  </a:lnTo>
                  <a:lnTo>
                    <a:pt x="136" y="857"/>
                  </a:lnTo>
                  <a:lnTo>
                    <a:pt x="132" y="860"/>
                  </a:lnTo>
                  <a:lnTo>
                    <a:pt x="132" y="860"/>
                  </a:lnTo>
                  <a:lnTo>
                    <a:pt x="132" y="860"/>
                  </a:lnTo>
                  <a:lnTo>
                    <a:pt x="132" y="860"/>
                  </a:lnTo>
                  <a:close/>
                  <a:moveTo>
                    <a:pt x="132" y="855"/>
                  </a:moveTo>
                  <a:lnTo>
                    <a:pt x="132" y="855"/>
                  </a:lnTo>
                  <a:lnTo>
                    <a:pt x="132" y="857"/>
                  </a:lnTo>
                  <a:lnTo>
                    <a:pt x="132" y="857"/>
                  </a:lnTo>
                  <a:lnTo>
                    <a:pt x="134" y="855"/>
                  </a:lnTo>
                  <a:lnTo>
                    <a:pt x="136" y="853"/>
                  </a:lnTo>
                  <a:lnTo>
                    <a:pt x="134" y="853"/>
                  </a:lnTo>
                  <a:lnTo>
                    <a:pt x="132" y="855"/>
                  </a:lnTo>
                  <a:lnTo>
                    <a:pt x="132" y="855"/>
                  </a:lnTo>
                  <a:lnTo>
                    <a:pt x="132" y="855"/>
                  </a:lnTo>
                  <a:lnTo>
                    <a:pt x="132" y="855"/>
                  </a:lnTo>
                  <a:close/>
                  <a:moveTo>
                    <a:pt x="117" y="817"/>
                  </a:moveTo>
                  <a:lnTo>
                    <a:pt x="115" y="819"/>
                  </a:lnTo>
                  <a:lnTo>
                    <a:pt x="117" y="819"/>
                  </a:lnTo>
                  <a:lnTo>
                    <a:pt x="117" y="819"/>
                  </a:lnTo>
                  <a:lnTo>
                    <a:pt x="117" y="817"/>
                  </a:lnTo>
                  <a:lnTo>
                    <a:pt x="117" y="817"/>
                  </a:lnTo>
                  <a:lnTo>
                    <a:pt x="117" y="817"/>
                  </a:lnTo>
                  <a:lnTo>
                    <a:pt x="117" y="817"/>
                  </a:lnTo>
                  <a:lnTo>
                    <a:pt x="117" y="817"/>
                  </a:lnTo>
                  <a:lnTo>
                    <a:pt x="117" y="817"/>
                  </a:lnTo>
                  <a:close/>
                  <a:moveTo>
                    <a:pt x="115" y="811"/>
                  </a:moveTo>
                  <a:lnTo>
                    <a:pt x="115" y="815"/>
                  </a:lnTo>
                  <a:lnTo>
                    <a:pt x="117" y="815"/>
                  </a:lnTo>
                  <a:lnTo>
                    <a:pt x="117" y="811"/>
                  </a:lnTo>
                  <a:lnTo>
                    <a:pt x="117" y="811"/>
                  </a:lnTo>
                  <a:lnTo>
                    <a:pt x="115" y="811"/>
                  </a:lnTo>
                  <a:lnTo>
                    <a:pt x="115" y="811"/>
                  </a:lnTo>
                  <a:lnTo>
                    <a:pt x="115" y="811"/>
                  </a:lnTo>
                  <a:lnTo>
                    <a:pt x="115" y="811"/>
                  </a:lnTo>
                  <a:close/>
                  <a:moveTo>
                    <a:pt x="117" y="777"/>
                  </a:moveTo>
                  <a:lnTo>
                    <a:pt x="121" y="779"/>
                  </a:lnTo>
                  <a:lnTo>
                    <a:pt x="123" y="777"/>
                  </a:lnTo>
                  <a:lnTo>
                    <a:pt x="121" y="776"/>
                  </a:lnTo>
                  <a:lnTo>
                    <a:pt x="117" y="777"/>
                  </a:lnTo>
                  <a:lnTo>
                    <a:pt x="117" y="777"/>
                  </a:lnTo>
                  <a:lnTo>
                    <a:pt x="117" y="777"/>
                  </a:lnTo>
                  <a:lnTo>
                    <a:pt x="117" y="777"/>
                  </a:lnTo>
                  <a:close/>
                  <a:moveTo>
                    <a:pt x="117" y="772"/>
                  </a:moveTo>
                  <a:lnTo>
                    <a:pt x="121" y="772"/>
                  </a:lnTo>
                  <a:lnTo>
                    <a:pt x="123" y="772"/>
                  </a:lnTo>
                  <a:lnTo>
                    <a:pt x="126" y="772"/>
                  </a:lnTo>
                  <a:lnTo>
                    <a:pt x="123" y="772"/>
                  </a:lnTo>
                  <a:lnTo>
                    <a:pt x="117" y="772"/>
                  </a:lnTo>
                  <a:lnTo>
                    <a:pt x="117" y="772"/>
                  </a:lnTo>
                  <a:lnTo>
                    <a:pt x="117" y="772"/>
                  </a:lnTo>
                  <a:lnTo>
                    <a:pt x="117" y="772"/>
                  </a:lnTo>
                  <a:lnTo>
                    <a:pt x="117" y="772"/>
                  </a:lnTo>
                  <a:close/>
                  <a:moveTo>
                    <a:pt x="111" y="772"/>
                  </a:moveTo>
                  <a:lnTo>
                    <a:pt x="113" y="772"/>
                  </a:lnTo>
                  <a:lnTo>
                    <a:pt x="115" y="772"/>
                  </a:lnTo>
                  <a:lnTo>
                    <a:pt x="113" y="772"/>
                  </a:lnTo>
                  <a:lnTo>
                    <a:pt x="113" y="772"/>
                  </a:lnTo>
                  <a:lnTo>
                    <a:pt x="111" y="772"/>
                  </a:lnTo>
                  <a:lnTo>
                    <a:pt x="111" y="772"/>
                  </a:lnTo>
                  <a:lnTo>
                    <a:pt x="111" y="772"/>
                  </a:lnTo>
                  <a:lnTo>
                    <a:pt x="111" y="772"/>
                  </a:lnTo>
                  <a:close/>
                  <a:moveTo>
                    <a:pt x="123" y="740"/>
                  </a:moveTo>
                  <a:lnTo>
                    <a:pt x="121" y="742"/>
                  </a:lnTo>
                  <a:lnTo>
                    <a:pt x="123" y="742"/>
                  </a:lnTo>
                  <a:lnTo>
                    <a:pt x="124" y="742"/>
                  </a:lnTo>
                  <a:lnTo>
                    <a:pt x="126" y="740"/>
                  </a:lnTo>
                  <a:lnTo>
                    <a:pt x="126" y="738"/>
                  </a:lnTo>
                  <a:lnTo>
                    <a:pt x="124" y="738"/>
                  </a:lnTo>
                  <a:lnTo>
                    <a:pt x="123" y="740"/>
                  </a:lnTo>
                  <a:lnTo>
                    <a:pt x="123" y="740"/>
                  </a:lnTo>
                  <a:lnTo>
                    <a:pt x="123" y="740"/>
                  </a:lnTo>
                  <a:lnTo>
                    <a:pt x="123" y="740"/>
                  </a:lnTo>
                  <a:close/>
                  <a:moveTo>
                    <a:pt x="151" y="727"/>
                  </a:moveTo>
                  <a:lnTo>
                    <a:pt x="155" y="728"/>
                  </a:lnTo>
                  <a:lnTo>
                    <a:pt x="158" y="727"/>
                  </a:lnTo>
                  <a:lnTo>
                    <a:pt x="156" y="725"/>
                  </a:lnTo>
                  <a:lnTo>
                    <a:pt x="155" y="725"/>
                  </a:lnTo>
                  <a:lnTo>
                    <a:pt x="151" y="725"/>
                  </a:lnTo>
                  <a:lnTo>
                    <a:pt x="151" y="727"/>
                  </a:lnTo>
                  <a:lnTo>
                    <a:pt x="151" y="727"/>
                  </a:lnTo>
                  <a:lnTo>
                    <a:pt x="151" y="727"/>
                  </a:lnTo>
                  <a:lnTo>
                    <a:pt x="151" y="727"/>
                  </a:lnTo>
                  <a:close/>
                  <a:moveTo>
                    <a:pt x="140" y="710"/>
                  </a:moveTo>
                  <a:lnTo>
                    <a:pt x="140" y="712"/>
                  </a:lnTo>
                  <a:lnTo>
                    <a:pt x="140" y="713"/>
                  </a:lnTo>
                  <a:lnTo>
                    <a:pt x="145" y="712"/>
                  </a:lnTo>
                  <a:lnTo>
                    <a:pt x="145" y="710"/>
                  </a:lnTo>
                  <a:lnTo>
                    <a:pt x="141" y="710"/>
                  </a:lnTo>
                  <a:lnTo>
                    <a:pt x="140" y="710"/>
                  </a:lnTo>
                  <a:lnTo>
                    <a:pt x="140" y="710"/>
                  </a:lnTo>
                  <a:lnTo>
                    <a:pt x="140" y="710"/>
                  </a:lnTo>
                  <a:lnTo>
                    <a:pt x="140" y="710"/>
                  </a:lnTo>
                  <a:close/>
                  <a:moveTo>
                    <a:pt x="155" y="710"/>
                  </a:moveTo>
                  <a:lnTo>
                    <a:pt x="155" y="712"/>
                  </a:lnTo>
                  <a:lnTo>
                    <a:pt x="156" y="712"/>
                  </a:lnTo>
                  <a:lnTo>
                    <a:pt x="158" y="710"/>
                  </a:lnTo>
                  <a:lnTo>
                    <a:pt x="156" y="708"/>
                  </a:lnTo>
                  <a:lnTo>
                    <a:pt x="155" y="710"/>
                  </a:lnTo>
                  <a:lnTo>
                    <a:pt x="155" y="710"/>
                  </a:lnTo>
                  <a:lnTo>
                    <a:pt x="155" y="710"/>
                  </a:lnTo>
                  <a:lnTo>
                    <a:pt x="155" y="710"/>
                  </a:lnTo>
                  <a:close/>
                  <a:moveTo>
                    <a:pt x="145" y="706"/>
                  </a:moveTo>
                  <a:lnTo>
                    <a:pt x="151" y="708"/>
                  </a:lnTo>
                  <a:lnTo>
                    <a:pt x="151" y="708"/>
                  </a:lnTo>
                  <a:lnTo>
                    <a:pt x="155" y="706"/>
                  </a:lnTo>
                  <a:lnTo>
                    <a:pt x="151" y="706"/>
                  </a:lnTo>
                  <a:lnTo>
                    <a:pt x="149" y="704"/>
                  </a:lnTo>
                  <a:lnTo>
                    <a:pt x="145" y="706"/>
                  </a:lnTo>
                  <a:lnTo>
                    <a:pt x="145" y="706"/>
                  </a:lnTo>
                  <a:lnTo>
                    <a:pt x="145" y="706"/>
                  </a:lnTo>
                  <a:lnTo>
                    <a:pt x="145" y="706"/>
                  </a:lnTo>
                  <a:lnTo>
                    <a:pt x="145" y="706"/>
                  </a:lnTo>
                  <a:close/>
                  <a:moveTo>
                    <a:pt x="179" y="634"/>
                  </a:moveTo>
                  <a:lnTo>
                    <a:pt x="179" y="636"/>
                  </a:lnTo>
                  <a:lnTo>
                    <a:pt x="179" y="638"/>
                  </a:lnTo>
                  <a:lnTo>
                    <a:pt x="181" y="636"/>
                  </a:lnTo>
                  <a:lnTo>
                    <a:pt x="179" y="634"/>
                  </a:lnTo>
                  <a:lnTo>
                    <a:pt x="179" y="634"/>
                  </a:lnTo>
                  <a:lnTo>
                    <a:pt x="179" y="634"/>
                  </a:lnTo>
                  <a:lnTo>
                    <a:pt x="179" y="634"/>
                  </a:lnTo>
                  <a:lnTo>
                    <a:pt x="179" y="634"/>
                  </a:lnTo>
                  <a:close/>
                  <a:moveTo>
                    <a:pt x="175" y="627"/>
                  </a:moveTo>
                  <a:lnTo>
                    <a:pt x="175" y="627"/>
                  </a:lnTo>
                  <a:lnTo>
                    <a:pt x="179" y="629"/>
                  </a:lnTo>
                  <a:lnTo>
                    <a:pt x="179" y="629"/>
                  </a:lnTo>
                  <a:lnTo>
                    <a:pt x="179" y="627"/>
                  </a:lnTo>
                  <a:lnTo>
                    <a:pt x="179" y="627"/>
                  </a:lnTo>
                  <a:lnTo>
                    <a:pt x="175" y="627"/>
                  </a:lnTo>
                  <a:lnTo>
                    <a:pt x="175" y="627"/>
                  </a:lnTo>
                  <a:lnTo>
                    <a:pt x="175" y="627"/>
                  </a:lnTo>
                  <a:lnTo>
                    <a:pt x="175" y="627"/>
                  </a:lnTo>
                  <a:close/>
                  <a:moveTo>
                    <a:pt x="166" y="602"/>
                  </a:moveTo>
                  <a:lnTo>
                    <a:pt x="168" y="602"/>
                  </a:lnTo>
                  <a:lnTo>
                    <a:pt x="172" y="597"/>
                  </a:lnTo>
                  <a:lnTo>
                    <a:pt x="173" y="597"/>
                  </a:lnTo>
                  <a:lnTo>
                    <a:pt x="173" y="597"/>
                  </a:lnTo>
                  <a:lnTo>
                    <a:pt x="170" y="597"/>
                  </a:lnTo>
                  <a:lnTo>
                    <a:pt x="168" y="593"/>
                  </a:lnTo>
                  <a:lnTo>
                    <a:pt x="166" y="597"/>
                  </a:lnTo>
                  <a:lnTo>
                    <a:pt x="164" y="597"/>
                  </a:lnTo>
                  <a:lnTo>
                    <a:pt x="166" y="602"/>
                  </a:lnTo>
                  <a:lnTo>
                    <a:pt x="166" y="602"/>
                  </a:lnTo>
                  <a:lnTo>
                    <a:pt x="166" y="602"/>
                  </a:lnTo>
                  <a:lnTo>
                    <a:pt x="166" y="602"/>
                  </a:lnTo>
                  <a:close/>
                  <a:moveTo>
                    <a:pt x="166" y="615"/>
                  </a:moveTo>
                  <a:lnTo>
                    <a:pt x="168" y="615"/>
                  </a:lnTo>
                  <a:lnTo>
                    <a:pt x="170" y="615"/>
                  </a:lnTo>
                  <a:lnTo>
                    <a:pt x="173" y="612"/>
                  </a:lnTo>
                  <a:lnTo>
                    <a:pt x="173" y="608"/>
                  </a:lnTo>
                  <a:lnTo>
                    <a:pt x="170" y="606"/>
                  </a:lnTo>
                  <a:lnTo>
                    <a:pt x="166" y="608"/>
                  </a:lnTo>
                  <a:lnTo>
                    <a:pt x="166" y="615"/>
                  </a:lnTo>
                  <a:lnTo>
                    <a:pt x="166" y="615"/>
                  </a:lnTo>
                  <a:lnTo>
                    <a:pt x="166" y="615"/>
                  </a:lnTo>
                  <a:lnTo>
                    <a:pt x="166" y="615"/>
                  </a:lnTo>
                  <a:close/>
                  <a:moveTo>
                    <a:pt x="155" y="615"/>
                  </a:moveTo>
                  <a:lnTo>
                    <a:pt x="156" y="617"/>
                  </a:lnTo>
                  <a:lnTo>
                    <a:pt x="158" y="614"/>
                  </a:lnTo>
                  <a:lnTo>
                    <a:pt x="158" y="612"/>
                  </a:lnTo>
                  <a:lnTo>
                    <a:pt x="160" y="606"/>
                  </a:lnTo>
                  <a:lnTo>
                    <a:pt x="155" y="610"/>
                  </a:lnTo>
                  <a:lnTo>
                    <a:pt x="155" y="612"/>
                  </a:lnTo>
                  <a:lnTo>
                    <a:pt x="155" y="615"/>
                  </a:lnTo>
                  <a:lnTo>
                    <a:pt x="155" y="615"/>
                  </a:lnTo>
                  <a:lnTo>
                    <a:pt x="155" y="615"/>
                  </a:lnTo>
                  <a:lnTo>
                    <a:pt x="155" y="615"/>
                  </a:lnTo>
                  <a:close/>
                  <a:moveTo>
                    <a:pt x="132" y="632"/>
                  </a:moveTo>
                  <a:lnTo>
                    <a:pt x="130" y="634"/>
                  </a:lnTo>
                  <a:lnTo>
                    <a:pt x="132" y="638"/>
                  </a:lnTo>
                  <a:lnTo>
                    <a:pt x="134" y="638"/>
                  </a:lnTo>
                  <a:lnTo>
                    <a:pt x="136" y="636"/>
                  </a:lnTo>
                  <a:lnTo>
                    <a:pt x="134" y="632"/>
                  </a:lnTo>
                  <a:lnTo>
                    <a:pt x="132" y="632"/>
                  </a:lnTo>
                  <a:lnTo>
                    <a:pt x="132" y="632"/>
                  </a:lnTo>
                  <a:lnTo>
                    <a:pt x="132" y="632"/>
                  </a:lnTo>
                  <a:lnTo>
                    <a:pt x="132" y="632"/>
                  </a:lnTo>
                  <a:close/>
                  <a:moveTo>
                    <a:pt x="175" y="668"/>
                  </a:moveTo>
                  <a:lnTo>
                    <a:pt x="175" y="670"/>
                  </a:lnTo>
                  <a:lnTo>
                    <a:pt x="175" y="668"/>
                  </a:lnTo>
                  <a:lnTo>
                    <a:pt x="175" y="672"/>
                  </a:lnTo>
                  <a:lnTo>
                    <a:pt x="175" y="676"/>
                  </a:lnTo>
                  <a:lnTo>
                    <a:pt x="179" y="678"/>
                  </a:lnTo>
                  <a:lnTo>
                    <a:pt x="179" y="676"/>
                  </a:lnTo>
                  <a:lnTo>
                    <a:pt x="181" y="670"/>
                  </a:lnTo>
                  <a:lnTo>
                    <a:pt x="183" y="666"/>
                  </a:lnTo>
                  <a:lnTo>
                    <a:pt x="183" y="666"/>
                  </a:lnTo>
                  <a:lnTo>
                    <a:pt x="181" y="666"/>
                  </a:lnTo>
                  <a:lnTo>
                    <a:pt x="179" y="666"/>
                  </a:lnTo>
                  <a:lnTo>
                    <a:pt x="175" y="668"/>
                  </a:lnTo>
                  <a:lnTo>
                    <a:pt x="175" y="668"/>
                  </a:lnTo>
                  <a:lnTo>
                    <a:pt x="175" y="668"/>
                  </a:lnTo>
                  <a:lnTo>
                    <a:pt x="175" y="668"/>
                  </a:lnTo>
                  <a:close/>
                  <a:moveTo>
                    <a:pt x="130" y="681"/>
                  </a:moveTo>
                  <a:lnTo>
                    <a:pt x="134" y="683"/>
                  </a:lnTo>
                  <a:lnTo>
                    <a:pt x="140" y="683"/>
                  </a:lnTo>
                  <a:lnTo>
                    <a:pt x="140" y="685"/>
                  </a:lnTo>
                  <a:lnTo>
                    <a:pt x="141" y="687"/>
                  </a:lnTo>
                  <a:lnTo>
                    <a:pt x="145" y="685"/>
                  </a:lnTo>
                  <a:lnTo>
                    <a:pt x="155" y="683"/>
                  </a:lnTo>
                  <a:lnTo>
                    <a:pt x="160" y="683"/>
                  </a:lnTo>
                  <a:lnTo>
                    <a:pt x="168" y="678"/>
                  </a:lnTo>
                  <a:lnTo>
                    <a:pt x="166" y="672"/>
                  </a:lnTo>
                  <a:lnTo>
                    <a:pt x="164" y="666"/>
                  </a:lnTo>
                  <a:lnTo>
                    <a:pt x="160" y="666"/>
                  </a:lnTo>
                  <a:lnTo>
                    <a:pt x="156" y="666"/>
                  </a:lnTo>
                  <a:lnTo>
                    <a:pt x="155" y="657"/>
                  </a:lnTo>
                  <a:lnTo>
                    <a:pt x="151" y="651"/>
                  </a:lnTo>
                  <a:lnTo>
                    <a:pt x="145" y="649"/>
                  </a:lnTo>
                  <a:lnTo>
                    <a:pt x="141" y="646"/>
                  </a:lnTo>
                  <a:lnTo>
                    <a:pt x="136" y="644"/>
                  </a:lnTo>
                  <a:lnTo>
                    <a:pt x="132" y="642"/>
                  </a:lnTo>
                  <a:lnTo>
                    <a:pt x="132" y="646"/>
                  </a:lnTo>
                  <a:lnTo>
                    <a:pt x="126" y="649"/>
                  </a:lnTo>
                  <a:lnTo>
                    <a:pt x="126" y="653"/>
                  </a:lnTo>
                  <a:lnTo>
                    <a:pt x="132" y="657"/>
                  </a:lnTo>
                  <a:lnTo>
                    <a:pt x="134" y="661"/>
                  </a:lnTo>
                  <a:lnTo>
                    <a:pt x="130" y="657"/>
                  </a:lnTo>
                  <a:lnTo>
                    <a:pt x="126" y="657"/>
                  </a:lnTo>
                  <a:lnTo>
                    <a:pt x="126" y="661"/>
                  </a:lnTo>
                  <a:lnTo>
                    <a:pt x="126" y="663"/>
                  </a:lnTo>
                  <a:lnTo>
                    <a:pt x="130" y="666"/>
                  </a:lnTo>
                  <a:lnTo>
                    <a:pt x="126" y="668"/>
                  </a:lnTo>
                  <a:lnTo>
                    <a:pt x="126" y="668"/>
                  </a:lnTo>
                  <a:lnTo>
                    <a:pt x="126" y="672"/>
                  </a:lnTo>
                  <a:lnTo>
                    <a:pt x="136" y="674"/>
                  </a:lnTo>
                  <a:lnTo>
                    <a:pt x="138" y="676"/>
                  </a:lnTo>
                  <a:lnTo>
                    <a:pt x="140" y="678"/>
                  </a:lnTo>
                  <a:lnTo>
                    <a:pt x="147" y="674"/>
                  </a:lnTo>
                  <a:lnTo>
                    <a:pt x="141" y="678"/>
                  </a:lnTo>
                  <a:lnTo>
                    <a:pt x="140" y="678"/>
                  </a:lnTo>
                  <a:lnTo>
                    <a:pt x="134" y="678"/>
                  </a:lnTo>
                  <a:lnTo>
                    <a:pt x="132" y="678"/>
                  </a:lnTo>
                  <a:lnTo>
                    <a:pt x="130" y="681"/>
                  </a:lnTo>
                  <a:lnTo>
                    <a:pt x="130" y="681"/>
                  </a:lnTo>
                  <a:lnTo>
                    <a:pt x="130" y="6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4" name="Freeform 157">
              <a:extLst>
                <a:ext uri="{FF2B5EF4-FFF2-40B4-BE49-F238E27FC236}">
                  <a16:creationId xmlns:a16="http://schemas.microsoft.com/office/drawing/2014/main" id="{9C079512-59C7-4B9F-A775-EF81122F55C4}"/>
                </a:ext>
              </a:extLst>
            </p:cNvPr>
            <p:cNvSpPr>
              <a:spLocks noEditPoints="1"/>
            </p:cNvSpPr>
            <p:nvPr/>
          </p:nvSpPr>
          <p:spPr bwMode="auto">
            <a:xfrm>
              <a:off x="1473" y="2723"/>
              <a:ext cx="73" cy="47"/>
            </a:xfrm>
            <a:custGeom>
              <a:avLst/>
              <a:gdLst/>
              <a:ahLst/>
              <a:cxnLst>
                <a:cxn ang="0">
                  <a:pos x="65" y="35"/>
                </a:cxn>
                <a:cxn ang="0">
                  <a:pos x="67" y="35"/>
                </a:cxn>
                <a:cxn ang="0">
                  <a:pos x="64" y="32"/>
                </a:cxn>
                <a:cxn ang="0">
                  <a:pos x="64" y="32"/>
                </a:cxn>
                <a:cxn ang="0">
                  <a:pos x="64" y="32"/>
                </a:cxn>
                <a:cxn ang="0">
                  <a:pos x="9" y="5"/>
                </a:cxn>
                <a:cxn ang="0">
                  <a:pos x="9" y="11"/>
                </a:cxn>
                <a:cxn ang="0">
                  <a:pos x="3" y="17"/>
                </a:cxn>
                <a:cxn ang="0">
                  <a:pos x="5" y="22"/>
                </a:cxn>
                <a:cxn ang="0">
                  <a:pos x="5" y="26"/>
                </a:cxn>
                <a:cxn ang="0">
                  <a:pos x="0" y="35"/>
                </a:cxn>
                <a:cxn ang="0">
                  <a:pos x="5" y="41"/>
                </a:cxn>
                <a:cxn ang="0">
                  <a:pos x="7" y="45"/>
                </a:cxn>
                <a:cxn ang="0">
                  <a:pos x="9" y="47"/>
                </a:cxn>
                <a:cxn ang="0">
                  <a:pos x="18" y="35"/>
                </a:cxn>
                <a:cxn ang="0">
                  <a:pos x="18" y="32"/>
                </a:cxn>
                <a:cxn ang="0">
                  <a:pos x="22" y="32"/>
                </a:cxn>
                <a:cxn ang="0">
                  <a:pos x="28" y="32"/>
                </a:cxn>
                <a:cxn ang="0">
                  <a:pos x="30" y="35"/>
                </a:cxn>
                <a:cxn ang="0">
                  <a:pos x="39" y="30"/>
                </a:cxn>
                <a:cxn ang="0">
                  <a:pos x="52" y="30"/>
                </a:cxn>
                <a:cxn ang="0">
                  <a:pos x="58" y="30"/>
                </a:cxn>
                <a:cxn ang="0">
                  <a:pos x="67" y="32"/>
                </a:cxn>
                <a:cxn ang="0">
                  <a:pos x="71" y="30"/>
                </a:cxn>
                <a:cxn ang="0">
                  <a:pos x="71" y="22"/>
                </a:cxn>
                <a:cxn ang="0">
                  <a:pos x="60" y="18"/>
                </a:cxn>
                <a:cxn ang="0">
                  <a:pos x="52" y="17"/>
                </a:cxn>
                <a:cxn ang="0">
                  <a:pos x="43" y="11"/>
                </a:cxn>
                <a:cxn ang="0">
                  <a:pos x="39" y="11"/>
                </a:cxn>
                <a:cxn ang="0">
                  <a:pos x="54" y="13"/>
                </a:cxn>
                <a:cxn ang="0">
                  <a:pos x="54" y="9"/>
                </a:cxn>
                <a:cxn ang="0">
                  <a:pos x="49" y="9"/>
                </a:cxn>
                <a:cxn ang="0">
                  <a:pos x="39" y="1"/>
                </a:cxn>
                <a:cxn ang="0">
                  <a:pos x="37" y="1"/>
                </a:cxn>
                <a:cxn ang="0">
                  <a:pos x="18" y="0"/>
                </a:cxn>
                <a:cxn ang="0">
                  <a:pos x="9" y="0"/>
                </a:cxn>
                <a:cxn ang="0">
                  <a:pos x="7" y="5"/>
                </a:cxn>
              </a:cxnLst>
              <a:rect l="0" t="0" r="r" b="b"/>
              <a:pathLst>
                <a:path w="73" h="47">
                  <a:moveTo>
                    <a:pt x="64" y="32"/>
                  </a:moveTo>
                  <a:lnTo>
                    <a:pt x="65" y="35"/>
                  </a:lnTo>
                  <a:lnTo>
                    <a:pt x="69" y="35"/>
                  </a:lnTo>
                  <a:lnTo>
                    <a:pt x="67" y="35"/>
                  </a:lnTo>
                  <a:lnTo>
                    <a:pt x="64" y="35"/>
                  </a:lnTo>
                  <a:lnTo>
                    <a:pt x="64" y="32"/>
                  </a:lnTo>
                  <a:lnTo>
                    <a:pt x="64" y="32"/>
                  </a:lnTo>
                  <a:lnTo>
                    <a:pt x="64" y="32"/>
                  </a:lnTo>
                  <a:lnTo>
                    <a:pt x="64" y="32"/>
                  </a:lnTo>
                  <a:lnTo>
                    <a:pt x="64" y="32"/>
                  </a:lnTo>
                  <a:close/>
                  <a:moveTo>
                    <a:pt x="7" y="5"/>
                  </a:moveTo>
                  <a:lnTo>
                    <a:pt x="9" y="5"/>
                  </a:lnTo>
                  <a:lnTo>
                    <a:pt x="7" y="9"/>
                  </a:lnTo>
                  <a:lnTo>
                    <a:pt x="9" y="11"/>
                  </a:lnTo>
                  <a:lnTo>
                    <a:pt x="7" y="17"/>
                  </a:lnTo>
                  <a:lnTo>
                    <a:pt x="3" y="17"/>
                  </a:lnTo>
                  <a:lnTo>
                    <a:pt x="3" y="18"/>
                  </a:lnTo>
                  <a:lnTo>
                    <a:pt x="5" y="22"/>
                  </a:lnTo>
                  <a:lnTo>
                    <a:pt x="5" y="26"/>
                  </a:lnTo>
                  <a:lnTo>
                    <a:pt x="5" y="26"/>
                  </a:lnTo>
                  <a:lnTo>
                    <a:pt x="0" y="32"/>
                  </a:lnTo>
                  <a:lnTo>
                    <a:pt x="0" y="35"/>
                  </a:lnTo>
                  <a:lnTo>
                    <a:pt x="1" y="35"/>
                  </a:lnTo>
                  <a:lnTo>
                    <a:pt x="5" y="41"/>
                  </a:lnTo>
                  <a:lnTo>
                    <a:pt x="3" y="41"/>
                  </a:lnTo>
                  <a:lnTo>
                    <a:pt x="7" y="45"/>
                  </a:lnTo>
                  <a:lnTo>
                    <a:pt x="7" y="45"/>
                  </a:lnTo>
                  <a:lnTo>
                    <a:pt x="9" y="47"/>
                  </a:lnTo>
                  <a:lnTo>
                    <a:pt x="13" y="41"/>
                  </a:lnTo>
                  <a:lnTo>
                    <a:pt x="18" y="35"/>
                  </a:lnTo>
                  <a:lnTo>
                    <a:pt x="15" y="32"/>
                  </a:lnTo>
                  <a:lnTo>
                    <a:pt x="18" y="32"/>
                  </a:lnTo>
                  <a:lnTo>
                    <a:pt x="18" y="32"/>
                  </a:lnTo>
                  <a:lnTo>
                    <a:pt x="22" y="32"/>
                  </a:lnTo>
                  <a:lnTo>
                    <a:pt x="24" y="30"/>
                  </a:lnTo>
                  <a:lnTo>
                    <a:pt x="28" y="32"/>
                  </a:lnTo>
                  <a:lnTo>
                    <a:pt x="28" y="35"/>
                  </a:lnTo>
                  <a:lnTo>
                    <a:pt x="30" y="35"/>
                  </a:lnTo>
                  <a:lnTo>
                    <a:pt x="35" y="35"/>
                  </a:lnTo>
                  <a:lnTo>
                    <a:pt x="39" y="30"/>
                  </a:lnTo>
                  <a:lnTo>
                    <a:pt x="45" y="26"/>
                  </a:lnTo>
                  <a:lnTo>
                    <a:pt x="52" y="30"/>
                  </a:lnTo>
                  <a:lnTo>
                    <a:pt x="54" y="26"/>
                  </a:lnTo>
                  <a:lnTo>
                    <a:pt x="58" y="30"/>
                  </a:lnTo>
                  <a:lnTo>
                    <a:pt x="62" y="32"/>
                  </a:lnTo>
                  <a:lnTo>
                    <a:pt x="67" y="32"/>
                  </a:lnTo>
                  <a:lnTo>
                    <a:pt x="67" y="30"/>
                  </a:lnTo>
                  <a:lnTo>
                    <a:pt x="71" y="30"/>
                  </a:lnTo>
                  <a:lnTo>
                    <a:pt x="73" y="26"/>
                  </a:lnTo>
                  <a:lnTo>
                    <a:pt x="71" y="22"/>
                  </a:lnTo>
                  <a:lnTo>
                    <a:pt x="62" y="18"/>
                  </a:lnTo>
                  <a:lnTo>
                    <a:pt x="60" y="18"/>
                  </a:lnTo>
                  <a:lnTo>
                    <a:pt x="54" y="17"/>
                  </a:lnTo>
                  <a:lnTo>
                    <a:pt x="52" y="17"/>
                  </a:lnTo>
                  <a:lnTo>
                    <a:pt x="49" y="15"/>
                  </a:lnTo>
                  <a:lnTo>
                    <a:pt x="43" y="11"/>
                  </a:lnTo>
                  <a:lnTo>
                    <a:pt x="39" y="11"/>
                  </a:lnTo>
                  <a:lnTo>
                    <a:pt x="39" y="11"/>
                  </a:lnTo>
                  <a:lnTo>
                    <a:pt x="45" y="11"/>
                  </a:lnTo>
                  <a:lnTo>
                    <a:pt x="54" y="13"/>
                  </a:lnTo>
                  <a:lnTo>
                    <a:pt x="58" y="11"/>
                  </a:lnTo>
                  <a:lnTo>
                    <a:pt x="54" y="9"/>
                  </a:lnTo>
                  <a:lnTo>
                    <a:pt x="52" y="9"/>
                  </a:lnTo>
                  <a:lnTo>
                    <a:pt x="49" y="9"/>
                  </a:lnTo>
                  <a:lnTo>
                    <a:pt x="45" y="1"/>
                  </a:lnTo>
                  <a:lnTo>
                    <a:pt x="39" y="1"/>
                  </a:lnTo>
                  <a:lnTo>
                    <a:pt x="39" y="5"/>
                  </a:lnTo>
                  <a:lnTo>
                    <a:pt x="37" y="1"/>
                  </a:lnTo>
                  <a:lnTo>
                    <a:pt x="20" y="0"/>
                  </a:lnTo>
                  <a:lnTo>
                    <a:pt x="18" y="0"/>
                  </a:lnTo>
                  <a:lnTo>
                    <a:pt x="15" y="0"/>
                  </a:lnTo>
                  <a:lnTo>
                    <a:pt x="9" y="0"/>
                  </a:lnTo>
                  <a:lnTo>
                    <a:pt x="7" y="5"/>
                  </a:lnTo>
                  <a:lnTo>
                    <a:pt x="7" y="5"/>
                  </a:lnTo>
                  <a:lnTo>
                    <a:pt x="7"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5" name="Freeform 158">
              <a:extLst>
                <a:ext uri="{FF2B5EF4-FFF2-40B4-BE49-F238E27FC236}">
                  <a16:creationId xmlns:a16="http://schemas.microsoft.com/office/drawing/2014/main" id="{CA901686-BCB9-4140-AB04-D7D40C918372}"/>
                </a:ext>
              </a:extLst>
            </p:cNvPr>
            <p:cNvSpPr>
              <a:spLocks/>
            </p:cNvSpPr>
            <p:nvPr/>
          </p:nvSpPr>
          <p:spPr bwMode="auto">
            <a:xfrm>
              <a:off x="1356" y="2749"/>
              <a:ext cx="41" cy="15"/>
            </a:xfrm>
            <a:custGeom>
              <a:avLst/>
              <a:gdLst/>
              <a:ahLst/>
              <a:cxnLst>
                <a:cxn ang="0">
                  <a:pos x="6" y="0"/>
                </a:cxn>
                <a:cxn ang="0">
                  <a:pos x="9" y="2"/>
                </a:cxn>
                <a:cxn ang="0">
                  <a:pos x="17" y="0"/>
                </a:cxn>
                <a:cxn ang="0">
                  <a:pos x="30" y="0"/>
                </a:cxn>
                <a:cxn ang="0">
                  <a:pos x="34" y="4"/>
                </a:cxn>
                <a:cxn ang="0">
                  <a:pos x="38" y="8"/>
                </a:cxn>
                <a:cxn ang="0">
                  <a:pos x="41" y="9"/>
                </a:cxn>
                <a:cxn ang="0">
                  <a:pos x="41" y="11"/>
                </a:cxn>
                <a:cxn ang="0">
                  <a:pos x="36" y="11"/>
                </a:cxn>
                <a:cxn ang="0">
                  <a:pos x="32" y="9"/>
                </a:cxn>
                <a:cxn ang="0">
                  <a:pos x="32" y="13"/>
                </a:cxn>
                <a:cxn ang="0">
                  <a:pos x="30" y="13"/>
                </a:cxn>
                <a:cxn ang="0">
                  <a:pos x="28" y="11"/>
                </a:cxn>
                <a:cxn ang="0">
                  <a:pos x="26" y="11"/>
                </a:cxn>
                <a:cxn ang="0">
                  <a:pos x="26" y="15"/>
                </a:cxn>
                <a:cxn ang="0">
                  <a:pos x="19" y="15"/>
                </a:cxn>
                <a:cxn ang="0">
                  <a:pos x="19" y="13"/>
                </a:cxn>
                <a:cxn ang="0">
                  <a:pos x="13" y="13"/>
                </a:cxn>
                <a:cxn ang="0">
                  <a:pos x="11" y="11"/>
                </a:cxn>
                <a:cxn ang="0">
                  <a:pos x="9" y="8"/>
                </a:cxn>
                <a:cxn ang="0">
                  <a:pos x="6" y="8"/>
                </a:cxn>
                <a:cxn ang="0">
                  <a:pos x="4" y="8"/>
                </a:cxn>
                <a:cxn ang="0">
                  <a:pos x="0" y="4"/>
                </a:cxn>
                <a:cxn ang="0">
                  <a:pos x="2" y="2"/>
                </a:cxn>
                <a:cxn ang="0">
                  <a:pos x="6" y="0"/>
                </a:cxn>
                <a:cxn ang="0">
                  <a:pos x="6" y="0"/>
                </a:cxn>
                <a:cxn ang="0">
                  <a:pos x="6" y="0"/>
                </a:cxn>
              </a:cxnLst>
              <a:rect l="0" t="0" r="r" b="b"/>
              <a:pathLst>
                <a:path w="41" h="15">
                  <a:moveTo>
                    <a:pt x="6" y="0"/>
                  </a:moveTo>
                  <a:lnTo>
                    <a:pt x="9" y="2"/>
                  </a:lnTo>
                  <a:lnTo>
                    <a:pt x="17" y="0"/>
                  </a:lnTo>
                  <a:lnTo>
                    <a:pt x="30" y="0"/>
                  </a:lnTo>
                  <a:lnTo>
                    <a:pt x="34" y="4"/>
                  </a:lnTo>
                  <a:lnTo>
                    <a:pt x="38" y="8"/>
                  </a:lnTo>
                  <a:lnTo>
                    <a:pt x="41" y="9"/>
                  </a:lnTo>
                  <a:lnTo>
                    <a:pt x="41" y="11"/>
                  </a:lnTo>
                  <a:lnTo>
                    <a:pt x="36" y="11"/>
                  </a:lnTo>
                  <a:lnTo>
                    <a:pt x="32" y="9"/>
                  </a:lnTo>
                  <a:lnTo>
                    <a:pt x="32" y="13"/>
                  </a:lnTo>
                  <a:lnTo>
                    <a:pt x="30" y="13"/>
                  </a:lnTo>
                  <a:lnTo>
                    <a:pt x="28" y="11"/>
                  </a:lnTo>
                  <a:lnTo>
                    <a:pt x="26" y="11"/>
                  </a:lnTo>
                  <a:lnTo>
                    <a:pt x="26" y="15"/>
                  </a:lnTo>
                  <a:lnTo>
                    <a:pt x="19" y="15"/>
                  </a:lnTo>
                  <a:lnTo>
                    <a:pt x="19" y="13"/>
                  </a:lnTo>
                  <a:lnTo>
                    <a:pt x="13" y="13"/>
                  </a:lnTo>
                  <a:lnTo>
                    <a:pt x="11" y="11"/>
                  </a:lnTo>
                  <a:lnTo>
                    <a:pt x="9" y="8"/>
                  </a:lnTo>
                  <a:lnTo>
                    <a:pt x="6" y="8"/>
                  </a:lnTo>
                  <a:lnTo>
                    <a:pt x="4" y="8"/>
                  </a:lnTo>
                  <a:lnTo>
                    <a:pt x="0" y="4"/>
                  </a:lnTo>
                  <a:lnTo>
                    <a:pt x="2" y="2"/>
                  </a:lnTo>
                  <a:lnTo>
                    <a:pt x="6" y="0"/>
                  </a:lnTo>
                  <a:lnTo>
                    <a:pt x="6" y="0"/>
                  </a:lnTo>
                  <a:lnTo>
                    <a:pt x="6"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6" name="Freeform 159">
              <a:extLst>
                <a:ext uri="{FF2B5EF4-FFF2-40B4-BE49-F238E27FC236}">
                  <a16:creationId xmlns:a16="http://schemas.microsoft.com/office/drawing/2014/main" id="{30E55A69-187B-41AC-A8F6-70AED55D59D7}"/>
                </a:ext>
              </a:extLst>
            </p:cNvPr>
            <p:cNvSpPr>
              <a:spLocks noEditPoints="1"/>
            </p:cNvSpPr>
            <p:nvPr/>
          </p:nvSpPr>
          <p:spPr bwMode="auto">
            <a:xfrm>
              <a:off x="1426" y="2717"/>
              <a:ext cx="56" cy="41"/>
            </a:xfrm>
            <a:custGeom>
              <a:avLst/>
              <a:gdLst/>
              <a:ahLst/>
              <a:cxnLst>
                <a:cxn ang="0">
                  <a:pos x="47" y="38"/>
                </a:cxn>
                <a:cxn ang="0">
                  <a:pos x="52" y="32"/>
                </a:cxn>
                <a:cxn ang="0">
                  <a:pos x="50" y="24"/>
                </a:cxn>
                <a:cxn ang="0">
                  <a:pos x="56" y="23"/>
                </a:cxn>
                <a:cxn ang="0">
                  <a:pos x="56" y="17"/>
                </a:cxn>
                <a:cxn ang="0">
                  <a:pos x="56" y="11"/>
                </a:cxn>
                <a:cxn ang="0">
                  <a:pos x="52" y="9"/>
                </a:cxn>
                <a:cxn ang="0">
                  <a:pos x="45" y="7"/>
                </a:cxn>
                <a:cxn ang="0">
                  <a:pos x="33" y="7"/>
                </a:cxn>
                <a:cxn ang="0">
                  <a:pos x="22" y="6"/>
                </a:cxn>
                <a:cxn ang="0">
                  <a:pos x="22" y="9"/>
                </a:cxn>
                <a:cxn ang="0">
                  <a:pos x="37" y="13"/>
                </a:cxn>
                <a:cxn ang="0">
                  <a:pos x="37" y="17"/>
                </a:cxn>
                <a:cxn ang="0">
                  <a:pos x="37" y="26"/>
                </a:cxn>
                <a:cxn ang="0">
                  <a:pos x="45" y="30"/>
                </a:cxn>
                <a:cxn ang="0">
                  <a:pos x="35" y="34"/>
                </a:cxn>
                <a:cxn ang="0">
                  <a:pos x="32" y="34"/>
                </a:cxn>
                <a:cxn ang="0">
                  <a:pos x="22" y="32"/>
                </a:cxn>
                <a:cxn ang="0">
                  <a:pos x="16" y="32"/>
                </a:cxn>
                <a:cxn ang="0">
                  <a:pos x="9" y="32"/>
                </a:cxn>
                <a:cxn ang="0">
                  <a:pos x="1" y="32"/>
                </a:cxn>
                <a:cxn ang="0">
                  <a:pos x="1" y="38"/>
                </a:cxn>
                <a:cxn ang="0">
                  <a:pos x="11" y="41"/>
                </a:cxn>
                <a:cxn ang="0">
                  <a:pos x="15" y="41"/>
                </a:cxn>
                <a:cxn ang="0">
                  <a:pos x="24" y="38"/>
                </a:cxn>
                <a:cxn ang="0">
                  <a:pos x="39" y="41"/>
                </a:cxn>
                <a:cxn ang="0">
                  <a:pos x="45" y="41"/>
                </a:cxn>
                <a:cxn ang="0">
                  <a:pos x="47" y="41"/>
                </a:cxn>
                <a:cxn ang="0">
                  <a:pos x="47" y="41"/>
                </a:cxn>
                <a:cxn ang="0">
                  <a:pos x="35" y="0"/>
                </a:cxn>
                <a:cxn ang="0">
                  <a:pos x="35" y="4"/>
                </a:cxn>
                <a:cxn ang="0">
                  <a:pos x="32" y="2"/>
                </a:cxn>
                <a:cxn ang="0">
                  <a:pos x="32" y="2"/>
                </a:cxn>
                <a:cxn ang="0">
                  <a:pos x="28" y="23"/>
                </a:cxn>
                <a:cxn ang="0">
                  <a:pos x="33" y="28"/>
                </a:cxn>
                <a:cxn ang="0">
                  <a:pos x="24" y="24"/>
                </a:cxn>
                <a:cxn ang="0">
                  <a:pos x="24" y="24"/>
                </a:cxn>
              </a:cxnLst>
              <a:rect l="0" t="0" r="r" b="b"/>
              <a:pathLst>
                <a:path w="56" h="41">
                  <a:moveTo>
                    <a:pt x="47" y="41"/>
                  </a:moveTo>
                  <a:lnTo>
                    <a:pt x="47" y="38"/>
                  </a:lnTo>
                  <a:lnTo>
                    <a:pt x="52" y="34"/>
                  </a:lnTo>
                  <a:lnTo>
                    <a:pt x="52" y="32"/>
                  </a:lnTo>
                  <a:lnTo>
                    <a:pt x="52" y="28"/>
                  </a:lnTo>
                  <a:lnTo>
                    <a:pt x="50" y="24"/>
                  </a:lnTo>
                  <a:lnTo>
                    <a:pt x="50" y="23"/>
                  </a:lnTo>
                  <a:lnTo>
                    <a:pt x="56" y="23"/>
                  </a:lnTo>
                  <a:lnTo>
                    <a:pt x="56" y="17"/>
                  </a:lnTo>
                  <a:lnTo>
                    <a:pt x="56" y="17"/>
                  </a:lnTo>
                  <a:lnTo>
                    <a:pt x="56" y="13"/>
                  </a:lnTo>
                  <a:lnTo>
                    <a:pt x="56" y="11"/>
                  </a:lnTo>
                  <a:lnTo>
                    <a:pt x="56" y="11"/>
                  </a:lnTo>
                  <a:lnTo>
                    <a:pt x="52" y="9"/>
                  </a:lnTo>
                  <a:lnTo>
                    <a:pt x="50" y="11"/>
                  </a:lnTo>
                  <a:lnTo>
                    <a:pt x="45" y="7"/>
                  </a:lnTo>
                  <a:lnTo>
                    <a:pt x="35" y="6"/>
                  </a:lnTo>
                  <a:lnTo>
                    <a:pt x="33" y="7"/>
                  </a:lnTo>
                  <a:lnTo>
                    <a:pt x="30" y="6"/>
                  </a:lnTo>
                  <a:lnTo>
                    <a:pt x="22" y="6"/>
                  </a:lnTo>
                  <a:lnTo>
                    <a:pt x="22" y="9"/>
                  </a:lnTo>
                  <a:lnTo>
                    <a:pt x="22" y="9"/>
                  </a:lnTo>
                  <a:lnTo>
                    <a:pt x="26" y="11"/>
                  </a:lnTo>
                  <a:lnTo>
                    <a:pt x="37" y="13"/>
                  </a:lnTo>
                  <a:lnTo>
                    <a:pt x="35" y="17"/>
                  </a:lnTo>
                  <a:lnTo>
                    <a:pt x="37" y="17"/>
                  </a:lnTo>
                  <a:lnTo>
                    <a:pt x="35" y="23"/>
                  </a:lnTo>
                  <a:lnTo>
                    <a:pt x="37" y="26"/>
                  </a:lnTo>
                  <a:lnTo>
                    <a:pt x="41" y="26"/>
                  </a:lnTo>
                  <a:lnTo>
                    <a:pt x="45" y="30"/>
                  </a:lnTo>
                  <a:lnTo>
                    <a:pt x="45" y="34"/>
                  </a:lnTo>
                  <a:lnTo>
                    <a:pt x="35" y="34"/>
                  </a:lnTo>
                  <a:lnTo>
                    <a:pt x="33" y="34"/>
                  </a:lnTo>
                  <a:lnTo>
                    <a:pt x="32" y="34"/>
                  </a:lnTo>
                  <a:lnTo>
                    <a:pt x="26" y="34"/>
                  </a:lnTo>
                  <a:lnTo>
                    <a:pt x="22" y="32"/>
                  </a:lnTo>
                  <a:lnTo>
                    <a:pt x="16" y="34"/>
                  </a:lnTo>
                  <a:lnTo>
                    <a:pt x="16" y="32"/>
                  </a:lnTo>
                  <a:lnTo>
                    <a:pt x="15" y="32"/>
                  </a:lnTo>
                  <a:lnTo>
                    <a:pt x="9" y="32"/>
                  </a:lnTo>
                  <a:lnTo>
                    <a:pt x="5" y="30"/>
                  </a:lnTo>
                  <a:lnTo>
                    <a:pt x="1" y="32"/>
                  </a:lnTo>
                  <a:lnTo>
                    <a:pt x="0" y="34"/>
                  </a:lnTo>
                  <a:lnTo>
                    <a:pt x="1" y="38"/>
                  </a:lnTo>
                  <a:lnTo>
                    <a:pt x="7" y="38"/>
                  </a:lnTo>
                  <a:lnTo>
                    <a:pt x="11" y="41"/>
                  </a:lnTo>
                  <a:lnTo>
                    <a:pt x="13" y="41"/>
                  </a:lnTo>
                  <a:lnTo>
                    <a:pt x="15" y="41"/>
                  </a:lnTo>
                  <a:lnTo>
                    <a:pt x="16" y="38"/>
                  </a:lnTo>
                  <a:lnTo>
                    <a:pt x="24" y="38"/>
                  </a:lnTo>
                  <a:lnTo>
                    <a:pt x="28" y="41"/>
                  </a:lnTo>
                  <a:lnTo>
                    <a:pt x="39" y="41"/>
                  </a:lnTo>
                  <a:lnTo>
                    <a:pt x="41" y="38"/>
                  </a:lnTo>
                  <a:lnTo>
                    <a:pt x="45" y="41"/>
                  </a:lnTo>
                  <a:lnTo>
                    <a:pt x="47" y="41"/>
                  </a:lnTo>
                  <a:lnTo>
                    <a:pt x="47" y="41"/>
                  </a:lnTo>
                  <a:lnTo>
                    <a:pt x="47" y="41"/>
                  </a:lnTo>
                  <a:lnTo>
                    <a:pt x="47" y="41"/>
                  </a:lnTo>
                  <a:close/>
                  <a:moveTo>
                    <a:pt x="32" y="2"/>
                  </a:moveTo>
                  <a:lnTo>
                    <a:pt x="35" y="0"/>
                  </a:lnTo>
                  <a:lnTo>
                    <a:pt x="43" y="4"/>
                  </a:lnTo>
                  <a:lnTo>
                    <a:pt x="35" y="4"/>
                  </a:lnTo>
                  <a:lnTo>
                    <a:pt x="32" y="2"/>
                  </a:lnTo>
                  <a:lnTo>
                    <a:pt x="32" y="2"/>
                  </a:lnTo>
                  <a:lnTo>
                    <a:pt x="32" y="2"/>
                  </a:lnTo>
                  <a:lnTo>
                    <a:pt x="32" y="2"/>
                  </a:lnTo>
                  <a:close/>
                  <a:moveTo>
                    <a:pt x="24" y="24"/>
                  </a:moveTo>
                  <a:lnTo>
                    <a:pt x="28" y="23"/>
                  </a:lnTo>
                  <a:lnTo>
                    <a:pt x="32" y="26"/>
                  </a:lnTo>
                  <a:lnTo>
                    <a:pt x="33" y="28"/>
                  </a:lnTo>
                  <a:lnTo>
                    <a:pt x="28" y="26"/>
                  </a:lnTo>
                  <a:lnTo>
                    <a:pt x="24" y="24"/>
                  </a:lnTo>
                  <a:lnTo>
                    <a:pt x="24" y="24"/>
                  </a:lnTo>
                  <a:lnTo>
                    <a:pt x="24"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7" name="Freeform 160">
              <a:extLst>
                <a:ext uri="{FF2B5EF4-FFF2-40B4-BE49-F238E27FC236}">
                  <a16:creationId xmlns:a16="http://schemas.microsoft.com/office/drawing/2014/main" id="{660B60D5-AA89-41F2-86A0-6938C15F8656}"/>
                </a:ext>
              </a:extLst>
            </p:cNvPr>
            <p:cNvSpPr>
              <a:spLocks noEditPoints="1"/>
            </p:cNvSpPr>
            <p:nvPr/>
          </p:nvSpPr>
          <p:spPr bwMode="auto">
            <a:xfrm>
              <a:off x="1426" y="2717"/>
              <a:ext cx="56" cy="41"/>
            </a:xfrm>
            <a:custGeom>
              <a:avLst/>
              <a:gdLst/>
              <a:ahLst/>
              <a:cxnLst>
                <a:cxn ang="0">
                  <a:pos x="47" y="38"/>
                </a:cxn>
                <a:cxn ang="0">
                  <a:pos x="52" y="32"/>
                </a:cxn>
                <a:cxn ang="0">
                  <a:pos x="50" y="24"/>
                </a:cxn>
                <a:cxn ang="0">
                  <a:pos x="56" y="23"/>
                </a:cxn>
                <a:cxn ang="0">
                  <a:pos x="56" y="17"/>
                </a:cxn>
                <a:cxn ang="0">
                  <a:pos x="56" y="11"/>
                </a:cxn>
                <a:cxn ang="0">
                  <a:pos x="52" y="9"/>
                </a:cxn>
                <a:cxn ang="0">
                  <a:pos x="45" y="7"/>
                </a:cxn>
                <a:cxn ang="0">
                  <a:pos x="33" y="7"/>
                </a:cxn>
                <a:cxn ang="0">
                  <a:pos x="22" y="6"/>
                </a:cxn>
                <a:cxn ang="0">
                  <a:pos x="22" y="9"/>
                </a:cxn>
                <a:cxn ang="0">
                  <a:pos x="37" y="13"/>
                </a:cxn>
                <a:cxn ang="0">
                  <a:pos x="37" y="17"/>
                </a:cxn>
                <a:cxn ang="0">
                  <a:pos x="37" y="26"/>
                </a:cxn>
                <a:cxn ang="0">
                  <a:pos x="45" y="30"/>
                </a:cxn>
                <a:cxn ang="0">
                  <a:pos x="35" y="34"/>
                </a:cxn>
                <a:cxn ang="0">
                  <a:pos x="32" y="34"/>
                </a:cxn>
                <a:cxn ang="0">
                  <a:pos x="22" y="32"/>
                </a:cxn>
                <a:cxn ang="0">
                  <a:pos x="16" y="32"/>
                </a:cxn>
                <a:cxn ang="0">
                  <a:pos x="9" y="32"/>
                </a:cxn>
                <a:cxn ang="0">
                  <a:pos x="1" y="32"/>
                </a:cxn>
                <a:cxn ang="0">
                  <a:pos x="1" y="38"/>
                </a:cxn>
                <a:cxn ang="0">
                  <a:pos x="11" y="41"/>
                </a:cxn>
                <a:cxn ang="0">
                  <a:pos x="15" y="41"/>
                </a:cxn>
                <a:cxn ang="0">
                  <a:pos x="24" y="38"/>
                </a:cxn>
                <a:cxn ang="0">
                  <a:pos x="39" y="41"/>
                </a:cxn>
                <a:cxn ang="0">
                  <a:pos x="45" y="41"/>
                </a:cxn>
                <a:cxn ang="0">
                  <a:pos x="47" y="41"/>
                </a:cxn>
                <a:cxn ang="0">
                  <a:pos x="47" y="41"/>
                </a:cxn>
                <a:cxn ang="0">
                  <a:pos x="35" y="0"/>
                </a:cxn>
                <a:cxn ang="0">
                  <a:pos x="35" y="4"/>
                </a:cxn>
                <a:cxn ang="0">
                  <a:pos x="32" y="2"/>
                </a:cxn>
                <a:cxn ang="0">
                  <a:pos x="32" y="2"/>
                </a:cxn>
                <a:cxn ang="0">
                  <a:pos x="28" y="23"/>
                </a:cxn>
                <a:cxn ang="0">
                  <a:pos x="33" y="28"/>
                </a:cxn>
                <a:cxn ang="0">
                  <a:pos x="24" y="24"/>
                </a:cxn>
                <a:cxn ang="0">
                  <a:pos x="24" y="24"/>
                </a:cxn>
              </a:cxnLst>
              <a:rect l="0" t="0" r="r" b="b"/>
              <a:pathLst>
                <a:path w="56" h="41">
                  <a:moveTo>
                    <a:pt x="47" y="41"/>
                  </a:moveTo>
                  <a:lnTo>
                    <a:pt x="47" y="38"/>
                  </a:lnTo>
                  <a:lnTo>
                    <a:pt x="52" y="34"/>
                  </a:lnTo>
                  <a:lnTo>
                    <a:pt x="52" y="32"/>
                  </a:lnTo>
                  <a:lnTo>
                    <a:pt x="52" y="28"/>
                  </a:lnTo>
                  <a:lnTo>
                    <a:pt x="50" y="24"/>
                  </a:lnTo>
                  <a:lnTo>
                    <a:pt x="50" y="23"/>
                  </a:lnTo>
                  <a:lnTo>
                    <a:pt x="56" y="23"/>
                  </a:lnTo>
                  <a:lnTo>
                    <a:pt x="56" y="17"/>
                  </a:lnTo>
                  <a:lnTo>
                    <a:pt x="56" y="17"/>
                  </a:lnTo>
                  <a:lnTo>
                    <a:pt x="56" y="13"/>
                  </a:lnTo>
                  <a:lnTo>
                    <a:pt x="56" y="11"/>
                  </a:lnTo>
                  <a:lnTo>
                    <a:pt x="56" y="11"/>
                  </a:lnTo>
                  <a:lnTo>
                    <a:pt x="52" y="9"/>
                  </a:lnTo>
                  <a:lnTo>
                    <a:pt x="50" y="11"/>
                  </a:lnTo>
                  <a:lnTo>
                    <a:pt x="45" y="7"/>
                  </a:lnTo>
                  <a:lnTo>
                    <a:pt x="35" y="6"/>
                  </a:lnTo>
                  <a:lnTo>
                    <a:pt x="33" y="7"/>
                  </a:lnTo>
                  <a:lnTo>
                    <a:pt x="30" y="6"/>
                  </a:lnTo>
                  <a:lnTo>
                    <a:pt x="22" y="6"/>
                  </a:lnTo>
                  <a:lnTo>
                    <a:pt x="22" y="9"/>
                  </a:lnTo>
                  <a:lnTo>
                    <a:pt x="22" y="9"/>
                  </a:lnTo>
                  <a:lnTo>
                    <a:pt x="26" y="11"/>
                  </a:lnTo>
                  <a:lnTo>
                    <a:pt x="37" y="13"/>
                  </a:lnTo>
                  <a:lnTo>
                    <a:pt x="35" y="17"/>
                  </a:lnTo>
                  <a:lnTo>
                    <a:pt x="37" y="17"/>
                  </a:lnTo>
                  <a:lnTo>
                    <a:pt x="35" y="23"/>
                  </a:lnTo>
                  <a:lnTo>
                    <a:pt x="37" y="26"/>
                  </a:lnTo>
                  <a:lnTo>
                    <a:pt x="41" y="26"/>
                  </a:lnTo>
                  <a:lnTo>
                    <a:pt x="45" y="30"/>
                  </a:lnTo>
                  <a:lnTo>
                    <a:pt x="45" y="34"/>
                  </a:lnTo>
                  <a:lnTo>
                    <a:pt x="35" y="34"/>
                  </a:lnTo>
                  <a:lnTo>
                    <a:pt x="33" y="34"/>
                  </a:lnTo>
                  <a:lnTo>
                    <a:pt x="32" y="34"/>
                  </a:lnTo>
                  <a:lnTo>
                    <a:pt x="26" y="34"/>
                  </a:lnTo>
                  <a:lnTo>
                    <a:pt x="22" y="32"/>
                  </a:lnTo>
                  <a:lnTo>
                    <a:pt x="16" y="34"/>
                  </a:lnTo>
                  <a:lnTo>
                    <a:pt x="16" y="32"/>
                  </a:lnTo>
                  <a:lnTo>
                    <a:pt x="15" y="32"/>
                  </a:lnTo>
                  <a:lnTo>
                    <a:pt x="9" y="32"/>
                  </a:lnTo>
                  <a:lnTo>
                    <a:pt x="5" y="30"/>
                  </a:lnTo>
                  <a:lnTo>
                    <a:pt x="1" y="32"/>
                  </a:lnTo>
                  <a:lnTo>
                    <a:pt x="0" y="34"/>
                  </a:lnTo>
                  <a:lnTo>
                    <a:pt x="1" y="38"/>
                  </a:lnTo>
                  <a:lnTo>
                    <a:pt x="7" y="38"/>
                  </a:lnTo>
                  <a:lnTo>
                    <a:pt x="11" y="41"/>
                  </a:lnTo>
                  <a:lnTo>
                    <a:pt x="13" y="41"/>
                  </a:lnTo>
                  <a:lnTo>
                    <a:pt x="15" y="41"/>
                  </a:lnTo>
                  <a:lnTo>
                    <a:pt x="16" y="38"/>
                  </a:lnTo>
                  <a:lnTo>
                    <a:pt x="24" y="38"/>
                  </a:lnTo>
                  <a:lnTo>
                    <a:pt x="28" y="41"/>
                  </a:lnTo>
                  <a:lnTo>
                    <a:pt x="39" y="41"/>
                  </a:lnTo>
                  <a:lnTo>
                    <a:pt x="41" y="38"/>
                  </a:lnTo>
                  <a:lnTo>
                    <a:pt x="45" y="41"/>
                  </a:lnTo>
                  <a:lnTo>
                    <a:pt x="47" y="41"/>
                  </a:lnTo>
                  <a:lnTo>
                    <a:pt x="47" y="41"/>
                  </a:lnTo>
                  <a:lnTo>
                    <a:pt x="47" y="41"/>
                  </a:lnTo>
                  <a:lnTo>
                    <a:pt x="47" y="41"/>
                  </a:lnTo>
                  <a:close/>
                  <a:moveTo>
                    <a:pt x="32" y="2"/>
                  </a:moveTo>
                  <a:lnTo>
                    <a:pt x="35" y="0"/>
                  </a:lnTo>
                  <a:lnTo>
                    <a:pt x="43" y="4"/>
                  </a:lnTo>
                  <a:lnTo>
                    <a:pt x="35" y="4"/>
                  </a:lnTo>
                  <a:lnTo>
                    <a:pt x="32" y="2"/>
                  </a:lnTo>
                  <a:lnTo>
                    <a:pt x="32" y="2"/>
                  </a:lnTo>
                  <a:lnTo>
                    <a:pt x="32" y="2"/>
                  </a:lnTo>
                  <a:lnTo>
                    <a:pt x="32" y="2"/>
                  </a:lnTo>
                  <a:close/>
                  <a:moveTo>
                    <a:pt x="24" y="24"/>
                  </a:moveTo>
                  <a:lnTo>
                    <a:pt x="28" y="23"/>
                  </a:lnTo>
                  <a:lnTo>
                    <a:pt x="32" y="26"/>
                  </a:lnTo>
                  <a:lnTo>
                    <a:pt x="33" y="28"/>
                  </a:lnTo>
                  <a:lnTo>
                    <a:pt x="28" y="26"/>
                  </a:lnTo>
                  <a:lnTo>
                    <a:pt x="24" y="24"/>
                  </a:lnTo>
                  <a:lnTo>
                    <a:pt x="24" y="24"/>
                  </a:lnTo>
                  <a:lnTo>
                    <a:pt x="24"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8" name="Freeform 161">
              <a:extLst>
                <a:ext uri="{FF2B5EF4-FFF2-40B4-BE49-F238E27FC236}">
                  <a16:creationId xmlns:a16="http://schemas.microsoft.com/office/drawing/2014/main" id="{F35F6B25-49D6-481B-830E-B73F748FED6D}"/>
                </a:ext>
              </a:extLst>
            </p:cNvPr>
            <p:cNvSpPr>
              <a:spLocks noEditPoints="1"/>
            </p:cNvSpPr>
            <p:nvPr/>
          </p:nvSpPr>
          <p:spPr bwMode="auto">
            <a:xfrm>
              <a:off x="1239" y="2653"/>
              <a:ext cx="196" cy="70"/>
            </a:xfrm>
            <a:custGeom>
              <a:avLst/>
              <a:gdLst/>
              <a:ahLst/>
              <a:cxnLst>
                <a:cxn ang="0">
                  <a:pos x="42" y="26"/>
                </a:cxn>
                <a:cxn ang="0">
                  <a:pos x="40" y="34"/>
                </a:cxn>
                <a:cxn ang="0">
                  <a:pos x="36" y="34"/>
                </a:cxn>
                <a:cxn ang="0">
                  <a:pos x="38" y="30"/>
                </a:cxn>
                <a:cxn ang="0">
                  <a:pos x="38" y="28"/>
                </a:cxn>
                <a:cxn ang="0">
                  <a:pos x="13" y="23"/>
                </a:cxn>
                <a:cxn ang="0">
                  <a:pos x="2" y="26"/>
                </a:cxn>
                <a:cxn ang="0">
                  <a:pos x="6" y="30"/>
                </a:cxn>
                <a:cxn ang="0">
                  <a:pos x="10" y="30"/>
                </a:cxn>
                <a:cxn ang="0">
                  <a:pos x="21" y="21"/>
                </a:cxn>
                <a:cxn ang="0">
                  <a:pos x="30" y="21"/>
                </a:cxn>
                <a:cxn ang="0">
                  <a:pos x="42" y="15"/>
                </a:cxn>
                <a:cxn ang="0">
                  <a:pos x="55" y="11"/>
                </a:cxn>
                <a:cxn ang="0">
                  <a:pos x="60" y="15"/>
                </a:cxn>
                <a:cxn ang="0">
                  <a:pos x="57" y="21"/>
                </a:cxn>
                <a:cxn ang="0">
                  <a:pos x="74" y="21"/>
                </a:cxn>
                <a:cxn ang="0">
                  <a:pos x="83" y="24"/>
                </a:cxn>
                <a:cxn ang="0">
                  <a:pos x="87" y="26"/>
                </a:cxn>
                <a:cxn ang="0">
                  <a:pos x="100" y="30"/>
                </a:cxn>
                <a:cxn ang="0">
                  <a:pos x="109" y="34"/>
                </a:cxn>
                <a:cxn ang="0">
                  <a:pos x="121" y="43"/>
                </a:cxn>
                <a:cxn ang="0">
                  <a:pos x="130" y="49"/>
                </a:cxn>
                <a:cxn ang="0">
                  <a:pos x="141" y="55"/>
                </a:cxn>
                <a:cxn ang="0">
                  <a:pos x="139" y="58"/>
                </a:cxn>
                <a:cxn ang="0">
                  <a:pos x="139" y="70"/>
                </a:cxn>
                <a:cxn ang="0">
                  <a:pos x="158" y="66"/>
                </a:cxn>
                <a:cxn ang="0">
                  <a:pos x="177" y="68"/>
                </a:cxn>
                <a:cxn ang="0">
                  <a:pos x="183" y="62"/>
                </a:cxn>
                <a:cxn ang="0">
                  <a:pos x="196" y="58"/>
                </a:cxn>
                <a:cxn ang="0">
                  <a:pos x="188" y="53"/>
                </a:cxn>
                <a:cxn ang="0">
                  <a:pos x="170" y="49"/>
                </a:cxn>
                <a:cxn ang="0">
                  <a:pos x="170" y="43"/>
                </a:cxn>
                <a:cxn ang="0">
                  <a:pos x="158" y="36"/>
                </a:cxn>
                <a:cxn ang="0">
                  <a:pos x="147" y="34"/>
                </a:cxn>
                <a:cxn ang="0">
                  <a:pos x="143" y="30"/>
                </a:cxn>
                <a:cxn ang="0">
                  <a:pos x="138" y="30"/>
                </a:cxn>
                <a:cxn ang="0">
                  <a:pos x="123" y="23"/>
                </a:cxn>
                <a:cxn ang="0">
                  <a:pos x="104" y="15"/>
                </a:cxn>
                <a:cxn ang="0">
                  <a:pos x="96" y="9"/>
                </a:cxn>
                <a:cxn ang="0">
                  <a:pos x="75" y="7"/>
                </a:cxn>
                <a:cxn ang="0">
                  <a:pos x="57" y="0"/>
                </a:cxn>
                <a:cxn ang="0">
                  <a:pos x="36" y="4"/>
                </a:cxn>
                <a:cxn ang="0">
                  <a:pos x="17" y="11"/>
                </a:cxn>
                <a:cxn ang="0">
                  <a:pos x="11" y="19"/>
                </a:cxn>
              </a:cxnLst>
              <a:rect l="0" t="0" r="r" b="b"/>
              <a:pathLst>
                <a:path w="196" h="70">
                  <a:moveTo>
                    <a:pt x="38" y="28"/>
                  </a:moveTo>
                  <a:lnTo>
                    <a:pt x="40" y="26"/>
                  </a:lnTo>
                  <a:lnTo>
                    <a:pt x="42" y="26"/>
                  </a:lnTo>
                  <a:lnTo>
                    <a:pt x="45" y="30"/>
                  </a:lnTo>
                  <a:lnTo>
                    <a:pt x="45" y="34"/>
                  </a:lnTo>
                  <a:lnTo>
                    <a:pt x="40" y="34"/>
                  </a:lnTo>
                  <a:lnTo>
                    <a:pt x="36" y="34"/>
                  </a:lnTo>
                  <a:lnTo>
                    <a:pt x="34" y="30"/>
                  </a:lnTo>
                  <a:lnTo>
                    <a:pt x="36" y="34"/>
                  </a:lnTo>
                  <a:lnTo>
                    <a:pt x="38" y="34"/>
                  </a:lnTo>
                  <a:lnTo>
                    <a:pt x="40" y="30"/>
                  </a:lnTo>
                  <a:lnTo>
                    <a:pt x="38" y="30"/>
                  </a:lnTo>
                  <a:lnTo>
                    <a:pt x="38" y="28"/>
                  </a:lnTo>
                  <a:lnTo>
                    <a:pt x="38" y="28"/>
                  </a:lnTo>
                  <a:lnTo>
                    <a:pt x="38" y="28"/>
                  </a:lnTo>
                  <a:lnTo>
                    <a:pt x="38" y="28"/>
                  </a:lnTo>
                  <a:close/>
                  <a:moveTo>
                    <a:pt x="11" y="19"/>
                  </a:moveTo>
                  <a:lnTo>
                    <a:pt x="13" y="23"/>
                  </a:lnTo>
                  <a:lnTo>
                    <a:pt x="13" y="24"/>
                  </a:lnTo>
                  <a:lnTo>
                    <a:pt x="10" y="23"/>
                  </a:lnTo>
                  <a:lnTo>
                    <a:pt x="2" y="26"/>
                  </a:lnTo>
                  <a:lnTo>
                    <a:pt x="0" y="24"/>
                  </a:lnTo>
                  <a:lnTo>
                    <a:pt x="0" y="28"/>
                  </a:lnTo>
                  <a:lnTo>
                    <a:pt x="6" y="30"/>
                  </a:lnTo>
                  <a:lnTo>
                    <a:pt x="8" y="24"/>
                  </a:lnTo>
                  <a:lnTo>
                    <a:pt x="10" y="26"/>
                  </a:lnTo>
                  <a:lnTo>
                    <a:pt x="10" y="30"/>
                  </a:lnTo>
                  <a:lnTo>
                    <a:pt x="13" y="26"/>
                  </a:lnTo>
                  <a:lnTo>
                    <a:pt x="17" y="26"/>
                  </a:lnTo>
                  <a:lnTo>
                    <a:pt x="21" y="21"/>
                  </a:lnTo>
                  <a:lnTo>
                    <a:pt x="27" y="21"/>
                  </a:lnTo>
                  <a:lnTo>
                    <a:pt x="27" y="19"/>
                  </a:lnTo>
                  <a:lnTo>
                    <a:pt x="30" y="21"/>
                  </a:lnTo>
                  <a:lnTo>
                    <a:pt x="32" y="21"/>
                  </a:lnTo>
                  <a:lnTo>
                    <a:pt x="40" y="15"/>
                  </a:lnTo>
                  <a:lnTo>
                    <a:pt x="42" y="15"/>
                  </a:lnTo>
                  <a:lnTo>
                    <a:pt x="45" y="11"/>
                  </a:lnTo>
                  <a:lnTo>
                    <a:pt x="51" y="11"/>
                  </a:lnTo>
                  <a:lnTo>
                    <a:pt x="55" y="11"/>
                  </a:lnTo>
                  <a:lnTo>
                    <a:pt x="60" y="11"/>
                  </a:lnTo>
                  <a:lnTo>
                    <a:pt x="62" y="15"/>
                  </a:lnTo>
                  <a:lnTo>
                    <a:pt x="60" y="15"/>
                  </a:lnTo>
                  <a:lnTo>
                    <a:pt x="57" y="15"/>
                  </a:lnTo>
                  <a:lnTo>
                    <a:pt x="55" y="17"/>
                  </a:lnTo>
                  <a:lnTo>
                    <a:pt x="57" y="21"/>
                  </a:lnTo>
                  <a:lnTo>
                    <a:pt x="66" y="23"/>
                  </a:lnTo>
                  <a:lnTo>
                    <a:pt x="70" y="21"/>
                  </a:lnTo>
                  <a:lnTo>
                    <a:pt x="74" y="21"/>
                  </a:lnTo>
                  <a:lnTo>
                    <a:pt x="75" y="23"/>
                  </a:lnTo>
                  <a:lnTo>
                    <a:pt x="81" y="24"/>
                  </a:lnTo>
                  <a:lnTo>
                    <a:pt x="83" y="24"/>
                  </a:lnTo>
                  <a:lnTo>
                    <a:pt x="85" y="23"/>
                  </a:lnTo>
                  <a:lnTo>
                    <a:pt x="87" y="24"/>
                  </a:lnTo>
                  <a:lnTo>
                    <a:pt x="87" y="26"/>
                  </a:lnTo>
                  <a:lnTo>
                    <a:pt x="94" y="30"/>
                  </a:lnTo>
                  <a:lnTo>
                    <a:pt x="100" y="30"/>
                  </a:lnTo>
                  <a:lnTo>
                    <a:pt x="100" y="30"/>
                  </a:lnTo>
                  <a:lnTo>
                    <a:pt x="104" y="34"/>
                  </a:lnTo>
                  <a:lnTo>
                    <a:pt x="106" y="30"/>
                  </a:lnTo>
                  <a:lnTo>
                    <a:pt x="109" y="34"/>
                  </a:lnTo>
                  <a:lnTo>
                    <a:pt x="115" y="30"/>
                  </a:lnTo>
                  <a:lnTo>
                    <a:pt x="117" y="30"/>
                  </a:lnTo>
                  <a:lnTo>
                    <a:pt x="121" y="43"/>
                  </a:lnTo>
                  <a:lnTo>
                    <a:pt x="124" y="51"/>
                  </a:lnTo>
                  <a:lnTo>
                    <a:pt x="128" y="51"/>
                  </a:lnTo>
                  <a:lnTo>
                    <a:pt x="130" y="49"/>
                  </a:lnTo>
                  <a:lnTo>
                    <a:pt x="134" y="53"/>
                  </a:lnTo>
                  <a:lnTo>
                    <a:pt x="141" y="53"/>
                  </a:lnTo>
                  <a:lnTo>
                    <a:pt x="141" y="55"/>
                  </a:lnTo>
                  <a:lnTo>
                    <a:pt x="145" y="55"/>
                  </a:lnTo>
                  <a:lnTo>
                    <a:pt x="145" y="58"/>
                  </a:lnTo>
                  <a:lnTo>
                    <a:pt x="139" y="58"/>
                  </a:lnTo>
                  <a:lnTo>
                    <a:pt x="134" y="64"/>
                  </a:lnTo>
                  <a:lnTo>
                    <a:pt x="134" y="68"/>
                  </a:lnTo>
                  <a:lnTo>
                    <a:pt x="139" y="70"/>
                  </a:lnTo>
                  <a:lnTo>
                    <a:pt x="145" y="66"/>
                  </a:lnTo>
                  <a:lnTo>
                    <a:pt x="149" y="68"/>
                  </a:lnTo>
                  <a:lnTo>
                    <a:pt x="158" y="66"/>
                  </a:lnTo>
                  <a:lnTo>
                    <a:pt x="160" y="66"/>
                  </a:lnTo>
                  <a:lnTo>
                    <a:pt x="168" y="70"/>
                  </a:lnTo>
                  <a:lnTo>
                    <a:pt x="177" y="68"/>
                  </a:lnTo>
                  <a:lnTo>
                    <a:pt x="177" y="64"/>
                  </a:lnTo>
                  <a:lnTo>
                    <a:pt x="179" y="66"/>
                  </a:lnTo>
                  <a:lnTo>
                    <a:pt x="183" y="62"/>
                  </a:lnTo>
                  <a:lnTo>
                    <a:pt x="190" y="64"/>
                  </a:lnTo>
                  <a:lnTo>
                    <a:pt x="194" y="62"/>
                  </a:lnTo>
                  <a:lnTo>
                    <a:pt x="196" y="58"/>
                  </a:lnTo>
                  <a:lnTo>
                    <a:pt x="194" y="58"/>
                  </a:lnTo>
                  <a:lnTo>
                    <a:pt x="192" y="58"/>
                  </a:lnTo>
                  <a:lnTo>
                    <a:pt x="188" y="53"/>
                  </a:lnTo>
                  <a:lnTo>
                    <a:pt x="183" y="49"/>
                  </a:lnTo>
                  <a:lnTo>
                    <a:pt x="171" y="49"/>
                  </a:lnTo>
                  <a:lnTo>
                    <a:pt x="170" y="49"/>
                  </a:lnTo>
                  <a:lnTo>
                    <a:pt x="171" y="47"/>
                  </a:lnTo>
                  <a:lnTo>
                    <a:pt x="173" y="43"/>
                  </a:lnTo>
                  <a:lnTo>
                    <a:pt x="170" y="43"/>
                  </a:lnTo>
                  <a:lnTo>
                    <a:pt x="168" y="43"/>
                  </a:lnTo>
                  <a:lnTo>
                    <a:pt x="164" y="43"/>
                  </a:lnTo>
                  <a:lnTo>
                    <a:pt x="158" y="36"/>
                  </a:lnTo>
                  <a:lnTo>
                    <a:pt x="155" y="39"/>
                  </a:lnTo>
                  <a:lnTo>
                    <a:pt x="153" y="36"/>
                  </a:lnTo>
                  <a:lnTo>
                    <a:pt x="147" y="34"/>
                  </a:lnTo>
                  <a:lnTo>
                    <a:pt x="145" y="34"/>
                  </a:lnTo>
                  <a:lnTo>
                    <a:pt x="143" y="34"/>
                  </a:lnTo>
                  <a:lnTo>
                    <a:pt x="143" y="30"/>
                  </a:lnTo>
                  <a:lnTo>
                    <a:pt x="141" y="30"/>
                  </a:lnTo>
                  <a:lnTo>
                    <a:pt x="141" y="34"/>
                  </a:lnTo>
                  <a:lnTo>
                    <a:pt x="138" y="30"/>
                  </a:lnTo>
                  <a:lnTo>
                    <a:pt x="130" y="30"/>
                  </a:lnTo>
                  <a:lnTo>
                    <a:pt x="128" y="24"/>
                  </a:lnTo>
                  <a:lnTo>
                    <a:pt x="123" y="23"/>
                  </a:lnTo>
                  <a:lnTo>
                    <a:pt x="119" y="19"/>
                  </a:lnTo>
                  <a:lnTo>
                    <a:pt x="107" y="17"/>
                  </a:lnTo>
                  <a:lnTo>
                    <a:pt x="104" y="15"/>
                  </a:lnTo>
                  <a:lnTo>
                    <a:pt x="104" y="11"/>
                  </a:lnTo>
                  <a:lnTo>
                    <a:pt x="100" y="9"/>
                  </a:lnTo>
                  <a:lnTo>
                    <a:pt x="96" y="9"/>
                  </a:lnTo>
                  <a:lnTo>
                    <a:pt x="94" y="7"/>
                  </a:lnTo>
                  <a:lnTo>
                    <a:pt x="79" y="6"/>
                  </a:lnTo>
                  <a:lnTo>
                    <a:pt x="75" y="7"/>
                  </a:lnTo>
                  <a:lnTo>
                    <a:pt x="70" y="6"/>
                  </a:lnTo>
                  <a:lnTo>
                    <a:pt x="66" y="2"/>
                  </a:lnTo>
                  <a:lnTo>
                    <a:pt x="57" y="0"/>
                  </a:lnTo>
                  <a:lnTo>
                    <a:pt x="51" y="0"/>
                  </a:lnTo>
                  <a:lnTo>
                    <a:pt x="45" y="4"/>
                  </a:lnTo>
                  <a:lnTo>
                    <a:pt x="36" y="4"/>
                  </a:lnTo>
                  <a:lnTo>
                    <a:pt x="30" y="6"/>
                  </a:lnTo>
                  <a:lnTo>
                    <a:pt x="27" y="9"/>
                  </a:lnTo>
                  <a:lnTo>
                    <a:pt x="17" y="11"/>
                  </a:lnTo>
                  <a:lnTo>
                    <a:pt x="15" y="15"/>
                  </a:lnTo>
                  <a:lnTo>
                    <a:pt x="11" y="15"/>
                  </a:lnTo>
                  <a:lnTo>
                    <a:pt x="11" y="19"/>
                  </a:lnTo>
                  <a:lnTo>
                    <a:pt x="11" y="19"/>
                  </a:lnTo>
                  <a:lnTo>
                    <a:pt x="11"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9" name="Freeform 162">
              <a:extLst>
                <a:ext uri="{FF2B5EF4-FFF2-40B4-BE49-F238E27FC236}">
                  <a16:creationId xmlns:a16="http://schemas.microsoft.com/office/drawing/2014/main" id="{8A660012-6A98-4174-97C4-C19B9AF6728C}"/>
                </a:ext>
              </a:extLst>
            </p:cNvPr>
            <p:cNvSpPr>
              <a:spLocks/>
            </p:cNvSpPr>
            <p:nvPr/>
          </p:nvSpPr>
          <p:spPr bwMode="auto">
            <a:xfrm>
              <a:off x="1277" y="2922"/>
              <a:ext cx="90" cy="44"/>
            </a:xfrm>
            <a:custGeom>
              <a:avLst/>
              <a:gdLst/>
              <a:ahLst/>
              <a:cxnLst>
                <a:cxn ang="0">
                  <a:pos x="77" y="38"/>
                </a:cxn>
                <a:cxn ang="0">
                  <a:pos x="71" y="30"/>
                </a:cxn>
                <a:cxn ang="0">
                  <a:pos x="75" y="23"/>
                </a:cxn>
                <a:cxn ang="0">
                  <a:pos x="79" y="23"/>
                </a:cxn>
                <a:cxn ang="0">
                  <a:pos x="77" y="21"/>
                </a:cxn>
                <a:cxn ang="0">
                  <a:pos x="75" y="23"/>
                </a:cxn>
                <a:cxn ang="0">
                  <a:pos x="71" y="19"/>
                </a:cxn>
                <a:cxn ang="0">
                  <a:pos x="66" y="13"/>
                </a:cxn>
                <a:cxn ang="0">
                  <a:pos x="60" y="10"/>
                </a:cxn>
                <a:cxn ang="0">
                  <a:pos x="53" y="13"/>
                </a:cxn>
                <a:cxn ang="0">
                  <a:pos x="53" y="17"/>
                </a:cxn>
                <a:cxn ang="0">
                  <a:pos x="49" y="23"/>
                </a:cxn>
                <a:cxn ang="0">
                  <a:pos x="41" y="27"/>
                </a:cxn>
                <a:cxn ang="0">
                  <a:pos x="41" y="30"/>
                </a:cxn>
                <a:cxn ang="0">
                  <a:pos x="47" y="36"/>
                </a:cxn>
                <a:cxn ang="0">
                  <a:pos x="45" y="38"/>
                </a:cxn>
                <a:cxn ang="0">
                  <a:pos x="41" y="40"/>
                </a:cxn>
                <a:cxn ang="0">
                  <a:pos x="34" y="44"/>
                </a:cxn>
                <a:cxn ang="0">
                  <a:pos x="34" y="38"/>
                </a:cxn>
                <a:cxn ang="0">
                  <a:pos x="34" y="32"/>
                </a:cxn>
                <a:cxn ang="0">
                  <a:pos x="28" y="32"/>
                </a:cxn>
                <a:cxn ang="0">
                  <a:pos x="28" y="36"/>
                </a:cxn>
                <a:cxn ang="0">
                  <a:pos x="26" y="36"/>
                </a:cxn>
                <a:cxn ang="0">
                  <a:pos x="21" y="32"/>
                </a:cxn>
                <a:cxn ang="0">
                  <a:pos x="13" y="27"/>
                </a:cxn>
                <a:cxn ang="0">
                  <a:pos x="13" y="23"/>
                </a:cxn>
                <a:cxn ang="0">
                  <a:pos x="11" y="23"/>
                </a:cxn>
                <a:cxn ang="0">
                  <a:pos x="4" y="23"/>
                </a:cxn>
                <a:cxn ang="0">
                  <a:pos x="0" y="23"/>
                </a:cxn>
                <a:cxn ang="0">
                  <a:pos x="2" y="17"/>
                </a:cxn>
                <a:cxn ang="0">
                  <a:pos x="2" y="13"/>
                </a:cxn>
                <a:cxn ang="0">
                  <a:pos x="0" y="10"/>
                </a:cxn>
                <a:cxn ang="0">
                  <a:pos x="2" y="4"/>
                </a:cxn>
                <a:cxn ang="0">
                  <a:pos x="7" y="2"/>
                </a:cxn>
                <a:cxn ang="0">
                  <a:pos x="9" y="6"/>
                </a:cxn>
                <a:cxn ang="0">
                  <a:pos x="13" y="8"/>
                </a:cxn>
                <a:cxn ang="0">
                  <a:pos x="13" y="10"/>
                </a:cxn>
                <a:cxn ang="0">
                  <a:pos x="13" y="12"/>
                </a:cxn>
                <a:cxn ang="0">
                  <a:pos x="17" y="12"/>
                </a:cxn>
                <a:cxn ang="0">
                  <a:pos x="17" y="10"/>
                </a:cxn>
                <a:cxn ang="0">
                  <a:pos x="21" y="10"/>
                </a:cxn>
                <a:cxn ang="0">
                  <a:pos x="32" y="15"/>
                </a:cxn>
                <a:cxn ang="0">
                  <a:pos x="37" y="12"/>
                </a:cxn>
                <a:cxn ang="0">
                  <a:pos x="53" y="4"/>
                </a:cxn>
                <a:cxn ang="0">
                  <a:pos x="60" y="0"/>
                </a:cxn>
                <a:cxn ang="0">
                  <a:pos x="62" y="4"/>
                </a:cxn>
                <a:cxn ang="0">
                  <a:pos x="71" y="4"/>
                </a:cxn>
                <a:cxn ang="0">
                  <a:pos x="81" y="10"/>
                </a:cxn>
                <a:cxn ang="0">
                  <a:pos x="85" y="15"/>
                </a:cxn>
                <a:cxn ang="0">
                  <a:pos x="88" y="17"/>
                </a:cxn>
                <a:cxn ang="0">
                  <a:pos x="88" y="23"/>
                </a:cxn>
                <a:cxn ang="0">
                  <a:pos x="88" y="32"/>
                </a:cxn>
                <a:cxn ang="0">
                  <a:pos x="85" y="36"/>
                </a:cxn>
                <a:cxn ang="0">
                  <a:pos x="81" y="42"/>
                </a:cxn>
                <a:cxn ang="0">
                  <a:pos x="81" y="42"/>
                </a:cxn>
              </a:cxnLst>
              <a:rect l="0" t="0" r="r" b="b"/>
              <a:pathLst>
                <a:path w="90" h="44">
                  <a:moveTo>
                    <a:pt x="81" y="42"/>
                  </a:moveTo>
                  <a:lnTo>
                    <a:pt x="77" y="38"/>
                  </a:lnTo>
                  <a:lnTo>
                    <a:pt x="75" y="32"/>
                  </a:lnTo>
                  <a:lnTo>
                    <a:pt x="71" y="30"/>
                  </a:lnTo>
                  <a:lnTo>
                    <a:pt x="75" y="27"/>
                  </a:lnTo>
                  <a:lnTo>
                    <a:pt x="75" y="23"/>
                  </a:lnTo>
                  <a:lnTo>
                    <a:pt x="77" y="23"/>
                  </a:lnTo>
                  <a:lnTo>
                    <a:pt x="79" y="23"/>
                  </a:lnTo>
                  <a:lnTo>
                    <a:pt x="79" y="19"/>
                  </a:lnTo>
                  <a:lnTo>
                    <a:pt x="77" y="21"/>
                  </a:lnTo>
                  <a:lnTo>
                    <a:pt x="75" y="23"/>
                  </a:lnTo>
                  <a:lnTo>
                    <a:pt x="75" y="23"/>
                  </a:lnTo>
                  <a:lnTo>
                    <a:pt x="71" y="23"/>
                  </a:lnTo>
                  <a:lnTo>
                    <a:pt x="71" y="19"/>
                  </a:lnTo>
                  <a:lnTo>
                    <a:pt x="68" y="15"/>
                  </a:lnTo>
                  <a:lnTo>
                    <a:pt x="66" y="13"/>
                  </a:lnTo>
                  <a:lnTo>
                    <a:pt x="64" y="12"/>
                  </a:lnTo>
                  <a:lnTo>
                    <a:pt x="60" y="10"/>
                  </a:lnTo>
                  <a:lnTo>
                    <a:pt x="56" y="10"/>
                  </a:lnTo>
                  <a:lnTo>
                    <a:pt x="53" y="13"/>
                  </a:lnTo>
                  <a:lnTo>
                    <a:pt x="53" y="17"/>
                  </a:lnTo>
                  <a:lnTo>
                    <a:pt x="53" y="17"/>
                  </a:lnTo>
                  <a:lnTo>
                    <a:pt x="53" y="19"/>
                  </a:lnTo>
                  <a:lnTo>
                    <a:pt x="49" y="23"/>
                  </a:lnTo>
                  <a:lnTo>
                    <a:pt x="43" y="23"/>
                  </a:lnTo>
                  <a:lnTo>
                    <a:pt x="41" y="27"/>
                  </a:lnTo>
                  <a:lnTo>
                    <a:pt x="41" y="27"/>
                  </a:lnTo>
                  <a:lnTo>
                    <a:pt x="41" y="30"/>
                  </a:lnTo>
                  <a:lnTo>
                    <a:pt x="43" y="32"/>
                  </a:lnTo>
                  <a:lnTo>
                    <a:pt x="47" y="36"/>
                  </a:lnTo>
                  <a:lnTo>
                    <a:pt x="47" y="38"/>
                  </a:lnTo>
                  <a:lnTo>
                    <a:pt x="45" y="38"/>
                  </a:lnTo>
                  <a:lnTo>
                    <a:pt x="41" y="38"/>
                  </a:lnTo>
                  <a:lnTo>
                    <a:pt x="41" y="40"/>
                  </a:lnTo>
                  <a:lnTo>
                    <a:pt x="37" y="44"/>
                  </a:lnTo>
                  <a:lnTo>
                    <a:pt x="34" y="44"/>
                  </a:lnTo>
                  <a:lnTo>
                    <a:pt x="32" y="40"/>
                  </a:lnTo>
                  <a:lnTo>
                    <a:pt x="34" y="38"/>
                  </a:lnTo>
                  <a:lnTo>
                    <a:pt x="32" y="36"/>
                  </a:lnTo>
                  <a:lnTo>
                    <a:pt x="34" y="32"/>
                  </a:lnTo>
                  <a:lnTo>
                    <a:pt x="32" y="32"/>
                  </a:lnTo>
                  <a:lnTo>
                    <a:pt x="28" y="32"/>
                  </a:lnTo>
                  <a:lnTo>
                    <a:pt x="28" y="32"/>
                  </a:lnTo>
                  <a:lnTo>
                    <a:pt x="28" y="36"/>
                  </a:lnTo>
                  <a:lnTo>
                    <a:pt x="28" y="36"/>
                  </a:lnTo>
                  <a:lnTo>
                    <a:pt x="26" y="36"/>
                  </a:lnTo>
                  <a:lnTo>
                    <a:pt x="22" y="36"/>
                  </a:lnTo>
                  <a:lnTo>
                    <a:pt x="21" y="32"/>
                  </a:lnTo>
                  <a:lnTo>
                    <a:pt x="21" y="27"/>
                  </a:lnTo>
                  <a:lnTo>
                    <a:pt x="13" y="27"/>
                  </a:lnTo>
                  <a:lnTo>
                    <a:pt x="13" y="27"/>
                  </a:lnTo>
                  <a:lnTo>
                    <a:pt x="13" y="23"/>
                  </a:lnTo>
                  <a:lnTo>
                    <a:pt x="11" y="23"/>
                  </a:lnTo>
                  <a:lnTo>
                    <a:pt x="11" y="23"/>
                  </a:lnTo>
                  <a:lnTo>
                    <a:pt x="7" y="23"/>
                  </a:lnTo>
                  <a:lnTo>
                    <a:pt x="4" y="23"/>
                  </a:lnTo>
                  <a:lnTo>
                    <a:pt x="2" y="23"/>
                  </a:lnTo>
                  <a:lnTo>
                    <a:pt x="0" y="23"/>
                  </a:lnTo>
                  <a:lnTo>
                    <a:pt x="0" y="21"/>
                  </a:lnTo>
                  <a:lnTo>
                    <a:pt x="2" y="17"/>
                  </a:lnTo>
                  <a:lnTo>
                    <a:pt x="4" y="15"/>
                  </a:lnTo>
                  <a:lnTo>
                    <a:pt x="2" y="13"/>
                  </a:lnTo>
                  <a:lnTo>
                    <a:pt x="0" y="12"/>
                  </a:lnTo>
                  <a:lnTo>
                    <a:pt x="0" y="10"/>
                  </a:lnTo>
                  <a:lnTo>
                    <a:pt x="2" y="8"/>
                  </a:lnTo>
                  <a:lnTo>
                    <a:pt x="2" y="4"/>
                  </a:lnTo>
                  <a:lnTo>
                    <a:pt x="4" y="2"/>
                  </a:lnTo>
                  <a:lnTo>
                    <a:pt x="7" y="2"/>
                  </a:lnTo>
                  <a:lnTo>
                    <a:pt x="7" y="4"/>
                  </a:lnTo>
                  <a:lnTo>
                    <a:pt x="9" y="6"/>
                  </a:lnTo>
                  <a:lnTo>
                    <a:pt x="11" y="8"/>
                  </a:lnTo>
                  <a:lnTo>
                    <a:pt x="13" y="8"/>
                  </a:lnTo>
                  <a:lnTo>
                    <a:pt x="13" y="8"/>
                  </a:lnTo>
                  <a:lnTo>
                    <a:pt x="13" y="10"/>
                  </a:lnTo>
                  <a:lnTo>
                    <a:pt x="13" y="10"/>
                  </a:lnTo>
                  <a:lnTo>
                    <a:pt x="13" y="12"/>
                  </a:lnTo>
                  <a:lnTo>
                    <a:pt x="17" y="13"/>
                  </a:lnTo>
                  <a:lnTo>
                    <a:pt x="17" y="12"/>
                  </a:lnTo>
                  <a:lnTo>
                    <a:pt x="17" y="10"/>
                  </a:lnTo>
                  <a:lnTo>
                    <a:pt x="17" y="10"/>
                  </a:lnTo>
                  <a:lnTo>
                    <a:pt x="17" y="8"/>
                  </a:lnTo>
                  <a:lnTo>
                    <a:pt x="21" y="10"/>
                  </a:lnTo>
                  <a:lnTo>
                    <a:pt x="26" y="13"/>
                  </a:lnTo>
                  <a:lnTo>
                    <a:pt x="32" y="15"/>
                  </a:lnTo>
                  <a:lnTo>
                    <a:pt x="36" y="13"/>
                  </a:lnTo>
                  <a:lnTo>
                    <a:pt x="37" y="12"/>
                  </a:lnTo>
                  <a:lnTo>
                    <a:pt x="47" y="6"/>
                  </a:lnTo>
                  <a:lnTo>
                    <a:pt x="53" y="4"/>
                  </a:lnTo>
                  <a:lnTo>
                    <a:pt x="56" y="0"/>
                  </a:lnTo>
                  <a:lnTo>
                    <a:pt x="60" y="0"/>
                  </a:lnTo>
                  <a:lnTo>
                    <a:pt x="60" y="2"/>
                  </a:lnTo>
                  <a:lnTo>
                    <a:pt x="62" y="4"/>
                  </a:lnTo>
                  <a:lnTo>
                    <a:pt x="64" y="4"/>
                  </a:lnTo>
                  <a:lnTo>
                    <a:pt x="71" y="4"/>
                  </a:lnTo>
                  <a:lnTo>
                    <a:pt x="75" y="4"/>
                  </a:lnTo>
                  <a:lnTo>
                    <a:pt x="81" y="10"/>
                  </a:lnTo>
                  <a:lnTo>
                    <a:pt x="85" y="13"/>
                  </a:lnTo>
                  <a:lnTo>
                    <a:pt x="85" y="15"/>
                  </a:lnTo>
                  <a:lnTo>
                    <a:pt x="88" y="15"/>
                  </a:lnTo>
                  <a:lnTo>
                    <a:pt x="88" y="17"/>
                  </a:lnTo>
                  <a:lnTo>
                    <a:pt x="88" y="21"/>
                  </a:lnTo>
                  <a:lnTo>
                    <a:pt x="88" y="23"/>
                  </a:lnTo>
                  <a:lnTo>
                    <a:pt x="90" y="27"/>
                  </a:lnTo>
                  <a:lnTo>
                    <a:pt x="88" y="32"/>
                  </a:lnTo>
                  <a:lnTo>
                    <a:pt x="86" y="36"/>
                  </a:lnTo>
                  <a:lnTo>
                    <a:pt x="85" y="36"/>
                  </a:lnTo>
                  <a:lnTo>
                    <a:pt x="83" y="36"/>
                  </a:lnTo>
                  <a:lnTo>
                    <a:pt x="81" y="42"/>
                  </a:lnTo>
                  <a:lnTo>
                    <a:pt x="81" y="42"/>
                  </a:lnTo>
                  <a:lnTo>
                    <a:pt x="81" y="4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0" name="Freeform 163">
              <a:extLst>
                <a:ext uri="{FF2B5EF4-FFF2-40B4-BE49-F238E27FC236}">
                  <a16:creationId xmlns:a16="http://schemas.microsoft.com/office/drawing/2014/main" id="{C955D916-F58E-4FC5-BB5D-71647DAB0FF6}"/>
                </a:ext>
              </a:extLst>
            </p:cNvPr>
            <p:cNvSpPr>
              <a:spLocks/>
            </p:cNvSpPr>
            <p:nvPr/>
          </p:nvSpPr>
          <p:spPr bwMode="auto">
            <a:xfrm>
              <a:off x="1209" y="2892"/>
              <a:ext cx="62" cy="57"/>
            </a:xfrm>
            <a:custGeom>
              <a:avLst/>
              <a:gdLst/>
              <a:ahLst/>
              <a:cxnLst>
                <a:cxn ang="0">
                  <a:pos x="55" y="53"/>
                </a:cxn>
                <a:cxn ang="0">
                  <a:pos x="57" y="53"/>
                </a:cxn>
                <a:cxn ang="0">
                  <a:pos x="57" y="57"/>
                </a:cxn>
                <a:cxn ang="0">
                  <a:pos x="53" y="55"/>
                </a:cxn>
                <a:cxn ang="0">
                  <a:pos x="49" y="53"/>
                </a:cxn>
                <a:cxn ang="0">
                  <a:pos x="49" y="47"/>
                </a:cxn>
                <a:cxn ang="0">
                  <a:pos x="43" y="47"/>
                </a:cxn>
                <a:cxn ang="0">
                  <a:pos x="45" y="49"/>
                </a:cxn>
                <a:cxn ang="0">
                  <a:pos x="49" y="53"/>
                </a:cxn>
                <a:cxn ang="0">
                  <a:pos x="43" y="53"/>
                </a:cxn>
                <a:cxn ang="0">
                  <a:pos x="38" y="49"/>
                </a:cxn>
                <a:cxn ang="0">
                  <a:pos x="40" y="43"/>
                </a:cxn>
                <a:cxn ang="0">
                  <a:pos x="36" y="36"/>
                </a:cxn>
                <a:cxn ang="0">
                  <a:pos x="30" y="34"/>
                </a:cxn>
                <a:cxn ang="0">
                  <a:pos x="25" y="27"/>
                </a:cxn>
                <a:cxn ang="0">
                  <a:pos x="21" y="21"/>
                </a:cxn>
                <a:cxn ang="0">
                  <a:pos x="13" y="19"/>
                </a:cxn>
                <a:cxn ang="0">
                  <a:pos x="13" y="21"/>
                </a:cxn>
                <a:cxn ang="0">
                  <a:pos x="19" y="28"/>
                </a:cxn>
                <a:cxn ang="0">
                  <a:pos x="15" y="30"/>
                </a:cxn>
                <a:cxn ang="0">
                  <a:pos x="9" y="27"/>
                </a:cxn>
                <a:cxn ang="0">
                  <a:pos x="0" y="21"/>
                </a:cxn>
                <a:cxn ang="0">
                  <a:pos x="0" y="15"/>
                </a:cxn>
                <a:cxn ang="0">
                  <a:pos x="4" y="10"/>
                </a:cxn>
                <a:cxn ang="0">
                  <a:pos x="0" y="8"/>
                </a:cxn>
                <a:cxn ang="0">
                  <a:pos x="4" y="2"/>
                </a:cxn>
                <a:cxn ang="0">
                  <a:pos x="4" y="0"/>
                </a:cxn>
                <a:cxn ang="0">
                  <a:pos x="9" y="0"/>
                </a:cxn>
                <a:cxn ang="0">
                  <a:pos x="23" y="2"/>
                </a:cxn>
                <a:cxn ang="0">
                  <a:pos x="30" y="4"/>
                </a:cxn>
                <a:cxn ang="0">
                  <a:pos x="32" y="6"/>
                </a:cxn>
                <a:cxn ang="0">
                  <a:pos x="40" y="10"/>
                </a:cxn>
                <a:cxn ang="0">
                  <a:pos x="40" y="11"/>
                </a:cxn>
                <a:cxn ang="0">
                  <a:pos x="43" y="10"/>
                </a:cxn>
                <a:cxn ang="0">
                  <a:pos x="49" y="11"/>
                </a:cxn>
                <a:cxn ang="0">
                  <a:pos x="49" y="19"/>
                </a:cxn>
                <a:cxn ang="0">
                  <a:pos x="55" y="25"/>
                </a:cxn>
                <a:cxn ang="0">
                  <a:pos x="60" y="28"/>
                </a:cxn>
                <a:cxn ang="0">
                  <a:pos x="62" y="30"/>
                </a:cxn>
                <a:cxn ang="0">
                  <a:pos x="58" y="30"/>
                </a:cxn>
                <a:cxn ang="0">
                  <a:pos x="55" y="38"/>
                </a:cxn>
                <a:cxn ang="0">
                  <a:pos x="57" y="42"/>
                </a:cxn>
                <a:cxn ang="0">
                  <a:pos x="57" y="47"/>
                </a:cxn>
                <a:cxn ang="0">
                  <a:pos x="55" y="53"/>
                </a:cxn>
                <a:cxn ang="0">
                  <a:pos x="55" y="53"/>
                </a:cxn>
                <a:cxn ang="0">
                  <a:pos x="55" y="53"/>
                </a:cxn>
              </a:cxnLst>
              <a:rect l="0" t="0" r="r" b="b"/>
              <a:pathLst>
                <a:path w="62" h="57">
                  <a:moveTo>
                    <a:pt x="55" y="53"/>
                  </a:moveTo>
                  <a:lnTo>
                    <a:pt x="55" y="53"/>
                  </a:lnTo>
                  <a:lnTo>
                    <a:pt x="57" y="53"/>
                  </a:lnTo>
                  <a:lnTo>
                    <a:pt x="57" y="53"/>
                  </a:lnTo>
                  <a:lnTo>
                    <a:pt x="57" y="55"/>
                  </a:lnTo>
                  <a:lnTo>
                    <a:pt x="57" y="57"/>
                  </a:lnTo>
                  <a:lnTo>
                    <a:pt x="53" y="57"/>
                  </a:lnTo>
                  <a:lnTo>
                    <a:pt x="53" y="55"/>
                  </a:lnTo>
                  <a:lnTo>
                    <a:pt x="51" y="55"/>
                  </a:lnTo>
                  <a:lnTo>
                    <a:pt x="49" y="53"/>
                  </a:lnTo>
                  <a:lnTo>
                    <a:pt x="49" y="49"/>
                  </a:lnTo>
                  <a:lnTo>
                    <a:pt x="49" y="47"/>
                  </a:lnTo>
                  <a:lnTo>
                    <a:pt x="43" y="45"/>
                  </a:lnTo>
                  <a:lnTo>
                    <a:pt x="43" y="47"/>
                  </a:lnTo>
                  <a:lnTo>
                    <a:pt x="43" y="47"/>
                  </a:lnTo>
                  <a:lnTo>
                    <a:pt x="45" y="49"/>
                  </a:lnTo>
                  <a:lnTo>
                    <a:pt x="49" y="49"/>
                  </a:lnTo>
                  <a:lnTo>
                    <a:pt x="49" y="53"/>
                  </a:lnTo>
                  <a:lnTo>
                    <a:pt x="45" y="55"/>
                  </a:lnTo>
                  <a:lnTo>
                    <a:pt x="43" y="53"/>
                  </a:lnTo>
                  <a:lnTo>
                    <a:pt x="40" y="53"/>
                  </a:lnTo>
                  <a:lnTo>
                    <a:pt x="38" y="49"/>
                  </a:lnTo>
                  <a:lnTo>
                    <a:pt x="38" y="47"/>
                  </a:lnTo>
                  <a:lnTo>
                    <a:pt x="40" y="43"/>
                  </a:lnTo>
                  <a:lnTo>
                    <a:pt x="40" y="42"/>
                  </a:lnTo>
                  <a:lnTo>
                    <a:pt x="36" y="36"/>
                  </a:lnTo>
                  <a:lnTo>
                    <a:pt x="34" y="36"/>
                  </a:lnTo>
                  <a:lnTo>
                    <a:pt x="30" y="34"/>
                  </a:lnTo>
                  <a:lnTo>
                    <a:pt x="25" y="30"/>
                  </a:lnTo>
                  <a:lnTo>
                    <a:pt x="25" y="27"/>
                  </a:lnTo>
                  <a:lnTo>
                    <a:pt x="21" y="25"/>
                  </a:lnTo>
                  <a:lnTo>
                    <a:pt x="21" y="21"/>
                  </a:lnTo>
                  <a:lnTo>
                    <a:pt x="17" y="19"/>
                  </a:lnTo>
                  <a:lnTo>
                    <a:pt x="13" y="19"/>
                  </a:lnTo>
                  <a:lnTo>
                    <a:pt x="13" y="19"/>
                  </a:lnTo>
                  <a:lnTo>
                    <a:pt x="13" y="21"/>
                  </a:lnTo>
                  <a:lnTo>
                    <a:pt x="17" y="25"/>
                  </a:lnTo>
                  <a:lnTo>
                    <a:pt x="19" y="28"/>
                  </a:lnTo>
                  <a:lnTo>
                    <a:pt x="17" y="30"/>
                  </a:lnTo>
                  <a:lnTo>
                    <a:pt x="15" y="30"/>
                  </a:lnTo>
                  <a:lnTo>
                    <a:pt x="13" y="28"/>
                  </a:lnTo>
                  <a:lnTo>
                    <a:pt x="9" y="27"/>
                  </a:lnTo>
                  <a:lnTo>
                    <a:pt x="4" y="27"/>
                  </a:lnTo>
                  <a:lnTo>
                    <a:pt x="0" y="21"/>
                  </a:lnTo>
                  <a:lnTo>
                    <a:pt x="0" y="19"/>
                  </a:lnTo>
                  <a:lnTo>
                    <a:pt x="0" y="15"/>
                  </a:lnTo>
                  <a:lnTo>
                    <a:pt x="4" y="11"/>
                  </a:lnTo>
                  <a:lnTo>
                    <a:pt x="4" y="10"/>
                  </a:lnTo>
                  <a:lnTo>
                    <a:pt x="0" y="8"/>
                  </a:lnTo>
                  <a:lnTo>
                    <a:pt x="0" y="8"/>
                  </a:lnTo>
                  <a:lnTo>
                    <a:pt x="0" y="6"/>
                  </a:lnTo>
                  <a:lnTo>
                    <a:pt x="4" y="2"/>
                  </a:lnTo>
                  <a:lnTo>
                    <a:pt x="0" y="2"/>
                  </a:lnTo>
                  <a:lnTo>
                    <a:pt x="4" y="0"/>
                  </a:lnTo>
                  <a:lnTo>
                    <a:pt x="4" y="0"/>
                  </a:lnTo>
                  <a:lnTo>
                    <a:pt x="9" y="0"/>
                  </a:lnTo>
                  <a:lnTo>
                    <a:pt x="19" y="2"/>
                  </a:lnTo>
                  <a:lnTo>
                    <a:pt x="23" y="2"/>
                  </a:lnTo>
                  <a:lnTo>
                    <a:pt x="28" y="2"/>
                  </a:lnTo>
                  <a:lnTo>
                    <a:pt x="30" y="4"/>
                  </a:lnTo>
                  <a:lnTo>
                    <a:pt x="32" y="6"/>
                  </a:lnTo>
                  <a:lnTo>
                    <a:pt x="32" y="6"/>
                  </a:lnTo>
                  <a:lnTo>
                    <a:pt x="38" y="10"/>
                  </a:lnTo>
                  <a:lnTo>
                    <a:pt x="40" y="10"/>
                  </a:lnTo>
                  <a:lnTo>
                    <a:pt x="40" y="10"/>
                  </a:lnTo>
                  <a:lnTo>
                    <a:pt x="40" y="11"/>
                  </a:lnTo>
                  <a:lnTo>
                    <a:pt x="43" y="11"/>
                  </a:lnTo>
                  <a:lnTo>
                    <a:pt x="43" y="10"/>
                  </a:lnTo>
                  <a:lnTo>
                    <a:pt x="45" y="8"/>
                  </a:lnTo>
                  <a:lnTo>
                    <a:pt x="49" y="11"/>
                  </a:lnTo>
                  <a:lnTo>
                    <a:pt x="49" y="15"/>
                  </a:lnTo>
                  <a:lnTo>
                    <a:pt x="49" y="19"/>
                  </a:lnTo>
                  <a:lnTo>
                    <a:pt x="53" y="23"/>
                  </a:lnTo>
                  <a:lnTo>
                    <a:pt x="55" y="25"/>
                  </a:lnTo>
                  <a:lnTo>
                    <a:pt x="57" y="28"/>
                  </a:lnTo>
                  <a:lnTo>
                    <a:pt x="60" y="28"/>
                  </a:lnTo>
                  <a:lnTo>
                    <a:pt x="62" y="30"/>
                  </a:lnTo>
                  <a:lnTo>
                    <a:pt x="62" y="30"/>
                  </a:lnTo>
                  <a:lnTo>
                    <a:pt x="60" y="30"/>
                  </a:lnTo>
                  <a:lnTo>
                    <a:pt x="58" y="30"/>
                  </a:lnTo>
                  <a:lnTo>
                    <a:pt x="58" y="34"/>
                  </a:lnTo>
                  <a:lnTo>
                    <a:pt x="55" y="38"/>
                  </a:lnTo>
                  <a:lnTo>
                    <a:pt x="55" y="40"/>
                  </a:lnTo>
                  <a:lnTo>
                    <a:pt x="57" y="42"/>
                  </a:lnTo>
                  <a:lnTo>
                    <a:pt x="60" y="45"/>
                  </a:lnTo>
                  <a:lnTo>
                    <a:pt x="57" y="47"/>
                  </a:lnTo>
                  <a:lnTo>
                    <a:pt x="55" y="49"/>
                  </a:lnTo>
                  <a:lnTo>
                    <a:pt x="55" y="53"/>
                  </a:lnTo>
                  <a:lnTo>
                    <a:pt x="55" y="53"/>
                  </a:lnTo>
                  <a:lnTo>
                    <a:pt x="55" y="53"/>
                  </a:lnTo>
                  <a:lnTo>
                    <a:pt x="55" y="53"/>
                  </a:lnTo>
                  <a:lnTo>
                    <a:pt x="55" y="5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1" name="Freeform 164">
              <a:extLst>
                <a:ext uri="{FF2B5EF4-FFF2-40B4-BE49-F238E27FC236}">
                  <a16:creationId xmlns:a16="http://schemas.microsoft.com/office/drawing/2014/main" id="{6314871C-E81E-4257-AAFB-08357D552DC5}"/>
                </a:ext>
              </a:extLst>
            </p:cNvPr>
            <p:cNvSpPr>
              <a:spLocks/>
            </p:cNvSpPr>
            <p:nvPr/>
          </p:nvSpPr>
          <p:spPr bwMode="auto">
            <a:xfrm>
              <a:off x="1183" y="2817"/>
              <a:ext cx="83" cy="85"/>
            </a:xfrm>
            <a:custGeom>
              <a:avLst/>
              <a:gdLst/>
              <a:ahLst/>
              <a:cxnLst>
                <a:cxn ang="0">
                  <a:pos x="34" y="75"/>
                </a:cxn>
                <a:cxn ang="0">
                  <a:pos x="39" y="75"/>
                </a:cxn>
                <a:cxn ang="0">
                  <a:pos x="52" y="77"/>
                </a:cxn>
                <a:cxn ang="0">
                  <a:pos x="58" y="79"/>
                </a:cxn>
                <a:cxn ang="0">
                  <a:pos x="62" y="81"/>
                </a:cxn>
                <a:cxn ang="0">
                  <a:pos x="67" y="85"/>
                </a:cxn>
                <a:cxn ang="0">
                  <a:pos x="69" y="85"/>
                </a:cxn>
                <a:cxn ang="0">
                  <a:pos x="71" y="79"/>
                </a:cxn>
                <a:cxn ang="0">
                  <a:pos x="67" y="75"/>
                </a:cxn>
                <a:cxn ang="0">
                  <a:pos x="71" y="66"/>
                </a:cxn>
                <a:cxn ang="0">
                  <a:pos x="69" y="66"/>
                </a:cxn>
                <a:cxn ang="0">
                  <a:pos x="67" y="66"/>
                </a:cxn>
                <a:cxn ang="0">
                  <a:pos x="69" y="62"/>
                </a:cxn>
                <a:cxn ang="0">
                  <a:pos x="69" y="56"/>
                </a:cxn>
                <a:cxn ang="0">
                  <a:pos x="73" y="47"/>
                </a:cxn>
                <a:cxn ang="0">
                  <a:pos x="73" y="49"/>
                </a:cxn>
                <a:cxn ang="0">
                  <a:pos x="73" y="53"/>
                </a:cxn>
                <a:cxn ang="0">
                  <a:pos x="73" y="56"/>
                </a:cxn>
                <a:cxn ang="0">
                  <a:pos x="75" y="54"/>
                </a:cxn>
                <a:cxn ang="0">
                  <a:pos x="77" y="37"/>
                </a:cxn>
                <a:cxn ang="0">
                  <a:pos x="75" y="32"/>
                </a:cxn>
                <a:cxn ang="0">
                  <a:pos x="75" y="30"/>
                </a:cxn>
                <a:cxn ang="0">
                  <a:pos x="77" y="30"/>
                </a:cxn>
                <a:cxn ang="0">
                  <a:pos x="79" y="26"/>
                </a:cxn>
                <a:cxn ang="0">
                  <a:pos x="83" y="21"/>
                </a:cxn>
                <a:cxn ang="0">
                  <a:pos x="83" y="17"/>
                </a:cxn>
                <a:cxn ang="0">
                  <a:pos x="83" y="13"/>
                </a:cxn>
                <a:cxn ang="0">
                  <a:pos x="83" y="4"/>
                </a:cxn>
                <a:cxn ang="0">
                  <a:pos x="83" y="0"/>
                </a:cxn>
                <a:cxn ang="0">
                  <a:pos x="79" y="2"/>
                </a:cxn>
                <a:cxn ang="0">
                  <a:pos x="77" y="0"/>
                </a:cxn>
                <a:cxn ang="0">
                  <a:pos x="75" y="4"/>
                </a:cxn>
                <a:cxn ang="0">
                  <a:pos x="69" y="7"/>
                </a:cxn>
                <a:cxn ang="0">
                  <a:pos x="64" y="9"/>
                </a:cxn>
                <a:cxn ang="0">
                  <a:pos x="58" y="9"/>
                </a:cxn>
                <a:cxn ang="0">
                  <a:pos x="54" y="5"/>
                </a:cxn>
                <a:cxn ang="0">
                  <a:pos x="54" y="9"/>
                </a:cxn>
                <a:cxn ang="0">
                  <a:pos x="47" y="15"/>
                </a:cxn>
                <a:cxn ang="0">
                  <a:pos x="45" y="17"/>
                </a:cxn>
                <a:cxn ang="0">
                  <a:pos x="37" y="22"/>
                </a:cxn>
                <a:cxn ang="0">
                  <a:pos x="34" y="24"/>
                </a:cxn>
                <a:cxn ang="0">
                  <a:pos x="30" y="22"/>
                </a:cxn>
                <a:cxn ang="0">
                  <a:pos x="20" y="26"/>
                </a:cxn>
                <a:cxn ang="0">
                  <a:pos x="15" y="30"/>
                </a:cxn>
                <a:cxn ang="0">
                  <a:pos x="13" y="36"/>
                </a:cxn>
                <a:cxn ang="0">
                  <a:pos x="7" y="39"/>
                </a:cxn>
                <a:cxn ang="0">
                  <a:pos x="3" y="41"/>
                </a:cxn>
                <a:cxn ang="0">
                  <a:pos x="0" y="41"/>
                </a:cxn>
                <a:cxn ang="0">
                  <a:pos x="5" y="51"/>
                </a:cxn>
                <a:cxn ang="0">
                  <a:pos x="9" y="56"/>
                </a:cxn>
                <a:cxn ang="0">
                  <a:pos x="19" y="66"/>
                </a:cxn>
                <a:cxn ang="0">
                  <a:pos x="30" y="75"/>
                </a:cxn>
                <a:cxn ang="0">
                  <a:pos x="30" y="77"/>
                </a:cxn>
              </a:cxnLst>
              <a:rect l="0" t="0" r="r" b="b"/>
              <a:pathLst>
                <a:path w="83" h="85">
                  <a:moveTo>
                    <a:pt x="30" y="77"/>
                  </a:moveTo>
                  <a:lnTo>
                    <a:pt x="34" y="75"/>
                  </a:lnTo>
                  <a:lnTo>
                    <a:pt x="34" y="75"/>
                  </a:lnTo>
                  <a:lnTo>
                    <a:pt x="39" y="75"/>
                  </a:lnTo>
                  <a:lnTo>
                    <a:pt x="49" y="77"/>
                  </a:lnTo>
                  <a:lnTo>
                    <a:pt x="52" y="77"/>
                  </a:lnTo>
                  <a:lnTo>
                    <a:pt x="58" y="77"/>
                  </a:lnTo>
                  <a:lnTo>
                    <a:pt x="58" y="79"/>
                  </a:lnTo>
                  <a:lnTo>
                    <a:pt x="62" y="81"/>
                  </a:lnTo>
                  <a:lnTo>
                    <a:pt x="62" y="81"/>
                  </a:lnTo>
                  <a:lnTo>
                    <a:pt x="67" y="85"/>
                  </a:lnTo>
                  <a:lnTo>
                    <a:pt x="67" y="85"/>
                  </a:lnTo>
                  <a:lnTo>
                    <a:pt x="69" y="85"/>
                  </a:lnTo>
                  <a:lnTo>
                    <a:pt x="69" y="85"/>
                  </a:lnTo>
                  <a:lnTo>
                    <a:pt x="71" y="83"/>
                  </a:lnTo>
                  <a:lnTo>
                    <a:pt x="71" y="79"/>
                  </a:lnTo>
                  <a:lnTo>
                    <a:pt x="67" y="77"/>
                  </a:lnTo>
                  <a:lnTo>
                    <a:pt x="67" y="75"/>
                  </a:lnTo>
                  <a:lnTo>
                    <a:pt x="69" y="69"/>
                  </a:lnTo>
                  <a:lnTo>
                    <a:pt x="71" y="66"/>
                  </a:lnTo>
                  <a:lnTo>
                    <a:pt x="71" y="62"/>
                  </a:lnTo>
                  <a:lnTo>
                    <a:pt x="69" y="66"/>
                  </a:lnTo>
                  <a:lnTo>
                    <a:pt x="69" y="66"/>
                  </a:lnTo>
                  <a:lnTo>
                    <a:pt x="67" y="66"/>
                  </a:lnTo>
                  <a:lnTo>
                    <a:pt x="67" y="66"/>
                  </a:lnTo>
                  <a:lnTo>
                    <a:pt x="69" y="62"/>
                  </a:lnTo>
                  <a:lnTo>
                    <a:pt x="71" y="56"/>
                  </a:lnTo>
                  <a:lnTo>
                    <a:pt x="69" y="56"/>
                  </a:lnTo>
                  <a:lnTo>
                    <a:pt x="69" y="53"/>
                  </a:lnTo>
                  <a:lnTo>
                    <a:pt x="73" y="47"/>
                  </a:lnTo>
                  <a:lnTo>
                    <a:pt x="73" y="47"/>
                  </a:lnTo>
                  <a:lnTo>
                    <a:pt x="73" y="49"/>
                  </a:lnTo>
                  <a:lnTo>
                    <a:pt x="73" y="49"/>
                  </a:lnTo>
                  <a:lnTo>
                    <a:pt x="73" y="53"/>
                  </a:lnTo>
                  <a:lnTo>
                    <a:pt x="73" y="53"/>
                  </a:lnTo>
                  <a:lnTo>
                    <a:pt x="73" y="56"/>
                  </a:lnTo>
                  <a:lnTo>
                    <a:pt x="75" y="56"/>
                  </a:lnTo>
                  <a:lnTo>
                    <a:pt x="75" y="54"/>
                  </a:lnTo>
                  <a:lnTo>
                    <a:pt x="77" y="47"/>
                  </a:lnTo>
                  <a:lnTo>
                    <a:pt x="77" y="37"/>
                  </a:lnTo>
                  <a:lnTo>
                    <a:pt x="77" y="36"/>
                  </a:lnTo>
                  <a:lnTo>
                    <a:pt x="75" y="32"/>
                  </a:lnTo>
                  <a:lnTo>
                    <a:pt x="75" y="32"/>
                  </a:lnTo>
                  <a:lnTo>
                    <a:pt x="75" y="30"/>
                  </a:lnTo>
                  <a:lnTo>
                    <a:pt x="75" y="30"/>
                  </a:lnTo>
                  <a:lnTo>
                    <a:pt x="77" y="30"/>
                  </a:lnTo>
                  <a:lnTo>
                    <a:pt x="79" y="30"/>
                  </a:lnTo>
                  <a:lnTo>
                    <a:pt x="79" y="26"/>
                  </a:lnTo>
                  <a:lnTo>
                    <a:pt x="83" y="22"/>
                  </a:lnTo>
                  <a:lnTo>
                    <a:pt x="83" y="21"/>
                  </a:lnTo>
                  <a:lnTo>
                    <a:pt x="83" y="17"/>
                  </a:lnTo>
                  <a:lnTo>
                    <a:pt x="83" y="17"/>
                  </a:lnTo>
                  <a:lnTo>
                    <a:pt x="83" y="15"/>
                  </a:lnTo>
                  <a:lnTo>
                    <a:pt x="83" y="13"/>
                  </a:lnTo>
                  <a:lnTo>
                    <a:pt x="83" y="9"/>
                  </a:lnTo>
                  <a:lnTo>
                    <a:pt x="83" y="4"/>
                  </a:lnTo>
                  <a:lnTo>
                    <a:pt x="83" y="2"/>
                  </a:lnTo>
                  <a:lnTo>
                    <a:pt x="83" y="0"/>
                  </a:lnTo>
                  <a:lnTo>
                    <a:pt x="83" y="2"/>
                  </a:lnTo>
                  <a:lnTo>
                    <a:pt x="79" y="2"/>
                  </a:lnTo>
                  <a:lnTo>
                    <a:pt x="79" y="0"/>
                  </a:lnTo>
                  <a:lnTo>
                    <a:pt x="77" y="0"/>
                  </a:lnTo>
                  <a:lnTo>
                    <a:pt x="75" y="2"/>
                  </a:lnTo>
                  <a:lnTo>
                    <a:pt x="75" y="4"/>
                  </a:lnTo>
                  <a:lnTo>
                    <a:pt x="71" y="5"/>
                  </a:lnTo>
                  <a:lnTo>
                    <a:pt x="69" y="7"/>
                  </a:lnTo>
                  <a:lnTo>
                    <a:pt x="67" y="7"/>
                  </a:lnTo>
                  <a:lnTo>
                    <a:pt x="64" y="9"/>
                  </a:lnTo>
                  <a:lnTo>
                    <a:pt x="62" y="9"/>
                  </a:lnTo>
                  <a:lnTo>
                    <a:pt x="58" y="9"/>
                  </a:lnTo>
                  <a:lnTo>
                    <a:pt x="58" y="7"/>
                  </a:lnTo>
                  <a:lnTo>
                    <a:pt x="54" y="5"/>
                  </a:lnTo>
                  <a:lnTo>
                    <a:pt x="54" y="5"/>
                  </a:lnTo>
                  <a:lnTo>
                    <a:pt x="54" y="9"/>
                  </a:lnTo>
                  <a:lnTo>
                    <a:pt x="51" y="9"/>
                  </a:lnTo>
                  <a:lnTo>
                    <a:pt x="47" y="15"/>
                  </a:lnTo>
                  <a:lnTo>
                    <a:pt x="47" y="17"/>
                  </a:lnTo>
                  <a:lnTo>
                    <a:pt x="45" y="17"/>
                  </a:lnTo>
                  <a:lnTo>
                    <a:pt x="41" y="21"/>
                  </a:lnTo>
                  <a:lnTo>
                    <a:pt x="37" y="22"/>
                  </a:lnTo>
                  <a:lnTo>
                    <a:pt x="37" y="24"/>
                  </a:lnTo>
                  <a:lnTo>
                    <a:pt x="34" y="24"/>
                  </a:lnTo>
                  <a:lnTo>
                    <a:pt x="34" y="24"/>
                  </a:lnTo>
                  <a:lnTo>
                    <a:pt x="30" y="22"/>
                  </a:lnTo>
                  <a:lnTo>
                    <a:pt x="24" y="22"/>
                  </a:lnTo>
                  <a:lnTo>
                    <a:pt x="20" y="26"/>
                  </a:lnTo>
                  <a:lnTo>
                    <a:pt x="15" y="26"/>
                  </a:lnTo>
                  <a:lnTo>
                    <a:pt x="15" y="30"/>
                  </a:lnTo>
                  <a:lnTo>
                    <a:pt x="15" y="30"/>
                  </a:lnTo>
                  <a:lnTo>
                    <a:pt x="13" y="36"/>
                  </a:lnTo>
                  <a:lnTo>
                    <a:pt x="13" y="39"/>
                  </a:lnTo>
                  <a:lnTo>
                    <a:pt x="7" y="39"/>
                  </a:lnTo>
                  <a:lnTo>
                    <a:pt x="3" y="39"/>
                  </a:lnTo>
                  <a:lnTo>
                    <a:pt x="3" y="41"/>
                  </a:lnTo>
                  <a:lnTo>
                    <a:pt x="3" y="41"/>
                  </a:lnTo>
                  <a:lnTo>
                    <a:pt x="0" y="41"/>
                  </a:lnTo>
                  <a:lnTo>
                    <a:pt x="0" y="41"/>
                  </a:lnTo>
                  <a:lnTo>
                    <a:pt x="5" y="51"/>
                  </a:lnTo>
                  <a:lnTo>
                    <a:pt x="9" y="53"/>
                  </a:lnTo>
                  <a:lnTo>
                    <a:pt x="9" y="56"/>
                  </a:lnTo>
                  <a:lnTo>
                    <a:pt x="15" y="60"/>
                  </a:lnTo>
                  <a:lnTo>
                    <a:pt x="19" y="66"/>
                  </a:lnTo>
                  <a:lnTo>
                    <a:pt x="28" y="75"/>
                  </a:lnTo>
                  <a:lnTo>
                    <a:pt x="30" y="75"/>
                  </a:lnTo>
                  <a:lnTo>
                    <a:pt x="30" y="77"/>
                  </a:lnTo>
                  <a:lnTo>
                    <a:pt x="30" y="77"/>
                  </a:lnTo>
                  <a:lnTo>
                    <a:pt x="30" y="7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2" name="Freeform 165">
              <a:extLst>
                <a:ext uri="{FF2B5EF4-FFF2-40B4-BE49-F238E27FC236}">
                  <a16:creationId xmlns:a16="http://schemas.microsoft.com/office/drawing/2014/main" id="{DD6A00B5-CF94-478A-8269-5A84AA1F6BAC}"/>
                </a:ext>
              </a:extLst>
            </p:cNvPr>
            <p:cNvSpPr>
              <a:spLocks/>
            </p:cNvSpPr>
            <p:nvPr/>
          </p:nvSpPr>
          <p:spPr bwMode="auto">
            <a:xfrm>
              <a:off x="1145" y="2796"/>
              <a:ext cx="121" cy="58"/>
            </a:xfrm>
            <a:custGeom>
              <a:avLst/>
              <a:gdLst/>
              <a:ahLst/>
              <a:cxnLst>
                <a:cxn ang="0">
                  <a:pos x="45" y="58"/>
                </a:cxn>
                <a:cxn ang="0">
                  <a:pos x="51" y="55"/>
                </a:cxn>
                <a:cxn ang="0">
                  <a:pos x="53" y="49"/>
                </a:cxn>
                <a:cxn ang="0">
                  <a:pos x="57" y="45"/>
                </a:cxn>
                <a:cxn ang="0">
                  <a:pos x="68" y="42"/>
                </a:cxn>
                <a:cxn ang="0">
                  <a:pos x="72" y="43"/>
                </a:cxn>
                <a:cxn ang="0">
                  <a:pos x="75" y="42"/>
                </a:cxn>
                <a:cxn ang="0">
                  <a:pos x="81" y="36"/>
                </a:cxn>
                <a:cxn ang="0">
                  <a:pos x="83" y="34"/>
                </a:cxn>
                <a:cxn ang="0">
                  <a:pos x="90" y="28"/>
                </a:cxn>
                <a:cxn ang="0">
                  <a:pos x="90" y="25"/>
                </a:cxn>
                <a:cxn ang="0">
                  <a:pos x="94" y="28"/>
                </a:cxn>
                <a:cxn ang="0">
                  <a:pos x="100" y="28"/>
                </a:cxn>
                <a:cxn ang="0">
                  <a:pos x="105" y="26"/>
                </a:cxn>
                <a:cxn ang="0">
                  <a:pos x="109" y="25"/>
                </a:cxn>
                <a:cxn ang="0">
                  <a:pos x="113" y="21"/>
                </a:cxn>
                <a:cxn ang="0">
                  <a:pos x="115" y="21"/>
                </a:cxn>
                <a:cxn ang="0">
                  <a:pos x="119" y="21"/>
                </a:cxn>
                <a:cxn ang="0">
                  <a:pos x="119" y="19"/>
                </a:cxn>
                <a:cxn ang="0">
                  <a:pos x="113" y="13"/>
                </a:cxn>
                <a:cxn ang="0">
                  <a:pos x="113" y="17"/>
                </a:cxn>
                <a:cxn ang="0">
                  <a:pos x="105" y="17"/>
                </a:cxn>
                <a:cxn ang="0">
                  <a:pos x="100" y="13"/>
                </a:cxn>
                <a:cxn ang="0">
                  <a:pos x="98" y="13"/>
                </a:cxn>
                <a:cxn ang="0">
                  <a:pos x="98" y="9"/>
                </a:cxn>
                <a:cxn ang="0">
                  <a:pos x="104" y="9"/>
                </a:cxn>
                <a:cxn ang="0">
                  <a:pos x="109" y="11"/>
                </a:cxn>
                <a:cxn ang="0">
                  <a:pos x="102" y="6"/>
                </a:cxn>
                <a:cxn ang="0">
                  <a:pos x="94" y="6"/>
                </a:cxn>
                <a:cxn ang="0">
                  <a:pos x="94" y="8"/>
                </a:cxn>
                <a:cxn ang="0">
                  <a:pos x="83" y="6"/>
                </a:cxn>
                <a:cxn ang="0">
                  <a:pos x="72" y="2"/>
                </a:cxn>
                <a:cxn ang="0">
                  <a:pos x="66" y="2"/>
                </a:cxn>
                <a:cxn ang="0">
                  <a:pos x="64" y="6"/>
                </a:cxn>
                <a:cxn ang="0">
                  <a:pos x="60" y="6"/>
                </a:cxn>
                <a:cxn ang="0">
                  <a:pos x="47" y="6"/>
                </a:cxn>
                <a:cxn ang="0">
                  <a:pos x="32" y="8"/>
                </a:cxn>
                <a:cxn ang="0">
                  <a:pos x="28" y="8"/>
                </a:cxn>
                <a:cxn ang="0">
                  <a:pos x="25" y="13"/>
                </a:cxn>
                <a:cxn ang="0">
                  <a:pos x="17" y="15"/>
                </a:cxn>
                <a:cxn ang="0">
                  <a:pos x="9" y="25"/>
                </a:cxn>
                <a:cxn ang="0">
                  <a:pos x="8" y="32"/>
                </a:cxn>
                <a:cxn ang="0">
                  <a:pos x="4" y="36"/>
                </a:cxn>
                <a:cxn ang="0">
                  <a:pos x="2" y="38"/>
                </a:cxn>
                <a:cxn ang="0">
                  <a:pos x="4" y="51"/>
                </a:cxn>
                <a:cxn ang="0">
                  <a:pos x="11" y="53"/>
                </a:cxn>
                <a:cxn ang="0">
                  <a:pos x="17" y="55"/>
                </a:cxn>
                <a:cxn ang="0">
                  <a:pos x="17" y="53"/>
                </a:cxn>
                <a:cxn ang="0">
                  <a:pos x="23" y="57"/>
                </a:cxn>
                <a:cxn ang="0">
                  <a:pos x="32" y="58"/>
                </a:cxn>
                <a:cxn ang="0">
                  <a:pos x="32" y="53"/>
                </a:cxn>
                <a:cxn ang="0">
                  <a:pos x="38" y="53"/>
                </a:cxn>
                <a:cxn ang="0">
                  <a:pos x="41" y="55"/>
                </a:cxn>
                <a:cxn ang="0">
                  <a:pos x="41" y="55"/>
                </a:cxn>
                <a:cxn ang="0">
                  <a:pos x="41" y="58"/>
                </a:cxn>
                <a:cxn ang="0">
                  <a:pos x="41" y="58"/>
                </a:cxn>
              </a:cxnLst>
              <a:rect l="0" t="0" r="r" b="b"/>
              <a:pathLst>
                <a:path w="121" h="58">
                  <a:moveTo>
                    <a:pt x="41" y="58"/>
                  </a:moveTo>
                  <a:lnTo>
                    <a:pt x="45" y="58"/>
                  </a:lnTo>
                  <a:lnTo>
                    <a:pt x="51" y="58"/>
                  </a:lnTo>
                  <a:lnTo>
                    <a:pt x="51" y="55"/>
                  </a:lnTo>
                  <a:lnTo>
                    <a:pt x="53" y="49"/>
                  </a:lnTo>
                  <a:lnTo>
                    <a:pt x="53" y="49"/>
                  </a:lnTo>
                  <a:lnTo>
                    <a:pt x="53" y="45"/>
                  </a:lnTo>
                  <a:lnTo>
                    <a:pt x="57" y="45"/>
                  </a:lnTo>
                  <a:lnTo>
                    <a:pt x="62" y="42"/>
                  </a:lnTo>
                  <a:lnTo>
                    <a:pt x="68" y="42"/>
                  </a:lnTo>
                  <a:lnTo>
                    <a:pt x="70" y="43"/>
                  </a:lnTo>
                  <a:lnTo>
                    <a:pt x="72" y="43"/>
                  </a:lnTo>
                  <a:lnTo>
                    <a:pt x="73" y="43"/>
                  </a:lnTo>
                  <a:lnTo>
                    <a:pt x="75" y="42"/>
                  </a:lnTo>
                  <a:lnTo>
                    <a:pt x="79" y="40"/>
                  </a:lnTo>
                  <a:lnTo>
                    <a:pt x="81" y="36"/>
                  </a:lnTo>
                  <a:lnTo>
                    <a:pt x="83" y="36"/>
                  </a:lnTo>
                  <a:lnTo>
                    <a:pt x="83" y="34"/>
                  </a:lnTo>
                  <a:lnTo>
                    <a:pt x="87" y="28"/>
                  </a:lnTo>
                  <a:lnTo>
                    <a:pt x="90" y="28"/>
                  </a:lnTo>
                  <a:lnTo>
                    <a:pt x="90" y="25"/>
                  </a:lnTo>
                  <a:lnTo>
                    <a:pt x="90" y="25"/>
                  </a:lnTo>
                  <a:lnTo>
                    <a:pt x="94" y="26"/>
                  </a:lnTo>
                  <a:lnTo>
                    <a:pt x="94" y="28"/>
                  </a:lnTo>
                  <a:lnTo>
                    <a:pt x="98" y="28"/>
                  </a:lnTo>
                  <a:lnTo>
                    <a:pt x="100" y="28"/>
                  </a:lnTo>
                  <a:lnTo>
                    <a:pt x="102" y="26"/>
                  </a:lnTo>
                  <a:lnTo>
                    <a:pt x="105" y="26"/>
                  </a:lnTo>
                  <a:lnTo>
                    <a:pt x="107" y="25"/>
                  </a:lnTo>
                  <a:lnTo>
                    <a:pt x="109" y="25"/>
                  </a:lnTo>
                  <a:lnTo>
                    <a:pt x="109" y="21"/>
                  </a:lnTo>
                  <a:lnTo>
                    <a:pt x="113" y="21"/>
                  </a:lnTo>
                  <a:lnTo>
                    <a:pt x="113" y="21"/>
                  </a:lnTo>
                  <a:lnTo>
                    <a:pt x="115" y="21"/>
                  </a:lnTo>
                  <a:lnTo>
                    <a:pt x="117" y="21"/>
                  </a:lnTo>
                  <a:lnTo>
                    <a:pt x="119" y="21"/>
                  </a:lnTo>
                  <a:lnTo>
                    <a:pt x="121" y="21"/>
                  </a:lnTo>
                  <a:lnTo>
                    <a:pt x="119" y="19"/>
                  </a:lnTo>
                  <a:lnTo>
                    <a:pt x="115" y="15"/>
                  </a:lnTo>
                  <a:lnTo>
                    <a:pt x="113" y="13"/>
                  </a:lnTo>
                  <a:lnTo>
                    <a:pt x="113" y="13"/>
                  </a:lnTo>
                  <a:lnTo>
                    <a:pt x="113" y="17"/>
                  </a:lnTo>
                  <a:lnTo>
                    <a:pt x="109" y="17"/>
                  </a:lnTo>
                  <a:lnTo>
                    <a:pt x="105" y="17"/>
                  </a:lnTo>
                  <a:lnTo>
                    <a:pt x="104" y="15"/>
                  </a:lnTo>
                  <a:lnTo>
                    <a:pt x="100" y="13"/>
                  </a:lnTo>
                  <a:lnTo>
                    <a:pt x="98" y="13"/>
                  </a:lnTo>
                  <a:lnTo>
                    <a:pt x="98" y="13"/>
                  </a:lnTo>
                  <a:lnTo>
                    <a:pt x="100" y="11"/>
                  </a:lnTo>
                  <a:lnTo>
                    <a:pt x="98" y="9"/>
                  </a:lnTo>
                  <a:lnTo>
                    <a:pt x="100" y="9"/>
                  </a:lnTo>
                  <a:lnTo>
                    <a:pt x="104" y="9"/>
                  </a:lnTo>
                  <a:lnTo>
                    <a:pt x="109" y="11"/>
                  </a:lnTo>
                  <a:lnTo>
                    <a:pt x="109" y="11"/>
                  </a:lnTo>
                  <a:lnTo>
                    <a:pt x="105" y="8"/>
                  </a:lnTo>
                  <a:lnTo>
                    <a:pt x="102" y="6"/>
                  </a:lnTo>
                  <a:lnTo>
                    <a:pt x="98" y="6"/>
                  </a:lnTo>
                  <a:lnTo>
                    <a:pt x="94" y="6"/>
                  </a:lnTo>
                  <a:lnTo>
                    <a:pt x="94" y="6"/>
                  </a:lnTo>
                  <a:lnTo>
                    <a:pt x="94" y="8"/>
                  </a:lnTo>
                  <a:lnTo>
                    <a:pt x="90" y="6"/>
                  </a:lnTo>
                  <a:lnTo>
                    <a:pt x="83" y="6"/>
                  </a:lnTo>
                  <a:lnTo>
                    <a:pt x="75" y="6"/>
                  </a:lnTo>
                  <a:lnTo>
                    <a:pt x="72" y="2"/>
                  </a:lnTo>
                  <a:lnTo>
                    <a:pt x="68" y="0"/>
                  </a:lnTo>
                  <a:lnTo>
                    <a:pt x="66" y="2"/>
                  </a:lnTo>
                  <a:lnTo>
                    <a:pt x="68" y="2"/>
                  </a:lnTo>
                  <a:lnTo>
                    <a:pt x="64" y="6"/>
                  </a:lnTo>
                  <a:lnTo>
                    <a:pt x="62" y="6"/>
                  </a:lnTo>
                  <a:lnTo>
                    <a:pt x="60" y="6"/>
                  </a:lnTo>
                  <a:lnTo>
                    <a:pt x="55" y="6"/>
                  </a:lnTo>
                  <a:lnTo>
                    <a:pt x="47" y="6"/>
                  </a:lnTo>
                  <a:lnTo>
                    <a:pt x="36" y="6"/>
                  </a:lnTo>
                  <a:lnTo>
                    <a:pt x="32" y="8"/>
                  </a:lnTo>
                  <a:lnTo>
                    <a:pt x="28" y="6"/>
                  </a:lnTo>
                  <a:lnTo>
                    <a:pt x="28" y="8"/>
                  </a:lnTo>
                  <a:lnTo>
                    <a:pt x="26" y="9"/>
                  </a:lnTo>
                  <a:lnTo>
                    <a:pt x="25" y="13"/>
                  </a:lnTo>
                  <a:lnTo>
                    <a:pt x="19" y="17"/>
                  </a:lnTo>
                  <a:lnTo>
                    <a:pt x="17" y="15"/>
                  </a:lnTo>
                  <a:lnTo>
                    <a:pt x="13" y="21"/>
                  </a:lnTo>
                  <a:lnTo>
                    <a:pt x="9" y="25"/>
                  </a:lnTo>
                  <a:lnTo>
                    <a:pt x="11" y="26"/>
                  </a:lnTo>
                  <a:lnTo>
                    <a:pt x="8" y="32"/>
                  </a:lnTo>
                  <a:lnTo>
                    <a:pt x="4" y="36"/>
                  </a:lnTo>
                  <a:lnTo>
                    <a:pt x="4" y="36"/>
                  </a:lnTo>
                  <a:lnTo>
                    <a:pt x="4" y="38"/>
                  </a:lnTo>
                  <a:lnTo>
                    <a:pt x="2" y="38"/>
                  </a:lnTo>
                  <a:lnTo>
                    <a:pt x="0" y="45"/>
                  </a:lnTo>
                  <a:lnTo>
                    <a:pt x="4" y="51"/>
                  </a:lnTo>
                  <a:lnTo>
                    <a:pt x="6" y="51"/>
                  </a:lnTo>
                  <a:lnTo>
                    <a:pt x="11" y="53"/>
                  </a:lnTo>
                  <a:lnTo>
                    <a:pt x="17" y="57"/>
                  </a:lnTo>
                  <a:lnTo>
                    <a:pt x="17" y="55"/>
                  </a:lnTo>
                  <a:lnTo>
                    <a:pt x="13" y="53"/>
                  </a:lnTo>
                  <a:lnTo>
                    <a:pt x="17" y="53"/>
                  </a:lnTo>
                  <a:lnTo>
                    <a:pt x="19" y="53"/>
                  </a:lnTo>
                  <a:lnTo>
                    <a:pt x="23" y="57"/>
                  </a:lnTo>
                  <a:lnTo>
                    <a:pt x="25" y="58"/>
                  </a:lnTo>
                  <a:lnTo>
                    <a:pt x="32" y="58"/>
                  </a:lnTo>
                  <a:lnTo>
                    <a:pt x="36" y="55"/>
                  </a:lnTo>
                  <a:lnTo>
                    <a:pt x="32" y="53"/>
                  </a:lnTo>
                  <a:lnTo>
                    <a:pt x="36" y="53"/>
                  </a:lnTo>
                  <a:lnTo>
                    <a:pt x="38" y="53"/>
                  </a:lnTo>
                  <a:lnTo>
                    <a:pt x="38" y="55"/>
                  </a:lnTo>
                  <a:lnTo>
                    <a:pt x="41" y="55"/>
                  </a:lnTo>
                  <a:lnTo>
                    <a:pt x="41" y="53"/>
                  </a:lnTo>
                  <a:lnTo>
                    <a:pt x="41" y="55"/>
                  </a:lnTo>
                  <a:lnTo>
                    <a:pt x="41" y="57"/>
                  </a:lnTo>
                  <a:lnTo>
                    <a:pt x="41" y="58"/>
                  </a:lnTo>
                  <a:lnTo>
                    <a:pt x="41" y="58"/>
                  </a:lnTo>
                  <a:lnTo>
                    <a:pt x="41" y="58"/>
                  </a:lnTo>
                  <a:lnTo>
                    <a:pt x="41" y="5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3" name="Freeform 166">
              <a:extLst>
                <a:ext uri="{FF2B5EF4-FFF2-40B4-BE49-F238E27FC236}">
                  <a16:creationId xmlns:a16="http://schemas.microsoft.com/office/drawing/2014/main" id="{7E8CD26F-862F-4AD5-B277-3BFC1EE5AD74}"/>
                </a:ext>
              </a:extLst>
            </p:cNvPr>
            <p:cNvSpPr>
              <a:spLocks/>
            </p:cNvSpPr>
            <p:nvPr/>
          </p:nvSpPr>
          <p:spPr bwMode="auto">
            <a:xfrm>
              <a:off x="1156" y="2755"/>
              <a:ext cx="21" cy="41"/>
            </a:xfrm>
            <a:custGeom>
              <a:avLst/>
              <a:gdLst/>
              <a:ahLst/>
              <a:cxnLst>
                <a:cxn ang="0">
                  <a:pos x="0" y="9"/>
                </a:cxn>
                <a:cxn ang="0">
                  <a:pos x="0" y="9"/>
                </a:cxn>
                <a:cxn ang="0">
                  <a:pos x="0" y="9"/>
                </a:cxn>
                <a:cxn ang="0">
                  <a:pos x="2" y="5"/>
                </a:cxn>
                <a:cxn ang="0">
                  <a:pos x="4" y="5"/>
                </a:cxn>
                <a:cxn ang="0">
                  <a:pos x="4" y="9"/>
                </a:cxn>
                <a:cxn ang="0">
                  <a:pos x="6" y="9"/>
                </a:cxn>
                <a:cxn ang="0">
                  <a:pos x="6" y="9"/>
                </a:cxn>
                <a:cxn ang="0">
                  <a:pos x="8" y="9"/>
                </a:cxn>
                <a:cxn ang="0">
                  <a:pos x="8" y="5"/>
                </a:cxn>
                <a:cxn ang="0">
                  <a:pos x="10" y="3"/>
                </a:cxn>
                <a:cxn ang="0">
                  <a:pos x="12" y="2"/>
                </a:cxn>
                <a:cxn ang="0">
                  <a:pos x="12" y="0"/>
                </a:cxn>
                <a:cxn ang="0">
                  <a:pos x="14" y="0"/>
                </a:cxn>
                <a:cxn ang="0">
                  <a:pos x="15" y="0"/>
                </a:cxn>
                <a:cxn ang="0">
                  <a:pos x="17" y="0"/>
                </a:cxn>
                <a:cxn ang="0">
                  <a:pos x="19" y="0"/>
                </a:cxn>
                <a:cxn ang="0">
                  <a:pos x="21" y="0"/>
                </a:cxn>
                <a:cxn ang="0">
                  <a:pos x="21" y="2"/>
                </a:cxn>
                <a:cxn ang="0">
                  <a:pos x="21" y="3"/>
                </a:cxn>
                <a:cxn ang="0">
                  <a:pos x="21" y="11"/>
                </a:cxn>
                <a:cxn ang="0">
                  <a:pos x="19" y="15"/>
                </a:cxn>
                <a:cxn ang="0">
                  <a:pos x="17" y="18"/>
                </a:cxn>
                <a:cxn ang="0">
                  <a:pos x="19" y="20"/>
                </a:cxn>
                <a:cxn ang="0">
                  <a:pos x="19" y="26"/>
                </a:cxn>
                <a:cxn ang="0">
                  <a:pos x="17" y="30"/>
                </a:cxn>
                <a:cxn ang="0">
                  <a:pos x="12" y="37"/>
                </a:cxn>
                <a:cxn ang="0">
                  <a:pos x="10" y="35"/>
                </a:cxn>
                <a:cxn ang="0">
                  <a:pos x="6" y="39"/>
                </a:cxn>
                <a:cxn ang="0">
                  <a:pos x="4" y="41"/>
                </a:cxn>
                <a:cxn ang="0">
                  <a:pos x="4" y="41"/>
                </a:cxn>
                <a:cxn ang="0">
                  <a:pos x="2" y="41"/>
                </a:cxn>
                <a:cxn ang="0">
                  <a:pos x="2" y="41"/>
                </a:cxn>
                <a:cxn ang="0">
                  <a:pos x="0" y="41"/>
                </a:cxn>
                <a:cxn ang="0">
                  <a:pos x="0" y="9"/>
                </a:cxn>
                <a:cxn ang="0">
                  <a:pos x="0" y="9"/>
                </a:cxn>
                <a:cxn ang="0">
                  <a:pos x="0" y="9"/>
                </a:cxn>
                <a:cxn ang="0">
                  <a:pos x="0" y="9"/>
                </a:cxn>
              </a:cxnLst>
              <a:rect l="0" t="0" r="r" b="b"/>
              <a:pathLst>
                <a:path w="21" h="41">
                  <a:moveTo>
                    <a:pt x="0" y="9"/>
                  </a:moveTo>
                  <a:lnTo>
                    <a:pt x="0" y="9"/>
                  </a:lnTo>
                  <a:lnTo>
                    <a:pt x="0" y="9"/>
                  </a:lnTo>
                  <a:lnTo>
                    <a:pt x="2" y="5"/>
                  </a:lnTo>
                  <a:lnTo>
                    <a:pt x="4" y="5"/>
                  </a:lnTo>
                  <a:lnTo>
                    <a:pt x="4" y="9"/>
                  </a:lnTo>
                  <a:lnTo>
                    <a:pt x="6" y="9"/>
                  </a:lnTo>
                  <a:lnTo>
                    <a:pt x="6" y="9"/>
                  </a:lnTo>
                  <a:lnTo>
                    <a:pt x="8" y="9"/>
                  </a:lnTo>
                  <a:lnTo>
                    <a:pt x="8" y="5"/>
                  </a:lnTo>
                  <a:lnTo>
                    <a:pt x="10" y="3"/>
                  </a:lnTo>
                  <a:lnTo>
                    <a:pt x="12" y="2"/>
                  </a:lnTo>
                  <a:lnTo>
                    <a:pt x="12" y="0"/>
                  </a:lnTo>
                  <a:lnTo>
                    <a:pt x="14" y="0"/>
                  </a:lnTo>
                  <a:lnTo>
                    <a:pt x="15" y="0"/>
                  </a:lnTo>
                  <a:lnTo>
                    <a:pt x="17" y="0"/>
                  </a:lnTo>
                  <a:lnTo>
                    <a:pt x="19" y="0"/>
                  </a:lnTo>
                  <a:lnTo>
                    <a:pt x="21" y="0"/>
                  </a:lnTo>
                  <a:lnTo>
                    <a:pt x="21" y="2"/>
                  </a:lnTo>
                  <a:lnTo>
                    <a:pt x="21" y="3"/>
                  </a:lnTo>
                  <a:lnTo>
                    <a:pt x="21" y="11"/>
                  </a:lnTo>
                  <a:lnTo>
                    <a:pt x="19" y="15"/>
                  </a:lnTo>
                  <a:lnTo>
                    <a:pt x="17" y="18"/>
                  </a:lnTo>
                  <a:lnTo>
                    <a:pt x="19" y="20"/>
                  </a:lnTo>
                  <a:lnTo>
                    <a:pt x="19" y="26"/>
                  </a:lnTo>
                  <a:lnTo>
                    <a:pt x="17" y="30"/>
                  </a:lnTo>
                  <a:lnTo>
                    <a:pt x="12" y="37"/>
                  </a:lnTo>
                  <a:lnTo>
                    <a:pt x="10" y="35"/>
                  </a:lnTo>
                  <a:lnTo>
                    <a:pt x="6" y="39"/>
                  </a:lnTo>
                  <a:lnTo>
                    <a:pt x="4" y="41"/>
                  </a:lnTo>
                  <a:lnTo>
                    <a:pt x="4" y="41"/>
                  </a:lnTo>
                  <a:lnTo>
                    <a:pt x="2" y="41"/>
                  </a:lnTo>
                  <a:lnTo>
                    <a:pt x="2" y="41"/>
                  </a:lnTo>
                  <a:lnTo>
                    <a:pt x="0" y="41"/>
                  </a:lnTo>
                  <a:lnTo>
                    <a:pt x="0" y="9"/>
                  </a:lnTo>
                  <a:lnTo>
                    <a:pt x="0" y="9"/>
                  </a:lnTo>
                  <a:lnTo>
                    <a:pt x="0" y="9"/>
                  </a:lnTo>
                  <a:lnTo>
                    <a:pt x="0" y="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4" name="Freeform 167">
              <a:extLst>
                <a:ext uri="{FF2B5EF4-FFF2-40B4-BE49-F238E27FC236}">
                  <a16:creationId xmlns:a16="http://schemas.microsoft.com/office/drawing/2014/main" id="{BD52FC0F-F04A-450E-8A3B-28E799D57920}"/>
                </a:ext>
              </a:extLst>
            </p:cNvPr>
            <p:cNvSpPr>
              <a:spLocks/>
            </p:cNvSpPr>
            <p:nvPr/>
          </p:nvSpPr>
          <p:spPr bwMode="auto">
            <a:xfrm>
              <a:off x="1789" y="2998"/>
              <a:ext cx="53" cy="73"/>
            </a:xfrm>
            <a:custGeom>
              <a:avLst/>
              <a:gdLst/>
              <a:ahLst/>
              <a:cxnLst>
                <a:cxn ang="0">
                  <a:pos x="0" y="56"/>
                </a:cxn>
                <a:cxn ang="0">
                  <a:pos x="0" y="60"/>
                </a:cxn>
                <a:cxn ang="0">
                  <a:pos x="0" y="62"/>
                </a:cxn>
                <a:cxn ang="0">
                  <a:pos x="4" y="62"/>
                </a:cxn>
                <a:cxn ang="0">
                  <a:pos x="4" y="64"/>
                </a:cxn>
                <a:cxn ang="0">
                  <a:pos x="5" y="67"/>
                </a:cxn>
                <a:cxn ang="0">
                  <a:pos x="9" y="67"/>
                </a:cxn>
                <a:cxn ang="0">
                  <a:pos x="11" y="66"/>
                </a:cxn>
                <a:cxn ang="0">
                  <a:pos x="13" y="64"/>
                </a:cxn>
                <a:cxn ang="0">
                  <a:pos x="15" y="64"/>
                </a:cxn>
                <a:cxn ang="0">
                  <a:pos x="15" y="66"/>
                </a:cxn>
                <a:cxn ang="0">
                  <a:pos x="19" y="67"/>
                </a:cxn>
                <a:cxn ang="0">
                  <a:pos x="19" y="71"/>
                </a:cxn>
                <a:cxn ang="0">
                  <a:pos x="21" y="73"/>
                </a:cxn>
                <a:cxn ang="0">
                  <a:pos x="24" y="69"/>
                </a:cxn>
                <a:cxn ang="0">
                  <a:pos x="24" y="67"/>
                </a:cxn>
                <a:cxn ang="0">
                  <a:pos x="24" y="66"/>
                </a:cxn>
                <a:cxn ang="0">
                  <a:pos x="30" y="66"/>
                </a:cxn>
                <a:cxn ang="0">
                  <a:pos x="30" y="60"/>
                </a:cxn>
                <a:cxn ang="0">
                  <a:pos x="34" y="56"/>
                </a:cxn>
                <a:cxn ang="0">
                  <a:pos x="39" y="49"/>
                </a:cxn>
                <a:cxn ang="0">
                  <a:pos x="39" y="45"/>
                </a:cxn>
                <a:cxn ang="0">
                  <a:pos x="43" y="41"/>
                </a:cxn>
                <a:cxn ang="0">
                  <a:pos x="47" y="34"/>
                </a:cxn>
                <a:cxn ang="0">
                  <a:pos x="49" y="32"/>
                </a:cxn>
                <a:cxn ang="0">
                  <a:pos x="49" y="32"/>
                </a:cxn>
                <a:cxn ang="0">
                  <a:pos x="53" y="28"/>
                </a:cxn>
                <a:cxn ang="0">
                  <a:pos x="53" y="22"/>
                </a:cxn>
                <a:cxn ang="0">
                  <a:pos x="49" y="18"/>
                </a:cxn>
                <a:cxn ang="0">
                  <a:pos x="47" y="22"/>
                </a:cxn>
                <a:cxn ang="0">
                  <a:pos x="45" y="18"/>
                </a:cxn>
                <a:cxn ang="0">
                  <a:pos x="45" y="17"/>
                </a:cxn>
                <a:cxn ang="0">
                  <a:pos x="39" y="9"/>
                </a:cxn>
                <a:cxn ang="0">
                  <a:pos x="36" y="9"/>
                </a:cxn>
                <a:cxn ang="0">
                  <a:pos x="34" y="7"/>
                </a:cxn>
                <a:cxn ang="0">
                  <a:pos x="21" y="3"/>
                </a:cxn>
                <a:cxn ang="0">
                  <a:pos x="15" y="0"/>
                </a:cxn>
                <a:cxn ang="0">
                  <a:pos x="11" y="0"/>
                </a:cxn>
                <a:cxn ang="0">
                  <a:pos x="7" y="3"/>
                </a:cxn>
                <a:cxn ang="0">
                  <a:pos x="4" y="3"/>
                </a:cxn>
                <a:cxn ang="0">
                  <a:pos x="4" y="3"/>
                </a:cxn>
                <a:cxn ang="0">
                  <a:pos x="4" y="3"/>
                </a:cxn>
                <a:cxn ang="0">
                  <a:pos x="0" y="7"/>
                </a:cxn>
                <a:cxn ang="0">
                  <a:pos x="0" y="9"/>
                </a:cxn>
                <a:cxn ang="0">
                  <a:pos x="0" y="15"/>
                </a:cxn>
                <a:cxn ang="0">
                  <a:pos x="0" y="18"/>
                </a:cxn>
                <a:cxn ang="0">
                  <a:pos x="0" y="22"/>
                </a:cxn>
                <a:cxn ang="0">
                  <a:pos x="0" y="24"/>
                </a:cxn>
                <a:cxn ang="0">
                  <a:pos x="4" y="26"/>
                </a:cxn>
                <a:cxn ang="0">
                  <a:pos x="5" y="30"/>
                </a:cxn>
                <a:cxn ang="0">
                  <a:pos x="7" y="34"/>
                </a:cxn>
                <a:cxn ang="0">
                  <a:pos x="9" y="37"/>
                </a:cxn>
                <a:cxn ang="0">
                  <a:pos x="9" y="37"/>
                </a:cxn>
                <a:cxn ang="0">
                  <a:pos x="9" y="41"/>
                </a:cxn>
                <a:cxn ang="0">
                  <a:pos x="5" y="43"/>
                </a:cxn>
                <a:cxn ang="0">
                  <a:pos x="5" y="49"/>
                </a:cxn>
                <a:cxn ang="0">
                  <a:pos x="7" y="50"/>
                </a:cxn>
                <a:cxn ang="0">
                  <a:pos x="5" y="54"/>
                </a:cxn>
                <a:cxn ang="0">
                  <a:pos x="0" y="56"/>
                </a:cxn>
                <a:cxn ang="0">
                  <a:pos x="0" y="56"/>
                </a:cxn>
                <a:cxn ang="0">
                  <a:pos x="0" y="56"/>
                </a:cxn>
                <a:cxn ang="0">
                  <a:pos x="0" y="56"/>
                </a:cxn>
              </a:cxnLst>
              <a:rect l="0" t="0" r="r" b="b"/>
              <a:pathLst>
                <a:path w="53" h="73">
                  <a:moveTo>
                    <a:pt x="0" y="56"/>
                  </a:moveTo>
                  <a:lnTo>
                    <a:pt x="0" y="60"/>
                  </a:lnTo>
                  <a:lnTo>
                    <a:pt x="0" y="62"/>
                  </a:lnTo>
                  <a:lnTo>
                    <a:pt x="4" y="62"/>
                  </a:lnTo>
                  <a:lnTo>
                    <a:pt x="4" y="64"/>
                  </a:lnTo>
                  <a:lnTo>
                    <a:pt x="5" y="67"/>
                  </a:lnTo>
                  <a:lnTo>
                    <a:pt x="9" y="67"/>
                  </a:lnTo>
                  <a:lnTo>
                    <a:pt x="11" y="66"/>
                  </a:lnTo>
                  <a:lnTo>
                    <a:pt x="13" y="64"/>
                  </a:lnTo>
                  <a:lnTo>
                    <a:pt x="15" y="64"/>
                  </a:lnTo>
                  <a:lnTo>
                    <a:pt x="15" y="66"/>
                  </a:lnTo>
                  <a:lnTo>
                    <a:pt x="19" y="67"/>
                  </a:lnTo>
                  <a:lnTo>
                    <a:pt x="19" y="71"/>
                  </a:lnTo>
                  <a:lnTo>
                    <a:pt x="21" y="73"/>
                  </a:lnTo>
                  <a:lnTo>
                    <a:pt x="24" y="69"/>
                  </a:lnTo>
                  <a:lnTo>
                    <a:pt x="24" y="67"/>
                  </a:lnTo>
                  <a:lnTo>
                    <a:pt x="24" y="66"/>
                  </a:lnTo>
                  <a:lnTo>
                    <a:pt x="30" y="66"/>
                  </a:lnTo>
                  <a:lnTo>
                    <a:pt x="30" y="60"/>
                  </a:lnTo>
                  <a:lnTo>
                    <a:pt x="34" y="56"/>
                  </a:lnTo>
                  <a:lnTo>
                    <a:pt x="39" y="49"/>
                  </a:lnTo>
                  <a:lnTo>
                    <a:pt x="39" y="45"/>
                  </a:lnTo>
                  <a:lnTo>
                    <a:pt x="43" y="41"/>
                  </a:lnTo>
                  <a:lnTo>
                    <a:pt x="47" y="34"/>
                  </a:lnTo>
                  <a:lnTo>
                    <a:pt x="49" y="32"/>
                  </a:lnTo>
                  <a:lnTo>
                    <a:pt x="49" y="32"/>
                  </a:lnTo>
                  <a:lnTo>
                    <a:pt x="53" y="28"/>
                  </a:lnTo>
                  <a:lnTo>
                    <a:pt x="53" y="22"/>
                  </a:lnTo>
                  <a:lnTo>
                    <a:pt x="49" y="18"/>
                  </a:lnTo>
                  <a:lnTo>
                    <a:pt x="47" y="22"/>
                  </a:lnTo>
                  <a:lnTo>
                    <a:pt x="45" y="18"/>
                  </a:lnTo>
                  <a:lnTo>
                    <a:pt x="45" y="17"/>
                  </a:lnTo>
                  <a:lnTo>
                    <a:pt x="39" y="9"/>
                  </a:lnTo>
                  <a:lnTo>
                    <a:pt x="36" y="9"/>
                  </a:lnTo>
                  <a:lnTo>
                    <a:pt x="34" y="7"/>
                  </a:lnTo>
                  <a:lnTo>
                    <a:pt x="21" y="3"/>
                  </a:lnTo>
                  <a:lnTo>
                    <a:pt x="15" y="0"/>
                  </a:lnTo>
                  <a:lnTo>
                    <a:pt x="11" y="0"/>
                  </a:lnTo>
                  <a:lnTo>
                    <a:pt x="7" y="3"/>
                  </a:lnTo>
                  <a:lnTo>
                    <a:pt x="4" y="3"/>
                  </a:lnTo>
                  <a:lnTo>
                    <a:pt x="4" y="3"/>
                  </a:lnTo>
                  <a:lnTo>
                    <a:pt x="4" y="3"/>
                  </a:lnTo>
                  <a:lnTo>
                    <a:pt x="0" y="7"/>
                  </a:lnTo>
                  <a:lnTo>
                    <a:pt x="0" y="9"/>
                  </a:lnTo>
                  <a:lnTo>
                    <a:pt x="0" y="15"/>
                  </a:lnTo>
                  <a:lnTo>
                    <a:pt x="0" y="18"/>
                  </a:lnTo>
                  <a:lnTo>
                    <a:pt x="0" y="22"/>
                  </a:lnTo>
                  <a:lnTo>
                    <a:pt x="0" y="24"/>
                  </a:lnTo>
                  <a:lnTo>
                    <a:pt x="4" y="26"/>
                  </a:lnTo>
                  <a:lnTo>
                    <a:pt x="5" y="30"/>
                  </a:lnTo>
                  <a:lnTo>
                    <a:pt x="7" y="34"/>
                  </a:lnTo>
                  <a:lnTo>
                    <a:pt x="9" y="37"/>
                  </a:lnTo>
                  <a:lnTo>
                    <a:pt x="9" y="37"/>
                  </a:lnTo>
                  <a:lnTo>
                    <a:pt x="9" y="41"/>
                  </a:lnTo>
                  <a:lnTo>
                    <a:pt x="5" y="43"/>
                  </a:lnTo>
                  <a:lnTo>
                    <a:pt x="5" y="49"/>
                  </a:lnTo>
                  <a:lnTo>
                    <a:pt x="7" y="50"/>
                  </a:lnTo>
                  <a:lnTo>
                    <a:pt x="5" y="54"/>
                  </a:lnTo>
                  <a:lnTo>
                    <a:pt x="0" y="56"/>
                  </a:lnTo>
                  <a:lnTo>
                    <a:pt x="0" y="56"/>
                  </a:lnTo>
                  <a:lnTo>
                    <a:pt x="0" y="56"/>
                  </a:lnTo>
                  <a:lnTo>
                    <a:pt x="0" y="5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5" name="Freeform 168">
              <a:extLst>
                <a:ext uri="{FF2B5EF4-FFF2-40B4-BE49-F238E27FC236}">
                  <a16:creationId xmlns:a16="http://schemas.microsoft.com/office/drawing/2014/main" id="{B48038E4-6431-41C2-81AA-C2D1692E8927}"/>
                </a:ext>
              </a:extLst>
            </p:cNvPr>
            <p:cNvSpPr>
              <a:spLocks/>
            </p:cNvSpPr>
            <p:nvPr/>
          </p:nvSpPr>
          <p:spPr bwMode="auto">
            <a:xfrm>
              <a:off x="1789" y="2998"/>
              <a:ext cx="53" cy="73"/>
            </a:xfrm>
            <a:custGeom>
              <a:avLst/>
              <a:gdLst/>
              <a:ahLst/>
              <a:cxnLst>
                <a:cxn ang="0">
                  <a:pos x="0" y="56"/>
                </a:cxn>
                <a:cxn ang="0">
                  <a:pos x="0" y="60"/>
                </a:cxn>
                <a:cxn ang="0">
                  <a:pos x="0" y="62"/>
                </a:cxn>
                <a:cxn ang="0">
                  <a:pos x="4" y="62"/>
                </a:cxn>
                <a:cxn ang="0">
                  <a:pos x="4" y="64"/>
                </a:cxn>
                <a:cxn ang="0">
                  <a:pos x="5" y="67"/>
                </a:cxn>
                <a:cxn ang="0">
                  <a:pos x="9" y="67"/>
                </a:cxn>
                <a:cxn ang="0">
                  <a:pos x="11" y="66"/>
                </a:cxn>
                <a:cxn ang="0">
                  <a:pos x="13" y="64"/>
                </a:cxn>
                <a:cxn ang="0">
                  <a:pos x="15" y="64"/>
                </a:cxn>
                <a:cxn ang="0">
                  <a:pos x="15" y="66"/>
                </a:cxn>
                <a:cxn ang="0">
                  <a:pos x="19" y="67"/>
                </a:cxn>
                <a:cxn ang="0">
                  <a:pos x="19" y="71"/>
                </a:cxn>
                <a:cxn ang="0">
                  <a:pos x="21" y="73"/>
                </a:cxn>
                <a:cxn ang="0">
                  <a:pos x="24" y="69"/>
                </a:cxn>
                <a:cxn ang="0">
                  <a:pos x="24" y="67"/>
                </a:cxn>
                <a:cxn ang="0">
                  <a:pos x="24" y="66"/>
                </a:cxn>
                <a:cxn ang="0">
                  <a:pos x="30" y="66"/>
                </a:cxn>
                <a:cxn ang="0">
                  <a:pos x="30" y="60"/>
                </a:cxn>
                <a:cxn ang="0">
                  <a:pos x="34" y="56"/>
                </a:cxn>
                <a:cxn ang="0">
                  <a:pos x="39" y="49"/>
                </a:cxn>
                <a:cxn ang="0">
                  <a:pos x="39" y="45"/>
                </a:cxn>
                <a:cxn ang="0">
                  <a:pos x="43" y="41"/>
                </a:cxn>
                <a:cxn ang="0">
                  <a:pos x="47" y="34"/>
                </a:cxn>
                <a:cxn ang="0">
                  <a:pos x="49" y="32"/>
                </a:cxn>
                <a:cxn ang="0">
                  <a:pos x="49" y="32"/>
                </a:cxn>
                <a:cxn ang="0">
                  <a:pos x="53" y="28"/>
                </a:cxn>
                <a:cxn ang="0">
                  <a:pos x="53" y="22"/>
                </a:cxn>
                <a:cxn ang="0">
                  <a:pos x="49" y="18"/>
                </a:cxn>
                <a:cxn ang="0">
                  <a:pos x="47" y="22"/>
                </a:cxn>
                <a:cxn ang="0">
                  <a:pos x="45" y="18"/>
                </a:cxn>
                <a:cxn ang="0">
                  <a:pos x="45" y="17"/>
                </a:cxn>
                <a:cxn ang="0">
                  <a:pos x="39" y="9"/>
                </a:cxn>
                <a:cxn ang="0">
                  <a:pos x="36" y="9"/>
                </a:cxn>
                <a:cxn ang="0">
                  <a:pos x="34" y="7"/>
                </a:cxn>
                <a:cxn ang="0">
                  <a:pos x="21" y="3"/>
                </a:cxn>
                <a:cxn ang="0">
                  <a:pos x="15" y="0"/>
                </a:cxn>
                <a:cxn ang="0">
                  <a:pos x="11" y="0"/>
                </a:cxn>
                <a:cxn ang="0">
                  <a:pos x="7" y="3"/>
                </a:cxn>
                <a:cxn ang="0">
                  <a:pos x="4" y="3"/>
                </a:cxn>
                <a:cxn ang="0">
                  <a:pos x="4" y="3"/>
                </a:cxn>
                <a:cxn ang="0">
                  <a:pos x="4" y="3"/>
                </a:cxn>
                <a:cxn ang="0">
                  <a:pos x="0" y="7"/>
                </a:cxn>
                <a:cxn ang="0">
                  <a:pos x="0" y="9"/>
                </a:cxn>
                <a:cxn ang="0">
                  <a:pos x="0" y="15"/>
                </a:cxn>
                <a:cxn ang="0">
                  <a:pos x="0" y="18"/>
                </a:cxn>
                <a:cxn ang="0">
                  <a:pos x="0" y="22"/>
                </a:cxn>
                <a:cxn ang="0">
                  <a:pos x="0" y="24"/>
                </a:cxn>
                <a:cxn ang="0">
                  <a:pos x="4" y="26"/>
                </a:cxn>
                <a:cxn ang="0">
                  <a:pos x="5" y="30"/>
                </a:cxn>
                <a:cxn ang="0">
                  <a:pos x="7" y="34"/>
                </a:cxn>
                <a:cxn ang="0">
                  <a:pos x="9" y="37"/>
                </a:cxn>
                <a:cxn ang="0">
                  <a:pos x="9" y="37"/>
                </a:cxn>
                <a:cxn ang="0">
                  <a:pos x="9" y="41"/>
                </a:cxn>
                <a:cxn ang="0">
                  <a:pos x="5" y="43"/>
                </a:cxn>
                <a:cxn ang="0">
                  <a:pos x="5" y="49"/>
                </a:cxn>
                <a:cxn ang="0">
                  <a:pos x="7" y="50"/>
                </a:cxn>
                <a:cxn ang="0">
                  <a:pos x="5" y="54"/>
                </a:cxn>
                <a:cxn ang="0">
                  <a:pos x="0" y="56"/>
                </a:cxn>
                <a:cxn ang="0">
                  <a:pos x="0" y="56"/>
                </a:cxn>
                <a:cxn ang="0">
                  <a:pos x="0" y="56"/>
                </a:cxn>
                <a:cxn ang="0">
                  <a:pos x="0" y="56"/>
                </a:cxn>
              </a:cxnLst>
              <a:rect l="0" t="0" r="r" b="b"/>
              <a:pathLst>
                <a:path w="53" h="73">
                  <a:moveTo>
                    <a:pt x="0" y="56"/>
                  </a:moveTo>
                  <a:lnTo>
                    <a:pt x="0" y="60"/>
                  </a:lnTo>
                  <a:lnTo>
                    <a:pt x="0" y="62"/>
                  </a:lnTo>
                  <a:lnTo>
                    <a:pt x="4" y="62"/>
                  </a:lnTo>
                  <a:lnTo>
                    <a:pt x="4" y="64"/>
                  </a:lnTo>
                  <a:lnTo>
                    <a:pt x="5" y="67"/>
                  </a:lnTo>
                  <a:lnTo>
                    <a:pt x="9" y="67"/>
                  </a:lnTo>
                  <a:lnTo>
                    <a:pt x="11" y="66"/>
                  </a:lnTo>
                  <a:lnTo>
                    <a:pt x="13" y="64"/>
                  </a:lnTo>
                  <a:lnTo>
                    <a:pt x="15" y="64"/>
                  </a:lnTo>
                  <a:lnTo>
                    <a:pt x="15" y="66"/>
                  </a:lnTo>
                  <a:lnTo>
                    <a:pt x="19" y="67"/>
                  </a:lnTo>
                  <a:lnTo>
                    <a:pt x="19" y="71"/>
                  </a:lnTo>
                  <a:lnTo>
                    <a:pt x="21" y="73"/>
                  </a:lnTo>
                  <a:lnTo>
                    <a:pt x="24" y="69"/>
                  </a:lnTo>
                  <a:lnTo>
                    <a:pt x="24" y="67"/>
                  </a:lnTo>
                  <a:lnTo>
                    <a:pt x="24" y="66"/>
                  </a:lnTo>
                  <a:lnTo>
                    <a:pt x="30" y="66"/>
                  </a:lnTo>
                  <a:lnTo>
                    <a:pt x="30" y="60"/>
                  </a:lnTo>
                  <a:lnTo>
                    <a:pt x="34" y="56"/>
                  </a:lnTo>
                  <a:lnTo>
                    <a:pt x="39" y="49"/>
                  </a:lnTo>
                  <a:lnTo>
                    <a:pt x="39" y="45"/>
                  </a:lnTo>
                  <a:lnTo>
                    <a:pt x="43" y="41"/>
                  </a:lnTo>
                  <a:lnTo>
                    <a:pt x="47" y="34"/>
                  </a:lnTo>
                  <a:lnTo>
                    <a:pt x="49" y="32"/>
                  </a:lnTo>
                  <a:lnTo>
                    <a:pt x="49" y="32"/>
                  </a:lnTo>
                  <a:lnTo>
                    <a:pt x="53" y="28"/>
                  </a:lnTo>
                  <a:lnTo>
                    <a:pt x="53" y="22"/>
                  </a:lnTo>
                  <a:lnTo>
                    <a:pt x="49" y="18"/>
                  </a:lnTo>
                  <a:lnTo>
                    <a:pt x="47" y="22"/>
                  </a:lnTo>
                  <a:lnTo>
                    <a:pt x="45" y="18"/>
                  </a:lnTo>
                  <a:lnTo>
                    <a:pt x="45" y="17"/>
                  </a:lnTo>
                  <a:lnTo>
                    <a:pt x="39" y="9"/>
                  </a:lnTo>
                  <a:lnTo>
                    <a:pt x="36" y="9"/>
                  </a:lnTo>
                  <a:lnTo>
                    <a:pt x="34" y="7"/>
                  </a:lnTo>
                  <a:lnTo>
                    <a:pt x="21" y="3"/>
                  </a:lnTo>
                  <a:lnTo>
                    <a:pt x="15" y="0"/>
                  </a:lnTo>
                  <a:lnTo>
                    <a:pt x="11" y="0"/>
                  </a:lnTo>
                  <a:lnTo>
                    <a:pt x="7" y="3"/>
                  </a:lnTo>
                  <a:lnTo>
                    <a:pt x="4" y="3"/>
                  </a:lnTo>
                  <a:lnTo>
                    <a:pt x="4" y="3"/>
                  </a:lnTo>
                  <a:lnTo>
                    <a:pt x="4" y="3"/>
                  </a:lnTo>
                  <a:lnTo>
                    <a:pt x="0" y="7"/>
                  </a:lnTo>
                  <a:lnTo>
                    <a:pt x="0" y="9"/>
                  </a:lnTo>
                  <a:lnTo>
                    <a:pt x="0" y="15"/>
                  </a:lnTo>
                  <a:lnTo>
                    <a:pt x="0" y="18"/>
                  </a:lnTo>
                  <a:lnTo>
                    <a:pt x="0" y="22"/>
                  </a:lnTo>
                  <a:lnTo>
                    <a:pt x="0" y="24"/>
                  </a:lnTo>
                  <a:lnTo>
                    <a:pt x="4" y="26"/>
                  </a:lnTo>
                  <a:lnTo>
                    <a:pt x="5" y="30"/>
                  </a:lnTo>
                  <a:lnTo>
                    <a:pt x="7" y="34"/>
                  </a:lnTo>
                  <a:lnTo>
                    <a:pt x="9" y="37"/>
                  </a:lnTo>
                  <a:lnTo>
                    <a:pt x="9" y="37"/>
                  </a:lnTo>
                  <a:lnTo>
                    <a:pt x="9" y="41"/>
                  </a:lnTo>
                  <a:lnTo>
                    <a:pt x="5" y="43"/>
                  </a:lnTo>
                  <a:lnTo>
                    <a:pt x="5" y="49"/>
                  </a:lnTo>
                  <a:lnTo>
                    <a:pt x="7" y="50"/>
                  </a:lnTo>
                  <a:lnTo>
                    <a:pt x="5" y="54"/>
                  </a:lnTo>
                  <a:lnTo>
                    <a:pt x="0" y="56"/>
                  </a:lnTo>
                  <a:lnTo>
                    <a:pt x="0" y="56"/>
                  </a:lnTo>
                  <a:lnTo>
                    <a:pt x="0" y="56"/>
                  </a:lnTo>
                  <a:lnTo>
                    <a:pt x="0" y="5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6" name="Freeform 169">
              <a:extLst>
                <a:ext uri="{FF2B5EF4-FFF2-40B4-BE49-F238E27FC236}">
                  <a16:creationId xmlns:a16="http://schemas.microsoft.com/office/drawing/2014/main" id="{7BA2C9F3-46E5-4014-9632-E07FB27522AD}"/>
                </a:ext>
              </a:extLst>
            </p:cNvPr>
            <p:cNvSpPr>
              <a:spLocks/>
            </p:cNvSpPr>
            <p:nvPr/>
          </p:nvSpPr>
          <p:spPr bwMode="auto">
            <a:xfrm>
              <a:off x="1725" y="2986"/>
              <a:ext cx="73" cy="85"/>
            </a:xfrm>
            <a:custGeom>
              <a:avLst/>
              <a:gdLst/>
              <a:ahLst/>
              <a:cxnLst>
                <a:cxn ang="0">
                  <a:pos x="30" y="81"/>
                </a:cxn>
                <a:cxn ang="0">
                  <a:pos x="32" y="83"/>
                </a:cxn>
                <a:cxn ang="0">
                  <a:pos x="39" y="85"/>
                </a:cxn>
                <a:cxn ang="0">
                  <a:pos x="39" y="79"/>
                </a:cxn>
                <a:cxn ang="0">
                  <a:pos x="36" y="74"/>
                </a:cxn>
                <a:cxn ang="0">
                  <a:pos x="39" y="68"/>
                </a:cxn>
                <a:cxn ang="0">
                  <a:pos x="51" y="70"/>
                </a:cxn>
                <a:cxn ang="0">
                  <a:pos x="60" y="68"/>
                </a:cxn>
                <a:cxn ang="0">
                  <a:pos x="66" y="70"/>
                </a:cxn>
                <a:cxn ang="0">
                  <a:pos x="73" y="64"/>
                </a:cxn>
                <a:cxn ang="0">
                  <a:pos x="69" y="57"/>
                </a:cxn>
                <a:cxn ang="0">
                  <a:pos x="73" y="51"/>
                </a:cxn>
                <a:cxn ang="0">
                  <a:pos x="73" y="46"/>
                </a:cxn>
                <a:cxn ang="0">
                  <a:pos x="69" y="38"/>
                </a:cxn>
                <a:cxn ang="0">
                  <a:pos x="66" y="34"/>
                </a:cxn>
                <a:cxn ang="0">
                  <a:pos x="66" y="25"/>
                </a:cxn>
                <a:cxn ang="0">
                  <a:pos x="66" y="17"/>
                </a:cxn>
                <a:cxn ang="0">
                  <a:pos x="69" y="15"/>
                </a:cxn>
                <a:cxn ang="0">
                  <a:pos x="73" y="8"/>
                </a:cxn>
                <a:cxn ang="0">
                  <a:pos x="60" y="4"/>
                </a:cxn>
                <a:cxn ang="0">
                  <a:pos x="53" y="4"/>
                </a:cxn>
                <a:cxn ang="0">
                  <a:pos x="45" y="4"/>
                </a:cxn>
                <a:cxn ang="0">
                  <a:pos x="30" y="4"/>
                </a:cxn>
                <a:cxn ang="0">
                  <a:pos x="17" y="4"/>
                </a:cxn>
                <a:cxn ang="0">
                  <a:pos x="17" y="10"/>
                </a:cxn>
                <a:cxn ang="0">
                  <a:pos x="15" y="15"/>
                </a:cxn>
                <a:cxn ang="0">
                  <a:pos x="11" y="21"/>
                </a:cxn>
                <a:cxn ang="0">
                  <a:pos x="4" y="25"/>
                </a:cxn>
                <a:cxn ang="0">
                  <a:pos x="0" y="36"/>
                </a:cxn>
                <a:cxn ang="0">
                  <a:pos x="4" y="44"/>
                </a:cxn>
                <a:cxn ang="0">
                  <a:pos x="7" y="46"/>
                </a:cxn>
                <a:cxn ang="0">
                  <a:pos x="9" y="51"/>
                </a:cxn>
                <a:cxn ang="0">
                  <a:pos x="11" y="53"/>
                </a:cxn>
                <a:cxn ang="0">
                  <a:pos x="15" y="57"/>
                </a:cxn>
                <a:cxn ang="0">
                  <a:pos x="15" y="68"/>
                </a:cxn>
                <a:cxn ang="0">
                  <a:pos x="21" y="70"/>
                </a:cxn>
                <a:cxn ang="0">
                  <a:pos x="26" y="76"/>
                </a:cxn>
                <a:cxn ang="0">
                  <a:pos x="26" y="79"/>
                </a:cxn>
                <a:cxn ang="0">
                  <a:pos x="30" y="81"/>
                </a:cxn>
              </a:cxnLst>
              <a:rect l="0" t="0" r="r" b="b"/>
              <a:pathLst>
                <a:path w="73" h="85">
                  <a:moveTo>
                    <a:pt x="30" y="81"/>
                  </a:moveTo>
                  <a:lnTo>
                    <a:pt x="30" y="81"/>
                  </a:lnTo>
                  <a:lnTo>
                    <a:pt x="32" y="81"/>
                  </a:lnTo>
                  <a:lnTo>
                    <a:pt x="32" y="83"/>
                  </a:lnTo>
                  <a:lnTo>
                    <a:pt x="36" y="85"/>
                  </a:lnTo>
                  <a:lnTo>
                    <a:pt x="39" y="85"/>
                  </a:lnTo>
                  <a:lnTo>
                    <a:pt x="39" y="83"/>
                  </a:lnTo>
                  <a:lnTo>
                    <a:pt x="39" y="79"/>
                  </a:lnTo>
                  <a:lnTo>
                    <a:pt x="39" y="76"/>
                  </a:lnTo>
                  <a:lnTo>
                    <a:pt x="36" y="74"/>
                  </a:lnTo>
                  <a:lnTo>
                    <a:pt x="36" y="70"/>
                  </a:lnTo>
                  <a:lnTo>
                    <a:pt x="39" y="68"/>
                  </a:lnTo>
                  <a:lnTo>
                    <a:pt x="41" y="70"/>
                  </a:lnTo>
                  <a:lnTo>
                    <a:pt x="51" y="70"/>
                  </a:lnTo>
                  <a:lnTo>
                    <a:pt x="54" y="68"/>
                  </a:lnTo>
                  <a:lnTo>
                    <a:pt x="60" y="68"/>
                  </a:lnTo>
                  <a:lnTo>
                    <a:pt x="64" y="70"/>
                  </a:lnTo>
                  <a:lnTo>
                    <a:pt x="66" y="70"/>
                  </a:lnTo>
                  <a:lnTo>
                    <a:pt x="69" y="68"/>
                  </a:lnTo>
                  <a:lnTo>
                    <a:pt x="73" y="64"/>
                  </a:lnTo>
                  <a:lnTo>
                    <a:pt x="69" y="62"/>
                  </a:lnTo>
                  <a:lnTo>
                    <a:pt x="69" y="57"/>
                  </a:lnTo>
                  <a:lnTo>
                    <a:pt x="73" y="53"/>
                  </a:lnTo>
                  <a:lnTo>
                    <a:pt x="73" y="51"/>
                  </a:lnTo>
                  <a:lnTo>
                    <a:pt x="73" y="49"/>
                  </a:lnTo>
                  <a:lnTo>
                    <a:pt x="73" y="46"/>
                  </a:lnTo>
                  <a:lnTo>
                    <a:pt x="69" y="44"/>
                  </a:lnTo>
                  <a:lnTo>
                    <a:pt x="69" y="38"/>
                  </a:lnTo>
                  <a:lnTo>
                    <a:pt x="66" y="36"/>
                  </a:lnTo>
                  <a:lnTo>
                    <a:pt x="66" y="34"/>
                  </a:lnTo>
                  <a:lnTo>
                    <a:pt x="66" y="30"/>
                  </a:lnTo>
                  <a:lnTo>
                    <a:pt x="66" y="25"/>
                  </a:lnTo>
                  <a:lnTo>
                    <a:pt x="66" y="21"/>
                  </a:lnTo>
                  <a:lnTo>
                    <a:pt x="66" y="17"/>
                  </a:lnTo>
                  <a:lnTo>
                    <a:pt x="69" y="15"/>
                  </a:lnTo>
                  <a:lnTo>
                    <a:pt x="69" y="15"/>
                  </a:lnTo>
                  <a:lnTo>
                    <a:pt x="73" y="10"/>
                  </a:lnTo>
                  <a:lnTo>
                    <a:pt x="73" y="8"/>
                  </a:lnTo>
                  <a:lnTo>
                    <a:pt x="69" y="6"/>
                  </a:lnTo>
                  <a:lnTo>
                    <a:pt x="60" y="4"/>
                  </a:lnTo>
                  <a:lnTo>
                    <a:pt x="54" y="0"/>
                  </a:lnTo>
                  <a:lnTo>
                    <a:pt x="53" y="4"/>
                  </a:lnTo>
                  <a:lnTo>
                    <a:pt x="49" y="4"/>
                  </a:lnTo>
                  <a:lnTo>
                    <a:pt x="45" y="4"/>
                  </a:lnTo>
                  <a:lnTo>
                    <a:pt x="36" y="4"/>
                  </a:lnTo>
                  <a:lnTo>
                    <a:pt x="30" y="4"/>
                  </a:lnTo>
                  <a:lnTo>
                    <a:pt x="22" y="4"/>
                  </a:lnTo>
                  <a:lnTo>
                    <a:pt x="17" y="4"/>
                  </a:lnTo>
                  <a:lnTo>
                    <a:pt x="17" y="8"/>
                  </a:lnTo>
                  <a:lnTo>
                    <a:pt x="17" y="10"/>
                  </a:lnTo>
                  <a:lnTo>
                    <a:pt x="15" y="14"/>
                  </a:lnTo>
                  <a:lnTo>
                    <a:pt x="15" y="15"/>
                  </a:lnTo>
                  <a:lnTo>
                    <a:pt x="15" y="19"/>
                  </a:lnTo>
                  <a:lnTo>
                    <a:pt x="11" y="21"/>
                  </a:lnTo>
                  <a:lnTo>
                    <a:pt x="5" y="21"/>
                  </a:lnTo>
                  <a:lnTo>
                    <a:pt x="4" y="25"/>
                  </a:lnTo>
                  <a:lnTo>
                    <a:pt x="4" y="30"/>
                  </a:lnTo>
                  <a:lnTo>
                    <a:pt x="0" y="36"/>
                  </a:lnTo>
                  <a:lnTo>
                    <a:pt x="0" y="40"/>
                  </a:lnTo>
                  <a:lnTo>
                    <a:pt x="4" y="44"/>
                  </a:lnTo>
                  <a:lnTo>
                    <a:pt x="5" y="44"/>
                  </a:lnTo>
                  <a:lnTo>
                    <a:pt x="7" y="46"/>
                  </a:lnTo>
                  <a:lnTo>
                    <a:pt x="9" y="49"/>
                  </a:lnTo>
                  <a:lnTo>
                    <a:pt x="9" y="51"/>
                  </a:lnTo>
                  <a:lnTo>
                    <a:pt x="11" y="53"/>
                  </a:lnTo>
                  <a:lnTo>
                    <a:pt x="11" y="53"/>
                  </a:lnTo>
                  <a:lnTo>
                    <a:pt x="15" y="55"/>
                  </a:lnTo>
                  <a:lnTo>
                    <a:pt x="15" y="57"/>
                  </a:lnTo>
                  <a:lnTo>
                    <a:pt x="15" y="64"/>
                  </a:lnTo>
                  <a:lnTo>
                    <a:pt x="15" y="68"/>
                  </a:lnTo>
                  <a:lnTo>
                    <a:pt x="17" y="68"/>
                  </a:lnTo>
                  <a:lnTo>
                    <a:pt x="21" y="70"/>
                  </a:lnTo>
                  <a:lnTo>
                    <a:pt x="21" y="74"/>
                  </a:lnTo>
                  <a:lnTo>
                    <a:pt x="26" y="76"/>
                  </a:lnTo>
                  <a:lnTo>
                    <a:pt x="26" y="79"/>
                  </a:lnTo>
                  <a:lnTo>
                    <a:pt x="26" y="79"/>
                  </a:lnTo>
                  <a:lnTo>
                    <a:pt x="30" y="81"/>
                  </a:lnTo>
                  <a:lnTo>
                    <a:pt x="30" y="81"/>
                  </a:lnTo>
                  <a:lnTo>
                    <a:pt x="30" y="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7" name="Freeform 170">
              <a:extLst>
                <a:ext uri="{FF2B5EF4-FFF2-40B4-BE49-F238E27FC236}">
                  <a16:creationId xmlns:a16="http://schemas.microsoft.com/office/drawing/2014/main" id="{3D02EE12-DF01-47FE-A8D0-B791F09B8FCA}"/>
                </a:ext>
              </a:extLst>
            </p:cNvPr>
            <p:cNvSpPr>
              <a:spLocks/>
            </p:cNvSpPr>
            <p:nvPr/>
          </p:nvSpPr>
          <p:spPr bwMode="auto">
            <a:xfrm>
              <a:off x="1725" y="2986"/>
              <a:ext cx="73" cy="85"/>
            </a:xfrm>
            <a:custGeom>
              <a:avLst/>
              <a:gdLst/>
              <a:ahLst/>
              <a:cxnLst>
                <a:cxn ang="0">
                  <a:pos x="30" y="81"/>
                </a:cxn>
                <a:cxn ang="0">
                  <a:pos x="32" y="83"/>
                </a:cxn>
                <a:cxn ang="0">
                  <a:pos x="39" y="85"/>
                </a:cxn>
                <a:cxn ang="0">
                  <a:pos x="39" y="79"/>
                </a:cxn>
                <a:cxn ang="0">
                  <a:pos x="36" y="74"/>
                </a:cxn>
                <a:cxn ang="0">
                  <a:pos x="39" y="68"/>
                </a:cxn>
                <a:cxn ang="0">
                  <a:pos x="51" y="70"/>
                </a:cxn>
                <a:cxn ang="0">
                  <a:pos x="60" y="68"/>
                </a:cxn>
                <a:cxn ang="0">
                  <a:pos x="66" y="70"/>
                </a:cxn>
                <a:cxn ang="0">
                  <a:pos x="73" y="64"/>
                </a:cxn>
                <a:cxn ang="0">
                  <a:pos x="69" y="57"/>
                </a:cxn>
                <a:cxn ang="0">
                  <a:pos x="73" y="51"/>
                </a:cxn>
                <a:cxn ang="0">
                  <a:pos x="73" y="46"/>
                </a:cxn>
                <a:cxn ang="0">
                  <a:pos x="69" y="38"/>
                </a:cxn>
                <a:cxn ang="0">
                  <a:pos x="66" y="34"/>
                </a:cxn>
                <a:cxn ang="0">
                  <a:pos x="66" y="25"/>
                </a:cxn>
                <a:cxn ang="0">
                  <a:pos x="66" y="17"/>
                </a:cxn>
                <a:cxn ang="0">
                  <a:pos x="69" y="15"/>
                </a:cxn>
                <a:cxn ang="0">
                  <a:pos x="73" y="8"/>
                </a:cxn>
                <a:cxn ang="0">
                  <a:pos x="60" y="4"/>
                </a:cxn>
                <a:cxn ang="0">
                  <a:pos x="53" y="4"/>
                </a:cxn>
                <a:cxn ang="0">
                  <a:pos x="45" y="4"/>
                </a:cxn>
                <a:cxn ang="0">
                  <a:pos x="30" y="4"/>
                </a:cxn>
                <a:cxn ang="0">
                  <a:pos x="17" y="4"/>
                </a:cxn>
                <a:cxn ang="0">
                  <a:pos x="17" y="10"/>
                </a:cxn>
                <a:cxn ang="0">
                  <a:pos x="15" y="15"/>
                </a:cxn>
                <a:cxn ang="0">
                  <a:pos x="11" y="21"/>
                </a:cxn>
                <a:cxn ang="0">
                  <a:pos x="4" y="25"/>
                </a:cxn>
                <a:cxn ang="0">
                  <a:pos x="0" y="36"/>
                </a:cxn>
                <a:cxn ang="0">
                  <a:pos x="4" y="44"/>
                </a:cxn>
                <a:cxn ang="0">
                  <a:pos x="7" y="46"/>
                </a:cxn>
                <a:cxn ang="0">
                  <a:pos x="9" y="51"/>
                </a:cxn>
                <a:cxn ang="0">
                  <a:pos x="11" y="53"/>
                </a:cxn>
                <a:cxn ang="0">
                  <a:pos x="15" y="57"/>
                </a:cxn>
                <a:cxn ang="0">
                  <a:pos x="15" y="68"/>
                </a:cxn>
                <a:cxn ang="0">
                  <a:pos x="21" y="70"/>
                </a:cxn>
                <a:cxn ang="0">
                  <a:pos x="26" y="76"/>
                </a:cxn>
                <a:cxn ang="0">
                  <a:pos x="26" y="79"/>
                </a:cxn>
                <a:cxn ang="0">
                  <a:pos x="30" y="81"/>
                </a:cxn>
              </a:cxnLst>
              <a:rect l="0" t="0" r="r" b="b"/>
              <a:pathLst>
                <a:path w="73" h="85">
                  <a:moveTo>
                    <a:pt x="30" y="81"/>
                  </a:moveTo>
                  <a:lnTo>
                    <a:pt x="30" y="81"/>
                  </a:lnTo>
                  <a:lnTo>
                    <a:pt x="32" y="81"/>
                  </a:lnTo>
                  <a:lnTo>
                    <a:pt x="32" y="83"/>
                  </a:lnTo>
                  <a:lnTo>
                    <a:pt x="36" y="85"/>
                  </a:lnTo>
                  <a:lnTo>
                    <a:pt x="39" y="85"/>
                  </a:lnTo>
                  <a:lnTo>
                    <a:pt x="39" y="83"/>
                  </a:lnTo>
                  <a:lnTo>
                    <a:pt x="39" y="79"/>
                  </a:lnTo>
                  <a:lnTo>
                    <a:pt x="39" y="76"/>
                  </a:lnTo>
                  <a:lnTo>
                    <a:pt x="36" y="74"/>
                  </a:lnTo>
                  <a:lnTo>
                    <a:pt x="36" y="70"/>
                  </a:lnTo>
                  <a:lnTo>
                    <a:pt x="39" y="68"/>
                  </a:lnTo>
                  <a:lnTo>
                    <a:pt x="41" y="70"/>
                  </a:lnTo>
                  <a:lnTo>
                    <a:pt x="51" y="70"/>
                  </a:lnTo>
                  <a:lnTo>
                    <a:pt x="54" y="68"/>
                  </a:lnTo>
                  <a:lnTo>
                    <a:pt x="60" y="68"/>
                  </a:lnTo>
                  <a:lnTo>
                    <a:pt x="64" y="70"/>
                  </a:lnTo>
                  <a:lnTo>
                    <a:pt x="66" y="70"/>
                  </a:lnTo>
                  <a:lnTo>
                    <a:pt x="69" y="68"/>
                  </a:lnTo>
                  <a:lnTo>
                    <a:pt x="73" y="64"/>
                  </a:lnTo>
                  <a:lnTo>
                    <a:pt x="69" y="62"/>
                  </a:lnTo>
                  <a:lnTo>
                    <a:pt x="69" y="57"/>
                  </a:lnTo>
                  <a:lnTo>
                    <a:pt x="73" y="53"/>
                  </a:lnTo>
                  <a:lnTo>
                    <a:pt x="73" y="51"/>
                  </a:lnTo>
                  <a:lnTo>
                    <a:pt x="73" y="49"/>
                  </a:lnTo>
                  <a:lnTo>
                    <a:pt x="73" y="46"/>
                  </a:lnTo>
                  <a:lnTo>
                    <a:pt x="69" y="44"/>
                  </a:lnTo>
                  <a:lnTo>
                    <a:pt x="69" y="38"/>
                  </a:lnTo>
                  <a:lnTo>
                    <a:pt x="66" y="36"/>
                  </a:lnTo>
                  <a:lnTo>
                    <a:pt x="66" y="34"/>
                  </a:lnTo>
                  <a:lnTo>
                    <a:pt x="66" y="30"/>
                  </a:lnTo>
                  <a:lnTo>
                    <a:pt x="66" y="25"/>
                  </a:lnTo>
                  <a:lnTo>
                    <a:pt x="66" y="21"/>
                  </a:lnTo>
                  <a:lnTo>
                    <a:pt x="66" y="17"/>
                  </a:lnTo>
                  <a:lnTo>
                    <a:pt x="69" y="15"/>
                  </a:lnTo>
                  <a:lnTo>
                    <a:pt x="69" y="15"/>
                  </a:lnTo>
                  <a:lnTo>
                    <a:pt x="73" y="10"/>
                  </a:lnTo>
                  <a:lnTo>
                    <a:pt x="73" y="8"/>
                  </a:lnTo>
                  <a:lnTo>
                    <a:pt x="69" y="6"/>
                  </a:lnTo>
                  <a:lnTo>
                    <a:pt x="60" y="4"/>
                  </a:lnTo>
                  <a:lnTo>
                    <a:pt x="54" y="0"/>
                  </a:lnTo>
                  <a:lnTo>
                    <a:pt x="53" y="4"/>
                  </a:lnTo>
                  <a:lnTo>
                    <a:pt x="49" y="4"/>
                  </a:lnTo>
                  <a:lnTo>
                    <a:pt x="45" y="4"/>
                  </a:lnTo>
                  <a:lnTo>
                    <a:pt x="36" y="4"/>
                  </a:lnTo>
                  <a:lnTo>
                    <a:pt x="30" y="4"/>
                  </a:lnTo>
                  <a:lnTo>
                    <a:pt x="22" y="4"/>
                  </a:lnTo>
                  <a:lnTo>
                    <a:pt x="17" y="4"/>
                  </a:lnTo>
                  <a:lnTo>
                    <a:pt x="17" y="8"/>
                  </a:lnTo>
                  <a:lnTo>
                    <a:pt x="17" y="10"/>
                  </a:lnTo>
                  <a:lnTo>
                    <a:pt x="15" y="14"/>
                  </a:lnTo>
                  <a:lnTo>
                    <a:pt x="15" y="15"/>
                  </a:lnTo>
                  <a:lnTo>
                    <a:pt x="15" y="19"/>
                  </a:lnTo>
                  <a:lnTo>
                    <a:pt x="11" y="21"/>
                  </a:lnTo>
                  <a:lnTo>
                    <a:pt x="5" y="21"/>
                  </a:lnTo>
                  <a:lnTo>
                    <a:pt x="4" y="25"/>
                  </a:lnTo>
                  <a:lnTo>
                    <a:pt x="4" y="30"/>
                  </a:lnTo>
                  <a:lnTo>
                    <a:pt x="0" y="36"/>
                  </a:lnTo>
                  <a:lnTo>
                    <a:pt x="0" y="40"/>
                  </a:lnTo>
                  <a:lnTo>
                    <a:pt x="4" y="44"/>
                  </a:lnTo>
                  <a:lnTo>
                    <a:pt x="5" y="44"/>
                  </a:lnTo>
                  <a:lnTo>
                    <a:pt x="7" y="46"/>
                  </a:lnTo>
                  <a:lnTo>
                    <a:pt x="9" y="49"/>
                  </a:lnTo>
                  <a:lnTo>
                    <a:pt x="9" y="51"/>
                  </a:lnTo>
                  <a:lnTo>
                    <a:pt x="11" y="53"/>
                  </a:lnTo>
                  <a:lnTo>
                    <a:pt x="11" y="53"/>
                  </a:lnTo>
                  <a:lnTo>
                    <a:pt x="15" y="55"/>
                  </a:lnTo>
                  <a:lnTo>
                    <a:pt x="15" y="57"/>
                  </a:lnTo>
                  <a:lnTo>
                    <a:pt x="15" y="64"/>
                  </a:lnTo>
                  <a:lnTo>
                    <a:pt x="15" y="68"/>
                  </a:lnTo>
                  <a:lnTo>
                    <a:pt x="17" y="68"/>
                  </a:lnTo>
                  <a:lnTo>
                    <a:pt x="21" y="70"/>
                  </a:lnTo>
                  <a:lnTo>
                    <a:pt x="21" y="74"/>
                  </a:lnTo>
                  <a:lnTo>
                    <a:pt x="26" y="76"/>
                  </a:lnTo>
                  <a:lnTo>
                    <a:pt x="26" y="79"/>
                  </a:lnTo>
                  <a:lnTo>
                    <a:pt x="26" y="79"/>
                  </a:lnTo>
                  <a:lnTo>
                    <a:pt x="30" y="81"/>
                  </a:lnTo>
                  <a:lnTo>
                    <a:pt x="30" y="81"/>
                  </a:lnTo>
                  <a:lnTo>
                    <a:pt x="30" y="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8" name="Freeform 171">
              <a:extLst>
                <a:ext uri="{FF2B5EF4-FFF2-40B4-BE49-F238E27FC236}">
                  <a16:creationId xmlns:a16="http://schemas.microsoft.com/office/drawing/2014/main" id="{8B6C5090-A7F1-49D2-9A9C-23C127093B91}"/>
                </a:ext>
              </a:extLst>
            </p:cNvPr>
            <p:cNvSpPr>
              <a:spLocks/>
            </p:cNvSpPr>
            <p:nvPr/>
          </p:nvSpPr>
          <p:spPr bwMode="auto">
            <a:xfrm>
              <a:off x="1663" y="2945"/>
              <a:ext cx="94" cy="137"/>
            </a:xfrm>
            <a:custGeom>
              <a:avLst/>
              <a:gdLst/>
              <a:ahLst/>
              <a:cxnLst>
                <a:cxn ang="0">
                  <a:pos x="15" y="60"/>
                </a:cxn>
                <a:cxn ang="0">
                  <a:pos x="19" y="60"/>
                </a:cxn>
                <a:cxn ang="0">
                  <a:pos x="26" y="64"/>
                </a:cxn>
                <a:cxn ang="0">
                  <a:pos x="22" y="71"/>
                </a:cxn>
                <a:cxn ang="0">
                  <a:pos x="24" y="75"/>
                </a:cxn>
                <a:cxn ang="0">
                  <a:pos x="30" y="79"/>
                </a:cxn>
                <a:cxn ang="0">
                  <a:pos x="34" y="81"/>
                </a:cxn>
                <a:cxn ang="0">
                  <a:pos x="30" y="87"/>
                </a:cxn>
                <a:cxn ang="0">
                  <a:pos x="28" y="98"/>
                </a:cxn>
                <a:cxn ang="0">
                  <a:pos x="26" y="105"/>
                </a:cxn>
                <a:cxn ang="0">
                  <a:pos x="26" y="109"/>
                </a:cxn>
                <a:cxn ang="0">
                  <a:pos x="26" y="115"/>
                </a:cxn>
                <a:cxn ang="0">
                  <a:pos x="34" y="122"/>
                </a:cxn>
                <a:cxn ang="0">
                  <a:pos x="35" y="130"/>
                </a:cxn>
                <a:cxn ang="0">
                  <a:pos x="45" y="137"/>
                </a:cxn>
                <a:cxn ang="0">
                  <a:pos x="51" y="134"/>
                </a:cxn>
                <a:cxn ang="0">
                  <a:pos x="56" y="134"/>
                </a:cxn>
                <a:cxn ang="0">
                  <a:pos x="60" y="130"/>
                </a:cxn>
                <a:cxn ang="0">
                  <a:pos x="69" y="128"/>
                </a:cxn>
                <a:cxn ang="0">
                  <a:pos x="79" y="120"/>
                </a:cxn>
                <a:cxn ang="0">
                  <a:pos x="83" y="122"/>
                </a:cxn>
                <a:cxn ang="0">
                  <a:pos x="94" y="120"/>
                </a:cxn>
                <a:cxn ang="0">
                  <a:pos x="90" y="119"/>
                </a:cxn>
                <a:cxn ang="0">
                  <a:pos x="84" y="115"/>
                </a:cxn>
                <a:cxn ang="0">
                  <a:pos x="81" y="107"/>
                </a:cxn>
                <a:cxn ang="0">
                  <a:pos x="79" y="103"/>
                </a:cxn>
                <a:cxn ang="0">
                  <a:pos x="79" y="94"/>
                </a:cxn>
                <a:cxn ang="0">
                  <a:pos x="73" y="94"/>
                </a:cxn>
                <a:cxn ang="0">
                  <a:pos x="73" y="90"/>
                </a:cxn>
                <a:cxn ang="0">
                  <a:pos x="69" y="85"/>
                </a:cxn>
                <a:cxn ang="0">
                  <a:pos x="64" y="81"/>
                </a:cxn>
                <a:cxn ang="0">
                  <a:pos x="67" y="71"/>
                </a:cxn>
                <a:cxn ang="0">
                  <a:pos x="69" y="62"/>
                </a:cxn>
                <a:cxn ang="0">
                  <a:pos x="79" y="60"/>
                </a:cxn>
                <a:cxn ang="0">
                  <a:pos x="79" y="55"/>
                </a:cxn>
                <a:cxn ang="0">
                  <a:pos x="81" y="51"/>
                </a:cxn>
                <a:cxn ang="0">
                  <a:pos x="79" y="47"/>
                </a:cxn>
                <a:cxn ang="0">
                  <a:pos x="79" y="39"/>
                </a:cxn>
                <a:cxn ang="0">
                  <a:pos x="66" y="32"/>
                </a:cxn>
                <a:cxn ang="0">
                  <a:pos x="60" y="32"/>
                </a:cxn>
                <a:cxn ang="0">
                  <a:pos x="52" y="36"/>
                </a:cxn>
                <a:cxn ang="0">
                  <a:pos x="51" y="36"/>
                </a:cxn>
                <a:cxn ang="0">
                  <a:pos x="52" y="24"/>
                </a:cxn>
                <a:cxn ang="0">
                  <a:pos x="49" y="17"/>
                </a:cxn>
                <a:cxn ang="0">
                  <a:pos x="35" y="7"/>
                </a:cxn>
                <a:cxn ang="0">
                  <a:pos x="34" y="2"/>
                </a:cxn>
                <a:cxn ang="0">
                  <a:pos x="28" y="0"/>
                </a:cxn>
                <a:cxn ang="0">
                  <a:pos x="22" y="7"/>
                </a:cxn>
                <a:cxn ang="0">
                  <a:pos x="15" y="11"/>
                </a:cxn>
                <a:cxn ang="0">
                  <a:pos x="11" y="19"/>
                </a:cxn>
                <a:cxn ang="0">
                  <a:pos x="17" y="22"/>
                </a:cxn>
                <a:cxn ang="0">
                  <a:pos x="20" y="28"/>
                </a:cxn>
                <a:cxn ang="0">
                  <a:pos x="11" y="32"/>
                </a:cxn>
                <a:cxn ang="0">
                  <a:pos x="5" y="32"/>
                </a:cxn>
                <a:cxn ang="0">
                  <a:pos x="3" y="39"/>
                </a:cxn>
                <a:cxn ang="0">
                  <a:pos x="0" y="47"/>
                </a:cxn>
                <a:cxn ang="0">
                  <a:pos x="13" y="58"/>
                </a:cxn>
                <a:cxn ang="0">
                  <a:pos x="13" y="60"/>
                </a:cxn>
              </a:cxnLst>
              <a:rect l="0" t="0" r="r" b="b"/>
              <a:pathLst>
                <a:path w="94" h="137">
                  <a:moveTo>
                    <a:pt x="13" y="60"/>
                  </a:moveTo>
                  <a:lnTo>
                    <a:pt x="15" y="60"/>
                  </a:lnTo>
                  <a:lnTo>
                    <a:pt x="15" y="62"/>
                  </a:lnTo>
                  <a:lnTo>
                    <a:pt x="19" y="60"/>
                  </a:lnTo>
                  <a:lnTo>
                    <a:pt x="22" y="60"/>
                  </a:lnTo>
                  <a:lnTo>
                    <a:pt x="26" y="64"/>
                  </a:lnTo>
                  <a:lnTo>
                    <a:pt x="26" y="70"/>
                  </a:lnTo>
                  <a:lnTo>
                    <a:pt x="22" y="71"/>
                  </a:lnTo>
                  <a:lnTo>
                    <a:pt x="20" y="75"/>
                  </a:lnTo>
                  <a:lnTo>
                    <a:pt x="24" y="75"/>
                  </a:lnTo>
                  <a:lnTo>
                    <a:pt x="28" y="75"/>
                  </a:lnTo>
                  <a:lnTo>
                    <a:pt x="30" y="79"/>
                  </a:lnTo>
                  <a:lnTo>
                    <a:pt x="30" y="81"/>
                  </a:lnTo>
                  <a:lnTo>
                    <a:pt x="34" y="81"/>
                  </a:lnTo>
                  <a:lnTo>
                    <a:pt x="34" y="83"/>
                  </a:lnTo>
                  <a:lnTo>
                    <a:pt x="30" y="87"/>
                  </a:lnTo>
                  <a:lnTo>
                    <a:pt x="30" y="90"/>
                  </a:lnTo>
                  <a:lnTo>
                    <a:pt x="28" y="98"/>
                  </a:lnTo>
                  <a:lnTo>
                    <a:pt x="28" y="102"/>
                  </a:lnTo>
                  <a:lnTo>
                    <a:pt x="26" y="105"/>
                  </a:lnTo>
                  <a:lnTo>
                    <a:pt x="26" y="109"/>
                  </a:lnTo>
                  <a:lnTo>
                    <a:pt x="26" y="109"/>
                  </a:lnTo>
                  <a:lnTo>
                    <a:pt x="26" y="113"/>
                  </a:lnTo>
                  <a:lnTo>
                    <a:pt x="26" y="115"/>
                  </a:lnTo>
                  <a:lnTo>
                    <a:pt x="30" y="119"/>
                  </a:lnTo>
                  <a:lnTo>
                    <a:pt x="34" y="122"/>
                  </a:lnTo>
                  <a:lnTo>
                    <a:pt x="34" y="126"/>
                  </a:lnTo>
                  <a:lnTo>
                    <a:pt x="35" y="130"/>
                  </a:lnTo>
                  <a:lnTo>
                    <a:pt x="43" y="134"/>
                  </a:lnTo>
                  <a:lnTo>
                    <a:pt x="45" y="137"/>
                  </a:lnTo>
                  <a:lnTo>
                    <a:pt x="49" y="134"/>
                  </a:lnTo>
                  <a:lnTo>
                    <a:pt x="51" y="134"/>
                  </a:lnTo>
                  <a:lnTo>
                    <a:pt x="51" y="134"/>
                  </a:lnTo>
                  <a:lnTo>
                    <a:pt x="56" y="134"/>
                  </a:lnTo>
                  <a:lnTo>
                    <a:pt x="58" y="132"/>
                  </a:lnTo>
                  <a:lnTo>
                    <a:pt x="60" y="130"/>
                  </a:lnTo>
                  <a:lnTo>
                    <a:pt x="64" y="128"/>
                  </a:lnTo>
                  <a:lnTo>
                    <a:pt x="69" y="128"/>
                  </a:lnTo>
                  <a:lnTo>
                    <a:pt x="73" y="122"/>
                  </a:lnTo>
                  <a:lnTo>
                    <a:pt x="79" y="120"/>
                  </a:lnTo>
                  <a:lnTo>
                    <a:pt x="83" y="120"/>
                  </a:lnTo>
                  <a:lnTo>
                    <a:pt x="83" y="122"/>
                  </a:lnTo>
                  <a:lnTo>
                    <a:pt x="86" y="120"/>
                  </a:lnTo>
                  <a:lnTo>
                    <a:pt x="94" y="120"/>
                  </a:lnTo>
                  <a:lnTo>
                    <a:pt x="90" y="119"/>
                  </a:lnTo>
                  <a:lnTo>
                    <a:pt x="90" y="119"/>
                  </a:lnTo>
                  <a:lnTo>
                    <a:pt x="90" y="115"/>
                  </a:lnTo>
                  <a:lnTo>
                    <a:pt x="84" y="115"/>
                  </a:lnTo>
                  <a:lnTo>
                    <a:pt x="84" y="109"/>
                  </a:lnTo>
                  <a:lnTo>
                    <a:pt x="81" y="107"/>
                  </a:lnTo>
                  <a:lnTo>
                    <a:pt x="79" y="107"/>
                  </a:lnTo>
                  <a:lnTo>
                    <a:pt x="79" y="103"/>
                  </a:lnTo>
                  <a:lnTo>
                    <a:pt x="79" y="96"/>
                  </a:lnTo>
                  <a:lnTo>
                    <a:pt x="79" y="94"/>
                  </a:lnTo>
                  <a:lnTo>
                    <a:pt x="75" y="94"/>
                  </a:lnTo>
                  <a:lnTo>
                    <a:pt x="73" y="94"/>
                  </a:lnTo>
                  <a:lnTo>
                    <a:pt x="73" y="90"/>
                  </a:lnTo>
                  <a:lnTo>
                    <a:pt x="73" y="90"/>
                  </a:lnTo>
                  <a:lnTo>
                    <a:pt x="69" y="87"/>
                  </a:lnTo>
                  <a:lnTo>
                    <a:pt x="69" y="85"/>
                  </a:lnTo>
                  <a:lnTo>
                    <a:pt x="67" y="83"/>
                  </a:lnTo>
                  <a:lnTo>
                    <a:pt x="64" y="81"/>
                  </a:lnTo>
                  <a:lnTo>
                    <a:pt x="64" y="77"/>
                  </a:lnTo>
                  <a:lnTo>
                    <a:pt x="67" y="71"/>
                  </a:lnTo>
                  <a:lnTo>
                    <a:pt x="67" y="66"/>
                  </a:lnTo>
                  <a:lnTo>
                    <a:pt x="69" y="62"/>
                  </a:lnTo>
                  <a:lnTo>
                    <a:pt x="73" y="62"/>
                  </a:lnTo>
                  <a:lnTo>
                    <a:pt x="79" y="60"/>
                  </a:lnTo>
                  <a:lnTo>
                    <a:pt x="79" y="56"/>
                  </a:lnTo>
                  <a:lnTo>
                    <a:pt x="79" y="55"/>
                  </a:lnTo>
                  <a:lnTo>
                    <a:pt x="81" y="51"/>
                  </a:lnTo>
                  <a:lnTo>
                    <a:pt x="81" y="51"/>
                  </a:lnTo>
                  <a:lnTo>
                    <a:pt x="79" y="51"/>
                  </a:lnTo>
                  <a:lnTo>
                    <a:pt x="79" y="47"/>
                  </a:lnTo>
                  <a:lnTo>
                    <a:pt x="79" y="43"/>
                  </a:lnTo>
                  <a:lnTo>
                    <a:pt x="79" y="39"/>
                  </a:lnTo>
                  <a:lnTo>
                    <a:pt x="69" y="38"/>
                  </a:lnTo>
                  <a:lnTo>
                    <a:pt x="66" y="32"/>
                  </a:lnTo>
                  <a:lnTo>
                    <a:pt x="60" y="28"/>
                  </a:lnTo>
                  <a:lnTo>
                    <a:pt x="60" y="32"/>
                  </a:lnTo>
                  <a:lnTo>
                    <a:pt x="56" y="32"/>
                  </a:lnTo>
                  <a:lnTo>
                    <a:pt x="52" y="36"/>
                  </a:lnTo>
                  <a:lnTo>
                    <a:pt x="52" y="38"/>
                  </a:lnTo>
                  <a:lnTo>
                    <a:pt x="51" y="36"/>
                  </a:lnTo>
                  <a:lnTo>
                    <a:pt x="52" y="28"/>
                  </a:lnTo>
                  <a:lnTo>
                    <a:pt x="52" y="24"/>
                  </a:lnTo>
                  <a:lnTo>
                    <a:pt x="51" y="19"/>
                  </a:lnTo>
                  <a:lnTo>
                    <a:pt x="49" y="17"/>
                  </a:lnTo>
                  <a:lnTo>
                    <a:pt x="41" y="11"/>
                  </a:lnTo>
                  <a:lnTo>
                    <a:pt x="35" y="7"/>
                  </a:lnTo>
                  <a:lnTo>
                    <a:pt x="35" y="4"/>
                  </a:lnTo>
                  <a:lnTo>
                    <a:pt x="34" y="2"/>
                  </a:lnTo>
                  <a:lnTo>
                    <a:pt x="30" y="0"/>
                  </a:lnTo>
                  <a:lnTo>
                    <a:pt x="28" y="0"/>
                  </a:lnTo>
                  <a:lnTo>
                    <a:pt x="28" y="2"/>
                  </a:lnTo>
                  <a:lnTo>
                    <a:pt x="22" y="7"/>
                  </a:lnTo>
                  <a:lnTo>
                    <a:pt x="19" y="11"/>
                  </a:lnTo>
                  <a:lnTo>
                    <a:pt x="15" y="11"/>
                  </a:lnTo>
                  <a:lnTo>
                    <a:pt x="9" y="15"/>
                  </a:lnTo>
                  <a:lnTo>
                    <a:pt x="11" y="19"/>
                  </a:lnTo>
                  <a:lnTo>
                    <a:pt x="13" y="22"/>
                  </a:lnTo>
                  <a:lnTo>
                    <a:pt x="17" y="22"/>
                  </a:lnTo>
                  <a:lnTo>
                    <a:pt x="20" y="26"/>
                  </a:lnTo>
                  <a:lnTo>
                    <a:pt x="20" y="28"/>
                  </a:lnTo>
                  <a:lnTo>
                    <a:pt x="15" y="32"/>
                  </a:lnTo>
                  <a:lnTo>
                    <a:pt x="11" y="32"/>
                  </a:lnTo>
                  <a:lnTo>
                    <a:pt x="9" y="32"/>
                  </a:lnTo>
                  <a:lnTo>
                    <a:pt x="5" y="32"/>
                  </a:lnTo>
                  <a:lnTo>
                    <a:pt x="3" y="36"/>
                  </a:lnTo>
                  <a:lnTo>
                    <a:pt x="3" y="39"/>
                  </a:lnTo>
                  <a:lnTo>
                    <a:pt x="0" y="43"/>
                  </a:lnTo>
                  <a:lnTo>
                    <a:pt x="0" y="47"/>
                  </a:lnTo>
                  <a:lnTo>
                    <a:pt x="5" y="53"/>
                  </a:lnTo>
                  <a:lnTo>
                    <a:pt x="13" y="58"/>
                  </a:lnTo>
                  <a:lnTo>
                    <a:pt x="13" y="60"/>
                  </a:lnTo>
                  <a:lnTo>
                    <a:pt x="13" y="60"/>
                  </a:lnTo>
                  <a:lnTo>
                    <a:pt x="13"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9" name="Freeform 172">
              <a:extLst>
                <a:ext uri="{FF2B5EF4-FFF2-40B4-BE49-F238E27FC236}">
                  <a16:creationId xmlns:a16="http://schemas.microsoft.com/office/drawing/2014/main" id="{5FD39AAD-CB8A-4BA7-8189-4971D7097725}"/>
                </a:ext>
              </a:extLst>
            </p:cNvPr>
            <p:cNvSpPr>
              <a:spLocks/>
            </p:cNvSpPr>
            <p:nvPr/>
          </p:nvSpPr>
          <p:spPr bwMode="auto">
            <a:xfrm>
              <a:off x="1663" y="2945"/>
              <a:ext cx="94" cy="137"/>
            </a:xfrm>
            <a:custGeom>
              <a:avLst/>
              <a:gdLst/>
              <a:ahLst/>
              <a:cxnLst>
                <a:cxn ang="0">
                  <a:pos x="15" y="60"/>
                </a:cxn>
                <a:cxn ang="0">
                  <a:pos x="19" y="60"/>
                </a:cxn>
                <a:cxn ang="0">
                  <a:pos x="26" y="64"/>
                </a:cxn>
                <a:cxn ang="0">
                  <a:pos x="22" y="71"/>
                </a:cxn>
                <a:cxn ang="0">
                  <a:pos x="24" y="75"/>
                </a:cxn>
                <a:cxn ang="0">
                  <a:pos x="30" y="79"/>
                </a:cxn>
                <a:cxn ang="0">
                  <a:pos x="34" y="81"/>
                </a:cxn>
                <a:cxn ang="0">
                  <a:pos x="30" y="87"/>
                </a:cxn>
                <a:cxn ang="0">
                  <a:pos x="28" y="98"/>
                </a:cxn>
                <a:cxn ang="0">
                  <a:pos x="26" y="105"/>
                </a:cxn>
                <a:cxn ang="0">
                  <a:pos x="26" y="109"/>
                </a:cxn>
                <a:cxn ang="0">
                  <a:pos x="26" y="115"/>
                </a:cxn>
                <a:cxn ang="0">
                  <a:pos x="34" y="122"/>
                </a:cxn>
                <a:cxn ang="0">
                  <a:pos x="35" y="130"/>
                </a:cxn>
                <a:cxn ang="0">
                  <a:pos x="45" y="137"/>
                </a:cxn>
                <a:cxn ang="0">
                  <a:pos x="51" y="134"/>
                </a:cxn>
                <a:cxn ang="0">
                  <a:pos x="56" y="134"/>
                </a:cxn>
                <a:cxn ang="0">
                  <a:pos x="60" y="130"/>
                </a:cxn>
                <a:cxn ang="0">
                  <a:pos x="69" y="128"/>
                </a:cxn>
                <a:cxn ang="0">
                  <a:pos x="79" y="120"/>
                </a:cxn>
                <a:cxn ang="0">
                  <a:pos x="83" y="122"/>
                </a:cxn>
                <a:cxn ang="0">
                  <a:pos x="94" y="120"/>
                </a:cxn>
                <a:cxn ang="0">
                  <a:pos x="90" y="119"/>
                </a:cxn>
                <a:cxn ang="0">
                  <a:pos x="84" y="115"/>
                </a:cxn>
                <a:cxn ang="0">
                  <a:pos x="81" y="107"/>
                </a:cxn>
                <a:cxn ang="0">
                  <a:pos x="79" y="103"/>
                </a:cxn>
                <a:cxn ang="0">
                  <a:pos x="79" y="94"/>
                </a:cxn>
                <a:cxn ang="0">
                  <a:pos x="73" y="94"/>
                </a:cxn>
                <a:cxn ang="0">
                  <a:pos x="73" y="90"/>
                </a:cxn>
                <a:cxn ang="0">
                  <a:pos x="69" y="85"/>
                </a:cxn>
                <a:cxn ang="0">
                  <a:pos x="64" y="81"/>
                </a:cxn>
                <a:cxn ang="0">
                  <a:pos x="67" y="71"/>
                </a:cxn>
                <a:cxn ang="0">
                  <a:pos x="69" y="62"/>
                </a:cxn>
                <a:cxn ang="0">
                  <a:pos x="79" y="60"/>
                </a:cxn>
                <a:cxn ang="0">
                  <a:pos x="79" y="55"/>
                </a:cxn>
                <a:cxn ang="0">
                  <a:pos x="81" y="51"/>
                </a:cxn>
                <a:cxn ang="0">
                  <a:pos x="79" y="47"/>
                </a:cxn>
                <a:cxn ang="0">
                  <a:pos x="79" y="39"/>
                </a:cxn>
                <a:cxn ang="0">
                  <a:pos x="66" y="32"/>
                </a:cxn>
                <a:cxn ang="0">
                  <a:pos x="60" y="32"/>
                </a:cxn>
                <a:cxn ang="0">
                  <a:pos x="52" y="36"/>
                </a:cxn>
                <a:cxn ang="0">
                  <a:pos x="51" y="36"/>
                </a:cxn>
                <a:cxn ang="0">
                  <a:pos x="52" y="24"/>
                </a:cxn>
                <a:cxn ang="0">
                  <a:pos x="49" y="17"/>
                </a:cxn>
                <a:cxn ang="0">
                  <a:pos x="35" y="7"/>
                </a:cxn>
                <a:cxn ang="0">
                  <a:pos x="34" y="2"/>
                </a:cxn>
                <a:cxn ang="0">
                  <a:pos x="28" y="0"/>
                </a:cxn>
                <a:cxn ang="0">
                  <a:pos x="22" y="7"/>
                </a:cxn>
                <a:cxn ang="0">
                  <a:pos x="15" y="11"/>
                </a:cxn>
                <a:cxn ang="0">
                  <a:pos x="11" y="19"/>
                </a:cxn>
                <a:cxn ang="0">
                  <a:pos x="17" y="22"/>
                </a:cxn>
                <a:cxn ang="0">
                  <a:pos x="20" y="28"/>
                </a:cxn>
                <a:cxn ang="0">
                  <a:pos x="11" y="32"/>
                </a:cxn>
                <a:cxn ang="0">
                  <a:pos x="5" y="32"/>
                </a:cxn>
                <a:cxn ang="0">
                  <a:pos x="3" y="39"/>
                </a:cxn>
                <a:cxn ang="0">
                  <a:pos x="0" y="47"/>
                </a:cxn>
                <a:cxn ang="0">
                  <a:pos x="13" y="58"/>
                </a:cxn>
                <a:cxn ang="0">
                  <a:pos x="13" y="60"/>
                </a:cxn>
              </a:cxnLst>
              <a:rect l="0" t="0" r="r" b="b"/>
              <a:pathLst>
                <a:path w="94" h="137">
                  <a:moveTo>
                    <a:pt x="13" y="60"/>
                  </a:moveTo>
                  <a:lnTo>
                    <a:pt x="15" y="60"/>
                  </a:lnTo>
                  <a:lnTo>
                    <a:pt x="15" y="62"/>
                  </a:lnTo>
                  <a:lnTo>
                    <a:pt x="19" y="60"/>
                  </a:lnTo>
                  <a:lnTo>
                    <a:pt x="22" y="60"/>
                  </a:lnTo>
                  <a:lnTo>
                    <a:pt x="26" y="64"/>
                  </a:lnTo>
                  <a:lnTo>
                    <a:pt x="26" y="70"/>
                  </a:lnTo>
                  <a:lnTo>
                    <a:pt x="22" y="71"/>
                  </a:lnTo>
                  <a:lnTo>
                    <a:pt x="20" y="75"/>
                  </a:lnTo>
                  <a:lnTo>
                    <a:pt x="24" y="75"/>
                  </a:lnTo>
                  <a:lnTo>
                    <a:pt x="28" y="75"/>
                  </a:lnTo>
                  <a:lnTo>
                    <a:pt x="30" y="79"/>
                  </a:lnTo>
                  <a:lnTo>
                    <a:pt x="30" y="81"/>
                  </a:lnTo>
                  <a:lnTo>
                    <a:pt x="34" y="81"/>
                  </a:lnTo>
                  <a:lnTo>
                    <a:pt x="34" y="83"/>
                  </a:lnTo>
                  <a:lnTo>
                    <a:pt x="30" y="87"/>
                  </a:lnTo>
                  <a:lnTo>
                    <a:pt x="30" y="90"/>
                  </a:lnTo>
                  <a:lnTo>
                    <a:pt x="28" y="98"/>
                  </a:lnTo>
                  <a:lnTo>
                    <a:pt x="28" y="102"/>
                  </a:lnTo>
                  <a:lnTo>
                    <a:pt x="26" y="105"/>
                  </a:lnTo>
                  <a:lnTo>
                    <a:pt x="26" y="109"/>
                  </a:lnTo>
                  <a:lnTo>
                    <a:pt x="26" y="109"/>
                  </a:lnTo>
                  <a:lnTo>
                    <a:pt x="26" y="113"/>
                  </a:lnTo>
                  <a:lnTo>
                    <a:pt x="26" y="115"/>
                  </a:lnTo>
                  <a:lnTo>
                    <a:pt x="30" y="119"/>
                  </a:lnTo>
                  <a:lnTo>
                    <a:pt x="34" y="122"/>
                  </a:lnTo>
                  <a:lnTo>
                    <a:pt x="34" y="126"/>
                  </a:lnTo>
                  <a:lnTo>
                    <a:pt x="35" y="130"/>
                  </a:lnTo>
                  <a:lnTo>
                    <a:pt x="43" y="134"/>
                  </a:lnTo>
                  <a:lnTo>
                    <a:pt x="45" y="137"/>
                  </a:lnTo>
                  <a:lnTo>
                    <a:pt x="49" y="134"/>
                  </a:lnTo>
                  <a:lnTo>
                    <a:pt x="51" y="134"/>
                  </a:lnTo>
                  <a:lnTo>
                    <a:pt x="51" y="134"/>
                  </a:lnTo>
                  <a:lnTo>
                    <a:pt x="56" y="134"/>
                  </a:lnTo>
                  <a:lnTo>
                    <a:pt x="58" y="132"/>
                  </a:lnTo>
                  <a:lnTo>
                    <a:pt x="60" y="130"/>
                  </a:lnTo>
                  <a:lnTo>
                    <a:pt x="64" y="128"/>
                  </a:lnTo>
                  <a:lnTo>
                    <a:pt x="69" y="128"/>
                  </a:lnTo>
                  <a:lnTo>
                    <a:pt x="73" y="122"/>
                  </a:lnTo>
                  <a:lnTo>
                    <a:pt x="79" y="120"/>
                  </a:lnTo>
                  <a:lnTo>
                    <a:pt x="83" y="120"/>
                  </a:lnTo>
                  <a:lnTo>
                    <a:pt x="83" y="122"/>
                  </a:lnTo>
                  <a:lnTo>
                    <a:pt x="86" y="120"/>
                  </a:lnTo>
                  <a:lnTo>
                    <a:pt x="94" y="120"/>
                  </a:lnTo>
                  <a:lnTo>
                    <a:pt x="90" y="119"/>
                  </a:lnTo>
                  <a:lnTo>
                    <a:pt x="90" y="119"/>
                  </a:lnTo>
                  <a:lnTo>
                    <a:pt x="90" y="115"/>
                  </a:lnTo>
                  <a:lnTo>
                    <a:pt x="84" y="115"/>
                  </a:lnTo>
                  <a:lnTo>
                    <a:pt x="84" y="109"/>
                  </a:lnTo>
                  <a:lnTo>
                    <a:pt x="81" y="107"/>
                  </a:lnTo>
                  <a:lnTo>
                    <a:pt x="79" y="107"/>
                  </a:lnTo>
                  <a:lnTo>
                    <a:pt x="79" y="103"/>
                  </a:lnTo>
                  <a:lnTo>
                    <a:pt x="79" y="96"/>
                  </a:lnTo>
                  <a:lnTo>
                    <a:pt x="79" y="94"/>
                  </a:lnTo>
                  <a:lnTo>
                    <a:pt x="75" y="94"/>
                  </a:lnTo>
                  <a:lnTo>
                    <a:pt x="73" y="94"/>
                  </a:lnTo>
                  <a:lnTo>
                    <a:pt x="73" y="90"/>
                  </a:lnTo>
                  <a:lnTo>
                    <a:pt x="73" y="90"/>
                  </a:lnTo>
                  <a:lnTo>
                    <a:pt x="69" y="87"/>
                  </a:lnTo>
                  <a:lnTo>
                    <a:pt x="69" y="85"/>
                  </a:lnTo>
                  <a:lnTo>
                    <a:pt x="67" y="83"/>
                  </a:lnTo>
                  <a:lnTo>
                    <a:pt x="64" y="81"/>
                  </a:lnTo>
                  <a:lnTo>
                    <a:pt x="64" y="77"/>
                  </a:lnTo>
                  <a:lnTo>
                    <a:pt x="67" y="71"/>
                  </a:lnTo>
                  <a:lnTo>
                    <a:pt x="67" y="66"/>
                  </a:lnTo>
                  <a:lnTo>
                    <a:pt x="69" y="62"/>
                  </a:lnTo>
                  <a:lnTo>
                    <a:pt x="73" y="62"/>
                  </a:lnTo>
                  <a:lnTo>
                    <a:pt x="79" y="60"/>
                  </a:lnTo>
                  <a:lnTo>
                    <a:pt x="79" y="56"/>
                  </a:lnTo>
                  <a:lnTo>
                    <a:pt x="79" y="55"/>
                  </a:lnTo>
                  <a:lnTo>
                    <a:pt x="81" y="51"/>
                  </a:lnTo>
                  <a:lnTo>
                    <a:pt x="81" y="51"/>
                  </a:lnTo>
                  <a:lnTo>
                    <a:pt x="79" y="51"/>
                  </a:lnTo>
                  <a:lnTo>
                    <a:pt x="79" y="47"/>
                  </a:lnTo>
                  <a:lnTo>
                    <a:pt x="79" y="43"/>
                  </a:lnTo>
                  <a:lnTo>
                    <a:pt x="79" y="39"/>
                  </a:lnTo>
                  <a:lnTo>
                    <a:pt x="69" y="38"/>
                  </a:lnTo>
                  <a:lnTo>
                    <a:pt x="66" y="32"/>
                  </a:lnTo>
                  <a:lnTo>
                    <a:pt x="60" y="28"/>
                  </a:lnTo>
                  <a:lnTo>
                    <a:pt x="60" y="32"/>
                  </a:lnTo>
                  <a:lnTo>
                    <a:pt x="56" y="32"/>
                  </a:lnTo>
                  <a:lnTo>
                    <a:pt x="52" y="36"/>
                  </a:lnTo>
                  <a:lnTo>
                    <a:pt x="52" y="38"/>
                  </a:lnTo>
                  <a:lnTo>
                    <a:pt x="51" y="36"/>
                  </a:lnTo>
                  <a:lnTo>
                    <a:pt x="52" y="28"/>
                  </a:lnTo>
                  <a:lnTo>
                    <a:pt x="52" y="24"/>
                  </a:lnTo>
                  <a:lnTo>
                    <a:pt x="51" y="19"/>
                  </a:lnTo>
                  <a:lnTo>
                    <a:pt x="49" y="17"/>
                  </a:lnTo>
                  <a:lnTo>
                    <a:pt x="41" y="11"/>
                  </a:lnTo>
                  <a:lnTo>
                    <a:pt x="35" y="7"/>
                  </a:lnTo>
                  <a:lnTo>
                    <a:pt x="35" y="4"/>
                  </a:lnTo>
                  <a:lnTo>
                    <a:pt x="34" y="2"/>
                  </a:lnTo>
                  <a:lnTo>
                    <a:pt x="30" y="0"/>
                  </a:lnTo>
                  <a:lnTo>
                    <a:pt x="28" y="0"/>
                  </a:lnTo>
                  <a:lnTo>
                    <a:pt x="28" y="2"/>
                  </a:lnTo>
                  <a:lnTo>
                    <a:pt x="22" y="7"/>
                  </a:lnTo>
                  <a:lnTo>
                    <a:pt x="19" y="11"/>
                  </a:lnTo>
                  <a:lnTo>
                    <a:pt x="15" y="11"/>
                  </a:lnTo>
                  <a:lnTo>
                    <a:pt x="9" y="15"/>
                  </a:lnTo>
                  <a:lnTo>
                    <a:pt x="11" y="19"/>
                  </a:lnTo>
                  <a:lnTo>
                    <a:pt x="13" y="22"/>
                  </a:lnTo>
                  <a:lnTo>
                    <a:pt x="17" y="22"/>
                  </a:lnTo>
                  <a:lnTo>
                    <a:pt x="20" y="26"/>
                  </a:lnTo>
                  <a:lnTo>
                    <a:pt x="20" y="28"/>
                  </a:lnTo>
                  <a:lnTo>
                    <a:pt x="15" y="32"/>
                  </a:lnTo>
                  <a:lnTo>
                    <a:pt x="11" y="32"/>
                  </a:lnTo>
                  <a:lnTo>
                    <a:pt x="9" y="32"/>
                  </a:lnTo>
                  <a:lnTo>
                    <a:pt x="5" y="32"/>
                  </a:lnTo>
                  <a:lnTo>
                    <a:pt x="3" y="36"/>
                  </a:lnTo>
                  <a:lnTo>
                    <a:pt x="3" y="39"/>
                  </a:lnTo>
                  <a:lnTo>
                    <a:pt x="0" y="43"/>
                  </a:lnTo>
                  <a:lnTo>
                    <a:pt x="0" y="47"/>
                  </a:lnTo>
                  <a:lnTo>
                    <a:pt x="5" y="53"/>
                  </a:lnTo>
                  <a:lnTo>
                    <a:pt x="13" y="58"/>
                  </a:lnTo>
                  <a:lnTo>
                    <a:pt x="13" y="60"/>
                  </a:lnTo>
                  <a:lnTo>
                    <a:pt x="13" y="60"/>
                  </a:lnTo>
                  <a:lnTo>
                    <a:pt x="13"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0" name="Freeform 173">
              <a:extLst>
                <a:ext uri="{FF2B5EF4-FFF2-40B4-BE49-F238E27FC236}">
                  <a16:creationId xmlns:a16="http://schemas.microsoft.com/office/drawing/2014/main" id="{3E8151CE-6EDE-4C27-87A0-68C3AD174F67}"/>
                </a:ext>
              </a:extLst>
            </p:cNvPr>
            <p:cNvSpPr>
              <a:spLocks noEditPoints="1"/>
            </p:cNvSpPr>
            <p:nvPr/>
          </p:nvSpPr>
          <p:spPr bwMode="auto">
            <a:xfrm>
              <a:off x="1441" y="2866"/>
              <a:ext cx="248" cy="226"/>
            </a:xfrm>
            <a:custGeom>
              <a:avLst/>
              <a:gdLst/>
              <a:ahLst/>
              <a:cxnLst>
                <a:cxn ang="0">
                  <a:pos x="139" y="226"/>
                </a:cxn>
                <a:cxn ang="0">
                  <a:pos x="165" y="203"/>
                </a:cxn>
                <a:cxn ang="0">
                  <a:pos x="175" y="194"/>
                </a:cxn>
                <a:cxn ang="0">
                  <a:pos x="165" y="171"/>
                </a:cxn>
                <a:cxn ang="0">
                  <a:pos x="160" y="160"/>
                </a:cxn>
                <a:cxn ang="0">
                  <a:pos x="186" y="164"/>
                </a:cxn>
                <a:cxn ang="0">
                  <a:pos x="214" y="154"/>
                </a:cxn>
                <a:cxn ang="0">
                  <a:pos x="225" y="132"/>
                </a:cxn>
                <a:cxn ang="0">
                  <a:pos x="225" y="109"/>
                </a:cxn>
                <a:cxn ang="0">
                  <a:pos x="239" y="103"/>
                </a:cxn>
                <a:cxn ang="0">
                  <a:pos x="235" y="88"/>
                </a:cxn>
                <a:cxn ang="0">
                  <a:pos x="248" y="75"/>
                </a:cxn>
                <a:cxn ang="0">
                  <a:pos x="227" y="73"/>
                </a:cxn>
                <a:cxn ang="0">
                  <a:pos x="218" y="73"/>
                </a:cxn>
                <a:cxn ang="0">
                  <a:pos x="227" y="64"/>
                </a:cxn>
                <a:cxn ang="0">
                  <a:pos x="214" y="54"/>
                </a:cxn>
                <a:cxn ang="0">
                  <a:pos x="201" y="47"/>
                </a:cxn>
                <a:cxn ang="0">
                  <a:pos x="190" y="41"/>
                </a:cxn>
                <a:cxn ang="0">
                  <a:pos x="209" y="36"/>
                </a:cxn>
                <a:cxn ang="0">
                  <a:pos x="186" y="32"/>
                </a:cxn>
                <a:cxn ang="0">
                  <a:pos x="161" y="39"/>
                </a:cxn>
                <a:cxn ang="0">
                  <a:pos x="146" y="45"/>
                </a:cxn>
                <a:cxn ang="0">
                  <a:pos x="107" y="39"/>
                </a:cxn>
                <a:cxn ang="0">
                  <a:pos x="97" y="32"/>
                </a:cxn>
                <a:cxn ang="0">
                  <a:pos x="77" y="20"/>
                </a:cxn>
                <a:cxn ang="0">
                  <a:pos x="67" y="5"/>
                </a:cxn>
                <a:cxn ang="0">
                  <a:pos x="56" y="19"/>
                </a:cxn>
                <a:cxn ang="0">
                  <a:pos x="64" y="24"/>
                </a:cxn>
                <a:cxn ang="0">
                  <a:pos x="52" y="26"/>
                </a:cxn>
                <a:cxn ang="0">
                  <a:pos x="35" y="39"/>
                </a:cxn>
                <a:cxn ang="0">
                  <a:pos x="30" y="66"/>
                </a:cxn>
                <a:cxn ang="0">
                  <a:pos x="24" y="51"/>
                </a:cxn>
                <a:cxn ang="0">
                  <a:pos x="30" y="30"/>
                </a:cxn>
                <a:cxn ang="0">
                  <a:pos x="30" y="17"/>
                </a:cxn>
                <a:cxn ang="0">
                  <a:pos x="26" y="17"/>
                </a:cxn>
                <a:cxn ang="0">
                  <a:pos x="11" y="34"/>
                </a:cxn>
                <a:cxn ang="0">
                  <a:pos x="1" y="60"/>
                </a:cxn>
                <a:cxn ang="0">
                  <a:pos x="18" y="83"/>
                </a:cxn>
                <a:cxn ang="0">
                  <a:pos x="17" y="96"/>
                </a:cxn>
                <a:cxn ang="0">
                  <a:pos x="35" y="103"/>
                </a:cxn>
                <a:cxn ang="0">
                  <a:pos x="56" y="103"/>
                </a:cxn>
                <a:cxn ang="0">
                  <a:pos x="81" y="120"/>
                </a:cxn>
                <a:cxn ang="0">
                  <a:pos x="101" y="120"/>
                </a:cxn>
                <a:cxn ang="0">
                  <a:pos x="107" y="130"/>
                </a:cxn>
                <a:cxn ang="0">
                  <a:pos x="101" y="147"/>
                </a:cxn>
                <a:cxn ang="0">
                  <a:pos x="101" y="164"/>
                </a:cxn>
                <a:cxn ang="0">
                  <a:pos x="105" y="188"/>
                </a:cxn>
                <a:cxn ang="0">
                  <a:pos x="107" y="199"/>
                </a:cxn>
                <a:cxn ang="0">
                  <a:pos x="114" y="216"/>
                </a:cxn>
                <a:cxn ang="0">
                  <a:pos x="97" y="7"/>
                </a:cxn>
                <a:cxn ang="0">
                  <a:pos x="90" y="4"/>
                </a:cxn>
                <a:cxn ang="0">
                  <a:pos x="84" y="5"/>
                </a:cxn>
                <a:cxn ang="0">
                  <a:pos x="77" y="2"/>
                </a:cxn>
                <a:cxn ang="0">
                  <a:pos x="65" y="0"/>
                </a:cxn>
                <a:cxn ang="0">
                  <a:pos x="60" y="0"/>
                </a:cxn>
                <a:cxn ang="0">
                  <a:pos x="177" y="26"/>
                </a:cxn>
                <a:cxn ang="0">
                  <a:pos x="163" y="30"/>
                </a:cxn>
              </a:cxnLst>
              <a:rect l="0" t="0" r="r" b="b"/>
              <a:pathLst>
                <a:path w="248" h="226">
                  <a:moveTo>
                    <a:pt x="114" y="216"/>
                  </a:moveTo>
                  <a:lnTo>
                    <a:pt x="122" y="220"/>
                  </a:lnTo>
                  <a:lnTo>
                    <a:pt x="129" y="226"/>
                  </a:lnTo>
                  <a:lnTo>
                    <a:pt x="131" y="226"/>
                  </a:lnTo>
                  <a:lnTo>
                    <a:pt x="139" y="226"/>
                  </a:lnTo>
                  <a:lnTo>
                    <a:pt x="145" y="220"/>
                  </a:lnTo>
                  <a:lnTo>
                    <a:pt x="152" y="218"/>
                  </a:lnTo>
                  <a:lnTo>
                    <a:pt x="154" y="215"/>
                  </a:lnTo>
                  <a:lnTo>
                    <a:pt x="163" y="209"/>
                  </a:lnTo>
                  <a:lnTo>
                    <a:pt x="165" y="203"/>
                  </a:lnTo>
                  <a:lnTo>
                    <a:pt x="167" y="199"/>
                  </a:lnTo>
                  <a:lnTo>
                    <a:pt x="177" y="199"/>
                  </a:lnTo>
                  <a:lnTo>
                    <a:pt x="180" y="196"/>
                  </a:lnTo>
                  <a:lnTo>
                    <a:pt x="180" y="194"/>
                  </a:lnTo>
                  <a:lnTo>
                    <a:pt x="175" y="194"/>
                  </a:lnTo>
                  <a:lnTo>
                    <a:pt x="169" y="194"/>
                  </a:lnTo>
                  <a:lnTo>
                    <a:pt x="160" y="190"/>
                  </a:lnTo>
                  <a:lnTo>
                    <a:pt x="161" y="184"/>
                  </a:lnTo>
                  <a:lnTo>
                    <a:pt x="160" y="181"/>
                  </a:lnTo>
                  <a:lnTo>
                    <a:pt x="165" y="171"/>
                  </a:lnTo>
                  <a:lnTo>
                    <a:pt x="163" y="169"/>
                  </a:lnTo>
                  <a:lnTo>
                    <a:pt x="160" y="164"/>
                  </a:lnTo>
                  <a:lnTo>
                    <a:pt x="156" y="164"/>
                  </a:lnTo>
                  <a:lnTo>
                    <a:pt x="154" y="160"/>
                  </a:lnTo>
                  <a:lnTo>
                    <a:pt x="160" y="160"/>
                  </a:lnTo>
                  <a:lnTo>
                    <a:pt x="163" y="160"/>
                  </a:lnTo>
                  <a:lnTo>
                    <a:pt x="169" y="164"/>
                  </a:lnTo>
                  <a:lnTo>
                    <a:pt x="177" y="164"/>
                  </a:lnTo>
                  <a:lnTo>
                    <a:pt x="184" y="164"/>
                  </a:lnTo>
                  <a:lnTo>
                    <a:pt x="186" y="164"/>
                  </a:lnTo>
                  <a:lnTo>
                    <a:pt x="193" y="164"/>
                  </a:lnTo>
                  <a:lnTo>
                    <a:pt x="199" y="156"/>
                  </a:lnTo>
                  <a:lnTo>
                    <a:pt x="205" y="156"/>
                  </a:lnTo>
                  <a:lnTo>
                    <a:pt x="205" y="156"/>
                  </a:lnTo>
                  <a:lnTo>
                    <a:pt x="214" y="154"/>
                  </a:lnTo>
                  <a:lnTo>
                    <a:pt x="220" y="154"/>
                  </a:lnTo>
                  <a:lnTo>
                    <a:pt x="231" y="147"/>
                  </a:lnTo>
                  <a:lnTo>
                    <a:pt x="233" y="143"/>
                  </a:lnTo>
                  <a:lnTo>
                    <a:pt x="233" y="139"/>
                  </a:lnTo>
                  <a:lnTo>
                    <a:pt x="225" y="132"/>
                  </a:lnTo>
                  <a:lnTo>
                    <a:pt x="220" y="126"/>
                  </a:lnTo>
                  <a:lnTo>
                    <a:pt x="218" y="120"/>
                  </a:lnTo>
                  <a:lnTo>
                    <a:pt x="222" y="118"/>
                  </a:lnTo>
                  <a:lnTo>
                    <a:pt x="222" y="113"/>
                  </a:lnTo>
                  <a:lnTo>
                    <a:pt x="225" y="109"/>
                  </a:lnTo>
                  <a:lnTo>
                    <a:pt x="229" y="111"/>
                  </a:lnTo>
                  <a:lnTo>
                    <a:pt x="231" y="109"/>
                  </a:lnTo>
                  <a:lnTo>
                    <a:pt x="235" y="111"/>
                  </a:lnTo>
                  <a:lnTo>
                    <a:pt x="239" y="107"/>
                  </a:lnTo>
                  <a:lnTo>
                    <a:pt x="239" y="103"/>
                  </a:lnTo>
                  <a:lnTo>
                    <a:pt x="235" y="100"/>
                  </a:lnTo>
                  <a:lnTo>
                    <a:pt x="233" y="100"/>
                  </a:lnTo>
                  <a:lnTo>
                    <a:pt x="231" y="96"/>
                  </a:lnTo>
                  <a:lnTo>
                    <a:pt x="229" y="94"/>
                  </a:lnTo>
                  <a:lnTo>
                    <a:pt x="235" y="88"/>
                  </a:lnTo>
                  <a:lnTo>
                    <a:pt x="239" y="88"/>
                  </a:lnTo>
                  <a:lnTo>
                    <a:pt x="242" y="85"/>
                  </a:lnTo>
                  <a:lnTo>
                    <a:pt x="248" y="79"/>
                  </a:lnTo>
                  <a:lnTo>
                    <a:pt x="248" y="77"/>
                  </a:lnTo>
                  <a:lnTo>
                    <a:pt x="248" y="75"/>
                  </a:lnTo>
                  <a:lnTo>
                    <a:pt x="239" y="73"/>
                  </a:lnTo>
                  <a:lnTo>
                    <a:pt x="235" y="73"/>
                  </a:lnTo>
                  <a:lnTo>
                    <a:pt x="235" y="73"/>
                  </a:lnTo>
                  <a:lnTo>
                    <a:pt x="231" y="73"/>
                  </a:lnTo>
                  <a:lnTo>
                    <a:pt x="227" y="73"/>
                  </a:lnTo>
                  <a:lnTo>
                    <a:pt x="225" y="73"/>
                  </a:lnTo>
                  <a:lnTo>
                    <a:pt x="218" y="75"/>
                  </a:lnTo>
                  <a:lnTo>
                    <a:pt x="214" y="75"/>
                  </a:lnTo>
                  <a:lnTo>
                    <a:pt x="214" y="75"/>
                  </a:lnTo>
                  <a:lnTo>
                    <a:pt x="218" y="73"/>
                  </a:lnTo>
                  <a:lnTo>
                    <a:pt x="218" y="73"/>
                  </a:lnTo>
                  <a:lnTo>
                    <a:pt x="222" y="71"/>
                  </a:lnTo>
                  <a:lnTo>
                    <a:pt x="224" y="69"/>
                  </a:lnTo>
                  <a:lnTo>
                    <a:pt x="227" y="66"/>
                  </a:lnTo>
                  <a:lnTo>
                    <a:pt x="227" y="64"/>
                  </a:lnTo>
                  <a:lnTo>
                    <a:pt x="225" y="62"/>
                  </a:lnTo>
                  <a:lnTo>
                    <a:pt x="225" y="60"/>
                  </a:lnTo>
                  <a:lnTo>
                    <a:pt x="224" y="60"/>
                  </a:lnTo>
                  <a:lnTo>
                    <a:pt x="218" y="56"/>
                  </a:lnTo>
                  <a:lnTo>
                    <a:pt x="214" y="54"/>
                  </a:lnTo>
                  <a:lnTo>
                    <a:pt x="210" y="51"/>
                  </a:lnTo>
                  <a:lnTo>
                    <a:pt x="210" y="51"/>
                  </a:lnTo>
                  <a:lnTo>
                    <a:pt x="205" y="51"/>
                  </a:lnTo>
                  <a:lnTo>
                    <a:pt x="205" y="49"/>
                  </a:lnTo>
                  <a:lnTo>
                    <a:pt x="201" y="47"/>
                  </a:lnTo>
                  <a:lnTo>
                    <a:pt x="199" y="47"/>
                  </a:lnTo>
                  <a:lnTo>
                    <a:pt x="199" y="51"/>
                  </a:lnTo>
                  <a:lnTo>
                    <a:pt x="195" y="47"/>
                  </a:lnTo>
                  <a:lnTo>
                    <a:pt x="195" y="43"/>
                  </a:lnTo>
                  <a:lnTo>
                    <a:pt x="190" y="41"/>
                  </a:lnTo>
                  <a:lnTo>
                    <a:pt x="190" y="39"/>
                  </a:lnTo>
                  <a:lnTo>
                    <a:pt x="193" y="37"/>
                  </a:lnTo>
                  <a:lnTo>
                    <a:pt x="201" y="37"/>
                  </a:lnTo>
                  <a:lnTo>
                    <a:pt x="203" y="36"/>
                  </a:lnTo>
                  <a:lnTo>
                    <a:pt x="209" y="36"/>
                  </a:lnTo>
                  <a:lnTo>
                    <a:pt x="210" y="32"/>
                  </a:lnTo>
                  <a:lnTo>
                    <a:pt x="205" y="34"/>
                  </a:lnTo>
                  <a:lnTo>
                    <a:pt x="195" y="32"/>
                  </a:lnTo>
                  <a:lnTo>
                    <a:pt x="190" y="32"/>
                  </a:lnTo>
                  <a:lnTo>
                    <a:pt x="186" y="32"/>
                  </a:lnTo>
                  <a:lnTo>
                    <a:pt x="178" y="36"/>
                  </a:lnTo>
                  <a:lnTo>
                    <a:pt x="175" y="34"/>
                  </a:lnTo>
                  <a:lnTo>
                    <a:pt x="171" y="34"/>
                  </a:lnTo>
                  <a:lnTo>
                    <a:pt x="165" y="39"/>
                  </a:lnTo>
                  <a:lnTo>
                    <a:pt x="161" y="39"/>
                  </a:lnTo>
                  <a:lnTo>
                    <a:pt x="156" y="43"/>
                  </a:lnTo>
                  <a:lnTo>
                    <a:pt x="156" y="45"/>
                  </a:lnTo>
                  <a:lnTo>
                    <a:pt x="150" y="45"/>
                  </a:lnTo>
                  <a:lnTo>
                    <a:pt x="148" y="47"/>
                  </a:lnTo>
                  <a:lnTo>
                    <a:pt x="146" y="45"/>
                  </a:lnTo>
                  <a:lnTo>
                    <a:pt x="137" y="39"/>
                  </a:lnTo>
                  <a:lnTo>
                    <a:pt x="135" y="36"/>
                  </a:lnTo>
                  <a:lnTo>
                    <a:pt x="135" y="36"/>
                  </a:lnTo>
                  <a:lnTo>
                    <a:pt x="126" y="36"/>
                  </a:lnTo>
                  <a:lnTo>
                    <a:pt x="107" y="39"/>
                  </a:lnTo>
                  <a:lnTo>
                    <a:pt x="99" y="39"/>
                  </a:lnTo>
                  <a:lnTo>
                    <a:pt x="96" y="37"/>
                  </a:lnTo>
                  <a:lnTo>
                    <a:pt x="94" y="36"/>
                  </a:lnTo>
                  <a:lnTo>
                    <a:pt x="94" y="32"/>
                  </a:lnTo>
                  <a:lnTo>
                    <a:pt x="97" y="32"/>
                  </a:lnTo>
                  <a:lnTo>
                    <a:pt x="96" y="30"/>
                  </a:lnTo>
                  <a:lnTo>
                    <a:pt x="92" y="24"/>
                  </a:lnTo>
                  <a:lnTo>
                    <a:pt x="88" y="20"/>
                  </a:lnTo>
                  <a:lnTo>
                    <a:pt x="81" y="24"/>
                  </a:lnTo>
                  <a:lnTo>
                    <a:pt x="77" y="20"/>
                  </a:lnTo>
                  <a:lnTo>
                    <a:pt x="73" y="20"/>
                  </a:lnTo>
                  <a:lnTo>
                    <a:pt x="71" y="20"/>
                  </a:lnTo>
                  <a:lnTo>
                    <a:pt x="67" y="17"/>
                  </a:lnTo>
                  <a:lnTo>
                    <a:pt x="67" y="11"/>
                  </a:lnTo>
                  <a:lnTo>
                    <a:pt x="67" y="5"/>
                  </a:lnTo>
                  <a:lnTo>
                    <a:pt x="65" y="4"/>
                  </a:lnTo>
                  <a:lnTo>
                    <a:pt x="60" y="5"/>
                  </a:lnTo>
                  <a:lnTo>
                    <a:pt x="56" y="13"/>
                  </a:lnTo>
                  <a:lnTo>
                    <a:pt x="56" y="17"/>
                  </a:lnTo>
                  <a:lnTo>
                    <a:pt x="56" y="19"/>
                  </a:lnTo>
                  <a:lnTo>
                    <a:pt x="60" y="17"/>
                  </a:lnTo>
                  <a:lnTo>
                    <a:pt x="64" y="17"/>
                  </a:lnTo>
                  <a:lnTo>
                    <a:pt x="67" y="20"/>
                  </a:lnTo>
                  <a:lnTo>
                    <a:pt x="67" y="20"/>
                  </a:lnTo>
                  <a:lnTo>
                    <a:pt x="64" y="24"/>
                  </a:lnTo>
                  <a:lnTo>
                    <a:pt x="60" y="20"/>
                  </a:lnTo>
                  <a:lnTo>
                    <a:pt x="58" y="20"/>
                  </a:lnTo>
                  <a:lnTo>
                    <a:pt x="56" y="20"/>
                  </a:lnTo>
                  <a:lnTo>
                    <a:pt x="56" y="24"/>
                  </a:lnTo>
                  <a:lnTo>
                    <a:pt x="52" y="26"/>
                  </a:lnTo>
                  <a:lnTo>
                    <a:pt x="43" y="26"/>
                  </a:lnTo>
                  <a:lnTo>
                    <a:pt x="37" y="30"/>
                  </a:lnTo>
                  <a:lnTo>
                    <a:pt x="33" y="32"/>
                  </a:lnTo>
                  <a:lnTo>
                    <a:pt x="33" y="36"/>
                  </a:lnTo>
                  <a:lnTo>
                    <a:pt x="35" y="39"/>
                  </a:lnTo>
                  <a:lnTo>
                    <a:pt x="35" y="49"/>
                  </a:lnTo>
                  <a:lnTo>
                    <a:pt x="37" y="51"/>
                  </a:lnTo>
                  <a:lnTo>
                    <a:pt x="39" y="56"/>
                  </a:lnTo>
                  <a:lnTo>
                    <a:pt x="35" y="62"/>
                  </a:lnTo>
                  <a:lnTo>
                    <a:pt x="30" y="66"/>
                  </a:lnTo>
                  <a:lnTo>
                    <a:pt x="26" y="66"/>
                  </a:lnTo>
                  <a:lnTo>
                    <a:pt x="26" y="60"/>
                  </a:lnTo>
                  <a:lnTo>
                    <a:pt x="22" y="56"/>
                  </a:lnTo>
                  <a:lnTo>
                    <a:pt x="22" y="51"/>
                  </a:lnTo>
                  <a:lnTo>
                    <a:pt x="24" y="51"/>
                  </a:lnTo>
                  <a:lnTo>
                    <a:pt x="24" y="47"/>
                  </a:lnTo>
                  <a:lnTo>
                    <a:pt x="32" y="39"/>
                  </a:lnTo>
                  <a:lnTo>
                    <a:pt x="32" y="34"/>
                  </a:lnTo>
                  <a:lnTo>
                    <a:pt x="30" y="30"/>
                  </a:lnTo>
                  <a:lnTo>
                    <a:pt x="30" y="30"/>
                  </a:lnTo>
                  <a:lnTo>
                    <a:pt x="30" y="26"/>
                  </a:lnTo>
                  <a:lnTo>
                    <a:pt x="26" y="26"/>
                  </a:lnTo>
                  <a:lnTo>
                    <a:pt x="24" y="20"/>
                  </a:lnTo>
                  <a:lnTo>
                    <a:pt x="26" y="19"/>
                  </a:lnTo>
                  <a:lnTo>
                    <a:pt x="30" y="17"/>
                  </a:lnTo>
                  <a:lnTo>
                    <a:pt x="35" y="17"/>
                  </a:lnTo>
                  <a:lnTo>
                    <a:pt x="39" y="11"/>
                  </a:lnTo>
                  <a:lnTo>
                    <a:pt x="37" y="11"/>
                  </a:lnTo>
                  <a:lnTo>
                    <a:pt x="35" y="13"/>
                  </a:lnTo>
                  <a:lnTo>
                    <a:pt x="26" y="17"/>
                  </a:lnTo>
                  <a:lnTo>
                    <a:pt x="22" y="24"/>
                  </a:lnTo>
                  <a:lnTo>
                    <a:pt x="18" y="26"/>
                  </a:lnTo>
                  <a:lnTo>
                    <a:pt x="17" y="26"/>
                  </a:lnTo>
                  <a:lnTo>
                    <a:pt x="13" y="32"/>
                  </a:lnTo>
                  <a:lnTo>
                    <a:pt x="11" y="34"/>
                  </a:lnTo>
                  <a:lnTo>
                    <a:pt x="5" y="43"/>
                  </a:lnTo>
                  <a:lnTo>
                    <a:pt x="3" y="47"/>
                  </a:lnTo>
                  <a:lnTo>
                    <a:pt x="5" y="51"/>
                  </a:lnTo>
                  <a:lnTo>
                    <a:pt x="3" y="56"/>
                  </a:lnTo>
                  <a:lnTo>
                    <a:pt x="1" y="60"/>
                  </a:lnTo>
                  <a:lnTo>
                    <a:pt x="0" y="64"/>
                  </a:lnTo>
                  <a:lnTo>
                    <a:pt x="3" y="62"/>
                  </a:lnTo>
                  <a:lnTo>
                    <a:pt x="7" y="62"/>
                  </a:lnTo>
                  <a:lnTo>
                    <a:pt x="13" y="77"/>
                  </a:lnTo>
                  <a:lnTo>
                    <a:pt x="18" y="83"/>
                  </a:lnTo>
                  <a:lnTo>
                    <a:pt x="18" y="86"/>
                  </a:lnTo>
                  <a:lnTo>
                    <a:pt x="17" y="90"/>
                  </a:lnTo>
                  <a:lnTo>
                    <a:pt x="17" y="94"/>
                  </a:lnTo>
                  <a:lnTo>
                    <a:pt x="17" y="94"/>
                  </a:lnTo>
                  <a:lnTo>
                    <a:pt x="17" y="96"/>
                  </a:lnTo>
                  <a:lnTo>
                    <a:pt x="18" y="100"/>
                  </a:lnTo>
                  <a:lnTo>
                    <a:pt x="24" y="101"/>
                  </a:lnTo>
                  <a:lnTo>
                    <a:pt x="28" y="103"/>
                  </a:lnTo>
                  <a:lnTo>
                    <a:pt x="32" y="105"/>
                  </a:lnTo>
                  <a:lnTo>
                    <a:pt x="35" y="103"/>
                  </a:lnTo>
                  <a:lnTo>
                    <a:pt x="39" y="103"/>
                  </a:lnTo>
                  <a:lnTo>
                    <a:pt x="43" y="105"/>
                  </a:lnTo>
                  <a:lnTo>
                    <a:pt x="47" y="103"/>
                  </a:lnTo>
                  <a:lnTo>
                    <a:pt x="50" y="103"/>
                  </a:lnTo>
                  <a:lnTo>
                    <a:pt x="56" y="103"/>
                  </a:lnTo>
                  <a:lnTo>
                    <a:pt x="60" y="105"/>
                  </a:lnTo>
                  <a:lnTo>
                    <a:pt x="73" y="120"/>
                  </a:lnTo>
                  <a:lnTo>
                    <a:pt x="81" y="118"/>
                  </a:lnTo>
                  <a:lnTo>
                    <a:pt x="81" y="120"/>
                  </a:lnTo>
                  <a:lnTo>
                    <a:pt x="81" y="120"/>
                  </a:lnTo>
                  <a:lnTo>
                    <a:pt x="84" y="120"/>
                  </a:lnTo>
                  <a:lnTo>
                    <a:pt x="88" y="120"/>
                  </a:lnTo>
                  <a:lnTo>
                    <a:pt x="92" y="120"/>
                  </a:lnTo>
                  <a:lnTo>
                    <a:pt x="96" y="120"/>
                  </a:lnTo>
                  <a:lnTo>
                    <a:pt x="101" y="120"/>
                  </a:lnTo>
                  <a:lnTo>
                    <a:pt x="101" y="118"/>
                  </a:lnTo>
                  <a:lnTo>
                    <a:pt x="105" y="118"/>
                  </a:lnTo>
                  <a:lnTo>
                    <a:pt x="107" y="120"/>
                  </a:lnTo>
                  <a:lnTo>
                    <a:pt x="107" y="126"/>
                  </a:lnTo>
                  <a:lnTo>
                    <a:pt x="107" y="130"/>
                  </a:lnTo>
                  <a:lnTo>
                    <a:pt x="107" y="134"/>
                  </a:lnTo>
                  <a:lnTo>
                    <a:pt x="105" y="135"/>
                  </a:lnTo>
                  <a:lnTo>
                    <a:pt x="101" y="139"/>
                  </a:lnTo>
                  <a:lnTo>
                    <a:pt x="99" y="139"/>
                  </a:lnTo>
                  <a:lnTo>
                    <a:pt x="101" y="147"/>
                  </a:lnTo>
                  <a:lnTo>
                    <a:pt x="101" y="149"/>
                  </a:lnTo>
                  <a:lnTo>
                    <a:pt x="99" y="154"/>
                  </a:lnTo>
                  <a:lnTo>
                    <a:pt x="99" y="160"/>
                  </a:lnTo>
                  <a:lnTo>
                    <a:pt x="101" y="164"/>
                  </a:lnTo>
                  <a:lnTo>
                    <a:pt x="101" y="164"/>
                  </a:lnTo>
                  <a:lnTo>
                    <a:pt x="105" y="175"/>
                  </a:lnTo>
                  <a:lnTo>
                    <a:pt x="99" y="186"/>
                  </a:lnTo>
                  <a:lnTo>
                    <a:pt x="101" y="190"/>
                  </a:lnTo>
                  <a:lnTo>
                    <a:pt x="101" y="190"/>
                  </a:lnTo>
                  <a:lnTo>
                    <a:pt x="105" y="188"/>
                  </a:lnTo>
                  <a:lnTo>
                    <a:pt x="105" y="190"/>
                  </a:lnTo>
                  <a:lnTo>
                    <a:pt x="105" y="190"/>
                  </a:lnTo>
                  <a:lnTo>
                    <a:pt x="107" y="194"/>
                  </a:lnTo>
                  <a:lnTo>
                    <a:pt x="109" y="196"/>
                  </a:lnTo>
                  <a:lnTo>
                    <a:pt x="107" y="199"/>
                  </a:lnTo>
                  <a:lnTo>
                    <a:pt x="109" y="203"/>
                  </a:lnTo>
                  <a:lnTo>
                    <a:pt x="114" y="213"/>
                  </a:lnTo>
                  <a:lnTo>
                    <a:pt x="114" y="216"/>
                  </a:lnTo>
                  <a:lnTo>
                    <a:pt x="114" y="216"/>
                  </a:lnTo>
                  <a:lnTo>
                    <a:pt x="114" y="216"/>
                  </a:lnTo>
                  <a:lnTo>
                    <a:pt x="114" y="216"/>
                  </a:lnTo>
                  <a:lnTo>
                    <a:pt x="114" y="216"/>
                  </a:lnTo>
                  <a:close/>
                  <a:moveTo>
                    <a:pt x="90" y="4"/>
                  </a:moveTo>
                  <a:lnTo>
                    <a:pt x="94" y="4"/>
                  </a:lnTo>
                  <a:lnTo>
                    <a:pt x="97" y="7"/>
                  </a:lnTo>
                  <a:lnTo>
                    <a:pt x="96" y="9"/>
                  </a:lnTo>
                  <a:lnTo>
                    <a:pt x="94" y="7"/>
                  </a:lnTo>
                  <a:lnTo>
                    <a:pt x="92" y="5"/>
                  </a:lnTo>
                  <a:lnTo>
                    <a:pt x="90" y="4"/>
                  </a:lnTo>
                  <a:lnTo>
                    <a:pt x="90" y="4"/>
                  </a:lnTo>
                  <a:lnTo>
                    <a:pt x="90" y="4"/>
                  </a:lnTo>
                  <a:lnTo>
                    <a:pt x="90" y="4"/>
                  </a:lnTo>
                  <a:close/>
                  <a:moveTo>
                    <a:pt x="77" y="2"/>
                  </a:moveTo>
                  <a:lnTo>
                    <a:pt x="81" y="5"/>
                  </a:lnTo>
                  <a:lnTo>
                    <a:pt x="84" y="5"/>
                  </a:lnTo>
                  <a:lnTo>
                    <a:pt x="82" y="7"/>
                  </a:lnTo>
                  <a:lnTo>
                    <a:pt x="77" y="7"/>
                  </a:lnTo>
                  <a:lnTo>
                    <a:pt x="77" y="4"/>
                  </a:lnTo>
                  <a:lnTo>
                    <a:pt x="77" y="2"/>
                  </a:lnTo>
                  <a:lnTo>
                    <a:pt x="77" y="2"/>
                  </a:lnTo>
                  <a:lnTo>
                    <a:pt x="77" y="2"/>
                  </a:lnTo>
                  <a:lnTo>
                    <a:pt x="77" y="2"/>
                  </a:lnTo>
                  <a:close/>
                  <a:moveTo>
                    <a:pt x="60" y="0"/>
                  </a:moveTo>
                  <a:lnTo>
                    <a:pt x="62" y="0"/>
                  </a:lnTo>
                  <a:lnTo>
                    <a:pt x="65" y="0"/>
                  </a:lnTo>
                  <a:lnTo>
                    <a:pt x="62" y="0"/>
                  </a:lnTo>
                  <a:lnTo>
                    <a:pt x="60" y="0"/>
                  </a:lnTo>
                  <a:lnTo>
                    <a:pt x="60" y="0"/>
                  </a:lnTo>
                  <a:lnTo>
                    <a:pt x="60" y="0"/>
                  </a:lnTo>
                  <a:lnTo>
                    <a:pt x="60" y="0"/>
                  </a:lnTo>
                  <a:close/>
                  <a:moveTo>
                    <a:pt x="163" y="30"/>
                  </a:moveTo>
                  <a:lnTo>
                    <a:pt x="167" y="26"/>
                  </a:lnTo>
                  <a:lnTo>
                    <a:pt x="169" y="30"/>
                  </a:lnTo>
                  <a:lnTo>
                    <a:pt x="175" y="26"/>
                  </a:lnTo>
                  <a:lnTo>
                    <a:pt x="177" y="26"/>
                  </a:lnTo>
                  <a:lnTo>
                    <a:pt x="173" y="30"/>
                  </a:lnTo>
                  <a:lnTo>
                    <a:pt x="169" y="30"/>
                  </a:lnTo>
                  <a:lnTo>
                    <a:pt x="165" y="30"/>
                  </a:lnTo>
                  <a:lnTo>
                    <a:pt x="165" y="30"/>
                  </a:lnTo>
                  <a:lnTo>
                    <a:pt x="163" y="30"/>
                  </a:lnTo>
                  <a:lnTo>
                    <a:pt x="163" y="30"/>
                  </a:lnTo>
                  <a:lnTo>
                    <a:pt x="163" y="30"/>
                  </a:lnTo>
                  <a:lnTo>
                    <a:pt x="163" y="3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1" name="Freeform 174">
              <a:extLst>
                <a:ext uri="{FF2B5EF4-FFF2-40B4-BE49-F238E27FC236}">
                  <a16:creationId xmlns:a16="http://schemas.microsoft.com/office/drawing/2014/main" id="{49F8E1AB-7FCA-4DCB-8D2F-F9207EDFC9A0}"/>
                </a:ext>
              </a:extLst>
            </p:cNvPr>
            <p:cNvSpPr>
              <a:spLocks noEditPoints="1"/>
            </p:cNvSpPr>
            <p:nvPr/>
          </p:nvSpPr>
          <p:spPr bwMode="auto">
            <a:xfrm>
              <a:off x="1298" y="3077"/>
              <a:ext cx="111" cy="120"/>
            </a:xfrm>
            <a:custGeom>
              <a:avLst/>
              <a:gdLst/>
              <a:ahLst/>
              <a:cxnLst>
                <a:cxn ang="0">
                  <a:pos x="105" y="28"/>
                </a:cxn>
                <a:cxn ang="0">
                  <a:pos x="101" y="24"/>
                </a:cxn>
                <a:cxn ang="0">
                  <a:pos x="96" y="20"/>
                </a:cxn>
                <a:cxn ang="0">
                  <a:pos x="90" y="22"/>
                </a:cxn>
                <a:cxn ang="0">
                  <a:pos x="86" y="28"/>
                </a:cxn>
                <a:cxn ang="0">
                  <a:pos x="79" y="24"/>
                </a:cxn>
                <a:cxn ang="0">
                  <a:pos x="67" y="20"/>
                </a:cxn>
                <a:cxn ang="0">
                  <a:pos x="67" y="15"/>
                </a:cxn>
                <a:cxn ang="0">
                  <a:pos x="58" y="11"/>
                </a:cxn>
                <a:cxn ang="0">
                  <a:pos x="45" y="2"/>
                </a:cxn>
                <a:cxn ang="0">
                  <a:pos x="39" y="5"/>
                </a:cxn>
                <a:cxn ang="0">
                  <a:pos x="26" y="9"/>
                </a:cxn>
                <a:cxn ang="0">
                  <a:pos x="15" y="13"/>
                </a:cxn>
                <a:cxn ang="0">
                  <a:pos x="16" y="20"/>
                </a:cxn>
                <a:cxn ang="0">
                  <a:pos x="16" y="28"/>
                </a:cxn>
                <a:cxn ang="0">
                  <a:pos x="11" y="37"/>
                </a:cxn>
                <a:cxn ang="0">
                  <a:pos x="7" y="45"/>
                </a:cxn>
                <a:cxn ang="0">
                  <a:pos x="1" y="51"/>
                </a:cxn>
                <a:cxn ang="0">
                  <a:pos x="3" y="58"/>
                </a:cxn>
                <a:cxn ang="0">
                  <a:pos x="3" y="68"/>
                </a:cxn>
                <a:cxn ang="0">
                  <a:pos x="0" y="71"/>
                </a:cxn>
                <a:cxn ang="0">
                  <a:pos x="7" y="77"/>
                </a:cxn>
                <a:cxn ang="0">
                  <a:pos x="13" y="81"/>
                </a:cxn>
                <a:cxn ang="0">
                  <a:pos x="16" y="77"/>
                </a:cxn>
                <a:cxn ang="0">
                  <a:pos x="20" y="71"/>
                </a:cxn>
                <a:cxn ang="0">
                  <a:pos x="20" y="77"/>
                </a:cxn>
                <a:cxn ang="0">
                  <a:pos x="20" y="71"/>
                </a:cxn>
                <a:cxn ang="0">
                  <a:pos x="22" y="77"/>
                </a:cxn>
                <a:cxn ang="0">
                  <a:pos x="22" y="86"/>
                </a:cxn>
                <a:cxn ang="0">
                  <a:pos x="16" y="96"/>
                </a:cxn>
                <a:cxn ang="0">
                  <a:pos x="20" y="101"/>
                </a:cxn>
                <a:cxn ang="0">
                  <a:pos x="13" y="107"/>
                </a:cxn>
                <a:cxn ang="0">
                  <a:pos x="16" y="111"/>
                </a:cxn>
                <a:cxn ang="0">
                  <a:pos x="22" y="113"/>
                </a:cxn>
                <a:cxn ang="0">
                  <a:pos x="32" y="115"/>
                </a:cxn>
                <a:cxn ang="0">
                  <a:pos x="39" y="120"/>
                </a:cxn>
                <a:cxn ang="0">
                  <a:pos x="56" y="90"/>
                </a:cxn>
                <a:cxn ang="0">
                  <a:pos x="80" y="81"/>
                </a:cxn>
                <a:cxn ang="0">
                  <a:pos x="99" y="62"/>
                </a:cxn>
                <a:cxn ang="0">
                  <a:pos x="109" y="51"/>
                </a:cxn>
                <a:cxn ang="0">
                  <a:pos x="111" y="45"/>
                </a:cxn>
                <a:cxn ang="0">
                  <a:pos x="107" y="32"/>
                </a:cxn>
                <a:cxn ang="0">
                  <a:pos x="105" y="28"/>
                </a:cxn>
                <a:cxn ang="0">
                  <a:pos x="105" y="28"/>
                </a:cxn>
                <a:cxn ang="0">
                  <a:pos x="105" y="28"/>
                </a:cxn>
                <a:cxn ang="0">
                  <a:pos x="13" y="86"/>
                </a:cxn>
                <a:cxn ang="0">
                  <a:pos x="16" y="81"/>
                </a:cxn>
                <a:cxn ang="0">
                  <a:pos x="16" y="83"/>
                </a:cxn>
                <a:cxn ang="0">
                  <a:pos x="16" y="90"/>
                </a:cxn>
                <a:cxn ang="0">
                  <a:pos x="15" y="90"/>
                </a:cxn>
                <a:cxn ang="0">
                  <a:pos x="15" y="90"/>
                </a:cxn>
              </a:cxnLst>
              <a:rect l="0" t="0" r="r" b="b"/>
              <a:pathLst>
                <a:path w="111" h="120">
                  <a:moveTo>
                    <a:pt x="105" y="28"/>
                  </a:moveTo>
                  <a:lnTo>
                    <a:pt x="105" y="28"/>
                  </a:lnTo>
                  <a:lnTo>
                    <a:pt x="103" y="26"/>
                  </a:lnTo>
                  <a:lnTo>
                    <a:pt x="101" y="24"/>
                  </a:lnTo>
                  <a:lnTo>
                    <a:pt x="99" y="22"/>
                  </a:lnTo>
                  <a:lnTo>
                    <a:pt x="96" y="20"/>
                  </a:lnTo>
                  <a:lnTo>
                    <a:pt x="92" y="19"/>
                  </a:lnTo>
                  <a:lnTo>
                    <a:pt x="90" y="22"/>
                  </a:lnTo>
                  <a:lnTo>
                    <a:pt x="90" y="26"/>
                  </a:lnTo>
                  <a:lnTo>
                    <a:pt x="86" y="28"/>
                  </a:lnTo>
                  <a:lnTo>
                    <a:pt x="82" y="26"/>
                  </a:lnTo>
                  <a:lnTo>
                    <a:pt x="79" y="24"/>
                  </a:lnTo>
                  <a:lnTo>
                    <a:pt x="73" y="22"/>
                  </a:lnTo>
                  <a:lnTo>
                    <a:pt x="67" y="20"/>
                  </a:lnTo>
                  <a:lnTo>
                    <a:pt x="65" y="19"/>
                  </a:lnTo>
                  <a:lnTo>
                    <a:pt x="67" y="15"/>
                  </a:lnTo>
                  <a:lnTo>
                    <a:pt x="62" y="11"/>
                  </a:lnTo>
                  <a:lnTo>
                    <a:pt x="58" y="11"/>
                  </a:lnTo>
                  <a:lnTo>
                    <a:pt x="52" y="5"/>
                  </a:lnTo>
                  <a:lnTo>
                    <a:pt x="45" y="2"/>
                  </a:lnTo>
                  <a:lnTo>
                    <a:pt x="39" y="0"/>
                  </a:lnTo>
                  <a:lnTo>
                    <a:pt x="39" y="5"/>
                  </a:lnTo>
                  <a:lnTo>
                    <a:pt x="32" y="5"/>
                  </a:lnTo>
                  <a:lnTo>
                    <a:pt x="26" y="9"/>
                  </a:lnTo>
                  <a:lnTo>
                    <a:pt x="20" y="9"/>
                  </a:lnTo>
                  <a:lnTo>
                    <a:pt x="15" y="13"/>
                  </a:lnTo>
                  <a:lnTo>
                    <a:pt x="16" y="17"/>
                  </a:lnTo>
                  <a:lnTo>
                    <a:pt x="16" y="20"/>
                  </a:lnTo>
                  <a:lnTo>
                    <a:pt x="20" y="22"/>
                  </a:lnTo>
                  <a:lnTo>
                    <a:pt x="16" y="28"/>
                  </a:lnTo>
                  <a:lnTo>
                    <a:pt x="11" y="36"/>
                  </a:lnTo>
                  <a:lnTo>
                    <a:pt x="11" y="37"/>
                  </a:lnTo>
                  <a:lnTo>
                    <a:pt x="13" y="41"/>
                  </a:lnTo>
                  <a:lnTo>
                    <a:pt x="7" y="45"/>
                  </a:lnTo>
                  <a:lnTo>
                    <a:pt x="3" y="47"/>
                  </a:lnTo>
                  <a:lnTo>
                    <a:pt x="1" y="51"/>
                  </a:lnTo>
                  <a:lnTo>
                    <a:pt x="1" y="54"/>
                  </a:lnTo>
                  <a:lnTo>
                    <a:pt x="3" y="58"/>
                  </a:lnTo>
                  <a:lnTo>
                    <a:pt x="3" y="62"/>
                  </a:lnTo>
                  <a:lnTo>
                    <a:pt x="3" y="68"/>
                  </a:lnTo>
                  <a:lnTo>
                    <a:pt x="1" y="71"/>
                  </a:lnTo>
                  <a:lnTo>
                    <a:pt x="0" y="71"/>
                  </a:lnTo>
                  <a:lnTo>
                    <a:pt x="1" y="75"/>
                  </a:lnTo>
                  <a:lnTo>
                    <a:pt x="7" y="77"/>
                  </a:lnTo>
                  <a:lnTo>
                    <a:pt x="11" y="81"/>
                  </a:lnTo>
                  <a:lnTo>
                    <a:pt x="13" y="81"/>
                  </a:lnTo>
                  <a:lnTo>
                    <a:pt x="15" y="81"/>
                  </a:lnTo>
                  <a:lnTo>
                    <a:pt x="16" y="77"/>
                  </a:lnTo>
                  <a:lnTo>
                    <a:pt x="16" y="75"/>
                  </a:lnTo>
                  <a:lnTo>
                    <a:pt x="20" y="71"/>
                  </a:lnTo>
                  <a:lnTo>
                    <a:pt x="20" y="75"/>
                  </a:lnTo>
                  <a:lnTo>
                    <a:pt x="20" y="77"/>
                  </a:lnTo>
                  <a:lnTo>
                    <a:pt x="20" y="77"/>
                  </a:lnTo>
                  <a:lnTo>
                    <a:pt x="20" y="71"/>
                  </a:lnTo>
                  <a:lnTo>
                    <a:pt x="22" y="71"/>
                  </a:lnTo>
                  <a:lnTo>
                    <a:pt x="22" y="77"/>
                  </a:lnTo>
                  <a:lnTo>
                    <a:pt x="22" y="83"/>
                  </a:lnTo>
                  <a:lnTo>
                    <a:pt x="22" y="86"/>
                  </a:lnTo>
                  <a:lnTo>
                    <a:pt x="20" y="90"/>
                  </a:lnTo>
                  <a:lnTo>
                    <a:pt x="16" y="96"/>
                  </a:lnTo>
                  <a:lnTo>
                    <a:pt x="16" y="96"/>
                  </a:lnTo>
                  <a:lnTo>
                    <a:pt x="20" y="101"/>
                  </a:lnTo>
                  <a:lnTo>
                    <a:pt x="16" y="103"/>
                  </a:lnTo>
                  <a:lnTo>
                    <a:pt x="13" y="107"/>
                  </a:lnTo>
                  <a:lnTo>
                    <a:pt x="15" y="111"/>
                  </a:lnTo>
                  <a:lnTo>
                    <a:pt x="16" y="111"/>
                  </a:lnTo>
                  <a:lnTo>
                    <a:pt x="20" y="107"/>
                  </a:lnTo>
                  <a:lnTo>
                    <a:pt x="22" y="113"/>
                  </a:lnTo>
                  <a:lnTo>
                    <a:pt x="28" y="113"/>
                  </a:lnTo>
                  <a:lnTo>
                    <a:pt x="32" y="115"/>
                  </a:lnTo>
                  <a:lnTo>
                    <a:pt x="37" y="120"/>
                  </a:lnTo>
                  <a:lnTo>
                    <a:pt x="39" y="120"/>
                  </a:lnTo>
                  <a:lnTo>
                    <a:pt x="43" y="117"/>
                  </a:lnTo>
                  <a:lnTo>
                    <a:pt x="56" y="90"/>
                  </a:lnTo>
                  <a:lnTo>
                    <a:pt x="60" y="85"/>
                  </a:lnTo>
                  <a:lnTo>
                    <a:pt x="80" y="81"/>
                  </a:lnTo>
                  <a:lnTo>
                    <a:pt x="86" y="71"/>
                  </a:lnTo>
                  <a:lnTo>
                    <a:pt x="99" y="62"/>
                  </a:lnTo>
                  <a:lnTo>
                    <a:pt x="105" y="51"/>
                  </a:lnTo>
                  <a:lnTo>
                    <a:pt x="109" y="51"/>
                  </a:lnTo>
                  <a:lnTo>
                    <a:pt x="111" y="47"/>
                  </a:lnTo>
                  <a:lnTo>
                    <a:pt x="111" y="45"/>
                  </a:lnTo>
                  <a:lnTo>
                    <a:pt x="111" y="41"/>
                  </a:lnTo>
                  <a:lnTo>
                    <a:pt x="107" y="32"/>
                  </a:lnTo>
                  <a:lnTo>
                    <a:pt x="107" y="30"/>
                  </a:lnTo>
                  <a:lnTo>
                    <a:pt x="105" y="28"/>
                  </a:lnTo>
                  <a:lnTo>
                    <a:pt x="105" y="28"/>
                  </a:lnTo>
                  <a:lnTo>
                    <a:pt x="105" y="28"/>
                  </a:lnTo>
                  <a:lnTo>
                    <a:pt x="105" y="28"/>
                  </a:lnTo>
                  <a:lnTo>
                    <a:pt x="105" y="28"/>
                  </a:lnTo>
                  <a:close/>
                  <a:moveTo>
                    <a:pt x="15" y="90"/>
                  </a:moveTo>
                  <a:lnTo>
                    <a:pt x="13" y="86"/>
                  </a:lnTo>
                  <a:lnTo>
                    <a:pt x="16" y="83"/>
                  </a:lnTo>
                  <a:lnTo>
                    <a:pt x="16" y="81"/>
                  </a:lnTo>
                  <a:lnTo>
                    <a:pt x="20" y="81"/>
                  </a:lnTo>
                  <a:lnTo>
                    <a:pt x="16" y="83"/>
                  </a:lnTo>
                  <a:lnTo>
                    <a:pt x="16" y="86"/>
                  </a:lnTo>
                  <a:lnTo>
                    <a:pt x="16" y="90"/>
                  </a:lnTo>
                  <a:lnTo>
                    <a:pt x="15" y="90"/>
                  </a:lnTo>
                  <a:lnTo>
                    <a:pt x="15" y="90"/>
                  </a:lnTo>
                  <a:lnTo>
                    <a:pt x="15" y="90"/>
                  </a:lnTo>
                  <a:lnTo>
                    <a:pt x="15" y="9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2" name="Freeform 175">
              <a:extLst>
                <a:ext uri="{FF2B5EF4-FFF2-40B4-BE49-F238E27FC236}">
                  <a16:creationId xmlns:a16="http://schemas.microsoft.com/office/drawing/2014/main" id="{F76C412E-DBC8-4B17-8ABE-7ACDFAAC3CFE}"/>
                </a:ext>
              </a:extLst>
            </p:cNvPr>
            <p:cNvSpPr>
              <a:spLocks/>
            </p:cNvSpPr>
            <p:nvPr/>
          </p:nvSpPr>
          <p:spPr bwMode="auto">
            <a:xfrm>
              <a:off x="1292" y="3103"/>
              <a:ext cx="239" cy="354"/>
            </a:xfrm>
            <a:custGeom>
              <a:avLst/>
              <a:gdLst/>
              <a:ahLst/>
              <a:cxnLst>
                <a:cxn ang="0">
                  <a:pos x="218" y="207"/>
                </a:cxn>
                <a:cxn ang="0">
                  <a:pos x="203" y="207"/>
                </a:cxn>
                <a:cxn ang="0">
                  <a:pos x="205" y="185"/>
                </a:cxn>
                <a:cxn ang="0">
                  <a:pos x="188" y="188"/>
                </a:cxn>
                <a:cxn ang="0">
                  <a:pos x="166" y="177"/>
                </a:cxn>
                <a:cxn ang="0">
                  <a:pos x="145" y="156"/>
                </a:cxn>
                <a:cxn ang="0">
                  <a:pos x="141" y="143"/>
                </a:cxn>
                <a:cxn ang="0">
                  <a:pos x="143" y="130"/>
                </a:cxn>
                <a:cxn ang="0">
                  <a:pos x="150" y="121"/>
                </a:cxn>
                <a:cxn ang="0">
                  <a:pos x="154" y="104"/>
                </a:cxn>
                <a:cxn ang="0">
                  <a:pos x="167" y="91"/>
                </a:cxn>
                <a:cxn ang="0">
                  <a:pos x="194" y="83"/>
                </a:cxn>
                <a:cxn ang="0">
                  <a:pos x="201" y="79"/>
                </a:cxn>
                <a:cxn ang="0">
                  <a:pos x="209" y="79"/>
                </a:cxn>
                <a:cxn ang="0">
                  <a:pos x="198" y="74"/>
                </a:cxn>
                <a:cxn ang="0">
                  <a:pos x="205" y="49"/>
                </a:cxn>
                <a:cxn ang="0">
                  <a:pos x="196" y="43"/>
                </a:cxn>
                <a:cxn ang="0">
                  <a:pos x="175" y="42"/>
                </a:cxn>
                <a:cxn ang="0">
                  <a:pos x="160" y="45"/>
                </a:cxn>
                <a:cxn ang="0">
                  <a:pos x="154" y="42"/>
                </a:cxn>
                <a:cxn ang="0">
                  <a:pos x="149" y="28"/>
                </a:cxn>
                <a:cxn ang="0">
                  <a:pos x="130" y="15"/>
                </a:cxn>
                <a:cxn ang="0">
                  <a:pos x="120" y="4"/>
                </a:cxn>
                <a:cxn ang="0">
                  <a:pos x="111" y="2"/>
                </a:cxn>
                <a:cxn ang="0">
                  <a:pos x="115" y="19"/>
                </a:cxn>
                <a:cxn ang="0">
                  <a:pos x="92" y="45"/>
                </a:cxn>
                <a:cxn ang="0">
                  <a:pos x="47" y="89"/>
                </a:cxn>
                <a:cxn ang="0">
                  <a:pos x="34" y="83"/>
                </a:cxn>
                <a:cxn ang="0">
                  <a:pos x="21" y="83"/>
                </a:cxn>
                <a:cxn ang="0">
                  <a:pos x="22" y="68"/>
                </a:cxn>
                <a:cxn ang="0">
                  <a:pos x="9" y="74"/>
                </a:cxn>
                <a:cxn ang="0">
                  <a:pos x="0" y="91"/>
                </a:cxn>
                <a:cxn ang="0">
                  <a:pos x="2" y="100"/>
                </a:cxn>
                <a:cxn ang="0">
                  <a:pos x="6" y="113"/>
                </a:cxn>
                <a:cxn ang="0">
                  <a:pos x="7" y="121"/>
                </a:cxn>
                <a:cxn ang="0">
                  <a:pos x="30" y="132"/>
                </a:cxn>
                <a:cxn ang="0">
                  <a:pos x="38" y="149"/>
                </a:cxn>
                <a:cxn ang="0">
                  <a:pos x="51" y="168"/>
                </a:cxn>
                <a:cxn ang="0">
                  <a:pos x="60" y="185"/>
                </a:cxn>
                <a:cxn ang="0">
                  <a:pos x="70" y="207"/>
                </a:cxn>
                <a:cxn ang="0">
                  <a:pos x="71" y="215"/>
                </a:cxn>
                <a:cxn ang="0">
                  <a:pos x="83" y="232"/>
                </a:cxn>
                <a:cxn ang="0">
                  <a:pos x="96" y="251"/>
                </a:cxn>
                <a:cxn ang="0">
                  <a:pos x="100" y="262"/>
                </a:cxn>
                <a:cxn ang="0">
                  <a:pos x="102" y="271"/>
                </a:cxn>
                <a:cxn ang="0">
                  <a:pos x="109" y="281"/>
                </a:cxn>
                <a:cxn ang="0">
                  <a:pos x="122" y="290"/>
                </a:cxn>
                <a:cxn ang="0">
                  <a:pos x="132" y="296"/>
                </a:cxn>
                <a:cxn ang="0">
                  <a:pos x="143" y="305"/>
                </a:cxn>
                <a:cxn ang="0">
                  <a:pos x="154" y="313"/>
                </a:cxn>
                <a:cxn ang="0">
                  <a:pos x="169" y="318"/>
                </a:cxn>
                <a:cxn ang="0">
                  <a:pos x="181" y="326"/>
                </a:cxn>
                <a:cxn ang="0">
                  <a:pos x="190" y="335"/>
                </a:cxn>
                <a:cxn ang="0">
                  <a:pos x="199" y="343"/>
                </a:cxn>
                <a:cxn ang="0">
                  <a:pos x="213" y="354"/>
                </a:cxn>
                <a:cxn ang="0">
                  <a:pos x="228" y="347"/>
                </a:cxn>
                <a:cxn ang="0">
                  <a:pos x="230" y="335"/>
                </a:cxn>
                <a:cxn ang="0">
                  <a:pos x="228" y="332"/>
                </a:cxn>
                <a:cxn ang="0">
                  <a:pos x="239" y="313"/>
                </a:cxn>
                <a:cxn ang="0">
                  <a:pos x="233" y="290"/>
                </a:cxn>
                <a:cxn ang="0">
                  <a:pos x="233" y="266"/>
                </a:cxn>
                <a:cxn ang="0">
                  <a:pos x="239" y="237"/>
                </a:cxn>
                <a:cxn ang="0">
                  <a:pos x="222" y="211"/>
                </a:cxn>
              </a:cxnLst>
              <a:rect l="0" t="0" r="r" b="b"/>
              <a:pathLst>
                <a:path w="239" h="354">
                  <a:moveTo>
                    <a:pt x="222" y="211"/>
                  </a:moveTo>
                  <a:lnTo>
                    <a:pt x="220" y="207"/>
                  </a:lnTo>
                  <a:lnTo>
                    <a:pt x="218" y="207"/>
                  </a:lnTo>
                  <a:lnTo>
                    <a:pt x="218" y="207"/>
                  </a:lnTo>
                  <a:lnTo>
                    <a:pt x="213" y="207"/>
                  </a:lnTo>
                  <a:lnTo>
                    <a:pt x="209" y="211"/>
                  </a:lnTo>
                  <a:lnTo>
                    <a:pt x="207" y="211"/>
                  </a:lnTo>
                  <a:lnTo>
                    <a:pt x="203" y="207"/>
                  </a:lnTo>
                  <a:lnTo>
                    <a:pt x="203" y="202"/>
                  </a:lnTo>
                  <a:lnTo>
                    <a:pt x="203" y="192"/>
                  </a:lnTo>
                  <a:lnTo>
                    <a:pt x="203" y="187"/>
                  </a:lnTo>
                  <a:lnTo>
                    <a:pt x="205" y="185"/>
                  </a:lnTo>
                  <a:lnTo>
                    <a:pt x="205" y="181"/>
                  </a:lnTo>
                  <a:lnTo>
                    <a:pt x="203" y="177"/>
                  </a:lnTo>
                  <a:lnTo>
                    <a:pt x="196" y="181"/>
                  </a:lnTo>
                  <a:lnTo>
                    <a:pt x="188" y="188"/>
                  </a:lnTo>
                  <a:lnTo>
                    <a:pt x="181" y="188"/>
                  </a:lnTo>
                  <a:lnTo>
                    <a:pt x="171" y="188"/>
                  </a:lnTo>
                  <a:lnTo>
                    <a:pt x="169" y="183"/>
                  </a:lnTo>
                  <a:lnTo>
                    <a:pt x="166" y="177"/>
                  </a:lnTo>
                  <a:lnTo>
                    <a:pt x="160" y="177"/>
                  </a:lnTo>
                  <a:lnTo>
                    <a:pt x="150" y="177"/>
                  </a:lnTo>
                  <a:lnTo>
                    <a:pt x="154" y="172"/>
                  </a:lnTo>
                  <a:lnTo>
                    <a:pt x="145" y="156"/>
                  </a:lnTo>
                  <a:lnTo>
                    <a:pt x="139" y="151"/>
                  </a:lnTo>
                  <a:lnTo>
                    <a:pt x="141" y="149"/>
                  </a:lnTo>
                  <a:lnTo>
                    <a:pt x="139" y="147"/>
                  </a:lnTo>
                  <a:lnTo>
                    <a:pt x="141" y="143"/>
                  </a:lnTo>
                  <a:lnTo>
                    <a:pt x="141" y="138"/>
                  </a:lnTo>
                  <a:lnTo>
                    <a:pt x="139" y="136"/>
                  </a:lnTo>
                  <a:lnTo>
                    <a:pt x="143" y="134"/>
                  </a:lnTo>
                  <a:lnTo>
                    <a:pt x="143" y="130"/>
                  </a:lnTo>
                  <a:lnTo>
                    <a:pt x="149" y="126"/>
                  </a:lnTo>
                  <a:lnTo>
                    <a:pt x="150" y="126"/>
                  </a:lnTo>
                  <a:lnTo>
                    <a:pt x="154" y="124"/>
                  </a:lnTo>
                  <a:lnTo>
                    <a:pt x="150" y="121"/>
                  </a:lnTo>
                  <a:lnTo>
                    <a:pt x="150" y="113"/>
                  </a:lnTo>
                  <a:lnTo>
                    <a:pt x="154" y="109"/>
                  </a:lnTo>
                  <a:lnTo>
                    <a:pt x="154" y="107"/>
                  </a:lnTo>
                  <a:lnTo>
                    <a:pt x="154" y="104"/>
                  </a:lnTo>
                  <a:lnTo>
                    <a:pt x="154" y="98"/>
                  </a:lnTo>
                  <a:lnTo>
                    <a:pt x="160" y="96"/>
                  </a:lnTo>
                  <a:lnTo>
                    <a:pt x="164" y="94"/>
                  </a:lnTo>
                  <a:lnTo>
                    <a:pt x="167" y="91"/>
                  </a:lnTo>
                  <a:lnTo>
                    <a:pt x="169" y="89"/>
                  </a:lnTo>
                  <a:lnTo>
                    <a:pt x="171" y="87"/>
                  </a:lnTo>
                  <a:lnTo>
                    <a:pt x="182" y="87"/>
                  </a:lnTo>
                  <a:lnTo>
                    <a:pt x="194" y="83"/>
                  </a:lnTo>
                  <a:lnTo>
                    <a:pt x="194" y="79"/>
                  </a:lnTo>
                  <a:lnTo>
                    <a:pt x="196" y="79"/>
                  </a:lnTo>
                  <a:lnTo>
                    <a:pt x="199" y="79"/>
                  </a:lnTo>
                  <a:lnTo>
                    <a:pt x="201" y="79"/>
                  </a:lnTo>
                  <a:lnTo>
                    <a:pt x="207" y="83"/>
                  </a:lnTo>
                  <a:lnTo>
                    <a:pt x="205" y="83"/>
                  </a:lnTo>
                  <a:lnTo>
                    <a:pt x="209" y="83"/>
                  </a:lnTo>
                  <a:lnTo>
                    <a:pt x="209" y="79"/>
                  </a:lnTo>
                  <a:lnTo>
                    <a:pt x="209" y="74"/>
                  </a:lnTo>
                  <a:lnTo>
                    <a:pt x="207" y="72"/>
                  </a:lnTo>
                  <a:lnTo>
                    <a:pt x="203" y="74"/>
                  </a:lnTo>
                  <a:lnTo>
                    <a:pt x="198" y="74"/>
                  </a:lnTo>
                  <a:lnTo>
                    <a:pt x="198" y="72"/>
                  </a:lnTo>
                  <a:lnTo>
                    <a:pt x="209" y="49"/>
                  </a:lnTo>
                  <a:lnTo>
                    <a:pt x="209" y="49"/>
                  </a:lnTo>
                  <a:lnTo>
                    <a:pt x="205" y="49"/>
                  </a:lnTo>
                  <a:lnTo>
                    <a:pt x="203" y="47"/>
                  </a:lnTo>
                  <a:lnTo>
                    <a:pt x="199" y="45"/>
                  </a:lnTo>
                  <a:lnTo>
                    <a:pt x="198" y="45"/>
                  </a:lnTo>
                  <a:lnTo>
                    <a:pt x="196" y="43"/>
                  </a:lnTo>
                  <a:lnTo>
                    <a:pt x="192" y="43"/>
                  </a:lnTo>
                  <a:lnTo>
                    <a:pt x="184" y="45"/>
                  </a:lnTo>
                  <a:lnTo>
                    <a:pt x="182" y="43"/>
                  </a:lnTo>
                  <a:lnTo>
                    <a:pt x="175" y="42"/>
                  </a:lnTo>
                  <a:lnTo>
                    <a:pt x="171" y="45"/>
                  </a:lnTo>
                  <a:lnTo>
                    <a:pt x="169" y="47"/>
                  </a:lnTo>
                  <a:lnTo>
                    <a:pt x="164" y="47"/>
                  </a:lnTo>
                  <a:lnTo>
                    <a:pt x="160" y="45"/>
                  </a:lnTo>
                  <a:lnTo>
                    <a:pt x="158" y="47"/>
                  </a:lnTo>
                  <a:lnTo>
                    <a:pt x="154" y="45"/>
                  </a:lnTo>
                  <a:lnTo>
                    <a:pt x="154" y="43"/>
                  </a:lnTo>
                  <a:lnTo>
                    <a:pt x="154" y="42"/>
                  </a:lnTo>
                  <a:lnTo>
                    <a:pt x="150" y="36"/>
                  </a:lnTo>
                  <a:lnTo>
                    <a:pt x="150" y="34"/>
                  </a:lnTo>
                  <a:lnTo>
                    <a:pt x="149" y="34"/>
                  </a:lnTo>
                  <a:lnTo>
                    <a:pt x="149" y="28"/>
                  </a:lnTo>
                  <a:lnTo>
                    <a:pt x="145" y="23"/>
                  </a:lnTo>
                  <a:lnTo>
                    <a:pt x="135" y="23"/>
                  </a:lnTo>
                  <a:lnTo>
                    <a:pt x="134" y="23"/>
                  </a:lnTo>
                  <a:lnTo>
                    <a:pt x="130" y="15"/>
                  </a:lnTo>
                  <a:lnTo>
                    <a:pt x="130" y="10"/>
                  </a:lnTo>
                  <a:lnTo>
                    <a:pt x="126" y="8"/>
                  </a:lnTo>
                  <a:lnTo>
                    <a:pt x="124" y="4"/>
                  </a:lnTo>
                  <a:lnTo>
                    <a:pt x="120" y="4"/>
                  </a:lnTo>
                  <a:lnTo>
                    <a:pt x="113" y="2"/>
                  </a:lnTo>
                  <a:lnTo>
                    <a:pt x="111" y="0"/>
                  </a:lnTo>
                  <a:lnTo>
                    <a:pt x="109" y="0"/>
                  </a:lnTo>
                  <a:lnTo>
                    <a:pt x="111" y="2"/>
                  </a:lnTo>
                  <a:lnTo>
                    <a:pt x="111" y="4"/>
                  </a:lnTo>
                  <a:lnTo>
                    <a:pt x="115" y="13"/>
                  </a:lnTo>
                  <a:lnTo>
                    <a:pt x="115" y="17"/>
                  </a:lnTo>
                  <a:lnTo>
                    <a:pt x="115" y="19"/>
                  </a:lnTo>
                  <a:lnTo>
                    <a:pt x="113" y="23"/>
                  </a:lnTo>
                  <a:lnTo>
                    <a:pt x="109" y="23"/>
                  </a:lnTo>
                  <a:lnTo>
                    <a:pt x="105" y="34"/>
                  </a:lnTo>
                  <a:lnTo>
                    <a:pt x="92" y="45"/>
                  </a:lnTo>
                  <a:lnTo>
                    <a:pt x="85" y="53"/>
                  </a:lnTo>
                  <a:lnTo>
                    <a:pt x="66" y="57"/>
                  </a:lnTo>
                  <a:lnTo>
                    <a:pt x="62" y="62"/>
                  </a:lnTo>
                  <a:lnTo>
                    <a:pt x="47" y="89"/>
                  </a:lnTo>
                  <a:lnTo>
                    <a:pt x="45" y="92"/>
                  </a:lnTo>
                  <a:lnTo>
                    <a:pt x="43" y="92"/>
                  </a:lnTo>
                  <a:lnTo>
                    <a:pt x="38" y="87"/>
                  </a:lnTo>
                  <a:lnTo>
                    <a:pt x="34" y="83"/>
                  </a:lnTo>
                  <a:lnTo>
                    <a:pt x="28" y="83"/>
                  </a:lnTo>
                  <a:lnTo>
                    <a:pt x="26" y="79"/>
                  </a:lnTo>
                  <a:lnTo>
                    <a:pt x="22" y="83"/>
                  </a:lnTo>
                  <a:lnTo>
                    <a:pt x="21" y="83"/>
                  </a:lnTo>
                  <a:lnTo>
                    <a:pt x="17" y="79"/>
                  </a:lnTo>
                  <a:lnTo>
                    <a:pt x="21" y="74"/>
                  </a:lnTo>
                  <a:lnTo>
                    <a:pt x="26" y="74"/>
                  </a:lnTo>
                  <a:lnTo>
                    <a:pt x="22" y="68"/>
                  </a:lnTo>
                  <a:lnTo>
                    <a:pt x="21" y="68"/>
                  </a:lnTo>
                  <a:lnTo>
                    <a:pt x="21" y="68"/>
                  </a:lnTo>
                  <a:lnTo>
                    <a:pt x="13" y="72"/>
                  </a:lnTo>
                  <a:lnTo>
                    <a:pt x="9" y="74"/>
                  </a:lnTo>
                  <a:lnTo>
                    <a:pt x="4" y="79"/>
                  </a:lnTo>
                  <a:lnTo>
                    <a:pt x="2" y="87"/>
                  </a:lnTo>
                  <a:lnTo>
                    <a:pt x="0" y="89"/>
                  </a:lnTo>
                  <a:lnTo>
                    <a:pt x="0" y="91"/>
                  </a:lnTo>
                  <a:lnTo>
                    <a:pt x="4" y="92"/>
                  </a:lnTo>
                  <a:lnTo>
                    <a:pt x="4" y="96"/>
                  </a:lnTo>
                  <a:lnTo>
                    <a:pt x="2" y="98"/>
                  </a:lnTo>
                  <a:lnTo>
                    <a:pt x="2" y="100"/>
                  </a:lnTo>
                  <a:lnTo>
                    <a:pt x="6" y="104"/>
                  </a:lnTo>
                  <a:lnTo>
                    <a:pt x="7" y="109"/>
                  </a:lnTo>
                  <a:lnTo>
                    <a:pt x="7" y="113"/>
                  </a:lnTo>
                  <a:lnTo>
                    <a:pt x="6" y="113"/>
                  </a:lnTo>
                  <a:lnTo>
                    <a:pt x="2" y="113"/>
                  </a:lnTo>
                  <a:lnTo>
                    <a:pt x="0" y="117"/>
                  </a:lnTo>
                  <a:lnTo>
                    <a:pt x="4" y="119"/>
                  </a:lnTo>
                  <a:lnTo>
                    <a:pt x="7" y="121"/>
                  </a:lnTo>
                  <a:lnTo>
                    <a:pt x="13" y="124"/>
                  </a:lnTo>
                  <a:lnTo>
                    <a:pt x="17" y="126"/>
                  </a:lnTo>
                  <a:lnTo>
                    <a:pt x="26" y="130"/>
                  </a:lnTo>
                  <a:lnTo>
                    <a:pt x="30" y="132"/>
                  </a:lnTo>
                  <a:lnTo>
                    <a:pt x="30" y="136"/>
                  </a:lnTo>
                  <a:lnTo>
                    <a:pt x="34" y="141"/>
                  </a:lnTo>
                  <a:lnTo>
                    <a:pt x="36" y="147"/>
                  </a:lnTo>
                  <a:lnTo>
                    <a:pt x="38" y="149"/>
                  </a:lnTo>
                  <a:lnTo>
                    <a:pt x="45" y="153"/>
                  </a:lnTo>
                  <a:lnTo>
                    <a:pt x="47" y="158"/>
                  </a:lnTo>
                  <a:lnTo>
                    <a:pt x="51" y="164"/>
                  </a:lnTo>
                  <a:lnTo>
                    <a:pt x="51" y="168"/>
                  </a:lnTo>
                  <a:lnTo>
                    <a:pt x="51" y="173"/>
                  </a:lnTo>
                  <a:lnTo>
                    <a:pt x="54" y="177"/>
                  </a:lnTo>
                  <a:lnTo>
                    <a:pt x="56" y="181"/>
                  </a:lnTo>
                  <a:lnTo>
                    <a:pt x="60" y="185"/>
                  </a:lnTo>
                  <a:lnTo>
                    <a:pt x="62" y="190"/>
                  </a:lnTo>
                  <a:lnTo>
                    <a:pt x="60" y="192"/>
                  </a:lnTo>
                  <a:lnTo>
                    <a:pt x="64" y="198"/>
                  </a:lnTo>
                  <a:lnTo>
                    <a:pt x="70" y="207"/>
                  </a:lnTo>
                  <a:lnTo>
                    <a:pt x="71" y="211"/>
                  </a:lnTo>
                  <a:lnTo>
                    <a:pt x="71" y="211"/>
                  </a:lnTo>
                  <a:lnTo>
                    <a:pt x="71" y="215"/>
                  </a:lnTo>
                  <a:lnTo>
                    <a:pt x="71" y="215"/>
                  </a:lnTo>
                  <a:lnTo>
                    <a:pt x="79" y="222"/>
                  </a:lnTo>
                  <a:lnTo>
                    <a:pt x="81" y="224"/>
                  </a:lnTo>
                  <a:lnTo>
                    <a:pt x="81" y="230"/>
                  </a:lnTo>
                  <a:lnTo>
                    <a:pt x="83" y="232"/>
                  </a:lnTo>
                  <a:lnTo>
                    <a:pt x="88" y="236"/>
                  </a:lnTo>
                  <a:lnTo>
                    <a:pt x="88" y="237"/>
                  </a:lnTo>
                  <a:lnTo>
                    <a:pt x="94" y="247"/>
                  </a:lnTo>
                  <a:lnTo>
                    <a:pt x="96" y="251"/>
                  </a:lnTo>
                  <a:lnTo>
                    <a:pt x="102" y="260"/>
                  </a:lnTo>
                  <a:lnTo>
                    <a:pt x="102" y="262"/>
                  </a:lnTo>
                  <a:lnTo>
                    <a:pt x="102" y="266"/>
                  </a:lnTo>
                  <a:lnTo>
                    <a:pt x="100" y="262"/>
                  </a:lnTo>
                  <a:lnTo>
                    <a:pt x="100" y="266"/>
                  </a:lnTo>
                  <a:lnTo>
                    <a:pt x="100" y="268"/>
                  </a:lnTo>
                  <a:lnTo>
                    <a:pt x="100" y="271"/>
                  </a:lnTo>
                  <a:lnTo>
                    <a:pt x="102" y="271"/>
                  </a:lnTo>
                  <a:lnTo>
                    <a:pt x="105" y="271"/>
                  </a:lnTo>
                  <a:lnTo>
                    <a:pt x="105" y="275"/>
                  </a:lnTo>
                  <a:lnTo>
                    <a:pt x="105" y="275"/>
                  </a:lnTo>
                  <a:lnTo>
                    <a:pt x="109" y="281"/>
                  </a:lnTo>
                  <a:lnTo>
                    <a:pt x="115" y="283"/>
                  </a:lnTo>
                  <a:lnTo>
                    <a:pt x="117" y="286"/>
                  </a:lnTo>
                  <a:lnTo>
                    <a:pt x="118" y="290"/>
                  </a:lnTo>
                  <a:lnTo>
                    <a:pt x="122" y="290"/>
                  </a:lnTo>
                  <a:lnTo>
                    <a:pt x="124" y="292"/>
                  </a:lnTo>
                  <a:lnTo>
                    <a:pt x="126" y="296"/>
                  </a:lnTo>
                  <a:lnTo>
                    <a:pt x="126" y="296"/>
                  </a:lnTo>
                  <a:lnTo>
                    <a:pt x="132" y="296"/>
                  </a:lnTo>
                  <a:lnTo>
                    <a:pt x="134" y="294"/>
                  </a:lnTo>
                  <a:lnTo>
                    <a:pt x="134" y="296"/>
                  </a:lnTo>
                  <a:lnTo>
                    <a:pt x="135" y="301"/>
                  </a:lnTo>
                  <a:lnTo>
                    <a:pt x="143" y="305"/>
                  </a:lnTo>
                  <a:lnTo>
                    <a:pt x="145" y="305"/>
                  </a:lnTo>
                  <a:lnTo>
                    <a:pt x="145" y="309"/>
                  </a:lnTo>
                  <a:lnTo>
                    <a:pt x="149" y="311"/>
                  </a:lnTo>
                  <a:lnTo>
                    <a:pt x="154" y="313"/>
                  </a:lnTo>
                  <a:lnTo>
                    <a:pt x="154" y="311"/>
                  </a:lnTo>
                  <a:lnTo>
                    <a:pt x="158" y="313"/>
                  </a:lnTo>
                  <a:lnTo>
                    <a:pt x="164" y="317"/>
                  </a:lnTo>
                  <a:lnTo>
                    <a:pt x="169" y="318"/>
                  </a:lnTo>
                  <a:lnTo>
                    <a:pt x="173" y="320"/>
                  </a:lnTo>
                  <a:lnTo>
                    <a:pt x="175" y="320"/>
                  </a:lnTo>
                  <a:lnTo>
                    <a:pt x="175" y="322"/>
                  </a:lnTo>
                  <a:lnTo>
                    <a:pt x="181" y="326"/>
                  </a:lnTo>
                  <a:lnTo>
                    <a:pt x="184" y="330"/>
                  </a:lnTo>
                  <a:lnTo>
                    <a:pt x="188" y="332"/>
                  </a:lnTo>
                  <a:lnTo>
                    <a:pt x="190" y="332"/>
                  </a:lnTo>
                  <a:lnTo>
                    <a:pt x="190" y="335"/>
                  </a:lnTo>
                  <a:lnTo>
                    <a:pt x="190" y="337"/>
                  </a:lnTo>
                  <a:lnTo>
                    <a:pt x="190" y="339"/>
                  </a:lnTo>
                  <a:lnTo>
                    <a:pt x="196" y="341"/>
                  </a:lnTo>
                  <a:lnTo>
                    <a:pt x="199" y="343"/>
                  </a:lnTo>
                  <a:lnTo>
                    <a:pt x="205" y="349"/>
                  </a:lnTo>
                  <a:lnTo>
                    <a:pt x="209" y="352"/>
                  </a:lnTo>
                  <a:lnTo>
                    <a:pt x="213" y="354"/>
                  </a:lnTo>
                  <a:lnTo>
                    <a:pt x="213" y="354"/>
                  </a:lnTo>
                  <a:lnTo>
                    <a:pt x="218" y="352"/>
                  </a:lnTo>
                  <a:lnTo>
                    <a:pt x="222" y="349"/>
                  </a:lnTo>
                  <a:lnTo>
                    <a:pt x="224" y="350"/>
                  </a:lnTo>
                  <a:lnTo>
                    <a:pt x="228" y="347"/>
                  </a:lnTo>
                  <a:lnTo>
                    <a:pt x="230" y="345"/>
                  </a:lnTo>
                  <a:lnTo>
                    <a:pt x="226" y="341"/>
                  </a:lnTo>
                  <a:lnTo>
                    <a:pt x="228" y="337"/>
                  </a:lnTo>
                  <a:lnTo>
                    <a:pt x="230" y="335"/>
                  </a:lnTo>
                  <a:lnTo>
                    <a:pt x="231" y="335"/>
                  </a:lnTo>
                  <a:lnTo>
                    <a:pt x="231" y="332"/>
                  </a:lnTo>
                  <a:lnTo>
                    <a:pt x="230" y="332"/>
                  </a:lnTo>
                  <a:lnTo>
                    <a:pt x="228" y="332"/>
                  </a:lnTo>
                  <a:lnTo>
                    <a:pt x="230" y="326"/>
                  </a:lnTo>
                  <a:lnTo>
                    <a:pt x="233" y="322"/>
                  </a:lnTo>
                  <a:lnTo>
                    <a:pt x="239" y="317"/>
                  </a:lnTo>
                  <a:lnTo>
                    <a:pt x="239" y="313"/>
                  </a:lnTo>
                  <a:lnTo>
                    <a:pt x="233" y="301"/>
                  </a:lnTo>
                  <a:lnTo>
                    <a:pt x="233" y="296"/>
                  </a:lnTo>
                  <a:lnTo>
                    <a:pt x="233" y="292"/>
                  </a:lnTo>
                  <a:lnTo>
                    <a:pt x="233" y="290"/>
                  </a:lnTo>
                  <a:lnTo>
                    <a:pt x="233" y="286"/>
                  </a:lnTo>
                  <a:lnTo>
                    <a:pt x="233" y="285"/>
                  </a:lnTo>
                  <a:lnTo>
                    <a:pt x="237" y="277"/>
                  </a:lnTo>
                  <a:lnTo>
                    <a:pt x="233" y="266"/>
                  </a:lnTo>
                  <a:lnTo>
                    <a:pt x="233" y="260"/>
                  </a:lnTo>
                  <a:lnTo>
                    <a:pt x="237" y="254"/>
                  </a:lnTo>
                  <a:lnTo>
                    <a:pt x="237" y="241"/>
                  </a:lnTo>
                  <a:lnTo>
                    <a:pt x="239" y="237"/>
                  </a:lnTo>
                  <a:lnTo>
                    <a:pt x="239" y="232"/>
                  </a:lnTo>
                  <a:lnTo>
                    <a:pt x="222" y="211"/>
                  </a:lnTo>
                  <a:lnTo>
                    <a:pt x="222" y="211"/>
                  </a:lnTo>
                  <a:lnTo>
                    <a:pt x="222" y="2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3" name="Freeform 176">
              <a:extLst>
                <a:ext uri="{FF2B5EF4-FFF2-40B4-BE49-F238E27FC236}">
                  <a16:creationId xmlns:a16="http://schemas.microsoft.com/office/drawing/2014/main" id="{65DACE6D-AB8A-4F77-93F1-16C94FC2F9FF}"/>
                </a:ext>
              </a:extLst>
            </p:cNvPr>
            <p:cNvSpPr>
              <a:spLocks/>
            </p:cNvSpPr>
            <p:nvPr/>
          </p:nvSpPr>
          <p:spPr bwMode="auto">
            <a:xfrm>
              <a:off x="1514" y="3288"/>
              <a:ext cx="228" cy="260"/>
            </a:xfrm>
            <a:custGeom>
              <a:avLst/>
              <a:gdLst/>
              <a:ahLst/>
              <a:cxnLst>
                <a:cxn ang="0">
                  <a:pos x="218" y="190"/>
                </a:cxn>
                <a:cxn ang="0">
                  <a:pos x="216" y="147"/>
                </a:cxn>
                <a:cxn ang="0">
                  <a:pos x="207" y="124"/>
                </a:cxn>
                <a:cxn ang="0">
                  <a:pos x="168" y="103"/>
                </a:cxn>
                <a:cxn ang="0">
                  <a:pos x="169" y="83"/>
                </a:cxn>
                <a:cxn ang="0">
                  <a:pos x="151" y="77"/>
                </a:cxn>
                <a:cxn ang="0">
                  <a:pos x="141" y="68"/>
                </a:cxn>
                <a:cxn ang="0">
                  <a:pos x="124" y="64"/>
                </a:cxn>
                <a:cxn ang="0">
                  <a:pos x="107" y="52"/>
                </a:cxn>
                <a:cxn ang="0">
                  <a:pos x="94" y="52"/>
                </a:cxn>
                <a:cxn ang="0">
                  <a:pos x="83" y="39"/>
                </a:cxn>
                <a:cxn ang="0">
                  <a:pos x="77" y="28"/>
                </a:cxn>
                <a:cxn ang="0">
                  <a:pos x="75" y="7"/>
                </a:cxn>
                <a:cxn ang="0">
                  <a:pos x="70" y="3"/>
                </a:cxn>
                <a:cxn ang="0">
                  <a:pos x="56" y="3"/>
                </a:cxn>
                <a:cxn ang="0">
                  <a:pos x="40" y="19"/>
                </a:cxn>
                <a:cxn ang="0">
                  <a:pos x="24" y="24"/>
                </a:cxn>
                <a:cxn ang="0">
                  <a:pos x="11" y="24"/>
                </a:cxn>
                <a:cxn ang="0">
                  <a:pos x="15" y="54"/>
                </a:cxn>
                <a:cxn ang="0">
                  <a:pos x="11" y="77"/>
                </a:cxn>
                <a:cxn ang="0">
                  <a:pos x="11" y="101"/>
                </a:cxn>
                <a:cxn ang="0">
                  <a:pos x="11" y="109"/>
                </a:cxn>
                <a:cxn ang="0">
                  <a:pos x="15" y="130"/>
                </a:cxn>
                <a:cxn ang="0">
                  <a:pos x="8" y="143"/>
                </a:cxn>
                <a:cxn ang="0">
                  <a:pos x="9" y="149"/>
                </a:cxn>
                <a:cxn ang="0">
                  <a:pos x="11" y="156"/>
                </a:cxn>
                <a:cxn ang="0">
                  <a:pos x="15" y="165"/>
                </a:cxn>
                <a:cxn ang="0">
                  <a:pos x="17" y="177"/>
                </a:cxn>
                <a:cxn ang="0">
                  <a:pos x="30" y="192"/>
                </a:cxn>
                <a:cxn ang="0">
                  <a:pos x="24" y="209"/>
                </a:cxn>
                <a:cxn ang="0">
                  <a:pos x="49" y="260"/>
                </a:cxn>
                <a:cxn ang="0">
                  <a:pos x="58" y="256"/>
                </a:cxn>
                <a:cxn ang="0">
                  <a:pos x="64" y="246"/>
                </a:cxn>
                <a:cxn ang="0">
                  <a:pos x="81" y="241"/>
                </a:cxn>
                <a:cxn ang="0">
                  <a:pos x="92" y="241"/>
                </a:cxn>
                <a:cxn ang="0">
                  <a:pos x="104" y="245"/>
                </a:cxn>
                <a:cxn ang="0">
                  <a:pos x="109" y="254"/>
                </a:cxn>
                <a:cxn ang="0">
                  <a:pos x="109" y="243"/>
                </a:cxn>
                <a:cxn ang="0">
                  <a:pos x="134" y="237"/>
                </a:cxn>
                <a:cxn ang="0">
                  <a:pos x="143" y="226"/>
                </a:cxn>
                <a:cxn ang="0">
                  <a:pos x="141" y="213"/>
                </a:cxn>
                <a:cxn ang="0">
                  <a:pos x="149" y="192"/>
                </a:cxn>
                <a:cxn ang="0">
                  <a:pos x="200" y="184"/>
                </a:cxn>
                <a:cxn ang="0">
                  <a:pos x="216" y="197"/>
                </a:cxn>
              </a:cxnLst>
              <a:rect l="0" t="0" r="r" b="b"/>
              <a:pathLst>
                <a:path w="228" h="260">
                  <a:moveTo>
                    <a:pt x="216" y="197"/>
                  </a:moveTo>
                  <a:lnTo>
                    <a:pt x="218" y="192"/>
                  </a:lnTo>
                  <a:lnTo>
                    <a:pt x="218" y="190"/>
                  </a:lnTo>
                  <a:lnTo>
                    <a:pt x="228" y="171"/>
                  </a:lnTo>
                  <a:lnTo>
                    <a:pt x="228" y="164"/>
                  </a:lnTo>
                  <a:lnTo>
                    <a:pt x="216" y="147"/>
                  </a:lnTo>
                  <a:lnTo>
                    <a:pt x="207" y="143"/>
                  </a:lnTo>
                  <a:lnTo>
                    <a:pt x="207" y="137"/>
                  </a:lnTo>
                  <a:lnTo>
                    <a:pt x="207" y="124"/>
                  </a:lnTo>
                  <a:lnTo>
                    <a:pt x="175" y="124"/>
                  </a:lnTo>
                  <a:lnTo>
                    <a:pt x="175" y="116"/>
                  </a:lnTo>
                  <a:lnTo>
                    <a:pt x="168" y="103"/>
                  </a:lnTo>
                  <a:lnTo>
                    <a:pt x="169" y="100"/>
                  </a:lnTo>
                  <a:lnTo>
                    <a:pt x="169" y="92"/>
                  </a:lnTo>
                  <a:lnTo>
                    <a:pt x="169" y="83"/>
                  </a:lnTo>
                  <a:lnTo>
                    <a:pt x="168" y="79"/>
                  </a:lnTo>
                  <a:lnTo>
                    <a:pt x="162" y="77"/>
                  </a:lnTo>
                  <a:lnTo>
                    <a:pt x="151" y="77"/>
                  </a:lnTo>
                  <a:lnTo>
                    <a:pt x="145" y="75"/>
                  </a:lnTo>
                  <a:lnTo>
                    <a:pt x="141" y="73"/>
                  </a:lnTo>
                  <a:lnTo>
                    <a:pt x="141" y="68"/>
                  </a:lnTo>
                  <a:lnTo>
                    <a:pt x="137" y="66"/>
                  </a:lnTo>
                  <a:lnTo>
                    <a:pt x="128" y="64"/>
                  </a:lnTo>
                  <a:lnTo>
                    <a:pt x="124" y="64"/>
                  </a:lnTo>
                  <a:lnTo>
                    <a:pt x="119" y="58"/>
                  </a:lnTo>
                  <a:lnTo>
                    <a:pt x="113" y="58"/>
                  </a:lnTo>
                  <a:lnTo>
                    <a:pt x="107" y="52"/>
                  </a:lnTo>
                  <a:lnTo>
                    <a:pt x="100" y="54"/>
                  </a:lnTo>
                  <a:lnTo>
                    <a:pt x="98" y="54"/>
                  </a:lnTo>
                  <a:lnTo>
                    <a:pt x="94" y="52"/>
                  </a:lnTo>
                  <a:lnTo>
                    <a:pt x="88" y="49"/>
                  </a:lnTo>
                  <a:lnTo>
                    <a:pt x="85" y="47"/>
                  </a:lnTo>
                  <a:lnTo>
                    <a:pt x="83" y="39"/>
                  </a:lnTo>
                  <a:lnTo>
                    <a:pt x="79" y="37"/>
                  </a:lnTo>
                  <a:lnTo>
                    <a:pt x="75" y="30"/>
                  </a:lnTo>
                  <a:lnTo>
                    <a:pt x="77" y="28"/>
                  </a:lnTo>
                  <a:lnTo>
                    <a:pt x="75" y="19"/>
                  </a:lnTo>
                  <a:lnTo>
                    <a:pt x="77" y="13"/>
                  </a:lnTo>
                  <a:lnTo>
                    <a:pt x="75" y="7"/>
                  </a:lnTo>
                  <a:lnTo>
                    <a:pt x="75" y="3"/>
                  </a:lnTo>
                  <a:lnTo>
                    <a:pt x="73" y="0"/>
                  </a:lnTo>
                  <a:lnTo>
                    <a:pt x="70" y="3"/>
                  </a:lnTo>
                  <a:lnTo>
                    <a:pt x="66" y="0"/>
                  </a:lnTo>
                  <a:lnTo>
                    <a:pt x="60" y="0"/>
                  </a:lnTo>
                  <a:lnTo>
                    <a:pt x="56" y="3"/>
                  </a:lnTo>
                  <a:lnTo>
                    <a:pt x="51" y="3"/>
                  </a:lnTo>
                  <a:lnTo>
                    <a:pt x="41" y="11"/>
                  </a:lnTo>
                  <a:lnTo>
                    <a:pt x="40" y="19"/>
                  </a:lnTo>
                  <a:lnTo>
                    <a:pt x="34" y="20"/>
                  </a:lnTo>
                  <a:lnTo>
                    <a:pt x="28" y="20"/>
                  </a:lnTo>
                  <a:lnTo>
                    <a:pt x="24" y="24"/>
                  </a:lnTo>
                  <a:lnTo>
                    <a:pt x="21" y="24"/>
                  </a:lnTo>
                  <a:lnTo>
                    <a:pt x="15" y="28"/>
                  </a:lnTo>
                  <a:lnTo>
                    <a:pt x="11" y="24"/>
                  </a:lnTo>
                  <a:lnTo>
                    <a:pt x="0" y="28"/>
                  </a:lnTo>
                  <a:lnTo>
                    <a:pt x="15" y="49"/>
                  </a:lnTo>
                  <a:lnTo>
                    <a:pt x="15" y="54"/>
                  </a:lnTo>
                  <a:lnTo>
                    <a:pt x="15" y="58"/>
                  </a:lnTo>
                  <a:lnTo>
                    <a:pt x="15" y="71"/>
                  </a:lnTo>
                  <a:lnTo>
                    <a:pt x="11" y="77"/>
                  </a:lnTo>
                  <a:lnTo>
                    <a:pt x="11" y="83"/>
                  </a:lnTo>
                  <a:lnTo>
                    <a:pt x="15" y="94"/>
                  </a:lnTo>
                  <a:lnTo>
                    <a:pt x="11" y="101"/>
                  </a:lnTo>
                  <a:lnTo>
                    <a:pt x="11" y="103"/>
                  </a:lnTo>
                  <a:lnTo>
                    <a:pt x="11" y="107"/>
                  </a:lnTo>
                  <a:lnTo>
                    <a:pt x="11" y="109"/>
                  </a:lnTo>
                  <a:lnTo>
                    <a:pt x="11" y="113"/>
                  </a:lnTo>
                  <a:lnTo>
                    <a:pt x="11" y="116"/>
                  </a:lnTo>
                  <a:lnTo>
                    <a:pt x="15" y="130"/>
                  </a:lnTo>
                  <a:lnTo>
                    <a:pt x="15" y="133"/>
                  </a:lnTo>
                  <a:lnTo>
                    <a:pt x="11" y="137"/>
                  </a:lnTo>
                  <a:lnTo>
                    <a:pt x="8" y="143"/>
                  </a:lnTo>
                  <a:lnTo>
                    <a:pt x="6" y="147"/>
                  </a:lnTo>
                  <a:lnTo>
                    <a:pt x="8" y="149"/>
                  </a:lnTo>
                  <a:lnTo>
                    <a:pt x="9" y="149"/>
                  </a:lnTo>
                  <a:lnTo>
                    <a:pt x="9" y="152"/>
                  </a:lnTo>
                  <a:lnTo>
                    <a:pt x="11" y="152"/>
                  </a:lnTo>
                  <a:lnTo>
                    <a:pt x="11" y="156"/>
                  </a:lnTo>
                  <a:lnTo>
                    <a:pt x="15" y="160"/>
                  </a:lnTo>
                  <a:lnTo>
                    <a:pt x="15" y="162"/>
                  </a:lnTo>
                  <a:lnTo>
                    <a:pt x="15" y="165"/>
                  </a:lnTo>
                  <a:lnTo>
                    <a:pt x="15" y="167"/>
                  </a:lnTo>
                  <a:lnTo>
                    <a:pt x="15" y="171"/>
                  </a:lnTo>
                  <a:lnTo>
                    <a:pt x="17" y="177"/>
                  </a:lnTo>
                  <a:lnTo>
                    <a:pt x="19" y="181"/>
                  </a:lnTo>
                  <a:lnTo>
                    <a:pt x="28" y="188"/>
                  </a:lnTo>
                  <a:lnTo>
                    <a:pt x="30" y="192"/>
                  </a:lnTo>
                  <a:lnTo>
                    <a:pt x="26" y="197"/>
                  </a:lnTo>
                  <a:lnTo>
                    <a:pt x="28" y="201"/>
                  </a:lnTo>
                  <a:lnTo>
                    <a:pt x="24" y="209"/>
                  </a:lnTo>
                  <a:lnTo>
                    <a:pt x="26" y="214"/>
                  </a:lnTo>
                  <a:lnTo>
                    <a:pt x="36" y="222"/>
                  </a:lnTo>
                  <a:lnTo>
                    <a:pt x="49" y="260"/>
                  </a:lnTo>
                  <a:lnTo>
                    <a:pt x="55" y="260"/>
                  </a:lnTo>
                  <a:lnTo>
                    <a:pt x="56" y="256"/>
                  </a:lnTo>
                  <a:lnTo>
                    <a:pt x="58" y="256"/>
                  </a:lnTo>
                  <a:lnTo>
                    <a:pt x="58" y="256"/>
                  </a:lnTo>
                  <a:lnTo>
                    <a:pt x="60" y="254"/>
                  </a:lnTo>
                  <a:lnTo>
                    <a:pt x="64" y="246"/>
                  </a:lnTo>
                  <a:lnTo>
                    <a:pt x="70" y="239"/>
                  </a:lnTo>
                  <a:lnTo>
                    <a:pt x="75" y="237"/>
                  </a:lnTo>
                  <a:lnTo>
                    <a:pt x="81" y="241"/>
                  </a:lnTo>
                  <a:lnTo>
                    <a:pt x="85" y="241"/>
                  </a:lnTo>
                  <a:lnTo>
                    <a:pt x="88" y="239"/>
                  </a:lnTo>
                  <a:lnTo>
                    <a:pt x="92" y="241"/>
                  </a:lnTo>
                  <a:lnTo>
                    <a:pt x="100" y="239"/>
                  </a:lnTo>
                  <a:lnTo>
                    <a:pt x="104" y="239"/>
                  </a:lnTo>
                  <a:lnTo>
                    <a:pt x="104" y="245"/>
                  </a:lnTo>
                  <a:lnTo>
                    <a:pt x="107" y="254"/>
                  </a:lnTo>
                  <a:lnTo>
                    <a:pt x="107" y="256"/>
                  </a:lnTo>
                  <a:lnTo>
                    <a:pt x="109" y="254"/>
                  </a:lnTo>
                  <a:lnTo>
                    <a:pt x="109" y="250"/>
                  </a:lnTo>
                  <a:lnTo>
                    <a:pt x="109" y="246"/>
                  </a:lnTo>
                  <a:lnTo>
                    <a:pt x="109" y="243"/>
                  </a:lnTo>
                  <a:lnTo>
                    <a:pt x="113" y="237"/>
                  </a:lnTo>
                  <a:lnTo>
                    <a:pt x="124" y="237"/>
                  </a:lnTo>
                  <a:lnTo>
                    <a:pt x="134" y="237"/>
                  </a:lnTo>
                  <a:lnTo>
                    <a:pt x="137" y="241"/>
                  </a:lnTo>
                  <a:lnTo>
                    <a:pt x="137" y="235"/>
                  </a:lnTo>
                  <a:lnTo>
                    <a:pt x="143" y="226"/>
                  </a:lnTo>
                  <a:lnTo>
                    <a:pt x="143" y="220"/>
                  </a:lnTo>
                  <a:lnTo>
                    <a:pt x="143" y="214"/>
                  </a:lnTo>
                  <a:lnTo>
                    <a:pt x="141" y="213"/>
                  </a:lnTo>
                  <a:lnTo>
                    <a:pt x="147" y="205"/>
                  </a:lnTo>
                  <a:lnTo>
                    <a:pt x="149" y="197"/>
                  </a:lnTo>
                  <a:lnTo>
                    <a:pt x="149" y="192"/>
                  </a:lnTo>
                  <a:lnTo>
                    <a:pt x="154" y="192"/>
                  </a:lnTo>
                  <a:lnTo>
                    <a:pt x="179" y="184"/>
                  </a:lnTo>
                  <a:lnTo>
                    <a:pt x="200" y="184"/>
                  </a:lnTo>
                  <a:lnTo>
                    <a:pt x="211" y="192"/>
                  </a:lnTo>
                  <a:lnTo>
                    <a:pt x="215" y="192"/>
                  </a:lnTo>
                  <a:lnTo>
                    <a:pt x="216" y="197"/>
                  </a:lnTo>
                  <a:lnTo>
                    <a:pt x="216" y="197"/>
                  </a:lnTo>
                  <a:lnTo>
                    <a:pt x="216" y="19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4" name="Freeform 177">
              <a:extLst>
                <a:ext uri="{FF2B5EF4-FFF2-40B4-BE49-F238E27FC236}">
                  <a16:creationId xmlns:a16="http://schemas.microsoft.com/office/drawing/2014/main" id="{A7F18ECB-B731-4B15-AFA2-DCF971416621}"/>
                </a:ext>
              </a:extLst>
            </p:cNvPr>
            <p:cNvSpPr>
              <a:spLocks/>
            </p:cNvSpPr>
            <p:nvPr/>
          </p:nvSpPr>
          <p:spPr bwMode="auto">
            <a:xfrm>
              <a:off x="1651" y="3472"/>
              <a:ext cx="159" cy="164"/>
            </a:xfrm>
            <a:custGeom>
              <a:avLst/>
              <a:gdLst/>
              <a:ahLst/>
              <a:cxnLst>
                <a:cxn ang="0">
                  <a:pos x="2" y="51"/>
                </a:cxn>
                <a:cxn ang="0">
                  <a:pos x="6" y="36"/>
                </a:cxn>
                <a:cxn ang="0">
                  <a:pos x="6" y="29"/>
                </a:cxn>
                <a:cxn ang="0">
                  <a:pos x="12" y="13"/>
                </a:cxn>
                <a:cxn ang="0">
                  <a:pos x="17" y="8"/>
                </a:cxn>
                <a:cxn ang="0">
                  <a:pos x="64" y="0"/>
                </a:cxn>
                <a:cxn ang="0">
                  <a:pos x="79" y="10"/>
                </a:cxn>
                <a:cxn ang="0">
                  <a:pos x="81" y="17"/>
                </a:cxn>
                <a:cxn ang="0">
                  <a:pos x="85" y="27"/>
                </a:cxn>
                <a:cxn ang="0">
                  <a:pos x="89" y="46"/>
                </a:cxn>
                <a:cxn ang="0">
                  <a:pos x="89" y="51"/>
                </a:cxn>
                <a:cxn ang="0">
                  <a:pos x="95" y="55"/>
                </a:cxn>
                <a:cxn ang="0">
                  <a:pos x="108" y="57"/>
                </a:cxn>
                <a:cxn ang="0">
                  <a:pos x="121" y="55"/>
                </a:cxn>
                <a:cxn ang="0">
                  <a:pos x="128" y="59"/>
                </a:cxn>
                <a:cxn ang="0">
                  <a:pos x="136" y="83"/>
                </a:cxn>
                <a:cxn ang="0">
                  <a:pos x="140" y="91"/>
                </a:cxn>
                <a:cxn ang="0">
                  <a:pos x="153" y="89"/>
                </a:cxn>
                <a:cxn ang="0">
                  <a:pos x="159" y="91"/>
                </a:cxn>
                <a:cxn ang="0">
                  <a:pos x="157" y="113"/>
                </a:cxn>
                <a:cxn ang="0">
                  <a:pos x="155" y="115"/>
                </a:cxn>
                <a:cxn ang="0">
                  <a:pos x="155" y="119"/>
                </a:cxn>
                <a:cxn ang="0">
                  <a:pos x="153" y="121"/>
                </a:cxn>
                <a:cxn ang="0">
                  <a:pos x="153" y="128"/>
                </a:cxn>
                <a:cxn ang="0">
                  <a:pos x="149" y="140"/>
                </a:cxn>
                <a:cxn ang="0">
                  <a:pos x="147" y="145"/>
                </a:cxn>
                <a:cxn ang="0">
                  <a:pos x="136" y="157"/>
                </a:cxn>
                <a:cxn ang="0">
                  <a:pos x="128" y="160"/>
                </a:cxn>
                <a:cxn ang="0">
                  <a:pos x="123" y="164"/>
                </a:cxn>
                <a:cxn ang="0">
                  <a:pos x="119" y="164"/>
                </a:cxn>
                <a:cxn ang="0">
                  <a:pos x="108" y="162"/>
                </a:cxn>
                <a:cxn ang="0">
                  <a:pos x="83" y="160"/>
                </a:cxn>
                <a:cxn ang="0">
                  <a:pos x="81" y="157"/>
                </a:cxn>
                <a:cxn ang="0">
                  <a:pos x="89" y="143"/>
                </a:cxn>
                <a:cxn ang="0">
                  <a:pos x="89" y="136"/>
                </a:cxn>
                <a:cxn ang="0">
                  <a:pos x="96" y="128"/>
                </a:cxn>
                <a:cxn ang="0">
                  <a:pos x="95" y="121"/>
                </a:cxn>
                <a:cxn ang="0">
                  <a:pos x="85" y="111"/>
                </a:cxn>
                <a:cxn ang="0">
                  <a:pos x="66" y="106"/>
                </a:cxn>
                <a:cxn ang="0">
                  <a:pos x="55" y="100"/>
                </a:cxn>
                <a:cxn ang="0">
                  <a:pos x="36" y="91"/>
                </a:cxn>
                <a:cxn ang="0">
                  <a:pos x="31" y="83"/>
                </a:cxn>
                <a:cxn ang="0">
                  <a:pos x="12" y="70"/>
                </a:cxn>
                <a:cxn ang="0">
                  <a:pos x="6" y="62"/>
                </a:cxn>
                <a:cxn ang="0">
                  <a:pos x="0" y="57"/>
                </a:cxn>
                <a:cxn ang="0">
                  <a:pos x="0" y="57"/>
                </a:cxn>
              </a:cxnLst>
              <a:rect l="0" t="0" r="r" b="b"/>
              <a:pathLst>
                <a:path w="159" h="164">
                  <a:moveTo>
                    <a:pt x="0" y="57"/>
                  </a:moveTo>
                  <a:lnTo>
                    <a:pt x="2" y="51"/>
                  </a:lnTo>
                  <a:lnTo>
                    <a:pt x="6" y="42"/>
                  </a:lnTo>
                  <a:lnTo>
                    <a:pt x="6" y="36"/>
                  </a:lnTo>
                  <a:lnTo>
                    <a:pt x="6" y="30"/>
                  </a:lnTo>
                  <a:lnTo>
                    <a:pt x="6" y="29"/>
                  </a:lnTo>
                  <a:lnTo>
                    <a:pt x="10" y="21"/>
                  </a:lnTo>
                  <a:lnTo>
                    <a:pt x="12" y="13"/>
                  </a:lnTo>
                  <a:lnTo>
                    <a:pt x="12" y="10"/>
                  </a:lnTo>
                  <a:lnTo>
                    <a:pt x="17" y="8"/>
                  </a:lnTo>
                  <a:lnTo>
                    <a:pt x="42" y="0"/>
                  </a:lnTo>
                  <a:lnTo>
                    <a:pt x="64" y="0"/>
                  </a:lnTo>
                  <a:lnTo>
                    <a:pt x="76" y="10"/>
                  </a:lnTo>
                  <a:lnTo>
                    <a:pt x="79" y="10"/>
                  </a:lnTo>
                  <a:lnTo>
                    <a:pt x="83" y="13"/>
                  </a:lnTo>
                  <a:lnTo>
                    <a:pt x="81" y="17"/>
                  </a:lnTo>
                  <a:lnTo>
                    <a:pt x="85" y="21"/>
                  </a:lnTo>
                  <a:lnTo>
                    <a:pt x="85" y="27"/>
                  </a:lnTo>
                  <a:lnTo>
                    <a:pt x="89" y="32"/>
                  </a:lnTo>
                  <a:lnTo>
                    <a:pt x="89" y="46"/>
                  </a:lnTo>
                  <a:lnTo>
                    <a:pt x="89" y="47"/>
                  </a:lnTo>
                  <a:lnTo>
                    <a:pt x="89" y="51"/>
                  </a:lnTo>
                  <a:lnTo>
                    <a:pt x="89" y="57"/>
                  </a:lnTo>
                  <a:lnTo>
                    <a:pt x="95" y="55"/>
                  </a:lnTo>
                  <a:lnTo>
                    <a:pt x="98" y="57"/>
                  </a:lnTo>
                  <a:lnTo>
                    <a:pt x="108" y="57"/>
                  </a:lnTo>
                  <a:lnTo>
                    <a:pt x="113" y="59"/>
                  </a:lnTo>
                  <a:lnTo>
                    <a:pt x="121" y="55"/>
                  </a:lnTo>
                  <a:lnTo>
                    <a:pt x="125" y="59"/>
                  </a:lnTo>
                  <a:lnTo>
                    <a:pt x="128" y="59"/>
                  </a:lnTo>
                  <a:lnTo>
                    <a:pt x="130" y="62"/>
                  </a:lnTo>
                  <a:lnTo>
                    <a:pt x="136" y="83"/>
                  </a:lnTo>
                  <a:lnTo>
                    <a:pt x="140" y="91"/>
                  </a:lnTo>
                  <a:lnTo>
                    <a:pt x="140" y="91"/>
                  </a:lnTo>
                  <a:lnTo>
                    <a:pt x="149" y="87"/>
                  </a:lnTo>
                  <a:lnTo>
                    <a:pt x="153" y="89"/>
                  </a:lnTo>
                  <a:lnTo>
                    <a:pt x="157" y="91"/>
                  </a:lnTo>
                  <a:lnTo>
                    <a:pt x="159" y="91"/>
                  </a:lnTo>
                  <a:lnTo>
                    <a:pt x="157" y="94"/>
                  </a:lnTo>
                  <a:lnTo>
                    <a:pt x="157" y="113"/>
                  </a:lnTo>
                  <a:lnTo>
                    <a:pt x="155" y="115"/>
                  </a:lnTo>
                  <a:lnTo>
                    <a:pt x="155" y="115"/>
                  </a:lnTo>
                  <a:lnTo>
                    <a:pt x="155" y="115"/>
                  </a:lnTo>
                  <a:lnTo>
                    <a:pt x="155" y="119"/>
                  </a:lnTo>
                  <a:lnTo>
                    <a:pt x="155" y="121"/>
                  </a:lnTo>
                  <a:lnTo>
                    <a:pt x="153" y="121"/>
                  </a:lnTo>
                  <a:lnTo>
                    <a:pt x="153" y="127"/>
                  </a:lnTo>
                  <a:lnTo>
                    <a:pt x="153" y="128"/>
                  </a:lnTo>
                  <a:lnTo>
                    <a:pt x="153" y="136"/>
                  </a:lnTo>
                  <a:lnTo>
                    <a:pt x="149" y="140"/>
                  </a:lnTo>
                  <a:lnTo>
                    <a:pt x="147" y="143"/>
                  </a:lnTo>
                  <a:lnTo>
                    <a:pt x="147" y="145"/>
                  </a:lnTo>
                  <a:lnTo>
                    <a:pt x="138" y="153"/>
                  </a:lnTo>
                  <a:lnTo>
                    <a:pt x="136" y="157"/>
                  </a:lnTo>
                  <a:lnTo>
                    <a:pt x="134" y="162"/>
                  </a:lnTo>
                  <a:lnTo>
                    <a:pt x="128" y="160"/>
                  </a:lnTo>
                  <a:lnTo>
                    <a:pt x="127" y="162"/>
                  </a:lnTo>
                  <a:lnTo>
                    <a:pt x="123" y="164"/>
                  </a:lnTo>
                  <a:lnTo>
                    <a:pt x="121" y="164"/>
                  </a:lnTo>
                  <a:lnTo>
                    <a:pt x="119" y="164"/>
                  </a:lnTo>
                  <a:lnTo>
                    <a:pt x="115" y="164"/>
                  </a:lnTo>
                  <a:lnTo>
                    <a:pt x="108" y="162"/>
                  </a:lnTo>
                  <a:lnTo>
                    <a:pt x="96" y="159"/>
                  </a:lnTo>
                  <a:lnTo>
                    <a:pt x="83" y="160"/>
                  </a:lnTo>
                  <a:lnTo>
                    <a:pt x="81" y="160"/>
                  </a:lnTo>
                  <a:lnTo>
                    <a:pt x="81" y="157"/>
                  </a:lnTo>
                  <a:lnTo>
                    <a:pt x="85" y="149"/>
                  </a:lnTo>
                  <a:lnTo>
                    <a:pt x="89" y="143"/>
                  </a:lnTo>
                  <a:lnTo>
                    <a:pt x="89" y="140"/>
                  </a:lnTo>
                  <a:lnTo>
                    <a:pt x="89" y="136"/>
                  </a:lnTo>
                  <a:lnTo>
                    <a:pt x="95" y="134"/>
                  </a:lnTo>
                  <a:lnTo>
                    <a:pt x="96" y="128"/>
                  </a:lnTo>
                  <a:lnTo>
                    <a:pt x="96" y="125"/>
                  </a:lnTo>
                  <a:lnTo>
                    <a:pt x="95" y="121"/>
                  </a:lnTo>
                  <a:lnTo>
                    <a:pt x="89" y="115"/>
                  </a:lnTo>
                  <a:lnTo>
                    <a:pt x="85" y="111"/>
                  </a:lnTo>
                  <a:lnTo>
                    <a:pt x="74" y="110"/>
                  </a:lnTo>
                  <a:lnTo>
                    <a:pt x="66" y="106"/>
                  </a:lnTo>
                  <a:lnTo>
                    <a:pt x="59" y="100"/>
                  </a:lnTo>
                  <a:lnTo>
                    <a:pt x="55" y="100"/>
                  </a:lnTo>
                  <a:lnTo>
                    <a:pt x="47" y="94"/>
                  </a:lnTo>
                  <a:lnTo>
                    <a:pt x="36" y="91"/>
                  </a:lnTo>
                  <a:lnTo>
                    <a:pt x="34" y="87"/>
                  </a:lnTo>
                  <a:lnTo>
                    <a:pt x="31" y="83"/>
                  </a:lnTo>
                  <a:lnTo>
                    <a:pt x="25" y="83"/>
                  </a:lnTo>
                  <a:lnTo>
                    <a:pt x="12" y="70"/>
                  </a:lnTo>
                  <a:lnTo>
                    <a:pt x="10" y="62"/>
                  </a:lnTo>
                  <a:lnTo>
                    <a:pt x="6" y="62"/>
                  </a:lnTo>
                  <a:lnTo>
                    <a:pt x="2" y="59"/>
                  </a:lnTo>
                  <a:lnTo>
                    <a:pt x="0" y="57"/>
                  </a:lnTo>
                  <a:lnTo>
                    <a:pt x="0" y="57"/>
                  </a:lnTo>
                  <a:lnTo>
                    <a:pt x="0"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5" name="Freeform 178">
              <a:extLst>
                <a:ext uri="{FF2B5EF4-FFF2-40B4-BE49-F238E27FC236}">
                  <a16:creationId xmlns:a16="http://schemas.microsoft.com/office/drawing/2014/main" id="{EB302BD9-1266-4C35-8151-17E39CA6B384}"/>
                </a:ext>
              </a:extLst>
            </p:cNvPr>
            <p:cNvSpPr>
              <a:spLocks/>
            </p:cNvSpPr>
            <p:nvPr/>
          </p:nvSpPr>
          <p:spPr bwMode="auto">
            <a:xfrm>
              <a:off x="1746" y="3685"/>
              <a:ext cx="96" cy="111"/>
            </a:xfrm>
            <a:custGeom>
              <a:avLst/>
              <a:gdLst/>
              <a:ahLst/>
              <a:cxnLst>
                <a:cxn ang="0">
                  <a:pos x="13" y="2"/>
                </a:cxn>
                <a:cxn ang="0">
                  <a:pos x="26" y="0"/>
                </a:cxn>
                <a:cxn ang="0">
                  <a:pos x="33" y="10"/>
                </a:cxn>
                <a:cxn ang="0">
                  <a:pos x="39" y="17"/>
                </a:cxn>
                <a:cxn ang="0">
                  <a:pos x="45" y="25"/>
                </a:cxn>
                <a:cxn ang="0">
                  <a:pos x="52" y="21"/>
                </a:cxn>
                <a:cxn ang="0">
                  <a:pos x="62" y="30"/>
                </a:cxn>
                <a:cxn ang="0">
                  <a:pos x="69" y="34"/>
                </a:cxn>
                <a:cxn ang="0">
                  <a:pos x="75" y="40"/>
                </a:cxn>
                <a:cxn ang="0">
                  <a:pos x="84" y="49"/>
                </a:cxn>
                <a:cxn ang="0">
                  <a:pos x="94" y="59"/>
                </a:cxn>
                <a:cxn ang="0">
                  <a:pos x="90" y="68"/>
                </a:cxn>
                <a:cxn ang="0">
                  <a:pos x="92" y="76"/>
                </a:cxn>
                <a:cxn ang="0">
                  <a:pos x="96" y="79"/>
                </a:cxn>
                <a:cxn ang="0">
                  <a:pos x="94" y="83"/>
                </a:cxn>
                <a:cxn ang="0">
                  <a:pos x="92" y="91"/>
                </a:cxn>
                <a:cxn ang="0">
                  <a:pos x="88" y="98"/>
                </a:cxn>
                <a:cxn ang="0">
                  <a:pos x="84" y="100"/>
                </a:cxn>
                <a:cxn ang="0">
                  <a:pos x="75" y="108"/>
                </a:cxn>
                <a:cxn ang="0">
                  <a:pos x="69" y="108"/>
                </a:cxn>
                <a:cxn ang="0">
                  <a:pos x="69" y="111"/>
                </a:cxn>
                <a:cxn ang="0">
                  <a:pos x="64" y="111"/>
                </a:cxn>
                <a:cxn ang="0">
                  <a:pos x="60" y="108"/>
                </a:cxn>
                <a:cxn ang="0">
                  <a:pos x="52" y="108"/>
                </a:cxn>
                <a:cxn ang="0">
                  <a:pos x="43" y="111"/>
                </a:cxn>
                <a:cxn ang="0">
                  <a:pos x="43" y="108"/>
                </a:cxn>
                <a:cxn ang="0">
                  <a:pos x="39" y="108"/>
                </a:cxn>
                <a:cxn ang="0">
                  <a:pos x="32" y="102"/>
                </a:cxn>
                <a:cxn ang="0">
                  <a:pos x="18" y="102"/>
                </a:cxn>
                <a:cxn ang="0">
                  <a:pos x="13" y="98"/>
                </a:cxn>
                <a:cxn ang="0">
                  <a:pos x="3" y="89"/>
                </a:cxn>
                <a:cxn ang="0">
                  <a:pos x="0" y="74"/>
                </a:cxn>
                <a:cxn ang="0">
                  <a:pos x="0" y="72"/>
                </a:cxn>
                <a:cxn ang="0">
                  <a:pos x="7" y="66"/>
                </a:cxn>
                <a:cxn ang="0">
                  <a:pos x="3" y="51"/>
                </a:cxn>
                <a:cxn ang="0">
                  <a:pos x="3" y="43"/>
                </a:cxn>
                <a:cxn ang="0">
                  <a:pos x="3" y="34"/>
                </a:cxn>
                <a:cxn ang="0">
                  <a:pos x="7" y="25"/>
                </a:cxn>
                <a:cxn ang="0">
                  <a:pos x="7" y="19"/>
                </a:cxn>
                <a:cxn ang="0">
                  <a:pos x="9" y="8"/>
                </a:cxn>
                <a:cxn ang="0">
                  <a:pos x="13" y="2"/>
                </a:cxn>
                <a:cxn ang="0">
                  <a:pos x="13" y="2"/>
                </a:cxn>
              </a:cxnLst>
              <a:rect l="0" t="0" r="r" b="b"/>
              <a:pathLst>
                <a:path w="96" h="111">
                  <a:moveTo>
                    <a:pt x="13" y="2"/>
                  </a:moveTo>
                  <a:lnTo>
                    <a:pt x="13" y="2"/>
                  </a:lnTo>
                  <a:lnTo>
                    <a:pt x="15" y="4"/>
                  </a:lnTo>
                  <a:lnTo>
                    <a:pt x="26" y="0"/>
                  </a:lnTo>
                  <a:lnTo>
                    <a:pt x="30" y="4"/>
                  </a:lnTo>
                  <a:lnTo>
                    <a:pt x="33" y="10"/>
                  </a:lnTo>
                  <a:lnTo>
                    <a:pt x="37" y="10"/>
                  </a:lnTo>
                  <a:lnTo>
                    <a:pt x="39" y="17"/>
                  </a:lnTo>
                  <a:lnTo>
                    <a:pt x="43" y="25"/>
                  </a:lnTo>
                  <a:lnTo>
                    <a:pt x="45" y="25"/>
                  </a:lnTo>
                  <a:lnTo>
                    <a:pt x="48" y="21"/>
                  </a:lnTo>
                  <a:lnTo>
                    <a:pt x="52" y="21"/>
                  </a:lnTo>
                  <a:lnTo>
                    <a:pt x="56" y="28"/>
                  </a:lnTo>
                  <a:lnTo>
                    <a:pt x="62" y="30"/>
                  </a:lnTo>
                  <a:lnTo>
                    <a:pt x="65" y="30"/>
                  </a:lnTo>
                  <a:lnTo>
                    <a:pt x="69" y="34"/>
                  </a:lnTo>
                  <a:lnTo>
                    <a:pt x="69" y="40"/>
                  </a:lnTo>
                  <a:lnTo>
                    <a:pt x="75" y="40"/>
                  </a:lnTo>
                  <a:lnTo>
                    <a:pt x="82" y="43"/>
                  </a:lnTo>
                  <a:lnTo>
                    <a:pt x="84" y="49"/>
                  </a:lnTo>
                  <a:lnTo>
                    <a:pt x="90" y="55"/>
                  </a:lnTo>
                  <a:lnTo>
                    <a:pt x="94" y="59"/>
                  </a:lnTo>
                  <a:lnTo>
                    <a:pt x="94" y="64"/>
                  </a:lnTo>
                  <a:lnTo>
                    <a:pt x="90" y="68"/>
                  </a:lnTo>
                  <a:lnTo>
                    <a:pt x="92" y="74"/>
                  </a:lnTo>
                  <a:lnTo>
                    <a:pt x="92" y="76"/>
                  </a:lnTo>
                  <a:lnTo>
                    <a:pt x="92" y="77"/>
                  </a:lnTo>
                  <a:lnTo>
                    <a:pt x="96" y="79"/>
                  </a:lnTo>
                  <a:lnTo>
                    <a:pt x="96" y="81"/>
                  </a:lnTo>
                  <a:lnTo>
                    <a:pt x="94" y="83"/>
                  </a:lnTo>
                  <a:lnTo>
                    <a:pt x="92" y="87"/>
                  </a:lnTo>
                  <a:lnTo>
                    <a:pt x="92" y="91"/>
                  </a:lnTo>
                  <a:lnTo>
                    <a:pt x="88" y="94"/>
                  </a:lnTo>
                  <a:lnTo>
                    <a:pt x="88" y="98"/>
                  </a:lnTo>
                  <a:lnTo>
                    <a:pt x="88" y="98"/>
                  </a:lnTo>
                  <a:lnTo>
                    <a:pt x="84" y="100"/>
                  </a:lnTo>
                  <a:lnTo>
                    <a:pt x="82" y="106"/>
                  </a:lnTo>
                  <a:lnTo>
                    <a:pt x="75" y="108"/>
                  </a:lnTo>
                  <a:lnTo>
                    <a:pt x="73" y="108"/>
                  </a:lnTo>
                  <a:lnTo>
                    <a:pt x="69" y="108"/>
                  </a:lnTo>
                  <a:lnTo>
                    <a:pt x="69" y="111"/>
                  </a:lnTo>
                  <a:lnTo>
                    <a:pt x="69" y="111"/>
                  </a:lnTo>
                  <a:lnTo>
                    <a:pt x="67" y="111"/>
                  </a:lnTo>
                  <a:lnTo>
                    <a:pt x="64" y="111"/>
                  </a:lnTo>
                  <a:lnTo>
                    <a:pt x="62" y="111"/>
                  </a:lnTo>
                  <a:lnTo>
                    <a:pt x="60" y="108"/>
                  </a:lnTo>
                  <a:lnTo>
                    <a:pt x="56" y="108"/>
                  </a:lnTo>
                  <a:lnTo>
                    <a:pt x="52" y="108"/>
                  </a:lnTo>
                  <a:lnTo>
                    <a:pt x="45" y="111"/>
                  </a:lnTo>
                  <a:lnTo>
                    <a:pt x="43" y="111"/>
                  </a:lnTo>
                  <a:lnTo>
                    <a:pt x="43" y="108"/>
                  </a:lnTo>
                  <a:lnTo>
                    <a:pt x="43" y="108"/>
                  </a:lnTo>
                  <a:lnTo>
                    <a:pt x="43" y="108"/>
                  </a:lnTo>
                  <a:lnTo>
                    <a:pt x="39" y="108"/>
                  </a:lnTo>
                  <a:lnTo>
                    <a:pt x="37" y="106"/>
                  </a:lnTo>
                  <a:lnTo>
                    <a:pt x="32" y="102"/>
                  </a:lnTo>
                  <a:lnTo>
                    <a:pt x="28" y="102"/>
                  </a:lnTo>
                  <a:lnTo>
                    <a:pt x="18" y="102"/>
                  </a:lnTo>
                  <a:lnTo>
                    <a:pt x="15" y="102"/>
                  </a:lnTo>
                  <a:lnTo>
                    <a:pt x="13" y="98"/>
                  </a:lnTo>
                  <a:lnTo>
                    <a:pt x="9" y="96"/>
                  </a:lnTo>
                  <a:lnTo>
                    <a:pt x="3" y="89"/>
                  </a:lnTo>
                  <a:lnTo>
                    <a:pt x="0" y="81"/>
                  </a:lnTo>
                  <a:lnTo>
                    <a:pt x="0" y="74"/>
                  </a:lnTo>
                  <a:lnTo>
                    <a:pt x="0" y="74"/>
                  </a:lnTo>
                  <a:lnTo>
                    <a:pt x="0" y="72"/>
                  </a:lnTo>
                  <a:lnTo>
                    <a:pt x="3" y="68"/>
                  </a:lnTo>
                  <a:lnTo>
                    <a:pt x="7" y="66"/>
                  </a:lnTo>
                  <a:lnTo>
                    <a:pt x="3" y="60"/>
                  </a:lnTo>
                  <a:lnTo>
                    <a:pt x="3" y="51"/>
                  </a:lnTo>
                  <a:lnTo>
                    <a:pt x="3" y="49"/>
                  </a:lnTo>
                  <a:lnTo>
                    <a:pt x="3" y="43"/>
                  </a:lnTo>
                  <a:lnTo>
                    <a:pt x="3" y="40"/>
                  </a:lnTo>
                  <a:lnTo>
                    <a:pt x="3" y="34"/>
                  </a:lnTo>
                  <a:lnTo>
                    <a:pt x="7" y="34"/>
                  </a:lnTo>
                  <a:lnTo>
                    <a:pt x="7" y="25"/>
                  </a:lnTo>
                  <a:lnTo>
                    <a:pt x="3" y="21"/>
                  </a:lnTo>
                  <a:lnTo>
                    <a:pt x="7" y="19"/>
                  </a:lnTo>
                  <a:lnTo>
                    <a:pt x="7" y="10"/>
                  </a:lnTo>
                  <a:lnTo>
                    <a:pt x="9" y="8"/>
                  </a:lnTo>
                  <a:lnTo>
                    <a:pt x="9" y="4"/>
                  </a:lnTo>
                  <a:lnTo>
                    <a:pt x="13" y="2"/>
                  </a:lnTo>
                  <a:lnTo>
                    <a:pt x="13" y="2"/>
                  </a:lnTo>
                  <a:lnTo>
                    <a:pt x="13"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6" name="Freeform 179">
              <a:extLst>
                <a:ext uri="{FF2B5EF4-FFF2-40B4-BE49-F238E27FC236}">
                  <a16:creationId xmlns:a16="http://schemas.microsoft.com/office/drawing/2014/main" id="{B86CECE0-1C0E-4C31-89B2-BBE85ED2DF2E}"/>
                </a:ext>
              </a:extLst>
            </p:cNvPr>
            <p:cNvSpPr>
              <a:spLocks noEditPoints="1"/>
            </p:cNvSpPr>
            <p:nvPr/>
          </p:nvSpPr>
          <p:spPr bwMode="auto">
            <a:xfrm>
              <a:off x="5027" y="2267"/>
              <a:ext cx="79" cy="137"/>
            </a:xfrm>
            <a:custGeom>
              <a:avLst/>
              <a:gdLst/>
              <a:ahLst/>
              <a:cxnLst>
                <a:cxn ang="0">
                  <a:pos x="50" y="100"/>
                </a:cxn>
                <a:cxn ang="0">
                  <a:pos x="48" y="98"/>
                </a:cxn>
                <a:cxn ang="0">
                  <a:pos x="22" y="113"/>
                </a:cxn>
                <a:cxn ang="0">
                  <a:pos x="22" y="109"/>
                </a:cxn>
                <a:cxn ang="0">
                  <a:pos x="24" y="111"/>
                </a:cxn>
                <a:cxn ang="0">
                  <a:pos x="22" y="113"/>
                </a:cxn>
                <a:cxn ang="0">
                  <a:pos x="64" y="92"/>
                </a:cxn>
                <a:cxn ang="0">
                  <a:pos x="62" y="100"/>
                </a:cxn>
                <a:cxn ang="0">
                  <a:pos x="64" y="92"/>
                </a:cxn>
                <a:cxn ang="0">
                  <a:pos x="64" y="92"/>
                </a:cxn>
                <a:cxn ang="0">
                  <a:pos x="73" y="115"/>
                </a:cxn>
                <a:cxn ang="0">
                  <a:pos x="77" y="115"/>
                </a:cxn>
                <a:cxn ang="0">
                  <a:pos x="75" y="117"/>
                </a:cxn>
                <a:cxn ang="0">
                  <a:pos x="77" y="109"/>
                </a:cxn>
                <a:cxn ang="0">
                  <a:pos x="75" y="105"/>
                </a:cxn>
                <a:cxn ang="0">
                  <a:pos x="79" y="105"/>
                </a:cxn>
                <a:cxn ang="0">
                  <a:pos x="77" y="109"/>
                </a:cxn>
                <a:cxn ang="0">
                  <a:pos x="26" y="137"/>
                </a:cxn>
                <a:cxn ang="0">
                  <a:pos x="35" y="130"/>
                </a:cxn>
                <a:cxn ang="0">
                  <a:pos x="35" y="137"/>
                </a:cxn>
                <a:cxn ang="0">
                  <a:pos x="26" y="137"/>
                </a:cxn>
                <a:cxn ang="0">
                  <a:pos x="0" y="24"/>
                </a:cxn>
                <a:cxn ang="0">
                  <a:pos x="7" y="22"/>
                </a:cxn>
                <a:cxn ang="0">
                  <a:pos x="16" y="36"/>
                </a:cxn>
                <a:cxn ang="0">
                  <a:pos x="20" y="45"/>
                </a:cxn>
                <a:cxn ang="0">
                  <a:pos x="15" y="41"/>
                </a:cxn>
                <a:cxn ang="0">
                  <a:pos x="7" y="51"/>
                </a:cxn>
                <a:cxn ang="0">
                  <a:pos x="16" y="58"/>
                </a:cxn>
                <a:cxn ang="0">
                  <a:pos x="22" y="66"/>
                </a:cxn>
                <a:cxn ang="0">
                  <a:pos x="20" y="79"/>
                </a:cxn>
                <a:cxn ang="0">
                  <a:pos x="20" y="86"/>
                </a:cxn>
                <a:cxn ang="0">
                  <a:pos x="20" y="92"/>
                </a:cxn>
                <a:cxn ang="0">
                  <a:pos x="26" y="107"/>
                </a:cxn>
                <a:cxn ang="0">
                  <a:pos x="32" y="109"/>
                </a:cxn>
                <a:cxn ang="0">
                  <a:pos x="35" y="101"/>
                </a:cxn>
                <a:cxn ang="0">
                  <a:pos x="47" y="96"/>
                </a:cxn>
                <a:cxn ang="0">
                  <a:pos x="54" y="96"/>
                </a:cxn>
                <a:cxn ang="0">
                  <a:pos x="58" y="96"/>
                </a:cxn>
                <a:cxn ang="0">
                  <a:pos x="67" y="90"/>
                </a:cxn>
                <a:cxn ang="0">
                  <a:pos x="71" y="81"/>
                </a:cxn>
                <a:cxn ang="0">
                  <a:pos x="67" y="68"/>
                </a:cxn>
                <a:cxn ang="0">
                  <a:pos x="64" y="45"/>
                </a:cxn>
                <a:cxn ang="0">
                  <a:pos x="43" y="13"/>
                </a:cxn>
                <a:cxn ang="0">
                  <a:pos x="16" y="5"/>
                </a:cxn>
                <a:cxn ang="0">
                  <a:pos x="0" y="20"/>
                </a:cxn>
                <a:cxn ang="0">
                  <a:pos x="0" y="24"/>
                </a:cxn>
              </a:cxnLst>
              <a:rect l="0" t="0" r="r" b="b"/>
              <a:pathLst>
                <a:path w="79" h="137">
                  <a:moveTo>
                    <a:pt x="48" y="98"/>
                  </a:moveTo>
                  <a:lnTo>
                    <a:pt x="50" y="98"/>
                  </a:lnTo>
                  <a:lnTo>
                    <a:pt x="50" y="100"/>
                  </a:lnTo>
                  <a:lnTo>
                    <a:pt x="48" y="100"/>
                  </a:lnTo>
                  <a:lnTo>
                    <a:pt x="48" y="98"/>
                  </a:lnTo>
                  <a:lnTo>
                    <a:pt x="48" y="98"/>
                  </a:lnTo>
                  <a:lnTo>
                    <a:pt x="48" y="98"/>
                  </a:lnTo>
                  <a:lnTo>
                    <a:pt x="48" y="98"/>
                  </a:lnTo>
                  <a:close/>
                  <a:moveTo>
                    <a:pt x="22" y="113"/>
                  </a:moveTo>
                  <a:lnTo>
                    <a:pt x="20" y="109"/>
                  </a:lnTo>
                  <a:lnTo>
                    <a:pt x="20" y="109"/>
                  </a:lnTo>
                  <a:lnTo>
                    <a:pt x="22" y="109"/>
                  </a:lnTo>
                  <a:lnTo>
                    <a:pt x="24" y="105"/>
                  </a:lnTo>
                  <a:lnTo>
                    <a:pt x="24" y="109"/>
                  </a:lnTo>
                  <a:lnTo>
                    <a:pt x="24" y="111"/>
                  </a:lnTo>
                  <a:lnTo>
                    <a:pt x="24" y="111"/>
                  </a:lnTo>
                  <a:lnTo>
                    <a:pt x="22" y="113"/>
                  </a:lnTo>
                  <a:lnTo>
                    <a:pt x="22" y="113"/>
                  </a:lnTo>
                  <a:lnTo>
                    <a:pt x="22" y="113"/>
                  </a:lnTo>
                  <a:lnTo>
                    <a:pt x="22" y="113"/>
                  </a:lnTo>
                  <a:close/>
                  <a:moveTo>
                    <a:pt x="64" y="92"/>
                  </a:moveTo>
                  <a:lnTo>
                    <a:pt x="60" y="96"/>
                  </a:lnTo>
                  <a:lnTo>
                    <a:pt x="60" y="96"/>
                  </a:lnTo>
                  <a:lnTo>
                    <a:pt x="62" y="100"/>
                  </a:lnTo>
                  <a:lnTo>
                    <a:pt x="64" y="98"/>
                  </a:lnTo>
                  <a:lnTo>
                    <a:pt x="64" y="96"/>
                  </a:lnTo>
                  <a:lnTo>
                    <a:pt x="64" y="92"/>
                  </a:lnTo>
                  <a:lnTo>
                    <a:pt x="64" y="92"/>
                  </a:lnTo>
                  <a:lnTo>
                    <a:pt x="64" y="92"/>
                  </a:lnTo>
                  <a:lnTo>
                    <a:pt x="64" y="92"/>
                  </a:lnTo>
                  <a:lnTo>
                    <a:pt x="64" y="92"/>
                  </a:lnTo>
                  <a:close/>
                  <a:moveTo>
                    <a:pt x="75" y="117"/>
                  </a:moveTo>
                  <a:lnTo>
                    <a:pt x="73" y="115"/>
                  </a:lnTo>
                  <a:lnTo>
                    <a:pt x="75" y="113"/>
                  </a:lnTo>
                  <a:lnTo>
                    <a:pt x="79" y="113"/>
                  </a:lnTo>
                  <a:lnTo>
                    <a:pt x="77" y="115"/>
                  </a:lnTo>
                  <a:lnTo>
                    <a:pt x="75" y="117"/>
                  </a:lnTo>
                  <a:lnTo>
                    <a:pt x="75" y="117"/>
                  </a:lnTo>
                  <a:lnTo>
                    <a:pt x="75" y="117"/>
                  </a:lnTo>
                  <a:lnTo>
                    <a:pt x="75" y="117"/>
                  </a:lnTo>
                  <a:lnTo>
                    <a:pt x="75" y="117"/>
                  </a:lnTo>
                  <a:close/>
                  <a:moveTo>
                    <a:pt x="77" y="109"/>
                  </a:moveTo>
                  <a:lnTo>
                    <a:pt x="75" y="111"/>
                  </a:lnTo>
                  <a:lnTo>
                    <a:pt x="75" y="107"/>
                  </a:lnTo>
                  <a:lnTo>
                    <a:pt x="75" y="105"/>
                  </a:lnTo>
                  <a:lnTo>
                    <a:pt x="77" y="101"/>
                  </a:lnTo>
                  <a:lnTo>
                    <a:pt x="79" y="101"/>
                  </a:lnTo>
                  <a:lnTo>
                    <a:pt x="79" y="105"/>
                  </a:lnTo>
                  <a:lnTo>
                    <a:pt x="79" y="105"/>
                  </a:lnTo>
                  <a:lnTo>
                    <a:pt x="77" y="109"/>
                  </a:lnTo>
                  <a:lnTo>
                    <a:pt x="77" y="109"/>
                  </a:lnTo>
                  <a:lnTo>
                    <a:pt x="77" y="109"/>
                  </a:lnTo>
                  <a:lnTo>
                    <a:pt x="77" y="109"/>
                  </a:lnTo>
                  <a:close/>
                  <a:moveTo>
                    <a:pt x="26" y="137"/>
                  </a:moveTo>
                  <a:lnTo>
                    <a:pt x="26" y="135"/>
                  </a:lnTo>
                  <a:lnTo>
                    <a:pt x="28" y="132"/>
                  </a:lnTo>
                  <a:lnTo>
                    <a:pt x="35" y="130"/>
                  </a:lnTo>
                  <a:lnTo>
                    <a:pt x="39" y="132"/>
                  </a:lnTo>
                  <a:lnTo>
                    <a:pt x="39" y="132"/>
                  </a:lnTo>
                  <a:lnTo>
                    <a:pt x="35" y="137"/>
                  </a:lnTo>
                  <a:lnTo>
                    <a:pt x="32" y="137"/>
                  </a:lnTo>
                  <a:lnTo>
                    <a:pt x="26" y="137"/>
                  </a:lnTo>
                  <a:lnTo>
                    <a:pt x="26" y="137"/>
                  </a:lnTo>
                  <a:lnTo>
                    <a:pt x="26" y="137"/>
                  </a:lnTo>
                  <a:lnTo>
                    <a:pt x="26" y="137"/>
                  </a:lnTo>
                  <a:close/>
                  <a:moveTo>
                    <a:pt x="0" y="24"/>
                  </a:moveTo>
                  <a:lnTo>
                    <a:pt x="0" y="24"/>
                  </a:lnTo>
                  <a:lnTo>
                    <a:pt x="3" y="22"/>
                  </a:lnTo>
                  <a:lnTo>
                    <a:pt x="7" y="22"/>
                  </a:lnTo>
                  <a:lnTo>
                    <a:pt x="3" y="24"/>
                  </a:lnTo>
                  <a:lnTo>
                    <a:pt x="11" y="30"/>
                  </a:lnTo>
                  <a:lnTo>
                    <a:pt x="16" y="36"/>
                  </a:lnTo>
                  <a:lnTo>
                    <a:pt x="20" y="39"/>
                  </a:lnTo>
                  <a:lnTo>
                    <a:pt x="16" y="41"/>
                  </a:lnTo>
                  <a:lnTo>
                    <a:pt x="20" y="45"/>
                  </a:lnTo>
                  <a:lnTo>
                    <a:pt x="20" y="47"/>
                  </a:lnTo>
                  <a:lnTo>
                    <a:pt x="16" y="45"/>
                  </a:lnTo>
                  <a:lnTo>
                    <a:pt x="15" y="41"/>
                  </a:lnTo>
                  <a:lnTo>
                    <a:pt x="13" y="45"/>
                  </a:lnTo>
                  <a:lnTo>
                    <a:pt x="11" y="45"/>
                  </a:lnTo>
                  <a:lnTo>
                    <a:pt x="7" y="51"/>
                  </a:lnTo>
                  <a:lnTo>
                    <a:pt x="15" y="54"/>
                  </a:lnTo>
                  <a:lnTo>
                    <a:pt x="16" y="54"/>
                  </a:lnTo>
                  <a:lnTo>
                    <a:pt x="16" y="58"/>
                  </a:lnTo>
                  <a:lnTo>
                    <a:pt x="20" y="66"/>
                  </a:lnTo>
                  <a:lnTo>
                    <a:pt x="20" y="68"/>
                  </a:lnTo>
                  <a:lnTo>
                    <a:pt x="22" y="66"/>
                  </a:lnTo>
                  <a:lnTo>
                    <a:pt x="24" y="73"/>
                  </a:lnTo>
                  <a:lnTo>
                    <a:pt x="20" y="77"/>
                  </a:lnTo>
                  <a:lnTo>
                    <a:pt x="20" y="79"/>
                  </a:lnTo>
                  <a:lnTo>
                    <a:pt x="20" y="83"/>
                  </a:lnTo>
                  <a:lnTo>
                    <a:pt x="20" y="85"/>
                  </a:lnTo>
                  <a:lnTo>
                    <a:pt x="20" y="86"/>
                  </a:lnTo>
                  <a:lnTo>
                    <a:pt x="20" y="90"/>
                  </a:lnTo>
                  <a:lnTo>
                    <a:pt x="20" y="92"/>
                  </a:lnTo>
                  <a:lnTo>
                    <a:pt x="20" y="92"/>
                  </a:lnTo>
                  <a:lnTo>
                    <a:pt x="22" y="101"/>
                  </a:lnTo>
                  <a:lnTo>
                    <a:pt x="26" y="101"/>
                  </a:lnTo>
                  <a:lnTo>
                    <a:pt x="26" y="107"/>
                  </a:lnTo>
                  <a:lnTo>
                    <a:pt x="28" y="107"/>
                  </a:lnTo>
                  <a:lnTo>
                    <a:pt x="28" y="111"/>
                  </a:lnTo>
                  <a:lnTo>
                    <a:pt x="32" y="109"/>
                  </a:lnTo>
                  <a:lnTo>
                    <a:pt x="32" y="105"/>
                  </a:lnTo>
                  <a:lnTo>
                    <a:pt x="33" y="105"/>
                  </a:lnTo>
                  <a:lnTo>
                    <a:pt x="35" y="101"/>
                  </a:lnTo>
                  <a:lnTo>
                    <a:pt x="43" y="96"/>
                  </a:lnTo>
                  <a:lnTo>
                    <a:pt x="47" y="96"/>
                  </a:lnTo>
                  <a:lnTo>
                    <a:pt x="47" y="96"/>
                  </a:lnTo>
                  <a:lnTo>
                    <a:pt x="50" y="92"/>
                  </a:lnTo>
                  <a:lnTo>
                    <a:pt x="50" y="92"/>
                  </a:lnTo>
                  <a:lnTo>
                    <a:pt x="54" y="96"/>
                  </a:lnTo>
                  <a:lnTo>
                    <a:pt x="56" y="96"/>
                  </a:lnTo>
                  <a:lnTo>
                    <a:pt x="56" y="98"/>
                  </a:lnTo>
                  <a:lnTo>
                    <a:pt x="58" y="96"/>
                  </a:lnTo>
                  <a:lnTo>
                    <a:pt x="58" y="92"/>
                  </a:lnTo>
                  <a:lnTo>
                    <a:pt x="62" y="90"/>
                  </a:lnTo>
                  <a:lnTo>
                    <a:pt x="67" y="90"/>
                  </a:lnTo>
                  <a:lnTo>
                    <a:pt x="69" y="85"/>
                  </a:lnTo>
                  <a:lnTo>
                    <a:pt x="69" y="83"/>
                  </a:lnTo>
                  <a:lnTo>
                    <a:pt x="71" y="81"/>
                  </a:lnTo>
                  <a:lnTo>
                    <a:pt x="71" y="66"/>
                  </a:lnTo>
                  <a:lnTo>
                    <a:pt x="69" y="66"/>
                  </a:lnTo>
                  <a:lnTo>
                    <a:pt x="67" y="68"/>
                  </a:lnTo>
                  <a:lnTo>
                    <a:pt x="67" y="62"/>
                  </a:lnTo>
                  <a:lnTo>
                    <a:pt x="67" y="51"/>
                  </a:lnTo>
                  <a:lnTo>
                    <a:pt x="64" y="45"/>
                  </a:lnTo>
                  <a:lnTo>
                    <a:pt x="64" y="39"/>
                  </a:lnTo>
                  <a:lnTo>
                    <a:pt x="54" y="24"/>
                  </a:lnTo>
                  <a:lnTo>
                    <a:pt x="43" y="13"/>
                  </a:lnTo>
                  <a:lnTo>
                    <a:pt x="35" y="0"/>
                  </a:lnTo>
                  <a:lnTo>
                    <a:pt x="30" y="5"/>
                  </a:lnTo>
                  <a:lnTo>
                    <a:pt x="16" y="5"/>
                  </a:lnTo>
                  <a:lnTo>
                    <a:pt x="11" y="13"/>
                  </a:lnTo>
                  <a:lnTo>
                    <a:pt x="7" y="13"/>
                  </a:lnTo>
                  <a:lnTo>
                    <a:pt x="0" y="20"/>
                  </a:lnTo>
                  <a:lnTo>
                    <a:pt x="0" y="24"/>
                  </a:lnTo>
                  <a:lnTo>
                    <a:pt x="0" y="24"/>
                  </a:lnTo>
                  <a:lnTo>
                    <a:pt x="0"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7" name="Freeform 180">
              <a:extLst>
                <a:ext uri="{FF2B5EF4-FFF2-40B4-BE49-F238E27FC236}">
                  <a16:creationId xmlns:a16="http://schemas.microsoft.com/office/drawing/2014/main" id="{1A1EC945-E153-4883-8013-02D6ADE6360A}"/>
                </a:ext>
              </a:extLst>
            </p:cNvPr>
            <p:cNvSpPr>
              <a:spLocks/>
            </p:cNvSpPr>
            <p:nvPr/>
          </p:nvSpPr>
          <p:spPr bwMode="auto">
            <a:xfrm>
              <a:off x="4983" y="2146"/>
              <a:ext cx="91" cy="153"/>
            </a:xfrm>
            <a:custGeom>
              <a:avLst/>
              <a:gdLst/>
              <a:ahLst/>
              <a:cxnLst>
                <a:cxn ang="0">
                  <a:pos x="0" y="85"/>
                </a:cxn>
                <a:cxn ang="0">
                  <a:pos x="8" y="76"/>
                </a:cxn>
                <a:cxn ang="0">
                  <a:pos x="13" y="70"/>
                </a:cxn>
                <a:cxn ang="0">
                  <a:pos x="21" y="62"/>
                </a:cxn>
                <a:cxn ang="0">
                  <a:pos x="25" y="49"/>
                </a:cxn>
                <a:cxn ang="0">
                  <a:pos x="25" y="40"/>
                </a:cxn>
                <a:cxn ang="0">
                  <a:pos x="32" y="44"/>
                </a:cxn>
                <a:cxn ang="0">
                  <a:pos x="38" y="45"/>
                </a:cxn>
                <a:cxn ang="0">
                  <a:pos x="45" y="45"/>
                </a:cxn>
                <a:cxn ang="0">
                  <a:pos x="57" y="45"/>
                </a:cxn>
                <a:cxn ang="0">
                  <a:pos x="60" y="40"/>
                </a:cxn>
                <a:cxn ang="0">
                  <a:pos x="53" y="30"/>
                </a:cxn>
                <a:cxn ang="0">
                  <a:pos x="59" y="30"/>
                </a:cxn>
                <a:cxn ang="0">
                  <a:pos x="66" y="19"/>
                </a:cxn>
                <a:cxn ang="0">
                  <a:pos x="74" y="15"/>
                </a:cxn>
                <a:cxn ang="0">
                  <a:pos x="74" y="10"/>
                </a:cxn>
                <a:cxn ang="0">
                  <a:pos x="74" y="0"/>
                </a:cxn>
                <a:cxn ang="0">
                  <a:pos x="79" y="4"/>
                </a:cxn>
                <a:cxn ang="0">
                  <a:pos x="79" y="10"/>
                </a:cxn>
                <a:cxn ang="0">
                  <a:pos x="91" y="15"/>
                </a:cxn>
                <a:cxn ang="0">
                  <a:pos x="83" y="23"/>
                </a:cxn>
                <a:cxn ang="0">
                  <a:pos x="83" y="27"/>
                </a:cxn>
                <a:cxn ang="0">
                  <a:pos x="79" y="40"/>
                </a:cxn>
                <a:cxn ang="0">
                  <a:pos x="83" y="53"/>
                </a:cxn>
                <a:cxn ang="0">
                  <a:pos x="85" y="60"/>
                </a:cxn>
                <a:cxn ang="0">
                  <a:pos x="83" y="66"/>
                </a:cxn>
                <a:cxn ang="0">
                  <a:pos x="74" y="77"/>
                </a:cxn>
                <a:cxn ang="0">
                  <a:pos x="70" y="83"/>
                </a:cxn>
                <a:cxn ang="0">
                  <a:pos x="62" y="85"/>
                </a:cxn>
                <a:cxn ang="0">
                  <a:pos x="55" y="93"/>
                </a:cxn>
                <a:cxn ang="0">
                  <a:pos x="57" y="100"/>
                </a:cxn>
                <a:cxn ang="0">
                  <a:pos x="57" y="108"/>
                </a:cxn>
                <a:cxn ang="0">
                  <a:pos x="64" y="113"/>
                </a:cxn>
                <a:cxn ang="0">
                  <a:pos x="79" y="125"/>
                </a:cxn>
                <a:cxn ang="0">
                  <a:pos x="60" y="130"/>
                </a:cxn>
                <a:cxn ang="0">
                  <a:pos x="47" y="138"/>
                </a:cxn>
                <a:cxn ang="0">
                  <a:pos x="40" y="147"/>
                </a:cxn>
                <a:cxn ang="0">
                  <a:pos x="34" y="143"/>
                </a:cxn>
                <a:cxn ang="0">
                  <a:pos x="32" y="151"/>
                </a:cxn>
                <a:cxn ang="0">
                  <a:pos x="25" y="153"/>
                </a:cxn>
                <a:cxn ang="0">
                  <a:pos x="27" y="143"/>
                </a:cxn>
                <a:cxn ang="0">
                  <a:pos x="19" y="145"/>
                </a:cxn>
                <a:cxn ang="0">
                  <a:pos x="19" y="140"/>
                </a:cxn>
                <a:cxn ang="0">
                  <a:pos x="23" y="128"/>
                </a:cxn>
                <a:cxn ang="0">
                  <a:pos x="30" y="125"/>
                </a:cxn>
                <a:cxn ang="0">
                  <a:pos x="21" y="126"/>
                </a:cxn>
                <a:cxn ang="0">
                  <a:pos x="19" y="115"/>
                </a:cxn>
                <a:cxn ang="0">
                  <a:pos x="21" y="104"/>
                </a:cxn>
                <a:cxn ang="0">
                  <a:pos x="25" y="100"/>
                </a:cxn>
                <a:cxn ang="0">
                  <a:pos x="19" y="104"/>
                </a:cxn>
                <a:cxn ang="0">
                  <a:pos x="13" y="100"/>
                </a:cxn>
                <a:cxn ang="0">
                  <a:pos x="8" y="100"/>
                </a:cxn>
                <a:cxn ang="0">
                  <a:pos x="4" y="96"/>
                </a:cxn>
                <a:cxn ang="0">
                  <a:pos x="0" y="96"/>
                </a:cxn>
                <a:cxn ang="0">
                  <a:pos x="0" y="96"/>
                </a:cxn>
              </a:cxnLst>
              <a:rect l="0" t="0" r="r" b="b"/>
              <a:pathLst>
                <a:path w="91" h="153">
                  <a:moveTo>
                    <a:pt x="0" y="96"/>
                  </a:moveTo>
                  <a:lnTo>
                    <a:pt x="0" y="85"/>
                  </a:lnTo>
                  <a:lnTo>
                    <a:pt x="8" y="81"/>
                  </a:lnTo>
                  <a:lnTo>
                    <a:pt x="8" y="76"/>
                  </a:lnTo>
                  <a:lnTo>
                    <a:pt x="8" y="74"/>
                  </a:lnTo>
                  <a:lnTo>
                    <a:pt x="13" y="70"/>
                  </a:lnTo>
                  <a:lnTo>
                    <a:pt x="17" y="64"/>
                  </a:lnTo>
                  <a:lnTo>
                    <a:pt x="21" y="62"/>
                  </a:lnTo>
                  <a:lnTo>
                    <a:pt x="23" y="53"/>
                  </a:lnTo>
                  <a:lnTo>
                    <a:pt x="25" y="49"/>
                  </a:lnTo>
                  <a:lnTo>
                    <a:pt x="25" y="47"/>
                  </a:lnTo>
                  <a:lnTo>
                    <a:pt x="25" y="40"/>
                  </a:lnTo>
                  <a:lnTo>
                    <a:pt x="28" y="38"/>
                  </a:lnTo>
                  <a:lnTo>
                    <a:pt x="32" y="44"/>
                  </a:lnTo>
                  <a:lnTo>
                    <a:pt x="34" y="44"/>
                  </a:lnTo>
                  <a:lnTo>
                    <a:pt x="38" y="45"/>
                  </a:lnTo>
                  <a:lnTo>
                    <a:pt x="40" y="45"/>
                  </a:lnTo>
                  <a:lnTo>
                    <a:pt x="45" y="45"/>
                  </a:lnTo>
                  <a:lnTo>
                    <a:pt x="53" y="45"/>
                  </a:lnTo>
                  <a:lnTo>
                    <a:pt x="57" y="45"/>
                  </a:lnTo>
                  <a:lnTo>
                    <a:pt x="60" y="44"/>
                  </a:lnTo>
                  <a:lnTo>
                    <a:pt x="60" y="40"/>
                  </a:lnTo>
                  <a:lnTo>
                    <a:pt x="55" y="34"/>
                  </a:lnTo>
                  <a:lnTo>
                    <a:pt x="53" y="30"/>
                  </a:lnTo>
                  <a:lnTo>
                    <a:pt x="55" y="30"/>
                  </a:lnTo>
                  <a:lnTo>
                    <a:pt x="59" y="30"/>
                  </a:lnTo>
                  <a:lnTo>
                    <a:pt x="66" y="23"/>
                  </a:lnTo>
                  <a:lnTo>
                    <a:pt x="66" y="19"/>
                  </a:lnTo>
                  <a:lnTo>
                    <a:pt x="70" y="15"/>
                  </a:lnTo>
                  <a:lnTo>
                    <a:pt x="74" y="15"/>
                  </a:lnTo>
                  <a:lnTo>
                    <a:pt x="74" y="13"/>
                  </a:lnTo>
                  <a:lnTo>
                    <a:pt x="74" y="10"/>
                  </a:lnTo>
                  <a:lnTo>
                    <a:pt x="74" y="4"/>
                  </a:lnTo>
                  <a:lnTo>
                    <a:pt x="74" y="0"/>
                  </a:lnTo>
                  <a:lnTo>
                    <a:pt x="77" y="0"/>
                  </a:lnTo>
                  <a:lnTo>
                    <a:pt x="79" y="4"/>
                  </a:lnTo>
                  <a:lnTo>
                    <a:pt x="79" y="6"/>
                  </a:lnTo>
                  <a:lnTo>
                    <a:pt x="79" y="10"/>
                  </a:lnTo>
                  <a:lnTo>
                    <a:pt x="87" y="10"/>
                  </a:lnTo>
                  <a:lnTo>
                    <a:pt x="91" y="15"/>
                  </a:lnTo>
                  <a:lnTo>
                    <a:pt x="91" y="15"/>
                  </a:lnTo>
                  <a:lnTo>
                    <a:pt x="83" y="23"/>
                  </a:lnTo>
                  <a:lnTo>
                    <a:pt x="83" y="21"/>
                  </a:lnTo>
                  <a:lnTo>
                    <a:pt x="83" y="27"/>
                  </a:lnTo>
                  <a:lnTo>
                    <a:pt x="79" y="34"/>
                  </a:lnTo>
                  <a:lnTo>
                    <a:pt x="79" y="40"/>
                  </a:lnTo>
                  <a:lnTo>
                    <a:pt x="83" y="44"/>
                  </a:lnTo>
                  <a:lnTo>
                    <a:pt x="83" y="53"/>
                  </a:lnTo>
                  <a:lnTo>
                    <a:pt x="87" y="57"/>
                  </a:lnTo>
                  <a:lnTo>
                    <a:pt x="85" y="60"/>
                  </a:lnTo>
                  <a:lnTo>
                    <a:pt x="79" y="64"/>
                  </a:lnTo>
                  <a:lnTo>
                    <a:pt x="83" y="66"/>
                  </a:lnTo>
                  <a:lnTo>
                    <a:pt x="70" y="76"/>
                  </a:lnTo>
                  <a:lnTo>
                    <a:pt x="74" y="77"/>
                  </a:lnTo>
                  <a:lnTo>
                    <a:pt x="70" y="81"/>
                  </a:lnTo>
                  <a:lnTo>
                    <a:pt x="70" y="83"/>
                  </a:lnTo>
                  <a:lnTo>
                    <a:pt x="66" y="83"/>
                  </a:lnTo>
                  <a:lnTo>
                    <a:pt x="62" y="85"/>
                  </a:lnTo>
                  <a:lnTo>
                    <a:pt x="60" y="89"/>
                  </a:lnTo>
                  <a:lnTo>
                    <a:pt x="55" y="93"/>
                  </a:lnTo>
                  <a:lnTo>
                    <a:pt x="55" y="98"/>
                  </a:lnTo>
                  <a:lnTo>
                    <a:pt x="57" y="100"/>
                  </a:lnTo>
                  <a:lnTo>
                    <a:pt x="55" y="104"/>
                  </a:lnTo>
                  <a:lnTo>
                    <a:pt x="57" y="108"/>
                  </a:lnTo>
                  <a:lnTo>
                    <a:pt x="62" y="109"/>
                  </a:lnTo>
                  <a:lnTo>
                    <a:pt x="64" y="113"/>
                  </a:lnTo>
                  <a:lnTo>
                    <a:pt x="79" y="121"/>
                  </a:lnTo>
                  <a:lnTo>
                    <a:pt x="79" y="125"/>
                  </a:lnTo>
                  <a:lnTo>
                    <a:pt x="74" y="130"/>
                  </a:lnTo>
                  <a:lnTo>
                    <a:pt x="60" y="130"/>
                  </a:lnTo>
                  <a:lnTo>
                    <a:pt x="53" y="138"/>
                  </a:lnTo>
                  <a:lnTo>
                    <a:pt x="47" y="138"/>
                  </a:lnTo>
                  <a:lnTo>
                    <a:pt x="40" y="143"/>
                  </a:lnTo>
                  <a:lnTo>
                    <a:pt x="40" y="147"/>
                  </a:lnTo>
                  <a:lnTo>
                    <a:pt x="34" y="143"/>
                  </a:lnTo>
                  <a:lnTo>
                    <a:pt x="34" y="143"/>
                  </a:lnTo>
                  <a:lnTo>
                    <a:pt x="34" y="145"/>
                  </a:lnTo>
                  <a:lnTo>
                    <a:pt x="32" y="151"/>
                  </a:lnTo>
                  <a:lnTo>
                    <a:pt x="28" y="149"/>
                  </a:lnTo>
                  <a:lnTo>
                    <a:pt x="25" y="153"/>
                  </a:lnTo>
                  <a:lnTo>
                    <a:pt x="23" y="149"/>
                  </a:lnTo>
                  <a:lnTo>
                    <a:pt x="27" y="143"/>
                  </a:lnTo>
                  <a:lnTo>
                    <a:pt x="23" y="143"/>
                  </a:lnTo>
                  <a:lnTo>
                    <a:pt x="19" y="145"/>
                  </a:lnTo>
                  <a:lnTo>
                    <a:pt x="17" y="143"/>
                  </a:lnTo>
                  <a:lnTo>
                    <a:pt x="19" y="140"/>
                  </a:lnTo>
                  <a:lnTo>
                    <a:pt x="19" y="134"/>
                  </a:lnTo>
                  <a:lnTo>
                    <a:pt x="23" y="128"/>
                  </a:lnTo>
                  <a:lnTo>
                    <a:pt x="27" y="128"/>
                  </a:lnTo>
                  <a:lnTo>
                    <a:pt x="30" y="125"/>
                  </a:lnTo>
                  <a:lnTo>
                    <a:pt x="27" y="126"/>
                  </a:lnTo>
                  <a:lnTo>
                    <a:pt x="21" y="126"/>
                  </a:lnTo>
                  <a:lnTo>
                    <a:pt x="19" y="125"/>
                  </a:lnTo>
                  <a:lnTo>
                    <a:pt x="19" y="115"/>
                  </a:lnTo>
                  <a:lnTo>
                    <a:pt x="23" y="108"/>
                  </a:lnTo>
                  <a:lnTo>
                    <a:pt x="21" y="104"/>
                  </a:lnTo>
                  <a:lnTo>
                    <a:pt x="23" y="104"/>
                  </a:lnTo>
                  <a:lnTo>
                    <a:pt x="25" y="100"/>
                  </a:lnTo>
                  <a:lnTo>
                    <a:pt x="21" y="100"/>
                  </a:lnTo>
                  <a:lnTo>
                    <a:pt x="19" y="104"/>
                  </a:lnTo>
                  <a:lnTo>
                    <a:pt x="13" y="104"/>
                  </a:lnTo>
                  <a:lnTo>
                    <a:pt x="13" y="100"/>
                  </a:lnTo>
                  <a:lnTo>
                    <a:pt x="8" y="98"/>
                  </a:lnTo>
                  <a:lnTo>
                    <a:pt x="8" y="100"/>
                  </a:lnTo>
                  <a:lnTo>
                    <a:pt x="4" y="104"/>
                  </a:lnTo>
                  <a:lnTo>
                    <a:pt x="4" y="96"/>
                  </a:lnTo>
                  <a:lnTo>
                    <a:pt x="4" y="98"/>
                  </a:lnTo>
                  <a:lnTo>
                    <a:pt x="0" y="96"/>
                  </a:lnTo>
                  <a:lnTo>
                    <a:pt x="0" y="96"/>
                  </a:lnTo>
                  <a:lnTo>
                    <a:pt x="0" y="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8" name="Freeform 181">
              <a:extLst>
                <a:ext uri="{FF2B5EF4-FFF2-40B4-BE49-F238E27FC236}">
                  <a16:creationId xmlns:a16="http://schemas.microsoft.com/office/drawing/2014/main" id="{CF8B3D0A-F334-497B-A2F0-AC5C4037BDD8}"/>
                </a:ext>
              </a:extLst>
            </p:cNvPr>
            <p:cNvSpPr>
              <a:spLocks noEditPoints="1"/>
            </p:cNvSpPr>
            <p:nvPr/>
          </p:nvSpPr>
          <p:spPr bwMode="auto">
            <a:xfrm>
              <a:off x="5079" y="3273"/>
              <a:ext cx="57" cy="15"/>
            </a:xfrm>
            <a:custGeom>
              <a:avLst/>
              <a:gdLst/>
              <a:ahLst/>
              <a:cxnLst>
                <a:cxn ang="0">
                  <a:pos x="0" y="11"/>
                </a:cxn>
                <a:cxn ang="0">
                  <a:pos x="4" y="15"/>
                </a:cxn>
                <a:cxn ang="0">
                  <a:pos x="8" y="13"/>
                </a:cxn>
                <a:cxn ang="0">
                  <a:pos x="10" y="13"/>
                </a:cxn>
                <a:cxn ang="0">
                  <a:pos x="10" y="9"/>
                </a:cxn>
                <a:cxn ang="0">
                  <a:pos x="8" y="9"/>
                </a:cxn>
                <a:cxn ang="0">
                  <a:pos x="4" y="11"/>
                </a:cxn>
                <a:cxn ang="0">
                  <a:pos x="0" y="11"/>
                </a:cxn>
                <a:cxn ang="0">
                  <a:pos x="0" y="11"/>
                </a:cxn>
                <a:cxn ang="0">
                  <a:pos x="0" y="11"/>
                </a:cxn>
                <a:cxn ang="0">
                  <a:pos x="0" y="11"/>
                </a:cxn>
                <a:cxn ang="0">
                  <a:pos x="15" y="7"/>
                </a:cxn>
                <a:cxn ang="0">
                  <a:pos x="19" y="11"/>
                </a:cxn>
                <a:cxn ang="0">
                  <a:pos x="23" y="15"/>
                </a:cxn>
                <a:cxn ang="0">
                  <a:pos x="23" y="15"/>
                </a:cxn>
                <a:cxn ang="0">
                  <a:pos x="27" y="11"/>
                </a:cxn>
                <a:cxn ang="0">
                  <a:pos x="30" y="11"/>
                </a:cxn>
                <a:cxn ang="0">
                  <a:pos x="32" y="11"/>
                </a:cxn>
                <a:cxn ang="0">
                  <a:pos x="42" y="11"/>
                </a:cxn>
                <a:cxn ang="0">
                  <a:pos x="45" y="7"/>
                </a:cxn>
                <a:cxn ang="0">
                  <a:pos x="51" y="5"/>
                </a:cxn>
                <a:cxn ang="0">
                  <a:pos x="53" y="5"/>
                </a:cxn>
                <a:cxn ang="0">
                  <a:pos x="55" y="5"/>
                </a:cxn>
                <a:cxn ang="0">
                  <a:pos x="57" y="2"/>
                </a:cxn>
                <a:cxn ang="0">
                  <a:pos x="57" y="0"/>
                </a:cxn>
                <a:cxn ang="0">
                  <a:pos x="57" y="0"/>
                </a:cxn>
                <a:cxn ang="0">
                  <a:pos x="49" y="0"/>
                </a:cxn>
                <a:cxn ang="0">
                  <a:pos x="44" y="0"/>
                </a:cxn>
                <a:cxn ang="0">
                  <a:pos x="42" y="2"/>
                </a:cxn>
                <a:cxn ang="0">
                  <a:pos x="38" y="2"/>
                </a:cxn>
                <a:cxn ang="0">
                  <a:pos x="32" y="2"/>
                </a:cxn>
                <a:cxn ang="0">
                  <a:pos x="25" y="2"/>
                </a:cxn>
                <a:cxn ang="0">
                  <a:pos x="19" y="5"/>
                </a:cxn>
                <a:cxn ang="0">
                  <a:pos x="15" y="7"/>
                </a:cxn>
                <a:cxn ang="0">
                  <a:pos x="15" y="7"/>
                </a:cxn>
                <a:cxn ang="0">
                  <a:pos x="15" y="7"/>
                </a:cxn>
              </a:cxnLst>
              <a:rect l="0" t="0" r="r" b="b"/>
              <a:pathLst>
                <a:path w="57" h="15">
                  <a:moveTo>
                    <a:pt x="0" y="11"/>
                  </a:moveTo>
                  <a:lnTo>
                    <a:pt x="4" y="15"/>
                  </a:lnTo>
                  <a:lnTo>
                    <a:pt x="8" y="13"/>
                  </a:lnTo>
                  <a:lnTo>
                    <a:pt x="10" y="13"/>
                  </a:lnTo>
                  <a:lnTo>
                    <a:pt x="10" y="9"/>
                  </a:lnTo>
                  <a:lnTo>
                    <a:pt x="8" y="9"/>
                  </a:lnTo>
                  <a:lnTo>
                    <a:pt x="4" y="11"/>
                  </a:lnTo>
                  <a:lnTo>
                    <a:pt x="0" y="11"/>
                  </a:lnTo>
                  <a:lnTo>
                    <a:pt x="0" y="11"/>
                  </a:lnTo>
                  <a:lnTo>
                    <a:pt x="0" y="11"/>
                  </a:lnTo>
                  <a:lnTo>
                    <a:pt x="0" y="11"/>
                  </a:lnTo>
                  <a:close/>
                  <a:moveTo>
                    <a:pt x="15" y="7"/>
                  </a:moveTo>
                  <a:lnTo>
                    <a:pt x="19" y="11"/>
                  </a:lnTo>
                  <a:lnTo>
                    <a:pt x="23" y="15"/>
                  </a:lnTo>
                  <a:lnTo>
                    <a:pt x="23" y="15"/>
                  </a:lnTo>
                  <a:lnTo>
                    <a:pt x="27" y="11"/>
                  </a:lnTo>
                  <a:lnTo>
                    <a:pt x="30" y="11"/>
                  </a:lnTo>
                  <a:lnTo>
                    <a:pt x="32" y="11"/>
                  </a:lnTo>
                  <a:lnTo>
                    <a:pt x="42" y="11"/>
                  </a:lnTo>
                  <a:lnTo>
                    <a:pt x="45" y="7"/>
                  </a:lnTo>
                  <a:lnTo>
                    <a:pt x="51" y="5"/>
                  </a:lnTo>
                  <a:lnTo>
                    <a:pt x="53" y="5"/>
                  </a:lnTo>
                  <a:lnTo>
                    <a:pt x="55" y="5"/>
                  </a:lnTo>
                  <a:lnTo>
                    <a:pt x="57" y="2"/>
                  </a:lnTo>
                  <a:lnTo>
                    <a:pt x="57" y="0"/>
                  </a:lnTo>
                  <a:lnTo>
                    <a:pt x="57" y="0"/>
                  </a:lnTo>
                  <a:lnTo>
                    <a:pt x="49" y="0"/>
                  </a:lnTo>
                  <a:lnTo>
                    <a:pt x="44" y="0"/>
                  </a:lnTo>
                  <a:lnTo>
                    <a:pt x="42" y="2"/>
                  </a:lnTo>
                  <a:lnTo>
                    <a:pt x="38" y="2"/>
                  </a:lnTo>
                  <a:lnTo>
                    <a:pt x="32" y="2"/>
                  </a:lnTo>
                  <a:lnTo>
                    <a:pt x="25" y="2"/>
                  </a:lnTo>
                  <a:lnTo>
                    <a:pt x="19" y="5"/>
                  </a:lnTo>
                  <a:lnTo>
                    <a:pt x="15" y="7"/>
                  </a:lnTo>
                  <a:lnTo>
                    <a:pt x="15" y="7"/>
                  </a:lnTo>
                  <a:lnTo>
                    <a:pt x="15"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9" name="Freeform 182">
              <a:extLst>
                <a:ext uri="{FF2B5EF4-FFF2-40B4-BE49-F238E27FC236}">
                  <a16:creationId xmlns:a16="http://schemas.microsoft.com/office/drawing/2014/main" id="{8875A7D5-6622-4C00-84A7-09F67C6C632B}"/>
                </a:ext>
              </a:extLst>
            </p:cNvPr>
            <p:cNvSpPr>
              <a:spLocks noEditPoints="1"/>
            </p:cNvSpPr>
            <p:nvPr/>
          </p:nvSpPr>
          <p:spPr bwMode="auto">
            <a:xfrm>
              <a:off x="4899" y="3007"/>
              <a:ext cx="22" cy="17"/>
            </a:xfrm>
            <a:custGeom>
              <a:avLst/>
              <a:gdLst/>
              <a:ahLst/>
              <a:cxnLst>
                <a:cxn ang="0">
                  <a:pos x="0" y="8"/>
                </a:cxn>
                <a:cxn ang="0">
                  <a:pos x="5" y="11"/>
                </a:cxn>
                <a:cxn ang="0">
                  <a:pos x="5" y="11"/>
                </a:cxn>
                <a:cxn ang="0">
                  <a:pos x="9" y="15"/>
                </a:cxn>
                <a:cxn ang="0">
                  <a:pos x="13" y="17"/>
                </a:cxn>
                <a:cxn ang="0">
                  <a:pos x="15" y="17"/>
                </a:cxn>
                <a:cxn ang="0">
                  <a:pos x="13" y="8"/>
                </a:cxn>
                <a:cxn ang="0">
                  <a:pos x="15" y="6"/>
                </a:cxn>
                <a:cxn ang="0">
                  <a:pos x="16" y="6"/>
                </a:cxn>
                <a:cxn ang="0">
                  <a:pos x="16" y="6"/>
                </a:cxn>
                <a:cxn ang="0">
                  <a:pos x="16" y="0"/>
                </a:cxn>
                <a:cxn ang="0">
                  <a:pos x="13" y="2"/>
                </a:cxn>
                <a:cxn ang="0">
                  <a:pos x="7" y="6"/>
                </a:cxn>
                <a:cxn ang="0">
                  <a:pos x="1" y="8"/>
                </a:cxn>
                <a:cxn ang="0">
                  <a:pos x="0" y="8"/>
                </a:cxn>
                <a:cxn ang="0">
                  <a:pos x="0" y="8"/>
                </a:cxn>
                <a:cxn ang="0">
                  <a:pos x="0" y="8"/>
                </a:cxn>
                <a:cxn ang="0">
                  <a:pos x="0" y="8"/>
                </a:cxn>
                <a:cxn ang="0">
                  <a:pos x="16" y="8"/>
                </a:cxn>
                <a:cxn ang="0">
                  <a:pos x="18" y="11"/>
                </a:cxn>
                <a:cxn ang="0">
                  <a:pos x="18" y="13"/>
                </a:cxn>
                <a:cxn ang="0">
                  <a:pos x="20" y="15"/>
                </a:cxn>
                <a:cxn ang="0">
                  <a:pos x="22" y="11"/>
                </a:cxn>
                <a:cxn ang="0">
                  <a:pos x="20" y="8"/>
                </a:cxn>
                <a:cxn ang="0">
                  <a:pos x="20" y="6"/>
                </a:cxn>
                <a:cxn ang="0">
                  <a:pos x="18" y="6"/>
                </a:cxn>
                <a:cxn ang="0">
                  <a:pos x="16" y="8"/>
                </a:cxn>
                <a:cxn ang="0">
                  <a:pos x="16" y="8"/>
                </a:cxn>
                <a:cxn ang="0">
                  <a:pos x="16" y="8"/>
                </a:cxn>
              </a:cxnLst>
              <a:rect l="0" t="0" r="r" b="b"/>
              <a:pathLst>
                <a:path w="22" h="17">
                  <a:moveTo>
                    <a:pt x="0" y="8"/>
                  </a:moveTo>
                  <a:lnTo>
                    <a:pt x="5" y="11"/>
                  </a:lnTo>
                  <a:lnTo>
                    <a:pt x="5" y="11"/>
                  </a:lnTo>
                  <a:lnTo>
                    <a:pt x="9" y="15"/>
                  </a:lnTo>
                  <a:lnTo>
                    <a:pt x="13" y="17"/>
                  </a:lnTo>
                  <a:lnTo>
                    <a:pt x="15" y="17"/>
                  </a:lnTo>
                  <a:lnTo>
                    <a:pt x="13" y="8"/>
                  </a:lnTo>
                  <a:lnTo>
                    <a:pt x="15" y="6"/>
                  </a:lnTo>
                  <a:lnTo>
                    <a:pt x="16" y="6"/>
                  </a:lnTo>
                  <a:lnTo>
                    <a:pt x="16" y="6"/>
                  </a:lnTo>
                  <a:lnTo>
                    <a:pt x="16" y="0"/>
                  </a:lnTo>
                  <a:lnTo>
                    <a:pt x="13" y="2"/>
                  </a:lnTo>
                  <a:lnTo>
                    <a:pt x="7" y="6"/>
                  </a:lnTo>
                  <a:lnTo>
                    <a:pt x="1" y="8"/>
                  </a:lnTo>
                  <a:lnTo>
                    <a:pt x="0" y="8"/>
                  </a:lnTo>
                  <a:lnTo>
                    <a:pt x="0" y="8"/>
                  </a:lnTo>
                  <a:lnTo>
                    <a:pt x="0" y="8"/>
                  </a:lnTo>
                  <a:lnTo>
                    <a:pt x="0" y="8"/>
                  </a:lnTo>
                  <a:close/>
                  <a:moveTo>
                    <a:pt x="16" y="8"/>
                  </a:moveTo>
                  <a:lnTo>
                    <a:pt x="18" y="11"/>
                  </a:lnTo>
                  <a:lnTo>
                    <a:pt x="18" y="13"/>
                  </a:lnTo>
                  <a:lnTo>
                    <a:pt x="20" y="15"/>
                  </a:lnTo>
                  <a:lnTo>
                    <a:pt x="22" y="11"/>
                  </a:lnTo>
                  <a:lnTo>
                    <a:pt x="20" y="8"/>
                  </a:lnTo>
                  <a:lnTo>
                    <a:pt x="20" y="6"/>
                  </a:lnTo>
                  <a:lnTo>
                    <a:pt x="18" y="6"/>
                  </a:lnTo>
                  <a:lnTo>
                    <a:pt x="16" y="8"/>
                  </a:lnTo>
                  <a:lnTo>
                    <a:pt x="16" y="8"/>
                  </a:lnTo>
                  <a:lnTo>
                    <a:pt x="16"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0" name="Freeform 183">
              <a:extLst>
                <a:ext uri="{FF2B5EF4-FFF2-40B4-BE49-F238E27FC236}">
                  <a16:creationId xmlns:a16="http://schemas.microsoft.com/office/drawing/2014/main" id="{AE86B9FB-6F92-4FA6-86C1-E8FDAD0B72E6}"/>
                </a:ext>
              </a:extLst>
            </p:cNvPr>
            <p:cNvSpPr>
              <a:spLocks/>
            </p:cNvSpPr>
            <p:nvPr/>
          </p:nvSpPr>
          <p:spPr bwMode="auto">
            <a:xfrm>
              <a:off x="4673" y="2822"/>
              <a:ext cx="99" cy="80"/>
            </a:xfrm>
            <a:custGeom>
              <a:avLst/>
              <a:gdLst/>
              <a:ahLst/>
              <a:cxnLst>
                <a:cxn ang="0">
                  <a:pos x="47" y="78"/>
                </a:cxn>
                <a:cxn ang="0">
                  <a:pos x="54" y="70"/>
                </a:cxn>
                <a:cxn ang="0">
                  <a:pos x="60" y="72"/>
                </a:cxn>
                <a:cxn ang="0">
                  <a:pos x="71" y="72"/>
                </a:cxn>
                <a:cxn ang="0">
                  <a:pos x="81" y="74"/>
                </a:cxn>
                <a:cxn ang="0">
                  <a:pos x="77" y="68"/>
                </a:cxn>
                <a:cxn ang="0">
                  <a:pos x="71" y="64"/>
                </a:cxn>
                <a:cxn ang="0">
                  <a:pos x="75" y="55"/>
                </a:cxn>
                <a:cxn ang="0">
                  <a:pos x="82" y="51"/>
                </a:cxn>
                <a:cxn ang="0">
                  <a:pos x="92" y="46"/>
                </a:cxn>
                <a:cxn ang="0">
                  <a:pos x="98" y="44"/>
                </a:cxn>
                <a:cxn ang="0">
                  <a:pos x="99" y="34"/>
                </a:cxn>
                <a:cxn ang="0">
                  <a:pos x="99" y="25"/>
                </a:cxn>
                <a:cxn ang="0">
                  <a:pos x="96" y="12"/>
                </a:cxn>
                <a:cxn ang="0">
                  <a:pos x="90" y="6"/>
                </a:cxn>
                <a:cxn ang="0">
                  <a:pos x="82" y="2"/>
                </a:cxn>
                <a:cxn ang="0">
                  <a:pos x="81" y="0"/>
                </a:cxn>
                <a:cxn ang="0">
                  <a:pos x="71" y="2"/>
                </a:cxn>
                <a:cxn ang="0">
                  <a:pos x="71" y="10"/>
                </a:cxn>
                <a:cxn ang="0">
                  <a:pos x="75" y="17"/>
                </a:cxn>
                <a:cxn ang="0">
                  <a:pos x="66" y="10"/>
                </a:cxn>
                <a:cxn ang="0">
                  <a:pos x="56" y="6"/>
                </a:cxn>
                <a:cxn ang="0">
                  <a:pos x="50" y="6"/>
                </a:cxn>
                <a:cxn ang="0">
                  <a:pos x="41" y="2"/>
                </a:cxn>
                <a:cxn ang="0">
                  <a:pos x="34" y="2"/>
                </a:cxn>
                <a:cxn ang="0">
                  <a:pos x="26" y="2"/>
                </a:cxn>
                <a:cxn ang="0">
                  <a:pos x="13" y="6"/>
                </a:cxn>
                <a:cxn ang="0">
                  <a:pos x="5" y="10"/>
                </a:cxn>
                <a:cxn ang="0">
                  <a:pos x="0" y="19"/>
                </a:cxn>
                <a:cxn ang="0">
                  <a:pos x="2" y="34"/>
                </a:cxn>
                <a:cxn ang="0">
                  <a:pos x="7" y="40"/>
                </a:cxn>
                <a:cxn ang="0">
                  <a:pos x="5" y="48"/>
                </a:cxn>
                <a:cxn ang="0">
                  <a:pos x="9" y="51"/>
                </a:cxn>
                <a:cxn ang="0">
                  <a:pos x="11" y="57"/>
                </a:cxn>
                <a:cxn ang="0">
                  <a:pos x="15" y="64"/>
                </a:cxn>
                <a:cxn ang="0">
                  <a:pos x="18" y="64"/>
                </a:cxn>
                <a:cxn ang="0">
                  <a:pos x="18" y="70"/>
                </a:cxn>
                <a:cxn ang="0">
                  <a:pos x="20" y="74"/>
                </a:cxn>
                <a:cxn ang="0">
                  <a:pos x="24" y="70"/>
                </a:cxn>
                <a:cxn ang="0">
                  <a:pos x="26" y="68"/>
                </a:cxn>
                <a:cxn ang="0">
                  <a:pos x="30" y="72"/>
                </a:cxn>
                <a:cxn ang="0">
                  <a:pos x="26" y="78"/>
                </a:cxn>
                <a:cxn ang="0">
                  <a:pos x="30" y="80"/>
                </a:cxn>
                <a:cxn ang="0">
                  <a:pos x="32" y="78"/>
                </a:cxn>
                <a:cxn ang="0">
                  <a:pos x="35" y="80"/>
                </a:cxn>
                <a:cxn ang="0">
                  <a:pos x="39" y="80"/>
                </a:cxn>
                <a:cxn ang="0">
                  <a:pos x="43" y="80"/>
                </a:cxn>
              </a:cxnLst>
              <a:rect l="0" t="0" r="r" b="b"/>
              <a:pathLst>
                <a:path w="99" h="80">
                  <a:moveTo>
                    <a:pt x="43" y="80"/>
                  </a:moveTo>
                  <a:lnTo>
                    <a:pt x="47" y="78"/>
                  </a:lnTo>
                  <a:lnTo>
                    <a:pt x="52" y="76"/>
                  </a:lnTo>
                  <a:lnTo>
                    <a:pt x="54" y="70"/>
                  </a:lnTo>
                  <a:lnTo>
                    <a:pt x="56" y="70"/>
                  </a:lnTo>
                  <a:lnTo>
                    <a:pt x="60" y="72"/>
                  </a:lnTo>
                  <a:lnTo>
                    <a:pt x="69" y="70"/>
                  </a:lnTo>
                  <a:lnTo>
                    <a:pt x="71" y="72"/>
                  </a:lnTo>
                  <a:lnTo>
                    <a:pt x="75" y="76"/>
                  </a:lnTo>
                  <a:lnTo>
                    <a:pt x="81" y="74"/>
                  </a:lnTo>
                  <a:lnTo>
                    <a:pt x="77" y="70"/>
                  </a:lnTo>
                  <a:lnTo>
                    <a:pt x="77" y="68"/>
                  </a:lnTo>
                  <a:lnTo>
                    <a:pt x="75" y="64"/>
                  </a:lnTo>
                  <a:lnTo>
                    <a:pt x="71" y="64"/>
                  </a:lnTo>
                  <a:lnTo>
                    <a:pt x="71" y="57"/>
                  </a:lnTo>
                  <a:lnTo>
                    <a:pt x="75" y="55"/>
                  </a:lnTo>
                  <a:lnTo>
                    <a:pt x="81" y="55"/>
                  </a:lnTo>
                  <a:lnTo>
                    <a:pt x="82" y="51"/>
                  </a:lnTo>
                  <a:lnTo>
                    <a:pt x="90" y="48"/>
                  </a:lnTo>
                  <a:lnTo>
                    <a:pt x="92" y="46"/>
                  </a:lnTo>
                  <a:lnTo>
                    <a:pt x="94" y="44"/>
                  </a:lnTo>
                  <a:lnTo>
                    <a:pt x="98" y="44"/>
                  </a:lnTo>
                  <a:lnTo>
                    <a:pt x="99" y="38"/>
                  </a:lnTo>
                  <a:lnTo>
                    <a:pt x="99" y="34"/>
                  </a:lnTo>
                  <a:lnTo>
                    <a:pt x="99" y="29"/>
                  </a:lnTo>
                  <a:lnTo>
                    <a:pt x="99" y="25"/>
                  </a:lnTo>
                  <a:lnTo>
                    <a:pt x="99" y="21"/>
                  </a:lnTo>
                  <a:lnTo>
                    <a:pt x="96" y="12"/>
                  </a:lnTo>
                  <a:lnTo>
                    <a:pt x="92" y="10"/>
                  </a:lnTo>
                  <a:lnTo>
                    <a:pt x="90" y="6"/>
                  </a:lnTo>
                  <a:lnTo>
                    <a:pt x="90" y="6"/>
                  </a:lnTo>
                  <a:lnTo>
                    <a:pt x="82" y="2"/>
                  </a:lnTo>
                  <a:lnTo>
                    <a:pt x="81" y="2"/>
                  </a:lnTo>
                  <a:lnTo>
                    <a:pt x="81" y="0"/>
                  </a:lnTo>
                  <a:lnTo>
                    <a:pt x="71" y="2"/>
                  </a:lnTo>
                  <a:lnTo>
                    <a:pt x="71" y="2"/>
                  </a:lnTo>
                  <a:lnTo>
                    <a:pt x="75" y="8"/>
                  </a:lnTo>
                  <a:lnTo>
                    <a:pt x="71" y="10"/>
                  </a:lnTo>
                  <a:lnTo>
                    <a:pt x="75" y="14"/>
                  </a:lnTo>
                  <a:lnTo>
                    <a:pt x="75" y="17"/>
                  </a:lnTo>
                  <a:lnTo>
                    <a:pt x="69" y="16"/>
                  </a:lnTo>
                  <a:lnTo>
                    <a:pt x="66" y="10"/>
                  </a:lnTo>
                  <a:lnTo>
                    <a:pt x="60" y="8"/>
                  </a:lnTo>
                  <a:lnTo>
                    <a:pt x="56" y="6"/>
                  </a:lnTo>
                  <a:lnTo>
                    <a:pt x="52" y="2"/>
                  </a:lnTo>
                  <a:lnTo>
                    <a:pt x="50" y="6"/>
                  </a:lnTo>
                  <a:lnTo>
                    <a:pt x="47" y="2"/>
                  </a:lnTo>
                  <a:lnTo>
                    <a:pt x="41" y="2"/>
                  </a:lnTo>
                  <a:lnTo>
                    <a:pt x="39" y="2"/>
                  </a:lnTo>
                  <a:lnTo>
                    <a:pt x="34" y="2"/>
                  </a:lnTo>
                  <a:lnTo>
                    <a:pt x="30" y="2"/>
                  </a:lnTo>
                  <a:lnTo>
                    <a:pt x="26" y="2"/>
                  </a:lnTo>
                  <a:lnTo>
                    <a:pt x="20" y="2"/>
                  </a:lnTo>
                  <a:lnTo>
                    <a:pt x="13" y="6"/>
                  </a:lnTo>
                  <a:lnTo>
                    <a:pt x="9" y="6"/>
                  </a:lnTo>
                  <a:lnTo>
                    <a:pt x="5" y="10"/>
                  </a:lnTo>
                  <a:lnTo>
                    <a:pt x="3" y="16"/>
                  </a:lnTo>
                  <a:lnTo>
                    <a:pt x="0" y="19"/>
                  </a:lnTo>
                  <a:lnTo>
                    <a:pt x="0" y="27"/>
                  </a:lnTo>
                  <a:lnTo>
                    <a:pt x="2" y="34"/>
                  </a:lnTo>
                  <a:lnTo>
                    <a:pt x="5" y="36"/>
                  </a:lnTo>
                  <a:lnTo>
                    <a:pt x="7" y="40"/>
                  </a:lnTo>
                  <a:lnTo>
                    <a:pt x="7" y="46"/>
                  </a:lnTo>
                  <a:lnTo>
                    <a:pt x="5" y="48"/>
                  </a:lnTo>
                  <a:lnTo>
                    <a:pt x="5" y="48"/>
                  </a:lnTo>
                  <a:lnTo>
                    <a:pt x="9" y="51"/>
                  </a:lnTo>
                  <a:lnTo>
                    <a:pt x="9" y="55"/>
                  </a:lnTo>
                  <a:lnTo>
                    <a:pt x="11" y="57"/>
                  </a:lnTo>
                  <a:lnTo>
                    <a:pt x="11" y="61"/>
                  </a:lnTo>
                  <a:lnTo>
                    <a:pt x="15" y="64"/>
                  </a:lnTo>
                  <a:lnTo>
                    <a:pt x="15" y="64"/>
                  </a:lnTo>
                  <a:lnTo>
                    <a:pt x="18" y="64"/>
                  </a:lnTo>
                  <a:lnTo>
                    <a:pt x="15" y="68"/>
                  </a:lnTo>
                  <a:lnTo>
                    <a:pt x="18" y="70"/>
                  </a:lnTo>
                  <a:lnTo>
                    <a:pt x="18" y="74"/>
                  </a:lnTo>
                  <a:lnTo>
                    <a:pt x="20" y="74"/>
                  </a:lnTo>
                  <a:lnTo>
                    <a:pt x="24" y="74"/>
                  </a:lnTo>
                  <a:lnTo>
                    <a:pt x="24" y="70"/>
                  </a:lnTo>
                  <a:lnTo>
                    <a:pt x="26" y="68"/>
                  </a:lnTo>
                  <a:lnTo>
                    <a:pt x="26" y="68"/>
                  </a:lnTo>
                  <a:lnTo>
                    <a:pt x="26" y="70"/>
                  </a:lnTo>
                  <a:lnTo>
                    <a:pt x="30" y="72"/>
                  </a:lnTo>
                  <a:lnTo>
                    <a:pt x="30" y="76"/>
                  </a:lnTo>
                  <a:lnTo>
                    <a:pt x="26" y="78"/>
                  </a:lnTo>
                  <a:lnTo>
                    <a:pt x="26" y="80"/>
                  </a:lnTo>
                  <a:lnTo>
                    <a:pt x="30" y="80"/>
                  </a:lnTo>
                  <a:lnTo>
                    <a:pt x="30" y="80"/>
                  </a:lnTo>
                  <a:lnTo>
                    <a:pt x="32" y="78"/>
                  </a:lnTo>
                  <a:lnTo>
                    <a:pt x="34" y="78"/>
                  </a:lnTo>
                  <a:lnTo>
                    <a:pt x="35" y="80"/>
                  </a:lnTo>
                  <a:lnTo>
                    <a:pt x="39" y="80"/>
                  </a:lnTo>
                  <a:lnTo>
                    <a:pt x="39" y="80"/>
                  </a:lnTo>
                  <a:lnTo>
                    <a:pt x="43" y="80"/>
                  </a:lnTo>
                  <a:lnTo>
                    <a:pt x="43" y="80"/>
                  </a:lnTo>
                  <a:lnTo>
                    <a:pt x="43" y="8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1" name="Freeform 184">
              <a:extLst>
                <a:ext uri="{FF2B5EF4-FFF2-40B4-BE49-F238E27FC236}">
                  <a16:creationId xmlns:a16="http://schemas.microsoft.com/office/drawing/2014/main" id="{E5F0D722-E9B5-4E5A-B920-02A4594A0E85}"/>
                </a:ext>
              </a:extLst>
            </p:cNvPr>
            <p:cNvSpPr>
              <a:spLocks/>
            </p:cNvSpPr>
            <p:nvPr/>
          </p:nvSpPr>
          <p:spPr bwMode="auto">
            <a:xfrm>
              <a:off x="4620" y="2664"/>
              <a:ext cx="147" cy="175"/>
            </a:xfrm>
            <a:custGeom>
              <a:avLst/>
              <a:gdLst/>
              <a:ahLst/>
              <a:cxnLst>
                <a:cxn ang="0">
                  <a:pos x="21" y="25"/>
                </a:cxn>
                <a:cxn ang="0">
                  <a:pos x="26" y="19"/>
                </a:cxn>
                <a:cxn ang="0">
                  <a:pos x="24" y="6"/>
                </a:cxn>
                <a:cxn ang="0">
                  <a:pos x="34" y="0"/>
                </a:cxn>
                <a:cxn ang="0">
                  <a:pos x="45" y="10"/>
                </a:cxn>
                <a:cxn ang="0">
                  <a:pos x="47" y="19"/>
                </a:cxn>
                <a:cxn ang="0">
                  <a:pos x="66" y="30"/>
                </a:cxn>
                <a:cxn ang="0">
                  <a:pos x="79" y="30"/>
                </a:cxn>
                <a:cxn ang="0">
                  <a:pos x="87" y="40"/>
                </a:cxn>
                <a:cxn ang="0">
                  <a:pos x="92" y="45"/>
                </a:cxn>
                <a:cxn ang="0">
                  <a:pos x="85" y="57"/>
                </a:cxn>
                <a:cxn ang="0">
                  <a:pos x="73" y="59"/>
                </a:cxn>
                <a:cxn ang="0">
                  <a:pos x="75" y="70"/>
                </a:cxn>
                <a:cxn ang="0">
                  <a:pos x="83" y="76"/>
                </a:cxn>
                <a:cxn ang="0">
                  <a:pos x="96" y="81"/>
                </a:cxn>
                <a:cxn ang="0">
                  <a:pos x="109" y="94"/>
                </a:cxn>
                <a:cxn ang="0">
                  <a:pos x="117" y="108"/>
                </a:cxn>
                <a:cxn ang="0">
                  <a:pos x="126" y="113"/>
                </a:cxn>
                <a:cxn ang="0">
                  <a:pos x="132" y="119"/>
                </a:cxn>
                <a:cxn ang="0">
                  <a:pos x="134" y="125"/>
                </a:cxn>
                <a:cxn ang="0">
                  <a:pos x="143" y="128"/>
                </a:cxn>
                <a:cxn ang="0">
                  <a:pos x="145" y="132"/>
                </a:cxn>
                <a:cxn ang="0">
                  <a:pos x="147" y="140"/>
                </a:cxn>
                <a:cxn ang="0">
                  <a:pos x="143" y="153"/>
                </a:cxn>
                <a:cxn ang="0">
                  <a:pos x="141" y="162"/>
                </a:cxn>
                <a:cxn ang="0">
                  <a:pos x="132" y="158"/>
                </a:cxn>
                <a:cxn ang="0">
                  <a:pos x="122" y="160"/>
                </a:cxn>
                <a:cxn ang="0">
                  <a:pos x="126" y="170"/>
                </a:cxn>
                <a:cxn ang="0">
                  <a:pos x="117" y="168"/>
                </a:cxn>
                <a:cxn ang="0">
                  <a:pos x="103" y="160"/>
                </a:cxn>
                <a:cxn ang="0">
                  <a:pos x="109" y="149"/>
                </a:cxn>
                <a:cxn ang="0">
                  <a:pos x="109" y="141"/>
                </a:cxn>
                <a:cxn ang="0">
                  <a:pos x="107" y="132"/>
                </a:cxn>
                <a:cxn ang="0">
                  <a:pos x="98" y="128"/>
                </a:cxn>
                <a:cxn ang="0">
                  <a:pos x="94" y="119"/>
                </a:cxn>
                <a:cxn ang="0">
                  <a:pos x="94" y="108"/>
                </a:cxn>
                <a:cxn ang="0">
                  <a:pos x="87" y="96"/>
                </a:cxn>
                <a:cxn ang="0">
                  <a:pos x="70" y="83"/>
                </a:cxn>
                <a:cxn ang="0">
                  <a:pos x="53" y="94"/>
                </a:cxn>
                <a:cxn ang="0">
                  <a:pos x="38" y="85"/>
                </a:cxn>
                <a:cxn ang="0">
                  <a:pos x="28" y="94"/>
                </a:cxn>
                <a:cxn ang="0">
                  <a:pos x="23" y="81"/>
                </a:cxn>
                <a:cxn ang="0">
                  <a:pos x="23" y="70"/>
                </a:cxn>
                <a:cxn ang="0">
                  <a:pos x="23" y="60"/>
                </a:cxn>
                <a:cxn ang="0">
                  <a:pos x="9" y="60"/>
                </a:cxn>
                <a:cxn ang="0">
                  <a:pos x="9" y="47"/>
                </a:cxn>
                <a:cxn ang="0">
                  <a:pos x="0" y="40"/>
                </a:cxn>
                <a:cxn ang="0">
                  <a:pos x="6" y="34"/>
                </a:cxn>
                <a:cxn ang="0">
                  <a:pos x="6" y="25"/>
                </a:cxn>
                <a:cxn ang="0">
                  <a:pos x="15" y="19"/>
                </a:cxn>
              </a:cxnLst>
              <a:rect l="0" t="0" r="r" b="b"/>
              <a:pathLst>
                <a:path w="147" h="175">
                  <a:moveTo>
                    <a:pt x="15" y="19"/>
                  </a:moveTo>
                  <a:lnTo>
                    <a:pt x="19" y="21"/>
                  </a:lnTo>
                  <a:lnTo>
                    <a:pt x="21" y="25"/>
                  </a:lnTo>
                  <a:lnTo>
                    <a:pt x="24" y="23"/>
                  </a:lnTo>
                  <a:lnTo>
                    <a:pt x="28" y="25"/>
                  </a:lnTo>
                  <a:lnTo>
                    <a:pt x="26" y="19"/>
                  </a:lnTo>
                  <a:lnTo>
                    <a:pt x="26" y="15"/>
                  </a:lnTo>
                  <a:lnTo>
                    <a:pt x="26" y="10"/>
                  </a:lnTo>
                  <a:lnTo>
                    <a:pt x="24" y="6"/>
                  </a:lnTo>
                  <a:lnTo>
                    <a:pt x="28" y="2"/>
                  </a:lnTo>
                  <a:lnTo>
                    <a:pt x="28" y="0"/>
                  </a:lnTo>
                  <a:lnTo>
                    <a:pt x="34" y="0"/>
                  </a:lnTo>
                  <a:lnTo>
                    <a:pt x="36" y="2"/>
                  </a:lnTo>
                  <a:lnTo>
                    <a:pt x="41" y="6"/>
                  </a:lnTo>
                  <a:lnTo>
                    <a:pt x="45" y="10"/>
                  </a:lnTo>
                  <a:lnTo>
                    <a:pt x="49" y="12"/>
                  </a:lnTo>
                  <a:lnTo>
                    <a:pt x="49" y="17"/>
                  </a:lnTo>
                  <a:lnTo>
                    <a:pt x="47" y="19"/>
                  </a:lnTo>
                  <a:lnTo>
                    <a:pt x="55" y="27"/>
                  </a:lnTo>
                  <a:lnTo>
                    <a:pt x="58" y="30"/>
                  </a:lnTo>
                  <a:lnTo>
                    <a:pt x="66" y="30"/>
                  </a:lnTo>
                  <a:lnTo>
                    <a:pt x="70" y="34"/>
                  </a:lnTo>
                  <a:lnTo>
                    <a:pt x="73" y="30"/>
                  </a:lnTo>
                  <a:lnTo>
                    <a:pt x="79" y="30"/>
                  </a:lnTo>
                  <a:lnTo>
                    <a:pt x="83" y="36"/>
                  </a:lnTo>
                  <a:lnTo>
                    <a:pt x="87" y="36"/>
                  </a:lnTo>
                  <a:lnTo>
                    <a:pt x="87" y="40"/>
                  </a:lnTo>
                  <a:lnTo>
                    <a:pt x="87" y="42"/>
                  </a:lnTo>
                  <a:lnTo>
                    <a:pt x="92" y="44"/>
                  </a:lnTo>
                  <a:lnTo>
                    <a:pt x="92" y="45"/>
                  </a:lnTo>
                  <a:lnTo>
                    <a:pt x="88" y="47"/>
                  </a:lnTo>
                  <a:lnTo>
                    <a:pt x="87" y="55"/>
                  </a:lnTo>
                  <a:lnTo>
                    <a:pt x="85" y="57"/>
                  </a:lnTo>
                  <a:lnTo>
                    <a:pt x="83" y="57"/>
                  </a:lnTo>
                  <a:lnTo>
                    <a:pt x="77" y="59"/>
                  </a:lnTo>
                  <a:lnTo>
                    <a:pt x="73" y="59"/>
                  </a:lnTo>
                  <a:lnTo>
                    <a:pt x="75" y="60"/>
                  </a:lnTo>
                  <a:lnTo>
                    <a:pt x="79" y="66"/>
                  </a:lnTo>
                  <a:lnTo>
                    <a:pt x="75" y="70"/>
                  </a:lnTo>
                  <a:lnTo>
                    <a:pt x="77" y="72"/>
                  </a:lnTo>
                  <a:lnTo>
                    <a:pt x="79" y="72"/>
                  </a:lnTo>
                  <a:lnTo>
                    <a:pt x="83" y="76"/>
                  </a:lnTo>
                  <a:lnTo>
                    <a:pt x="87" y="77"/>
                  </a:lnTo>
                  <a:lnTo>
                    <a:pt x="92" y="79"/>
                  </a:lnTo>
                  <a:lnTo>
                    <a:pt x="96" y="81"/>
                  </a:lnTo>
                  <a:lnTo>
                    <a:pt x="102" y="85"/>
                  </a:lnTo>
                  <a:lnTo>
                    <a:pt x="107" y="91"/>
                  </a:lnTo>
                  <a:lnTo>
                    <a:pt x="109" y="94"/>
                  </a:lnTo>
                  <a:lnTo>
                    <a:pt x="109" y="96"/>
                  </a:lnTo>
                  <a:lnTo>
                    <a:pt x="115" y="104"/>
                  </a:lnTo>
                  <a:lnTo>
                    <a:pt x="117" y="108"/>
                  </a:lnTo>
                  <a:lnTo>
                    <a:pt x="120" y="109"/>
                  </a:lnTo>
                  <a:lnTo>
                    <a:pt x="122" y="109"/>
                  </a:lnTo>
                  <a:lnTo>
                    <a:pt x="126" y="113"/>
                  </a:lnTo>
                  <a:lnTo>
                    <a:pt x="126" y="115"/>
                  </a:lnTo>
                  <a:lnTo>
                    <a:pt x="128" y="119"/>
                  </a:lnTo>
                  <a:lnTo>
                    <a:pt x="132" y="119"/>
                  </a:lnTo>
                  <a:lnTo>
                    <a:pt x="132" y="119"/>
                  </a:lnTo>
                  <a:lnTo>
                    <a:pt x="132" y="121"/>
                  </a:lnTo>
                  <a:lnTo>
                    <a:pt x="134" y="125"/>
                  </a:lnTo>
                  <a:lnTo>
                    <a:pt x="137" y="125"/>
                  </a:lnTo>
                  <a:lnTo>
                    <a:pt x="139" y="128"/>
                  </a:lnTo>
                  <a:lnTo>
                    <a:pt x="143" y="128"/>
                  </a:lnTo>
                  <a:lnTo>
                    <a:pt x="147" y="128"/>
                  </a:lnTo>
                  <a:lnTo>
                    <a:pt x="147" y="128"/>
                  </a:lnTo>
                  <a:lnTo>
                    <a:pt x="145" y="132"/>
                  </a:lnTo>
                  <a:lnTo>
                    <a:pt x="143" y="136"/>
                  </a:lnTo>
                  <a:lnTo>
                    <a:pt x="145" y="140"/>
                  </a:lnTo>
                  <a:lnTo>
                    <a:pt x="147" y="140"/>
                  </a:lnTo>
                  <a:lnTo>
                    <a:pt x="147" y="143"/>
                  </a:lnTo>
                  <a:lnTo>
                    <a:pt x="143" y="149"/>
                  </a:lnTo>
                  <a:lnTo>
                    <a:pt x="143" y="153"/>
                  </a:lnTo>
                  <a:lnTo>
                    <a:pt x="145" y="155"/>
                  </a:lnTo>
                  <a:lnTo>
                    <a:pt x="145" y="160"/>
                  </a:lnTo>
                  <a:lnTo>
                    <a:pt x="141" y="162"/>
                  </a:lnTo>
                  <a:lnTo>
                    <a:pt x="139" y="162"/>
                  </a:lnTo>
                  <a:lnTo>
                    <a:pt x="134" y="160"/>
                  </a:lnTo>
                  <a:lnTo>
                    <a:pt x="132" y="158"/>
                  </a:lnTo>
                  <a:lnTo>
                    <a:pt x="132" y="158"/>
                  </a:lnTo>
                  <a:lnTo>
                    <a:pt x="122" y="158"/>
                  </a:lnTo>
                  <a:lnTo>
                    <a:pt x="122" y="160"/>
                  </a:lnTo>
                  <a:lnTo>
                    <a:pt x="126" y="166"/>
                  </a:lnTo>
                  <a:lnTo>
                    <a:pt x="122" y="168"/>
                  </a:lnTo>
                  <a:lnTo>
                    <a:pt x="126" y="170"/>
                  </a:lnTo>
                  <a:lnTo>
                    <a:pt x="126" y="175"/>
                  </a:lnTo>
                  <a:lnTo>
                    <a:pt x="120" y="174"/>
                  </a:lnTo>
                  <a:lnTo>
                    <a:pt x="117" y="168"/>
                  </a:lnTo>
                  <a:lnTo>
                    <a:pt x="111" y="166"/>
                  </a:lnTo>
                  <a:lnTo>
                    <a:pt x="109" y="164"/>
                  </a:lnTo>
                  <a:lnTo>
                    <a:pt x="103" y="160"/>
                  </a:lnTo>
                  <a:lnTo>
                    <a:pt x="107" y="160"/>
                  </a:lnTo>
                  <a:lnTo>
                    <a:pt x="109" y="158"/>
                  </a:lnTo>
                  <a:lnTo>
                    <a:pt x="109" y="149"/>
                  </a:lnTo>
                  <a:lnTo>
                    <a:pt x="107" y="149"/>
                  </a:lnTo>
                  <a:lnTo>
                    <a:pt x="109" y="145"/>
                  </a:lnTo>
                  <a:lnTo>
                    <a:pt x="109" y="141"/>
                  </a:lnTo>
                  <a:lnTo>
                    <a:pt x="111" y="138"/>
                  </a:lnTo>
                  <a:lnTo>
                    <a:pt x="109" y="136"/>
                  </a:lnTo>
                  <a:lnTo>
                    <a:pt x="107" y="132"/>
                  </a:lnTo>
                  <a:lnTo>
                    <a:pt x="107" y="130"/>
                  </a:lnTo>
                  <a:lnTo>
                    <a:pt x="103" y="128"/>
                  </a:lnTo>
                  <a:lnTo>
                    <a:pt x="98" y="128"/>
                  </a:lnTo>
                  <a:lnTo>
                    <a:pt x="96" y="125"/>
                  </a:lnTo>
                  <a:lnTo>
                    <a:pt x="92" y="121"/>
                  </a:lnTo>
                  <a:lnTo>
                    <a:pt x="94" y="119"/>
                  </a:lnTo>
                  <a:lnTo>
                    <a:pt x="94" y="115"/>
                  </a:lnTo>
                  <a:lnTo>
                    <a:pt x="92" y="109"/>
                  </a:lnTo>
                  <a:lnTo>
                    <a:pt x="94" y="108"/>
                  </a:lnTo>
                  <a:lnTo>
                    <a:pt x="94" y="104"/>
                  </a:lnTo>
                  <a:lnTo>
                    <a:pt x="92" y="100"/>
                  </a:lnTo>
                  <a:lnTo>
                    <a:pt x="87" y="96"/>
                  </a:lnTo>
                  <a:lnTo>
                    <a:pt x="79" y="91"/>
                  </a:lnTo>
                  <a:lnTo>
                    <a:pt x="77" y="85"/>
                  </a:lnTo>
                  <a:lnTo>
                    <a:pt x="70" y="83"/>
                  </a:lnTo>
                  <a:lnTo>
                    <a:pt x="62" y="85"/>
                  </a:lnTo>
                  <a:lnTo>
                    <a:pt x="58" y="94"/>
                  </a:lnTo>
                  <a:lnTo>
                    <a:pt x="53" y="94"/>
                  </a:lnTo>
                  <a:lnTo>
                    <a:pt x="49" y="91"/>
                  </a:lnTo>
                  <a:lnTo>
                    <a:pt x="45" y="91"/>
                  </a:lnTo>
                  <a:lnTo>
                    <a:pt x="38" y="85"/>
                  </a:lnTo>
                  <a:lnTo>
                    <a:pt x="34" y="91"/>
                  </a:lnTo>
                  <a:lnTo>
                    <a:pt x="34" y="94"/>
                  </a:lnTo>
                  <a:lnTo>
                    <a:pt x="28" y="94"/>
                  </a:lnTo>
                  <a:lnTo>
                    <a:pt x="23" y="96"/>
                  </a:lnTo>
                  <a:lnTo>
                    <a:pt x="23" y="89"/>
                  </a:lnTo>
                  <a:lnTo>
                    <a:pt x="23" y="81"/>
                  </a:lnTo>
                  <a:lnTo>
                    <a:pt x="21" y="76"/>
                  </a:lnTo>
                  <a:lnTo>
                    <a:pt x="23" y="74"/>
                  </a:lnTo>
                  <a:lnTo>
                    <a:pt x="23" y="70"/>
                  </a:lnTo>
                  <a:lnTo>
                    <a:pt x="21" y="66"/>
                  </a:lnTo>
                  <a:lnTo>
                    <a:pt x="23" y="64"/>
                  </a:lnTo>
                  <a:lnTo>
                    <a:pt x="23" y="60"/>
                  </a:lnTo>
                  <a:lnTo>
                    <a:pt x="15" y="60"/>
                  </a:lnTo>
                  <a:lnTo>
                    <a:pt x="13" y="60"/>
                  </a:lnTo>
                  <a:lnTo>
                    <a:pt x="9" y="60"/>
                  </a:lnTo>
                  <a:lnTo>
                    <a:pt x="6" y="57"/>
                  </a:lnTo>
                  <a:lnTo>
                    <a:pt x="9" y="55"/>
                  </a:lnTo>
                  <a:lnTo>
                    <a:pt x="9" y="47"/>
                  </a:lnTo>
                  <a:lnTo>
                    <a:pt x="6" y="44"/>
                  </a:lnTo>
                  <a:lnTo>
                    <a:pt x="2" y="45"/>
                  </a:lnTo>
                  <a:lnTo>
                    <a:pt x="0" y="40"/>
                  </a:lnTo>
                  <a:lnTo>
                    <a:pt x="2" y="36"/>
                  </a:lnTo>
                  <a:lnTo>
                    <a:pt x="4" y="36"/>
                  </a:lnTo>
                  <a:lnTo>
                    <a:pt x="6" y="34"/>
                  </a:lnTo>
                  <a:lnTo>
                    <a:pt x="6" y="30"/>
                  </a:lnTo>
                  <a:lnTo>
                    <a:pt x="6" y="27"/>
                  </a:lnTo>
                  <a:lnTo>
                    <a:pt x="6" y="25"/>
                  </a:lnTo>
                  <a:lnTo>
                    <a:pt x="11" y="23"/>
                  </a:lnTo>
                  <a:lnTo>
                    <a:pt x="15" y="19"/>
                  </a:lnTo>
                  <a:lnTo>
                    <a:pt x="15" y="19"/>
                  </a:lnTo>
                  <a:lnTo>
                    <a:pt x="15"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2" name="Freeform 185">
              <a:extLst>
                <a:ext uri="{FF2B5EF4-FFF2-40B4-BE49-F238E27FC236}">
                  <a16:creationId xmlns:a16="http://schemas.microsoft.com/office/drawing/2014/main" id="{0E654FBD-BAA9-4EDC-AF6C-A14103534B39}"/>
                </a:ext>
              </a:extLst>
            </p:cNvPr>
            <p:cNvSpPr>
              <a:spLocks noEditPoints="1"/>
            </p:cNvSpPr>
            <p:nvPr/>
          </p:nvSpPr>
          <p:spPr bwMode="auto">
            <a:xfrm>
              <a:off x="4573" y="2702"/>
              <a:ext cx="158" cy="296"/>
            </a:xfrm>
            <a:custGeom>
              <a:avLst/>
              <a:gdLst/>
              <a:ahLst/>
              <a:cxnLst>
                <a:cxn ang="0">
                  <a:pos x="51" y="15"/>
                </a:cxn>
                <a:cxn ang="0">
                  <a:pos x="66" y="26"/>
                </a:cxn>
                <a:cxn ang="0">
                  <a:pos x="68" y="56"/>
                </a:cxn>
                <a:cxn ang="0">
                  <a:pos x="94" y="49"/>
                </a:cxn>
                <a:cxn ang="0">
                  <a:pos x="126" y="51"/>
                </a:cxn>
                <a:cxn ang="0">
                  <a:pos x="139" y="75"/>
                </a:cxn>
                <a:cxn ang="0">
                  <a:pos x="152" y="90"/>
                </a:cxn>
                <a:cxn ang="0">
                  <a:pos x="154" y="109"/>
                </a:cxn>
                <a:cxn ang="0">
                  <a:pos x="139" y="120"/>
                </a:cxn>
                <a:cxn ang="0">
                  <a:pos x="113" y="122"/>
                </a:cxn>
                <a:cxn ang="0">
                  <a:pos x="100" y="154"/>
                </a:cxn>
                <a:cxn ang="0">
                  <a:pos x="103" y="169"/>
                </a:cxn>
                <a:cxn ang="0">
                  <a:pos x="94" y="164"/>
                </a:cxn>
                <a:cxn ang="0">
                  <a:pos x="85" y="160"/>
                </a:cxn>
                <a:cxn ang="0">
                  <a:pos x="73" y="154"/>
                </a:cxn>
                <a:cxn ang="0">
                  <a:pos x="68" y="143"/>
                </a:cxn>
                <a:cxn ang="0">
                  <a:pos x="56" y="145"/>
                </a:cxn>
                <a:cxn ang="0">
                  <a:pos x="56" y="151"/>
                </a:cxn>
                <a:cxn ang="0">
                  <a:pos x="54" y="171"/>
                </a:cxn>
                <a:cxn ang="0">
                  <a:pos x="43" y="207"/>
                </a:cxn>
                <a:cxn ang="0">
                  <a:pos x="45" y="218"/>
                </a:cxn>
                <a:cxn ang="0">
                  <a:pos x="51" y="224"/>
                </a:cxn>
                <a:cxn ang="0">
                  <a:pos x="58" y="239"/>
                </a:cxn>
                <a:cxn ang="0">
                  <a:pos x="66" y="241"/>
                </a:cxn>
                <a:cxn ang="0">
                  <a:pos x="70" y="260"/>
                </a:cxn>
                <a:cxn ang="0">
                  <a:pos x="73" y="264"/>
                </a:cxn>
                <a:cxn ang="0">
                  <a:pos x="88" y="275"/>
                </a:cxn>
                <a:cxn ang="0">
                  <a:pos x="100" y="288"/>
                </a:cxn>
                <a:cxn ang="0">
                  <a:pos x="81" y="294"/>
                </a:cxn>
                <a:cxn ang="0">
                  <a:pos x="75" y="279"/>
                </a:cxn>
                <a:cxn ang="0">
                  <a:pos x="54" y="275"/>
                </a:cxn>
                <a:cxn ang="0">
                  <a:pos x="51" y="265"/>
                </a:cxn>
                <a:cxn ang="0">
                  <a:pos x="38" y="245"/>
                </a:cxn>
                <a:cxn ang="0">
                  <a:pos x="30" y="245"/>
                </a:cxn>
                <a:cxn ang="0">
                  <a:pos x="32" y="224"/>
                </a:cxn>
                <a:cxn ang="0">
                  <a:pos x="32" y="211"/>
                </a:cxn>
                <a:cxn ang="0">
                  <a:pos x="45" y="179"/>
                </a:cxn>
                <a:cxn ang="0">
                  <a:pos x="43" y="154"/>
                </a:cxn>
                <a:cxn ang="0">
                  <a:pos x="34" y="126"/>
                </a:cxn>
                <a:cxn ang="0">
                  <a:pos x="26" y="102"/>
                </a:cxn>
                <a:cxn ang="0">
                  <a:pos x="24" y="79"/>
                </a:cxn>
                <a:cxn ang="0">
                  <a:pos x="6" y="53"/>
                </a:cxn>
                <a:cxn ang="0">
                  <a:pos x="6" y="34"/>
                </a:cxn>
                <a:cxn ang="0">
                  <a:pos x="21" y="17"/>
                </a:cxn>
                <a:cxn ang="0">
                  <a:pos x="36" y="6"/>
                </a:cxn>
                <a:cxn ang="0">
                  <a:pos x="45" y="0"/>
                </a:cxn>
                <a:cxn ang="0">
                  <a:pos x="56" y="279"/>
                </a:cxn>
                <a:cxn ang="0">
                  <a:pos x="43" y="258"/>
                </a:cxn>
                <a:cxn ang="0">
                  <a:pos x="43" y="258"/>
                </a:cxn>
                <a:cxn ang="0">
                  <a:pos x="32" y="254"/>
                </a:cxn>
                <a:cxn ang="0">
                  <a:pos x="30" y="249"/>
                </a:cxn>
                <a:cxn ang="0">
                  <a:pos x="96" y="168"/>
                </a:cxn>
                <a:cxn ang="0">
                  <a:pos x="60" y="215"/>
                </a:cxn>
                <a:cxn ang="0">
                  <a:pos x="58" y="220"/>
                </a:cxn>
              </a:cxnLst>
              <a:rect l="0" t="0" r="r" b="b"/>
              <a:pathLst>
                <a:path w="158" h="296">
                  <a:moveTo>
                    <a:pt x="45" y="0"/>
                  </a:moveTo>
                  <a:lnTo>
                    <a:pt x="47" y="4"/>
                  </a:lnTo>
                  <a:lnTo>
                    <a:pt x="51" y="4"/>
                  </a:lnTo>
                  <a:lnTo>
                    <a:pt x="54" y="6"/>
                  </a:lnTo>
                  <a:lnTo>
                    <a:pt x="54" y="13"/>
                  </a:lnTo>
                  <a:lnTo>
                    <a:pt x="51" y="15"/>
                  </a:lnTo>
                  <a:lnTo>
                    <a:pt x="54" y="21"/>
                  </a:lnTo>
                  <a:lnTo>
                    <a:pt x="58" y="21"/>
                  </a:lnTo>
                  <a:lnTo>
                    <a:pt x="60" y="19"/>
                  </a:lnTo>
                  <a:lnTo>
                    <a:pt x="68" y="19"/>
                  </a:lnTo>
                  <a:lnTo>
                    <a:pt x="68" y="22"/>
                  </a:lnTo>
                  <a:lnTo>
                    <a:pt x="66" y="26"/>
                  </a:lnTo>
                  <a:lnTo>
                    <a:pt x="68" y="30"/>
                  </a:lnTo>
                  <a:lnTo>
                    <a:pt x="68" y="34"/>
                  </a:lnTo>
                  <a:lnTo>
                    <a:pt x="66" y="34"/>
                  </a:lnTo>
                  <a:lnTo>
                    <a:pt x="68" y="39"/>
                  </a:lnTo>
                  <a:lnTo>
                    <a:pt x="68" y="47"/>
                  </a:lnTo>
                  <a:lnTo>
                    <a:pt x="68" y="56"/>
                  </a:lnTo>
                  <a:lnTo>
                    <a:pt x="73" y="55"/>
                  </a:lnTo>
                  <a:lnTo>
                    <a:pt x="79" y="53"/>
                  </a:lnTo>
                  <a:lnTo>
                    <a:pt x="79" y="49"/>
                  </a:lnTo>
                  <a:lnTo>
                    <a:pt x="85" y="45"/>
                  </a:lnTo>
                  <a:lnTo>
                    <a:pt x="90" y="49"/>
                  </a:lnTo>
                  <a:lnTo>
                    <a:pt x="94" y="49"/>
                  </a:lnTo>
                  <a:lnTo>
                    <a:pt x="98" y="53"/>
                  </a:lnTo>
                  <a:lnTo>
                    <a:pt x="105" y="53"/>
                  </a:lnTo>
                  <a:lnTo>
                    <a:pt x="109" y="43"/>
                  </a:lnTo>
                  <a:lnTo>
                    <a:pt x="115" y="43"/>
                  </a:lnTo>
                  <a:lnTo>
                    <a:pt x="122" y="45"/>
                  </a:lnTo>
                  <a:lnTo>
                    <a:pt x="126" y="51"/>
                  </a:lnTo>
                  <a:lnTo>
                    <a:pt x="134" y="56"/>
                  </a:lnTo>
                  <a:lnTo>
                    <a:pt x="137" y="60"/>
                  </a:lnTo>
                  <a:lnTo>
                    <a:pt x="139" y="64"/>
                  </a:lnTo>
                  <a:lnTo>
                    <a:pt x="139" y="68"/>
                  </a:lnTo>
                  <a:lnTo>
                    <a:pt x="137" y="70"/>
                  </a:lnTo>
                  <a:lnTo>
                    <a:pt x="139" y="75"/>
                  </a:lnTo>
                  <a:lnTo>
                    <a:pt x="139" y="79"/>
                  </a:lnTo>
                  <a:lnTo>
                    <a:pt x="137" y="81"/>
                  </a:lnTo>
                  <a:lnTo>
                    <a:pt x="143" y="85"/>
                  </a:lnTo>
                  <a:lnTo>
                    <a:pt x="145" y="88"/>
                  </a:lnTo>
                  <a:lnTo>
                    <a:pt x="149" y="88"/>
                  </a:lnTo>
                  <a:lnTo>
                    <a:pt x="152" y="90"/>
                  </a:lnTo>
                  <a:lnTo>
                    <a:pt x="152" y="92"/>
                  </a:lnTo>
                  <a:lnTo>
                    <a:pt x="154" y="96"/>
                  </a:lnTo>
                  <a:lnTo>
                    <a:pt x="158" y="98"/>
                  </a:lnTo>
                  <a:lnTo>
                    <a:pt x="154" y="102"/>
                  </a:lnTo>
                  <a:lnTo>
                    <a:pt x="154" y="105"/>
                  </a:lnTo>
                  <a:lnTo>
                    <a:pt x="154" y="109"/>
                  </a:lnTo>
                  <a:lnTo>
                    <a:pt x="154" y="109"/>
                  </a:lnTo>
                  <a:lnTo>
                    <a:pt x="154" y="119"/>
                  </a:lnTo>
                  <a:lnTo>
                    <a:pt x="154" y="120"/>
                  </a:lnTo>
                  <a:lnTo>
                    <a:pt x="149" y="122"/>
                  </a:lnTo>
                  <a:lnTo>
                    <a:pt x="145" y="119"/>
                  </a:lnTo>
                  <a:lnTo>
                    <a:pt x="139" y="120"/>
                  </a:lnTo>
                  <a:lnTo>
                    <a:pt x="137" y="119"/>
                  </a:lnTo>
                  <a:lnTo>
                    <a:pt x="134" y="119"/>
                  </a:lnTo>
                  <a:lnTo>
                    <a:pt x="128" y="120"/>
                  </a:lnTo>
                  <a:lnTo>
                    <a:pt x="126" y="119"/>
                  </a:lnTo>
                  <a:lnTo>
                    <a:pt x="120" y="119"/>
                  </a:lnTo>
                  <a:lnTo>
                    <a:pt x="113" y="122"/>
                  </a:lnTo>
                  <a:lnTo>
                    <a:pt x="109" y="122"/>
                  </a:lnTo>
                  <a:lnTo>
                    <a:pt x="105" y="128"/>
                  </a:lnTo>
                  <a:lnTo>
                    <a:pt x="103" y="134"/>
                  </a:lnTo>
                  <a:lnTo>
                    <a:pt x="100" y="137"/>
                  </a:lnTo>
                  <a:lnTo>
                    <a:pt x="100" y="145"/>
                  </a:lnTo>
                  <a:lnTo>
                    <a:pt x="100" y="154"/>
                  </a:lnTo>
                  <a:lnTo>
                    <a:pt x="105" y="154"/>
                  </a:lnTo>
                  <a:lnTo>
                    <a:pt x="105" y="158"/>
                  </a:lnTo>
                  <a:lnTo>
                    <a:pt x="105" y="166"/>
                  </a:lnTo>
                  <a:lnTo>
                    <a:pt x="105" y="168"/>
                  </a:lnTo>
                  <a:lnTo>
                    <a:pt x="105" y="168"/>
                  </a:lnTo>
                  <a:lnTo>
                    <a:pt x="103" y="169"/>
                  </a:lnTo>
                  <a:lnTo>
                    <a:pt x="103" y="171"/>
                  </a:lnTo>
                  <a:lnTo>
                    <a:pt x="103" y="169"/>
                  </a:lnTo>
                  <a:lnTo>
                    <a:pt x="100" y="166"/>
                  </a:lnTo>
                  <a:lnTo>
                    <a:pt x="98" y="166"/>
                  </a:lnTo>
                  <a:lnTo>
                    <a:pt x="98" y="164"/>
                  </a:lnTo>
                  <a:lnTo>
                    <a:pt x="94" y="164"/>
                  </a:lnTo>
                  <a:lnTo>
                    <a:pt x="90" y="158"/>
                  </a:lnTo>
                  <a:lnTo>
                    <a:pt x="86" y="158"/>
                  </a:lnTo>
                  <a:lnTo>
                    <a:pt x="85" y="158"/>
                  </a:lnTo>
                  <a:lnTo>
                    <a:pt x="85" y="160"/>
                  </a:lnTo>
                  <a:lnTo>
                    <a:pt x="85" y="160"/>
                  </a:lnTo>
                  <a:lnTo>
                    <a:pt x="85" y="160"/>
                  </a:lnTo>
                  <a:lnTo>
                    <a:pt x="79" y="158"/>
                  </a:lnTo>
                  <a:lnTo>
                    <a:pt x="75" y="160"/>
                  </a:lnTo>
                  <a:lnTo>
                    <a:pt x="73" y="158"/>
                  </a:lnTo>
                  <a:lnTo>
                    <a:pt x="71" y="158"/>
                  </a:lnTo>
                  <a:lnTo>
                    <a:pt x="71" y="158"/>
                  </a:lnTo>
                  <a:lnTo>
                    <a:pt x="73" y="154"/>
                  </a:lnTo>
                  <a:lnTo>
                    <a:pt x="71" y="151"/>
                  </a:lnTo>
                  <a:lnTo>
                    <a:pt x="71" y="145"/>
                  </a:lnTo>
                  <a:lnTo>
                    <a:pt x="73" y="145"/>
                  </a:lnTo>
                  <a:lnTo>
                    <a:pt x="71" y="143"/>
                  </a:lnTo>
                  <a:lnTo>
                    <a:pt x="68" y="143"/>
                  </a:lnTo>
                  <a:lnTo>
                    <a:pt x="68" y="143"/>
                  </a:lnTo>
                  <a:lnTo>
                    <a:pt x="66" y="143"/>
                  </a:lnTo>
                  <a:lnTo>
                    <a:pt x="66" y="141"/>
                  </a:lnTo>
                  <a:lnTo>
                    <a:pt x="62" y="143"/>
                  </a:lnTo>
                  <a:lnTo>
                    <a:pt x="60" y="143"/>
                  </a:lnTo>
                  <a:lnTo>
                    <a:pt x="58" y="143"/>
                  </a:lnTo>
                  <a:lnTo>
                    <a:pt x="56" y="145"/>
                  </a:lnTo>
                  <a:lnTo>
                    <a:pt x="54" y="145"/>
                  </a:lnTo>
                  <a:lnTo>
                    <a:pt x="54" y="143"/>
                  </a:lnTo>
                  <a:lnTo>
                    <a:pt x="54" y="145"/>
                  </a:lnTo>
                  <a:lnTo>
                    <a:pt x="54" y="145"/>
                  </a:lnTo>
                  <a:lnTo>
                    <a:pt x="56" y="149"/>
                  </a:lnTo>
                  <a:lnTo>
                    <a:pt x="56" y="151"/>
                  </a:lnTo>
                  <a:lnTo>
                    <a:pt x="54" y="154"/>
                  </a:lnTo>
                  <a:lnTo>
                    <a:pt x="54" y="158"/>
                  </a:lnTo>
                  <a:lnTo>
                    <a:pt x="54" y="160"/>
                  </a:lnTo>
                  <a:lnTo>
                    <a:pt x="54" y="164"/>
                  </a:lnTo>
                  <a:lnTo>
                    <a:pt x="54" y="168"/>
                  </a:lnTo>
                  <a:lnTo>
                    <a:pt x="54" y="171"/>
                  </a:lnTo>
                  <a:lnTo>
                    <a:pt x="51" y="175"/>
                  </a:lnTo>
                  <a:lnTo>
                    <a:pt x="51" y="179"/>
                  </a:lnTo>
                  <a:lnTo>
                    <a:pt x="49" y="194"/>
                  </a:lnTo>
                  <a:lnTo>
                    <a:pt x="45" y="200"/>
                  </a:lnTo>
                  <a:lnTo>
                    <a:pt x="45" y="201"/>
                  </a:lnTo>
                  <a:lnTo>
                    <a:pt x="43" y="207"/>
                  </a:lnTo>
                  <a:lnTo>
                    <a:pt x="45" y="207"/>
                  </a:lnTo>
                  <a:lnTo>
                    <a:pt x="45" y="207"/>
                  </a:lnTo>
                  <a:lnTo>
                    <a:pt x="43" y="211"/>
                  </a:lnTo>
                  <a:lnTo>
                    <a:pt x="43" y="211"/>
                  </a:lnTo>
                  <a:lnTo>
                    <a:pt x="45" y="217"/>
                  </a:lnTo>
                  <a:lnTo>
                    <a:pt x="45" y="218"/>
                  </a:lnTo>
                  <a:lnTo>
                    <a:pt x="49" y="224"/>
                  </a:lnTo>
                  <a:lnTo>
                    <a:pt x="47" y="226"/>
                  </a:lnTo>
                  <a:lnTo>
                    <a:pt x="49" y="230"/>
                  </a:lnTo>
                  <a:lnTo>
                    <a:pt x="51" y="230"/>
                  </a:lnTo>
                  <a:lnTo>
                    <a:pt x="51" y="226"/>
                  </a:lnTo>
                  <a:lnTo>
                    <a:pt x="51" y="224"/>
                  </a:lnTo>
                  <a:lnTo>
                    <a:pt x="51" y="226"/>
                  </a:lnTo>
                  <a:lnTo>
                    <a:pt x="54" y="226"/>
                  </a:lnTo>
                  <a:lnTo>
                    <a:pt x="56" y="226"/>
                  </a:lnTo>
                  <a:lnTo>
                    <a:pt x="56" y="230"/>
                  </a:lnTo>
                  <a:lnTo>
                    <a:pt x="58" y="233"/>
                  </a:lnTo>
                  <a:lnTo>
                    <a:pt x="58" y="239"/>
                  </a:lnTo>
                  <a:lnTo>
                    <a:pt x="60" y="239"/>
                  </a:lnTo>
                  <a:lnTo>
                    <a:pt x="62" y="241"/>
                  </a:lnTo>
                  <a:lnTo>
                    <a:pt x="64" y="241"/>
                  </a:lnTo>
                  <a:lnTo>
                    <a:pt x="64" y="239"/>
                  </a:lnTo>
                  <a:lnTo>
                    <a:pt x="64" y="239"/>
                  </a:lnTo>
                  <a:lnTo>
                    <a:pt x="66" y="241"/>
                  </a:lnTo>
                  <a:lnTo>
                    <a:pt x="68" y="245"/>
                  </a:lnTo>
                  <a:lnTo>
                    <a:pt x="68" y="247"/>
                  </a:lnTo>
                  <a:lnTo>
                    <a:pt x="70" y="249"/>
                  </a:lnTo>
                  <a:lnTo>
                    <a:pt x="71" y="256"/>
                  </a:lnTo>
                  <a:lnTo>
                    <a:pt x="71" y="258"/>
                  </a:lnTo>
                  <a:lnTo>
                    <a:pt x="70" y="260"/>
                  </a:lnTo>
                  <a:lnTo>
                    <a:pt x="70" y="258"/>
                  </a:lnTo>
                  <a:lnTo>
                    <a:pt x="66" y="260"/>
                  </a:lnTo>
                  <a:lnTo>
                    <a:pt x="66" y="264"/>
                  </a:lnTo>
                  <a:lnTo>
                    <a:pt x="71" y="265"/>
                  </a:lnTo>
                  <a:lnTo>
                    <a:pt x="71" y="260"/>
                  </a:lnTo>
                  <a:lnTo>
                    <a:pt x="73" y="264"/>
                  </a:lnTo>
                  <a:lnTo>
                    <a:pt x="73" y="265"/>
                  </a:lnTo>
                  <a:lnTo>
                    <a:pt x="75" y="269"/>
                  </a:lnTo>
                  <a:lnTo>
                    <a:pt x="79" y="275"/>
                  </a:lnTo>
                  <a:lnTo>
                    <a:pt x="85" y="275"/>
                  </a:lnTo>
                  <a:lnTo>
                    <a:pt x="85" y="275"/>
                  </a:lnTo>
                  <a:lnTo>
                    <a:pt x="88" y="275"/>
                  </a:lnTo>
                  <a:lnTo>
                    <a:pt x="92" y="275"/>
                  </a:lnTo>
                  <a:lnTo>
                    <a:pt x="94" y="281"/>
                  </a:lnTo>
                  <a:lnTo>
                    <a:pt x="96" y="282"/>
                  </a:lnTo>
                  <a:lnTo>
                    <a:pt x="100" y="286"/>
                  </a:lnTo>
                  <a:lnTo>
                    <a:pt x="100" y="288"/>
                  </a:lnTo>
                  <a:lnTo>
                    <a:pt x="100" y="288"/>
                  </a:lnTo>
                  <a:lnTo>
                    <a:pt x="100" y="292"/>
                  </a:lnTo>
                  <a:lnTo>
                    <a:pt x="96" y="294"/>
                  </a:lnTo>
                  <a:lnTo>
                    <a:pt x="94" y="292"/>
                  </a:lnTo>
                  <a:lnTo>
                    <a:pt x="90" y="292"/>
                  </a:lnTo>
                  <a:lnTo>
                    <a:pt x="86" y="296"/>
                  </a:lnTo>
                  <a:lnTo>
                    <a:pt x="81" y="294"/>
                  </a:lnTo>
                  <a:lnTo>
                    <a:pt x="81" y="292"/>
                  </a:lnTo>
                  <a:lnTo>
                    <a:pt x="85" y="288"/>
                  </a:lnTo>
                  <a:lnTo>
                    <a:pt x="85" y="282"/>
                  </a:lnTo>
                  <a:lnTo>
                    <a:pt x="81" y="281"/>
                  </a:lnTo>
                  <a:lnTo>
                    <a:pt x="79" y="281"/>
                  </a:lnTo>
                  <a:lnTo>
                    <a:pt x="75" y="279"/>
                  </a:lnTo>
                  <a:lnTo>
                    <a:pt x="71" y="279"/>
                  </a:lnTo>
                  <a:lnTo>
                    <a:pt x="68" y="275"/>
                  </a:lnTo>
                  <a:lnTo>
                    <a:pt x="66" y="279"/>
                  </a:lnTo>
                  <a:lnTo>
                    <a:pt x="64" y="281"/>
                  </a:lnTo>
                  <a:lnTo>
                    <a:pt x="64" y="279"/>
                  </a:lnTo>
                  <a:lnTo>
                    <a:pt x="54" y="275"/>
                  </a:lnTo>
                  <a:lnTo>
                    <a:pt x="54" y="271"/>
                  </a:lnTo>
                  <a:lnTo>
                    <a:pt x="56" y="269"/>
                  </a:lnTo>
                  <a:lnTo>
                    <a:pt x="56" y="269"/>
                  </a:lnTo>
                  <a:lnTo>
                    <a:pt x="54" y="269"/>
                  </a:lnTo>
                  <a:lnTo>
                    <a:pt x="54" y="265"/>
                  </a:lnTo>
                  <a:lnTo>
                    <a:pt x="51" y="265"/>
                  </a:lnTo>
                  <a:lnTo>
                    <a:pt x="51" y="260"/>
                  </a:lnTo>
                  <a:lnTo>
                    <a:pt x="47" y="256"/>
                  </a:lnTo>
                  <a:lnTo>
                    <a:pt x="43" y="256"/>
                  </a:lnTo>
                  <a:lnTo>
                    <a:pt x="41" y="249"/>
                  </a:lnTo>
                  <a:lnTo>
                    <a:pt x="38" y="249"/>
                  </a:lnTo>
                  <a:lnTo>
                    <a:pt x="38" y="245"/>
                  </a:lnTo>
                  <a:lnTo>
                    <a:pt x="36" y="243"/>
                  </a:lnTo>
                  <a:lnTo>
                    <a:pt x="36" y="241"/>
                  </a:lnTo>
                  <a:lnTo>
                    <a:pt x="32" y="243"/>
                  </a:lnTo>
                  <a:lnTo>
                    <a:pt x="32" y="247"/>
                  </a:lnTo>
                  <a:lnTo>
                    <a:pt x="30" y="247"/>
                  </a:lnTo>
                  <a:lnTo>
                    <a:pt x="30" y="245"/>
                  </a:lnTo>
                  <a:lnTo>
                    <a:pt x="26" y="239"/>
                  </a:lnTo>
                  <a:lnTo>
                    <a:pt x="30" y="235"/>
                  </a:lnTo>
                  <a:lnTo>
                    <a:pt x="26" y="230"/>
                  </a:lnTo>
                  <a:lnTo>
                    <a:pt x="30" y="230"/>
                  </a:lnTo>
                  <a:lnTo>
                    <a:pt x="30" y="224"/>
                  </a:lnTo>
                  <a:lnTo>
                    <a:pt x="32" y="224"/>
                  </a:lnTo>
                  <a:lnTo>
                    <a:pt x="32" y="220"/>
                  </a:lnTo>
                  <a:lnTo>
                    <a:pt x="30" y="220"/>
                  </a:lnTo>
                  <a:lnTo>
                    <a:pt x="34" y="217"/>
                  </a:lnTo>
                  <a:lnTo>
                    <a:pt x="32" y="215"/>
                  </a:lnTo>
                  <a:lnTo>
                    <a:pt x="36" y="211"/>
                  </a:lnTo>
                  <a:lnTo>
                    <a:pt x="32" y="211"/>
                  </a:lnTo>
                  <a:lnTo>
                    <a:pt x="34" y="203"/>
                  </a:lnTo>
                  <a:lnTo>
                    <a:pt x="34" y="201"/>
                  </a:lnTo>
                  <a:lnTo>
                    <a:pt x="36" y="200"/>
                  </a:lnTo>
                  <a:lnTo>
                    <a:pt x="38" y="194"/>
                  </a:lnTo>
                  <a:lnTo>
                    <a:pt x="41" y="190"/>
                  </a:lnTo>
                  <a:lnTo>
                    <a:pt x="45" y="179"/>
                  </a:lnTo>
                  <a:lnTo>
                    <a:pt x="49" y="177"/>
                  </a:lnTo>
                  <a:lnTo>
                    <a:pt x="49" y="171"/>
                  </a:lnTo>
                  <a:lnTo>
                    <a:pt x="45" y="168"/>
                  </a:lnTo>
                  <a:lnTo>
                    <a:pt x="47" y="164"/>
                  </a:lnTo>
                  <a:lnTo>
                    <a:pt x="45" y="158"/>
                  </a:lnTo>
                  <a:lnTo>
                    <a:pt x="43" y="154"/>
                  </a:lnTo>
                  <a:lnTo>
                    <a:pt x="41" y="151"/>
                  </a:lnTo>
                  <a:lnTo>
                    <a:pt x="41" y="145"/>
                  </a:lnTo>
                  <a:lnTo>
                    <a:pt x="41" y="143"/>
                  </a:lnTo>
                  <a:lnTo>
                    <a:pt x="43" y="139"/>
                  </a:lnTo>
                  <a:lnTo>
                    <a:pt x="39" y="132"/>
                  </a:lnTo>
                  <a:lnTo>
                    <a:pt x="34" y="126"/>
                  </a:lnTo>
                  <a:lnTo>
                    <a:pt x="30" y="122"/>
                  </a:lnTo>
                  <a:lnTo>
                    <a:pt x="24" y="115"/>
                  </a:lnTo>
                  <a:lnTo>
                    <a:pt x="24" y="113"/>
                  </a:lnTo>
                  <a:lnTo>
                    <a:pt x="21" y="105"/>
                  </a:lnTo>
                  <a:lnTo>
                    <a:pt x="26" y="103"/>
                  </a:lnTo>
                  <a:lnTo>
                    <a:pt x="26" y="102"/>
                  </a:lnTo>
                  <a:lnTo>
                    <a:pt x="24" y="92"/>
                  </a:lnTo>
                  <a:lnTo>
                    <a:pt x="26" y="88"/>
                  </a:lnTo>
                  <a:lnTo>
                    <a:pt x="30" y="88"/>
                  </a:lnTo>
                  <a:lnTo>
                    <a:pt x="30" y="83"/>
                  </a:lnTo>
                  <a:lnTo>
                    <a:pt x="26" y="81"/>
                  </a:lnTo>
                  <a:lnTo>
                    <a:pt x="24" y="79"/>
                  </a:lnTo>
                  <a:lnTo>
                    <a:pt x="21" y="73"/>
                  </a:lnTo>
                  <a:lnTo>
                    <a:pt x="19" y="70"/>
                  </a:lnTo>
                  <a:lnTo>
                    <a:pt x="15" y="62"/>
                  </a:lnTo>
                  <a:lnTo>
                    <a:pt x="9" y="58"/>
                  </a:lnTo>
                  <a:lnTo>
                    <a:pt x="9" y="55"/>
                  </a:lnTo>
                  <a:lnTo>
                    <a:pt x="6" y="53"/>
                  </a:lnTo>
                  <a:lnTo>
                    <a:pt x="2" y="47"/>
                  </a:lnTo>
                  <a:lnTo>
                    <a:pt x="0" y="45"/>
                  </a:lnTo>
                  <a:lnTo>
                    <a:pt x="0" y="43"/>
                  </a:lnTo>
                  <a:lnTo>
                    <a:pt x="4" y="43"/>
                  </a:lnTo>
                  <a:lnTo>
                    <a:pt x="7" y="39"/>
                  </a:lnTo>
                  <a:lnTo>
                    <a:pt x="6" y="34"/>
                  </a:lnTo>
                  <a:lnTo>
                    <a:pt x="6" y="30"/>
                  </a:lnTo>
                  <a:lnTo>
                    <a:pt x="9" y="28"/>
                  </a:lnTo>
                  <a:lnTo>
                    <a:pt x="7" y="21"/>
                  </a:lnTo>
                  <a:lnTo>
                    <a:pt x="11" y="17"/>
                  </a:lnTo>
                  <a:lnTo>
                    <a:pt x="19" y="21"/>
                  </a:lnTo>
                  <a:lnTo>
                    <a:pt x="21" y="17"/>
                  </a:lnTo>
                  <a:lnTo>
                    <a:pt x="26" y="17"/>
                  </a:lnTo>
                  <a:lnTo>
                    <a:pt x="26" y="15"/>
                  </a:lnTo>
                  <a:lnTo>
                    <a:pt x="26" y="9"/>
                  </a:lnTo>
                  <a:lnTo>
                    <a:pt x="30" y="7"/>
                  </a:lnTo>
                  <a:lnTo>
                    <a:pt x="34" y="7"/>
                  </a:lnTo>
                  <a:lnTo>
                    <a:pt x="36" y="6"/>
                  </a:lnTo>
                  <a:lnTo>
                    <a:pt x="34" y="4"/>
                  </a:lnTo>
                  <a:lnTo>
                    <a:pt x="34" y="0"/>
                  </a:lnTo>
                  <a:lnTo>
                    <a:pt x="38" y="0"/>
                  </a:lnTo>
                  <a:lnTo>
                    <a:pt x="43" y="0"/>
                  </a:lnTo>
                  <a:lnTo>
                    <a:pt x="45" y="0"/>
                  </a:lnTo>
                  <a:lnTo>
                    <a:pt x="45" y="0"/>
                  </a:lnTo>
                  <a:lnTo>
                    <a:pt x="45" y="0"/>
                  </a:lnTo>
                  <a:lnTo>
                    <a:pt x="45" y="0"/>
                  </a:lnTo>
                  <a:close/>
                  <a:moveTo>
                    <a:pt x="54" y="275"/>
                  </a:moveTo>
                  <a:lnTo>
                    <a:pt x="54" y="279"/>
                  </a:lnTo>
                  <a:lnTo>
                    <a:pt x="56" y="279"/>
                  </a:lnTo>
                  <a:lnTo>
                    <a:pt x="56" y="279"/>
                  </a:lnTo>
                  <a:lnTo>
                    <a:pt x="54" y="275"/>
                  </a:lnTo>
                  <a:lnTo>
                    <a:pt x="54" y="275"/>
                  </a:lnTo>
                  <a:lnTo>
                    <a:pt x="54" y="275"/>
                  </a:lnTo>
                  <a:lnTo>
                    <a:pt x="54" y="275"/>
                  </a:lnTo>
                  <a:lnTo>
                    <a:pt x="54" y="275"/>
                  </a:lnTo>
                  <a:close/>
                  <a:moveTo>
                    <a:pt x="43" y="258"/>
                  </a:moveTo>
                  <a:lnTo>
                    <a:pt x="43" y="260"/>
                  </a:lnTo>
                  <a:lnTo>
                    <a:pt x="43" y="260"/>
                  </a:lnTo>
                  <a:lnTo>
                    <a:pt x="43" y="258"/>
                  </a:lnTo>
                  <a:lnTo>
                    <a:pt x="43" y="258"/>
                  </a:lnTo>
                  <a:lnTo>
                    <a:pt x="43" y="258"/>
                  </a:lnTo>
                  <a:lnTo>
                    <a:pt x="43" y="258"/>
                  </a:lnTo>
                  <a:lnTo>
                    <a:pt x="43" y="258"/>
                  </a:lnTo>
                  <a:close/>
                  <a:moveTo>
                    <a:pt x="30" y="249"/>
                  </a:moveTo>
                  <a:lnTo>
                    <a:pt x="30" y="250"/>
                  </a:lnTo>
                  <a:lnTo>
                    <a:pt x="30" y="252"/>
                  </a:lnTo>
                  <a:lnTo>
                    <a:pt x="30" y="256"/>
                  </a:lnTo>
                  <a:lnTo>
                    <a:pt x="32" y="254"/>
                  </a:lnTo>
                  <a:lnTo>
                    <a:pt x="32" y="249"/>
                  </a:lnTo>
                  <a:lnTo>
                    <a:pt x="32" y="249"/>
                  </a:lnTo>
                  <a:lnTo>
                    <a:pt x="30" y="249"/>
                  </a:lnTo>
                  <a:lnTo>
                    <a:pt x="30" y="249"/>
                  </a:lnTo>
                  <a:lnTo>
                    <a:pt x="30" y="249"/>
                  </a:lnTo>
                  <a:lnTo>
                    <a:pt x="30" y="249"/>
                  </a:lnTo>
                  <a:close/>
                  <a:moveTo>
                    <a:pt x="96" y="168"/>
                  </a:moveTo>
                  <a:lnTo>
                    <a:pt x="98" y="171"/>
                  </a:lnTo>
                  <a:lnTo>
                    <a:pt x="100" y="173"/>
                  </a:lnTo>
                  <a:lnTo>
                    <a:pt x="100" y="173"/>
                  </a:lnTo>
                  <a:lnTo>
                    <a:pt x="96" y="168"/>
                  </a:lnTo>
                  <a:lnTo>
                    <a:pt x="96" y="168"/>
                  </a:lnTo>
                  <a:lnTo>
                    <a:pt x="96" y="168"/>
                  </a:lnTo>
                  <a:lnTo>
                    <a:pt x="96" y="168"/>
                  </a:lnTo>
                  <a:close/>
                  <a:moveTo>
                    <a:pt x="60" y="215"/>
                  </a:moveTo>
                  <a:lnTo>
                    <a:pt x="56" y="215"/>
                  </a:lnTo>
                  <a:lnTo>
                    <a:pt x="58" y="217"/>
                  </a:lnTo>
                  <a:lnTo>
                    <a:pt x="60" y="215"/>
                  </a:lnTo>
                  <a:lnTo>
                    <a:pt x="60" y="215"/>
                  </a:lnTo>
                  <a:lnTo>
                    <a:pt x="60" y="215"/>
                  </a:lnTo>
                  <a:lnTo>
                    <a:pt x="60" y="215"/>
                  </a:lnTo>
                  <a:close/>
                  <a:moveTo>
                    <a:pt x="60" y="218"/>
                  </a:moveTo>
                  <a:lnTo>
                    <a:pt x="58" y="220"/>
                  </a:lnTo>
                  <a:lnTo>
                    <a:pt x="58" y="220"/>
                  </a:lnTo>
                  <a:lnTo>
                    <a:pt x="60" y="226"/>
                  </a:lnTo>
                  <a:lnTo>
                    <a:pt x="62" y="220"/>
                  </a:lnTo>
                  <a:lnTo>
                    <a:pt x="60" y="218"/>
                  </a:lnTo>
                  <a:lnTo>
                    <a:pt x="60" y="218"/>
                  </a:lnTo>
                  <a:lnTo>
                    <a:pt x="60" y="21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3" name="Freeform 186">
              <a:extLst>
                <a:ext uri="{FF2B5EF4-FFF2-40B4-BE49-F238E27FC236}">
                  <a16:creationId xmlns:a16="http://schemas.microsoft.com/office/drawing/2014/main" id="{554B08F5-3403-4F7C-AEB1-052CA606A8A5}"/>
                </a:ext>
              </a:extLst>
            </p:cNvPr>
            <p:cNvSpPr>
              <a:spLocks noEditPoints="1"/>
            </p:cNvSpPr>
            <p:nvPr/>
          </p:nvSpPr>
          <p:spPr bwMode="auto">
            <a:xfrm>
              <a:off x="4473" y="2542"/>
              <a:ext cx="162" cy="371"/>
            </a:xfrm>
            <a:custGeom>
              <a:avLst/>
              <a:gdLst/>
              <a:ahLst/>
              <a:cxnLst>
                <a:cxn ang="0">
                  <a:pos x="90" y="5"/>
                </a:cxn>
                <a:cxn ang="0">
                  <a:pos x="106" y="28"/>
                </a:cxn>
                <a:cxn ang="0">
                  <a:pos x="100" y="53"/>
                </a:cxn>
                <a:cxn ang="0">
                  <a:pos x="90" y="64"/>
                </a:cxn>
                <a:cxn ang="0">
                  <a:pos x="94" y="79"/>
                </a:cxn>
                <a:cxn ang="0">
                  <a:pos x="111" y="88"/>
                </a:cxn>
                <a:cxn ang="0">
                  <a:pos x="121" y="102"/>
                </a:cxn>
                <a:cxn ang="0">
                  <a:pos x="136" y="105"/>
                </a:cxn>
                <a:cxn ang="0">
                  <a:pos x="126" y="126"/>
                </a:cxn>
                <a:cxn ang="0">
                  <a:pos x="141" y="134"/>
                </a:cxn>
                <a:cxn ang="0">
                  <a:pos x="162" y="135"/>
                </a:cxn>
                <a:cxn ang="0">
                  <a:pos x="153" y="152"/>
                </a:cxn>
                <a:cxn ang="0">
                  <a:pos x="136" y="164"/>
                </a:cxn>
                <a:cxn ang="0">
                  <a:pos x="128" y="177"/>
                </a:cxn>
                <a:cxn ang="0">
                  <a:pos x="107" y="190"/>
                </a:cxn>
                <a:cxn ang="0">
                  <a:pos x="104" y="207"/>
                </a:cxn>
                <a:cxn ang="0">
                  <a:pos x="122" y="231"/>
                </a:cxn>
                <a:cxn ang="0">
                  <a:pos x="124" y="252"/>
                </a:cxn>
                <a:cxn ang="0">
                  <a:pos x="130" y="282"/>
                </a:cxn>
                <a:cxn ang="0">
                  <a:pos x="141" y="309"/>
                </a:cxn>
                <a:cxn ang="0">
                  <a:pos x="149" y="333"/>
                </a:cxn>
                <a:cxn ang="0">
                  <a:pos x="136" y="361"/>
                </a:cxn>
                <a:cxn ang="0">
                  <a:pos x="130" y="358"/>
                </a:cxn>
                <a:cxn ang="0">
                  <a:pos x="134" y="346"/>
                </a:cxn>
                <a:cxn ang="0">
                  <a:pos x="136" y="329"/>
                </a:cxn>
                <a:cxn ang="0">
                  <a:pos x="130" y="305"/>
                </a:cxn>
                <a:cxn ang="0">
                  <a:pos x="121" y="297"/>
                </a:cxn>
                <a:cxn ang="0">
                  <a:pos x="113" y="275"/>
                </a:cxn>
                <a:cxn ang="0">
                  <a:pos x="111" y="248"/>
                </a:cxn>
                <a:cxn ang="0">
                  <a:pos x="106" y="241"/>
                </a:cxn>
                <a:cxn ang="0">
                  <a:pos x="92" y="224"/>
                </a:cxn>
                <a:cxn ang="0">
                  <a:pos x="92" y="228"/>
                </a:cxn>
                <a:cxn ang="0">
                  <a:pos x="83" y="237"/>
                </a:cxn>
                <a:cxn ang="0">
                  <a:pos x="77" y="245"/>
                </a:cxn>
                <a:cxn ang="0">
                  <a:pos x="62" y="252"/>
                </a:cxn>
                <a:cxn ang="0">
                  <a:pos x="51" y="258"/>
                </a:cxn>
                <a:cxn ang="0">
                  <a:pos x="49" y="248"/>
                </a:cxn>
                <a:cxn ang="0">
                  <a:pos x="53" y="224"/>
                </a:cxn>
                <a:cxn ang="0">
                  <a:pos x="45" y="205"/>
                </a:cxn>
                <a:cxn ang="0">
                  <a:pos x="32" y="186"/>
                </a:cxn>
                <a:cxn ang="0">
                  <a:pos x="21" y="184"/>
                </a:cxn>
                <a:cxn ang="0">
                  <a:pos x="28" y="184"/>
                </a:cxn>
                <a:cxn ang="0">
                  <a:pos x="28" y="173"/>
                </a:cxn>
                <a:cxn ang="0">
                  <a:pos x="13" y="169"/>
                </a:cxn>
                <a:cxn ang="0">
                  <a:pos x="11" y="169"/>
                </a:cxn>
                <a:cxn ang="0">
                  <a:pos x="0" y="147"/>
                </a:cxn>
                <a:cxn ang="0">
                  <a:pos x="10" y="130"/>
                </a:cxn>
                <a:cxn ang="0">
                  <a:pos x="17" y="109"/>
                </a:cxn>
                <a:cxn ang="0">
                  <a:pos x="28" y="90"/>
                </a:cxn>
                <a:cxn ang="0">
                  <a:pos x="38" y="53"/>
                </a:cxn>
                <a:cxn ang="0">
                  <a:pos x="53" y="22"/>
                </a:cxn>
                <a:cxn ang="0">
                  <a:pos x="72" y="13"/>
                </a:cxn>
                <a:cxn ang="0">
                  <a:pos x="74" y="2"/>
                </a:cxn>
                <a:cxn ang="0">
                  <a:pos x="26" y="194"/>
                </a:cxn>
              </a:cxnLst>
              <a:rect l="0" t="0" r="r" b="b"/>
              <a:pathLst>
                <a:path w="162" h="371">
                  <a:moveTo>
                    <a:pt x="74" y="2"/>
                  </a:moveTo>
                  <a:lnTo>
                    <a:pt x="77" y="0"/>
                  </a:lnTo>
                  <a:lnTo>
                    <a:pt x="81" y="2"/>
                  </a:lnTo>
                  <a:lnTo>
                    <a:pt x="83" y="0"/>
                  </a:lnTo>
                  <a:lnTo>
                    <a:pt x="87" y="0"/>
                  </a:lnTo>
                  <a:lnTo>
                    <a:pt x="90" y="5"/>
                  </a:lnTo>
                  <a:lnTo>
                    <a:pt x="94" y="7"/>
                  </a:lnTo>
                  <a:lnTo>
                    <a:pt x="94" y="15"/>
                  </a:lnTo>
                  <a:lnTo>
                    <a:pt x="98" y="15"/>
                  </a:lnTo>
                  <a:lnTo>
                    <a:pt x="102" y="17"/>
                  </a:lnTo>
                  <a:lnTo>
                    <a:pt x="102" y="22"/>
                  </a:lnTo>
                  <a:lnTo>
                    <a:pt x="106" y="28"/>
                  </a:lnTo>
                  <a:lnTo>
                    <a:pt x="106" y="36"/>
                  </a:lnTo>
                  <a:lnTo>
                    <a:pt x="104" y="41"/>
                  </a:lnTo>
                  <a:lnTo>
                    <a:pt x="104" y="47"/>
                  </a:lnTo>
                  <a:lnTo>
                    <a:pt x="104" y="47"/>
                  </a:lnTo>
                  <a:lnTo>
                    <a:pt x="100" y="51"/>
                  </a:lnTo>
                  <a:lnTo>
                    <a:pt x="100" y="53"/>
                  </a:lnTo>
                  <a:lnTo>
                    <a:pt x="98" y="54"/>
                  </a:lnTo>
                  <a:lnTo>
                    <a:pt x="96" y="56"/>
                  </a:lnTo>
                  <a:lnTo>
                    <a:pt x="98" y="60"/>
                  </a:lnTo>
                  <a:lnTo>
                    <a:pt x="96" y="62"/>
                  </a:lnTo>
                  <a:lnTo>
                    <a:pt x="94" y="62"/>
                  </a:lnTo>
                  <a:lnTo>
                    <a:pt x="90" y="64"/>
                  </a:lnTo>
                  <a:lnTo>
                    <a:pt x="90" y="68"/>
                  </a:lnTo>
                  <a:lnTo>
                    <a:pt x="92" y="69"/>
                  </a:lnTo>
                  <a:lnTo>
                    <a:pt x="90" y="71"/>
                  </a:lnTo>
                  <a:lnTo>
                    <a:pt x="90" y="75"/>
                  </a:lnTo>
                  <a:lnTo>
                    <a:pt x="92" y="75"/>
                  </a:lnTo>
                  <a:lnTo>
                    <a:pt x="94" y="79"/>
                  </a:lnTo>
                  <a:lnTo>
                    <a:pt x="98" y="81"/>
                  </a:lnTo>
                  <a:lnTo>
                    <a:pt x="96" y="86"/>
                  </a:lnTo>
                  <a:lnTo>
                    <a:pt x="98" y="90"/>
                  </a:lnTo>
                  <a:lnTo>
                    <a:pt x="104" y="86"/>
                  </a:lnTo>
                  <a:lnTo>
                    <a:pt x="111" y="85"/>
                  </a:lnTo>
                  <a:lnTo>
                    <a:pt x="111" y="88"/>
                  </a:lnTo>
                  <a:lnTo>
                    <a:pt x="111" y="90"/>
                  </a:lnTo>
                  <a:lnTo>
                    <a:pt x="113" y="92"/>
                  </a:lnTo>
                  <a:lnTo>
                    <a:pt x="117" y="92"/>
                  </a:lnTo>
                  <a:lnTo>
                    <a:pt x="121" y="94"/>
                  </a:lnTo>
                  <a:lnTo>
                    <a:pt x="117" y="96"/>
                  </a:lnTo>
                  <a:lnTo>
                    <a:pt x="121" y="102"/>
                  </a:lnTo>
                  <a:lnTo>
                    <a:pt x="124" y="102"/>
                  </a:lnTo>
                  <a:lnTo>
                    <a:pt x="124" y="102"/>
                  </a:lnTo>
                  <a:lnTo>
                    <a:pt x="124" y="105"/>
                  </a:lnTo>
                  <a:lnTo>
                    <a:pt x="126" y="105"/>
                  </a:lnTo>
                  <a:lnTo>
                    <a:pt x="132" y="105"/>
                  </a:lnTo>
                  <a:lnTo>
                    <a:pt x="136" y="105"/>
                  </a:lnTo>
                  <a:lnTo>
                    <a:pt x="136" y="109"/>
                  </a:lnTo>
                  <a:lnTo>
                    <a:pt x="134" y="111"/>
                  </a:lnTo>
                  <a:lnTo>
                    <a:pt x="134" y="115"/>
                  </a:lnTo>
                  <a:lnTo>
                    <a:pt x="130" y="120"/>
                  </a:lnTo>
                  <a:lnTo>
                    <a:pt x="126" y="124"/>
                  </a:lnTo>
                  <a:lnTo>
                    <a:pt x="126" y="126"/>
                  </a:lnTo>
                  <a:lnTo>
                    <a:pt x="130" y="126"/>
                  </a:lnTo>
                  <a:lnTo>
                    <a:pt x="136" y="126"/>
                  </a:lnTo>
                  <a:lnTo>
                    <a:pt x="136" y="126"/>
                  </a:lnTo>
                  <a:lnTo>
                    <a:pt x="138" y="124"/>
                  </a:lnTo>
                  <a:lnTo>
                    <a:pt x="141" y="126"/>
                  </a:lnTo>
                  <a:lnTo>
                    <a:pt x="141" y="134"/>
                  </a:lnTo>
                  <a:lnTo>
                    <a:pt x="141" y="135"/>
                  </a:lnTo>
                  <a:lnTo>
                    <a:pt x="145" y="139"/>
                  </a:lnTo>
                  <a:lnTo>
                    <a:pt x="147" y="135"/>
                  </a:lnTo>
                  <a:lnTo>
                    <a:pt x="153" y="135"/>
                  </a:lnTo>
                  <a:lnTo>
                    <a:pt x="160" y="134"/>
                  </a:lnTo>
                  <a:lnTo>
                    <a:pt x="162" y="135"/>
                  </a:lnTo>
                  <a:lnTo>
                    <a:pt x="162" y="139"/>
                  </a:lnTo>
                  <a:lnTo>
                    <a:pt x="158" y="141"/>
                  </a:lnTo>
                  <a:lnTo>
                    <a:pt x="153" y="143"/>
                  </a:lnTo>
                  <a:lnTo>
                    <a:pt x="153" y="147"/>
                  </a:lnTo>
                  <a:lnTo>
                    <a:pt x="151" y="149"/>
                  </a:lnTo>
                  <a:lnTo>
                    <a:pt x="153" y="152"/>
                  </a:lnTo>
                  <a:lnTo>
                    <a:pt x="149" y="154"/>
                  </a:lnTo>
                  <a:lnTo>
                    <a:pt x="147" y="154"/>
                  </a:lnTo>
                  <a:lnTo>
                    <a:pt x="145" y="160"/>
                  </a:lnTo>
                  <a:lnTo>
                    <a:pt x="138" y="160"/>
                  </a:lnTo>
                  <a:lnTo>
                    <a:pt x="136" y="160"/>
                  </a:lnTo>
                  <a:lnTo>
                    <a:pt x="136" y="164"/>
                  </a:lnTo>
                  <a:lnTo>
                    <a:pt x="138" y="166"/>
                  </a:lnTo>
                  <a:lnTo>
                    <a:pt x="136" y="169"/>
                  </a:lnTo>
                  <a:lnTo>
                    <a:pt x="132" y="169"/>
                  </a:lnTo>
                  <a:lnTo>
                    <a:pt x="128" y="169"/>
                  </a:lnTo>
                  <a:lnTo>
                    <a:pt x="128" y="175"/>
                  </a:lnTo>
                  <a:lnTo>
                    <a:pt x="128" y="177"/>
                  </a:lnTo>
                  <a:lnTo>
                    <a:pt x="122" y="177"/>
                  </a:lnTo>
                  <a:lnTo>
                    <a:pt x="121" y="181"/>
                  </a:lnTo>
                  <a:lnTo>
                    <a:pt x="111" y="177"/>
                  </a:lnTo>
                  <a:lnTo>
                    <a:pt x="107" y="181"/>
                  </a:lnTo>
                  <a:lnTo>
                    <a:pt x="111" y="188"/>
                  </a:lnTo>
                  <a:lnTo>
                    <a:pt x="107" y="190"/>
                  </a:lnTo>
                  <a:lnTo>
                    <a:pt x="107" y="194"/>
                  </a:lnTo>
                  <a:lnTo>
                    <a:pt x="107" y="198"/>
                  </a:lnTo>
                  <a:lnTo>
                    <a:pt x="106" y="203"/>
                  </a:lnTo>
                  <a:lnTo>
                    <a:pt x="100" y="203"/>
                  </a:lnTo>
                  <a:lnTo>
                    <a:pt x="102" y="205"/>
                  </a:lnTo>
                  <a:lnTo>
                    <a:pt x="104" y="207"/>
                  </a:lnTo>
                  <a:lnTo>
                    <a:pt x="107" y="213"/>
                  </a:lnTo>
                  <a:lnTo>
                    <a:pt x="111" y="215"/>
                  </a:lnTo>
                  <a:lnTo>
                    <a:pt x="111" y="218"/>
                  </a:lnTo>
                  <a:lnTo>
                    <a:pt x="117" y="222"/>
                  </a:lnTo>
                  <a:lnTo>
                    <a:pt x="121" y="230"/>
                  </a:lnTo>
                  <a:lnTo>
                    <a:pt x="122" y="231"/>
                  </a:lnTo>
                  <a:lnTo>
                    <a:pt x="124" y="237"/>
                  </a:lnTo>
                  <a:lnTo>
                    <a:pt x="126" y="241"/>
                  </a:lnTo>
                  <a:lnTo>
                    <a:pt x="130" y="243"/>
                  </a:lnTo>
                  <a:lnTo>
                    <a:pt x="130" y="247"/>
                  </a:lnTo>
                  <a:lnTo>
                    <a:pt x="126" y="248"/>
                  </a:lnTo>
                  <a:lnTo>
                    <a:pt x="124" y="252"/>
                  </a:lnTo>
                  <a:lnTo>
                    <a:pt x="126" y="260"/>
                  </a:lnTo>
                  <a:lnTo>
                    <a:pt x="126" y="262"/>
                  </a:lnTo>
                  <a:lnTo>
                    <a:pt x="122" y="265"/>
                  </a:lnTo>
                  <a:lnTo>
                    <a:pt x="124" y="271"/>
                  </a:lnTo>
                  <a:lnTo>
                    <a:pt x="124" y="275"/>
                  </a:lnTo>
                  <a:lnTo>
                    <a:pt x="130" y="282"/>
                  </a:lnTo>
                  <a:lnTo>
                    <a:pt x="136" y="284"/>
                  </a:lnTo>
                  <a:lnTo>
                    <a:pt x="141" y="290"/>
                  </a:lnTo>
                  <a:lnTo>
                    <a:pt x="145" y="297"/>
                  </a:lnTo>
                  <a:lnTo>
                    <a:pt x="141" y="301"/>
                  </a:lnTo>
                  <a:lnTo>
                    <a:pt x="141" y="305"/>
                  </a:lnTo>
                  <a:lnTo>
                    <a:pt x="141" y="309"/>
                  </a:lnTo>
                  <a:lnTo>
                    <a:pt x="145" y="312"/>
                  </a:lnTo>
                  <a:lnTo>
                    <a:pt x="145" y="316"/>
                  </a:lnTo>
                  <a:lnTo>
                    <a:pt x="147" y="322"/>
                  </a:lnTo>
                  <a:lnTo>
                    <a:pt x="145" y="326"/>
                  </a:lnTo>
                  <a:lnTo>
                    <a:pt x="149" y="329"/>
                  </a:lnTo>
                  <a:lnTo>
                    <a:pt x="149" y="333"/>
                  </a:lnTo>
                  <a:lnTo>
                    <a:pt x="145" y="337"/>
                  </a:lnTo>
                  <a:lnTo>
                    <a:pt x="141" y="348"/>
                  </a:lnTo>
                  <a:lnTo>
                    <a:pt x="138" y="352"/>
                  </a:lnTo>
                  <a:lnTo>
                    <a:pt x="138" y="356"/>
                  </a:lnTo>
                  <a:lnTo>
                    <a:pt x="136" y="360"/>
                  </a:lnTo>
                  <a:lnTo>
                    <a:pt x="136" y="361"/>
                  </a:lnTo>
                  <a:lnTo>
                    <a:pt x="136" y="361"/>
                  </a:lnTo>
                  <a:lnTo>
                    <a:pt x="134" y="365"/>
                  </a:lnTo>
                  <a:lnTo>
                    <a:pt x="134" y="371"/>
                  </a:lnTo>
                  <a:lnTo>
                    <a:pt x="132" y="365"/>
                  </a:lnTo>
                  <a:lnTo>
                    <a:pt x="132" y="360"/>
                  </a:lnTo>
                  <a:lnTo>
                    <a:pt x="130" y="358"/>
                  </a:lnTo>
                  <a:lnTo>
                    <a:pt x="130" y="356"/>
                  </a:lnTo>
                  <a:lnTo>
                    <a:pt x="132" y="356"/>
                  </a:lnTo>
                  <a:lnTo>
                    <a:pt x="132" y="354"/>
                  </a:lnTo>
                  <a:lnTo>
                    <a:pt x="136" y="350"/>
                  </a:lnTo>
                  <a:lnTo>
                    <a:pt x="136" y="348"/>
                  </a:lnTo>
                  <a:lnTo>
                    <a:pt x="134" y="346"/>
                  </a:lnTo>
                  <a:lnTo>
                    <a:pt x="134" y="343"/>
                  </a:lnTo>
                  <a:lnTo>
                    <a:pt x="136" y="343"/>
                  </a:lnTo>
                  <a:lnTo>
                    <a:pt x="138" y="341"/>
                  </a:lnTo>
                  <a:lnTo>
                    <a:pt x="136" y="333"/>
                  </a:lnTo>
                  <a:lnTo>
                    <a:pt x="138" y="333"/>
                  </a:lnTo>
                  <a:lnTo>
                    <a:pt x="136" y="329"/>
                  </a:lnTo>
                  <a:lnTo>
                    <a:pt x="134" y="326"/>
                  </a:lnTo>
                  <a:lnTo>
                    <a:pt x="132" y="322"/>
                  </a:lnTo>
                  <a:lnTo>
                    <a:pt x="134" y="322"/>
                  </a:lnTo>
                  <a:lnTo>
                    <a:pt x="134" y="316"/>
                  </a:lnTo>
                  <a:lnTo>
                    <a:pt x="130" y="316"/>
                  </a:lnTo>
                  <a:lnTo>
                    <a:pt x="130" y="305"/>
                  </a:lnTo>
                  <a:lnTo>
                    <a:pt x="126" y="301"/>
                  </a:lnTo>
                  <a:lnTo>
                    <a:pt x="126" y="297"/>
                  </a:lnTo>
                  <a:lnTo>
                    <a:pt x="122" y="294"/>
                  </a:lnTo>
                  <a:lnTo>
                    <a:pt x="122" y="299"/>
                  </a:lnTo>
                  <a:lnTo>
                    <a:pt x="121" y="299"/>
                  </a:lnTo>
                  <a:lnTo>
                    <a:pt x="121" y="297"/>
                  </a:lnTo>
                  <a:lnTo>
                    <a:pt x="121" y="294"/>
                  </a:lnTo>
                  <a:lnTo>
                    <a:pt x="121" y="284"/>
                  </a:lnTo>
                  <a:lnTo>
                    <a:pt x="117" y="282"/>
                  </a:lnTo>
                  <a:lnTo>
                    <a:pt x="117" y="279"/>
                  </a:lnTo>
                  <a:lnTo>
                    <a:pt x="121" y="277"/>
                  </a:lnTo>
                  <a:lnTo>
                    <a:pt x="113" y="275"/>
                  </a:lnTo>
                  <a:lnTo>
                    <a:pt x="113" y="267"/>
                  </a:lnTo>
                  <a:lnTo>
                    <a:pt x="111" y="267"/>
                  </a:lnTo>
                  <a:lnTo>
                    <a:pt x="111" y="254"/>
                  </a:lnTo>
                  <a:lnTo>
                    <a:pt x="107" y="254"/>
                  </a:lnTo>
                  <a:lnTo>
                    <a:pt x="107" y="248"/>
                  </a:lnTo>
                  <a:lnTo>
                    <a:pt x="111" y="248"/>
                  </a:lnTo>
                  <a:lnTo>
                    <a:pt x="111" y="247"/>
                  </a:lnTo>
                  <a:lnTo>
                    <a:pt x="107" y="243"/>
                  </a:lnTo>
                  <a:lnTo>
                    <a:pt x="107" y="241"/>
                  </a:lnTo>
                  <a:lnTo>
                    <a:pt x="107" y="237"/>
                  </a:lnTo>
                  <a:lnTo>
                    <a:pt x="107" y="241"/>
                  </a:lnTo>
                  <a:lnTo>
                    <a:pt x="106" y="241"/>
                  </a:lnTo>
                  <a:lnTo>
                    <a:pt x="102" y="241"/>
                  </a:lnTo>
                  <a:lnTo>
                    <a:pt x="100" y="237"/>
                  </a:lnTo>
                  <a:lnTo>
                    <a:pt x="100" y="235"/>
                  </a:lnTo>
                  <a:lnTo>
                    <a:pt x="96" y="228"/>
                  </a:lnTo>
                  <a:lnTo>
                    <a:pt x="94" y="224"/>
                  </a:lnTo>
                  <a:lnTo>
                    <a:pt x="92" y="224"/>
                  </a:lnTo>
                  <a:lnTo>
                    <a:pt x="92" y="224"/>
                  </a:lnTo>
                  <a:lnTo>
                    <a:pt x="89" y="222"/>
                  </a:lnTo>
                  <a:lnTo>
                    <a:pt x="90" y="224"/>
                  </a:lnTo>
                  <a:lnTo>
                    <a:pt x="90" y="224"/>
                  </a:lnTo>
                  <a:lnTo>
                    <a:pt x="90" y="228"/>
                  </a:lnTo>
                  <a:lnTo>
                    <a:pt x="92" y="228"/>
                  </a:lnTo>
                  <a:lnTo>
                    <a:pt x="92" y="231"/>
                  </a:lnTo>
                  <a:lnTo>
                    <a:pt x="90" y="233"/>
                  </a:lnTo>
                  <a:lnTo>
                    <a:pt x="90" y="237"/>
                  </a:lnTo>
                  <a:lnTo>
                    <a:pt x="87" y="241"/>
                  </a:lnTo>
                  <a:lnTo>
                    <a:pt x="83" y="239"/>
                  </a:lnTo>
                  <a:lnTo>
                    <a:pt x="83" y="237"/>
                  </a:lnTo>
                  <a:lnTo>
                    <a:pt x="81" y="237"/>
                  </a:lnTo>
                  <a:lnTo>
                    <a:pt x="83" y="241"/>
                  </a:lnTo>
                  <a:lnTo>
                    <a:pt x="83" y="241"/>
                  </a:lnTo>
                  <a:lnTo>
                    <a:pt x="83" y="243"/>
                  </a:lnTo>
                  <a:lnTo>
                    <a:pt x="81" y="245"/>
                  </a:lnTo>
                  <a:lnTo>
                    <a:pt x="77" y="245"/>
                  </a:lnTo>
                  <a:lnTo>
                    <a:pt x="75" y="243"/>
                  </a:lnTo>
                  <a:lnTo>
                    <a:pt x="75" y="247"/>
                  </a:lnTo>
                  <a:lnTo>
                    <a:pt x="68" y="252"/>
                  </a:lnTo>
                  <a:lnTo>
                    <a:pt x="64" y="252"/>
                  </a:lnTo>
                  <a:lnTo>
                    <a:pt x="62" y="252"/>
                  </a:lnTo>
                  <a:lnTo>
                    <a:pt x="62" y="252"/>
                  </a:lnTo>
                  <a:lnTo>
                    <a:pt x="62" y="252"/>
                  </a:lnTo>
                  <a:lnTo>
                    <a:pt x="62" y="254"/>
                  </a:lnTo>
                  <a:lnTo>
                    <a:pt x="58" y="254"/>
                  </a:lnTo>
                  <a:lnTo>
                    <a:pt x="58" y="252"/>
                  </a:lnTo>
                  <a:lnTo>
                    <a:pt x="53" y="254"/>
                  </a:lnTo>
                  <a:lnTo>
                    <a:pt x="51" y="258"/>
                  </a:lnTo>
                  <a:lnTo>
                    <a:pt x="49" y="258"/>
                  </a:lnTo>
                  <a:lnTo>
                    <a:pt x="49" y="252"/>
                  </a:lnTo>
                  <a:lnTo>
                    <a:pt x="53" y="247"/>
                  </a:lnTo>
                  <a:lnTo>
                    <a:pt x="53" y="241"/>
                  </a:lnTo>
                  <a:lnTo>
                    <a:pt x="53" y="247"/>
                  </a:lnTo>
                  <a:lnTo>
                    <a:pt x="49" y="248"/>
                  </a:lnTo>
                  <a:lnTo>
                    <a:pt x="45" y="254"/>
                  </a:lnTo>
                  <a:lnTo>
                    <a:pt x="45" y="252"/>
                  </a:lnTo>
                  <a:lnTo>
                    <a:pt x="45" y="252"/>
                  </a:lnTo>
                  <a:lnTo>
                    <a:pt x="45" y="247"/>
                  </a:lnTo>
                  <a:lnTo>
                    <a:pt x="47" y="228"/>
                  </a:lnTo>
                  <a:lnTo>
                    <a:pt x="53" y="224"/>
                  </a:lnTo>
                  <a:lnTo>
                    <a:pt x="51" y="224"/>
                  </a:lnTo>
                  <a:lnTo>
                    <a:pt x="47" y="215"/>
                  </a:lnTo>
                  <a:lnTo>
                    <a:pt x="47" y="209"/>
                  </a:lnTo>
                  <a:lnTo>
                    <a:pt x="45" y="207"/>
                  </a:lnTo>
                  <a:lnTo>
                    <a:pt x="43" y="205"/>
                  </a:lnTo>
                  <a:lnTo>
                    <a:pt x="45" y="205"/>
                  </a:lnTo>
                  <a:lnTo>
                    <a:pt x="42" y="203"/>
                  </a:lnTo>
                  <a:lnTo>
                    <a:pt x="40" y="198"/>
                  </a:lnTo>
                  <a:lnTo>
                    <a:pt x="38" y="194"/>
                  </a:lnTo>
                  <a:lnTo>
                    <a:pt x="38" y="190"/>
                  </a:lnTo>
                  <a:lnTo>
                    <a:pt x="38" y="190"/>
                  </a:lnTo>
                  <a:lnTo>
                    <a:pt x="32" y="186"/>
                  </a:lnTo>
                  <a:lnTo>
                    <a:pt x="34" y="190"/>
                  </a:lnTo>
                  <a:lnTo>
                    <a:pt x="34" y="194"/>
                  </a:lnTo>
                  <a:lnTo>
                    <a:pt x="28" y="194"/>
                  </a:lnTo>
                  <a:lnTo>
                    <a:pt x="25" y="190"/>
                  </a:lnTo>
                  <a:lnTo>
                    <a:pt x="25" y="188"/>
                  </a:lnTo>
                  <a:lnTo>
                    <a:pt x="21" y="184"/>
                  </a:lnTo>
                  <a:lnTo>
                    <a:pt x="21" y="182"/>
                  </a:lnTo>
                  <a:lnTo>
                    <a:pt x="25" y="182"/>
                  </a:lnTo>
                  <a:lnTo>
                    <a:pt x="26" y="186"/>
                  </a:lnTo>
                  <a:lnTo>
                    <a:pt x="28" y="186"/>
                  </a:lnTo>
                  <a:lnTo>
                    <a:pt x="28" y="186"/>
                  </a:lnTo>
                  <a:lnTo>
                    <a:pt x="28" y="184"/>
                  </a:lnTo>
                  <a:lnTo>
                    <a:pt x="26" y="182"/>
                  </a:lnTo>
                  <a:lnTo>
                    <a:pt x="28" y="181"/>
                  </a:lnTo>
                  <a:lnTo>
                    <a:pt x="28" y="182"/>
                  </a:lnTo>
                  <a:lnTo>
                    <a:pt x="32" y="182"/>
                  </a:lnTo>
                  <a:lnTo>
                    <a:pt x="32" y="179"/>
                  </a:lnTo>
                  <a:lnTo>
                    <a:pt x="28" y="173"/>
                  </a:lnTo>
                  <a:lnTo>
                    <a:pt x="23" y="171"/>
                  </a:lnTo>
                  <a:lnTo>
                    <a:pt x="23" y="169"/>
                  </a:lnTo>
                  <a:lnTo>
                    <a:pt x="19" y="169"/>
                  </a:lnTo>
                  <a:lnTo>
                    <a:pt x="17" y="166"/>
                  </a:lnTo>
                  <a:lnTo>
                    <a:pt x="17" y="169"/>
                  </a:lnTo>
                  <a:lnTo>
                    <a:pt x="13" y="169"/>
                  </a:lnTo>
                  <a:lnTo>
                    <a:pt x="13" y="169"/>
                  </a:lnTo>
                  <a:lnTo>
                    <a:pt x="15" y="164"/>
                  </a:lnTo>
                  <a:lnTo>
                    <a:pt x="13" y="164"/>
                  </a:lnTo>
                  <a:lnTo>
                    <a:pt x="10" y="164"/>
                  </a:lnTo>
                  <a:lnTo>
                    <a:pt x="10" y="164"/>
                  </a:lnTo>
                  <a:lnTo>
                    <a:pt x="11" y="169"/>
                  </a:lnTo>
                  <a:lnTo>
                    <a:pt x="4" y="160"/>
                  </a:lnTo>
                  <a:lnTo>
                    <a:pt x="0" y="156"/>
                  </a:lnTo>
                  <a:lnTo>
                    <a:pt x="0" y="152"/>
                  </a:lnTo>
                  <a:lnTo>
                    <a:pt x="0" y="152"/>
                  </a:lnTo>
                  <a:lnTo>
                    <a:pt x="0" y="150"/>
                  </a:lnTo>
                  <a:lnTo>
                    <a:pt x="0" y="147"/>
                  </a:lnTo>
                  <a:lnTo>
                    <a:pt x="4" y="143"/>
                  </a:lnTo>
                  <a:lnTo>
                    <a:pt x="4" y="143"/>
                  </a:lnTo>
                  <a:lnTo>
                    <a:pt x="8" y="139"/>
                  </a:lnTo>
                  <a:lnTo>
                    <a:pt x="8" y="134"/>
                  </a:lnTo>
                  <a:lnTo>
                    <a:pt x="8" y="130"/>
                  </a:lnTo>
                  <a:lnTo>
                    <a:pt x="10" y="130"/>
                  </a:lnTo>
                  <a:lnTo>
                    <a:pt x="11" y="130"/>
                  </a:lnTo>
                  <a:lnTo>
                    <a:pt x="13" y="122"/>
                  </a:lnTo>
                  <a:lnTo>
                    <a:pt x="13" y="118"/>
                  </a:lnTo>
                  <a:lnTo>
                    <a:pt x="13" y="115"/>
                  </a:lnTo>
                  <a:lnTo>
                    <a:pt x="13" y="109"/>
                  </a:lnTo>
                  <a:lnTo>
                    <a:pt x="17" y="109"/>
                  </a:lnTo>
                  <a:lnTo>
                    <a:pt x="17" y="102"/>
                  </a:lnTo>
                  <a:lnTo>
                    <a:pt x="17" y="100"/>
                  </a:lnTo>
                  <a:lnTo>
                    <a:pt x="15" y="90"/>
                  </a:lnTo>
                  <a:lnTo>
                    <a:pt x="19" y="90"/>
                  </a:lnTo>
                  <a:lnTo>
                    <a:pt x="23" y="90"/>
                  </a:lnTo>
                  <a:lnTo>
                    <a:pt x="28" y="90"/>
                  </a:lnTo>
                  <a:lnTo>
                    <a:pt x="28" y="85"/>
                  </a:lnTo>
                  <a:lnTo>
                    <a:pt x="32" y="75"/>
                  </a:lnTo>
                  <a:lnTo>
                    <a:pt x="38" y="66"/>
                  </a:lnTo>
                  <a:lnTo>
                    <a:pt x="32" y="64"/>
                  </a:lnTo>
                  <a:lnTo>
                    <a:pt x="32" y="62"/>
                  </a:lnTo>
                  <a:lnTo>
                    <a:pt x="38" y="53"/>
                  </a:lnTo>
                  <a:lnTo>
                    <a:pt x="38" y="47"/>
                  </a:lnTo>
                  <a:lnTo>
                    <a:pt x="38" y="41"/>
                  </a:lnTo>
                  <a:lnTo>
                    <a:pt x="38" y="39"/>
                  </a:lnTo>
                  <a:lnTo>
                    <a:pt x="43" y="28"/>
                  </a:lnTo>
                  <a:lnTo>
                    <a:pt x="49" y="28"/>
                  </a:lnTo>
                  <a:lnTo>
                    <a:pt x="53" y="22"/>
                  </a:lnTo>
                  <a:lnTo>
                    <a:pt x="53" y="17"/>
                  </a:lnTo>
                  <a:lnTo>
                    <a:pt x="62" y="17"/>
                  </a:lnTo>
                  <a:lnTo>
                    <a:pt x="66" y="13"/>
                  </a:lnTo>
                  <a:lnTo>
                    <a:pt x="68" y="15"/>
                  </a:lnTo>
                  <a:lnTo>
                    <a:pt x="72" y="17"/>
                  </a:lnTo>
                  <a:lnTo>
                    <a:pt x="72" y="13"/>
                  </a:lnTo>
                  <a:lnTo>
                    <a:pt x="72" y="7"/>
                  </a:lnTo>
                  <a:lnTo>
                    <a:pt x="75" y="5"/>
                  </a:lnTo>
                  <a:lnTo>
                    <a:pt x="75" y="2"/>
                  </a:lnTo>
                  <a:lnTo>
                    <a:pt x="74" y="2"/>
                  </a:lnTo>
                  <a:lnTo>
                    <a:pt x="74" y="2"/>
                  </a:lnTo>
                  <a:lnTo>
                    <a:pt x="74" y="2"/>
                  </a:lnTo>
                  <a:lnTo>
                    <a:pt x="74" y="2"/>
                  </a:lnTo>
                  <a:close/>
                  <a:moveTo>
                    <a:pt x="25" y="196"/>
                  </a:moveTo>
                  <a:lnTo>
                    <a:pt x="25" y="199"/>
                  </a:lnTo>
                  <a:lnTo>
                    <a:pt x="28" y="203"/>
                  </a:lnTo>
                  <a:lnTo>
                    <a:pt x="28" y="198"/>
                  </a:lnTo>
                  <a:lnTo>
                    <a:pt x="26" y="194"/>
                  </a:lnTo>
                  <a:lnTo>
                    <a:pt x="25" y="196"/>
                  </a:lnTo>
                  <a:lnTo>
                    <a:pt x="25" y="196"/>
                  </a:lnTo>
                  <a:lnTo>
                    <a:pt x="25" y="1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4" name="Freeform 187">
              <a:extLst>
                <a:ext uri="{FF2B5EF4-FFF2-40B4-BE49-F238E27FC236}">
                  <a16:creationId xmlns:a16="http://schemas.microsoft.com/office/drawing/2014/main" id="{D19C4968-B768-45FC-8F00-1A76AEB29924}"/>
                </a:ext>
              </a:extLst>
            </p:cNvPr>
            <p:cNvSpPr>
              <a:spLocks noEditPoints="1"/>
            </p:cNvSpPr>
            <p:nvPr/>
          </p:nvSpPr>
          <p:spPr bwMode="auto">
            <a:xfrm>
              <a:off x="4351" y="2574"/>
              <a:ext cx="100" cy="128"/>
            </a:xfrm>
            <a:custGeom>
              <a:avLst/>
              <a:gdLst/>
              <a:ahLst/>
              <a:cxnLst>
                <a:cxn ang="0">
                  <a:pos x="96" y="113"/>
                </a:cxn>
                <a:cxn ang="0">
                  <a:pos x="90" y="122"/>
                </a:cxn>
                <a:cxn ang="0">
                  <a:pos x="84" y="113"/>
                </a:cxn>
                <a:cxn ang="0">
                  <a:pos x="84" y="109"/>
                </a:cxn>
                <a:cxn ang="0">
                  <a:pos x="81" y="103"/>
                </a:cxn>
                <a:cxn ang="0">
                  <a:pos x="73" y="83"/>
                </a:cxn>
                <a:cxn ang="0">
                  <a:pos x="66" y="85"/>
                </a:cxn>
                <a:cxn ang="0">
                  <a:pos x="54" y="79"/>
                </a:cxn>
                <a:cxn ang="0">
                  <a:pos x="54" y="83"/>
                </a:cxn>
                <a:cxn ang="0">
                  <a:pos x="54" y="96"/>
                </a:cxn>
                <a:cxn ang="0">
                  <a:pos x="49" y="98"/>
                </a:cxn>
                <a:cxn ang="0">
                  <a:pos x="43" y="100"/>
                </a:cxn>
                <a:cxn ang="0">
                  <a:pos x="43" y="86"/>
                </a:cxn>
                <a:cxn ang="0">
                  <a:pos x="39" y="96"/>
                </a:cxn>
                <a:cxn ang="0">
                  <a:pos x="39" y="103"/>
                </a:cxn>
                <a:cxn ang="0">
                  <a:pos x="34" y="105"/>
                </a:cxn>
                <a:cxn ang="0">
                  <a:pos x="28" y="96"/>
                </a:cxn>
                <a:cxn ang="0">
                  <a:pos x="19" y="73"/>
                </a:cxn>
                <a:cxn ang="0">
                  <a:pos x="13" y="53"/>
                </a:cxn>
                <a:cxn ang="0">
                  <a:pos x="7" y="37"/>
                </a:cxn>
                <a:cxn ang="0">
                  <a:pos x="19" y="30"/>
                </a:cxn>
                <a:cxn ang="0">
                  <a:pos x="7" y="24"/>
                </a:cxn>
                <a:cxn ang="0">
                  <a:pos x="5" y="7"/>
                </a:cxn>
                <a:cxn ang="0">
                  <a:pos x="7" y="0"/>
                </a:cxn>
                <a:cxn ang="0">
                  <a:pos x="13" y="11"/>
                </a:cxn>
                <a:cxn ang="0">
                  <a:pos x="19" y="7"/>
                </a:cxn>
                <a:cxn ang="0">
                  <a:pos x="28" y="11"/>
                </a:cxn>
                <a:cxn ang="0">
                  <a:pos x="34" y="21"/>
                </a:cxn>
                <a:cxn ang="0">
                  <a:pos x="39" y="30"/>
                </a:cxn>
                <a:cxn ang="0">
                  <a:pos x="58" y="32"/>
                </a:cxn>
                <a:cxn ang="0">
                  <a:pos x="75" y="32"/>
                </a:cxn>
                <a:cxn ang="0">
                  <a:pos x="81" y="39"/>
                </a:cxn>
                <a:cxn ang="0">
                  <a:pos x="75" y="54"/>
                </a:cxn>
                <a:cxn ang="0">
                  <a:pos x="69" y="56"/>
                </a:cxn>
                <a:cxn ang="0">
                  <a:pos x="69" y="68"/>
                </a:cxn>
                <a:cxn ang="0">
                  <a:pos x="75" y="79"/>
                </a:cxn>
                <a:cxn ang="0">
                  <a:pos x="79" y="70"/>
                </a:cxn>
                <a:cxn ang="0">
                  <a:pos x="81" y="66"/>
                </a:cxn>
                <a:cxn ang="0">
                  <a:pos x="88" y="70"/>
                </a:cxn>
                <a:cxn ang="0">
                  <a:pos x="94" y="90"/>
                </a:cxn>
                <a:cxn ang="0">
                  <a:pos x="100" y="102"/>
                </a:cxn>
                <a:cxn ang="0">
                  <a:pos x="100" y="103"/>
                </a:cxn>
                <a:cxn ang="0">
                  <a:pos x="69" y="88"/>
                </a:cxn>
                <a:cxn ang="0">
                  <a:pos x="73" y="88"/>
                </a:cxn>
                <a:cxn ang="0">
                  <a:pos x="64" y="90"/>
                </a:cxn>
                <a:cxn ang="0">
                  <a:pos x="69" y="88"/>
                </a:cxn>
                <a:cxn ang="0">
                  <a:pos x="64" y="86"/>
                </a:cxn>
                <a:cxn ang="0">
                  <a:pos x="54" y="86"/>
                </a:cxn>
                <a:cxn ang="0">
                  <a:pos x="60" y="88"/>
                </a:cxn>
              </a:cxnLst>
              <a:rect l="0" t="0" r="r" b="b"/>
              <a:pathLst>
                <a:path w="100" h="128">
                  <a:moveTo>
                    <a:pt x="100" y="103"/>
                  </a:moveTo>
                  <a:lnTo>
                    <a:pt x="100" y="109"/>
                  </a:lnTo>
                  <a:lnTo>
                    <a:pt x="96" y="113"/>
                  </a:lnTo>
                  <a:lnTo>
                    <a:pt x="96" y="113"/>
                  </a:lnTo>
                  <a:lnTo>
                    <a:pt x="92" y="115"/>
                  </a:lnTo>
                  <a:lnTo>
                    <a:pt x="90" y="118"/>
                  </a:lnTo>
                  <a:lnTo>
                    <a:pt x="90" y="122"/>
                  </a:lnTo>
                  <a:lnTo>
                    <a:pt x="90" y="122"/>
                  </a:lnTo>
                  <a:lnTo>
                    <a:pt x="92" y="128"/>
                  </a:lnTo>
                  <a:lnTo>
                    <a:pt x="90" y="128"/>
                  </a:lnTo>
                  <a:lnTo>
                    <a:pt x="88" y="118"/>
                  </a:lnTo>
                  <a:lnTo>
                    <a:pt x="84" y="113"/>
                  </a:lnTo>
                  <a:lnTo>
                    <a:pt x="84" y="113"/>
                  </a:lnTo>
                  <a:lnTo>
                    <a:pt x="84" y="109"/>
                  </a:lnTo>
                  <a:lnTo>
                    <a:pt x="84" y="107"/>
                  </a:lnTo>
                  <a:lnTo>
                    <a:pt x="84" y="109"/>
                  </a:lnTo>
                  <a:lnTo>
                    <a:pt x="81" y="109"/>
                  </a:lnTo>
                  <a:lnTo>
                    <a:pt x="81" y="109"/>
                  </a:lnTo>
                  <a:lnTo>
                    <a:pt x="81" y="105"/>
                  </a:lnTo>
                  <a:lnTo>
                    <a:pt x="81" y="103"/>
                  </a:lnTo>
                  <a:lnTo>
                    <a:pt x="81" y="100"/>
                  </a:lnTo>
                  <a:lnTo>
                    <a:pt x="81" y="96"/>
                  </a:lnTo>
                  <a:lnTo>
                    <a:pt x="79" y="94"/>
                  </a:lnTo>
                  <a:lnTo>
                    <a:pt x="73" y="83"/>
                  </a:lnTo>
                  <a:lnTo>
                    <a:pt x="73" y="83"/>
                  </a:lnTo>
                  <a:lnTo>
                    <a:pt x="73" y="83"/>
                  </a:lnTo>
                  <a:lnTo>
                    <a:pt x="69" y="83"/>
                  </a:lnTo>
                  <a:lnTo>
                    <a:pt x="66" y="85"/>
                  </a:lnTo>
                  <a:lnTo>
                    <a:pt x="58" y="83"/>
                  </a:lnTo>
                  <a:lnTo>
                    <a:pt x="58" y="79"/>
                  </a:lnTo>
                  <a:lnTo>
                    <a:pt x="58" y="79"/>
                  </a:lnTo>
                  <a:lnTo>
                    <a:pt x="54" y="79"/>
                  </a:lnTo>
                  <a:lnTo>
                    <a:pt x="52" y="73"/>
                  </a:lnTo>
                  <a:lnTo>
                    <a:pt x="52" y="79"/>
                  </a:lnTo>
                  <a:lnTo>
                    <a:pt x="54" y="83"/>
                  </a:lnTo>
                  <a:lnTo>
                    <a:pt x="54" y="83"/>
                  </a:lnTo>
                  <a:lnTo>
                    <a:pt x="49" y="85"/>
                  </a:lnTo>
                  <a:lnTo>
                    <a:pt x="54" y="86"/>
                  </a:lnTo>
                  <a:lnTo>
                    <a:pt x="54" y="90"/>
                  </a:lnTo>
                  <a:lnTo>
                    <a:pt x="54" y="96"/>
                  </a:lnTo>
                  <a:lnTo>
                    <a:pt x="52" y="98"/>
                  </a:lnTo>
                  <a:lnTo>
                    <a:pt x="49" y="103"/>
                  </a:lnTo>
                  <a:lnTo>
                    <a:pt x="47" y="102"/>
                  </a:lnTo>
                  <a:lnTo>
                    <a:pt x="49" y="98"/>
                  </a:lnTo>
                  <a:lnTo>
                    <a:pt x="49" y="98"/>
                  </a:lnTo>
                  <a:lnTo>
                    <a:pt x="49" y="96"/>
                  </a:lnTo>
                  <a:lnTo>
                    <a:pt x="47" y="96"/>
                  </a:lnTo>
                  <a:lnTo>
                    <a:pt x="43" y="100"/>
                  </a:lnTo>
                  <a:lnTo>
                    <a:pt x="43" y="96"/>
                  </a:lnTo>
                  <a:lnTo>
                    <a:pt x="43" y="90"/>
                  </a:lnTo>
                  <a:lnTo>
                    <a:pt x="43" y="88"/>
                  </a:lnTo>
                  <a:lnTo>
                    <a:pt x="43" y="86"/>
                  </a:lnTo>
                  <a:lnTo>
                    <a:pt x="43" y="88"/>
                  </a:lnTo>
                  <a:lnTo>
                    <a:pt x="43" y="92"/>
                  </a:lnTo>
                  <a:lnTo>
                    <a:pt x="39" y="96"/>
                  </a:lnTo>
                  <a:lnTo>
                    <a:pt x="39" y="96"/>
                  </a:lnTo>
                  <a:lnTo>
                    <a:pt x="43" y="100"/>
                  </a:lnTo>
                  <a:lnTo>
                    <a:pt x="43" y="103"/>
                  </a:lnTo>
                  <a:lnTo>
                    <a:pt x="39" y="105"/>
                  </a:lnTo>
                  <a:lnTo>
                    <a:pt x="39" y="103"/>
                  </a:lnTo>
                  <a:lnTo>
                    <a:pt x="37" y="103"/>
                  </a:lnTo>
                  <a:lnTo>
                    <a:pt x="34" y="103"/>
                  </a:lnTo>
                  <a:lnTo>
                    <a:pt x="34" y="105"/>
                  </a:lnTo>
                  <a:lnTo>
                    <a:pt x="34" y="105"/>
                  </a:lnTo>
                  <a:lnTo>
                    <a:pt x="32" y="103"/>
                  </a:lnTo>
                  <a:lnTo>
                    <a:pt x="28" y="100"/>
                  </a:lnTo>
                  <a:lnTo>
                    <a:pt x="28" y="102"/>
                  </a:lnTo>
                  <a:lnTo>
                    <a:pt x="28" y="96"/>
                  </a:lnTo>
                  <a:lnTo>
                    <a:pt x="26" y="92"/>
                  </a:lnTo>
                  <a:lnTo>
                    <a:pt x="26" y="86"/>
                  </a:lnTo>
                  <a:lnTo>
                    <a:pt x="19" y="79"/>
                  </a:lnTo>
                  <a:lnTo>
                    <a:pt x="19" y="73"/>
                  </a:lnTo>
                  <a:lnTo>
                    <a:pt x="19" y="70"/>
                  </a:lnTo>
                  <a:lnTo>
                    <a:pt x="19" y="66"/>
                  </a:lnTo>
                  <a:lnTo>
                    <a:pt x="19" y="58"/>
                  </a:lnTo>
                  <a:lnTo>
                    <a:pt x="13" y="53"/>
                  </a:lnTo>
                  <a:lnTo>
                    <a:pt x="7" y="53"/>
                  </a:lnTo>
                  <a:lnTo>
                    <a:pt x="5" y="45"/>
                  </a:lnTo>
                  <a:lnTo>
                    <a:pt x="5" y="37"/>
                  </a:lnTo>
                  <a:lnTo>
                    <a:pt x="7" y="37"/>
                  </a:lnTo>
                  <a:lnTo>
                    <a:pt x="7" y="34"/>
                  </a:lnTo>
                  <a:lnTo>
                    <a:pt x="13" y="32"/>
                  </a:lnTo>
                  <a:lnTo>
                    <a:pt x="13" y="34"/>
                  </a:lnTo>
                  <a:lnTo>
                    <a:pt x="19" y="30"/>
                  </a:lnTo>
                  <a:lnTo>
                    <a:pt x="17" y="26"/>
                  </a:lnTo>
                  <a:lnTo>
                    <a:pt x="17" y="22"/>
                  </a:lnTo>
                  <a:lnTo>
                    <a:pt x="13" y="22"/>
                  </a:lnTo>
                  <a:lnTo>
                    <a:pt x="7" y="24"/>
                  </a:lnTo>
                  <a:lnTo>
                    <a:pt x="0" y="21"/>
                  </a:lnTo>
                  <a:lnTo>
                    <a:pt x="0" y="17"/>
                  </a:lnTo>
                  <a:lnTo>
                    <a:pt x="4" y="11"/>
                  </a:lnTo>
                  <a:lnTo>
                    <a:pt x="5" y="7"/>
                  </a:lnTo>
                  <a:lnTo>
                    <a:pt x="4" y="7"/>
                  </a:lnTo>
                  <a:lnTo>
                    <a:pt x="4" y="4"/>
                  </a:lnTo>
                  <a:lnTo>
                    <a:pt x="5" y="4"/>
                  </a:lnTo>
                  <a:lnTo>
                    <a:pt x="7" y="0"/>
                  </a:lnTo>
                  <a:lnTo>
                    <a:pt x="7" y="4"/>
                  </a:lnTo>
                  <a:lnTo>
                    <a:pt x="11" y="7"/>
                  </a:lnTo>
                  <a:lnTo>
                    <a:pt x="11" y="7"/>
                  </a:lnTo>
                  <a:lnTo>
                    <a:pt x="13" y="11"/>
                  </a:lnTo>
                  <a:lnTo>
                    <a:pt x="19" y="11"/>
                  </a:lnTo>
                  <a:lnTo>
                    <a:pt x="19" y="9"/>
                  </a:lnTo>
                  <a:lnTo>
                    <a:pt x="17" y="9"/>
                  </a:lnTo>
                  <a:lnTo>
                    <a:pt x="19" y="7"/>
                  </a:lnTo>
                  <a:lnTo>
                    <a:pt x="19" y="7"/>
                  </a:lnTo>
                  <a:lnTo>
                    <a:pt x="22" y="9"/>
                  </a:lnTo>
                  <a:lnTo>
                    <a:pt x="22" y="11"/>
                  </a:lnTo>
                  <a:lnTo>
                    <a:pt x="28" y="11"/>
                  </a:lnTo>
                  <a:lnTo>
                    <a:pt x="28" y="11"/>
                  </a:lnTo>
                  <a:lnTo>
                    <a:pt x="28" y="9"/>
                  </a:lnTo>
                  <a:lnTo>
                    <a:pt x="34" y="15"/>
                  </a:lnTo>
                  <a:lnTo>
                    <a:pt x="34" y="21"/>
                  </a:lnTo>
                  <a:lnTo>
                    <a:pt x="34" y="22"/>
                  </a:lnTo>
                  <a:lnTo>
                    <a:pt x="34" y="26"/>
                  </a:lnTo>
                  <a:lnTo>
                    <a:pt x="34" y="30"/>
                  </a:lnTo>
                  <a:lnTo>
                    <a:pt x="39" y="30"/>
                  </a:lnTo>
                  <a:lnTo>
                    <a:pt x="43" y="30"/>
                  </a:lnTo>
                  <a:lnTo>
                    <a:pt x="47" y="32"/>
                  </a:lnTo>
                  <a:lnTo>
                    <a:pt x="52" y="32"/>
                  </a:lnTo>
                  <a:lnTo>
                    <a:pt x="58" y="32"/>
                  </a:lnTo>
                  <a:lnTo>
                    <a:pt x="64" y="32"/>
                  </a:lnTo>
                  <a:lnTo>
                    <a:pt x="73" y="32"/>
                  </a:lnTo>
                  <a:lnTo>
                    <a:pt x="75" y="32"/>
                  </a:lnTo>
                  <a:lnTo>
                    <a:pt x="75" y="32"/>
                  </a:lnTo>
                  <a:lnTo>
                    <a:pt x="79" y="32"/>
                  </a:lnTo>
                  <a:lnTo>
                    <a:pt x="81" y="34"/>
                  </a:lnTo>
                  <a:lnTo>
                    <a:pt x="84" y="34"/>
                  </a:lnTo>
                  <a:lnTo>
                    <a:pt x="81" y="39"/>
                  </a:lnTo>
                  <a:lnTo>
                    <a:pt x="81" y="43"/>
                  </a:lnTo>
                  <a:lnTo>
                    <a:pt x="79" y="53"/>
                  </a:lnTo>
                  <a:lnTo>
                    <a:pt x="75" y="53"/>
                  </a:lnTo>
                  <a:lnTo>
                    <a:pt x="75" y="54"/>
                  </a:lnTo>
                  <a:lnTo>
                    <a:pt x="75" y="56"/>
                  </a:lnTo>
                  <a:lnTo>
                    <a:pt x="73" y="56"/>
                  </a:lnTo>
                  <a:lnTo>
                    <a:pt x="73" y="54"/>
                  </a:lnTo>
                  <a:lnTo>
                    <a:pt x="69" y="56"/>
                  </a:lnTo>
                  <a:lnTo>
                    <a:pt x="66" y="60"/>
                  </a:lnTo>
                  <a:lnTo>
                    <a:pt x="64" y="60"/>
                  </a:lnTo>
                  <a:lnTo>
                    <a:pt x="64" y="64"/>
                  </a:lnTo>
                  <a:lnTo>
                    <a:pt x="69" y="68"/>
                  </a:lnTo>
                  <a:lnTo>
                    <a:pt x="69" y="70"/>
                  </a:lnTo>
                  <a:lnTo>
                    <a:pt x="69" y="70"/>
                  </a:lnTo>
                  <a:lnTo>
                    <a:pt x="73" y="73"/>
                  </a:lnTo>
                  <a:lnTo>
                    <a:pt x="75" y="79"/>
                  </a:lnTo>
                  <a:lnTo>
                    <a:pt x="79" y="79"/>
                  </a:lnTo>
                  <a:lnTo>
                    <a:pt x="79" y="73"/>
                  </a:lnTo>
                  <a:lnTo>
                    <a:pt x="79" y="73"/>
                  </a:lnTo>
                  <a:lnTo>
                    <a:pt x="79" y="70"/>
                  </a:lnTo>
                  <a:lnTo>
                    <a:pt x="79" y="70"/>
                  </a:lnTo>
                  <a:lnTo>
                    <a:pt x="81" y="68"/>
                  </a:lnTo>
                  <a:lnTo>
                    <a:pt x="79" y="66"/>
                  </a:lnTo>
                  <a:lnTo>
                    <a:pt x="81" y="66"/>
                  </a:lnTo>
                  <a:lnTo>
                    <a:pt x="84" y="66"/>
                  </a:lnTo>
                  <a:lnTo>
                    <a:pt x="86" y="66"/>
                  </a:lnTo>
                  <a:lnTo>
                    <a:pt x="88" y="68"/>
                  </a:lnTo>
                  <a:lnTo>
                    <a:pt x="88" y="70"/>
                  </a:lnTo>
                  <a:lnTo>
                    <a:pt x="90" y="77"/>
                  </a:lnTo>
                  <a:lnTo>
                    <a:pt x="90" y="79"/>
                  </a:lnTo>
                  <a:lnTo>
                    <a:pt x="92" y="83"/>
                  </a:lnTo>
                  <a:lnTo>
                    <a:pt x="94" y="90"/>
                  </a:lnTo>
                  <a:lnTo>
                    <a:pt x="94" y="94"/>
                  </a:lnTo>
                  <a:lnTo>
                    <a:pt x="96" y="98"/>
                  </a:lnTo>
                  <a:lnTo>
                    <a:pt x="100" y="100"/>
                  </a:lnTo>
                  <a:lnTo>
                    <a:pt x="100" y="102"/>
                  </a:lnTo>
                  <a:lnTo>
                    <a:pt x="100" y="103"/>
                  </a:lnTo>
                  <a:lnTo>
                    <a:pt x="100" y="103"/>
                  </a:lnTo>
                  <a:lnTo>
                    <a:pt x="100" y="103"/>
                  </a:lnTo>
                  <a:lnTo>
                    <a:pt x="100" y="103"/>
                  </a:lnTo>
                  <a:lnTo>
                    <a:pt x="100" y="103"/>
                  </a:lnTo>
                  <a:close/>
                  <a:moveTo>
                    <a:pt x="73" y="88"/>
                  </a:moveTo>
                  <a:lnTo>
                    <a:pt x="73" y="86"/>
                  </a:lnTo>
                  <a:lnTo>
                    <a:pt x="69" y="88"/>
                  </a:lnTo>
                  <a:lnTo>
                    <a:pt x="69" y="92"/>
                  </a:lnTo>
                  <a:lnTo>
                    <a:pt x="73" y="90"/>
                  </a:lnTo>
                  <a:lnTo>
                    <a:pt x="73" y="88"/>
                  </a:lnTo>
                  <a:lnTo>
                    <a:pt x="73" y="88"/>
                  </a:lnTo>
                  <a:lnTo>
                    <a:pt x="73" y="88"/>
                  </a:lnTo>
                  <a:lnTo>
                    <a:pt x="73" y="88"/>
                  </a:lnTo>
                  <a:close/>
                  <a:moveTo>
                    <a:pt x="64" y="86"/>
                  </a:moveTo>
                  <a:lnTo>
                    <a:pt x="64" y="90"/>
                  </a:lnTo>
                  <a:lnTo>
                    <a:pt x="64" y="94"/>
                  </a:lnTo>
                  <a:lnTo>
                    <a:pt x="66" y="96"/>
                  </a:lnTo>
                  <a:lnTo>
                    <a:pt x="69" y="92"/>
                  </a:lnTo>
                  <a:lnTo>
                    <a:pt x="69" y="88"/>
                  </a:lnTo>
                  <a:lnTo>
                    <a:pt x="64" y="85"/>
                  </a:lnTo>
                  <a:lnTo>
                    <a:pt x="64" y="85"/>
                  </a:lnTo>
                  <a:lnTo>
                    <a:pt x="64" y="86"/>
                  </a:lnTo>
                  <a:lnTo>
                    <a:pt x="64" y="86"/>
                  </a:lnTo>
                  <a:lnTo>
                    <a:pt x="64" y="86"/>
                  </a:lnTo>
                  <a:lnTo>
                    <a:pt x="64" y="86"/>
                  </a:lnTo>
                  <a:close/>
                  <a:moveTo>
                    <a:pt x="58" y="85"/>
                  </a:moveTo>
                  <a:lnTo>
                    <a:pt x="54" y="86"/>
                  </a:lnTo>
                  <a:lnTo>
                    <a:pt x="54" y="86"/>
                  </a:lnTo>
                  <a:lnTo>
                    <a:pt x="58" y="94"/>
                  </a:lnTo>
                  <a:lnTo>
                    <a:pt x="60" y="94"/>
                  </a:lnTo>
                  <a:lnTo>
                    <a:pt x="60" y="88"/>
                  </a:lnTo>
                  <a:lnTo>
                    <a:pt x="58" y="85"/>
                  </a:lnTo>
                  <a:lnTo>
                    <a:pt x="58" y="85"/>
                  </a:lnTo>
                  <a:lnTo>
                    <a:pt x="58" y="8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5" name="Freeform 188">
              <a:extLst>
                <a:ext uri="{FF2B5EF4-FFF2-40B4-BE49-F238E27FC236}">
                  <a16:creationId xmlns:a16="http://schemas.microsoft.com/office/drawing/2014/main" id="{3822B027-D763-40D0-B117-F2D5566670AE}"/>
                </a:ext>
              </a:extLst>
            </p:cNvPr>
            <p:cNvSpPr>
              <a:spLocks/>
            </p:cNvSpPr>
            <p:nvPr/>
          </p:nvSpPr>
          <p:spPr bwMode="auto">
            <a:xfrm>
              <a:off x="4366" y="2547"/>
              <a:ext cx="58" cy="38"/>
            </a:xfrm>
            <a:custGeom>
              <a:avLst/>
              <a:gdLst/>
              <a:ahLst/>
              <a:cxnLst>
                <a:cxn ang="0">
                  <a:pos x="4" y="17"/>
                </a:cxn>
                <a:cxn ang="0">
                  <a:pos x="5" y="16"/>
                </a:cxn>
                <a:cxn ang="0">
                  <a:pos x="9" y="8"/>
                </a:cxn>
                <a:cxn ang="0">
                  <a:pos x="21" y="2"/>
                </a:cxn>
                <a:cxn ang="0">
                  <a:pos x="26" y="0"/>
                </a:cxn>
                <a:cxn ang="0">
                  <a:pos x="28" y="4"/>
                </a:cxn>
                <a:cxn ang="0">
                  <a:pos x="37" y="6"/>
                </a:cxn>
                <a:cxn ang="0">
                  <a:pos x="41" y="8"/>
                </a:cxn>
                <a:cxn ang="0">
                  <a:pos x="45" y="4"/>
                </a:cxn>
                <a:cxn ang="0">
                  <a:pos x="49" y="6"/>
                </a:cxn>
                <a:cxn ang="0">
                  <a:pos x="54" y="8"/>
                </a:cxn>
                <a:cxn ang="0">
                  <a:pos x="54" y="8"/>
                </a:cxn>
                <a:cxn ang="0">
                  <a:pos x="54" y="14"/>
                </a:cxn>
                <a:cxn ang="0">
                  <a:pos x="54" y="17"/>
                </a:cxn>
                <a:cxn ang="0">
                  <a:pos x="58" y="21"/>
                </a:cxn>
                <a:cxn ang="0">
                  <a:pos x="58" y="27"/>
                </a:cxn>
                <a:cxn ang="0">
                  <a:pos x="58" y="29"/>
                </a:cxn>
                <a:cxn ang="0">
                  <a:pos x="51" y="32"/>
                </a:cxn>
                <a:cxn ang="0">
                  <a:pos x="45" y="32"/>
                </a:cxn>
                <a:cxn ang="0">
                  <a:pos x="41" y="34"/>
                </a:cxn>
                <a:cxn ang="0">
                  <a:pos x="36" y="32"/>
                </a:cxn>
                <a:cxn ang="0">
                  <a:pos x="32" y="32"/>
                </a:cxn>
                <a:cxn ang="0">
                  <a:pos x="28" y="38"/>
                </a:cxn>
                <a:cxn ang="0">
                  <a:pos x="22" y="38"/>
                </a:cxn>
                <a:cxn ang="0">
                  <a:pos x="15" y="32"/>
                </a:cxn>
                <a:cxn ang="0">
                  <a:pos x="11" y="34"/>
                </a:cxn>
                <a:cxn ang="0">
                  <a:pos x="5" y="32"/>
                </a:cxn>
                <a:cxn ang="0">
                  <a:pos x="0" y="27"/>
                </a:cxn>
                <a:cxn ang="0">
                  <a:pos x="4" y="23"/>
                </a:cxn>
                <a:cxn ang="0">
                  <a:pos x="4" y="17"/>
                </a:cxn>
                <a:cxn ang="0">
                  <a:pos x="4" y="17"/>
                </a:cxn>
                <a:cxn ang="0">
                  <a:pos x="4" y="17"/>
                </a:cxn>
              </a:cxnLst>
              <a:rect l="0" t="0" r="r" b="b"/>
              <a:pathLst>
                <a:path w="58" h="38">
                  <a:moveTo>
                    <a:pt x="4" y="17"/>
                  </a:moveTo>
                  <a:lnTo>
                    <a:pt x="5" y="16"/>
                  </a:lnTo>
                  <a:lnTo>
                    <a:pt x="9" y="8"/>
                  </a:lnTo>
                  <a:lnTo>
                    <a:pt x="21" y="2"/>
                  </a:lnTo>
                  <a:lnTo>
                    <a:pt x="26" y="0"/>
                  </a:lnTo>
                  <a:lnTo>
                    <a:pt x="28" y="4"/>
                  </a:lnTo>
                  <a:lnTo>
                    <a:pt x="37" y="6"/>
                  </a:lnTo>
                  <a:lnTo>
                    <a:pt x="41" y="8"/>
                  </a:lnTo>
                  <a:lnTo>
                    <a:pt x="45" y="4"/>
                  </a:lnTo>
                  <a:lnTo>
                    <a:pt x="49" y="6"/>
                  </a:lnTo>
                  <a:lnTo>
                    <a:pt x="54" y="8"/>
                  </a:lnTo>
                  <a:lnTo>
                    <a:pt x="54" y="8"/>
                  </a:lnTo>
                  <a:lnTo>
                    <a:pt x="54" y="14"/>
                  </a:lnTo>
                  <a:lnTo>
                    <a:pt x="54" y="17"/>
                  </a:lnTo>
                  <a:lnTo>
                    <a:pt x="58" y="21"/>
                  </a:lnTo>
                  <a:lnTo>
                    <a:pt x="58" y="27"/>
                  </a:lnTo>
                  <a:lnTo>
                    <a:pt x="58" y="29"/>
                  </a:lnTo>
                  <a:lnTo>
                    <a:pt x="51" y="32"/>
                  </a:lnTo>
                  <a:lnTo>
                    <a:pt x="45" y="32"/>
                  </a:lnTo>
                  <a:lnTo>
                    <a:pt x="41" y="34"/>
                  </a:lnTo>
                  <a:lnTo>
                    <a:pt x="36" y="32"/>
                  </a:lnTo>
                  <a:lnTo>
                    <a:pt x="32" y="32"/>
                  </a:lnTo>
                  <a:lnTo>
                    <a:pt x="28" y="38"/>
                  </a:lnTo>
                  <a:lnTo>
                    <a:pt x="22" y="38"/>
                  </a:lnTo>
                  <a:lnTo>
                    <a:pt x="15" y="32"/>
                  </a:lnTo>
                  <a:lnTo>
                    <a:pt x="11" y="34"/>
                  </a:lnTo>
                  <a:lnTo>
                    <a:pt x="5" y="32"/>
                  </a:lnTo>
                  <a:lnTo>
                    <a:pt x="0" y="27"/>
                  </a:lnTo>
                  <a:lnTo>
                    <a:pt x="4" y="23"/>
                  </a:lnTo>
                  <a:lnTo>
                    <a:pt x="4" y="17"/>
                  </a:lnTo>
                  <a:lnTo>
                    <a:pt x="4" y="17"/>
                  </a:lnTo>
                  <a:lnTo>
                    <a:pt x="4"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6" name="Freeform 189">
              <a:extLst>
                <a:ext uri="{FF2B5EF4-FFF2-40B4-BE49-F238E27FC236}">
                  <a16:creationId xmlns:a16="http://schemas.microsoft.com/office/drawing/2014/main" id="{D2A86C2C-9257-4A09-AAC0-E0EE6F047F0B}"/>
                </a:ext>
              </a:extLst>
            </p:cNvPr>
            <p:cNvSpPr>
              <a:spLocks noEditPoints="1"/>
            </p:cNvSpPr>
            <p:nvPr/>
          </p:nvSpPr>
          <p:spPr bwMode="auto">
            <a:xfrm>
              <a:off x="5859" y="3399"/>
              <a:ext cx="43" cy="105"/>
            </a:xfrm>
            <a:custGeom>
              <a:avLst/>
              <a:gdLst/>
              <a:ahLst/>
              <a:cxnLst>
                <a:cxn ang="0">
                  <a:pos x="43" y="102"/>
                </a:cxn>
                <a:cxn ang="0">
                  <a:pos x="41" y="102"/>
                </a:cxn>
                <a:cxn ang="0">
                  <a:pos x="41" y="98"/>
                </a:cxn>
                <a:cxn ang="0">
                  <a:pos x="41" y="98"/>
                </a:cxn>
                <a:cxn ang="0">
                  <a:pos x="41" y="85"/>
                </a:cxn>
                <a:cxn ang="0">
                  <a:pos x="37" y="88"/>
                </a:cxn>
                <a:cxn ang="0">
                  <a:pos x="39" y="83"/>
                </a:cxn>
                <a:cxn ang="0">
                  <a:pos x="39" y="83"/>
                </a:cxn>
                <a:cxn ang="0">
                  <a:pos x="26" y="60"/>
                </a:cxn>
                <a:cxn ang="0">
                  <a:pos x="32" y="60"/>
                </a:cxn>
                <a:cxn ang="0">
                  <a:pos x="30" y="66"/>
                </a:cxn>
                <a:cxn ang="0">
                  <a:pos x="26" y="60"/>
                </a:cxn>
                <a:cxn ang="0">
                  <a:pos x="26" y="60"/>
                </a:cxn>
                <a:cxn ang="0">
                  <a:pos x="30" y="2"/>
                </a:cxn>
                <a:cxn ang="0">
                  <a:pos x="30" y="13"/>
                </a:cxn>
                <a:cxn ang="0">
                  <a:pos x="30" y="2"/>
                </a:cxn>
                <a:cxn ang="0">
                  <a:pos x="30" y="2"/>
                </a:cxn>
                <a:cxn ang="0">
                  <a:pos x="20" y="15"/>
                </a:cxn>
                <a:cxn ang="0">
                  <a:pos x="26" y="13"/>
                </a:cxn>
                <a:cxn ang="0">
                  <a:pos x="22" y="13"/>
                </a:cxn>
                <a:cxn ang="0">
                  <a:pos x="20" y="15"/>
                </a:cxn>
                <a:cxn ang="0">
                  <a:pos x="20" y="15"/>
                </a:cxn>
                <a:cxn ang="0">
                  <a:pos x="30" y="17"/>
                </a:cxn>
                <a:cxn ang="0">
                  <a:pos x="32" y="24"/>
                </a:cxn>
                <a:cxn ang="0">
                  <a:pos x="30" y="26"/>
                </a:cxn>
                <a:cxn ang="0">
                  <a:pos x="30" y="21"/>
                </a:cxn>
                <a:cxn ang="0">
                  <a:pos x="30" y="17"/>
                </a:cxn>
                <a:cxn ang="0">
                  <a:pos x="30" y="17"/>
                </a:cxn>
                <a:cxn ang="0">
                  <a:pos x="28" y="41"/>
                </a:cxn>
                <a:cxn ang="0">
                  <a:pos x="33" y="45"/>
                </a:cxn>
                <a:cxn ang="0">
                  <a:pos x="26" y="45"/>
                </a:cxn>
                <a:cxn ang="0">
                  <a:pos x="26" y="45"/>
                </a:cxn>
                <a:cxn ang="0">
                  <a:pos x="26" y="34"/>
                </a:cxn>
                <a:cxn ang="0">
                  <a:pos x="30" y="34"/>
                </a:cxn>
                <a:cxn ang="0">
                  <a:pos x="32" y="38"/>
                </a:cxn>
                <a:cxn ang="0">
                  <a:pos x="28" y="39"/>
                </a:cxn>
                <a:cxn ang="0">
                  <a:pos x="22" y="38"/>
                </a:cxn>
                <a:cxn ang="0">
                  <a:pos x="26" y="34"/>
                </a:cxn>
                <a:cxn ang="0">
                  <a:pos x="26" y="34"/>
                </a:cxn>
                <a:cxn ang="0">
                  <a:pos x="13" y="26"/>
                </a:cxn>
                <a:cxn ang="0">
                  <a:pos x="16" y="32"/>
                </a:cxn>
                <a:cxn ang="0">
                  <a:pos x="20" y="39"/>
                </a:cxn>
                <a:cxn ang="0">
                  <a:pos x="13" y="41"/>
                </a:cxn>
                <a:cxn ang="0">
                  <a:pos x="13" y="34"/>
                </a:cxn>
                <a:cxn ang="0">
                  <a:pos x="13" y="30"/>
                </a:cxn>
                <a:cxn ang="0">
                  <a:pos x="11" y="26"/>
                </a:cxn>
                <a:cxn ang="0">
                  <a:pos x="11" y="26"/>
                </a:cxn>
                <a:cxn ang="0">
                  <a:pos x="11" y="26"/>
                </a:cxn>
                <a:cxn ang="0">
                  <a:pos x="0" y="5"/>
                </a:cxn>
                <a:cxn ang="0">
                  <a:pos x="1" y="15"/>
                </a:cxn>
                <a:cxn ang="0">
                  <a:pos x="7" y="21"/>
                </a:cxn>
                <a:cxn ang="0">
                  <a:pos x="11" y="17"/>
                </a:cxn>
                <a:cxn ang="0">
                  <a:pos x="13" y="13"/>
                </a:cxn>
                <a:cxn ang="0">
                  <a:pos x="13" y="5"/>
                </a:cxn>
                <a:cxn ang="0">
                  <a:pos x="7" y="5"/>
                </a:cxn>
                <a:cxn ang="0">
                  <a:pos x="7" y="9"/>
                </a:cxn>
                <a:cxn ang="0">
                  <a:pos x="5" y="2"/>
                </a:cxn>
                <a:cxn ang="0">
                  <a:pos x="1" y="0"/>
                </a:cxn>
                <a:cxn ang="0">
                  <a:pos x="1" y="0"/>
                </a:cxn>
              </a:cxnLst>
              <a:rect l="0" t="0" r="r" b="b"/>
              <a:pathLst>
                <a:path w="43" h="105">
                  <a:moveTo>
                    <a:pt x="41" y="98"/>
                  </a:moveTo>
                  <a:lnTo>
                    <a:pt x="43" y="102"/>
                  </a:lnTo>
                  <a:lnTo>
                    <a:pt x="43" y="105"/>
                  </a:lnTo>
                  <a:lnTo>
                    <a:pt x="41" y="102"/>
                  </a:lnTo>
                  <a:lnTo>
                    <a:pt x="41" y="98"/>
                  </a:lnTo>
                  <a:lnTo>
                    <a:pt x="41" y="98"/>
                  </a:lnTo>
                  <a:lnTo>
                    <a:pt x="41" y="98"/>
                  </a:lnTo>
                  <a:lnTo>
                    <a:pt x="41" y="98"/>
                  </a:lnTo>
                  <a:close/>
                  <a:moveTo>
                    <a:pt x="39" y="83"/>
                  </a:moveTo>
                  <a:lnTo>
                    <a:pt x="41" y="85"/>
                  </a:lnTo>
                  <a:lnTo>
                    <a:pt x="41" y="92"/>
                  </a:lnTo>
                  <a:lnTo>
                    <a:pt x="37" y="88"/>
                  </a:lnTo>
                  <a:lnTo>
                    <a:pt x="37" y="85"/>
                  </a:lnTo>
                  <a:lnTo>
                    <a:pt x="39" y="83"/>
                  </a:lnTo>
                  <a:lnTo>
                    <a:pt x="39" y="83"/>
                  </a:lnTo>
                  <a:lnTo>
                    <a:pt x="39" y="83"/>
                  </a:lnTo>
                  <a:lnTo>
                    <a:pt x="39" y="83"/>
                  </a:lnTo>
                  <a:close/>
                  <a:moveTo>
                    <a:pt x="26" y="60"/>
                  </a:moveTo>
                  <a:lnTo>
                    <a:pt x="30" y="60"/>
                  </a:lnTo>
                  <a:lnTo>
                    <a:pt x="32" y="60"/>
                  </a:lnTo>
                  <a:lnTo>
                    <a:pt x="32" y="64"/>
                  </a:lnTo>
                  <a:lnTo>
                    <a:pt x="30" y="66"/>
                  </a:lnTo>
                  <a:lnTo>
                    <a:pt x="26" y="64"/>
                  </a:lnTo>
                  <a:lnTo>
                    <a:pt x="26" y="60"/>
                  </a:lnTo>
                  <a:lnTo>
                    <a:pt x="26" y="60"/>
                  </a:lnTo>
                  <a:lnTo>
                    <a:pt x="26" y="60"/>
                  </a:lnTo>
                  <a:lnTo>
                    <a:pt x="26" y="60"/>
                  </a:lnTo>
                  <a:close/>
                  <a:moveTo>
                    <a:pt x="30" y="2"/>
                  </a:moveTo>
                  <a:lnTo>
                    <a:pt x="33" y="9"/>
                  </a:lnTo>
                  <a:lnTo>
                    <a:pt x="30" y="13"/>
                  </a:lnTo>
                  <a:lnTo>
                    <a:pt x="32" y="9"/>
                  </a:lnTo>
                  <a:lnTo>
                    <a:pt x="30" y="2"/>
                  </a:lnTo>
                  <a:lnTo>
                    <a:pt x="30" y="2"/>
                  </a:lnTo>
                  <a:lnTo>
                    <a:pt x="30" y="2"/>
                  </a:lnTo>
                  <a:lnTo>
                    <a:pt x="30" y="2"/>
                  </a:lnTo>
                  <a:close/>
                  <a:moveTo>
                    <a:pt x="20" y="15"/>
                  </a:moveTo>
                  <a:lnTo>
                    <a:pt x="26" y="17"/>
                  </a:lnTo>
                  <a:lnTo>
                    <a:pt x="26" y="13"/>
                  </a:lnTo>
                  <a:lnTo>
                    <a:pt x="28" y="11"/>
                  </a:lnTo>
                  <a:lnTo>
                    <a:pt x="22" y="13"/>
                  </a:lnTo>
                  <a:lnTo>
                    <a:pt x="22" y="13"/>
                  </a:lnTo>
                  <a:lnTo>
                    <a:pt x="20" y="15"/>
                  </a:lnTo>
                  <a:lnTo>
                    <a:pt x="20" y="15"/>
                  </a:lnTo>
                  <a:lnTo>
                    <a:pt x="20" y="15"/>
                  </a:lnTo>
                  <a:lnTo>
                    <a:pt x="20" y="15"/>
                  </a:lnTo>
                  <a:close/>
                  <a:moveTo>
                    <a:pt x="30" y="17"/>
                  </a:moveTo>
                  <a:lnTo>
                    <a:pt x="32" y="21"/>
                  </a:lnTo>
                  <a:lnTo>
                    <a:pt x="32" y="24"/>
                  </a:lnTo>
                  <a:lnTo>
                    <a:pt x="32" y="26"/>
                  </a:lnTo>
                  <a:lnTo>
                    <a:pt x="30" y="26"/>
                  </a:lnTo>
                  <a:lnTo>
                    <a:pt x="30" y="21"/>
                  </a:lnTo>
                  <a:lnTo>
                    <a:pt x="30" y="21"/>
                  </a:lnTo>
                  <a:lnTo>
                    <a:pt x="30" y="17"/>
                  </a:lnTo>
                  <a:lnTo>
                    <a:pt x="30" y="17"/>
                  </a:lnTo>
                  <a:lnTo>
                    <a:pt x="30" y="17"/>
                  </a:lnTo>
                  <a:lnTo>
                    <a:pt x="30" y="17"/>
                  </a:lnTo>
                  <a:close/>
                  <a:moveTo>
                    <a:pt x="26" y="45"/>
                  </a:moveTo>
                  <a:lnTo>
                    <a:pt x="28" y="41"/>
                  </a:lnTo>
                  <a:lnTo>
                    <a:pt x="32" y="45"/>
                  </a:lnTo>
                  <a:lnTo>
                    <a:pt x="33" y="45"/>
                  </a:lnTo>
                  <a:lnTo>
                    <a:pt x="28" y="45"/>
                  </a:lnTo>
                  <a:lnTo>
                    <a:pt x="26" y="45"/>
                  </a:lnTo>
                  <a:lnTo>
                    <a:pt x="26" y="45"/>
                  </a:lnTo>
                  <a:lnTo>
                    <a:pt x="26" y="45"/>
                  </a:lnTo>
                  <a:lnTo>
                    <a:pt x="26" y="45"/>
                  </a:lnTo>
                  <a:close/>
                  <a:moveTo>
                    <a:pt x="26" y="34"/>
                  </a:moveTo>
                  <a:lnTo>
                    <a:pt x="28" y="32"/>
                  </a:lnTo>
                  <a:lnTo>
                    <a:pt x="30" y="34"/>
                  </a:lnTo>
                  <a:lnTo>
                    <a:pt x="32" y="34"/>
                  </a:lnTo>
                  <a:lnTo>
                    <a:pt x="32" y="38"/>
                  </a:lnTo>
                  <a:lnTo>
                    <a:pt x="30" y="38"/>
                  </a:lnTo>
                  <a:lnTo>
                    <a:pt x="28" y="39"/>
                  </a:lnTo>
                  <a:lnTo>
                    <a:pt x="26" y="39"/>
                  </a:lnTo>
                  <a:lnTo>
                    <a:pt x="22" y="38"/>
                  </a:lnTo>
                  <a:lnTo>
                    <a:pt x="26" y="34"/>
                  </a:lnTo>
                  <a:lnTo>
                    <a:pt x="26" y="34"/>
                  </a:lnTo>
                  <a:lnTo>
                    <a:pt x="26" y="34"/>
                  </a:lnTo>
                  <a:lnTo>
                    <a:pt x="26" y="34"/>
                  </a:lnTo>
                  <a:close/>
                  <a:moveTo>
                    <a:pt x="11" y="26"/>
                  </a:moveTo>
                  <a:lnTo>
                    <a:pt x="13" y="26"/>
                  </a:lnTo>
                  <a:lnTo>
                    <a:pt x="16" y="30"/>
                  </a:lnTo>
                  <a:lnTo>
                    <a:pt x="16" y="32"/>
                  </a:lnTo>
                  <a:lnTo>
                    <a:pt x="20" y="36"/>
                  </a:lnTo>
                  <a:lnTo>
                    <a:pt x="20" y="39"/>
                  </a:lnTo>
                  <a:lnTo>
                    <a:pt x="16" y="39"/>
                  </a:lnTo>
                  <a:lnTo>
                    <a:pt x="13" y="41"/>
                  </a:lnTo>
                  <a:lnTo>
                    <a:pt x="13" y="39"/>
                  </a:lnTo>
                  <a:lnTo>
                    <a:pt x="13" y="34"/>
                  </a:lnTo>
                  <a:lnTo>
                    <a:pt x="16" y="32"/>
                  </a:lnTo>
                  <a:lnTo>
                    <a:pt x="13" y="30"/>
                  </a:lnTo>
                  <a:lnTo>
                    <a:pt x="11" y="30"/>
                  </a:lnTo>
                  <a:lnTo>
                    <a:pt x="11" y="26"/>
                  </a:lnTo>
                  <a:lnTo>
                    <a:pt x="11" y="26"/>
                  </a:lnTo>
                  <a:lnTo>
                    <a:pt x="11" y="26"/>
                  </a:lnTo>
                  <a:lnTo>
                    <a:pt x="11" y="26"/>
                  </a:lnTo>
                  <a:lnTo>
                    <a:pt x="11" y="26"/>
                  </a:lnTo>
                  <a:close/>
                  <a:moveTo>
                    <a:pt x="1" y="0"/>
                  </a:moveTo>
                  <a:lnTo>
                    <a:pt x="0" y="5"/>
                  </a:lnTo>
                  <a:lnTo>
                    <a:pt x="1" y="11"/>
                  </a:lnTo>
                  <a:lnTo>
                    <a:pt x="1" y="15"/>
                  </a:lnTo>
                  <a:lnTo>
                    <a:pt x="3" y="21"/>
                  </a:lnTo>
                  <a:lnTo>
                    <a:pt x="7" y="21"/>
                  </a:lnTo>
                  <a:lnTo>
                    <a:pt x="7" y="17"/>
                  </a:lnTo>
                  <a:lnTo>
                    <a:pt x="11" y="17"/>
                  </a:lnTo>
                  <a:lnTo>
                    <a:pt x="13" y="17"/>
                  </a:lnTo>
                  <a:lnTo>
                    <a:pt x="13" y="13"/>
                  </a:lnTo>
                  <a:lnTo>
                    <a:pt x="11" y="9"/>
                  </a:lnTo>
                  <a:lnTo>
                    <a:pt x="13" y="5"/>
                  </a:lnTo>
                  <a:lnTo>
                    <a:pt x="11" y="5"/>
                  </a:lnTo>
                  <a:lnTo>
                    <a:pt x="7" y="5"/>
                  </a:lnTo>
                  <a:lnTo>
                    <a:pt x="7" y="9"/>
                  </a:lnTo>
                  <a:lnTo>
                    <a:pt x="7" y="9"/>
                  </a:lnTo>
                  <a:lnTo>
                    <a:pt x="5" y="7"/>
                  </a:lnTo>
                  <a:lnTo>
                    <a:pt x="5" y="2"/>
                  </a:lnTo>
                  <a:lnTo>
                    <a:pt x="5" y="2"/>
                  </a:lnTo>
                  <a:lnTo>
                    <a:pt x="1" y="0"/>
                  </a:lnTo>
                  <a:lnTo>
                    <a:pt x="1" y="0"/>
                  </a:lnTo>
                  <a:lnTo>
                    <a:pt x="1" y="0"/>
                  </a:lnTo>
                  <a:lnTo>
                    <a:pt x="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7" name="Freeform 190">
              <a:extLst>
                <a:ext uri="{FF2B5EF4-FFF2-40B4-BE49-F238E27FC236}">
                  <a16:creationId xmlns:a16="http://schemas.microsoft.com/office/drawing/2014/main" id="{9337D2EA-947F-4125-B552-9F2101F666C9}"/>
                </a:ext>
              </a:extLst>
            </p:cNvPr>
            <p:cNvSpPr>
              <a:spLocks noEditPoints="1"/>
            </p:cNvSpPr>
            <p:nvPr/>
          </p:nvSpPr>
          <p:spPr bwMode="auto">
            <a:xfrm>
              <a:off x="5859" y="3399"/>
              <a:ext cx="43" cy="105"/>
            </a:xfrm>
            <a:custGeom>
              <a:avLst/>
              <a:gdLst/>
              <a:ahLst/>
              <a:cxnLst>
                <a:cxn ang="0">
                  <a:pos x="43" y="102"/>
                </a:cxn>
                <a:cxn ang="0">
                  <a:pos x="41" y="102"/>
                </a:cxn>
                <a:cxn ang="0">
                  <a:pos x="41" y="98"/>
                </a:cxn>
                <a:cxn ang="0">
                  <a:pos x="41" y="98"/>
                </a:cxn>
                <a:cxn ang="0">
                  <a:pos x="41" y="85"/>
                </a:cxn>
                <a:cxn ang="0">
                  <a:pos x="37" y="88"/>
                </a:cxn>
                <a:cxn ang="0">
                  <a:pos x="39" y="83"/>
                </a:cxn>
                <a:cxn ang="0">
                  <a:pos x="39" y="83"/>
                </a:cxn>
                <a:cxn ang="0">
                  <a:pos x="26" y="60"/>
                </a:cxn>
                <a:cxn ang="0">
                  <a:pos x="32" y="60"/>
                </a:cxn>
                <a:cxn ang="0">
                  <a:pos x="30" y="66"/>
                </a:cxn>
                <a:cxn ang="0">
                  <a:pos x="26" y="60"/>
                </a:cxn>
                <a:cxn ang="0">
                  <a:pos x="26" y="60"/>
                </a:cxn>
                <a:cxn ang="0">
                  <a:pos x="30" y="2"/>
                </a:cxn>
                <a:cxn ang="0">
                  <a:pos x="30" y="13"/>
                </a:cxn>
                <a:cxn ang="0">
                  <a:pos x="30" y="2"/>
                </a:cxn>
                <a:cxn ang="0">
                  <a:pos x="30" y="2"/>
                </a:cxn>
                <a:cxn ang="0">
                  <a:pos x="20" y="15"/>
                </a:cxn>
                <a:cxn ang="0">
                  <a:pos x="26" y="13"/>
                </a:cxn>
                <a:cxn ang="0">
                  <a:pos x="22" y="13"/>
                </a:cxn>
                <a:cxn ang="0">
                  <a:pos x="20" y="15"/>
                </a:cxn>
                <a:cxn ang="0">
                  <a:pos x="20" y="15"/>
                </a:cxn>
                <a:cxn ang="0">
                  <a:pos x="30" y="17"/>
                </a:cxn>
                <a:cxn ang="0">
                  <a:pos x="32" y="24"/>
                </a:cxn>
                <a:cxn ang="0">
                  <a:pos x="30" y="26"/>
                </a:cxn>
                <a:cxn ang="0">
                  <a:pos x="30" y="21"/>
                </a:cxn>
                <a:cxn ang="0">
                  <a:pos x="30" y="17"/>
                </a:cxn>
                <a:cxn ang="0">
                  <a:pos x="30" y="17"/>
                </a:cxn>
                <a:cxn ang="0">
                  <a:pos x="28" y="41"/>
                </a:cxn>
                <a:cxn ang="0">
                  <a:pos x="33" y="45"/>
                </a:cxn>
                <a:cxn ang="0">
                  <a:pos x="26" y="45"/>
                </a:cxn>
                <a:cxn ang="0">
                  <a:pos x="26" y="45"/>
                </a:cxn>
                <a:cxn ang="0">
                  <a:pos x="26" y="34"/>
                </a:cxn>
                <a:cxn ang="0">
                  <a:pos x="30" y="34"/>
                </a:cxn>
                <a:cxn ang="0">
                  <a:pos x="32" y="38"/>
                </a:cxn>
                <a:cxn ang="0">
                  <a:pos x="28" y="39"/>
                </a:cxn>
                <a:cxn ang="0">
                  <a:pos x="22" y="38"/>
                </a:cxn>
                <a:cxn ang="0">
                  <a:pos x="26" y="34"/>
                </a:cxn>
                <a:cxn ang="0">
                  <a:pos x="26" y="34"/>
                </a:cxn>
                <a:cxn ang="0">
                  <a:pos x="13" y="26"/>
                </a:cxn>
                <a:cxn ang="0">
                  <a:pos x="16" y="32"/>
                </a:cxn>
                <a:cxn ang="0">
                  <a:pos x="20" y="39"/>
                </a:cxn>
                <a:cxn ang="0">
                  <a:pos x="13" y="41"/>
                </a:cxn>
                <a:cxn ang="0">
                  <a:pos x="13" y="34"/>
                </a:cxn>
                <a:cxn ang="0">
                  <a:pos x="13" y="30"/>
                </a:cxn>
                <a:cxn ang="0">
                  <a:pos x="11" y="26"/>
                </a:cxn>
                <a:cxn ang="0">
                  <a:pos x="11" y="26"/>
                </a:cxn>
                <a:cxn ang="0">
                  <a:pos x="11" y="26"/>
                </a:cxn>
                <a:cxn ang="0">
                  <a:pos x="0" y="5"/>
                </a:cxn>
                <a:cxn ang="0">
                  <a:pos x="1" y="15"/>
                </a:cxn>
                <a:cxn ang="0">
                  <a:pos x="7" y="21"/>
                </a:cxn>
                <a:cxn ang="0">
                  <a:pos x="11" y="17"/>
                </a:cxn>
                <a:cxn ang="0">
                  <a:pos x="13" y="13"/>
                </a:cxn>
                <a:cxn ang="0">
                  <a:pos x="13" y="5"/>
                </a:cxn>
                <a:cxn ang="0">
                  <a:pos x="7" y="5"/>
                </a:cxn>
                <a:cxn ang="0">
                  <a:pos x="7" y="9"/>
                </a:cxn>
                <a:cxn ang="0">
                  <a:pos x="5" y="2"/>
                </a:cxn>
                <a:cxn ang="0">
                  <a:pos x="1" y="0"/>
                </a:cxn>
                <a:cxn ang="0">
                  <a:pos x="1" y="0"/>
                </a:cxn>
              </a:cxnLst>
              <a:rect l="0" t="0" r="r" b="b"/>
              <a:pathLst>
                <a:path w="43" h="105">
                  <a:moveTo>
                    <a:pt x="41" y="98"/>
                  </a:moveTo>
                  <a:lnTo>
                    <a:pt x="43" y="102"/>
                  </a:lnTo>
                  <a:lnTo>
                    <a:pt x="43" y="105"/>
                  </a:lnTo>
                  <a:lnTo>
                    <a:pt x="41" y="102"/>
                  </a:lnTo>
                  <a:lnTo>
                    <a:pt x="41" y="98"/>
                  </a:lnTo>
                  <a:lnTo>
                    <a:pt x="41" y="98"/>
                  </a:lnTo>
                  <a:lnTo>
                    <a:pt x="41" y="98"/>
                  </a:lnTo>
                  <a:lnTo>
                    <a:pt x="41" y="98"/>
                  </a:lnTo>
                  <a:close/>
                  <a:moveTo>
                    <a:pt x="39" y="83"/>
                  </a:moveTo>
                  <a:lnTo>
                    <a:pt x="41" y="85"/>
                  </a:lnTo>
                  <a:lnTo>
                    <a:pt x="41" y="92"/>
                  </a:lnTo>
                  <a:lnTo>
                    <a:pt x="37" y="88"/>
                  </a:lnTo>
                  <a:lnTo>
                    <a:pt x="37" y="85"/>
                  </a:lnTo>
                  <a:lnTo>
                    <a:pt x="39" y="83"/>
                  </a:lnTo>
                  <a:lnTo>
                    <a:pt x="39" y="83"/>
                  </a:lnTo>
                  <a:lnTo>
                    <a:pt x="39" y="83"/>
                  </a:lnTo>
                  <a:lnTo>
                    <a:pt x="39" y="83"/>
                  </a:lnTo>
                  <a:close/>
                  <a:moveTo>
                    <a:pt x="26" y="60"/>
                  </a:moveTo>
                  <a:lnTo>
                    <a:pt x="30" y="60"/>
                  </a:lnTo>
                  <a:lnTo>
                    <a:pt x="32" y="60"/>
                  </a:lnTo>
                  <a:lnTo>
                    <a:pt x="32" y="64"/>
                  </a:lnTo>
                  <a:lnTo>
                    <a:pt x="30" y="66"/>
                  </a:lnTo>
                  <a:lnTo>
                    <a:pt x="26" y="64"/>
                  </a:lnTo>
                  <a:lnTo>
                    <a:pt x="26" y="60"/>
                  </a:lnTo>
                  <a:lnTo>
                    <a:pt x="26" y="60"/>
                  </a:lnTo>
                  <a:lnTo>
                    <a:pt x="26" y="60"/>
                  </a:lnTo>
                  <a:lnTo>
                    <a:pt x="26" y="60"/>
                  </a:lnTo>
                  <a:close/>
                  <a:moveTo>
                    <a:pt x="30" y="2"/>
                  </a:moveTo>
                  <a:lnTo>
                    <a:pt x="33" y="9"/>
                  </a:lnTo>
                  <a:lnTo>
                    <a:pt x="30" y="13"/>
                  </a:lnTo>
                  <a:lnTo>
                    <a:pt x="32" y="9"/>
                  </a:lnTo>
                  <a:lnTo>
                    <a:pt x="30" y="2"/>
                  </a:lnTo>
                  <a:lnTo>
                    <a:pt x="30" y="2"/>
                  </a:lnTo>
                  <a:lnTo>
                    <a:pt x="30" y="2"/>
                  </a:lnTo>
                  <a:lnTo>
                    <a:pt x="30" y="2"/>
                  </a:lnTo>
                  <a:close/>
                  <a:moveTo>
                    <a:pt x="20" y="15"/>
                  </a:moveTo>
                  <a:lnTo>
                    <a:pt x="26" y="17"/>
                  </a:lnTo>
                  <a:lnTo>
                    <a:pt x="26" y="13"/>
                  </a:lnTo>
                  <a:lnTo>
                    <a:pt x="28" y="11"/>
                  </a:lnTo>
                  <a:lnTo>
                    <a:pt x="22" y="13"/>
                  </a:lnTo>
                  <a:lnTo>
                    <a:pt x="22" y="13"/>
                  </a:lnTo>
                  <a:lnTo>
                    <a:pt x="20" y="15"/>
                  </a:lnTo>
                  <a:lnTo>
                    <a:pt x="20" y="15"/>
                  </a:lnTo>
                  <a:lnTo>
                    <a:pt x="20" y="15"/>
                  </a:lnTo>
                  <a:lnTo>
                    <a:pt x="20" y="15"/>
                  </a:lnTo>
                  <a:close/>
                  <a:moveTo>
                    <a:pt x="30" y="17"/>
                  </a:moveTo>
                  <a:lnTo>
                    <a:pt x="32" y="21"/>
                  </a:lnTo>
                  <a:lnTo>
                    <a:pt x="32" y="24"/>
                  </a:lnTo>
                  <a:lnTo>
                    <a:pt x="32" y="26"/>
                  </a:lnTo>
                  <a:lnTo>
                    <a:pt x="30" y="26"/>
                  </a:lnTo>
                  <a:lnTo>
                    <a:pt x="30" y="21"/>
                  </a:lnTo>
                  <a:lnTo>
                    <a:pt x="30" y="21"/>
                  </a:lnTo>
                  <a:lnTo>
                    <a:pt x="30" y="17"/>
                  </a:lnTo>
                  <a:lnTo>
                    <a:pt x="30" y="17"/>
                  </a:lnTo>
                  <a:lnTo>
                    <a:pt x="30" y="17"/>
                  </a:lnTo>
                  <a:lnTo>
                    <a:pt x="30" y="17"/>
                  </a:lnTo>
                  <a:close/>
                  <a:moveTo>
                    <a:pt x="26" y="45"/>
                  </a:moveTo>
                  <a:lnTo>
                    <a:pt x="28" y="41"/>
                  </a:lnTo>
                  <a:lnTo>
                    <a:pt x="32" y="45"/>
                  </a:lnTo>
                  <a:lnTo>
                    <a:pt x="33" y="45"/>
                  </a:lnTo>
                  <a:lnTo>
                    <a:pt x="28" y="45"/>
                  </a:lnTo>
                  <a:lnTo>
                    <a:pt x="26" y="45"/>
                  </a:lnTo>
                  <a:lnTo>
                    <a:pt x="26" y="45"/>
                  </a:lnTo>
                  <a:lnTo>
                    <a:pt x="26" y="45"/>
                  </a:lnTo>
                  <a:lnTo>
                    <a:pt x="26" y="45"/>
                  </a:lnTo>
                  <a:close/>
                  <a:moveTo>
                    <a:pt x="26" y="34"/>
                  </a:moveTo>
                  <a:lnTo>
                    <a:pt x="28" y="32"/>
                  </a:lnTo>
                  <a:lnTo>
                    <a:pt x="30" y="34"/>
                  </a:lnTo>
                  <a:lnTo>
                    <a:pt x="32" y="34"/>
                  </a:lnTo>
                  <a:lnTo>
                    <a:pt x="32" y="38"/>
                  </a:lnTo>
                  <a:lnTo>
                    <a:pt x="30" y="38"/>
                  </a:lnTo>
                  <a:lnTo>
                    <a:pt x="28" y="39"/>
                  </a:lnTo>
                  <a:lnTo>
                    <a:pt x="26" y="39"/>
                  </a:lnTo>
                  <a:lnTo>
                    <a:pt x="22" y="38"/>
                  </a:lnTo>
                  <a:lnTo>
                    <a:pt x="26" y="34"/>
                  </a:lnTo>
                  <a:lnTo>
                    <a:pt x="26" y="34"/>
                  </a:lnTo>
                  <a:lnTo>
                    <a:pt x="26" y="34"/>
                  </a:lnTo>
                  <a:lnTo>
                    <a:pt x="26" y="34"/>
                  </a:lnTo>
                  <a:close/>
                  <a:moveTo>
                    <a:pt x="11" y="26"/>
                  </a:moveTo>
                  <a:lnTo>
                    <a:pt x="13" y="26"/>
                  </a:lnTo>
                  <a:lnTo>
                    <a:pt x="16" y="30"/>
                  </a:lnTo>
                  <a:lnTo>
                    <a:pt x="16" y="32"/>
                  </a:lnTo>
                  <a:lnTo>
                    <a:pt x="20" y="36"/>
                  </a:lnTo>
                  <a:lnTo>
                    <a:pt x="20" y="39"/>
                  </a:lnTo>
                  <a:lnTo>
                    <a:pt x="16" y="39"/>
                  </a:lnTo>
                  <a:lnTo>
                    <a:pt x="13" y="41"/>
                  </a:lnTo>
                  <a:lnTo>
                    <a:pt x="13" y="39"/>
                  </a:lnTo>
                  <a:lnTo>
                    <a:pt x="13" y="34"/>
                  </a:lnTo>
                  <a:lnTo>
                    <a:pt x="16" y="32"/>
                  </a:lnTo>
                  <a:lnTo>
                    <a:pt x="13" y="30"/>
                  </a:lnTo>
                  <a:lnTo>
                    <a:pt x="11" y="30"/>
                  </a:lnTo>
                  <a:lnTo>
                    <a:pt x="11" y="26"/>
                  </a:lnTo>
                  <a:lnTo>
                    <a:pt x="11" y="26"/>
                  </a:lnTo>
                  <a:lnTo>
                    <a:pt x="11" y="26"/>
                  </a:lnTo>
                  <a:lnTo>
                    <a:pt x="11" y="26"/>
                  </a:lnTo>
                  <a:lnTo>
                    <a:pt x="11" y="26"/>
                  </a:lnTo>
                  <a:close/>
                  <a:moveTo>
                    <a:pt x="1" y="0"/>
                  </a:moveTo>
                  <a:lnTo>
                    <a:pt x="0" y="5"/>
                  </a:lnTo>
                  <a:lnTo>
                    <a:pt x="1" y="11"/>
                  </a:lnTo>
                  <a:lnTo>
                    <a:pt x="1" y="15"/>
                  </a:lnTo>
                  <a:lnTo>
                    <a:pt x="3" y="21"/>
                  </a:lnTo>
                  <a:lnTo>
                    <a:pt x="7" y="21"/>
                  </a:lnTo>
                  <a:lnTo>
                    <a:pt x="7" y="17"/>
                  </a:lnTo>
                  <a:lnTo>
                    <a:pt x="11" y="17"/>
                  </a:lnTo>
                  <a:lnTo>
                    <a:pt x="13" y="17"/>
                  </a:lnTo>
                  <a:lnTo>
                    <a:pt x="13" y="13"/>
                  </a:lnTo>
                  <a:lnTo>
                    <a:pt x="11" y="9"/>
                  </a:lnTo>
                  <a:lnTo>
                    <a:pt x="13" y="5"/>
                  </a:lnTo>
                  <a:lnTo>
                    <a:pt x="11" y="5"/>
                  </a:lnTo>
                  <a:lnTo>
                    <a:pt x="7" y="5"/>
                  </a:lnTo>
                  <a:lnTo>
                    <a:pt x="7" y="9"/>
                  </a:lnTo>
                  <a:lnTo>
                    <a:pt x="7" y="9"/>
                  </a:lnTo>
                  <a:lnTo>
                    <a:pt x="5" y="7"/>
                  </a:lnTo>
                  <a:lnTo>
                    <a:pt x="5" y="2"/>
                  </a:lnTo>
                  <a:lnTo>
                    <a:pt x="5" y="2"/>
                  </a:lnTo>
                  <a:lnTo>
                    <a:pt x="1" y="0"/>
                  </a:lnTo>
                  <a:lnTo>
                    <a:pt x="1" y="0"/>
                  </a:lnTo>
                  <a:lnTo>
                    <a:pt x="1" y="0"/>
                  </a:lnTo>
                  <a:lnTo>
                    <a:pt x="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8" name="Freeform 191">
              <a:extLst>
                <a:ext uri="{FF2B5EF4-FFF2-40B4-BE49-F238E27FC236}">
                  <a16:creationId xmlns:a16="http://schemas.microsoft.com/office/drawing/2014/main" id="{2FC9CC59-C416-4925-862B-68F43A1A4321}"/>
                </a:ext>
              </a:extLst>
            </p:cNvPr>
            <p:cNvSpPr>
              <a:spLocks noEditPoints="1"/>
            </p:cNvSpPr>
            <p:nvPr/>
          </p:nvSpPr>
          <p:spPr bwMode="auto">
            <a:xfrm>
              <a:off x="5674" y="3224"/>
              <a:ext cx="185" cy="111"/>
            </a:xfrm>
            <a:custGeom>
              <a:avLst/>
              <a:gdLst/>
              <a:ahLst/>
              <a:cxnLst>
                <a:cxn ang="0">
                  <a:pos x="183" y="92"/>
                </a:cxn>
                <a:cxn ang="0">
                  <a:pos x="177" y="94"/>
                </a:cxn>
                <a:cxn ang="0">
                  <a:pos x="177" y="92"/>
                </a:cxn>
                <a:cxn ang="0">
                  <a:pos x="72" y="107"/>
                </a:cxn>
                <a:cxn ang="0">
                  <a:pos x="77" y="111"/>
                </a:cxn>
                <a:cxn ang="0">
                  <a:pos x="70" y="109"/>
                </a:cxn>
                <a:cxn ang="0">
                  <a:pos x="70" y="107"/>
                </a:cxn>
                <a:cxn ang="0">
                  <a:pos x="100" y="83"/>
                </a:cxn>
                <a:cxn ang="0">
                  <a:pos x="111" y="92"/>
                </a:cxn>
                <a:cxn ang="0">
                  <a:pos x="109" y="94"/>
                </a:cxn>
                <a:cxn ang="0">
                  <a:pos x="98" y="86"/>
                </a:cxn>
                <a:cxn ang="0">
                  <a:pos x="96" y="83"/>
                </a:cxn>
                <a:cxn ang="0">
                  <a:pos x="72" y="64"/>
                </a:cxn>
                <a:cxn ang="0">
                  <a:pos x="85" y="69"/>
                </a:cxn>
                <a:cxn ang="0">
                  <a:pos x="85" y="75"/>
                </a:cxn>
                <a:cxn ang="0">
                  <a:pos x="75" y="73"/>
                </a:cxn>
                <a:cxn ang="0">
                  <a:pos x="66" y="60"/>
                </a:cxn>
                <a:cxn ang="0">
                  <a:pos x="70" y="60"/>
                </a:cxn>
                <a:cxn ang="0">
                  <a:pos x="75" y="54"/>
                </a:cxn>
                <a:cxn ang="0">
                  <a:pos x="81" y="56"/>
                </a:cxn>
                <a:cxn ang="0">
                  <a:pos x="81" y="56"/>
                </a:cxn>
                <a:cxn ang="0">
                  <a:pos x="85" y="47"/>
                </a:cxn>
                <a:cxn ang="0">
                  <a:pos x="89" y="56"/>
                </a:cxn>
                <a:cxn ang="0">
                  <a:pos x="100" y="69"/>
                </a:cxn>
                <a:cxn ang="0">
                  <a:pos x="100" y="62"/>
                </a:cxn>
                <a:cxn ang="0">
                  <a:pos x="90" y="51"/>
                </a:cxn>
                <a:cxn ang="0">
                  <a:pos x="85" y="41"/>
                </a:cxn>
                <a:cxn ang="0">
                  <a:pos x="85" y="41"/>
                </a:cxn>
                <a:cxn ang="0">
                  <a:pos x="57" y="32"/>
                </a:cxn>
                <a:cxn ang="0">
                  <a:pos x="66" y="41"/>
                </a:cxn>
                <a:cxn ang="0">
                  <a:pos x="64" y="47"/>
                </a:cxn>
                <a:cxn ang="0">
                  <a:pos x="58" y="37"/>
                </a:cxn>
                <a:cxn ang="0">
                  <a:pos x="45" y="26"/>
                </a:cxn>
                <a:cxn ang="0">
                  <a:pos x="45" y="26"/>
                </a:cxn>
                <a:cxn ang="0">
                  <a:pos x="36" y="49"/>
                </a:cxn>
                <a:cxn ang="0">
                  <a:pos x="32" y="47"/>
                </a:cxn>
                <a:cxn ang="0">
                  <a:pos x="32" y="47"/>
                </a:cxn>
                <a:cxn ang="0">
                  <a:pos x="26" y="47"/>
                </a:cxn>
                <a:cxn ang="0">
                  <a:pos x="21" y="47"/>
                </a:cxn>
                <a:cxn ang="0">
                  <a:pos x="21" y="41"/>
                </a:cxn>
                <a:cxn ang="0">
                  <a:pos x="26" y="43"/>
                </a:cxn>
                <a:cxn ang="0">
                  <a:pos x="32" y="41"/>
                </a:cxn>
                <a:cxn ang="0">
                  <a:pos x="26" y="35"/>
                </a:cxn>
                <a:cxn ang="0">
                  <a:pos x="21" y="41"/>
                </a:cxn>
                <a:cxn ang="0">
                  <a:pos x="21" y="41"/>
                </a:cxn>
                <a:cxn ang="0">
                  <a:pos x="21" y="35"/>
                </a:cxn>
                <a:cxn ang="0">
                  <a:pos x="17" y="35"/>
                </a:cxn>
                <a:cxn ang="0">
                  <a:pos x="17" y="34"/>
                </a:cxn>
                <a:cxn ang="0">
                  <a:pos x="9" y="28"/>
                </a:cxn>
                <a:cxn ang="0">
                  <a:pos x="11" y="34"/>
                </a:cxn>
                <a:cxn ang="0">
                  <a:pos x="9" y="28"/>
                </a:cxn>
                <a:cxn ang="0">
                  <a:pos x="9" y="28"/>
                </a:cxn>
                <a:cxn ang="0">
                  <a:pos x="9" y="3"/>
                </a:cxn>
                <a:cxn ang="0">
                  <a:pos x="9" y="0"/>
                </a:cxn>
                <a:cxn ang="0">
                  <a:pos x="8" y="7"/>
                </a:cxn>
                <a:cxn ang="0">
                  <a:pos x="21" y="22"/>
                </a:cxn>
                <a:cxn ang="0">
                  <a:pos x="26" y="20"/>
                </a:cxn>
                <a:cxn ang="0">
                  <a:pos x="21" y="13"/>
                </a:cxn>
                <a:cxn ang="0">
                  <a:pos x="11" y="7"/>
                </a:cxn>
                <a:cxn ang="0">
                  <a:pos x="9" y="5"/>
                </a:cxn>
                <a:cxn ang="0">
                  <a:pos x="0" y="11"/>
                </a:cxn>
                <a:cxn ang="0">
                  <a:pos x="2" y="11"/>
                </a:cxn>
              </a:cxnLst>
              <a:rect l="0" t="0" r="r" b="b"/>
              <a:pathLst>
                <a:path w="185" h="111">
                  <a:moveTo>
                    <a:pt x="177" y="92"/>
                  </a:moveTo>
                  <a:lnTo>
                    <a:pt x="179" y="92"/>
                  </a:lnTo>
                  <a:lnTo>
                    <a:pt x="183" y="92"/>
                  </a:lnTo>
                  <a:lnTo>
                    <a:pt x="185" y="92"/>
                  </a:lnTo>
                  <a:lnTo>
                    <a:pt x="181" y="98"/>
                  </a:lnTo>
                  <a:lnTo>
                    <a:pt x="177" y="94"/>
                  </a:lnTo>
                  <a:lnTo>
                    <a:pt x="177" y="92"/>
                  </a:lnTo>
                  <a:lnTo>
                    <a:pt x="177" y="92"/>
                  </a:lnTo>
                  <a:lnTo>
                    <a:pt x="177" y="92"/>
                  </a:lnTo>
                  <a:lnTo>
                    <a:pt x="177" y="92"/>
                  </a:lnTo>
                  <a:close/>
                  <a:moveTo>
                    <a:pt x="70" y="107"/>
                  </a:moveTo>
                  <a:lnTo>
                    <a:pt x="72" y="107"/>
                  </a:lnTo>
                  <a:lnTo>
                    <a:pt x="75" y="109"/>
                  </a:lnTo>
                  <a:lnTo>
                    <a:pt x="79" y="111"/>
                  </a:lnTo>
                  <a:lnTo>
                    <a:pt x="77" y="111"/>
                  </a:lnTo>
                  <a:lnTo>
                    <a:pt x="75" y="111"/>
                  </a:lnTo>
                  <a:lnTo>
                    <a:pt x="72" y="111"/>
                  </a:lnTo>
                  <a:lnTo>
                    <a:pt x="70" y="109"/>
                  </a:lnTo>
                  <a:lnTo>
                    <a:pt x="70" y="107"/>
                  </a:lnTo>
                  <a:lnTo>
                    <a:pt x="70" y="107"/>
                  </a:lnTo>
                  <a:lnTo>
                    <a:pt x="70" y="107"/>
                  </a:lnTo>
                  <a:lnTo>
                    <a:pt x="70" y="107"/>
                  </a:lnTo>
                  <a:close/>
                  <a:moveTo>
                    <a:pt x="96" y="83"/>
                  </a:moveTo>
                  <a:lnTo>
                    <a:pt x="100" y="83"/>
                  </a:lnTo>
                  <a:lnTo>
                    <a:pt x="102" y="86"/>
                  </a:lnTo>
                  <a:lnTo>
                    <a:pt x="111" y="88"/>
                  </a:lnTo>
                  <a:lnTo>
                    <a:pt x="111" y="92"/>
                  </a:lnTo>
                  <a:lnTo>
                    <a:pt x="111" y="92"/>
                  </a:lnTo>
                  <a:lnTo>
                    <a:pt x="115" y="94"/>
                  </a:lnTo>
                  <a:lnTo>
                    <a:pt x="109" y="94"/>
                  </a:lnTo>
                  <a:lnTo>
                    <a:pt x="102" y="92"/>
                  </a:lnTo>
                  <a:lnTo>
                    <a:pt x="98" y="88"/>
                  </a:lnTo>
                  <a:lnTo>
                    <a:pt x="98" y="86"/>
                  </a:lnTo>
                  <a:lnTo>
                    <a:pt x="96" y="83"/>
                  </a:lnTo>
                  <a:lnTo>
                    <a:pt x="96" y="83"/>
                  </a:lnTo>
                  <a:lnTo>
                    <a:pt x="96" y="83"/>
                  </a:lnTo>
                  <a:lnTo>
                    <a:pt x="96" y="83"/>
                  </a:lnTo>
                  <a:close/>
                  <a:moveTo>
                    <a:pt x="70" y="60"/>
                  </a:moveTo>
                  <a:lnTo>
                    <a:pt x="72" y="64"/>
                  </a:lnTo>
                  <a:lnTo>
                    <a:pt x="75" y="64"/>
                  </a:lnTo>
                  <a:lnTo>
                    <a:pt x="81" y="66"/>
                  </a:lnTo>
                  <a:lnTo>
                    <a:pt x="85" y="69"/>
                  </a:lnTo>
                  <a:lnTo>
                    <a:pt x="87" y="69"/>
                  </a:lnTo>
                  <a:lnTo>
                    <a:pt x="87" y="71"/>
                  </a:lnTo>
                  <a:lnTo>
                    <a:pt x="85" y="75"/>
                  </a:lnTo>
                  <a:lnTo>
                    <a:pt x="81" y="75"/>
                  </a:lnTo>
                  <a:lnTo>
                    <a:pt x="79" y="71"/>
                  </a:lnTo>
                  <a:lnTo>
                    <a:pt x="75" y="73"/>
                  </a:lnTo>
                  <a:lnTo>
                    <a:pt x="72" y="71"/>
                  </a:lnTo>
                  <a:lnTo>
                    <a:pt x="66" y="66"/>
                  </a:lnTo>
                  <a:lnTo>
                    <a:pt x="66" y="60"/>
                  </a:lnTo>
                  <a:lnTo>
                    <a:pt x="70" y="60"/>
                  </a:lnTo>
                  <a:lnTo>
                    <a:pt x="70" y="60"/>
                  </a:lnTo>
                  <a:lnTo>
                    <a:pt x="70" y="60"/>
                  </a:lnTo>
                  <a:lnTo>
                    <a:pt x="70" y="60"/>
                  </a:lnTo>
                  <a:close/>
                  <a:moveTo>
                    <a:pt x="81" y="56"/>
                  </a:moveTo>
                  <a:lnTo>
                    <a:pt x="75" y="54"/>
                  </a:lnTo>
                  <a:lnTo>
                    <a:pt x="77" y="58"/>
                  </a:lnTo>
                  <a:lnTo>
                    <a:pt x="81" y="58"/>
                  </a:lnTo>
                  <a:lnTo>
                    <a:pt x="81" y="56"/>
                  </a:lnTo>
                  <a:lnTo>
                    <a:pt x="81" y="56"/>
                  </a:lnTo>
                  <a:lnTo>
                    <a:pt x="81" y="56"/>
                  </a:lnTo>
                  <a:lnTo>
                    <a:pt x="81" y="56"/>
                  </a:lnTo>
                  <a:close/>
                  <a:moveTo>
                    <a:pt x="85" y="41"/>
                  </a:moveTo>
                  <a:lnTo>
                    <a:pt x="85" y="43"/>
                  </a:lnTo>
                  <a:lnTo>
                    <a:pt x="85" y="47"/>
                  </a:lnTo>
                  <a:lnTo>
                    <a:pt x="85" y="47"/>
                  </a:lnTo>
                  <a:lnTo>
                    <a:pt x="87" y="51"/>
                  </a:lnTo>
                  <a:lnTo>
                    <a:pt x="89" y="56"/>
                  </a:lnTo>
                  <a:lnTo>
                    <a:pt x="96" y="64"/>
                  </a:lnTo>
                  <a:lnTo>
                    <a:pt x="100" y="66"/>
                  </a:lnTo>
                  <a:lnTo>
                    <a:pt x="100" y="69"/>
                  </a:lnTo>
                  <a:lnTo>
                    <a:pt x="102" y="69"/>
                  </a:lnTo>
                  <a:lnTo>
                    <a:pt x="102" y="66"/>
                  </a:lnTo>
                  <a:lnTo>
                    <a:pt x="100" y="62"/>
                  </a:lnTo>
                  <a:lnTo>
                    <a:pt x="96" y="60"/>
                  </a:lnTo>
                  <a:lnTo>
                    <a:pt x="94" y="56"/>
                  </a:lnTo>
                  <a:lnTo>
                    <a:pt x="90" y="51"/>
                  </a:lnTo>
                  <a:lnTo>
                    <a:pt x="90" y="47"/>
                  </a:lnTo>
                  <a:lnTo>
                    <a:pt x="87" y="41"/>
                  </a:lnTo>
                  <a:lnTo>
                    <a:pt x="85" y="41"/>
                  </a:lnTo>
                  <a:lnTo>
                    <a:pt x="85" y="41"/>
                  </a:lnTo>
                  <a:lnTo>
                    <a:pt x="85" y="41"/>
                  </a:lnTo>
                  <a:lnTo>
                    <a:pt x="85" y="41"/>
                  </a:lnTo>
                  <a:close/>
                  <a:moveTo>
                    <a:pt x="45" y="26"/>
                  </a:moveTo>
                  <a:lnTo>
                    <a:pt x="51" y="26"/>
                  </a:lnTo>
                  <a:lnTo>
                    <a:pt x="57" y="32"/>
                  </a:lnTo>
                  <a:lnTo>
                    <a:pt x="62" y="34"/>
                  </a:lnTo>
                  <a:lnTo>
                    <a:pt x="70" y="41"/>
                  </a:lnTo>
                  <a:lnTo>
                    <a:pt x="66" y="41"/>
                  </a:lnTo>
                  <a:lnTo>
                    <a:pt x="70" y="47"/>
                  </a:lnTo>
                  <a:lnTo>
                    <a:pt x="66" y="43"/>
                  </a:lnTo>
                  <a:lnTo>
                    <a:pt x="64" y="47"/>
                  </a:lnTo>
                  <a:lnTo>
                    <a:pt x="64" y="43"/>
                  </a:lnTo>
                  <a:lnTo>
                    <a:pt x="62" y="41"/>
                  </a:lnTo>
                  <a:lnTo>
                    <a:pt x="58" y="37"/>
                  </a:lnTo>
                  <a:lnTo>
                    <a:pt x="49" y="28"/>
                  </a:lnTo>
                  <a:lnTo>
                    <a:pt x="49" y="28"/>
                  </a:lnTo>
                  <a:lnTo>
                    <a:pt x="45" y="26"/>
                  </a:lnTo>
                  <a:lnTo>
                    <a:pt x="45" y="26"/>
                  </a:lnTo>
                  <a:lnTo>
                    <a:pt x="45" y="26"/>
                  </a:lnTo>
                  <a:lnTo>
                    <a:pt x="45" y="26"/>
                  </a:lnTo>
                  <a:close/>
                  <a:moveTo>
                    <a:pt x="32" y="47"/>
                  </a:moveTo>
                  <a:lnTo>
                    <a:pt x="40" y="47"/>
                  </a:lnTo>
                  <a:lnTo>
                    <a:pt x="36" y="49"/>
                  </a:lnTo>
                  <a:lnTo>
                    <a:pt x="36" y="51"/>
                  </a:lnTo>
                  <a:lnTo>
                    <a:pt x="32" y="47"/>
                  </a:lnTo>
                  <a:lnTo>
                    <a:pt x="32" y="47"/>
                  </a:lnTo>
                  <a:lnTo>
                    <a:pt x="32" y="47"/>
                  </a:lnTo>
                  <a:lnTo>
                    <a:pt x="32" y="47"/>
                  </a:lnTo>
                  <a:lnTo>
                    <a:pt x="32" y="47"/>
                  </a:lnTo>
                  <a:close/>
                  <a:moveTo>
                    <a:pt x="21" y="47"/>
                  </a:moveTo>
                  <a:lnTo>
                    <a:pt x="25" y="43"/>
                  </a:lnTo>
                  <a:lnTo>
                    <a:pt x="26" y="47"/>
                  </a:lnTo>
                  <a:lnTo>
                    <a:pt x="25" y="47"/>
                  </a:lnTo>
                  <a:lnTo>
                    <a:pt x="21" y="47"/>
                  </a:lnTo>
                  <a:lnTo>
                    <a:pt x="21" y="47"/>
                  </a:lnTo>
                  <a:lnTo>
                    <a:pt x="21" y="47"/>
                  </a:lnTo>
                  <a:lnTo>
                    <a:pt x="21" y="47"/>
                  </a:lnTo>
                  <a:close/>
                  <a:moveTo>
                    <a:pt x="21" y="41"/>
                  </a:moveTo>
                  <a:lnTo>
                    <a:pt x="25" y="41"/>
                  </a:lnTo>
                  <a:lnTo>
                    <a:pt x="26" y="41"/>
                  </a:lnTo>
                  <a:lnTo>
                    <a:pt x="26" y="43"/>
                  </a:lnTo>
                  <a:lnTo>
                    <a:pt x="30" y="47"/>
                  </a:lnTo>
                  <a:lnTo>
                    <a:pt x="32" y="47"/>
                  </a:lnTo>
                  <a:lnTo>
                    <a:pt x="32" y="41"/>
                  </a:lnTo>
                  <a:lnTo>
                    <a:pt x="30" y="37"/>
                  </a:lnTo>
                  <a:lnTo>
                    <a:pt x="30" y="37"/>
                  </a:lnTo>
                  <a:lnTo>
                    <a:pt x="26" y="35"/>
                  </a:lnTo>
                  <a:lnTo>
                    <a:pt x="26" y="35"/>
                  </a:lnTo>
                  <a:lnTo>
                    <a:pt x="25" y="37"/>
                  </a:lnTo>
                  <a:lnTo>
                    <a:pt x="21" y="41"/>
                  </a:lnTo>
                  <a:lnTo>
                    <a:pt x="21" y="41"/>
                  </a:lnTo>
                  <a:lnTo>
                    <a:pt x="21" y="41"/>
                  </a:lnTo>
                  <a:lnTo>
                    <a:pt x="21" y="41"/>
                  </a:lnTo>
                  <a:close/>
                  <a:moveTo>
                    <a:pt x="17" y="34"/>
                  </a:moveTo>
                  <a:lnTo>
                    <a:pt x="19" y="32"/>
                  </a:lnTo>
                  <a:lnTo>
                    <a:pt x="21" y="35"/>
                  </a:lnTo>
                  <a:lnTo>
                    <a:pt x="21" y="37"/>
                  </a:lnTo>
                  <a:lnTo>
                    <a:pt x="19" y="37"/>
                  </a:lnTo>
                  <a:lnTo>
                    <a:pt x="17" y="35"/>
                  </a:lnTo>
                  <a:lnTo>
                    <a:pt x="17" y="35"/>
                  </a:lnTo>
                  <a:lnTo>
                    <a:pt x="17" y="34"/>
                  </a:lnTo>
                  <a:lnTo>
                    <a:pt x="17" y="34"/>
                  </a:lnTo>
                  <a:lnTo>
                    <a:pt x="17" y="34"/>
                  </a:lnTo>
                  <a:lnTo>
                    <a:pt x="17" y="34"/>
                  </a:lnTo>
                  <a:close/>
                  <a:moveTo>
                    <a:pt x="9" y="28"/>
                  </a:moveTo>
                  <a:lnTo>
                    <a:pt x="15" y="32"/>
                  </a:lnTo>
                  <a:lnTo>
                    <a:pt x="13" y="34"/>
                  </a:lnTo>
                  <a:lnTo>
                    <a:pt x="11" y="34"/>
                  </a:lnTo>
                  <a:lnTo>
                    <a:pt x="11" y="34"/>
                  </a:lnTo>
                  <a:lnTo>
                    <a:pt x="9" y="28"/>
                  </a:lnTo>
                  <a:lnTo>
                    <a:pt x="9" y="28"/>
                  </a:lnTo>
                  <a:lnTo>
                    <a:pt x="9" y="28"/>
                  </a:lnTo>
                  <a:lnTo>
                    <a:pt x="9" y="28"/>
                  </a:lnTo>
                  <a:lnTo>
                    <a:pt x="9" y="28"/>
                  </a:lnTo>
                  <a:close/>
                  <a:moveTo>
                    <a:pt x="9" y="0"/>
                  </a:moveTo>
                  <a:lnTo>
                    <a:pt x="6" y="5"/>
                  </a:lnTo>
                  <a:lnTo>
                    <a:pt x="9" y="3"/>
                  </a:lnTo>
                  <a:lnTo>
                    <a:pt x="9" y="0"/>
                  </a:lnTo>
                  <a:lnTo>
                    <a:pt x="9" y="0"/>
                  </a:lnTo>
                  <a:lnTo>
                    <a:pt x="9" y="0"/>
                  </a:lnTo>
                  <a:lnTo>
                    <a:pt x="9" y="0"/>
                  </a:lnTo>
                  <a:close/>
                  <a:moveTo>
                    <a:pt x="9" y="5"/>
                  </a:moveTo>
                  <a:lnTo>
                    <a:pt x="8" y="7"/>
                  </a:lnTo>
                  <a:lnTo>
                    <a:pt x="11" y="13"/>
                  </a:lnTo>
                  <a:lnTo>
                    <a:pt x="17" y="17"/>
                  </a:lnTo>
                  <a:lnTo>
                    <a:pt x="21" y="22"/>
                  </a:lnTo>
                  <a:lnTo>
                    <a:pt x="26" y="22"/>
                  </a:lnTo>
                  <a:lnTo>
                    <a:pt x="30" y="22"/>
                  </a:lnTo>
                  <a:lnTo>
                    <a:pt x="26" y="20"/>
                  </a:lnTo>
                  <a:lnTo>
                    <a:pt x="25" y="17"/>
                  </a:lnTo>
                  <a:lnTo>
                    <a:pt x="21" y="15"/>
                  </a:lnTo>
                  <a:lnTo>
                    <a:pt x="21" y="13"/>
                  </a:lnTo>
                  <a:lnTo>
                    <a:pt x="19" y="11"/>
                  </a:lnTo>
                  <a:lnTo>
                    <a:pt x="13" y="9"/>
                  </a:lnTo>
                  <a:lnTo>
                    <a:pt x="11" y="7"/>
                  </a:lnTo>
                  <a:lnTo>
                    <a:pt x="9" y="5"/>
                  </a:lnTo>
                  <a:lnTo>
                    <a:pt x="9" y="5"/>
                  </a:lnTo>
                  <a:lnTo>
                    <a:pt x="9" y="5"/>
                  </a:lnTo>
                  <a:lnTo>
                    <a:pt x="9" y="5"/>
                  </a:lnTo>
                  <a:close/>
                  <a:moveTo>
                    <a:pt x="2" y="11"/>
                  </a:moveTo>
                  <a:lnTo>
                    <a:pt x="0" y="11"/>
                  </a:lnTo>
                  <a:lnTo>
                    <a:pt x="2" y="13"/>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9" name="Freeform 192">
              <a:extLst>
                <a:ext uri="{FF2B5EF4-FFF2-40B4-BE49-F238E27FC236}">
                  <a16:creationId xmlns:a16="http://schemas.microsoft.com/office/drawing/2014/main" id="{382AEB46-E432-4884-BC64-5DB466B6E800}"/>
                </a:ext>
              </a:extLst>
            </p:cNvPr>
            <p:cNvSpPr>
              <a:spLocks noEditPoints="1"/>
            </p:cNvSpPr>
            <p:nvPr/>
          </p:nvSpPr>
          <p:spPr bwMode="auto">
            <a:xfrm>
              <a:off x="5674" y="3224"/>
              <a:ext cx="185" cy="111"/>
            </a:xfrm>
            <a:custGeom>
              <a:avLst/>
              <a:gdLst/>
              <a:ahLst/>
              <a:cxnLst>
                <a:cxn ang="0">
                  <a:pos x="183" y="92"/>
                </a:cxn>
                <a:cxn ang="0">
                  <a:pos x="177" y="94"/>
                </a:cxn>
                <a:cxn ang="0">
                  <a:pos x="177" y="92"/>
                </a:cxn>
                <a:cxn ang="0">
                  <a:pos x="72" y="107"/>
                </a:cxn>
                <a:cxn ang="0">
                  <a:pos x="77" y="111"/>
                </a:cxn>
                <a:cxn ang="0">
                  <a:pos x="70" y="109"/>
                </a:cxn>
                <a:cxn ang="0">
                  <a:pos x="70" y="107"/>
                </a:cxn>
                <a:cxn ang="0">
                  <a:pos x="100" y="83"/>
                </a:cxn>
                <a:cxn ang="0">
                  <a:pos x="111" y="92"/>
                </a:cxn>
                <a:cxn ang="0">
                  <a:pos x="109" y="94"/>
                </a:cxn>
                <a:cxn ang="0">
                  <a:pos x="98" y="86"/>
                </a:cxn>
                <a:cxn ang="0">
                  <a:pos x="96" y="83"/>
                </a:cxn>
                <a:cxn ang="0">
                  <a:pos x="72" y="64"/>
                </a:cxn>
                <a:cxn ang="0">
                  <a:pos x="85" y="69"/>
                </a:cxn>
                <a:cxn ang="0">
                  <a:pos x="85" y="75"/>
                </a:cxn>
                <a:cxn ang="0">
                  <a:pos x="75" y="73"/>
                </a:cxn>
                <a:cxn ang="0">
                  <a:pos x="66" y="60"/>
                </a:cxn>
                <a:cxn ang="0">
                  <a:pos x="70" y="60"/>
                </a:cxn>
                <a:cxn ang="0">
                  <a:pos x="75" y="54"/>
                </a:cxn>
                <a:cxn ang="0">
                  <a:pos x="81" y="56"/>
                </a:cxn>
                <a:cxn ang="0">
                  <a:pos x="81" y="56"/>
                </a:cxn>
                <a:cxn ang="0">
                  <a:pos x="85" y="47"/>
                </a:cxn>
                <a:cxn ang="0">
                  <a:pos x="89" y="56"/>
                </a:cxn>
                <a:cxn ang="0">
                  <a:pos x="100" y="69"/>
                </a:cxn>
                <a:cxn ang="0">
                  <a:pos x="100" y="62"/>
                </a:cxn>
                <a:cxn ang="0">
                  <a:pos x="90" y="51"/>
                </a:cxn>
                <a:cxn ang="0">
                  <a:pos x="85" y="41"/>
                </a:cxn>
                <a:cxn ang="0">
                  <a:pos x="85" y="41"/>
                </a:cxn>
                <a:cxn ang="0">
                  <a:pos x="57" y="32"/>
                </a:cxn>
                <a:cxn ang="0">
                  <a:pos x="66" y="41"/>
                </a:cxn>
                <a:cxn ang="0">
                  <a:pos x="64" y="47"/>
                </a:cxn>
                <a:cxn ang="0">
                  <a:pos x="58" y="37"/>
                </a:cxn>
                <a:cxn ang="0">
                  <a:pos x="45" y="26"/>
                </a:cxn>
                <a:cxn ang="0">
                  <a:pos x="45" y="26"/>
                </a:cxn>
                <a:cxn ang="0">
                  <a:pos x="36" y="49"/>
                </a:cxn>
                <a:cxn ang="0">
                  <a:pos x="32" y="47"/>
                </a:cxn>
                <a:cxn ang="0">
                  <a:pos x="32" y="47"/>
                </a:cxn>
                <a:cxn ang="0">
                  <a:pos x="26" y="47"/>
                </a:cxn>
                <a:cxn ang="0">
                  <a:pos x="21" y="47"/>
                </a:cxn>
                <a:cxn ang="0">
                  <a:pos x="21" y="41"/>
                </a:cxn>
                <a:cxn ang="0">
                  <a:pos x="26" y="43"/>
                </a:cxn>
                <a:cxn ang="0">
                  <a:pos x="32" y="41"/>
                </a:cxn>
                <a:cxn ang="0">
                  <a:pos x="26" y="35"/>
                </a:cxn>
                <a:cxn ang="0">
                  <a:pos x="21" y="41"/>
                </a:cxn>
                <a:cxn ang="0">
                  <a:pos x="21" y="41"/>
                </a:cxn>
                <a:cxn ang="0">
                  <a:pos x="21" y="35"/>
                </a:cxn>
                <a:cxn ang="0">
                  <a:pos x="17" y="35"/>
                </a:cxn>
                <a:cxn ang="0">
                  <a:pos x="17" y="34"/>
                </a:cxn>
                <a:cxn ang="0">
                  <a:pos x="9" y="28"/>
                </a:cxn>
                <a:cxn ang="0">
                  <a:pos x="11" y="34"/>
                </a:cxn>
                <a:cxn ang="0">
                  <a:pos x="9" y="28"/>
                </a:cxn>
                <a:cxn ang="0">
                  <a:pos x="9" y="28"/>
                </a:cxn>
                <a:cxn ang="0">
                  <a:pos x="9" y="3"/>
                </a:cxn>
                <a:cxn ang="0">
                  <a:pos x="9" y="0"/>
                </a:cxn>
                <a:cxn ang="0">
                  <a:pos x="8" y="7"/>
                </a:cxn>
                <a:cxn ang="0">
                  <a:pos x="21" y="22"/>
                </a:cxn>
                <a:cxn ang="0">
                  <a:pos x="26" y="20"/>
                </a:cxn>
                <a:cxn ang="0">
                  <a:pos x="21" y="13"/>
                </a:cxn>
                <a:cxn ang="0">
                  <a:pos x="11" y="7"/>
                </a:cxn>
                <a:cxn ang="0">
                  <a:pos x="9" y="5"/>
                </a:cxn>
                <a:cxn ang="0">
                  <a:pos x="0" y="11"/>
                </a:cxn>
                <a:cxn ang="0">
                  <a:pos x="2" y="11"/>
                </a:cxn>
              </a:cxnLst>
              <a:rect l="0" t="0" r="r" b="b"/>
              <a:pathLst>
                <a:path w="185" h="111">
                  <a:moveTo>
                    <a:pt x="177" y="92"/>
                  </a:moveTo>
                  <a:lnTo>
                    <a:pt x="179" y="92"/>
                  </a:lnTo>
                  <a:lnTo>
                    <a:pt x="183" y="92"/>
                  </a:lnTo>
                  <a:lnTo>
                    <a:pt x="185" y="92"/>
                  </a:lnTo>
                  <a:lnTo>
                    <a:pt x="181" y="98"/>
                  </a:lnTo>
                  <a:lnTo>
                    <a:pt x="177" y="94"/>
                  </a:lnTo>
                  <a:lnTo>
                    <a:pt x="177" y="92"/>
                  </a:lnTo>
                  <a:lnTo>
                    <a:pt x="177" y="92"/>
                  </a:lnTo>
                  <a:lnTo>
                    <a:pt x="177" y="92"/>
                  </a:lnTo>
                  <a:lnTo>
                    <a:pt x="177" y="92"/>
                  </a:lnTo>
                  <a:close/>
                  <a:moveTo>
                    <a:pt x="70" y="107"/>
                  </a:moveTo>
                  <a:lnTo>
                    <a:pt x="72" y="107"/>
                  </a:lnTo>
                  <a:lnTo>
                    <a:pt x="75" y="109"/>
                  </a:lnTo>
                  <a:lnTo>
                    <a:pt x="79" y="111"/>
                  </a:lnTo>
                  <a:lnTo>
                    <a:pt x="77" y="111"/>
                  </a:lnTo>
                  <a:lnTo>
                    <a:pt x="75" y="111"/>
                  </a:lnTo>
                  <a:lnTo>
                    <a:pt x="72" y="111"/>
                  </a:lnTo>
                  <a:lnTo>
                    <a:pt x="70" y="109"/>
                  </a:lnTo>
                  <a:lnTo>
                    <a:pt x="70" y="107"/>
                  </a:lnTo>
                  <a:lnTo>
                    <a:pt x="70" y="107"/>
                  </a:lnTo>
                  <a:lnTo>
                    <a:pt x="70" y="107"/>
                  </a:lnTo>
                  <a:lnTo>
                    <a:pt x="70" y="107"/>
                  </a:lnTo>
                  <a:close/>
                  <a:moveTo>
                    <a:pt x="96" y="83"/>
                  </a:moveTo>
                  <a:lnTo>
                    <a:pt x="100" y="83"/>
                  </a:lnTo>
                  <a:lnTo>
                    <a:pt x="102" y="86"/>
                  </a:lnTo>
                  <a:lnTo>
                    <a:pt x="111" y="88"/>
                  </a:lnTo>
                  <a:lnTo>
                    <a:pt x="111" y="92"/>
                  </a:lnTo>
                  <a:lnTo>
                    <a:pt x="111" y="92"/>
                  </a:lnTo>
                  <a:lnTo>
                    <a:pt x="115" y="94"/>
                  </a:lnTo>
                  <a:lnTo>
                    <a:pt x="109" y="94"/>
                  </a:lnTo>
                  <a:lnTo>
                    <a:pt x="102" y="92"/>
                  </a:lnTo>
                  <a:lnTo>
                    <a:pt x="98" y="88"/>
                  </a:lnTo>
                  <a:lnTo>
                    <a:pt x="98" y="86"/>
                  </a:lnTo>
                  <a:lnTo>
                    <a:pt x="96" y="83"/>
                  </a:lnTo>
                  <a:lnTo>
                    <a:pt x="96" y="83"/>
                  </a:lnTo>
                  <a:lnTo>
                    <a:pt x="96" y="83"/>
                  </a:lnTo>
                  <a:lnTo>
                    <a:pt x="96" y="83"/>
                  </a:lnTo>
                  <a:close/>
                  <a:moveTo>
                    <a:pt x="70" y="60"/>
                  </a:moveTo>
                  <a:lnTo>
                    <a:pt x="72" y="64"/>
                  </a:lnTo>
                  <a:lnTo>
                    <a:pt x="75" y="64"/>
                  </a:lnTo>
                  <a:lnTo>
                    <a:pt x="81" y="66"/>
                  </a:lnTo>
                  <a:lnTo>
                    <a:pt x="85" y="69"/>
                  </a:lnTo>
                  <a:lnTo>
                    <a:pt x="87" y="69"/>
                  </a:lnTo>
                  <a:lnTo>
                    <a:pt x="87" y="71"/>
                  </a:lnTo>
                  <a:lnTo>
                    <a:pt x="85" y="75"/>
                  </a:lnTo>
                  <a:lnTo>
                    <a:pt x="81" y="75"/>
                  </a:lnTo>
                  <a:lnTo>
                    <a:pt x="79" y="71"/>
                  </a:lnTo>
                  <a:lnTo>
                    <a:pt x="75" y="73"/>
                  </a:lnTo>
                  <a:lnTo>
                    <a:pt x="72" y="71"/>
                  </a:lnTo>
                  <a:lnTo>
                    <a:pt x="66" y="66"/>
                  </a:lnTo>
                  <a:lnTo>
                    <a:pt x="66" y="60"/>
                  </a:lnTo>
                  <a:lnTo>
                    <a:pt x="70" y="60"/>
                  </a:lnTo>
                  <a:lnTo>
                    <a:pt x="70" y="60"/>
                  </a:lnTo>
                  <a:lnTo>
                    <a:pt x="70" y="60"/>
                  </a:lnTo>
                  <a:lnTo>
                    <a:pt x="70" y="60"/>
                  </a:lnTo>
                  <a:close/>
                  <a:moveTo>
                    <a:pt x="81" y="56"/>
                  </a:moveTo>
                  <a:lnTo>
                    <a:pt x="75" y="54"/>
                  </a:lnTo>
                  <a:lnTo>
                    <a:pt x="77" y="58"/>
                  </a:lnTo>
                  <a:lnTo>
                    <a:pt x="81" y="58"/>
                  </a:lnTo>
                  <a:lnTo>
                    <a:pt x="81" y="56"/>
                  </a:lnTo>
                  <a:lnTo>
                    <a:pt x="81" y="56"/>
                  </a:lnTo>
                  <a:lnTo>
                    <a:pt x="81" y="56"/>
                  </a:lnTo>
                  <a:lnTo>
                    <a:pt x="81" y="56"/>
                  </a:lnTo>
                  <a:close/>
                  <a:moveTo>
                    <a:pt x="85" y="41"/>
                  </a:moveTo>
                  <a:lnTo>
                    <a:pt x="85" y="43"/>
                  </a:lnTo>
                  <a:lnTo>
                    <a:pt x="85" y="47"/>
                  </a:lnTo>
                  <a:lnTo>
                    <a:pt x="85" y="47"/>
                  </a:lnTo>
                  <a:lnTo>
                    <a:pt x="87" y="51"/>
                  </a:lnTo>
                  <a:lnTo>
                    <a:pt x="89" y="56"/>
                  </a:lnTo>
                  <a:lnTo>
                    <a:pt x="96" y="64"/>
                  </a:lnTo>
                  <a:lnTo>
                    <a:pt x="100" y="66"/>
                  </a:lnTo>
                  <a:lnTo>
                    <a:pt x="100" y="69"/>
                  </a:lnTo>
                  <a:lnTo>
                    <a:pt x="102" y="69"/>
                  </a:lnTo>
                  <a:lnTo>
                    <a:pt x="102" y="66"/>
                  </a:lnTo>
                  <a:lnTo>
                    <a:pt x="100" y="62"/>
                  </a:lnTo>
                  <a:lnTo>
                    <a:pt x="96" y="60"/>
                  </a:lnTo>
                  <a:lnTo>
                    <a:pt x="94" y="56"/>
                  </a:lnTo>
                  <a:lnTo>
                    <a:pt x="90" y="51"/>
                  </a:lnTo>
                  <a:lnTo>
                    <a:pt x="90" y="47"/>
                  </a:lnTo>
                  <a:lnTo>
                    <a:pt x="87" y="41"/>
                  </a:lnTo>
                  <a:lnTo>
                    <a:pt x="85" y="41"/>
                  </a:lnTo>
                  <a:lnTo>
                    <a:pt x="85" y="41"/>
                  </a:lnTo>
                  <a:lnTo>
                    <a:pt x="85" y="41"/>
                  </a:lnTo>
                  <a:lnTo>
                    <a:pt x="85" y="41"/>
                  </a:lnTo>
                  <a:close/>
                  <a:moveTo>
                    <a:pt x="45" y="26"/>
                  </a:moveTo>
                  <a:lnTo>
                    <a:pt x="51" y="26"/>
                  </a:lnTo>
                  <a:lnTo>
                    <a:pt x="57" y="32"/>
                  </a:lnTo>
                  <a:lnTo>
                    <a:pt x="62" y="34"/>
                  </a:lnTo>
                  <a:lnTo>
                    <a:pt x="70" y="41"/>
                  </a:lnTo>
                  <a:lnTo>
                    <a:pt x="66" y="41"/>
                  </a:lnTo>
                  <a:lnTo>
                    <a:pt x="70" y="47"/>
                  </a:lnTo>
                  <a:lnTo>
                    <a:pt x="66" y="43"/>
                  </a:lnTo>
                  <a:lnTo>
                    <a:pt x="64" y="47"/>
                  </a:lnTo>
                  <a:lnTo>
                    <a:pt x="64" y="43"/>
                  </a:lnTo>
                  <a:lnTo>
                    <a:pt x="62" y="41"/>
                  </a:lnTo>
                  <a:lnTo>
                    <a:pt x="58" y="37"/>
                  </a:lnTo>
                  <a:lnTo>
                    <a:pt x="49" y="28"/>
                  </a:lnTo>
                  <a:lnTo>
                    <a:pt x="49" y="28"/>
                  </a:lnTo>
                  <a:lnTo>
                    <a:pt x="45" y="26"/>
                  </a:lnTo>
                  <a:lnTo>
                    <a:pt x="45" y="26"/>
                  </a:lnTo>
                  <a:lnTo>
                    <a:pt x="45" y="26"/>
                  </a:lnTo>
                  <a:lnTo>
                    <a:pt x="45" y="26"/>
                  </a:lnTo>
                  <a:close/>
                  <a:moveTo>
                    <a:pt x="32" y="47"/>
                  </a:moveTo>
                  <a:lnTo>
                    <a:pt x="40" y="47"/>
                  </a:lnTo>
                  <a:lnTo>
                    <a:pt x="36" y="49"/>
                  </a:lnTo>
                  <a:lnTo>
                    <a:pt x="36" y="51"/>
                  </a:lnTo>
                  <a:lnTo>
                    <a:pt x="32" y="47"/>
                  </a:lnTo>
                  <a:lnTo>
                    <a:pt x="32" y="47"/>
                  </a:lnTo>
                  <a:lnTo>
                    <a:pt x="32" y="47"/>
                  </a:lnTo>
                  <a:lnTo>
                    <a:pt x="32" y="47"/>
                  </a:lnTo>
                  <a:lnTo>
                    <a:pt x="32" y="47"/>
                  </a:lnTo>
                  <a:close/>
                  <a:moveTo>
                    <a:pt x="21" y="47"/>
                  </a:moveTo>
                  <a:lnTo>
                    <a:pt x="25" y="43"/>
                  </a:lnTo>
                  <a:lnTo>
                    <a:pt x="26" y="47"/>
                  </a:lnTo>
                  <a:lnTo>
                    <a:pt x="25" y="47"/>
                  </a:lnTo>
                  <a:lnTo>
                    <a:pt x="21" y="47"/>
                  </a:lnTo>
                  <a:lnTo>
                    <a:pt x="21" y="47"/>
                  </a:lnTo>
                  <a:lnTo>
                    <a:pt x="21" y="47"/>
                  </a:lnTo>
                  <a:lnTo>
                    <a:pt x="21" y="47"/>
                  </a:lnTo>
                  <a:close/>
                  <a:moveTo>
                    <a:pt x="21" y="41"/>
                  </a:moveTo>
                  <a:lnTo>
                    <a:pt x="25" y="41"/>
                  </a:lnTo>
                  <a:lnTo>
                    <a:pt x="26" y="41"/>
                  </a:lnTo>
                  <a:lnTo>
                    <a:pt x="26" y="43"/>
                  </a:lnTo>
                  <a:lnTo>
                    <a:pt x="30" y="47"/>
                  </a:lnTo>
                  <a:lnTo>
                    <a:pt x="32" y="47"/>
                  </a:lnTo>
                  <a:lnTo>
                    <a:pt x="32" y="41"/>
                  </a:lnTo>
                  <a:lnTo>
                    <a:pt x="30" y="37"/>
                  </a:lnTo>
                  <a:lnTo>
                    <a:pt x="30" y="37"/>
                  </a:lnTo>
                  <a:lnTo>
                    <a:pt x="26" y="35"/>
                  </a:lnTo>
                  <a:lnTo>
                    <a:pt x="26" y="35"/>
                  </a:lnTo>
                  <a:lnTo>
                    <a:pt x="25" y="37"/>
                  </a:lnTo>
                  <a:lnTo>
                    <a:pt x="21" y="41"/>
                  </a:lnTo>
                  <a:lnTo>
                    <a:pt x="21" y="41"/>
                  </a:lnTo>
                  <a:lnTo>
                    <a:pt x="21" y="41"/>
                  </a:lnTo>
                  <a:lnTo>
                    <a:pt x="21" y="41"/>
                  </a:lnTo>
                  <a:close/>
                  <a:moveTo>
                    <a:pt x="17" y="34"/>
                  </a:moveTo>
                  <a:lnTo>
                    <a:pt x="19" y="32"/>
                  </a:lnTo>
                  <a:lnTo>
                    <a:pt x="21" y="35"/>
                  </a:lnTo>
                  <a:lnTo>
                    <a:pt x="21" y="37"/>
                  </a:lnTo>
                  <a:lnTo>
                    <a:pt x="19" y="37"/>
                  </a:lnTo>
                  <a:lnTo>
                    <a:pt x="17" y="35"/>
                  </a:lnTo>
                  <a:lnTo>
                    <a:pt x="17" y="35"/>
                  </a:lnTo>
                  <a:lnTo>
                    <a:pt x="17" y="34"/>
                  </a:lnTo>
                  <a:lnTo>
                    <a:pt x="17" y="34"/>
                  </a:lnTo>
                  <a:lnTo>
                    <a:pt x="17" y="34"/>
                  </a:lnTo>
                  <a:lnTo>
                    <a:pt x="17" y="34"/>
                  </a:lnTo>
                  <a:close/>
                  <a:moveTo>
                    <a:pt x="9" y="28"/>
                  </a:moveTo>
                  <a:lnTo>
                    <a:pt x="15" y="32"/>
                  </a:lnTo>
                  <a:lnTo>
                    <a:pt x="13" y="34"/>
                  </a:lnTo>
                  <a:lnTo>
                    <a:pt x="11" y="34"/>
                  </a:lnTo>
                  <a:lnTo>
                    <a:pt x="11" y="34"/>
                  </a:lnTo>
                  <a:lnTo>
                    <a:pt x="9" y="28"/>
                  </a:lnTo>
                  <a:lnTo>
                    <a:pt x="9" y="28"/>
                  </a:lnTo>
                  <a:lnTo>
                    <a:pt x="9" y="28"/>
                  </a:lnTo>
                  <a:lnTo>
                    <a:pt x="9" y="28"/>
                  </a:lnTo>
                  <a:lnTo>
                    <a:pt x="9" y="28"/>
                  </a:lnTo>
                  <a:close/>
                  <a:moveTo>
                    <a:pt x="9" y="0"/>
                  </a:moveTo>
                  <a:lnTo>
                    <a:pt x="6" y="5"/>
                  </a:lnTo>
                  <a:lnTo>
                    <a:pt x="9" y="3"/>
                  </a:lnTo>
                  <a:lnTo>
                    <a:pt x="9" y="0"/>
                  </a:lnTo>
                  <a:lnTo>
                    <a:pt x="9" y="0"/>
                  </a:lnTo>
                  <a:lnTo>
                    <a:pt x="9" y="0"/>
                  </a:lnTo>
                  <a:lnTo>
                    <a:pt x="9" y="0"/>
                  </a:lnTo>
                  <a:close/>
                  <a:moveTo>
                    <a:pt x="9" y="5"/>
                  </a:moveTo>
                  <a:lnTo>
                    <a:pt x="8" y="7"/>
                  </a:lnTo>
                  <a:lnTo>
                    <a:pt x="11" y="13"/>
                  </a:lnTo>
                  <a:lnTo>
                    <a:pt x="17" y="17"/>
                  </a:lnTo>
                  <a:lnTo>
                    <a:pt x="21" y="22"/>
                  </a:lnTo>
                  <a:lnTo>
                    <a:pt x="26" y="22"/>
                  </a:lnTo>
                  <a:lnTo>
                    <a:pt x="30" y="22"/>
                  </a:lnTo>
                  <a:lnTo>
                    <a:pt x="26" y="20"/>
                  </a:lnTo>
                  <a:lnTo>
                    <a:pt x="25" y="17"/>
                  </a:lnTo>
                  <a:lnTo>
                    <a:pt x="21" y="15"/>
                  </a:lnTo>
                  <a:lnTo>
                    <a:pt x="21" y="13"/>
                  </a:lnTo>
                  <a:lnTo>
                    <a:pt x="19" y="11"/>
                  </a:lnTo>
                  <a:lnTo>
                    <a:pt x="13" y="9"/>
                  </a:lnTo>
                  <a:lnTo>
                    <a:pt x="11" y="7"/>
                  </a:lnTo>
                  <a:lnTo>
                    <a:pt x="9" y="5"/>
                  </a:lnTo>
                  <a:lnTo>
                    <a:pt x="9" y="5"/>
                  </a:lnTo>
                  <a:lnTo>
                    <a:pt x="9" y="5"/>
                  </a:lnTo>
                  <a:lnTo>
                    <a:pt x="9" y="5"/>
                  </a:lnTo>
                  <a:close/>
                  <a:moveTo>
                    <a:pt x="2" y="11"/>
                  </a:moveTo>
                  <a:lnTo>
                    <a:pt x="0" y="11"/>
                  </a:lnTo>
                  <a:lnTo>
                    <a:pt x="2" y="13"/>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0" name="Freeform 193">
              <a:extLst>
                <a:ext uri="{FF2B5EF4-FFF2-40B4-BE49-F238E27FC236}">
                  <a16:creationId xmlns:a16="http://schemas.microsoft.com/office/drawing/2014/main" id="{DB900704-1148-4A09-9C7E-509EEDBEBEEA}"/>
                </a:ext>
              </a:extLst>
            </p:cNvPr>
            <p:cNvSpPr>
              <a:spLocks noEditPoints="1"/>
            </p:cNvSpPr>
            <p:nvPr/>
          </p:nvSpPr>
          <p:spPr bwMode="auto">
            <a:xfrm>
              <a:off x="5395" y="3129"/>
              <a:ext cx="279" cy="202"/>
            </a:xfrm>
            <a:custGeom>
              <a:avLst/>
              <a:gdLst/>
              <a:ahLst/>
              <a:cxnLst>
                <a:cxn ang="0">
                  <a:pos x="238" y="196"/>
                </a:cxn>
                <a:cxn ang="0">
                  <a:pos x="223" y="196"/>
                </a:cxn>
                <a:cxn ang="0">
                  <a:pos x="117" y="19"/>
                </a:cxn>
                <a:cxn ang="0">
                  <a:pos x="262" y="81"/>
                </a:cxn>
                <a:cxn ang="0">
                  <a:pos x="270" y="108"/>
                </a:cxn>
                <a:cxn ang="0">
                  <a:pos x="256" y="81"/>
                </a:cxn>
                <a:cxn ang="0">
                  <a:pos x="253" y="72"/>
                </a:cxn>
                <a:cxn ang="0">
                  <a:pos x="247" y="65"/>
                </a:cxn>
                <a:cxn ang="0">
                  <a:pos x="224" y="51"/>
                </a:cxn>
                <a:cxn ang="0">
                  <a:pos x="211" y="44"/>
                </a:cxn>
                <a:cxn ang="0">
                  <a:pos x="162" y="0"/>
                </a:cxn>
                <a:cxn ang="0">
                  <a:pos x="177" y="27"/>
                </a:cxn>
                <a:cxn ang="0">
                  <a:pos x="176" y="72"/>
                </a:cxn>
                <a:cxn ang="0">
                  <a:pos x="144" y="89"/>
                </a:cxn>
                <a:cxn ang="0">
                  <a:pos x="183" y="97"/>
                </a:cxn>
                <a:cxn ang="0">
                  <a:pos x="211" y="80"/>
                </a:cxn>
                <a:cxn ang="0">
                  <a:pos x="206" y="59"/>
                </a:cxn>
                <a:cxn ang="0">
                  <a:pos x="183" y="83"/>
                </a:cxn>
                <a:cxn ang="0">
                  <a:pos x="166" y="80"/>
                </a:cxn>
                <a:cxn ang="0">
                  <a:pos x="140" y="81"/>
                </a:cxn>
                <a:cxn ang="0">
                  <a:pos x="125" y="83"/>
                </a:cxn>
                <a:cxn ang="0">
                  <a:pos x="115" y="78"/>
                </a:cxn>
                <a:cxn ang="0">
                  <a:pos x="213" y="151"/>
                </a:cxn>
                <a:cxn ang="0">
                  <a:pos x="187" y="138"/>
                </a:cxn>
                <a:cxn ang="0">
                  <a:pos x="187" y="138"/>
                </a:cxn>
                <a:cxn ang="0">
                  <a:pos x="189" y="168"/>
                </a:cxn>
                <a:cxn ang="0">
                  <a:pos x="179" y="164"/>
                </a:cxn>
                <a:cxn ang="0">
                  <a:pos x="181" y="161"/>
                </a:cxn>
                <a:cxn ang="0">
                  <a:pos x="170" y="157"/>
                </a:cxn>
                <a:cxn ang="0">
                  <a:pos x="168" y="157"/>
                </a:cxn>
                <a:cxn ang="0">
                  <a:pos x="68" y="125"/>
                </a:cxn>
                <a:cxn ang="0">
                  <a:pos x="63" y="125"/>
                </a:cxn>
                <a:cxn ang="0">
                  <a:pos x="68" y="127"/>
                </a:cxn>
                <a:cxn ang="0">
                  <a:pos x="55" y="127"/>
                </a:cxn>
                <a:cxn ang="0">
                  <a:pos x="46" y="142"/>
                </a:cxn>
                <a:cxn ang="0">
                  <a:pos x="44" y="140"/>
                </a:cxn>
                <a:cxn ang="0">
                  <a:pos x="42" y="142"/>
                </a:cxn>
                <a:cxn ang="0">
                  <a:pos x="51" y="132"/>
                </a:cxn>
                <a:cxn ang="0">
                  <a:pos x="51" y="132"/>
                </a:cxn>
                <a:cxn ang="0">
                  <a:pos x="21" y="153"/>
                </a:cxn>
                <a:cxn ang="0">
                  <a:pos x="44" y="146"/>
                </a:cxn>
                <a:cxn ang="0">
                  <a:pos x="14" y="125"/>
                </a:cxn>
                <a:cxn ang="0">
                  <a:pos x="27" y="136"/>
                </a:cxn>
                <a:cxn ang="0">
                  <a:pos x="42" y="130"/>
                </a:cxn>
                <a:cxn ang="0">
                  <a:pos x="51" y="123"/>
                </a:cxn>
                <a:cxn ang="0">
                  <a:pos x="61" y="127"/>
                </a:cxn>
                <a:cxn ang="0">
                  <a:pos x="76" y="125"/>
                </a:cxn>
                <a:cxn ang="0">
                  <a:pos x="104" y="149"/>
                </a:cxn>
                <a:cxn ang="0">
                  <a:pos x="132" y="172"/>
                </a:cxn>
                <a:cxn ang="0">
                  <a:pos x="166" y="179"/>
                </a:cxn>
                <a:cxn ang="0">
                  <a:pos x="177" y="176"/>
                </a:cxn>
                <a:cxn ang="0">
                  <a:pos x="159" y="162"/>
                </a:cxn>
                <a:cxn ang="0">
                  <a:pos x="144" y="151"/>
                </a:cxn>
                <a:cxn ang="0">
                  <a:pos x="117" y="119"/>
                </a:cxn>
                <a:cxn ang="0">
                  <a:pos x="119" y="91"/>
                </a:cxn>
                <a:cxn ang="0">
                  <a:pos x="89" y="68"/>
                </a:cxn>
                <a:cxn ang="0">
                  <a:pos x="63" y="51"/>
                </a:cxn>
                <a:cxn ang="0">
                  <a:pos x="19" y="34"/>
                </a:cxn>
              </a:cxnLst>
              <a:rect l="0" t="0" r="r" b="b"/>
              <a:pathLst>
                <a:path w="279" h="202">
                  <a:moveTo>
                    <a:pt x="238" y="196"/>
                  </a:moveTo>
                  <a:lnTo>
                    <a:pt x="241" y="194"/>
                  </a:lnTo>
                  <a:lnTo>
                    <a:pt x="245" y="194"/>
                  </a:lnTo>
                  <a:lnTo>
                    <a:pt x="245" y="198"/>
                  </a:lnTo>
                  <a:lnTo>
                    <a:pt x="241" y="198"/>
                  </a:lnTo>
                  <a:lnTo>
                    <a:pt x="238" y="198"/>
                  </a:lnTo>
                  <a:lnTo>
                    <a:pt x="238" y="196"/>
                  </a:lnTo>
                  <a:lnTo>
                    <a:pt x="238" y="196"/>
                  </a:lnTo>
                  <a:lnTo>
                    <a:pt x="238" y="196"/>
                  </a:lnTo>
                  <a:lnTo>
                    <a:pt x="238" y="196"/>
                  </a:lnTo>
                  <a:close/>
                  <a:moveTo>
                    <a:pt x="223" y="196"/>
                  </a:moveTo>
                  <a:lnTo>
                    <a:pt x="228" y="202"/>
                  </a:lnTo>
                  <a:lnTo>
                    <a:pt x="230" y="202"/>
                  </a:lnTo>
                  <a:lnTo>
                    <a:pt x="232" y="202"/>
                  </a:lnTo>
                  <a:lnTo>
                    <a:pt x="232" y="202"/>
                  </a:lnTo>
                  <a:lnTo>
                    <a:pt x="232" y="200"/>
                  </a:lnTo>
                  <a:lnTo>
                    <a:pt x="230" y="200"/>
                  </a:lnTo>
                  <a:lnTo>
                    <a:pt x="226" y="196"/>
                  </a:lnTo>
                  <a:lnTo>
                    <a:pt x="223" y="196"/>
                  </a:lnTo>
                  <a:lnTo>
                    <a:pt x="223" y="196"/>
                  </a:lnTo>
                  <a:lnTo>
                    <a:pt x="223" y="196"/>
                  </a:lnTo>
                  <a:lnTo>
                    <a:pt x="223" y="196"/>
                  </a:lnTo>
                  <a:close/>
                  <a:moveTo>
                    <a:pt x="108" y="16"/>
                  </a:moveTo>
                  <a:lnTo>
                    <a:pt x="108" y="14"/>
                  </a:lnTo>
                  <a:lnTo>
                    <a:pt x="113" y="14"/>
                  </a:lnTo>
                  <a:lnTo>
                    <a:pt x="115" y="14"/>
                  </a:lnTo>
                  <a:lnTo>
                    <a:pt x="117" y="16"/>
                  </a:lnTo>
                  <a:lnTo>
                    <a:pt x="119" y="14"/>
                  </a:lnTo>
                  <a:lnTo>
                    <a:pt x="123" y="16"/>
                  </a:lnTo>
                  <a:lnTo>
                    <a:pt x="117" y="19"/>
                  </a:lnTo>
                  <a:lnTo>
                    <a:pt x="113" y="19"/>
                  </a:lnTo>
                  <a:lnTo>
                    <a:pt x="113" y="19"/>
                  </a:lnTo>
                  <a:lnTo>
                    <a:pt x="108" y="19"/>
                  </a:lnTo>
                  <a:lnTo>
                    <a:pt x="108" y="19"/>
                  </a:lnTo>
                  <a:lnTo>
                    <a:pt x="108" y="16"/>
                  </a:lnTo>
                  <a:lnTo>
                    <a:pt x="108" y="16"/>
                  </a:lnTo>
                  <a:lnTo>
                    <a:pt x="108" y="16"/>
                  </a:lnTo>
                  <a:lnTo>
                    <a:pt x="108" y="16"/>
                  </a:lnTo>
                  <a:close/>
                  <a:moveTo>
                    <a:pt x="256" y="81"/>
                  </a:moveTo>
                  <a:lnTo>
                    <a:pt x="262" y="81"/>
                  </a:lnTo>
                  <a:lnTo>
                    <a:pt x="262" y="83"/>
                  </a:lnTo>
                  <a:lnTo>
                    <a:pt x="266" y="89"/>
                  </a:lnTo>
                  <a:lnTo>
                    <a:pt x="270" y="89"/>
                  </a:lnTo>
                  <a:lnTo>
                    <a:pt x="275" y="95"/>
                  </a:lnTo>
                  <a:lnTo>
                    <a:pt x="279" y="100"/>
                  </a:lnTo>
                  <a:lnTo>
                    <a:pt x="279" y="106"/>
                  </a:lnTo>
                  <a:lnTo>
                    <a:pt x="275" y="106"/>
                  </a:lnTo>
                  <a:lnTo>
                    <a:pt x="275" y="108"/>
                  </a:lnTo>
                  <a:lnTo>
                    <a:pt x="270" y="108"/>
                  </a:lnTo>
                  <a:lnTo>
                    <a:pt x="270" y="108"/>
                  </a:lnTo>
                  <a:lnTo>
                    <a:pt x="266" y="108"/>
                  </a:lnTo>
                  <a:lnTo>
                    <a:pt x="262" y="104"/>
                  </a:lnTo>
                  <a:lnTo>
                    <a:pt x="266" y="102"/>
                  </a:lnTo>
                  <a:lnTo>
                    <a:pt x="262" y="95"/>
                  </a:lnTo>
                  <a:lnTo>
                    <a:pt x="256" y="93"/>
                  </a:lnTo>
                  <a:lnTo>
                    <a:pt x="256" y="87"/>
                  </a:lnTo>
                  <a:lnTo>
                    <a:pt x="256" y="83"/>
                  </a:lnTo>
                  <a:lnTo>
                    <a:pt x="256" y="81"/>
                  </a:lnTo>
                  <a:lnTo>
                    <a:pt x="256" y="81"/>
                  </a:lnTo>
                  <a:lnTo>
                    <a:pt x="256" y="81"/>
                  </a:lnTo>
                  <a:lnTo>
                    <a:pt x="256" y="81"/>
                  </a:lnTo>
                  <a:close/>
                  <a:moveTo>
                    <a:pt x="253" y="72"/>
                  </a:moveTo>
                  <a:lnTo>
                    <a:pt x="253" y="74"/>
                  </a:lnTo>
                  <a:lnTo>
                    <a:pt x="255" y="78"/>
                  </a:lnTo>
                  <a:lnTo>
                    <a:pt x="255" y="81"/>
                  </a:lnTo>
                  <a:lnTo>
                    <a:pt x="256" y="78"/>
                  </a:lnTo>
                  <a:lnTo>
                    <a:pt x="256" y="74"/>
                  </a:lnTo>
                  <a:lnTo>
                    <a:pt x="253" y="72"/>
                  </a:lnTo>
                  <a:lnTo>
                    <a:pt x="253" y="72"/>
                  </a:lnTo>
                  <a:lnTo>
                    <a:pt x="253" y="72"/>
                  </a:lnTo>
                  <a:lnTo>
                    <a:pt x="253" y="72"/>
                  </a:lnTo>
                  <a:close/>
                  <a:moveTo>
                    <a:pt x="247" y="65"/>
                  </a:moveTo>
                  <a:lnTo>
                    <a:pt x="249" y="63"/>
                  </a:lnTo>
                  <a:lnTo>
                    <a:pt x="251" y="63"/>
                  </a:lnTo>
                  <a:lnTo>
                    <a:pt x="253" y="63"/>
                  </a:lnTo>
                  <a:lnTo>
                    <a:pt x="251" y="68"/>
                  </a:lnTo>
                  <a:lnTo>
                    <a:pt x="247" y="68"/>
                  </a:lnTo>
                  <a:lnTo>
                    <a:pt x="247" y="65"/>
                  </a:lnTo>
                  <a:lnTo>
                    <a:pt x="247" y="65"/>
                  </a:lnTo>
                  <a:lnTo>
                    <a:pt x="247" y="65"/>
                  </a:lnTo>
                  <a:lnTo>
                    <a:pt x="247" y="65"/>
                  </a:lnTo>
                  <a:close/>
                  <a:moveTo>
                    <a:pt x="187" y="27"/>
                  </a:moveTo>
                  <a:lnTo>
                    <a:pt x="192" y="31"/>
                  </a:lnTo>
                  <a:lnTo>
                    <a:pt x="200" y="34"/>
                  </a:lnTo>
                  <a:lnTo>
                    <a:pt x="208" y="38"/>
                  </a:lnTo>
                  <a:lnTo>
                    <a:pt x="211" y="40"/>
                  </a:lnTo>
                  <a:lnTo>
                    <a:pt x="213" y="44"/>
                  </a:lnTo>
                  <a:lnTo>
                    <a:pt x="219" y="46"/>
                  </a:lnTo>
                  <a:lnTo>
                    <a:pt x="221" y="51"/>
                  </a:lnTo>
                  <a:lnTo>
                    <a:pt x="224" y="51"/>
                  </a:lnTo>
                  <a:lnTo>
                    <a:pt x="226" y="59"/>
                  </a:lnTo>
                  <a:lnTo>
                    <a:pt x="228" y="59"/>
                  </a:lnTo>
                  <a:lnTo>
                    <a:pt x="228" y="63"/>
                  </a:lnTo>
                  <a:lnTo>
                    <a:pt x="226" y="65"/>
                  </a:lnTo>
                  <a:lnTo>
                    <a:pt x="224" y="70"/>
                  </a:lnTo>
                  <a:lnTo>
                    <a:pt x="221" y="68"/>
                  </a:lnTo>
                  <a:lnTo>
                    <a:pt x="219" y="63"/>
                  </a:lnTo>
                  <a:lnTo>
                    <a:pt x="221" y="59"/>
                  </a:lnTo>
                  <a:lnTo>
                    <a:pt x="219" y="49"/>
                  </a:lnTo>
                  <a:lnTo>
                    <a:pt x="211" y="44"/>
                  </a:lnTo>
                  <a:lnTo>
                    <a:pt x="208" y="44"/>
                  </a:lnTo>
                  <a:lnTo>
                    <a:pt x="202" y="38"/>
                  </a:lnTo>
                  <a:lnTo>
                    <a:pt x="187" y="31"/>
                  </a:lnTo>
                  <a:lnTo>
                    <a:pt x="187" y="31"/>
                  </a:lnTo>
                  <a:lnTo>
                    <a:pt x="187" y="27"/>
                  </a:lnTo>
                  <a:lnTo>
                    <a:pt x="187" y="27"/>
                  </a:lnTo>
                  <a:lnTo>
                    <a:pt x="187" y="27"/>
                  </a:lnTo>
                  <a:lnTo>
                    <a:pt x="187" y="27"/>
                  </a:lnTo>
                  <a:close/>
                  <a:moveTo>
                    <a:pt x="159" y="0"/>
                  </a:moveTo>
                  <a:lnTo>
                    <a:pt x="162" y="0"/>
                  </a:lnTo>
                  <a:lnTo>
                    <a:pt x="166" y="4"/>
                  </a:lnTo>
                  <a:lnTo>
                    <a:pt x="164" y="6"/>
                  </a:lnTo>
                  <a:lnTo>
                    <a:pt x="162" y="2"/>
                  </a:lnTo>
                  <a:lnTo>
                    <a:pt x="159" y="0"/>
                  </a:lnTo>
                  <a:lnTo>
                    <a:pt x="159" y="0"/>
                  </a:lnTo>
                  <a:lnTo>
                    <a:pt x="159" y="0"/>
                  </a:lnTo>
                  <a:lnTo>
                    <a:pt x="159" y="0"/>
                  </a:lnTo>
                  <a:close/>
                  <a:moveTo>
                    <a:pt x="172" y="27"/>
                  </a:moveTo>
                  <a:lnTo>
                    <a:pt x="176" y="25"/>
                  </a:lnTo>
                  <a:lnTo>
                    <a:pt x="177" y="27"/>
                  </a:lnTo>
                  <a:lnTo>
                    <a:pt x="177" y="31"/>
                  </a:lnTo>
                  <a:lnTo>
                    <a:pt x="174" y="31"/>
                  </a:lnTo>
                  <a:lnTo>
                    <a:pt x="172" y="31"/>
                  </a:lnTo>
                  <a:lnTo>
                    <a:pt x="172" y="27"/>
                  </a:lnTo>
                  <a:lnTo>
                    <a:pt x="172" y="27"/>
                  </a:lnTo>
                  <a:lnTo>
                    <a:pt x="172" y="27"/>
                  </a:lnTo>
                  <a:lnTo>
                    <a:pt x="172" y="27"/>
                  </a:lnTo>
                  <a:close/>
                  <a:moveTo>
                    <a:pt x="170" y="72"/>
                  </a:moveTo>
                  <a:lnTo>
                    <a:pt x="174" y="76"/>
                  </a:lnTo>
                  <a:lnTo>
                    <a:pt x="176" y="72"/>
                  </a:lnTo>
                  <a:lnTo>
                    <a:pt x="172" y="68"/>
                  </a:lnTo>
                  <a:lnTo>
                    <a:pt x="170" y="70"/>
                  </a:lnTo>
                  <a:lnTo>
                    <a:pt x="170" y="72"/>
                  </a:lnTo>
                  <a:lnTo>
                    <a:pt x="170" y="72"/>
                  </a:lnTo>
                  <a:lnTo>
                    <a:pt x="170" y="72"/>
                  </a:lnTo>
                  <a:lnTo>
                    <a:pt x="170" y="72"/>
                  </a:lnTo>
                  <a:close/>
                  <a:moveTo>
                    <a:pt x="140" y="81"/>
                  </a:moveTo>
                  <a:lnTo>
                    <a:pt x="138" y="83"/>
                  </a:lnTo>
                  <a:lnTo>
                    <a:pt x="140" y="89"/>
                  </a:lnTo>
                  <a:lnTo>
                    <a:pt x="144" y="89"/>
                  </a:lnTo>
                  <a:lnTo>
                    <a:pt x="151" y="95"/>
                  </a:lnTo>
                  <a:lnTo>
                    <a:pt x="151" y="97"/>
                  </a:lnTo>
                  <a:lnTo>
                    <a:pt x="153" y="95"/>
                  </a:lnTo>
                  <a:lnTo>
                    <a:pt x="159" y="95"/>
                  </a:lnTo>
                  <a:lnTo>
                    <a:pt x="162" y="98"/>
                  </a:lnTo>
                  <a:lnTo>
                    <a:pt x="164" y="98"/>
                  </a:lnTo>
                  <a:lnTo>
                    <a:pt x="168" y="98"/>
                  </a:lnTo>
                  <a:lnTo>
                    <a:pt x="176" y="97"/>
                  </a:lnTo>
                  <a:lnTo>
                    <a:pt x="179" y="98"/>
                  </a:lnTo>
                  <a:lnTo>
                    <a:pt x="183" y="97"/>
                  </a:lnTo>
                  <a:lnTo>
                    <a:pt x="187" y="98"/>
                  </a:lnTo>
                  <a:lnTo>
                    <a:pt x="187" y="97"/>
                  </a:lnTo>
                  <a:lnTo>
                    <a:pt x="187" y="93"/>
                  </a:lnTo>
                  <a:lnTo>
                    <a:pt x="192" y="93"/>
                  </a:lnTo>
                  <a:lnTo>
                    <a:pt x="198" y="87"/>
                  </a:lnTo>
                  <a:lnTo>
                    <a:pt x="198" y="83"/>
                  </a:lnTo>
                  <a:lnTo>
                    <a:pt x="202" y="83"/>
                  </a:lnTo>
                  <a:lnTo>
                    <a:pt x="204" y="83"/>
                  </a:lnTo>
                  <a:lnTo>
                    <a:pt x="208" y="83"/>
                  </a:lnTo>
                  <a:lnTo>
                    <a:pt x="211" y="80"/>
                  </a:lnTo>
                  <a:lnTo>
                    <a:pt x="208" y="76"/>
                  </a:lnTo>
                  <a:lnTo>
                    <a:pt x="208" y="74"/>
                  </a:lnTo>
                  <a:lnTo>
                    <a:pt x="208" y="72"/>
                  </a:lnTo>
                  <a:lnTo>
                    <a:pt x="211" y="72"/>
                  </a:lnTo>
                  <a:lnTo>
                    <a:pt x="215" y="68"/>
                  </a:lnTo>
                  <a:lnTo>
                    <a:pt x="215" y="59"/>
                  </a:lnTo>
                  <a:lnTo>
                    <a:pt x="211" y="55"/>
                  </a:lnTo>
                  <a:lnTo>
                    <a:pt x="208" y="59"/>
                  </a:lnTo>
                  <a:lnTo>
                    <a:pt x="208" y="59"/>
                  </a:lnTo>
                  <a:lnTo>
                    <a:pt x="206" y="59"/>
                  </a:lnTo>
                  <a:lnTo>
                    <a:pt x="200" y="59"/>
                  </a:lnTo>
                  <a:lnTo>
                    <a:pt x="198" y="63"/>
                  </a:lnTo>
                  <a:lnTo>
                    <a:pt x="200" y="68"/>
                  </a:lnTo>
                  <a:lnTo>
                    <a:pt x="202" y="70"/>
                  </a:lnTo>
                  <a:lnTo>
                    <a:pt x="200" y="72"/>
                  </a:lnTo>
                  <a:lnTo>
                    <a:pt x="196" y="72"/>
                  </a:lnTo>
                  <a:lnTo>
                    <a:pt x="189" y="78"/>
                  </a:lnTo>
                  <a:lnTo>
                    <a:pt x="187" y="81"/>
                  </a:lnTo>
                  <a:lnTo>
                    <a:pt x="187" y="83"/>
                  </a:lnTo>
                  <a:lnTo>
                    <a:pt x="183" y="83"/>
                  </a:lnTo>
                  <a:lnTo>
                    <a:pt x="181" y="83"/>
                  </a:lnTo>
                  <a:lnTo>
                    <a:pt x="179" y="81"/>
                  </a:lnTo>
                  <a:lnTo>
                    <a:pt x="177" y="81"/>
                  </a:lnTo>
                  <a:lnTo>
                    <a:pt x="174" y="83"/>
                  </a:lnTo>
                  <a:lnTo>
                    <a:pt x="172" y="83"/>
                  </a:lnTo>
                  <a:lnTo>
                    <a:pt x="170" y="80"/>
                  </a:lnTo>
                  <a:lnTo>
                    <a:pt x="172" y="78"/>
                  </a:lnTo>
                  <a:lnTo>
                    <a:pt x="168" y="76"/>
                  </a:lnTo>
                  <a:lnTo>
                    <a:pt x="166" y="78"/>
                  </a:lnTo>
                  <a:lnTo>
                    <a:pt x="166" y="80"/>
                  </a:lnTo>
                  <a:lnTo>
                    <a:pt x="164" y="81"/>
                  </a:lnTo>
                  <a:lnTo>
                    <a:pt x="162" y="81"/>
                  </a:lnTo>
                  <a:lnTo>
                    <a:pt x="157" y="83"/>
                  </a:lnTo>
                  <a:lnTo>
                    <a:pt x="153" y="83"/>
                  </a:lnTo>
                  <a:lnTo>
                    <a:pt x="151" y="81"/>
                  </a:lnTo>
                  <a:lnTo>
                    <a:pt x="147" y="81"/>
                  </a:lnTo>
                  <a:lnTo>
                    <a:pt x="144" y="83"/>
                  </a:lnTo>
                  <a:lnTo>
                    <a:pt x="140" y="81"/>
                  </a:lnTo>
                  <a:lnTo>
                    <a:pt x="140" y="81"/>
                  </a:lnTo>
                  <a:lnTo>
                    <a:pt x="140" y="81"/>
                  </a:lnTo>
                  <a:lnTo>
                    <a:pt x="140" y="81"/>
                  </a:lnTo>
                  <a:close/>
                  <a:moveTo>
                    <a:pt x="125" y="83"/>
                  </a:moveTo>
                  <a:lnTo>
                    <a:pt x="128" y="81"/>
                  </a:lnTo>
                  <a:lnTo>
                    <a:pt x="132" y="83"/>
                  </a:lnTo>
                  <a:lnTo>
                    <a:pt x="132" y="87"/>
                  </a:lnTo>
                  <a:lnTo>
                    <a:pt x="132" y="89"/>
                  </a:lnTo>
                  <a:lnTo>
                    <a:pt x="128" y="87"/>
                  </a:lnTo>
                  <a:lnTo>
                    <a:pt x="125" y="83"/>
                  </a:lnTo>
                  <a:lnTo>
                    <a:pt x="125" y="83"/>
                  </a:lnTo>
                  <a:lnTo>
                    <a:pt x="125" y="83"/>
                  </a:lnTo>
                  <a:lnTo>
                    <a:pt x="125" y="83"/>
                  </a:lnTo>
                  <a:close/>
                  <a:moveTo>
                    <a:pt x="115" y="78"/>
                  </a:moveTo>
                  <a:lnTo>
                    <a:pt x="113" y="80"/>
                  </a:lnTo>
                  <a:lnTo>
                    <a:pt x="115" y="83"/>
                  </a:lnTo>
                  <a:lnTo>
                    <a:pt x="119" y="81"/>
                  </a:lnTo>
                  <a:lnTo>
                    <a:pt x="119" y="80"/>
                  </a:lnTo>
                  <a:lnTo>
                    <a:pt x="115" y="78"/>
                  </a:lnTo>
                  <a:lnTo>
                    <a:pt x="115" y="78"/>
                  </a:lnTo>
                  <a:lnTo>
                    <a:pt x="115" y="78"/>
                  </a:lnTo>
                  <a:lnTo>
                    <a:pt x="115" y="78"/>
                  </a:lnTo>
                  <a:close/>
                  <a:moveTo>
                    <a:pt x="98" y="65"/>
                  </a:moveTo>
                  <a:lnTo>
                    <a:pt x="95" y="68"/>
                  </a:lnTo>
                  <a:lnTo>
                    <a:pt x="95" y="68"/>
                  </a:lnTo>
                  <a:lnTo>
                    <a:pt x="98" y="68"/>
                  </a:lnTo>
                  <a:lnTo>
                    <a:pt x="98" y="65"/>
                  </a:lnTo>
                  <a:lnTo>
                    <a:pt x="98" y="65"/>
                  </a:lnTo>
                  <a:lnTo>
                    <a:pt x="98" y="65"/>
                  </a:lnTo>
                  <a:lnTo>
                    <a:pt x="98" y="65"/>
                  </a:lnTo>
                  <a:close/>
                  <a:moveTo>
                    <a:pt x="213" y="149"/>
                  </a:moveTo>
                  <a:lnTo>
                    <a:pt x="213" y="151"/>
                  </a:lnTo>
                  <a:lnTo>
                    <a:pt x="213" y="155"/>
                  </a:lnTo>
                  <a:lnTo>
                    <a:pt x="215" y="153"/>
                  </a:lnTo>
                  <a:lnTo>
                    <a:pt x="221" y="157"/>
                  </a:lnTo>
                  <a:lnTo>
                    <a:pt x="219" y="155"/>
                  </a:lnTo>
                  <a:lnTo>
                    <a:pt x="213" y="149"/>
                  </a:lnTo>
                  <a:lnTo>
                    <a:pt x="213" y="149"/>
                  </a:lnTo>
                  <a:lnTo>
                    <a:pt x="213" y="149"/>
                  </a:lnTo>
                  <a:lnTo>
                    <a:pt x="213" y="149"/>
                  </a:lnTo>
                  <a:close/>
                  <a:moveTo>
                    <a:pt x="187" y="138"/>
                  </a:moveTo>
                  <a:lnTo>
                    <a:pt x="187" y="138"/>
                  </a:lnTo>
                  <a:lnTo>
                    <a:pt x="187" y="142"/>
                  </a:lnTo>
                  <a:lnTo>
                    <a:pt x="189" y="142"/>
                  </a:lnTo>
                  <a:lnTo>
                    <a:pt x="189" y="144"/>
                  </a:lnTo>
                  <a:lnTo>
                    <a:pt x="189" y="146"/>
                  </a:lnTo>
                  <a:lnTo>
                    <a:pt x="189" y="146"/>
                  </a:lnTo>
                  <a:lnTo>
                    <a:pt x="189" y="142"/>
                  </a:lnTo>
                  <a:lnTo>
                    <a:pt x="189" y="136"/>
                  </a:lnTo>
                  <a:lnTo>
                    <a:pt x="187" y="138"/>
                  </a:lnTo>
                  <a:lnTo>
                    <a:pt x="187" y="138"/>
                  </a:lnTo>
                  <a:lnTo>
                    <a:pt x="187" y="138"/>
                  </a:lnTo>
                  <a:lnTo>
                    <a:pt x="187" y="138"/>
                  </a:lnTo>
                  <a:close/>
                  <a:moveTo>
                    <a:pt x="179" y="164"/>
                  </a:moveTo>
                  <a:lnTo>
                    <a:pt x="183" y="164"/>
                  </a:lnTo>
                  <a:lnTo>
                    <a:pt x="183" y="166"/>
                  </a:lnTo>
                  <a:lnTo>
                    <a:pt x="183" y="166"/>
                  </a:lnTo>
                  <a:lnTo>
                    <a:pt x="187" y="168"/>
                  </a:lnTo>
                  <a:lnTo>
                    <a:pt x="187" y="168"/>
                  </a:lnTo>
                  <a:lnTo>
                    <a:pt x="187" y="166"/>
                  </a:lnTo>
                  <a:lnTo>
                    <a:pt x="189" y="166"/>
                  </a:lnTo>
                  <a:lnTo>
                    <a:pt x="189" y="168"/>
                  </a:lnTo>
                  <a:lnTo>
                    <a:pt x="187" y="170"/>
                  </a:lnTo>
                  <a:lnTo>
                    <a:pt x="187" y="172"/>
                  </a:lnTo>
                  <a:lnTo>
                    <a:pt x="187" y="172"/>
                  </a:lnTo>
                  <a:lnTo>
                    <a:pt x="183" y="172"/>
                  </a:lnTo>
                  <a:lnTo>
                    <a:pt x="183" y="170"/>
                  </a:lnTo>
                  <a:lnTo>
                    <a:pt x="183" y="168"/>
                  </a:lnTo>
                  <a:lnTo>
                    <a:pt x="181" y="166"/>
                  </a:lnTo>
                  <a:lnTo>
                    <a:pt x="179" y="164"/>
                  </a:lnTo>
                  <a:lnTo>
                    <a:pt x="179" y="164"/>
                  </a:lnTo>
                  <a:lnTo>
                    <a:pt x="179" y="164"/>
                  </a:lnTo>
                  <a:lnTo>
                    <a:pt x="179" y="164"/>
                  </a:lnTo>
                  <a:lnTo>
                    <a:pt x="179" y="164"/>
                  </a:lnTo>
                  <a:close/>
                  <a:moveTo>
                    <a:pt x="176" y="157"/>
                  </a:moveTo>
                  <a:lnTo>
                    <a:pt x="177" y="161"/>
                  </a:lnTo>
                  <a:lnTo>
                    <a:pt x="179" y="162"/>
                  </a:lnTo>
                  <a:lnTo>
                    <a:pt x="181" y="162"/>
                  </a:lnTo>
                  <a:lnTo>
                    <a:pt x="183" y="162"/>
                  </a:lnTo>
                  <a:lnTo>
                    <a:pt x="183" y="162"/>
                  </a:lnTo>
                  <a:lnTo>
                    <a:pt x="183" y="161"/>
                  </a:lnTo>
                  <a:lnTo>
                    <a:pt x="181" y="161"/>
                  </a:lnTo>
                  <a:lnTo>
                    <a:pt x="181" y="161"/>
                  </a:lnTo>
                  <a:lnTo>
                    <a:pt x="181" y="157"/>
                  </a:lnTo>
                  <a:lnTo>
                    <a:pt x="179" y="157"/>
                  </a:lnTo>
                  <a:lnTo>
                    <a:pt x="177" y="157"/>
                  </a:lnTo>
                  <a:lnTo>
                    <a:pt x="176" y="157"/>
                  </a:lnTo>
                  <a:lnTo>
                    <a:pt x="176" y="157"/>
                  </a:lnTo>
                  <a:lnTo>
                    <a:pt x="176" y="157"/>
                  </a:lnTo>
                  <a:lnTo>
                    <a:pt x="176" y="157"/>
                  </a:lnTo>
                  <a:close/>
                  <a:moveTo>
                    <a:pt x="168" y="157"/>
                  </a:moveTo>
                  <a:lnTo>
                    <a:pt x="170" y="157"/>
                  </a:lnTo>
                  <a:lnTo>
                    <a:pt x="172" y="157"/>
                  </a:lnTo>
                  <a:lnTo>
                    <a:pt x="174" y="161"/>
                  </a:lnTo>
                  <a:lnTo>
                    <a:pt x="174" y="161"/>
                  </a:lnTo>
                  <a:lnTo>
                    <a:pt x="174" y="157"/>
                  </a:lnTo>
                  <a:lnTo>
                    <a:pt x="172" y="157"/>
                  </a:lnTo>
                  <a:lnTo>
                    <a:pt x="170" y="155"/>
                  </a:lnTo>
                  <a:lnTo>
                    <a:pt x="168" y="157"/>
                  </a:lnTo>
                  <a:lnTo>
                    <a:pt x="168" y="157"/>
                  </a:lnTo>
                  <a:lnTo>
                    <a:pt x="168" y="157"/>
                  </a:lnTo>
                  <a:lnTo>
                    <a:pt x="168" y="157"/>
                  </a:lnTo>
                  <a:close/>
                  <a:moveTo>
                    <a:pt x="76" y="125"/>
                  </a:moveTo>
                  <a:lnTo>
                    <a:pt x="76" y="127"/>
                  </a:lnTo>
                  <a:lnTo>
                    <a:pt x="76" y="129"/>
                  </a:lnTo>
                  <a:lnTo>
                    <a:pt x="76" y="129"/>
                  </a:lnTo>
                  <a:lnTo>
                    <a:pt x="76" y="125"/>
                  </a:lnTo>
                  <a:lnTo>
                    <a:pt x="76" y="125"/>
                  </a:lnTo>
                  <a:lnTo>
                    <a:pt x="76" y="125"/>
                  </a:lnTo>
                  <a:lnTo>
                    <a:pt x="76" y="125"/>
                  </a:lnTo>
                  <a:close/>
                  <a:moveTo>
                    <a:pt x="68" y="127"/>
                  </a:moveTo>
                  <a:lnTo>
                    <a:pt x="68" y="125"/>
                  </a:lnTo>
                  <a:lnTo>
                    <a:pt x="70" y="125"/>
                  </a:lnTo>
                  <a:lnTo>
                    <a:pt x="68" y="127"/>
                  </a:lnTo>
                  <a:lnTo>
                    <a:pt x="68" y="127"/>
                  </a:lnTo>
                  <a:lnTo>
                    <a:pt x="68" y="127"/>
                  </a:lnTo>
                  <a:lnTo>
                    <a:pt x="68" y="127"/>
                  </a:lnTo>
                  <a:close/>
                  <a:moveTo>
                    <a:pt x="63" y="125"/>
                  </a:moveTo>
                  <a:lnTo>
                    <a:pt x="63" y="127"/>
                  </a:lnTo>
                  <a:lnTo>
                    <a:pt x="64" y="127"/>
                  </a:lnTo>
                  <a:lnTo>
                    <a:pt x="64" y="127"/>
                  </a:lnTo>
                  <a:lnTo>
                    <a:pt x="63" y="125"/>
                  </a:lnTo>
                  <a:lnTo>
                    <a:pt x="63" y="125"/>
                  </a:lnTo>
                  <a:lnTo>
                    <a:pt x="63" y="125"/>
                  </a:lnTo>
                  <a:lnTo>
                    <a:pt x="63" y="125"/>
                  </a:lnTo>
                  <a:close/>
                  <a:moveTo>
                    <a:pt x="68" y="127"/>
                  </a:moveTo>
                  <a:lnTo>
                    <a:pt x="64" y="123"/>
                  </a:lnTo>
                  <a:lnTo>
                    <a:pt x="66" y="121"/>
                  </a:lnTo>
                  <a:lnTo>
                    <a:pt x="68" y="121"/>
                  </a:lnTo>
                  <a:lnTo>
                    <a:pt x="68" y="125"/>
                  </a:lnTo>
                  <a:lnTo>
                    <a:pt x="68" y="127"/>
                  </a:lnTo>
                  <a:lnTo>
                    <a:pt x="68" y="127"/>
                  </a:lnTo>
                  <a:lnTo>
                    <a:pt x="68" y="127"/>
                  </a:lnTo>
                  <a:lnTo>
                    <a:pt x="68" y="127"/>
                  </a:lnTo>
                  <a:close/>
                  <a:moveTo>
                    <a:pt x="55" y="127"/>
                  </a:moveTo>
                  <a:lnTo>
                    <a:pt x="55" y="129"/>
                  </a:lnTo>
                  <a:lnTo>
                    <a:pt x="57" y="129"/>
                  </a:lnTo>
                  <a:lnTo>
                    <a:pt x="55" y="127"/>
                  </a:lnTo>
                  <a:lnTo>
                    <a:pt x="55" y="127"/>
                  </a:lnTo>
                  <a:lnTo>
                    <a:pt x="55" y="127"/>
                  </a:lnTo>
                  <a:lnTo>
                    <a:pt x="55" y="127"/>
                  </a:lnTo>
                  <a:lnTo>
                    <a:pt x="55" y="127"/>
                  </a:lnTo>
                  <a:close/>
                  <a:moveTo>
                    <a:pt x="49" y="140"/>
                  </a:moveTo>
                  <a:lnTo>
                    <a:pt x="51" y="138"/>
                  </a:lnTo>
                  <a:lnTo>
                    <a:pt x="51" y="138"/>
                  </a:lnTo>
                  <a:lnTo>
                    <a:pt x="51" y="140"/>
                  </a:lnTo>
                  <a:lnTo>
                    <a:pt x="51" y="140"/>
                  </a:lnTo>
                  <a:lnTo>
                    <a:pt x="49" y="140"/>
                  </a:lnTo>
                  <a:lnTo>
                    <a:pt x="49" y="140"/>
                  </a:lnTo>
                  <a:lnTo>
                    <a:pt x="49" y="140"/>
                  </a:lnTo>
                  <a:lnTo>
                    <a:pt x="49" y="140"/>
                  </a:lnTo>
                  <a:close/>
                  <a:moveTo>
                    <a:pt x="46" y="142"/>
                  </a:moveTo>
                  <a:lnTo>
                    <a:pt x="49" y="144"/>
                  </a:lnTo>
                  <a:lnTo>
                    <a:pt x="49" y="142"/>
                  </a:lnTo>
                  <a:lnTo>
                    <a:pt x="46" y="142"/>
                  </a:lnTo>
                  <a:lnTo>
                    <a:pt x="46" y="142"/>
                  </a:lnTo>
                  <a:lnTo>
                    <a:pt x="46" y="142"/>
                  </a:lnTo>
                  <a:lnTo>
                    <a:pt x="46" y="142"/>
                  </a:lnTo>
                  <a:close/>
                  <a:moveTo>
                    <a:pt x="44" y="140"/>
                  </a:moveTo>
                  <a:lnTo>
                    <a:pt x="46" y="142"/>
                  </a:lnTo>
                  <a:lnTo>
                    <a:pt x="46" y="140"/>
                  </a:lnTo>
                  <a:lnTo>
                    <a:pt x="44" y="140"/>
                  </a:lnTo>
                  <a:lnTo>
                    <a:pt x="44" y="140"/>
                  </a:lnTo>
                  <a:lnTo>
                    <a:pt x="44" y="140"/>
                  </a:lnTo>
                  <a:lnTo>
                    <a:pt x="44" y="140"/>
                  </a:lnTo>
                  <a:close/>
                  <a:moveTo>
                    <a:pt x="42" y="142"/>
                  </a:moveTo>
                  <a:lnTo>
                    <a:pt x="42" y="142"/>
                  </a:lnTo>
                  <a:lnTo>
                    <a:pt x="46" y="144"/>
                  </a:lnTo>
                  <a:lnTo>
                    <a:pt x="51" y="147"/>
                  </a:lnTo>
                  <a:lnTo>
                    <a:pt x="42" y="142"/>
                  </a:lnTo>
                  <a:lnTo>
                    <a:pt x="42" y="142"/>
                  </a:lnTo>
                  <a:lnTo>
                    <a:pt x="42" y="142"/>
                  </a:lnTo>
                  <a:lnTo>
                    <a:pt x="42" y="142"/>
                  </a:lnTo>
                  <a:close/>
                  <a:moveTo>
                    <a:pt x="46" y="132"/>
                  </a:moveTo>
                  <a:lnTo>
                    <a:pt x="51" y="132"/>
                  </a:lnTo>
                  <a:lnTo>
                    <a:pt x="51" y="136"/>
                  </a:lnTo>
                  <a:lnTo>
                    <a:pt x="49" y="132"/>
                  </a:lnTo>
                  <a:lnTo>
                    <a:pt x="46" y="132"/>
                  </a:lnTo>
                  <a:lnTo>
                    <a:pt x="46" y="132"/>
                  </a:lnTo>
                  <a:lnTo>
                    <a:pt x="46" y="132"/>
                  </a:lnTo>
                  <a:lnTo>
                    <a:pt x="46" y="132"/>
                  </a:lnTo>
                  <a:close/>
                  <a:moveTo>
                    <a:pt x="51" y="132"/>
                  </a:moveTo>
                  <a:lnTo>
                    <a:pt x="51" y="130"/>
                  </a:lnTo>
                  <a:lnTo>
                    <a:pt x="51" y="129"/>
                  </a:lnTo>
                  <a:lnTo>
                    <a:pt x="51" y="127"/>
                  </a:lnTo>
                  <a:lnTo>
                    <a:pt x="55" y="130"/>
                  </a:lnTo>
                  <a:lnTo>
                    <a:pt x="55" y="132"/>
                  </a:lnTo>
                  <a:lnTo>
                    <a:pt x="55" y="132"/>
                  </a:lnTo>
                  <a:lnTo>
                    <a:pt x="51" y="132"/>
                  </a:lnTo>
                  <a:lnTo>
                    <a:pt x="51" y="132"/>
                  </a:lnTo>
                  <a:lnTo>
                    <a:pt x="51" y="132"/>
                  </a:lnTo>
                  <a:lnTo>
                    <a:pt x="51" y="132"/>
                  </a:lnTo>
                  <a:close/>
                  <a:moveTo>
                    <a:pt x="2" y="29"/>
                  </a:moveTo>
                  <a:lnTo>
                    <a:pt x="0" y="98"/>
                  </a:lnTo>
                  <a:lnTo>
                    <a:pt x="0" y="104"/>
                  </a:lnTo>
                  <a:lnTo>
                    <a:pt x="0" y="106"/>
                  </a:lnTo>
                  <a:lnTo>
                    <a:pt x="0" y="108"/>
                  </a:lnTo>
                  <a:lnTo>
                    <a:pt x="0" y="153"/>
                  </a:lnTo>
                  <a:lnTo>
                    <a:pt x="6" y="153"/>
                  </a:lnTo>
                  <a:lnTo>
                    <a:pt x="8" y="153"/>
                  </a:lnTo>
                  <a:lnTo>
                    <a:pt x="12" y="153"/>
                  </a:lnTo>
                  <a:lnTo>
                    <a:pt x="21" y="153"/>
                  </a:lnTo>
                  <a:lnTo>
                    <a:pt x="25" y="153"/>
                  </a:lnTo>
                  <a:lnTo>
                    <a:pt x="25" y="155"/>
                  </a:lnTo>
                  <a:lnTo>
                    <a:pt x="25" y="157"/>
                  </a:lnTo>
                  <a:lnTo>
                    <a:pt x="31" y="157"/>
                  </a:lnTo>
                  <a:lnTo>
                    <a:pt x="32" y="155"/>
                  </a:lnTo>
                  <a:lnTo>
                    <a:pt x="40" y="153"/>
                  </a:lnTo>
                  <a:lnTo>
                    <a:pt x="40" y="151"/>
                  </a:lnTo>
                  <a:lnTo>
                    <a:pt x="42" y="153"/>
                  </a:lnTo>
                  <a:lnTo>
                    <a:pt x="44" y="151"/>
                  </a:lnTo>
                  <a:lnTo>
                    <a:pt x="44" y="146"/>
                  </a:lnTo>
                  <a:lnTo>
                    <a:pt x="38" y="142"/>
                  </a:lnTo>
                  <a:lnTo>
                    <a:pt x="32" y="140"/>
                  </a:lnTo>
                  <a:lnTo>
                    <a:pt x="31" y="138"/>
                  </a:lnTo>
                  <a:lnTo>
                    <a:pt x="27" y="136"/>
                  </a:lnTo>
                  <a:lnTo>
                    <a:pt x="25" y="136"/>
                  </a:lnTo>
                  <a:lnTo>
                    <a:pt x="21" y="136"/>
                  </a:lnTo>
                  <a:lnTo>
                    <a:pt x="21" y="136"/>
                  </a:lnTo>
                  <a:lnTo>
                    <a:pt x="21" y="130"/>
                  </a:lnTo>
                  <a:lnTo>
                    <a:pt x="17" y="127"/>
                  </a:lnTo>
                  <a:lnTo>
                    <a:pt x="14" y="125"/>
                  </a:lnTo>
                  <a:lnTo>
                    <a:pt x="14" y="123"/>
                  </a:lnTo>
                  <a:lnTo>
                    <a:pt x="10" y="121"/>
                  </a:lnTo>
                  <a:lnTo>
                    <a:pt x="14" y="123"/>
                  </a:lnTo>
                  <a:lnTo>
                    <a:pt x="14" y="125"/>
                  </a:lnTo>
                  <a:lnTo>
                    <a:pt x="17" y="125"/>
                  </a:lnTo>
                  <a:lnTo>
                    <a:pt x="21" y="129"/>
                  </a:lnTo>
                  <a:lnTo>
                    <a:pt x="21" y="132"/>
                  </a:lnTo>
                  <a:lnTo>
                    <a:pt x="21" y="136"/>
                  </a:lnTo>
                  <a:lnTo>
                    <a:pt x="21" y="136"/>
                  </a:lnTo>
                  <a:lnTo>
                    <a:pt x="27" y="136"/>
                  </a:lnTo>
                  <a:lnTo>
                    <a:pt x="31" y="138"/>
                  </a:lnTo>
                  <a:lnTo>
                    <a:pt x="32" y="138"/>
                  </a:lnTo>
                  <a:lnTo>
                    <a:pt x="36" y="138"/>
                  </a:lnTo>
                  <a:lnTo>
                    <a:pt x="42" y="136"/>
                  </a:lnTo>
                  <a:lnTo>
                    <a:pt x="46" y="136"/>
                  </a:lnTo>
                  <a:lnTo>
                    <a:pt x="49" y="136"/>
                  </a:lnTo>
                  <a:lnTo>
                    <a:pt x="46" y="136"/>
                  </a:lnTo>
                  <a:lnTo>
                    <a:pt x="46" y="132"/>
                  </a:lnTo>
                  <a:lnTo>
                    <a:pt x="44" y="130"/>
                  </a:lnTo>
                  <a:lnTo>
                    <a:pt x="42" y="130"/>
                  </a:lnTo>
                  <a:lnTo>
                    <a:pt x="40" y="129"/>
                  </a:lnTo>
                  <a:lnTo>
                    <a:pt x="42" y="130"/>
                  </a:lnTo>
                  <a:lnTo>
                    <a:pt x="46" y="130"/>
                  </a:lnTo>
                  <a:lnTo>
                    <a:pt x="49" y="132"/>
                  </a:lnTo>
                  <a:lnTo>
                    <a:pt x="51" y="132"/>
                  </a:lnTo>
                  <a:lnTo>
                    <a:pt x="51" y="132"/>
                  </a:lnTo>
                  <a:lnTo>
                    <a:pt x="51" y="129"/>
                  </a:lnTo>
                  <a:lnTo>
                    <a:pt x="51" y="127"/>
                  </a:lnTo>
                  <a:lnTo>
                    <a:pt x="51" y="125"/>
                  </a:lnTo>
                  <a:lnTo>
                    <a:pt x="51" y="123"/>
                  </a:lnTo>
                  <a:lnTo>
                    <a:pt x="49" y="119"/>
                  </a:lnTo>
                  <a:lnTo>
                    <a:pt x="49" y="117"/>
                  </a:lnTo>
                  <a:lnTo>
                    <a:pt x="51" y="119"/>
                  </a:lnTo>
                  <a:lnTo>
                    <a:pt x="55" y="123"/>
                  </a:lnTo>
                  <a:lnTo>
                    <a:pt x="57" y="125"/>
                  </a:lnTo>
                  <a:lnTo>
                    <a:pt x="59" y="127"/>
                  </a:lnTo>
                  <a:lnTo>
                    <a:pt x="59" y="125"/>
                  </a:lnTo>
                  <a:lnTo>
                    <a:pt x="59" y="121"/>
                  </a:lnTo>
                  <a:lnTo>
                    <a:pt x="59" y="123"/>
                  </a:lnTo>
                  <a:lnTo>
                    <a:pt x="61" y="127"/>
                  </a:lnTo>
                  <a:lnTo>
                    <a:pt x="63" y="127"/>
                  </a:lnTo>
                  <a:lnTo>
                    <a:pt x="63" y="123"/>
                  </a:lnTo>
                  <a:lnTo>
                    <a:pt x="61" y="121"/>
                  </a:lnTo>
                  <a:lnTo>
                    <a:pt x="63" y="117"/>
                  </a:lnTo>
                  <a:lnTo>
                    <a:pt x="64" y="119"/>
                  </a:lnTo>
                  <a:lnTo>
                    <a:pt x="68" y="121"/>
                  </a:lnTo>
                  <a:lnTo>
                    <a:pt x="70" y="123"/>
                  </a:lnTo>
                  <a:lnTo>
                    <a:pt x="72" y="125"/>
                  </a:lnTo>
                  <a:lnTo>
                    <a:pt x="76" y="123"/>
                  </a:lnTo>
                  <a:lnTo>
                    <a:pt x="76" y="125"/>
                  </a:lnTo>
                  <a:lnTo>
                    <a:pt x="76" y="123"/>
                  </a:lnTo>
                  <a:lnTo>
                    <a:pt x="76" y="125"/>
                  </a:lnTo>
                  <a:lnTo>
                    <a:pt x="76" y="127"/>
                  </a:lnTo>
                  <a:lnTo>
                    <a:pt x="80" y="129"/>
                  </a:lnTo>
                  <a:lnTo>
                    <a:pt x="83" y="130"/>
                  </a:lnTo>
                  <a:lnTo>
                    <a:pt x="91" y="132"/>
                  </a:lnTo>
                  <a:lnTo>
                    <a:pt x="95" y="132"/>
                  </a:lnTo>
                  <a:lnTo>
                    <a:pt x="98" y="136"/>
                  </a:lnTo>
                  <a:lnTo>
                    <a:pt x="98" y="142"/>
                  </a:lnTo>
                  <a:lnTo>
                    <a:pt x="104" y="149"/>
                  </a:lnTo>
                  <a:lnTo>
                    <a:pt x="104" y="151"/>
                  </a:lnTo>
                  <a:lnTo>
                    <a:pt x="108" y="153"/>
                  </a:lnTo>
                  <a:lnTo>
                    <a:pt x="110" y="155"/>
                  </a:lnTo>
                  <a:lnTo>
                    <a:pt x="110" y="157"/>
                  </a:lnTo>
                  <a:lnTo>
                    <a:pt x="119" y="166"/>
                  </a:lnTo>
                  <a:lnTo>
                    <a:pt x="119" y="168"/>
                  </a:lnTo>
                  <a:lnTo>
                    <a:pt x="123" y="170"/>
                  </a:lnTo>
                  <a:lnTo>
                    <a:pt x="128" y="172"/>
                  </a:lnTo>
                  <a:lnTo>
                    <a:pt x="128" y="172"/>
                  </a:lnTo>
                  <a:lnTo>
                    <a:pt x="132" y="172"/>
                  </a:lnTo>
                  <a:lnTo>
                    <a:pt x="134" y="174"/>
                  </a:lnTo>
                  <a:lnTo>
                    <a:pt x="140" y="172"/>
                  </a:lnTo>
                  <a:lnTo>
                    <a:pt x="144" y="174"/>
                  </a:lnTo>
                  <a:lnTo>
                    <a:pt x="147" y="174"/>
                  </a:lnTo>
                  <a:lnTo>
                    <a:pt x="153" y="174"/>
                  </a:lnTo>
                  <a:lnTo>
                    <a:pt x="157" y="176"/>
                  </a:lnTo>
                  <a:lnTo>
                    <a:pt x="159" y="176"/>
                  </a:lnTo>
                  <a:lnTo>
                    <a:pt x="162" y="178"/>
                  </a:lnTo>
                  <a:lnTo>
                    <a:pt x="164" y="178"/>
                  </a:lnTo>
                  <a:lnTo>
                    <a:pt x="166" y="179"/>
                  </a:lnTo>
                  <a:lnTo>
                    <a:pt x="162" y="181"/>
                  </a:lnTo>
                  <a:lnTo>
                    <a:pt x="166" y="181"/>
                  </a:lnTo>
                  <a:lnTo>
                    <a:pt x="172" y="185"/>
                  </a:lnTo>
                  <a:lnTo>
                    <a:pt x="176" y="181"/>
                  </a:lnTo>
                  <a:lnTo>
                    <a:pt x="177" y="181"/>
                  </a:lnTo>
                  <a:lnTo>
                    <a:pt x="172" y="178"/>
                  </a:lnTo>
                  <a:lnTo>
                    <a:pt x="170" y="178"/>
                  </a:lnTo>
                  <a:lnTo>
                    <a:pt x="170" y="176"/>
                  </a:lnTo>
                  <a:lnTo>
                    <a:pt x="174" y="176"/>
                  </a:lnTo>
                  <a:lnTo>
                    <a:pt x="177" y="176"/>
                  </a:lnTo>
                  <a:lnTo>
                    <a:pt x="181" y="174"/>
                  </a:lnTo>
                  <a:lnTo>
                    <a:pt x="174" y="172"/>
                  </a:lnTo>
                  <a:lnTo>
                    <a:pt x="164" y="172"/>
                  </a:lnTo>
                  <a:lnTo>
                    <a:pt x="162" y="168"/>
                  </a:lnTo>
                  <a:lnTo>
                    <a:pt x="159" y="166"/>
                  </a:lnTo>
                  <a:lnTo>
                    <a:pt x="162" y="164"/>
                  </a:lnTo>
                  <a:lnTo>
                    <a:pt x="166" y="164"/>
                  </a:lnTo>
                  <a:lnTo>
                    <a:pt x="168" y="162"/>
                  </a:lnTo>
                  <a:lnTo>
                    <a:pt x="164" y="162"/>
                  </a:lnTo>
                  <a:lnTo>
                    <a:pt x="159" y="162"/>
                  </a:lnTo>
                  <a:lnTo>
                    <a:pt x="153" y="161"/>
                  </a:lnTo>
                  <a:lnTo>
                    <a:pt x="151" y="161"/>
                  </a:lnTo>
                  <a:lnTo>
                    <a:pt x="151" y="157"/>
                  </a:lnTo>
                  <a:lnTo>
                    <a:pt x="153" y="155"/>
                  </a:lnTo>
                  <a:lnTo>
                    <a:pt x="153" y="153"/>
                  </a:lnTo>
                  <a:lnTo>
                    <a:pt x="151" y="149"/>
                  </a:lnTo>
                  <a:lnTo>
                    <a:pt x="149" y="149"/>
                  </a:lnTo>
                  <a:lnTo>
                    <a:pt x="147" y="151"/>
                  </a:lnTo>
                  <a:lnTo>
                    <a:pt x="145" y="151"/>
                  </a:lnTo>
                  <a:lnTo>
                    <a:pt x="144" y="151"/>
                  </a:lnTo>
                  <a:lnTo>
                    <a:pt x="140" y="147"/>
                  </a:lnTo>
                  <a:lnTo>
                    <a:pt x="138" y="142"/>
                  </a:lnTo>
                  <a:lnTo>
                    <a:pt x="138" y="140"/>
                  </a:lnTo>
                  <a:lnTo>
                    <a:pt x="132" y="132"/>
                  </a:lnTo>
                  <a:lnTo>
                    <a:pt x="132" y="132"/>
                  </a:lnTo>
                  <a:lnTo>
                    <a:pt x="128" y="129"/>
                  </a:lnTo>
                  <a:lnTo>
                    <a:pt x="125" y="129"/>
                  </a:lnTo>
                  <a:lnTo>
                    <a:pt x="123" y="129"/>
                  </a:lnTo>
                  <a:lnTo>
                    <a:pt x="121" y="123"/>
                  </a:lnTo>
                  <a:lnTo>
                    <a:pt x="117" y="119"/>
                  </a:lnTo>
                  <a:lnTo>
                    <a:pt x="117" y="115"/>
                  </a:lnTo>
                  <a:lnTo>
                    <a:pt x="113" y="112"/>
                  </a:lnTo>
                  <a:lnTo>
                    <a:pt x="113" y="108"/>
                  </a:lnTo>
                  <a:lnTo>
                    <a:pt x="113" y="108"/>
                  </a:lnTo>
                  <a:lnTo>
                    <a:pt x="119" y="108"/>
                  </a:lnTo>
                  <a:lnTo>
                    <a:pt x="125" y="106"/>
                  </a:lnTo>
                  <a:lnTo>
                    <a:pt x="128" y="102"/>
                  </a:lnTo>
                  <a:lnTo>
                    <a:pt x="128" y="98"/>
                  </a:lnTo>
                  <a:lnTo>
                    <a:pt x="123" y="93"/>
                  </a:lnTo>
                  <a:lnTo>
                    <a:pt x="119" y="91"/>
                  </a:lnTo>
                  <a:lnTo>
                    <a:pt x="117" y="93"/>
                  </a:lnTo>
                  <a:lnTo>
                    <a:pt x="113" y="91"/>
                  </a:lnTo>
                  <a:lnTo>
                    <a:pt x="108" y="87"/>
                  </a:lnTo>
                  <a:lnTo>
                    <a:pt x="104" y="83"/>
                  </a:lnTo>
                  <a:lnTo>
                    <a:pt x="100" y="83"/>
                  </a:lnTo>
                  <a:lnTo>
                    <a:pt x="91" y="83"/>
                  </a:lnTo>
                  <a:lnTo>
                    <a:pt x="89" y="80"/>
                  </a:lnTo>
                  <a:lnTo>
                    <a:pt x="93" y="76"/>
                  </a:lnTo>
                  <a:lnTo>
                    <a:pt x="93" y="72"/>
                  </a:lnTo>
                  <a:lnTo>
                    <a:pt x="89" y="68"/>
                  </a:lnTo>
                  <a:lnTo>
                    <a:pt x="83" y="63"/>
                  </a:lnTo>
                  <a:lnTo>
                    <a:pt x="83" y="63"/>
                  </a:lnTo>
                  <a:lnTo>
                    <a:pt x="80" y="63"/>
                  </a:lnTo>
                  <a:lnTo>
                    <a:pt x="80" y="59"/>
                  </a:lnTo>
                  <a:lnTo>
                    <a:pt x="76" y="59"/>
                  </a:lnTo>
                  <a:lnTo>
                    <a:pt x="74" y="55"/>
                  </a:lnTo>
                  <a:lnTo>
                    <a:pt x="70" y="55"/>
                  </a:lnTo>
                  <a:lnTo>
                    <a:pt x="68" y="51"/>
                  </a:lnTo>
                  <a:lnTo>
                    <a:pt x="66" y="53"/>
                  </a:lnTo>
                  <a:lnTo>
                    <a:pt x="63" y="51"/>
                  </a:lnTo>
                  <a:lnTo>
                    <a:pt x="59" y="49"/>
                  </a:lnTo>
                  <a:lnTo>
                    <a:pt x="55" y="48"/>
                  </a:lnTo>
                  <a:lnTo>
                    <a:pt x="51" y="46"/>
                  </a:lnTo>
                  <a:lnTo>
                    <a:pt x="44" y="44"/>
                  </a:lnTo>
                  <a:lnTo>
                    <a:pt x="34" y="40"/>
                  </a:lnTo>
                  <a:lnTo>
                    <a:pt x="31" y="38"/>
                  </a:lnTo>
                  <a:lnTo>
                    <a:pt x="27" y="38"/>
                  </a:lnTo>
                  <a:lnTo>
                    <a:pt x="25" y="38"/>
                  </a:lnTo>
                  <a:lnTo>
                    <a:pt x="25" y="38"/>
                  </a:lnTo>
                  <a:lnTo>
                    <a:pt x="19" y="34"/>
                  </a:lnTo>
                  <a:lnTo>
                    <a:pt x="17" y="34"/>
                  </a:lnTo>
                  <a:lnTo>
                    <a:pt x="14" y="31"/>
                  </a:lnTo>
                  <a:lnTo>
                    <a:pt x="6" y="31"/>
                  </a:lnTo>
                  <a:lnTo>
                    <a:pt x="2" y="29"/>
                  </a:lnTo>
                  <a:lnTo>
                    <a:pt x="2" y="29"/>
                  </a:lnTo>
                  <a:lnTo>
                    <a:pt x="2" y="2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1" name="Freeform 194">
              <a:extLst>
                <a:ext uri="{FF2B5EF4-FFF2-40B4-BE49-F238E27FC236}">
                  <a16:creationId xmlns:a16="http://schemas.microsoft.com/office/drawing/2014/main" id="{3C454FF1-146E-4736-A542-36422FE76707}"/>
                </a:ext>
              </a:extLst>
            </p:cNvPr>
            <p:cNvSpPr>
              <a:spLocks noEditPoints="1"/>
            </p:cNvSpPr>
            <p:nvPr/>
          </p:nvSpPr>
          <p:spPr bwMode="auto">
            <a:xfrm>
              <a:off x="4547" y="2981"/>
              <a:ext cx="848" cy="333"/>
            </a:xfrm>
            <a:custGeom>
              <a:avLst/>
              <a:gdLst/>
              <a:ahLst/>
              <a:cxnLst>
                <a:cxn ang="0">
                  <a:pos x="803" y="256"/>
                </a:cxn>
                <a:cxn ang="0">
                  <a:pos x="728" y="199"/>
                </a:cxn>
                <a:cxn ang="0">
                  <a:pos x="704" y="173"/>
                </a:cxn>
                <a:cxn ang="0">
                  <a:pos x="715" y="137"/>
                </a:cxn>
                <a:cxn ang="0">
                  <a:pos x="777" y="158"/>
                </a:cxn>
                <a:cxn ang="0">
                  <a:pos x="655" y="132"/>
                </a:cxn>
                <a:cxn ang="0">
                  <a:pos x="564" y="60"/>
                </a:cxn>
                <a:cxn ang="0">
                  <a:pos x="609" y="133"/>
                </a:cxn>
                <a:cxn ang="0">
                  <a:pos x="615" y="98"/>
                </a:cxn>
                <a:cxn ang="0">
                  <a:pos x="594" y="137"/>
                </a:cxn>
                <a:cxn ang="0">
                  <a:pos x="619" y="194"/>
                </a:cxn>
                <a:cxn ang="0">
                  <a:pos x="606" y="182"/>
                </a:cxn>
                <a:cxn ang="0">
                  <a:pos x="589" y="186"/>
                </a:cxn>
                <a:cxn ang="0">
                  <a:pos x="568" y="173"/>
                </a:cxn>
                <a:cxn ang="0">
                  <a:pos x="506" y="229"/>
                </a:cxn>
                <a:cxn ang="0">
                  <a:pos x="498" y="226"/>
                </a:cxn>
                <a:cxn ang="0">
                  <a:pos x="519" y="150"/>
                </a:cxn>
                <a:cxn ang="0">
                  <a:pos x="498" y="118"/>
                </a:cxn>
                <a:cxn ang="0">
                  <a:pos x="483" y="103"/>
                </a:cxn>
                <a:cxn ang="0">
                  <a:pos x="444" y="194"/>
                </a:cxn>
                <a:cxn ang="0">
                  <a:pos x="485" y="203"/>
                </a:cxn>
                <a:cxn ang="0">
                  <a:pos x="498" y="182"/>
                </a:cxn>
                <a:cxn ang="0">
                  <a:pos x="461" y="143"/>
                </a:cxn>
                <a:cxn ang="0">
                  <a:pos x="461" y="24"/>
                </a:cxn>
                <a:cxn ang="0">
                  <a:pos x="389" y="197"/>
                </a:cxn>
                <a:cxn ang="0">
                  <a:pos x="261" y="141"/>
                </a:cxn>
                <a:cxn ang="0">
                  <a:pos x="374" y="69"/>
                </a:cxn>
                <a:cxn ang="0">
                  <a:pos x="438" y="107"/>
                </a:cxn>
                <a:cxn ang="0">
                  <a:pos x="389" y="175"/>
                </a:cxn>
                <a:cxn ang="0">
                  <a:pos x="310" y="186"/>
                </a:cxn>
                <a:cxn ang="0">
                  <a:pos x="261" y="130"/>
                </a:cxn>
                <a:cxn ang="0">
                  <a:pos x="745" y="156"/>
                </a:cxn>
                <a:cxn ang="0">
                  <a:pos x="730" y="252"/>
                </a:cxn>
                <a:cxn ang="0">
                  <a:pos x="719" y="241"/>
                </a:cxn>
                <a:cxn ang="0">
                  <a:pos x="728" y="229"/>
                </a:cxn>
                <a:cxn ang="0">
                  <a:pos x="658" y="267"/>
                </a:cxn>
                <a:cxn ang="0">
                  <a:pos x="641" y="243"/>
                </a:cxn>
                <a:cxn ang="0">
                  <a:pos x="623" y="284"/>
                </a:cxn>
                <a:cxn ang="0">
                  <a:pos x="515" y="324"/>
                </a:cxn>
                <a:cxn ang="0">
                  <a:pos x="510" y="327"/>
                </a:cxn>
                <a:cxn ang="0">
                  <a:pos x="432" y="309"/>
                </a:cxn>
                <a:cxn ang="0">
                  <a:pos x="562" y="275"/>
                </a:cxn>
                <a:cxn ang="0">
                  <a:pos x="519" y="284"/>
                </a:cxn>
                <a:cxn ang="0">
                  <a:pos x="498" y="288"/>
                </a:cxn>
                <a:cxn ang="0">
                  <a:pos x="444" y="288"/>
                </a:cxn>
                <a:cxn ang="0">
                  <a:pos x="410" y="282"/>
                </a:cxn>
                <a:cxn ang="0">
                  <a:pos x="368" y="292"/>
                </a:cxn>
                <a:cxn ang="0">
                  <a:pos x="807" y="275"/>
                </a:cxn>
                <a:cxn ang="0">
                  <a:pos x="188" y="254"/>
                </a:cxn>
                <a:cxn ang="0">
                  <a:pos x="331" y="273"/>
                </a:cxn>
                <a:cxn ang="0">
                  <a:pos x="222" y="267"/>
                </a:cxn>
                <a:cxn ang="0">
                  <a:pos x="207" y="60"/>
                </a:cxn>
                <a:cxn ang="0">
                  <a:pos x="171" y="103"/>
                </a:cxn>
                <a:cxn ang="0">
                  <a:pos x="218" y="182"/>
                </a:cxn>
                <a:cxn ang="0">
                  <a:pos x="173" y="137"/>
                </a:cxn>
                <a:cxn ang="0">
                  <a:pos x="118" y="88"/>
                </a:cxn>
                <a:cxn ang="0">
                  <a:pos x="71" y="160"/>
                </a:cxn>
                <a:cxn ang="0">
                  <a:pos x="35" y="100"/>
                </a:cxn>
                <a:cxn ang="0">
                  <a:pos x="64" y="94"/>
                </a:cxn>
                <a:cxn ang="0">
                  <a:pos x="184" y="235"/>
                </a:cxn>
                <a:cxn ang="0">
                  <a:pos x="148" y="133"/>
                </a:cxn>
                <a:cxn ang="0">
                  <a:pos x="54" y="49"/>
                </a:cxn>
              </a:cxnLst>
              <a:rect l="0" t="0" r="r" b="b"/>
              <a:pathLst>
                <a:path w="848" h="333">
                  <a:moveTo>
                    <a:pt x="848" y="175"/>
                  </a:moveTo>
                  <a:lnTo>
                    <a:pt x="847" y="245"/>
                  </a:lnTo>
                  <a:lnTo>
                    <a:pt x="845" y="250"/>
                  </a:lnTo>
                  <a:lnTo>
                    <a:pt x="845" y="252"/>
                  </a:lnTo>
                  <a:lnTo>
                    <a:pt x="847" y="254"/>
                  </a:lnTo>
                  <a:lnTo>
                    <a:pt x="845" y="299"/>
                  </a:lnTo>
                  <a:lnTo>
                    <a:pt x="843" y="299"/>
                  </a:lnTo>
                  <a:lnTo>
                    <a:pt x="841" y="297"/>
                  </a:lnTo>
                  <a:lnTo>
                    <a:pt x="835" y="292"/>
                  </a:lnTo>
                  <a:lnTo>
                    <a:pt x="832" y="288"/>
                  </a:lnTo>
                  <a:lnTo>
                    <a:pt x="832" y="288"/>
                  </a:lnTo>
                  <a:lnTo>
                    <a:pt x="828" y="284"/>
                  </a:lnTo>
                  <a:lnTo>
                    <a:pt x="828" y="284"/>
                  </a:lnTo>
                  <a:lnTo>
                    <a:pt x="828" y="280"/>
                  </a:lnTo>
                  <a:lnTo>
                    <a:pt x="828" y="278"/>
                  </a:lnTo>
                  <a:lnTo>
                    <a:pt x="828" y="273"/>
                  </a:lnTo>
                  <a:lnTo>
                    <a:pt x="828" y="278"/>
                  </a:lnTo>
                  <a:lnTo>
                    <a:pt x="826" y="280"/>
                  </a:lnTo>
                  <a:lnTo>
                    <a:pt x="820" y="278"/>
                  </a:lnTo>
                  <a:lnTo>
                    <a:pt x="816" y="280"/>
                  </a:lnTo>
                  <a:lnTo>
                    <a:pt x="813" y="280"/>
                  </a:lnTo>
                  <a:lnTo>
                    <a:pt x="813" y="278"/>
                  </a:lnTo>
                  <a:lnTo>
                    <a:pt x="807" y="282"/>
                  </a:lnTo>
                  <a:lnTo>
                    <a:pt x="807" y="278"/>
                  </a:lnTo>
                  <a:lnTo>
                    <a:pt x="807" y="278"/>
                  </a:lnTo>
                  <a:lnTo>
                    <a:pt x="807" y="275"/>
                  </a:lnTo>
                  <a:lnTo>
                    <a:pt x="807" y="273"/>
                  </a:lnTo>
                  <a:lnTo>
                    <a:pt x="809" y="271"/>
                  </a:lnTo>
                  <a:lnTo>
                    <a:pt x="809" y="265"/>
                  </a:lnTo>
                  <a:lnTo>
                    <a:pt x="807" y="265"/>
                  </a:lnTo>
                  <a:lnTo>
                    <a:pt x="807" y="263"/>
                  </a:lnTo>
                  <a:lnTo>
                    <a:pt x="807" y="263"/>
                  </a:lnTo>
                  <a:lnTo>
                    <a:pt x="809" y="263"/>
                  </a:lnTo>
                  <a:lnTo>
                    <a:pt x="813" y="263"/>
                  </a:lnTo>
                  <a:lnTo>
                    <a:pt x="815" y="260"/>
                  </a:lnTo>
                  <a:lnTo>
                    <a:pt x="813" y="260"/>
                  </a:lnTo>
                  <a:lnTo>
                    <a:pt x="807" y="260"/>
                  </a:lnTo>
                  <a:lnTo>
                    <a:pt x="807" y="260"/>
                  </a:lnTo>
                  <a:lnTo>
                    <a:pt x="803" y="258"/>
                  </a:lnTo>
                  <a:lnTo>
                    <a:pt x="803" y="256"/>
                  </a:lnTo>
                  <a:lnTo>
                    <a:pt x="803" y="256"/>
                  </a:lnTo>
                  <a:lnTo>
                    <a:pt x="807" y="256"/>
                  </a:lnTo>
                  <a:lnTo>
                    <a:pt x="807" y="254"/>
                  </a:lnTo>
                  <a:lnTo>
                    <a:pt x="801" y="250"/>
                  </a:lnTo>
                  <a:lnTo>
                    <a:pt x="800" y="248"/>
                  </a:lnTo>
                  <a:lnTo>
                    <a:pt x="798" y="245"/>
                  </a:lnTo>
                  <a:lnTo>
                    <a:pt x="798" y="241"/>
                  </a:lnTo>
                  <a:lnTo>
                    <a:pt x="794" y="239"/>
                  </a:lnTo>
                  <a:lnTo>
                    <a:pt x="794" y="235"/>
                  </a:lnTo>
                  <a:lnTo>
                    <a:pt x="798" y="233"/>
                  </a:lnTo>
                  <a:lnTo>
                    <a:pt x="794" y="233"/>
                  </a:lnTo>
                  <a:lnTo>
                    <a:pt x="792" y="231"/>
                  </a:lnTo>
                  <a:lnTo>
                    <a:pt x="794" y="231"/>
                  </a:lnTo>
                  <a:lnTo>
                    <a:pt x="792" y="229"/>
                  </a:lnTo>
                  <a:lnTo>
                    <a:pt x="794" y="226"/>
                  </a:lnTo>
                  <a:lnTo>
                    <a:pt x="790" y="228"/>
                  </a:lnTo>
                  <a:lnTo>
                    <a:pt x="788" y="226"/>
                  </a:lnTo>
                  <a:lnTo>
                    <a:pt x="786" y="226"/>
                  </a:lnTo>
                  <a:lnTo>
                    <a:pt x="784" y="226"/>
                  </a:lnTo>
                  <a:lnTo>
                    <a:pt x="788" y="222"/>
                  </a:lnTo>
                  <a:lnTo>
                    <a:pt x="784" y="224"/>
                  </a:lnTo>
                  <a:lnTo>
                    <a:pt x="783" y="224"/>
                  </a:lnTo>
                  <a:lnTo>
                    <a:pt x="777" y="222"/>
                  </a:lnTo>
                  <a:lnTo>
                    <a:pt x="777" y="218"/>
                  </a:lnTo>
                  <a:lnTo>
                    <a:pt x="771" y="216"/>
                  </a:lnTo>
                  <a:lnTo>
                    <a:pt x="768" y="216"/>
                  </a:lnTo>
                  <a:lnTo>
                    <a:pt x="756" y="214"/>
                  </a:lnTo>
                  <a:lnTo>
                    <a:pt x="747" y="211"/>
                  </a:lnTo>
                  <a:lnTo>
                    <a:pt x="741" y="211"/>
                  </a:lnTo>
                  <a:lnTo>
                    <a:pt x="736" y="209"/>
                  </a:lnTo>
                  <a:lnTo>
                    <a:pt x="736" y="207"/>
                  </a:lnTo>
                  <a:lnTo>
                    <a:pt x="734" y="205"/>
                  </a:lnTo>
                  <a:lnTo>
                    <a:pt x="730" y="205"/>
                  </a:lnTo>
                  <a:lnTo>
                    <a:pt x="730" y="201"/>
                  </a:lnTo>
                  <a:lnTo>
                    <a:pt x="734" y="201"/>
                  </a:lnTo>
                  <a:lnTo>
                    <a:pt x="736" y="201"/>
                  </a:lnTo>
                  <a:lnTo>
                    <a:pt x="734" y="201"/>
                  </a:lnTo>
                  <a:lnTo>
                    <a:pt x="732" y="199"/>
                  </a:lnTo>
                  <a:lnTo>
                    <a:pt x="728" y="201"/>
                  </a:lnTo>
                  <a:lnTo>
                    <a:pt x="728" y="199"/>
                  </a:lnTo>
                  <a:lnTo>
                    <a:pt x="724" y="199"/>
                  </a:lnTo>
                  <a:lnTo>
                    <a:pt x="724" y="197"/>
                  </a:lnTo>
                  <a:lnTo>
                    <a:pt x="722" y="199"/>
                  </a:lnTo>
                  <a:lnTo>
                    <a:pt x="722" y="196"/>
                  </a:lnTo>
                  <a:lnTo>
                    <a:pt x="719" y="196"/>
                  </a:lnTo>
                  <a:lnTo>
                    <a:pt x="719" y="196"/>
                  </a:lnTo>
                  <a:lnTo>
                    <a:pt x="719" y="197"/>
                  </a:lnTo>
                  <a:lnTo>
                    <a:pt x="715" y="196"/>
                  </a:lnTo>
                  <a:lnTo>
                    <a:pt x="715" y="190"/>
                  </a:lnTo>
                  <a:lnTo>
                    <a:pt x="713" y="186"/>
                  </a:lnTo>
                  <a:lnTo>
                    <a:pt x="715" y="184"/>
                  </a:lnTo>
                  <a:lnTo>
                    <a:pt x="715" y="181"/>
                  </a:lnTo>
                  <a:lnTo>
                    <a:pt x="713" y="184"/>
                  </a:lnTo>
                  <a:lnTo>
                    <a:pt x="713" y="186"/>
                  </a:lnTo>
                  <a:lnTo>
                    <a:pt x="711" y="190"/>
                  </a:lnTo>
                  <a:lnTo>
                    <a:pt x="709" y="190"/>
                  </a:lnTo>
                  <a:lnTo>
                    <a:pt x="707" y="196"/>
                  </a:lnTo>
                  <a:lnTo>
                    <a:pt x="707" y="199"/>
                  </a:lnTo>
                  <a:lnTo>
                    <a:pt x="704" y="203"/>
                  </a:lnTo>
                  <a:lnTo>
                    <a:pt x="700" y="205"/>
                  </a:lnTo>
                  <a:lnTo>
                    <a:pt x="698" y="203"/>
                  </a:lnTo>
                  <a:lnTo>
                    <a:pt x="694" y="197"/>
                  </a:lnTo>
                  <a:lnTo>
                    <a:pt x="694" y="194"/>
                  </a:lnTo>
                  <a:lnTo>
                    <a:pt x="694" y="194"/>
                  </a:lnTo>
                  <a:lnTo>
                    <a:pt x="698" y="192"/>
                  </a:lnTo>
                  <a:lnTo>
                    <a:pt x="694" y="190"/>
                  </a:lnTo>
                  <a:lnTo>
                    <a:pt x="694" y="190"/>
                  </a:lnTo>
                  <a:lnTo>
                    <a:pt x="690" y="190"/>
                  </a:lnTo>
                  <a:lnTo>
                    <a:pt x="690" y="184"/>
                  </a:lnTo>
                  <a:lnTo>
                    <a:pt x="687" y="182"/>
                  </a:lnTo>
                  <a:lnTo>
                    <a:pt x="683" y="182"/>
                  </a:lnTo>
                  <a:lnTo>
                    <a:pt x="681" y="181"/>
                  </a:lnTo>
                  <a:lnTo>
                    <a:pt x="683" y="177"/>
                  </a:lnTo>
                  <a:lnTo>
                    <a:pt x="688" y="177"/>
                  </a:lnTo>
                  <a:lnTo>
                    <a:pt x="690" y="179"/>
                  </a:lnTo>
                  <a:lnTo>
                    <a:pt x="694" y="179"/>
                  </a:lnTo>
                  <a:lnTo>
                    <a:pt x="694" y="181"/>
                  </a:lnTo>
                  <a:lnTo>
                    <a:pt x="700" y="179"/>
                  </a:lnTo>
                  <a:lnTo>
                    <a:pt x="700" y="173"/>
                  </a:lnTo>
                  <a:lnTo>
                    <a:pt x="704" y="173"/>
                  </a:lnTo>
                  <a:lnTo>
                    <a:pt x="709" y="175"/>
                  </a:lnTo>
                  <a:lnTo>
                    <a:pt x="711" y="179"/>
                  </a:lnTo>
                  <a:lnTo>
                    <a:pt x="713" y="175"/>
                  </a:lnTo>
                  <a:lnTo>
                    <a:pt x="715" y="173"/>
                  </a:lnTo>
                  <a:lnTo>
                    <a:pt x="715" y="173"/>
                  </a:lnTo>
                  <a:lnTo>
                    <a:pt x="719" y="169"/>
                  </a:lnTo>
                  <a:lnTo>
                    <a:pt x="715" y="165"/>
                  </a:lnTo>
                  <a:lnTo>
                    <a:pt x="707" y="165"/>
                  </a:lnTo>
                  <a:lnTo>
                    <a:pt x="709" y="167"/>
                  </a:lnTo>
                  <a:lnTo>
                    <a:pt x="705" y="167"/>
                  </a:lnTo>
                  <a:lnTo>
                    <a:pt x="704" y="167"/>
                  </a:lnTo>
                  <a:lnTo>
                    <a:pt x="698" y="169"/>
                  </a:lnTo>
                  <a:lnTo>
                    <a:pt x="698" y="167"/>
                  </a:lnTo>
                  <a:lnTo>
                    <a:pt x="694" y="169"/>
                  </a:lnTo>
                  <a:lnTo>
                    <a:pt x="690" y="167"/>
                  </a:lnTo>
                  <a:lnTo>
                    <a:pt x="688" y="167"/>
                  </a:lnTo>
                  <a:lnTo>
                    <a:pt x="685" y="167"/>
                  </a:lnTo>
                  <a:lnTo>
                    <a:pt x="681" y="165"/>
                  </a:lnTo>
                  <a:lnTo>
                    <a:pt x="681" y="162"/>
                  </a:lnTo>
                  <a:lnTo>
                    <a:pt x="681" y="160"/>
                  </a:lnTo>
                  <a:lnTo>
                    <a:pt x="679" y="156"/>
                  </a:lnTo>
                  <a:lnTo>
                    <a:pt x="673" y="154"/>
                  </a:lnTo>
                  <a:lnTo>
                    <a:pt x="673" y="150"/>
                  </a:lnTo>
                  <a:lnTo>
                    <a:pt x="670" y="152"/>
                  </a:lnTo>
                  <a:lnTo>
                    <a:pt x="670" y="154"/>
                  </a:lnTo>
                  <a:lnTo>
                    <a:pt x="664" y="154"/>
                  </a:lnTo>
                  <a:lnTo>
                    <a:pt x="664" y="152"/>
                  </a:lnTo>
                  <a:lnTo>
                    <a:pt x="670" y="148"/>
                  </a:lnTo>
                  <a:lnTo>
                    <a:pt x="670" y="145"/>
                  </a:lnTo>
                  <a:lnTo>
                    <a:pt x="670" y="143"/>
                  </a:lnTo>
                  <a:lnTo>
                    <a:pt x="670" y="141"/>
                  </a:lnTo>
                  <a:lnTo>
                    <a:pt x="675" y="141"/>
                  </a:lnTo>
                  <a:lnTo>
                    <a:pt x="677" y="137"/>
                  </a:lnTo>
                  <a:lnTo>
                    <a:pt x="681" y="137"/>
                  </a:lnTo>
                  <a:lnTo>
                    <a:pt x="687" y="133"/>
                  </a:lnTo>
                  <a:lnTo>
                    <a:pt x="688" y="133"/>
                  </a:lnTo>
                  <a:lnTo>
                    <a:pt x="694" y="132"/>
                  </a:lnTo>
                  <a:lnTo>
                    <a:pt x="702" y="133"/>
                  </a:lnTo>
                  <a:lnTo>
                    <a:pt x="709" y="141"/>
                  </a:lnTo>
                  <a:lnTo>
                    <a:pt x="715" y="137"/>
                  </a:lnTo>
                  <a:lnTo>
                    <a:pt x="719" y="141"/>
                  </a:lnTo>
                  <a:lnTo>
                    <a:pt x="722" y="141"/>
                  </a:lnTo>
                  <a:lnTo>
                    <a:pt x="722" y="143"/>
                  </a:lnTo>
                  <a:lnTo>
                    <a:pt x="722" y="147"/>
                  </a:lnTo>
                  <a:lnTo>
                    <a:pt x="724" y="150"/>
                  </a:lnTo>
                  <a:lnTo>
                    <a:pt x="724" y="154"/>
                  </a:lnTo>
                  <a:lnTo>
                    <a:pt x="724" y="158"/>
                  </a:lnTo>
                  <a:lnTo>
                    <a:pt x="722" y="162"/>
                  </a:lnTo>
                  <a:lnTo>
                    <a:pt x="722" y="165"/>
                  </a:lnTo>
                  <a:lnTo>
                    <a:pt x="724" y="173"/>
                  </a:lnTo>
                  <a:lnTo>
                    <a:pt x="724" y="179"/>
                  </a:lnTo>
                  <a:lnTo>
                    <a:pt x="728" y="181"/>
                  </a:lnTo>
                  <a:lnTo>
                    <a:pt x="728" y="181"/>
                  </a:lnTo>
                  <a:lnTo>
                    <a:pt x="728" y="175"/>
                  </a:lnTo>
                  <a:lnTo>
                    <a:pt x="730" y="173"/>
                  </a:lnTo>
                  <a:lnTo>
                    <a:pt x="732" y="175"/>
                  </a:lnTo>
                  <a:lnTo>
                    <a:pt x="732" y="179"/>
                  </a:lnTo>
                  <a:lnTo>
                    <a:pt x="734" y="182"/>
                  </a:lnTo>
                  <a:lnTo>
                    <a:pt x="734" y="182"/>
                  </a:lnTo>
                  <a:lnTo>
                    <a:pt x="736" y="186"/>
                  </a:lnTo>
                  <a:lnTo>
                    <a:pt x="739" y="190"/>
                  </a:lnTo>
                  <a:lnTo>
                    <a:pt x="741" y="190"/>
                  </a:lnTo>
                  <a:lnTo>
                    <a:pt x="745" y="190"/>
                  </a:lnTo>
                  <a:lnTo>
                    <a:pt x="749" y="190"/>
                  </a:lnTo>
                  <a:lnTo>
                    <a:pt x="749" y="186"/>
                  </a:lnTo>
                  <a:lnTo>
                    <a:pt x="752" y="184"/>
                  </a:lnTo>
                  <a:lnTo>
                    <a:pt x="752" y="184"/>
                  </a:lnTo>
                  <a:lnTo>
                    <a:pt x="752" y="179"/>
                  </a:lnTo>
                  <a:lnTo>
                    <a:pt x="754" y="175"/>
                  </a:lnTo>
                  <a:lnTo>
                    <a:pt x="758" y="175"/>
                  </a:lnTo>
                  <a:lnTo>
                    <a:pt x="762" y="173"/>
                  </a:lnTo>
                  <a:lnTo>
                    <a:pt x="764" y="169"/>
                  </a:lnTo>
                  <a:lnTo>
                    <a:pt x="764" y="167"/>
                  </a:lnTo>
                  <a:lnTo>
                    <a:pt x="766" y="167"/>
                  </a:lnTo>
                  <a:lnTo>
                    <a:pt x="769" y="167"/>
                  </a:lnTo>
                  <a:lnTo>
                    <a:pt x="773" y="165"/>
                  </a:lnTo>
                  <a:lnTo>
                    <a:pt x="777" y="165"/>
                  </a:lnTo>
                  <a:lnTo>
                    <a:pt x="777" y="162"/>
                  </a:lnTo>
                  <a:lnTo>
                    <a:pt x="777" y="160"/>
                  </a:lnTo>
                  <a:lnTo>
                    <a:pt x="777" y="158"/>
                  </a:lnTo>
                  <a:lnTo>
                    <a:pt x="786" y="152"/>
                  </a:lnTo>
                  <a:lnTo>
                    <a:pt x="790" y="154"/>
                  </a:lnTo>
                  <a:lnTo>
                    <a:pt x="794" y="156"/>
                  </a:lnTo>
                  <a:lnTo>
                    <a:pt x="800" y="160"/>
                  </a:lnTo>
                  <a:lnTo>
                    <a:pt x="807" y="160"/>
                  </a:lnTo>
                  <a:lnTo>
                    <a:pt x="809" y="162"/>
                  </a:lnTo>
                  <a:lnTo>
                    <a:pt x="813" y="162"/>
                  </a:lnTo>
                  <a:lnTo>
                    <a:pt x="816" y="165"/>
                  </a:lnTo>
                  <a:lnTo>
                    <a:pt x="828" y="169"/>
                  </a:lnTo>
                  <a:lnTo>
                    <a:pt x="832" y="169"/>
                  </a:lnTo>
                  <a:lnTo>
                    <a:pt x="832" y="169"/>
                  </a:lnTo>
                  <a:lnTo>
                    <a:pt x="837" y="169"/>
                  </a:lnTo>
                  <a:lnTo>
                    <a:pt x="841" y="169"/>
                  </a:lnTo>
                  <a:lnTo>
                    <a:pt x="843" y="171"/>
                  </a:lnTo>
                  <a:lnTo>
                    <a:pt x="843" y="173"/>
                  </a:lnTo>
                  <a:lnTo>
                    <a:pt x="843" y="175"/>
                  </a:lnTo>
                  <a:lnTo>
                    <a:pt x="847" y="177"/>
                  </a:lnTo>
                  <a:lnTo>
                    <a:pt x="848" y="175"/>
                  </a:lnTo>
                  <a:lnTo>
                    <a:pt x="848" y="175"/>
                  </a:lnTo>
                  <a:lnTo>
                    <a:pt x="848" y="175"/>
                  </a:lnTo>
                  <a:lnTo>
                    <a:pt x="848" y="175"/>
                  </a:lnTo>
                  <a:lnTo>
                    <a:pt x="848" y="175"/>
                  </a:lnTo>
                  <a:close/>
                  <a:moveTo>
                    <a:pt x="630" y="124"/>
                  </a:moveTo>
                  <a:lnTo>
                    <a:pt x="636" y="128"/>
                  </a:lnTo>
                  <a:lnTo>
                    <a:pt x="636" y="130"/>
                  </a:lnTo>
                  <a:lnTo>
                    <a:pt x="632" y="128"/>
                  </a:lnTo>
                  <a:lnTo>
                    <a:pt x="630" y="124"/>
                  </a:lnTo>
                  <a:lnTo>
                    <a:pt x="630" y="124"/>
                  </a:lnTo>
                  <a:lnTo>
                    <a:pt x="630" y="124"/>
                  </a:lnTo>
                  <a:lnTo>
                    <a:pt x="630" y="124"/>
                  </a:lnTo>
                  <a:close/>
                  <a:moveTo>
                    <a:pt x="666" y="133"/>
                  </a:moveTo>
                  <a:lnTo>
                    <a:pt x="670" y="133"/>
                  </a:lnTo>
                  <a:lnTo>
                    <a:pt x="673" y="132"/>
                  </a:lnTo>
                  <a:lnTo>
                    <a:pt x="670" y="130"/>
                  </a:lnTo>
                  <a:lnTo>
                    <a:pt x="666" y="126"/>
                  </a:lnTo>
                  <a:lnTo>
                    <a:pt x="660" y="126"/>
                  </a:lnTo>
                  <a:lnTo>
                    <a:pt x="658" y="130"/>
                  </a:lnTo>
                  <a:lnTo>
                    <a:pt x="655" y="130"/>
                  </a:lnTo>
                  <a:lnTo>
                    <a:pt x="653" y="130"/>
                  </a:lnTo>
                  <a:lnTo>
                    <a:pt x="655" y="132"/>
                  </a:lnTo>
                  <a:lnTo>
                    <a:pt x="651" y="132"/>
                  </a:lnTo>
                  <a:lnTo>
                    <a:pt x="656" y="133"/>
                  </a:lnTo>
                  <a:lnTo>
                    <a:pt x="660" y="133"/>
                  </a:lnTo>
                  <a:lnTo>
                    <a:pt x="664" y="133"/>
                  </a:lnTo>
                  <a:lnTo>
                    <a:pt x="664" y="132"/>
                  </a:lnTo>
                  <a:lnTo>
                    <a:pt x="660" y="132"/>
                  </a:lnTo>
                  <a:lnTo>
                    <a:pt x="660" y="130"/>
                  </a:lnTo>
                  <a:lnTo>
                    <a:pt x="660" y="130"/>
                  </a:lnTo>
                  <a:lnTo>
                    <a:pt x="666" y="133"/>
                  </a:lnTo>
                  <a:lnTo>
                    <a:pt x="666" y="133"/>
                  </a:lnTo>
                  <a:lnTo>
                    <a:pt x="666" y="133"/>
                  </a:lnTo>
                  <a:lnTo>
                    <a:pt x="666" y="133"/>
                  </a:lnTo>
                  <a:close/>
                  <a:moveTo>
                    <a:pt x="660" y="143"/>
                  </a:moveTo>
                  <a:lnTo>
                    <a:pt x="656" y="141"/>
                  </a:lnTo>
                  <a:lnTo>
                    <a:pt x="653" y="141"/>
                  </a:lnTo>
                  <a:lnTo>
                    <a:pt x="656" y="143"/>
                  </a:lnTo>
                  <a:lnTo>
                    <a:pt x="660" y="143"/>
                  </a:lnTo>
                  <a:lnTo>
                    <a:pt x="660" y="143"/>
                  </a:lnTo>
                  <a:lnTo>
                    <a:pt x="660" y="143"/>
                  </a:lnTo>
                  <a:lnTo>
                    <a:pt x="660" y="143"/>
                  </a:lnTo>
                  <a:close/>
                  <a:moveTo>
                    <a:pt x="664" y="141"/>
                  </a:moveTo>
                  <a:lnTo>
                    <a:pt x="660" y="143"/>
                  </a:lnTo>
                  <a:lnTo>
                    <a:pt x="660" y="141"/>
                  </a:lnTo>
                  <a:lnTo>
                    <a:pt x="664" y="141"/>
                  </a:lnTo>
                  <a:lnTo>
                    <a:pt x="664" y="141"/>
                  </a:lnTo>
                  <a:lnTo>
                    <a:pt x="664" y="141"/>
                  </a:lnTo>
                  <a:lnTo>
                    <a:pt x="664" y="141"/>
                  </a:lnTo>
                  <a:close/>
                  <a:moveTo>
                    <a:pt x="660" y="143"/>
                  </a:moveTo>
                  <a:lnTo>
                    <a:pt x="658" y="145"/>
                  </a:lnTo>
                  <a:lnTo>
                    <a:pt x="658" y="150"/>
                  </a:lnTo>
                  <a:lnTo>
                    <a:pt x="660" y="152"/>
                  </a:lnTo>
                  <a:lnTo>
                    <a:pt x="664" y="150"/>
                  </a:lnTo>
                  <a:lnTo>
                    <a:pt x="664" y="143"/>
                  </a:lnTo>
                  <a:lnTo>
                    <a:pt x="660" y="143"/>
                  </a:lnTo>
                  <a:lnTo>
                    <a:pt x="660" y="143"/>
                  </a:lnTo>
                  <a:lnTo>
                    <a:pt x="660" y="143"/>
                  </a:lnTo>
                  <a:lnTo>
                    <a:pt x="660" y="143"/>
                  </a:lnTo>
                  <a:close/>
                  <a:moveTo>
                    <a:pt x="560" y="54"/>
                  </a:moveTo>
                  <a:lnTo>
                    <a:pt x="562" y="58"/>
                  </a:lnTo>
                  <a:lnTo>
                    <a:pt x="564" y="60"/>
                  </a:lnTo>
                  <a:lnTo>
                    <a:pt x="562" y="64"/>
                  </a:lnTo>
                  <a:lnTo>
                    <a:pt x="560" y="60"/>
                  </a:lnTo>
                  <a:lnTo>
                    <a:pt x="560" y="56"/>
                  </a:lnTo>
                  <a:lnTo>
                    <a:pt x="560" y="54"/>
                  </a:lnTo>
                  <a:lnTo>
                    <a:pt x="560" y="54"/>
                  </a:lnTo>
                  <a:lnTo>
                    <a:pt x="560" y="54"/>
                  </a:lnTo>
                  <a:lnTo>
                    <a:pt x="560" y="54"/>
                  </a:lnTo>
                  <a:close/>
                  <a:moveTo>
                    <a:pt x="581" y="39"/>
                  </a:moveTo>
                  <a:lnTo>
                    <a:pt x="581" y="45"/>
                  </a:lnTo>
                  <a:lnTo>
                    <a:pt x="585" y="49"/>
                  </a:lnTo>
                  <a:lnTo>
                    <a:pt x="585" y="49"/>
                  </a:lnTo>
                  <a:lnTo>
                    <a:pt x="587" y="45"/>
                  </a:lnTo>
                  <a:lnTo>
                    <a:pt x="585" y="39"/>
                  </a:lnTo>
                  <a:lnTo>
                    <a:pt x="585" y="39"/>
                  </a:lnTo>
                  <a:lnTo>
                    <a:pt x="581" y="39"/>
                  </a:lnTo>
                  <a:lnTo>
                    <a:pt x="581" y="39"/>
                  </a:lnTo>
                  <a:lnTo>
                    <a:pt x="581" y="39"/>
                  </a:lnTo>
                  <a:lnTo>
                    <a:pt x="581" y="39"/>
                  </a:lnTo>
                  <a:close/>
                  <a:moveTo>
                    <a:pt x="581" y="49"/>
                  </a:moveTo>
                  <a:lnTo>
                    <a:pt x="585" y="51"/>
                  </a:lnTo>
                  <a:lnTo>
                    <a:pt x="585" y="54"/>
                  </a:lnTo>
                  <a:lnTo>
                    <a:pt x="585" y="54"/>
                  </a:lnTo>
                  <a:lnTo>
                    <a:pt x="585" y="54"/>
                  </a:lnTo>
                  <a:lnTo>
                    <a:pt x="581" y="49"/>
                  </a:lnTo>
                  <a:lnTo>
                    <a:pt x="581" y="49"/>
                  </a:lnTo>
                  <a:lnTo>
                    <a:pt x="581" y="49"/>
                  </a:lnTo>
                  <a:lnTo>
                    <a:pt x="581" y="49"/>
                  </a:lnTo>
                  <a:close/>
                  <a:moveTo>
                    <a:pt x="611" y="84"/>
                  </a:moveTo>
                  <a:lnTo>
                    <a:pt x="611" y="88"/>
                  </a:lnTo>
                  <a:lnTo>
                    <a:pt x="615" y="88"/>
                  </a:lnTo>
                  <a:lnTo>
                    <a:pt x="617" y="88"/>
                  </a:lnTo>
                  <a:lnTo>
                    <a:pt x="619" y="84"/>
                  </a:lnTo>
                  <a:lnTo>
                    <a:pt x="619" y="83"/>
                  </a:lnTo>
                  <a:lnTo>
                    <a:pt x="615" y="81"/>
                  </a:lnTo>
                  <a:lnTo>
                    <a:pt x="615" y="83"/>
                  </a:lnTo>
                  <a:lnTo>
                    <a:pt x="611" y="84"/>
                  </a:lnTo>
                  <a:lnTo>
                    <a:pt x="611" y="84"/>
                  </a:lnTo>
                  <a:lnTo>
                    <a:pt x="611" y="84"/>
                  </a:lnTo>
                  <a:lnTo>
                    <a:pt x="611" y="84"/>
                  </a:lnTo>
                  <a:close/>
                  <a:moveTo>
                    <a:pt x="609" y="133"/>
                  </a:moveTo>
                  <a:lnTo>
                    <a:pt x="609" y="137"/>
                  </a:lnTo>
                  <a:lnTo>
                    <a:pt x="615" y="141"/>
                  </a:lnTo>
                  <a:lnTo>
                    <a:pt x="615" y="143"/>
                  </a:lnTo>
                  <a:lnTo>
                    <a:pt x="615" y="143"/>
                  </a:lnTo>
                  <a:lnTo>
                    <a:pt x="615" y="147"/>
                  </a:lnTo>
                  <a:lnTo>
                    <a:pt x="611" y="143"/>
                  </a:lnTo>
                  <a:lnTo>
                    <a:pt x="609" y="141"/>
                  </a:lnTo>
                  <a:lnTo>
                    <a:pt x="606" y="137"/>
                  </a:lnTo>
                  <a:lnTo>
                    <a:pt x="604" y="133"/>
                  </a:lnTo>
                  <a:lnTo>
                    <a:pt x="600" y="130"/>
                  </a:lnTo>
                  <a:lnTo>
                    <a:pt x="602" y="126"/>
                  </a:lnTo>
                  <a:lnTo>
                    <a:pt x="602" y="124"/>
                  </a:lnTo>
                  <a:lnTo>
                    <a:pt x="602" y="122"/>
                  </a:lnTo>
                  <a:lnTo>
                    <a:pt x="598" y="118"/>
                  </a:lnTo>
                  <a:lnTo>
                    <a:pt x="598" y="116"/>
                  </a:lnTo>
                  <a:lnTo>
                    <a:pt x="600" y="113"/>
                  </a:lnTo>
                  <a:lnTo>
                    <a:pt x="598" y="109"/>
                  </a:lnTo>
                  <a:lnTo>
                    <a:pt x="596" y="107"/>
                  </a:lnTo>
                  <a:lnTo>
                    <a:pt x="598" y="101"/>
                  </a:lnTo>
                  <a:lnTo>
                    <a:pt x="600" y="100"/>
                  </a:lnTo>
                  <a:lnTo>
                    <a:pt x="600" y="98"/>
                  </a:lnTo>
                  <a:lnTo>
                    <a:pt x="600" y="92"/>
                  </a:lnTo>
                  <a:lnTo>
                    <a:pt x="606" y="84"/>
                  </a:lnTo>
                  <a:lnTo>
                    <a:pt x="609" y="84"/>
                  </a:lnTo>
                  <a:lnTo>
                    <a:pt x="606" y="88"/>
                  </a:lnTo>
                  <a:lnTo>
                    <a:pt x="606" y="92"/>
                  </a:lnTo>
                  <a:lnTo>
                    <a:pt x="606" y="92"/>
                  </a:lnTo>
                  <a:lnTo>
                    <a:pt x="609" y="92"/>
                  </a:lnTo>
                  <a:lnTo>
                    <a:pt x="609" y="100"/>
                  </a:lnTo>
                  <a:lnTo>
                    <a:pt x="606" y="103"/>
                  </a:lnTo>
                  <a:lnTo>
                    <a:pt x="604" y="103"/>
                  </a:lnTo>
                  <a:lnTo>
                    <a:pt x="602" y="107"/>
                  </a:lnTo>
                  <a:lnTo>
                    <a:pt x="604" y="109"/>
                  </a:lnTo>
                  <a:lnTo>
                    <a:pt x="606" y="109"/>
                  </a:lnTo>
                  <a:lnTo>
                    <a:pt x="606" y="107"/>
                  </a:lnTo>
                  <a:lnTo>
                    <a:pt x="611" y="105"/>
                  </a:lnTo>
                  <a:lnTo>
                    <a:pt x="611" y="103"/>
                  </a:lnTo>
                  <a:lnTo>
                    <a:pt x="609" y="103"/>
                  </a:lnTo>
                  <a:lnTo>
                    <a:pt x="611" y="100"/>
                  </a:lnTo>
                  <a:lnTo>
                    <a:pt x="615" y="98"/>
                  </a:lnTo>
                  <a:lnTo>
                    <a:pt x="621" y="98"/>
                  </a:lnTo>
                  <a:lnTo>
                    <a:pt x="623" y="98"/>
                  </a:lnTo>
                  <a:lnTo>
                    <a:pt x="623" y="100"/>
                  </a:lnTo>
                  <a:lnTo>
                    <a:pt x="621" y="107"/>
                  </a:lnTo>
                  <a:lnTo>
                    <a:pt x="615" y="109"/>
                  </a:lnTo>
                  <a:lnTo>
                    <a:pt x="611" y="113"/>
                  </a:lnTo>
                  <a:lnTo>
                    <a:pt x="615" y="113"/>
                  </a:lnTo>
                  <a:lnTo>
                    <a:pt x="615" y="113"/>
                  </a:lnTo>
                  <a:lnTo>
                    <a:pt x="621" y="116"/>
                  </a:lnTo>
                  <a:lnTo>
                    <a:pt x="621" y="122"/>
                  </a:lnTo>
                  <a:lnTo>
                    <a:pt x="623" y="122"/>
                  </a:lnTo>
                  <a:lnTo>
                    <a:pt x="619" y="122"/>
                  </a:lnTo>
                  <a:lnTo>
                    <a:pt x="615" y="122"/>
                  </a:lnTo>
                  <a:lnTo>
                    <a:pt x="611" y="122"/>
                  </a:lnTo>
                  <a:lnTo>
                    <a:pt x="606" y="118"/>
                  </a:lnTo>
                  <a:lnTo>
                    <a:pt x="606" y="118"/>
                  </a:lnTo>
                  <a:lnTo>
                    <a:pt x="606" y="126"/>
                  </a:lnTo>
                  <a:lnTo>
                    <a:pt x="609" y="133"/>
                  </a:lnTo>
                  <a:lnTo>
                    <a:pt x="609" y="133"/>
                  </a:lnTo>
                  <a:lnTo>
                    <a:pt x="609" y="133"/>
                  </a:lnTo>
                  <a:lnTo>
                    <a:pt x="609" y="133"/>
                  </a:lnTo>
                  <a:close/>
                  <a:moveTo>
                    <a:pt x="592" y="141"/>
                  </a:moveTo>
                  <a:lnTo>
                    <a:pt x="594" y="143"/>
                  </a:lnTo>
                  <a:lnTo>
                    <a:pt x="591" y="141"/>
                  </a:lnTo>
                  <a:lnTo>
                    <a:pt x="592" y="141"/>
                  </a:lnTo>
                  <a:lnTo>
                    <a:pt x="592" y="141"/>
                  </a:lnTo>
                  <a:lnTo>
                    <a:pt x="592" y="141"/>
                  </a:lnTo>
                  <a:lnTo>
                    <a:pt x="592" y="141"/>
                  </a:lnTo>
                  <a:lnTo>
                    <a:pt x="592" y="141"/>
                  </a:lnTo>
                  <a:close/>
                  <a:moveTo>
                    <a:pt x="592" y="133"/>
                  </a:moveTo>
                  <a:lnTo>
                    <a:pt x="591" y="133"/>
                  </a:lnTo>
                  <a:lnTo>
                    <a:pt x="589" y="137"/>
                  </a:lnTo>
                  <a:lnTo>
                    <a:pt x="592" y="137"/>
                  </a:lnTo>
                  <a:lnTo>
                    <a:pt x="592" y="133"/>
                  </a:lnTo>
                  <a:lnTo>
                    <a:pt x="592" y="133"/>
                  </a:lnTo>
                  <a:lnTo>
                    <a:pt x="592" y="133"/>
                  </a:lnTo>
                  <a:lnTo>
                    <a:pt x="592" y="133"/>
                  </a:lnTo>
                  <a:lnTo>
                    <a:pt x="592" y="133"/>
                  </a:lnTo>
                  <a:close/>
                  <a:moveTo>
                    <a:pt x="596" y="133"/>
                  </a:moveTo>
                  <a:lnTo>
                    <a:pt x="594" y="137"/>
                  </a:lnTo>
                  <a:lnTo>
                    <a:pt x="594" y="137"/>
                  </a:lnTo>
                  <a:lnTo>
                    <a:pt x="596" y="141"/>
                  </a:lnTo>
                  <a:lnTo>
                    <a:pt x="600" y="141"/>
                  </a:lnTo>
                  <a:lnTo>
                    <a:pt x="602" y="143"/>
                  </a:lnTo>
                  <a:lnTo>
                    <a:pt x="604" y="141"/>
                  </a:lnTo>
                  <a:lnTo>
                    <a:pt x="604" y="141"/>
                  </a:lnTo>
                  <a:lnTo>
                    <a:pt x="600" y="141"/>
                  </a:lnTo>
                  <a:lnTo>
                    <a:pt x="600" y="137"/>
                  </a:lnTo>
                  <a:lnTo>
                    <a:pt x="598" y="133"/>
                  </a:lnTo>
                  <a:lnTo>
                    <a:pt x="596" y="133"/>
                  </a:lnTo>
                  <a:lnTo>
                    <a:pt x="596" y="133"/>
                  </a:lnTo>
                  <a:lnTo>
                    <a:pt x="596" y="133"/>
                  </a:lnTo>
                  <a:lnTo>
                    <a:pt x="596" y="133"/>
                  </a:lnTo>
                  <a:close/>
                  <a:moveTo>
                    <a:pt x="594" y="158"/>
                  </a:moveTo>
                  <a:lnTo>
                    <a:pt x="600" y="152"/>
                  </a:lnTo>
                  <a:lnTo>
                    <a:pt x="606" y="152"/>
                  </a:lnTo>
                  <a:lnTo>
                    <a:pt x="611" y="158"/>
                  </a:lnTo>
                  <a:lnTo>
                    <a:pt x="609" y="160"/>
                  </a:lnTo>
                  <a:lnTo>
                    <a:pt x="606" y="160"/>
                  </a:lnTo>
                  <a:lnTo>
                    <a:pt x="604" y="160"/>
                  </a:lnTo>
                  <a:lnTo>
                    <a:pt x="600" y="162"/>
                  </a:lnTo>
                  <a:lnTo>
                    <a:pt x="598" y="160"/>
                  </a:lnTo>
                  <a:lnTo>
                    <a:pt x="594" y="158"/>
                  </a:lnTo>
                  <a:lnTo>
                    <a:pt x="594" y="158"/>
                  </a:lnTo>
                  <a:lnTo>
                    <a:pt x="594" y="158"/>
                  </a:lnTo>
                  <a:lnTo>
                    <a:pt x="594" y="158"/>
                  </a:lnTo>
                  <a:close/>
                  <a:moveTo>
                    <a:pt x="649" y="160"/>
                  </a:moveTo>
                  <a:lnTo>
                    <a:pt x="641" y="160"/>
                  </a:lnTo>
                  <a:lnTo>
                    <a:pt x="640" y="162"/>
                  </a:lnTo>
                  <a:lnTo>
                    <a:pt x="640" y="162"/>
                  </a:lnTo>
                  <a:lnTo>
                    <a:pt x="649" y="165"/>
                  </a:lnTo>
                  <a:lnTo>
                    <a:pt x="653" y="162"/>
                  </a:lnTo>
                  <a:lnTo>
                    <a:pt x="651" y="162"/>
                  </a:lnTo>
                  <a:lnTo>
                    <a:pt x="651" y="160"/>
                  </a:lnTo>
                  <a:lnTo>
                    <a:pt x="649" y="160"/>
                  </a:lnTo>
                  <a:lnTo>
                    <a:pt x="649" y="160"/>
                  </a:lnTo>
                  <a:lnTo>
                    <a:pt x="649" y="160"/>
                  </a:lnTo>
                  <a:lnTo>
                    <a:pt x="649" y="160"/>
                  </a:lnTo>
                  <a:close/>
                  <a:moveTo>
                    <a:pt x="617" y="194"/>
                  </a:moveTo>
                  <a:lnTo>
                    <a:pt x="619" y="194"/>
                  </a:lnTo>
                  <a:lnTo>
                    <a:pt x="619" y="196"/>
                  </a:lnTo>
                  <a:lnTo>
                    <a:pt x="617" y="196"/>
                  </a:lnTo>
                  <a:lnTo>
                    <a:pt x="617" y="194"/>
                  </a:lnTo>
                  <a:lnTo>
                    <a:pt x="617" y="194"/>
                  </a:lnTo>
                  <a:lnTo>
                    <a:pt x="617" y="194"/>
                  </a:lnTo>
                  <a:lnTo>
                    <a:pt x="617" y="194"/>
                  </a:lnTo>
                  <a:close/>
                  <a:moveTo>
                    <a:pt x="615" y="194"/>
                  </a:moveTo>
                  <a:lnTo>
                    <a:pt x="615" y="194"/>
                  </a:lnTo>
                  <a:lnTo>
                    <a:pt x="615" y="196"/>
                  </a:lnTo>
                  <a:lnTo>
                    <a:pt x="615" y="196"/>
                  </a:lnTo>
                  <a:lnTo>
                    <a:pt x="615" y="194"/>
                  </a:lnTo>
                  <a:lnTo>
                    <a:pt x="615" y="194"/>
                  </a:lnTo>
                  <a:lnTo>
                    <a:pt x="615" y="194"/>
                  </a:lnTo>
                  <a:lnTo>
                    <a:pt x="615" y="194"/>
                  </a:lnTo>
                  <a:close/>
                  <a:moveTo>
                    <a:pt x="604" y="196"/>
                  </a:moveTo>
                  <a:lnTo>
                    <a:pt x="609" y="194"/>
                  </a:lnTo>
                  <a:lnTo>
                    <a:pt x="611" y="194"/>
                  </a:lnTo>
                  <a:lnTo>
                    <a:pt x="611" y="194"/>
                  </a:lnTo>
                  <a:lnTo>
                    <a:pt x="611" y="197"/>
                  </a:lnTo>
                  <a:lnTo>
                    <a:pt x="609" y="196"/>
                  </a:lnTo>
                  <a:lnTo>
                    <a:pt x="606" y="197"/>
                  </a:lnTo>
                  <a:lnTo>
                    <a:pt x="604" y="196"/>
                  </a:lnTo>
                  <a:lnTo>
                    <a:pt x="604" y="196"/>
                  </a:lnTo>
                  <a:lnTo>
                    <a:pt x="604" y="196"/>
                  </a:lnTo>
                  <a:lnTo>
                    <a:pt x="604" y="196"/>
                  </a:lnTo>
                  <a:close/>
                  <a:moveTo>
                    <a:pt x="604" y="186"/>
                  </a:moveTo>
                  <a:lnTo>
                    <a:pt x="600" y="186"/>
                  </a:lnTo>
                  <a:lnTo>
                    <a:pt x="604" y="186"/>
                  </a:lnTo>
                  <a:lnTo>
                    <a:pt x="604" y="186"/>
                  </a:lnTo>
                  <a:lnTo>
                    <a:pt x="604" y="186"/>
                  </a:lnTo>
                  <a:lnTo>
                    <a:pt x="604" y="186"/>
                  </a:lnTo>
                  <a:lnTo>
                    <a:pt x="604" y="186"/>
                  </a:lnTo>
                  <a:close/>
                  <a:moveTo>
                    <a:pt x="606" y="182"/>
                  </a:moveTo>
                  <a:lnTo>
                    <a:pt x="604" y="182"/>
                  </a:lnTo>
                  <a:lnTo>
                    <a:pt x="604" y="184"/>
                  </a:lnTo>
                  <a:lnTo>
                    <a:pt x="606" y="184"/>
                  </a:lnTo>
                  <a:lnTo>
                    <a:pt x="606" y="182"/>
                  </a:lnTo>
                  <a:lnTo>
                    <a:pt x="606" y="182"/>
                  </a:lnTo>
                  <a:lnTo>
                    <a:pt x="606" y="182"/>
                  </a:lnTo>
                  <a:lnTo>
                    <a:pt x="606" y="182"/>
                  </a:lnTo>
                  <a:close/>
                  <a:moveTo>
                    <a:pt x="606" y="192"/>
                  </a:moveTo>
                  <a:lnTo>
                    <a:pt x="611" y="186"/>
                  </a:lnTo>
                  <a:lnTo>
                    <a:pt x="615" y="190"/>
                  </a:lnTo>
                  <a:lnTo>
                    <a:pt x="615" y="192"/>
                  </a:lnTo>
                  <a:lnTo>
                    <a:pt x="619" y="190"/>
                  </a:lnTo>
                  <a:lnTo>
                    <a:pt x="623" y="186"/>
                  </a:lnTo>
                  <a:lnTo>
                    <a:pt x="624" y="186"/>
                  </a:lnTo>
                  <a:lnTo>
                    <a:pt x="626" y="190"/>
                  </a:lnTo>
                  <a:lnTo>
                    <a:pt x="636" y="192"/>
                  </a:lnTo>
                  <a:lnTo>
                    <a:pt x="636" y="190"/>
                  </a:lnTo>
                  <a:lnTo>
                    <a:pt x="640" y="190"/>
                  </a:lnTo>
                  <a:lnTo>
                    <a:pt x="649" y="194"/>
                  </a:lnTo>
                  <a:lnTo>
                    <a:pt x="651" y="194"/>
                  </a:lnTo>
                  <a:lnTo>
                    <a:pt x="655" y="199"/>
                  </a:lnTo>
                  <a:lnTo>
                    <a:pt x="658" y="199"/>
                  </a:lnTo>
                  <a:lnTo>
                    <a:pt x="660" y="196"/>
                  </a:lnTo>
                  <a:lnTo>
                    <a:pt x="658" y="190"/>
                  </a:lnTo>
                  <a:lnTo>
                    <a:pt x="649" y="184"/>
                  </a:lnTo>
                  <a:lnTo>
                    <a:pt x="640" y="182"/>
                  </a:lnTo>
                  <a:lnTo>
                    <a:pt x="636" y="181"/>
                  </a:lnTo>
                  <a:lnTo>
                    <a:pt x="634" y="179"/>
                  </a:lnTo>
                  <a:lnTo>
                    <a:pt x="630" y="182"/>
                  </a:lnTo>
                  <a:lnTo>
                    <a:pt x="626" y="182"/>
                  </a:lnTo>
                  <a:lnTo>
                    <a:pt x="623" y="181"/>
                  </a:lnTo>
                  <a:lnTo>
                    <a:pt x="617" y="181"/>
                  </a:lnTo>
                  <a:lnTo>
                    <a:pt x="611" y="181"/>
                  </a:lnTo>
                  <a:lnTo>
                    <a:pt x="609" y="184"/>
                  </a:lnTo>
                  <a:lnTo>
                    <a:pt x="609" y="186"/>
                  </a:lnTo>
                  <a:lnTo>
                    <a:pt x="606" y="186"/>
                  </a:lnTo>
                  <a:lnTo>
                    <a:pt x="606" y="190"/>
                  </a:lnTo>
                  <a:lnTo>
                    <a:pt x="606" y="192"/>
                  </a:lnTo>
                  <a:lnTo>
                    <a:pt x="606" y="192"/>
                  </a:lnTo>
                  <a:lnTo>
                    <a:pt x="606" y="192"/>
                  </a:lnTo>
                  <a:lnTo>
                    <a:pt x="606" y="192"/>
                  </a:lnTo>
                  <a:lnTo>
                    <a:pt x="606" y="192"/>
                  </a:lnTo>
                  <a:close/>
                  <a:moveTo>
                    <a:pt x="572" y="186"/>
                  </a:moveTo>
                  <a:lnTo>
                    <a:pt x="576" y="186"/>
                  </a:lnTo>
                  <a:lnTo>
                    <a:pt x="577" y="186"/>
                  </a:lnTo>
                  <a:lnTo>
                    <a:pt x="585" y="186"/>
                  </a:lnTo>
                  <a:lnTo>
                    <a:pt x="589" y="186"/>
                  </a:lnTo>
                  <a:lnTo>
                    <a:pt x="589" y="190"/>
                  </a:lnTo>
                  <a:lnTo>
                    <a:pt x="592" y="192"/>
                  </a:lnTo>
                  <a:lnTo>
                    <a:pt x="592" y="196"/>
                  </a:lnTo>
                  <a:lnTo>
                    <a:pt x="589" y="196"/>
                  </a:lnTo>
                  <a:lnTo>
                    <a:pt x="585" y="199"/>
                  </a:lnTo>
                  <a:lnTo>
                    <a:pt x="581" y="199"/>
                  </a:lnTo>
                  <a:lnTo>
                    <a:pt x="577" y="199"/>
                  </a:lnTo>
                  <a:lnTo>
                    <a:pt x="576" y="197"/>
                  </a:lnTo>
                  <a:lnTo>
                    <a:pt x="570" y="196"/>
                  </a:lnTo>
                  <a:lnTo>
                    <a:pt x="568" y="192"/>
                  </a:lnTo>
                  <a:lnTo>
                    <a:pt x="568" y="186"/>
                  </a:lnTo>
                  <a:lnTo>
                    <a:pt x="572" y="186"/>
                  </a:lnTo>
                  <a:lnTo>
                    <a:pt x="572" y="186"/>
                  </a:lnTo>
                  <a:lnTo>
                    <a:pt x="572" y="186"/>
                  </a:lnTo>
                  <a:lnTo>
                    <a:pt x="572" y="186"/>
                  </a:lnTo>
                  <a:close/>
                  <a:moveTo>
                    <a:pt x="468" y="260"/>
                  </a:moveTo>
                  <a:lnTo>
                    <a:pt x="466" y="260"/>
                  </a:lnTo>
                  <a:lnTo>
                    <a:pt x="466" y="260"/>
                  </a:lnTo>
                  <a:lnTo>
                    <a:pt x="468" y="263"/>
                  </a:lnTo>
                  <a:lnTo>
                    <a:pt x="468" y="260"/>
                  </a:lnTo>
                  <a:lnTo>
                    <a:pt x="468" y="260"/>
                  </a:lnTo>
                  <a:lnTo>
                    <a:pt x="468" y="260"/>
                  </a:lnTo>
                  <a:lnTo>
                    <a:pt x="468" y="260"/>
                  </a:lnTo>
                  <a:close/>
                  <a:moveTo>
                    <a:pt x="466" y="235"/>
                  </a:moveTo>
                  <a:lnTo>
                    <a:pt x="468" y="241"/>
                  </a:lnTo>
                  <a:lnTo>
                    <a:pt x="466" y="245"/>
                  </a:lnTo>
                  <a:lnTo>
                    <a:pt x="466" y="248"/>
                  </a:lnTo>
                  <a:lnTo>
                    <a:pt x="464" y="245"/>
                  </a:lnTo>
                  <a:lnTo>
                    <a:pt x="463" y="243"/>
                  </a:lnTo>
                  <a:lnTo>
                    <a:pt x="464" y="241"/>
                  </a:lnTo>
                  <a:lnTo>
                    <a:pt x="464" y="239"/>
                  </a:lnTo>
                  <a:lnTo>
                    <a:pt x="466" y="235"/>
                  </a:lnTo>
                  <a:lnTo>
                    <a:pt x="466" y="235"/>
                  </a:lnTo>
                  <a:lnTo>
                    <a:pt x="466" y="235"/>
                  </a:lnTo>
                  <a:lnTo>
                    <a:pt x="466" y="235"/>
                  </a:lnTo>
                  <a:close/>
                  <a:moveTo>
                    <a:pt x="568" y="165"/>
                  </a:moveTo>
                  <a:lnTo>
                    <a:pt x="568" y="167"/>
                  </a:lnTo>
                  <a:lnTo>
                    <a:pt x="570" y="171"/>
                  </a:lnTo>
                  <a:lnTo>
                    <a:pt x="570" y="173"/>
                  </a:lnTo>
                  <a:lnTo>
                    <a:pt x="568" y="173"/>
                  </a:lnTo>
                  <a:lnTo>
                    <a:pt x="566" y="169"/>
                  </a:lnTo>
                  <a:lnTo>
                    <a:pt x="566" y="165"/>
                  </a:lnTo>
                  <a:lnTo>
                    <a:pt x="568" y="165"/>
                  </a:lnTo>
                  <a:lnTo>
                    <a:pt x="568" y="165"/>
                  </a:lnTo>
                  <a:lnTo>
                    <a:pt x="568" y="165"/>
                  </a:lnTo>
                  <a:lnTo>
                    <a:pt x="568" y="165"/>
                  </a:lnTo>
                  <a:close/>
                  <a:moveTo>
                    <a:pt x="557" y="162"/>
                  </a:moveTo>
                  <a:lnTo>
                    <a:pt x="560" y="160"/>
                  </a:lnTo>
                  <a:lnTo>
                    <a:pt x="562" y="162"/>
                  </a:lnTo>
                  <a:lnTo>
                    <a:pt x="564" y="160"/>
                  </a:lnTo>
                  <a:lnTo>
                    <a:pt x="572" y="162"/>
                  </a:lnTo>
                  <a:lnTo>
                    <a:pt x="576" y="162"/>
                  </a:lnTo>
                  <a:lnTo>
                    <a:pt x="572" y="162"/>
                  </a:lnTo>
                  <a:lnTo>
                    <a:pt x="562" y="165"/>
                  </a:lnTo>
                  <a:lnTo>
                    <a:pt x="560" y="162"/>
                  </a:lnTo>
                  <a:lnTo>
                    <a:pt x="560" y="162"/>
                  </a:lnTo>
                  <a:lnTo>
                    <a:pt x="557" y="162"/>
                  </a:lnTo>
                  <a:lnTo>
                    <a:pt x="557" y="162"/>
                  </a:lnTo>
                  <a:lnTo>
                    <a:pt x="557" y="162"/>
                  </a:lnTo>
                  <a:lnTo>
                    <a:pt x="557" y="162"/>
                  </a:lnTo>
                  <a:close/>
                  <a:moveTo>
                    <a:pt x="540" y="162"/>
                  </a:moveTo>
                  <a:lnTo>
                    <a:pt x="542" y="160"/>
                  </a:lnTo>
                  <a:lnTo>
                    <a:pt x="544" y="160"/>
                  </a:lnTo>
                  <a:lnTo>
                    <a:pt x="545" y="158"/>
                  </a:lnTo>
                  <a:lnTo>
                    <a:pt x="547" y="160"/>
                  </a:lnTo>
                  <a:lnTo>
                    <a:pt x="551" y="162"/>
                  </a:lnTo>
                  <a:lnTo>
                    <a:pt x="553" y="160"/>
                  </a:lnTo>
                  <a:lnTo>
                    <a:pt x="557" y="160"/>
                  </a:lnTo>
                  <a:lnTo>
                    <a:pt x="557" y="162"/>
                  </a:lnTo>
                  <a:lnTo>
                    <a:pt x="553" y="162"/>
                  </a:lnTo>
                  <a:lnTo>
                    <a:pt x="551" y="165"/>
                  </a:lnTo>
                  <a:lnTo>
                    <a:pt x="547" y="162"/>
                  </a:lnTo>
                  <a:lnTo>
                    <a:pt x="544" y="165"/>
                  </a:lnTo>
                  <a:lnTo>
                    <a:pt x="540" y="165"/>
                  </a:lnTo>
                  <a:lnTo>
                    <a:pt x="538" y="162"/>
                  </a:lnTo>
                  <a:lnTo>
                    <a:pt x="540" y="162"/>
                  </a:lnTo>
                  <a:lnTo>
                    <a:pt x="540" y="162"/>
                  </a:lnTo>
                  <a:lnTo>
                    <a:pt x="540" y="162"/>
                  </a:lnTo>
                  <a:lnTo>
                    <a:pt x="540" y="162"/>
                  </a:lnTo>
                  <a:close/>
                  <a:moveTo>
                    <a:pt x="506" y="229"/>
                  </a:moveTo>
                  <a:lnTo>
                    <a:pt x="510" y="224"/>
                  </a:lnTo>
                  <a:lnTo>
                    <a:pt x="512" y="216"/>
                  </a:lnTo>
                  <a:lnTo>
                    <a:pt x="512" y="211"/>
                  </a:lnTo>
                  <a:lnTo>
                    <a:pt x="513" y="211"/>
                  </a:lnTo>
                  <a:lnTo>
                    <a:pt x="515" y="211"/>
                  </a:lnTo>
                  <a:lnTo>
                    <a:pt x="515" y="214"/>
                  </a:lnTo>
                  <a:lnTo>
                    <a:pt x="517" y="214"/>
                  </a:lnTo>
                  <a:lnTo>
                    <a:pt x="517" y="216"/>
                  </a:lnTo>
                  <a:lnTo>
                    <a:pt x="515" y="214"/>
                  </a:lnTo>
                  <a:lnTo>
                    <a:pt x="515" y="216"/>
                  </a:lnTo>
                  <a:lnTo>
                    <a:pt x="513" y="218"/>
                  </a:lnTo>
                  <a:lnTo>
                    <a:pt x="512" y="220"/>
                  </a:lnTo>
                  <a:lnTo>
                    <a:pt x="513" y="224"/>
                  </a:lnTo>
                  <a:lnTo>
                    <a:pt x="515" y="224"/>
                  </a:lnTo>
                  <a:lnTo>
                    <a:pt x="517" y="226"/>
                  </a:lnTo>
                  <a:lnTo>
                    <a:pt x="515" y="228"/>
                  </a:lnTo>
                  <a:lnTo>
                    <a:pt x="513" y="228"/>
                  </a:lnTo>
                  <a:lnTo>
                    <a:pt x="512" y="231"/>
                  </a:lnTo>
                  <a:lnTo>
                    <a:pt x="508" y="233"/>
                  </a:lnTo>
                  <a:lnTo>
                    <a:pt x="506" y="231"/>
                  </a:lnTo>
                  <a:lnTo>
                    <a:pt x="506" y="229"/>
                  </a:lnTo>
                  <a:lnTo>
                    <a:pt x="506" y="229"/>
                  </a:lnTo>
                  <a:lnTo>
                    <a:pt x="506" y="229"/>
                  </a:lnTo>
                  <a:lnTo>
                    <a:pt x="506" y="229"/>
                  </a:lnTo>
                  <a:close/>
                  <a:moveTo>
                    <a:pt x="498" y="226"/>
                  </a:moveTo>
                  <a:lnTo>
                    <a:pt x="498" y="226"/>
                  </a:lnTo>
                  <a:lnTo>
                    <a:pt x="498" y="226"/>
                  </a:lnTo>
                  <a:lnTo>
                    <a:pt x="498" y="228"/>
                  </a:lnTo>
                  <a:lnTo>
                    <a:pt x="502" y="228"/>
                  </a:lnTo>
                  <a:lnTo>
                    <a:pt x="502" y="226"/>
                  </a:lnTo>
                  <a:lnTo>
                    <a:pt x="504" y="226"/>
                  </a:lnTo>
                  <a:lnTo>
                    <a:pt x="504" y="222"/>
                  </a:lnTo>
                  <a:lnTo>
                    <a:pt x="508" y="220"/>
                  </a:lnTo>
                  <a:lnTo>
                    <a:pt x="508" y="218"/>
                  </a:lnTo>
                  <a:lnTo>
                    <a:pt x="506" y="214"/>
                  </a:lnTo>
                  <a:lnTo>
                    <a:pt x="502" y="216"/>
                  </a:lnTo>
                  <a:lnTo>
                    <a:pt x="502" y="218"/>
                  </a:lnTo>
                  <a:lnTo>
                    <a:pt x="502" y="220"/>
                  </a:lnTo>
                  <a:lnTo>
                    <a:pt x="498" y="226"/>
                  </a:lnTo>
                  <a:lnTo>
                    <a:pt x="498" y="226"/>
                  </a:lnTo>
                  <a:lnTo>
                    <a:pt x="498" y="226"/>
                  </a:lnTo>
                  <a:lnTo>
                    <a:pt x="498" y="226"/>
                  </a:lnTo>
                  <a:close/>
                  <a:moveTo>
                    <a:pt x="491" y="222"/>
                  </a:moveTo>
                  <a:lnTo>
                    <a:pt x="491" y="224"/>
                  </a:lnTo>
                  <a:lnTo>
                    <a:pt x="489" y="226"/>
                  </a:lnTo>
                  <a:lnTo>
                    <a:pt x="491" y="229"/>
                  </a:lnTo>
                  <a:lnTo>
                    <a:pt x="493" y="231"/>
                  </a:lnTo>
                  <a:lnTo>
                    <a:pt x="493" y="229"/>
                  </a:lnTo>
                  <a:lnTo>
                    <a:pt x="493" y="226"/>
                  </a:lnTo>
                  <a:lnTo>
                    <a:pt x="493" y="222"/>
                  </a:lnTo>
                  <a:lnTo>
                    <a:pt x="493" y="222"/>
                  </a:lnTo>
                  <a:lnTo>
                    <a:pt x="491" y="222"/>
                  </a:lnTo>
                  <a:lnTo>
                    <a:pt x="491" y="222"/>
                  </a:lnTo>
                  <a:lnTo>
                    <a:pt x="491" y="222"/>
                  </a:lnTo>
                  <a:lnTo>
                    <a:pt x="491" y="222"/>
                  </a:lnTo>
                  <a:close/>
                  <a:moveTo>
                    <a:pt x="517" y="162"/>
                  </a:moveTo>
                  <a:lnTo>
                    <a:pt x="513" y="162"/>
                  </a:lnTo>
                  <a:lnTo>
                    <a:pt x="517" y="165"/>
                  </a:lnTo>
                  <a:lnTo>
                    <a:pt x="517" y="165"/>
                  </a:lnTo>
                  <a:lnTo>
                    <a:pt x="517" y="162"/>
                  </a:lnTo>
                  <a:lnTo>
                    <a:pt x="517" y="162"/>
                  </a:lnTo>
                  <a:lnTo>
                    <a:pt x="517" y="162"/>
                  </a:lnTo>
                  <a:lnTo>
                    <a:pt x="517" y="162"/>
                  </a:lnTo>
                  <a:close/>
                  <a:moveTo>
                    <a:pt x="521" y="160"/>
                  </a:moveTo>
                  <a:lnTo>
                    <a:pt x="519" y="162"/>
                  </a:lnTo>
                  <a:lnTo>
                    <a:pt x="523" y="162"/>
                  </a:lnTo>
                  <a:lnTo>
                    <a:pt x="521" y="160"/>
                  </a:lnTo>
                  <a:lnTo>
                    <a:pt x="521" y="160"/>
                  </a:lnTo>
                  <a:lnTo>
                    <a:pt x="521" y="160"/>
                  </a:lnTo>
                  <a:lnTo>
                    <a:pt x="521" y="160"/>
                  </a:lnTo>
                  <a:close/>
                  <a:moveTo>
                    <a:pt x="527" y="156"/>
                  </a:moveTo>
                  <a:lnTo>
                    <a:pt x="523" y="158"/>
                  </a:lnTo>
                  <a:lnTo>
                    <a:pt x="527" y="160"/>
                  </a:lnTo>
                  <a:lnTo>
                    <a:pt x="527" y="156"/>
                  </a:lnTo>
                  <a:lnTo>
                    <a:pt x="527" y="156"/>
                  </a:lnTo>
                  <a:lnTo>
                    <a:pt x="527" y="156"/>
                  </a:lnTo>
                  <a:lnTo>
                    <a:pt x="527" y="156"/>
                  </a:lnTo>
                  <a:close/>
                  <a:moveTo>
                    <a:pt x="510" y="152"/>
                  </a:moveTo>
                  <a:lnTo>
                    <a:pt x="515" y="150"/>
                  </a:lnTo>
                  <a:lnTo>
                    <a:pt x="519" y="150"/>
                  </a:lnTo>
                  <a:lnTo>
                    <a:pt x="521" y="152"/>
                  </a:lnTo>
                  <a:lnTo>
                    <a:pt x="519" y="154"/>
                  </a:lnTo>
                  <a:lnTo>
                    <a:pt x="523" y="152"/>
                  </a:lnTo>
                  <a:lnTo>
                    <a:pt x="523" y="150"/>
                  </a:lnTo>
                  <a:lnTo>
                    <a:pt x="527" y="152"/>
                  </a:lnTo>
                  <a:lnTo>
                    <a:pt x="523" y="156"/>
                  </a:lnTo>
                  <a:lnTo>
                    <a:pt x="523" y="156"/>
                  </a:lnTo>
                  <a:lnTo>
                    <a:pt x="521" y="156"/>
                  </a:lnTo>
                  <a:lnTo>
                    <a:pt x="519" y="158"/>
                  </a:lnTo>
                  <a:lnTo>
                    <a:pt x="515" y="156"/>
                  </a:lnTo>
                  <a:lnTo>
                    <a:pt x="513" y="158"/>
                  </a:lnTo>
                  <a:lnTo>
                    <a:pt x="510" y="156"/>
                  </a:lnTo>
                  <a:lnTo>
                    <a:pt x="510" y="152"/>
                  </a:lnTo>
                  <a:lnTo>
                    <a:pt x="510" y="152"/>
                  </a:lnTo>
                  <a:lnTo>
                    <a:pt x="510" y="152"/>
                  </a:lnTo>
                  <a:lnTo>
                    <a:pt x="510" y="152"/>
                  </a:lnTo>
                  <a:close/>
                  <a:moveTo>
                    <a:pt x="491" y="133"/>
                  </a:moveTo>
                  <a:lnTo>
                    <a:pt x="493" y="133"/>
                  </a:lnTo>
                  <a:lnTo>
                    <a:pt x="493" y="133"/>
                  </a:lnTo>
                  <a:lnTo>
                    <a:pt x="493" y="133"/>
                  </a:lnTo>
                  <a:lnTo>
                    <a:pt x="491" y="133"/>
                  </a:lnTo>
                  <a:lnTo>
                    <a:pt x="491" y="133"/>
                  </a:lnTo>
                  <a:lnTo>
                    <a:pt x="491" y="133"/>
                  </a:lnTo>
                  <a:lnTo>
                    <a:pt x="491" y="133"/>
                  </a:lnTo>
                  <a:close/>
                  <a:moveTo>
                    <a:pt x="489" y="133"/>
                  </a:moveTo>
                  <a:lnTo>
                    <a:pt x="491" y="133"/>
                  </a:lnTo>
                  <a:lnTo>
                    <a:pt x="493" y="137"/>
                  </a:lnTo>
                  <a:lnTo>
                    <a:pt x="491" y="137"/>
                  </a:lnTo>
                  <a:lnTo>
                    <a:pt x="489" y="133"/>
                  </a:lnTo>
                  <a:lnTo>
                    <a:pt x="489" y="133"/>
                  </a:lnTo>
                  <a:lnTo>
                    <a:pt x="489" y="133"/>
                  </a:lnTo>
                  <a:lnTo>
                    <a:pt x="489" y="133"/>
                  </a:lnTo>
                  <a:close/>
                  <a:moveTo>
                    <a:pt x="466" y="118"/>
                  </a:moveTo>
                  <a:lnTo>
                    <a:pt x="468" y="116"/>
                  </a:lnTo>
                  <a:lnTo>
                    <a:pt x="474" y="118"/>
                  </a:lnTo>
                  <a:lnTo>
                    <a:pt x="480" y="122"/>
                  </a:lnTo>
                  <a:lnTo>
                    <a:pt x="487" y="116"/>
                  </a:lnTo>
                  <a:lnTo>
                    <a:pt x="493" y="116"/>
                  </a:lnTo>
                  <a:lnTo>
                    <a:pt x="493" y="118"/>
                  </a:lnTo>
                  <a:lnTo>
                    <a:pt x="498" y="118"/>
                  </a:lnTo>
                  <a:lnTo>
                    <a:pt x="498" y="118"/>
                  </a:lnTo>
                  <a:lnTo>
                    <a:pt x="506" y="118"/>
                  </a:lnTo>
                  <a:lnTo>
                    <a:pt x="512" y="118"/>
                  </a:lnTo>
                  <a:lnTo>
                    <a:pt x="512" y="116"/>
                  </a:lnTo>
                  <a:lnTo>
                    <a:pt x="517" y="116"/>
                  </a:lnTo>
                  <a:lnTo>
                    <a:pt x="519" y="118"/>
                  </a:lnTo>
                  <a:lnTo>
                    <a:pt x="521" y="122"/>
                  </a:lnTo>
                  <a:lnTo>
                    <a:pt x="523" y="122"/>
                  </a:lnTo>
                  <a:lnTo>
                    <a:pt x="538" y="118"/>
                  </a:lnTo>
                  <a:lnTo>
                    <a:pt x="544" y="116"/>
                  </a:lnTo>
                  <a:lnTo>
                    <a:pt x="545" y="113"/>
                  </a:lnTo>
                  <a:lnTo>
                    <a:pt x="547" y="113"/>
                  </a:lnTo>
                  <a:lnTo>
                    <a:pt x="551" y="109"/>
                  </a:lnTo>
                  <a:lnTo>
                    <a:pt x="551" y="109"/>
                  </a:lnTo>
                  <a:lnTo>
                    <a:pt x="553" y="105"/>
                  </a:lnTo>
                  <a:lnTo>
                    <a:pt x="557" y="101"/>
                  </a:lnTo>
                  <a:lnTo>
                    <a:pt x="557" y="101"/>
                  </a:lnTo>
                  <a:lnTo>
                    <a:pt x="557" y="100"/>
                  </a:lnTo>
                  <a:lnTo>
                    <a:pt x="553" y="98"/>
                  </a:lnTo>
                  <a:lnTo>
                    <a:pt x="547" y="98"/>
                  </a:lnTo>
                  <a:lnTo>
                    <a:pt x="545" y="98"/>
                  </a:lnTo>
                  <a:lnTo>
                    <a:pt x="545" y="100"/>
                  </a:lnTo>
                  <a:lnTo>
                    <a:pt x="542" y="103"/>
                  </a:lnTo>
                  <a:lnTo>
                    <a:pt x="542" y="105"/>
                  </a:lnTo>
                  <a:lnTo>
                    <a:pt x="538" y="107"/>
                  </a:lnTo>
                  <a:lnTo>
                    <a:pt x="536" y="107"/>
                  </a:lnTo>
                  <a:lnTo>
                    <a:pt x="532" y="109"/>
                  </a:lnTo>
                  <a:lnTo>
                    <a:pt x="528" y="113"/>
                  </a:lnTo>
                  <a:lnTo>
                    <a:pt x="521" y="109"/>
                  </a:lnTo>
                  <a:lnTo>
                    <a:pt x="513" y="109"/>
                  </a:lnTo>
                  <a:lnTo>
                    <a:pt x="512" y="109"/>
                  </a:lnTo>
                  <a:lnTo>
                    <a:pt x="510" y="113"/>
                  </a:lnTo>
                  <a:lnTo>
                    <a:pt x="506" y="109"/>
                  </a:lnTo>
                  <a:lnTo>
                    <a:pt x="502" y="109"/>
                  </a:lnTo>
                  <a:lnTo>
                    <a:pt x="498" y="109"/>
                  </a:lnTo>
                  <a:lnTo>
                    <a:pt x="498" y="107"/>
                  </a:lnTo>
                  <a:lnTo>
                    <a:pt x="493" y="107"/>
                  </a:lnTo>
                  <a:lnTo>
                    <a:pt x="489" y="109"/>
                  </a:lnTo>
                  <a:lnTo>
                    <a:pt x="487" y="107"/>
                  </a:lnTo>
                  <a:lnTo>
                    <a:pt x="483" y="103"/>
                  </a:lnTo>
                  <a:lnTo>
                    <a:pt x="478" y="101"/>
                  </a:lnTo>
                  <a:lnTo>
                    <a:pt x="474" y="101"/>
                  </a:lnTo>
                  <a:lnTo>
                    <a:pt x="474" y="107"/>
                  </a:lnTo>
                  <a:lnTo>
                    <a:pt x="472" y="109"/>
                  </a:lnTo>
                  <a:lnTo>
                    <a:pt x="468" y="113"/>
                  </a:lnTo>
                  <a:lnTo>
                    <a:pt x="468" y="113"/>
                  </a:lnTo>
                  <a:lnTo>
                    <a:pt x="463" y="113"/>
                  </a:lnTo>
                  <a:lnTo>
                    <a:pt x="459" y="113"/>
                  </a:lnTo>
                  <a:lnTo>
                    <a:pt x="457" y="116"/>
                  </a:lnTo>
                  <a:lnTo>
                    <a:pt x="457" y="116"/>
                  </a:lnTo>
                  <a:lnTo>
                    <a:pt x="451" y="122"/>
                  </a:lnTo>
                  <a:lnTo>
                    <a:pt x="451" y="126"/>
                  </a:lnTo>
                  <a:lnTo>
                    <a:pt x="453" y="130"/>
                  </a:lnTo>
                  <a:lnTo>
                    <a:pt x="453" y="133"/>
                  </a:lnTo>
                  <a:lnTo>
                    <a:pt x="451" y="137"/>
                  </a:lnTo>
                  <a:lnTo>
                    <a:pt x="453" y="141"/>
                  </a:lnTo>
                  <a:lnTo>
                    <a:pt x="455" y="145"/>
                  </a:lnTo>
                  <a:lnTo>
                    <a:pt x="453" y="143"/>
                  </a:lnTo>
                  <a:lnTo>
                    <a:pt x="451" y="141"/>
                  </a:lnTo>
                  <a:lnTo>
                    <a:pt x="449" y="141"/>
                  </a:lnTo>
                  <a:lnTo>
                    <a:pt x="448" y="143"/>
                  </a:lnTo>
                  <a:lnTo>
                    <a:pt x="444" y="145"/>
                  </a:lnTo>
                  <a:lnTo>
                    <a:pt x="444" y="148"/>
                  </a:lnTo>
                  <a:lnTo>
                    <a:pt x="444" y="152"/>
                  </a:lnTo>
                  <a:lnTo>
                    <a:pt x="444" y="156"/>
                  </a:lnTo>
                  <a:lnTo>
                    <a:pt x="444" y="162"/>
                  </a:lnTo>
                  <a:lnTo>
                    <a:pt x="444" y="165"/>
                  </a:lnTo>
                  <a:lnTo>
                    <a:pt x="444" y="167"/>
                  </a:lnTo>
                  <a:lnTo>
                    <a:pt x="438" y="169"/>
                  </a:lnTo>
                  <a:lnTo>
                    <a:pt x="438" y="173"/>
                  </a:lnTo>
                  <a:lnTo>
                    <a:pt x="434" y="177"/>
                  </a:lnTo>
                  <a:lnTo>
                    <a:pt x="434" y="182"/>
                  </a:lnTo>
                  <a:lnTo>
                    <a:pt x="434" y="184"/>
                  </a:lnTo>
                  <a:lnTo>
                    <a:pt x="434" y="186"/>
                  </a:lnTo>
                  <a:lnTo>
                    <a:pt x="434" y="192"/>
                  </a:lnTo>
                  <a:lnTo>
                    <a:pt x="438" y="194"/>
                  </a:lnTo>
                  <a:lnTo>
                    <a:pt x="438" y="194"/>
                  </a:lnTo>
                  <a:lnTo>
                    <a:pt x="442" y="194"/>
                  </a:lnTo>
                  <a:lnTo>
                    <a:pt x="444" y="192"/>
                  </a:lnTo>
                  <a:lnTo>
                    <a:pt x="444" y="194"/>
                  </a:lnTo>
                  <a:lnTo>
                    <a:pt x="448" y="197"/>
                  </a:lnTo>
                  <a:lnTo>
                    <a:pt x="449" y="207"/>
                  </a:lnTo>
                  <a:lnTo>
                    <a:pt x="448" y="209"/>
                  </a:lnTo>
                  <a:lnTo>
                    <a:pt x="448" y="214"/>
                  </a:lnTo>
                  <a:lnTo>
                    <a:pt x="444" y="216"/>
                  </a:lnTo>
                  <a:lnTo>
                    <a:pt x="444" y="226"/>
                  </a:lnTo>
                  <a:lnTo>
                    <a:pt x="444" y="231"/>
                  </a:lnTo>
                  <a:lnTo>
                    <a:pt x="448" y="231"/>
                  </a:lnTo>
                  <a:lnTo>
                    <a:pt x="449" y="233"/>
                  </a:lnTo>
                  <a:lnTo>
                    <a:pt x="453" y="233"/>
                  </a:lnTo>
                  <a:lnTo>
                    <a:pt x="455" y="231"/>
                  </a:lnTo>
                  <a:lnTo>
                    <a:pt x="459" y="231"/>
                  </a:lnTo>
                  <a:lnTo>
                    <a:pt x="463" y="231"/>
                  </a:lnTo>
                  <a:lnTo>
                    <a:pt x="464" y="233"/>
                  </a:lnTo>
                  <a:lnTo>
                    <a:pt x="464" y="229"/>
                  </a:lnTo>
                  <a:lnTo>
                    <a:pt x="464" y="226"/>
                  </a:lnTo>
                  <a:lnTo>
                    <a:pt x="463" y="224"/>
                  </a:lnTo>
                  <a:lnTo>
                    <a:pt x="461" y="220"/>
                  </a:lnTo>
                  <a:lnTo>
                    <a:pt x="463" y="216"/>
                  </a:lnTo>
                  <a:lnTo>
                    <a:pt x="464" y="211"/>
                  </a:lnTo>
                  <a:lnTo>
                    <a:pt x="464" y="205"/>
                  </a:lnTo>
                  <a:lnTo>
                    <a:pt x="463" y="203"/>
                  </a:lnTo>
                  <a:lnTo>
                    <a:pt x="466" y="197"/>
                  </a:lnTo>
                  <a:lnTo>
                    <a:pt x="466" y="192"/>
                  </a:lnTo>
                  <a:lnTo>
                    <a:pt x="466" y="186"/>
                  </a:lnTo>
                  <a:lnTo>
                    <a:pt x="463" y="186"/>
                  </a:lnTo>
                  <a:lnTo>
                    <a:pt x="463" y="184"/>
                  </a:lnTo>
                  <a:lnTo>
                    <a:pt x="468" y="181"/>
                  </a:lnTo>
                  <a:lnTo>
                    <a:pt x="468" y="179"/>
                  </a:lnTo>
                  <a:lnTo>
                    <a:pt x="472" y="179"/>
                  </a:lnTo>
                  <a:lnTo>
                    <a:pt x="476" y="179"/>
                  </a:lnTo>
                  <a:lnTo>
                    <a:pt x="476" y="181"/>
                  </a:lnTo>
                  <a:lnTo>
                    <a:pt x="478" y="184"/>
                  </a:lnTo>
                  <a:lnTo>
                    <a:pt x="478" y="186"/>
                  </a:lnTo>
                  <a:lnTo>
                    <a:pt x="474" y="190"/>
                  </a:lnTo>
                  <a:lnTo>
                    <a:pt x="472" y="194"/>
                  </a:lnTo>
                  <a:lnTo>
                    <a:pt x="476" y="197"/>
                  </a:lnTo>
                  <a:lnTo>
                    <a:pt x="478" y="197"/>
                  </a:lnTo>
                  <a:lnTo>
                    <a:pt x="480" y="201"/>
                  </a:lnTo>
                  <a:lnTo>
                    <a:pt x="485" y="203"/>
                  </a:lnTo>
                  <a:lnTo>
                    <a:pt x="485" y="207"/>
                  </a:lnTo>
                  <a:lnTo>
                    <a:pt x="483" y="207"/>
                  </a:lnTo>
                  <a:lnTo>
                    <a:pt x="483" y="214"/>
                  </a:lnTo>
                  <a:lnTo>
                    <a:pt x="485" y="216"/>
                  </a:lnTo>
                  <a:lnTo>
                    <a:pt x="487" y="218"/>
                  </a:lnTo>
                  <a:lnTo>
                    <a:pt x="489" y="216"/>
                  </a:lnTo>
                  <a:lnTo>
                    <a:pt x="493" y="218"/>
                  </a:lnTo>
                  <a:lnTo>
                    <a:pt x="496" y="218"/>
                  </a:lnTo>
                  <a:lnTo>
                    <a:pt x="496" y="216"/>
                  </a:lnTo>
                  <a:lnTo>
                    <a:pt x="493" y="214"/>
                  </a:lnTo>
                  <a:lnTo>
                    <a:pt x="498" y="211"/>
                  </a:lnTo>
                  <a:lnTo>
                    <a:pt x="502" y="211"/>
                  </a:lnTo>
                  <a:lnTo>
                    <a:pt x="506" y="209"/>
                  </a:lnTo>
                  <a:lnTo>
                    <a:pt x="512" y="209"/>
                  </a:lnTo>
                  <a:lnTo>
                    <a:pt x="513" y="207"/>
                  </a:lnTo>
                  <a:lnTo>
                    <a:pt x="515" y="209"/>
                  </a:lnTo>
                  <a:lnTo>
                    <a:pt x="517" y="209"/>
                  </a:lnTo>
                  <a:lnTo>
                    <a:pt x="519" y="205"/>
                  </a:lnTo>
                  <a:lnTo>
                    <a:pt x="519" y="203"/>
                  </a:lnTo>
                  <a:lnTo>
                    <a:pt x="513" y="203"/>
                  </a:lnTo>
                  <a:lnTo>
                    <a:pt x="512" y="203"/>
                  </a:lnTo>
                  <a:lnTo>
                    <a:pt x="510" y="203"/>
                  </a:lnTo>
                  <a:lnTo>
                    <a:pt x="506" y="203"/>
                  </a:lnTo>
                  <a:lnTo>
                    <a:pt x="506" y="201"/>
                  </a:lnTo>
                  <a:lnTo>
                    <a:pt x="504" y="201"/>
                  </a:lnTo>
                  <a:lnTo>
                    <a:pt x="504" y="199"/>
                  </a:lnTo>
                  <a:lnTo>
                    <a:pt x="502" y="197"/>
                  </a:lnTo>
                  <a:lnTo>
                    <a:pt x="502" y="199"/>
                  </a:lnTo>
                  <a:lnTo>
                    <a:pt x="502" y="197"/>
                  </a:lnTo>
                  <a:lnTo>
                    <a:pt x="498" y="196"/>
                  </a:lnTo>
                  <a:lnTo>
                    <a:pt x="498" y="194"/>
                  </a:lnTo>
                  <a:lnTo>
                    <a:pt x="498" y="192"/>
                  </a:lnTo>
                  <a:lnTo>
                    <a:pt x="502" y="190"/>
                  </a:lnTo>
                  <a:lnTo>
                    <a:pt x="502" y="190"/>
                  </a:lnTo>
                  <a:lnTo>
                    <a:pt x="502" y="190"/>
                  </a:lnTo>
                  <a:lnTo>
                    <a:pt x="502" y="190"/>
                  </a:lnTo>
                  <a:lnTo>
                    <a:pt x="502" y="186"/>
                  </a:lnTo>
                  <a:lnTo>
                    <a:pt x="502" y="186"/>
                  </a:lnTo>
                  <a:lnTo>
                    <a:pt x="498" y="184"/>
                  </a:lnTo>
                  <a:lnTo>
                    <a:pt x="498" y="182"/>
                  </a:lnTo>
                  <a:lnTo>
                    <a:pt x="498" y="181"/>
                  </a:lnTo>
                  <a:lnTo>
                    <a:pt x="496" y="179"/>
                  </a:lnTo>
                  <a:lnTo>
                    <a:pt x="493" y="179"/>
                  </a:lnTo>
                  <a:lnTo>
                    <a:pt x="493" y="175"/>
                  </a:lnTo>
                  <a:lnTo>
                    <a:pt x="489" y="169"/>
                  </a:lnTo>
                  <a:lnTo>
                    <a:pt x="485" y="165"/>
                  </a:lnTo>
                  <a:lnTo>
                    <a:pt x="483" y="165"/>
                  </a:lnTo>
                  <a:lnTo>
                    <a:pt x="483" y="162"/>
                  </a:lnTo>
                  <a:lnTo>
                    <a:pt x="485" y="162"/>
                  </a:lnTo>
                  <a:lnTo>
                    <a:pt x="485" y="165"/>
                  </a:lnTo>
                  <a:lnTo>
                    <a:pt x="489" y="165"/>
                  </a:lnTo>
                  <a:lnTo>
                    <a:pt x="493" y="162"/>
                  </a:lnTo>
                  <a:lnTo>
                    <a:pt x="493" y="160"/>
                  </a:lnTo>
                  <a:lnTo>
                    <a:pt x="502" y="158"/>
                  </a:lnTo>
                  <a:lnTo>
                    <a:pt x="506" y="152"/>
                  </a:lnTo>
                  <a:lnTo>
                    <a:pt x="508" y="148"/>
                  </a:lnTo>
                  <a:lnTo>
                    <a:pt x="512" y="147"/>
                  </a:lnTo>
                  <a:lnTo>
                    <a:pt x="512" y="145"/>
                  </a:lnTo>
                  <a:lnTo>
                    <a:pt x="515" y="143"/>
                  </a:lnTo>
                  <a:lnTo>
                    <a:pt x="519" y="145"/>
                  </a:lnTo>
                  <a:lnTo>
                    <a:pt x="523" y="145"/>
                  </a:lnTo>
                  <a:lnTo>
                    <a:pt x="523" y="141"/>
                  </a:lnTo>
                  <a:lnTo>
                    <a:pt x="523" y="137"/>
                  </a:lnTo>
                  <a:lnTo>
                    <a:pt x="521" y="137"/>
                  </a:lnTo>
                  <a:lnTo>
                    <a:pt x="513" y="137"/>
                  </a:lnTo>
                  <a:lnTo>
                    <a:pt x="510" y="141"/>
                  </a:lnTo>
                  <a:lnTo>
                    <a:pt x="502" y="141"/>
                  </a:lnTo>
                  <a:lnTo>
                    <a:pt x="502" y="141"/>
                  </a:lnTo>
                  <a:lnTo>
                    <a:pt x="498" y="145"/>
                  </a:lnTo>
                  <a:lnTo>
                    <a:pt x="493" y="143"/>
                  </a:lnTo>
                  <a:lnTo>
                    <a:pt x="493" y="145"/>
                  </a:lnTo>
                  <a:lnTo>
                    <a:pt x="489" y="143"/>
                  </a:lnTo>
                  <a:lnTo>
                    <a:pt x="485" y="141"/>
                  </a:lnTo>
                  <a:lnTo>
                    <a:pt x="481" y="147"/>
                  </a:lnTo>
                  <a:lnTo>
                    <a:pt x="478" y="152"/>
                  </a:lnTo>
                  <a:lnTo>
                    <a:pt x="474" y="154"/>
                  </a:lnTo>
                  <a:lnTo>
                    <a:pt x="472" y="154"/>
                  </a:lnTo>
                  <a:lnTo>
                    <a:pt x="472" y="152"/>
                  </a:lnTo>
                  <a:lnTo>
                    <a:pt x="466" y="147"/>
                  </a:lnTo>
                  <a:lnTo>
                    <a:pt x="461" y="143"/>
                  </a:lnTo>
                  <a:lnTo>
                    <a:pt x="459" y="137"/>
                  </a:lnTo>
                  <a:lnTo>
                    <a:pt x="459" y="130"/>
                  </a:lnTo>
                  <a:lnTo>
                    <a:pt x="463" y="122"/>
                  </a:lnTo>
                  <a:lnTo>
                    <a:pt x="466" y="118"/>
                  </a:lnTo>
                  <a:lnTo>
                    <a:pt x="466" y="118"/>
                  </a:lnTo>
                  <a:lnTo>
                    <a:pt x="466" y="118"/>
                  </a:lnTo>
                  <a:lnTo>
                    <a:pt x="466" y="118"/>
                  </a:lnTo>
                  <a:close/>
                  <a:moveTo>
                    <a:pt x="468" y="0"/>
                  </a:moveTo>
                  <a:lnTo>
                    <a:pt x="466" y="3"/>
                  </a:lnTo>
                  <a:lnTo>
                    <a:pt x="468" y="3"/>
                  </a:lnTo>
                  <a:lnTo>
                    <a:pt x="468" y="2"/>
                  </a:lnTo>
                  <a:lnTo>
                    <a:pt x="468" y="0"/>
                  </a:lnTo>
                  <a:lnTo>
                    <a:pt x="468" y="0"/>
                  </a:lnTo>
                  <a:lnTo>
                    <a:pt x="468" y="0"/>
                  </a:lnTo>
                  <a:lnTo>
                    <a:pt x="468" y="0"/>
                  </a:lnTo>
                  <a:close/>
                  <a:moveTo>
                    <a:pt x="472" y="11"/>
                  </a:moveTo>
                  <a:lnTo>
                    <a:pt x="476" y="11"/>
                  </a:lnTo>
                  <a:lnTo>
                    <a:pt x="478" y="11"/>
                  </a:lnTo>
                  <a:lnTo>
                    <a:pt x="480" y="11"/>
                  </a:lnTo>
                  <a:lnTo>
                    <a:pt x="481" y="11"/>
                  </a:lnTo>
                  <a:lnTo>
                    <a:pt x="481" y="11"/>
                  </a:lnTo>
                  <a:lnTo>
                    <a:pt x="478" y="9"/>
                  </a:lnTo>
                  <a:lnTo>
                    <a:pt x="472" y="11"/>
                  </a:lnTo>
                  <a:lnTo>
                    <a:pt x="472" y="11"/>
                  </a:lnTo>
                  <a:lnTo>
                    <a:pt x="472" y="11"/>
                  </a:lnTo>
                  <a:lnTo>
                    <a:pt x="472" y="11"/>
                  </a:lnTo>
                  <a:lnTo>
                    <a:pt x="472" y="11"/>
                  </a:lnTo>
                  <a:lnTo>
                    <a:pt x="472" y="11"/>
                  </a:lnTo>
                  <a:close/>
                  <a:moveTo>
                    <a:pt x="444" y="32"/>
                  </a:moveTo>
                  <a:lnTo>
                    <a:pt x="444" y="34"/>
                  </a:lnTo>
                  <a:lnTo>
                    <a:pt x="448" y="35"/>
                  </a:lnTo>
                  <a:lnTo>
                    <a:pt x="448" y="35"/>
                  </a:lnTo>
                  <a:lnTo>
                    <a:pt x="444" y="32"/>
                  </a:lnTo>
                  <a:lnTo>
                    <a:pt x="444" y="32"/>
                  </a:lnTo>
                  <a:lnTo>
                    <a:pt x="444" y="32"/>
                  </a:lnTo>
                  <a:lnTo>
                    <a:pt x="444" y="32"/>
                  </a:lnTo>
                  <a:close/>
                  <a:moveTo>
                    <a:pt x="451" y="28"/>
                  </a:moveTo>
                  <a:lnTo>
                    <a:pt x="457" y="24"/>
                  </a:lnTo>
                  <a:lnTo>
                    <a:pt x="461" y="24"/>
                  </a:lnTo>
                  <a:lnTo>
                    <a:pt x="461" y="24"/>
                  </a:lnTo>
                  <a:lnTo>
                    <a:pt x="457" y="28"/>
                  </a:lnTo>
                  <a:lnTo>
                    <a:pt x="453" y="28"/>
                  </a:lnTo>
                  <a:lnTo>
                    <a:pt x="451" y="28"/>
                  </a:lnTo>
                  <a:lnTo>
                    <a:pt x="451" y="28"/>
                  </a:lnTo>
                  <a:lnTo>
                    <a:pt x="451" y="28"/>
                  </a:lnTo>
                  <a:lnTo>
                    <a:pt x="451" y="28"/>
                  </a:lnTo>
                  <a:close/>
                  <a:moveTo>
                    <a:pt x="414" y="49"/>
                  </a:moveTo>
                  <a:lnTo>
                    <a:pt x="414" y="49"/>
                  </a:lnTo>
                  <a:lnTo>
                    <a:pt x="414" y="49"/>
                  </a:lnTo>
                  <a:lnTo>
                    <a:pt x="414" y="49"/>
                  </a:lnTo>
                  <a:lnTo>
                    <a:pt x="414" y="49"/>
                  </a:lnTo>
                  <a:lnTo>
                    <a:pt x="414" y="49"/>
                  </a:lnTo>
                  <a:lnTo>
                    <a:pt x="414" y="49"/>
                  </a:lnTo>
                  <a:close/>
                  <a:moveTo>
                    <a:pt x="414" y="45"/>
                  </a:moveTo>
                  <a:lnTo>
                    <a:pt x="414" y="49"/>
                  </a:lnTo>
                  <a:lnTo>
                    <a:pt x="414" y="49"/>
                  </a:lnTo>
                  <a:lnTo>
                    <a:pt x="417" y="49"/>
                  </a:lnTo>
                  <a:lnTo>
                    <a:pt x="417" y="49"/>
                  </a:lnTo>
                  <a:lnTo>
                    <a:pt x="414" y="45"/>
                  </a:lnTo>
                  <a:lnTo>
                    <a:pt x="414" y="45"/>
                  </a:lnTo>
                  <a:lnTo>
                    <a:pt x="414" y="45"/>
                  </a:lnTo>
                  <a:lnTo>
                    <a:pt x="414" y="45"/>
                  </a:lnTo>
                  <a:close/>
                  <a:moveTo>
                    <a:pt x="417" y="56"/>
                  </a:moveTo>
                  <a:lnTo>
                    <a:pt x="414" y="56"/>
                  </a:lnTo>
                  <a:lnTo>
                    <a:pt x="414" y="58"/>
                  </a:lnTo>
                  <a:lnTo>
                    <a:pt x="417" y="56"/>
                  </a:lnTo>
                  <a:lnTo>
                    <a:pt x="417" y="56"/>
                  </a:lnTo>
                  <a:lnTo>
                    <a:pt x="417" y="56"/>
                  </a:lnTo>
                  <a:lnTo>
                    <a:pt x="417" y="56"/>
                  </a:lnTo>
                  <a:close/>
                  <a:moveTo>
                    <a:pt x="410" y="60"/>
                  </a:moveTo>
                  <a:lnTo>
                    <a:pt x="414" y="60"/>
                  </a:lnTo>
                  <a:lnTo>
                    <a:pt x="414" y="64"/>
                  </a:lnTo>
                  <a:lnTo>
                    <a:pt x="414" y="64"/>
                  </a:lnTo>
                  <a:lnTo>
                    <a:pt x="410" y="60"/>
                  </a:lnTo>
                  <a:lnTo>
                    <a:pt x="410" y="60"/>
                  </a:lnTo>
                  <a:lnTo>
                    <a:pt x="410" y="60"/>
                  </a:lnTo>
                  <a:lnTo>
                    <a:pt x="410" y="60"/>
                  </a:lnTo>
                  <a:close/>
                  <a:moveTo>
                    <a:pt x="389" y="192"/>
                  </a:moveTo>
                  <a:lnTo>
                    <a:pt x="389" y="192"/>
                  </a:lnTo>
                  <a:lnTo>
                    <a:pt x="389" y="197"/>
                  </a:lnTo>
                  <a:lnTo>
                    <a:pt x="389" y="197"/>
                  </a:lnTo>
                  <a:lnTo>
                    <a:pt x="389" y="192"/>
                  </a:lnTo>
                  <a:lnTo>
                    <a:pt x="389" y="192"/>
                  </a:lnTo>
                  <a:lnTo>
                    <a:pt x="389" y="192"/>
                  </a:lnTo>
                  <a:lnTo>
                    <a:pt x="389" y="192"/>
                  </a:lnTo>
                  <a:lnTo>
                    <a:pt x="389" y="192"/>
                  </a:lnTo>
                  <a:close/>
                  <a:moveTo>
                    <a:pt x="385" y="192"/>
                  </a:moveTo>
                  <a:lnTo>
                    <a:pt x="389" y="197"/>
                  </a:lnTo>
                  <a:lnTo>
                    <a:pt x="385" y="201"/>
                  </a:lnTo>
                  <a:lnTo>
                    <a:pt x="384" y="205"/>
                  </a:lnTo>
                  <a:lnTo>
                    <a:pt x="384" y="203"/>
                  </a:lnTo>
                  <a:lnTo>
                    <a:pt x="384" y="197"/>
                  </a:lnTo>
                  <a:lnTo>
                    <a:pt x="385" y="190"/>
                  </a:lnTo>
                  <a:lnTo>
                    <a:pt x="385" y="190"/>
                  </a:lnTo>
                  <a:lnTo>
                    <a:pt x="385" y="192"/>
                  </a:lnTo>
                  <a:lnTo>
                    <a:pt x="385" y="192"/>
                  </a:lnTo>
                  <a:lnTo>
                    <a:pt x="385" y="192"/>
                  </a:lnTo>
                  <a:lnTo>
                    <a:pt x="385" y="192"/>
                  </a:lnTo>
                  <a:close/>
                  <a:moveTo>
                    <a:pt x="259" y="133"/>
                  </a:moveTo>
                  <a:lnTo>
                    <a:pt x="265" y="133"/>
                  </a:lnTo>
                  <a:lnTo>
                    <a:pt x="265" y="137"/>
                  </a:lnTo>
                  <a:lnTo>
                    <a:pt x="263" y="137"/>
                  </a:lnTo>
                  <a:lnTo>
                    <a:pt x="259" y="137"/>
                  </a:lnTo>
                  <a:lnTo>
                    <a:pt x="259" y="133"/>
                  </a:lnTo>
                  <a:lnTo>
                    <a:pt x="259" y="133"/>
                  </a:lnTo>
                  <a:lnTo>
                    <a:pt x="259" y="133"/>
                  </a:lnTo>
                  <a:lnTo>
                    <a:pt x="259" y="133"/>
                  </a:lnTo>
                  <a:lnTo>
                    <a:pt x="259" y="133"/>
                  </a:lnTo>
                  <a:close/>
                  <a:moveTo>
                    <a:pt x="261" y="141"/>
                  </a:moveTo>
                  <a:lnTo>
                    <a:pt x="267" y="143"/>
                  </a:lnTo>
                  <a:lnTo>
                    <a:pt x="267" y="145"/>
                  </a:lnTo>
                  <a:lnTo>
                    <a:pt x="271" y="145"/>
                  </a:lnTo>
                  <a:lnTo>
                    <a:pt x="271" y="147"/>
                  </a:lnTo>
                  <a:lnTo>
                    <a:pt x="265" y="147"/>
                  </a:lnTo>
                  <a:lnTo>
                    <a:pt x="263" y="147"/>
                  </a:lnTo>
                  <a:lnTo>
                    <a:pt x="261" y="143"/>
                  </a:lnTo>
                  <a:lnTo>
                    <a:pt x="261" y="141"/>
                  </a:lnTo>
                  <a:lnTo>
                    <a:pt x="261" y="141"/>
                  </a:lnTo>
                  <a:lnTo>
                    <a:pt x="261" y="141"/>
                  </a:lnTo>
                  <a:lnTo>
                    <a:pt x="261" y="141"/>
                  </a:lnTo>
                  <a:close/>
                  <a:moveTo>
                    <a:pt x="265" y="147"/>
                  </a:moveTo>
                  <a:lnTo>
                    <a:pt x="271" y="148"/>
                  </a:lnTo>
                  <a:lnTo>
                    <a:pt x="272" y="150"/>
                  </a:lnTo>
                  <a:lnTo>
                    <a:pt x="267" y="154"/>
                  </a:lnTo>
                  <a:lnTo>
                    <a:pt x="267" y="154"/>
                  </a:lnTo>
                  <a:lnTo>
                    <a:pt x="265" y="152"/>
                  </a:lnTo>
                  <a:lnTo>
                    <a:pt x="265" y="150"/>
                  </a:lnTo>
                  <a:lnTo>
                    <a:pt x="265" y="150"/>
                  </a:lnTo>
                  <a:lnTo>
                    <a:pt x="265" y="147"/>
                  </a:lnTo>
                  <a:lnTo>
                    <a:pt x="265" y="147"/>
                  </a:lnTo>
                  <a:lnTo>
                    <a:pt x="265" y="147"/>
                  </a:lnTo>
                  <a:lnTo>
                    <a:pt x="265" y="147"/>
                  </a:lnTo>
                  <a:close/>
                  <a:moveTo>
                    <a:pt x="256" y="103"/>
                  </a:moveTo>
                  <a:lnTo>
                    <a:pt x="259" y="100"/>
                  </a:lnTo>
                  <a:lnTo>
                    <a:pt x="263" y="92"/>
                  </a:lnTo>
                  <a:lnTo>
                    <a:pt x="265" y="92"/>
                  </a:lnTo>
                  <a:lnTo>
                    <a:pt x="267" y="88"/>
                  </a:lnTo>
                  <a:lnTo>
                    <a:pt x="272" y="98"/>
                  </a:lnTo>
                  <a:lnTo>
                    <a:pt x="280" y="100"/>
                  </a:lnTo>
                  <a:lnTo>
                    <a:pt x="280" y="101"/>
                  </a:lnTo>
                  <a:lnTo>
                    <a:pt x="282" y="105"/>
                  </a:lnTo>
                  <a:lnTo>
                    <a:pt x="284" y="109"/>
                  </a:lnTo>
                  <a:lnTo>
                    <a:pt x="288" y="109"/>
                  </a:lnTo>
                  <a:lnTo>
                    <a:pt x="293" y="109"/>
                  </a:lnTo>
                  <a:lnTo>
                    <a:pt x="293" y="105"/>
                  </a:lnTo>
                  <a:lnTo>
                    <a:pt x="299" y="107"/>
                  </a:lnTo>
                  <a:lnTo>
                    <a:pt x="301" y="105"/>
                  </a:lnTo>
                  <a:lnTo>
                    <a:pt x="310" y="105"/>
                  </a:lnTo>
                  <a:lnTo>
                    <a:pt x="321" y="101"/>
                  </a:lnTo>
                  <a:lnTo>
                    <a:pt x="323" y="98"/>
                  </a:lnTo>
                  <a:lnTo>
                    <a:pt x="331" y="98"/>
                  </a:lnTo>
                  <a:lnTo>
                    <a:pt x="336" y="101"/>
                  </a:lnTo>
                  <a:lnTo>
                    <a:pt x="338" y="103"/>
                  </a:lnTo>
                  <a:lnTo>
                    <a:pt x="342" y="103"/>
                  </a:lnTo>
                  <a:lnTo>
                    <a:pt x="352" y="98"/>
                  </a:lnTo>
                  <a:lnTo>
                    <a:pt x="359" y="98"/>
                  </a:lnTo>
                  <a:lnTo>
                    <a:pt x="359" y="94"/>
                  </a:lnTo>
                  <a:lnTo>
                    <a:pt x="365" y="84"/>
                  </a:lnTo>
                  <a:lnTo>
                    <a:pt x="368" y="75"/>
                  </a:lnTo>
                  <a:lnTo>
                    <a:pt x="374" y="69"/>
                  </a:lnTo>
                  <a:lnTo>
                    <a:pt x="378" y="52"/>
                  </a:lnTo>
                  <a:lnTo>
                    <a:pt x="378" y="51"/>
                  </a:lnTo>
                  <a:lnTo>
                    <a:pt x="380" y="49"/>
                  </a:lnTo>
                  <a:lnTo>
                    <a:pt x="380" y="45"/>
                  </a:lnTo>
                  <a:lnTo>
                    <a:pt x="385" y="39"/>
                  </a:lnTo>
                  <a:lnTo>
                    <a:pt x="385" y="41"/>
                  </a:lnTo>
                  <a:lnTo>
                    <a:pt x="393" y="41"/>
                  </a:lnTo>
                  <a:lnTo>
                    <a:pt x="400" y="41"/>
                  </a:lnTo>
                  <a:lnTo>
                    <a:pt x="402" y="41"/>
                  </a:lnTo>
                  <a:lnTo>
                    <a:pt x="408" y="41"/>
                  </a:lnTo>
                  <a:lnTo>
                    <a:pt x="414" y="45"/>
                  </a:lnTo>
                  <a:lnTo>
                    <a:pt x="410" y="45"/>
                  </a:lnTo>
                  <a:lnTo>
                    <a:pt x="410" y="45"/>
                  </a:lnTo>
                  <a:lnTo>
                    <a:pt x="410" y="49"/>
                  </a:lnTo>
                  <a:lnTo>
                    <a:pt x="410" y="49"/>
                  </a:lnTo>
                  <a:lnTo>
                    <a:pt x="414" y="51"/>
                  </a:lnTo>
                  <a:lnTo>
                    <a:pt x="417" y="54"/>
                  </a:lnTo>
                  <a:lnTo>
                    <a:pt x="414" y="56"/>
                  </a:lnTo>
                  <a:lnTo>
                    <a:pt x="408" y="54"/>
                  </a:lnTo>
                  <a:lnTo>
                    <a:pt x="406" y="56"/>
                  </a:lnTo>
                  <a:lnTo>
                    <a:pt x="410" y="60"/>
                  </a:lnTo>
                  <a:lnTo>
                    <a:pt x="410" y="60"/>
                  </a:lnTo>
                  <a:lnTo>
                    <a:pt x="410" y="64"/>
                  </a:lnTo>
                  <a:lnTo>
                    <a:pt x="410" y="64"/>
                  </a:lnTo>
                  <a:lnTo>
                    <a:pt x="410" y="64"/>
                  </a:lnTo>
                  <a:lnTo>
                    <a:pt x="410" y="69"/>
                  </a:lnTo>
                  <a:lnTo>
                    <a:pt x="414" y="73"/>
                  </a:lnTo>
                  <a:lnTo>
                    <a:pt x="417" y="79"/>
                  </a:lnTo>
                  <a:lnTo>
                    <a:pt x="423" y="81"/>
                  </a:lnTo>
                  <a:lnTo>
                    <a:pt x="419" y="84"/>
                  </a:lnTo>
                  <a:lnTo>
                    <a:pt x="414" y="84"/>
                  </a:lnTo>
                  <a:lnTo>
                    <a:pt x="414" y="88"/>
                  </a:lnTo>
                  <a:lnTo>
                    <a:pt x="417" y="88"/>
                  </a:lnTo>
                  <a:lnTo>
                    <a:pt x="417" y="92"/>
                  </a:lnTo>
                  <a:lnTo>
                    <a:pt x="419" y="92"/>
                  </a:lnTo>
                  <a:lnTo>
                    <a:pt x="427" y="101"/>
                  </a:lnTo>
                  <a:lnTo>
                    <a:pt x="431" y="101"/>
                  </a:lnTo>
                  <a:lnTo>
                    <a:pt x="432" y="105"/>
                  </a:lnTo>
                  <a:lnTo>
                    <a:pt x="434" y="107"/>
                  </a:lnTo>
                  <a:lnTo>
                    <a:pt x="438" y="107"/>
                  </a:lnTo>
                  <a:lnTo>
                    <a:pt x="434" y="109"/>
                  </a:lnTo>
                  <a:lnTo>
                    <a:pt x="434" y="113"/>
                  </a:lnTo>
                  <a:lnTo>
                    <a:pt x="432" y="109"/>
                  </a:lnTo>
                  <a:lnTo>
                    <a:pt x="429" y="113"/>
                  </a:lnTo>
                  <a:lnTo>
                    <a:pt x="425" y="113"/>
                  </a:lnTo>
                  <a:lnTo>
                    <a:pt x="417" y="107"/>
                  </a:lnTo>
                  <a:lnTo>
                    <a:pt x="419" y="109"/>
                  </a:lnTo>
                  <a:lnTo>
                    <a:pt x="417" y="113"/>
                  </a:lnTo>
                  <a:lnTo>
                    <a:pt x="417" y="109"/>
                  </a:lnTo>
                  <a:lnTo>
                    <a:pt x="414" y="113"/>
                  </a:lnTo>
                  <a:lnTo>
                    <a:pt x="414" y="116"/>
                  </a:lnTo>
                  <a:lnTo>
                    <a:pt x="410" y="118"/>
                  </a:lnTo>
                  <a:lnTo>
                    <a:pt x="410" y="126"/>
                  </a:lnTo>
                  <a:lnTo>
                    <a:pt x="410" y="128"/>
                  </a:lnTo>
                  <a:lnTo>
                    <a:pt x="408" y="133"/>
                  </a:lnTo>
                  <a:lnTo>
                    <a:pt x="402" y="137"/>
                  </a:lnTo>
                  <a:lnTo>
                    <a:pt x="404" y="143"/>
                  </a:lnTo>
                  <a:lnTo>
                    <a:pt x="402" y="147"/>
                  </a:lnTo>
                  <a:lnTo>
                    <a:pt x="399" y="150"/>
                  </a:lnTo>
                  <a:lnTo>
                    <a:pt x="397" y="147"/>
                  </a:lnTo>
                  <a:lnTo>
                    <a:pt x="395" y="145"/>
                  </a:lnTo>
                  <a:lnTo>
                    <a:pt x="397" y="148"/>
                  </a:lnTo>
                  <a:lnTo>
                    <a:pt x="397" y="152"/>
                  </a:lnTo>
                  <a:lnTo>
                    <a:pt x="393" y="156"/>
                  </a:lnTo>
                  <a:lnTo>
                    <a:pt x="393" y="160"/>
                  </a:lnTo>
                  <a:lnTo>
                    <a:pt x="389" y="160"/>
                  </a:lnTo>
                  <a:lnTo>
                    <a:pt x="385" y="160"/>
                  </a:lnTo>
                  <a:lnTo>
                    <a:pt x="389" y="162"/>
                  </a:lnTo>
                  <a:lnTo>
                    <a:pt x="385" y="162"/>
                  </a:lnTo>
                  <a:lnTo>
                    <a:pt x="389" y="162"/>
                  </a:lnTo>
                  <a:lnTo>
                    <a:pt x="393" y="165"/>
                  </a:lnTo>
                  <a:lnTo>
                    <a:pt x="393" y="167"/>
                  </a:lnTo>
                  <a:lnTo>
                    <a:pt x="389" y="167"/>
                  </a:lnTo>
                  <a:lnTo>
                    <a:pt x="389" y="169"/>
                  </a:lnTo>
                  <a:lnTo>
                    <a:pt x="393" y="169"/>
                  </a:lnTo>
                  <a:lnTo>
                    <a:pt x="393" y="171"/>
                  </a:lnTo>
                  <a:lnTo>
                    <a:pt x="393" y="175"/>
                  </a:lnTo>
                  <a:lnTo>
                    <a:pt x="389" y="173"/>
                  </a:lnTo>
                  <a:lnTo>
                    <a:pt x="389" y="173"/>
                  </a:lnTo>
                  <a:lnTo>
                    <a:pt x="389" y="175"/>
                  </a:lnTo>
                  <a:lnTo>
                    <a:pt x="389" y="177"/>
                  </a:lnTo>
                  <a:lnTo>
                    <a:pt x="389" y="177"/>
                  </a:lnTo>
                  <a:lnTo>
                    <a:pt x="389" y="184"/>
                  </a:lnTo>
                  <a:lnTo>
                    <a:pt x="385" y="184"/>
                  </a:lnTo>
                  <a:lnTo>
                    <a:pt x="385" y="182"/>
                  </a:lnTo>
                  <a:lnTo>
                    <a:pt x="385" y="186"/>
                  </a:lnTo>
                  <a:lnTo>
                    <a:pt x="385" y="190"/>
                  </a:lnTo>
                  <a:lnTo>
                    <a:pt x="380" y="196"/>
                  </a:lnTo>
                  <a:lnTo>
                    <a:pt x="374" y="199"/>
                  </a:lnTo>
                  <a:lnTo>
                    <a:pt x="368" y="201"/>
                  </a:lnTo>
                  <a:lnTo>
                    <a:pt x="361" y="205"/>
                  </a:lnTo>
                  <a:lnTo>
                    <a:pt x="355" y="205"/>
                  </a:lnTo>
                  <a:lnTo>
                    <a:pt x="355" y="199"/>
                  </a:lnTo>
                  <a:lnTo>
                    <a:pt x="355" y="197"/>
                  </a:lnTo>
                  <a:lnTo>
                    <a:pt x="355" y="194"/>
                  </a:lnTo>
                  <a:lnTo>
                    <a:pt x="355" y="192"/>
                  </a:lnTo>
                  <a:lnTo>
                    <a:pt x="353" y="194"/>
                  </a:lnTo>
                  <a:lnTo>
                    <a:pt x="352" y="190"/>
                  </a:lnTo>
                  <a:lnTo>
                    <a:pt x="350" y="192"/>
                  </a:lnTo>
                  <a:lnTo>
                    <a:pt x="346" y="190"/>
                  </a:lnTo>
                  <a:lnTo>
                    <a:pt x="344" y="190"/>
                  </a:lnTo>
                  <a:lnTo>
                    <a:pt x="342" y="190"/>
                  </a:lnTo>
                  <a:lnTo>
                    <a:pt x="344" y="194"/>
                  </a:lnTo>
                  <a:lnTo>
                    <a:pt x="340" y="192"/>
                  </a:lnTo>
                  <a:lnTo>
                    <a:pt x="338" y="190"/>
                  </a:lnTo>
                  <a:lnTo>
                    <a:pt x="338" y="186"/>
                  </a:lnTo>
                  <a:lnTo>
                    <a:pt x="336" y="186"/>
                  </a:lnTo>
                  <a:lnTo>
                    <a:pt x="335" y="186"/>
                  </a:lnTo>
                  <a:lnTo>
                    <a:pt x="331" y="186"/>
                  </a:lnTo>
                  <a:lnTo>
                    <a:pt x="331" y="186"/>
                  </a:lnTo>
                  <a:lnTo>
                    <a:pt x="327" y="190"/>
                  </a:lnTo>
                  <a:lnTo>
                    <a:pt x="323" y="190"/>
                  </a:lnTo>
                  <a:lnTo>
                    <a:pt x="321" y="190"/>
                  </a:lnTo>
                  <a:lnTo>
                    <a:pt x="320" y="192"/>
                  </a:lnTo>
                  <a:lnTo>
                    <a:pt x="318" y="190"/>
                  </a:lnTo>
                  <a:lnTo>
                    <a:pt x="316" y="190"/>
                  </a:lnTo>
                  <a:lnTo>
                    <a:pt x="310" y="196"/>
                  </a:lnTo>
                  <a:lnTo>
                    <a:pt x="310" y="196"/>
                  </a:lnTo>
                  <a:lnTo>
                    <a:pt x="310" y="192"/>
                  </a:lnTo>
                  <a:lnTo>
                    <a:pt x="310" y="186"/>
                  </a:lnTo>
                  <a:lnTo>
                    <a:pt x="306" y="182"/>
                  </a:lnTo>
                  <a:lnTo>
                    <a:pt x="306" y="179"/>
                  </a:lnTo>
                  <a:lnTo>
                    <a:pt x="304" y="177"/>
                  </a:lnTo>
                  <a:lnTo>
                    <a:pt x="306" y="179"/>
                  </a:lnTo>
                  <a:lnTo>
                    <a:pt x="304" y="182"/>
                  </a:lnTo>
                  <a:lnTo>
                    <a:pt x="301" y="184"/>
                  </a:lnTo>
                  <a:lnTo>
                    <a:pt x="301" y="182"/>
                  </a:lnTo>
                  <a:lnTo>
                    <a:pt x="297" y="184"/>
                  </a:lnTo>
                  <a:lnTo>
                    <a:pt x="293" y="186"/>
                  </a:lnTo>
                  <a:lnTo>
                    <a:pt x="289" y="184"/>
                  </a:lnTo>
                  <a:lnTo>
                    <a:pt x="286" y="184"/>
                  </a:lnTo>
                  <a:lnTo>
                    <a:pt x="284" y="181"/>
                  </a:lnTo>
                  <a:lnTo>
                    <a:pt x="282" y="184"/>
                  </a:lnTo>
                  <a:lnTo>
                    <a:pt x="280" y="184"/>
                  </a:lnTo>
                  <a:lnTo>
                    <a:pt x="276" y="179"/>
                  </a:lnTo>
                  <a:lnTo>
                    <a:pt x="276" y="173"/>
                  </a:lnTo>
                  <a:lnTo>
                    <a:pt x="276" y="165"/>
                  </a:lnTo>
                  <a:lnTo>
                    <a:pt x="272" y="165"/>
                  </a:lnTo>
                  <a:lnTo>
                    <a:pt x="272" y="162"/>
                  </a:lnTo>
                  <a:lnTo>
                    <a:pt x="272" y="160"/>
                  </a:lnTo>
                  <a:lnTo>
                    <a:pt x="276" y="156"/>
                  </a:lnTo>
                  <a:lnTo>
                    <a:pt x="276" y="152"/>
                  </a:lnTo>
                  <a:lnTo>
                    <a:pt x="276" y="148"/>
                  </a:lnTo>
                  <a:lnTo>
                    <a:pt x="271" y="143"/>
                  </a:lnTo>
                  <a:lnTo>
                    <a:pt x="265" y="141"/>
                  </a:lnTo>
                  <a:lnTo>
                    <a:pt x="261" y="141"/>
                  </a:lnTo>
                  <a:lnTo>
                    <a:pt x="261" y="137"/>
                  </a:lnTo>
                  <a:lnTo>
                    <a:pt x="263" y="137"/>
                  </a:lnTo>
                  <a:lnTo>
                    <a:pt x="267" y="137"/>
                  </a:lnTo>
                  <a:lnTo>
                    <a:pt x="272" y="133"/>
                  </a:lnTo>
                  <a:lnTo>
                    <a:pt x="276" y="132"/>
                  </a:lnTo>
                  <a:lnTo>
                    <a:pt x="280" y="132"/>
                  </a:lnTo>
                  <a:lnTo>
                    <a:pt x="276" y="130"/>
                  </a:lnTo>
                  <a:lnTo>
                    <a:pt x="272" y="133"/>
                  </a:lnTo>
                  <a:lnTo>
                    <a:pt x="267" y="133"/>
                  </a:lnTo>
                  <a:lnTo>
                    <a:pt x="265" y="133"/>
                  </a:lnTo>
                  <a:lnTo>
                    <a:pt x="261" y="133"/>
                  </a:lnTo>
                  <a:lnTo>
                    <a:pt x="257" y="130"/>
                  </a:lnTo>
                  <a:lnTo>
                    <a:pt x="259" y="128"/>
                  </a:lnTo>
                  <a:lnTo>
                    <a:pt x="261" y="130"/>
                  </a:lnTo>
                  <a:lnTo>
                    <a:pt x="259" y="126"/>
                  </a:lnTo>
                  <a:lnTo>
                    <a:pt x="256" y="118"/>
                  </a:lnTo>
                  <a:lnTo>
                    <a:pt x="256" y="113"/>
                  </a:lnTo>
                  <a:lnTo>
                    <a:pt x="256" y="113"/>
                  </a:lnTo>
                  <a:lnTo>
                    <a:pt x="257" y="109"/>
                  </a:lnTo>
                  <a:lnTo>
                    <a:pt x="256" y="107"/>
                  </a:lnTo>
                  <a:lnTo>
                    <a:pt x="256" y="103"/>
                  </a:lnTo>
                  <a:lnTo>
                    <a:pt x="256" y="103"/>
                  </a:lnTo>
                  <a:lnTo>
                    <a:pt x="256" y="103"/>
                  </a:lnTo>
                  <a:lnTo>
                    <a:pt x="256" y="103"/>
                  </a:lnTo>
                  <a:close/>
                  <a:moveTo>
                    <a:pt x="734" y="143"/>
                  </a:moveTo>
                  <a:lnTo>
                    <a:pt x="732" y="143"/>
                  </a:lnTo>
                  <a:lnTo>
                    <a:pt x="734" y="147"/>
                  </a:lnTo>
                  <a:lnTo>
                    <a:pt x="737" y="145"/>
                  </a:lnTo>
                  <a:lnTo>
                    <a:pt x="734" y="143"/>
                  </a:lnTo>
                  <a:lnTo>
                    <a:pt x="734" y="143"/>
                  </a:lnTo>
                  <a:lnTo>
                    <a:pt x="734" y="143"/>
                  </a:lnTo>
                  <a:lnTo>
                    <a:pt x="734" y="143"/>
                  </a:lnTo>
                  <a:close/>
                  <a:moveTo>
                    <a:pt x="743" y="156"/>
                  </a:moveTo>
                  <a:lnTo>
                    <a:pt x="737" y="156"/>
                  </a:lnTo>
                  <a:lnTo>
                    <a:pt x="741" y="156"/>
                  </a:lnTo>
                  <a:lnTo>
                    <a:pt x="743" y="156"/>
                  </a:lnTo>
                  <a:lnTo>
                    <a:pt x="743" y="156"/>
                  </a:lnTo>
                  <a:lnTo>
                    <a:pt x="743" y="156"/>
                  </a:lnTo>
                  <a:lnTo>
                    <a:pt x="743" y="156"/>
                  </a:lnTo>
                  <a:close/>
                  <a:moveTo>
                    <a:pt x="745" y="156"/>
                  </a:moveTo>
                  <a:lnTo>
                    <a:pt x="745" y="156"/>
                  </a:lnTo>
                  <a:lnTo>
                    <a:pt x="747" y="158"/>
                  </a:lnTo>
                  <a:lnTo>
                    <a:pt x="752" y="160"/>
                  </a:lnTo>
                  <a:lnTo>
                    <a:pt x="760" y="162"/>
                  </a:lnTo>
                  <a:lnTo>
                    <a:pt x="769" y="160"/>
                  </a:lnTo>
                  <a:lnTo>
                    <a:pt x="771" y="160"/>
                  </a:lnTo>
                  <a:lnTo>
                    <a:pt x="764" y="158"/>
                  </a:lnTo>
                  <a:lnTo>
                    <a:pt x="762" y="158"/>
                  </a:lnTo>
                  <a:lnTo>
                    <a:pt x="754" y="158"/>
                  </a:lnTo>
                  <a:lnTo>
                    <a:pt x="752" y="160"/>
                  </a:lnTo>
                  <a:lnTo>
                    <a:pt x="745" y="156"/>
                  </a:lnTo>
                  <a:lnTo>
                    <a:pt x="745" y="156"/>
                  </a:lnTo>
                  <a:lnTo>
                    <a:pt x="745" y="156"/>
                  </a:lnTo>
                  <a:lnTo>
                    <a:pt x="745" y="156"/>
                  </a:lnTo>
                  <a:close/>
                  <a:moveTo>
                    <a:pt x="745" y="137"/>
                  </a:moveTo>
                  <a:lnTo>
                    <a:pt x="749" y="141"/>
                  </a:lnTo>
                  <a:lnTo>
                    <a:pt x="749" y="141"/>
                  </a:lnTo>
                  <a:lnTo>
                    <a:pt x="749" y="141"/>
                  </a:lnTo>
                  <a:lnTo>
                    <a:pt x="752" y="143"/>
                  </a:lnTo>
                  <a:lnTo>
                    <a:pt x="752" y="147"/>
                  </a:lnTo>
                  <a:lnTo>
                    <a:pt x="754" y="147"/>
                  </a:lnTo>
                  <a:lnTo>
                    <a:pt x="756" y="147"/>
                  </a:lnTo>
                  <a:lnTo>
                    <a:pt x="758" y="147"/>
                  </a:lnTo>
                  <a:lnTo>
                    <a:pt x="762" y="147"/>
                  </a:lnTo>
                  <a:lnTo>
                    <a:pt x="760" y="145"/>
                  </a:lnTo>
                  <a:lnTo>
                    <a:pt x="758" y="143"/>
                  </a:lnTo>
                  <a:lnTo>
                    <a:pt x="754" y="141"/>
                  </a:lnTo>
                  <a:lnTo>
                    <a:pt x="752" y="137"/>
                  </a:lnTo>
                  <a:lnTo>
                    <a:pt x="749" y="137"/>
                  </a:lnTo>
                  <a:lnTo>
                    <a:pt x="745" y="137"/>
                  </a:lnTo>
                  <a:lnTo>
                    <a:pt x="745" y="137"/>
                  </a:lnTo>
                  <a:lnTo>
                    <a:pt x="745" y="137"/>
                  </a:lnTo>
                  <a:lnTo>
                    <a:pt x="745" y="137"/>
                  </a:lnTo>
                  <a:lnTo>
                    <a:pt x="745" y="137"/>
                  </a:lnTo>
                  <a:close/>
                  <a:moveTo>
                    <a:pt x="690" y="231"/>
                  </a:moveTo>
                  <a:lnTo>
                    <a:pt x="694" y="235"/>
                  </a:lnTo>
                  <a:lnTo>
                    <a:pt x="694" y="235"/>
                  </a:lnTo>
                  <a:lnTo>
                    <a:pt x="694" y="239"/>
                  </a:lnTo>
                  <a:lnTo>
                    <a:pt x="694" y="235"/>
                  </a:lnTo>
                  <a:lnTo>
                    <a:pt x="690" y="231"/>
                  </a:lnTo>
                  <a:lnTo>
                    <a:pt x="690" y="231"/>
                  </a:lnTo>
                  <a:lnTo>
                    <a:pt x="690" y="231"/>
                  </a:lnTo>
                  <a:lnTo>
                    <a:pt x="690" y="231"/>
                  </a:lnTo>
                  <a:close/>
                  <a:moveTo>
                    <a:pt x="702" y="228"/>
                  </a:moveTo>
                  <a:lnTo>
                    <a:pt x="698" y="229"/>
                  </a:lnTo>
                  <a:lnTo>
                    <a:pt x="698" y="235"/>
                  </a:lnTo>
                  <a:lnTo>
                    <a:pt x="694" y="239"/>
                  </a:lnTo>
                  <a:lnTo>
                    <a:pt x="698" y="239"/>
                  </a:lnTo>
                  <a:lnTo>
                    <a:pt x="700" y="229"/>
                  </a:lnTo>
                  <a:lnTo>
                    <a:pt x="702" y="228"/>
                  </a:lnTo>
                  <a:lnTo>
                    <a:pt x="702" y="228"/>
                  </a:lnTo>
                  <a:lnTo>
                    <a:pt x="702" y="228"/>
                  </a:lnTo>
                  <a:lnTo>
                    <a:pt x="702" y="228"/>
                  </a:lnTo>
                  <a:close/>
                  <a:moveTo>
                    <a:pt x="730" y="252"/>
                  </a:moveTo>
                  <a:lnTo>
                    <a:pt x="728" y="254"/>
                  </a:lnTo>
                  <a:lnTo>
                    <a:pt x="730" y="254"/>
                  </a:lnTo>
                  <a:lnTo>
                    <a:pt x="730" y="252"/>
                  </a:lnTo>
                  <a:lnTo>
                    <a:pt x="730" y="252"/>
                  </a:lnTo>
                  <a:lnTo>
                    <a:pt x="730" y="252"/>
                  </a:lnTo>
                  <a:lnTo>
                    <a:pt x="730" y="252"/>
                  </a:lnTo>
                  <a:lnTo>
                    <a:pt x="730" y="252"/>
                  </a:lnTo>
                  <a:close/>
                  <a:moveTo>
                    <a:pt x="719" y="245"/>
                  </a:moveTo>
                  <a:lnTo>
                    <a:pt x="719" y="243"/>
                  </a:lnTo>
                  <a:lnTo>
                    <a:pt x="719" y="245"/>
                  </a:lnTo>
                  <a:lnTo>
                    <a:pt x="719" y="248"/>
                  </a:lnTo>
                  <a:lnTo>
                    <a:pt x="719" y="250"/>
                  </a:lnTo>
                  <a:lnTo>
                    <a:pt x="722" y="252"/>
                  </a:lnTo>
                  <a:lnTo>
                    <a:pt x="719" y="252"/>
                  </a:lnTo>
                  <a:lnTo>
                    <a:pt x="719" y="250"/>
                  </a:lnTo>
                  <a:lnTo>
                    <a:pt x="719" y="254"/>
                  </a:lnTo>
                  <a:lnTo>
                    <a:pt x="719" y="256"/>
                  </a:lnTo>
                  <a:lnTo>
                    <a:pt x="722" y="256"/>
                  </a:lnTo>
                  <a:lnTo>
                    <a:pt x="724" y="252"/>
                  </a:lnTo>
                  <a:lnTo>
                    <a:pt x="728" y="252"/>
                  </a:lnTo>
                  <a:lnTo>
                    <a:pt x="724" y="250"/>
                  </a:lnTo>
                  <a:lnTo>
                    <a:pt x="724" y="246"/>
                  </a:lnTo>
                  <a:lnTo>
                    <a:pt x="719" y="245"/>
                  </a:lnTo>
                  <a:lnTo>
                    <a:pt x="719" y="245"/>
                  </a:lnTo>
                  <a:lnTo>
                    <a:pt x="719" y="245"/>
                  </a:lnTo>
                  <a:lnTo>
                    <a:pt x="719" y="245"/>
                  </a:lnTo>
                  <a:close/>
                  <a:moveTo>
                    <a:pt x="728" y="246"/>
                  </a:moveTo>
                  <a:lnTo>
                    <a:pt x="728" y="246"/>
                  </a:lnTo>
                  <a:lnTo>
                    <a:pt x="724" y="246"/>
                  </a:lnTo>
                  <a:lnTo>
                    <a:pt x="724" y="248"/>
                  </a:lnTo>
                  <a:lnTo>
                    <a:pt x="728" y="250"/>
                  </a:lnTo>
                  <a:lnTo>
                    <a:pt x="728" y="250"/>
                  </a:lnTo>
                  <a:lnTo>
                    <a:pt x="728" y="246"/>
                  </a:lnTo>
                  <a:lnTo>
                    <a:pt x="728" y="246"/>
                  </a:lnTo>
                  <a:lnTo>
                    <a:pt x="728" y="246"/>
                  </a:lnTo>
                  <a:lnTo>
                    <a:pt x="728" y="246"/>
                  </a:lnTo>
                  <a:lnTo>
                    <a:pt x="728" y="246"/>
                  </a:lnTo>
                  <a:close/>
                  <a:moveTo>
                    <a:pt x="722" y="239"/>
                  </a:moveTo>
                  <a:lnTo>
                    <a:pt x="719" y="239"/>
                  </a:lnTo>
                  <a:lnTo>
                    <a:pt x="719" y="241"/>
                  </a:lnTo>
                  <a:lnTo>
                    <a:pt x="722" y="245"/>
                  </a:lnTo>
                  <a:lnTo>
                    <a:pt x="724" y="246"/>
                  </a:lnTo>
                  <a:lnTo>
                    <a:pt x="724" y="245"/>
                  </a:lnTo>
                  <a:lnTo>
                    <a:pt x="722" y="243"/>
                  </a:lnTo>
                  <a:lnTo>
                    <a:pt x="722" y="239"/>
                  </a:lnTo>
                  <a:lnTo>
                    <a:pt x="722" y="239"/>
                  </a:lnTo>
                  <a:lnTo>
                    <a:pt x="722" y="239"/>
                  </a:lnTo>
                  <a:lnTo>
                    <a:pt x="722" y="239"/>
                  </a:lnTo>
                  <a:close/>
                  <a:moveTo>
                    <a:pt x="728" y="239"/>
                  </a:moveTo>
                  <a:lnTo>
                    <a:pt x="724" y="239"/>
                  </a:lnTo>
                  <a:lnTo>
                    <a:pt x="724" y="241"/>
                  </a:lnTo>
                  <a:lnTo>
                    <a:pt x="724" y="241"/>
                  </a:lnTo>
                  <a:lnTo>
                    <a:pt x="728" y="245"/>
                  </a:lnTo>
                  <a:lnTo>
                    <a:pt x="728" y="245"/>
                  </a:lnTo>
                  <a:lnTo>
                    <a:pt x="730" y="243"/>
                  </a:lnTo>
                  <a:lnTo>
                    <a:pt x="730" y="241"/>
                  </a:lnTo>
                  <a:lnTo>
                    <a:pt x="730" y="241"/>
                  </a:lnTo>
                  <a:lnTo>
                    <a:pt x="730" y="239"/>
                  </a:lnTo>
                  <a:lnTo>
                    <a:pt x="728" y="239"/>
                  </a:lnTo>
                  <a:lnTo>
                    <a:pt x="728" y="239"/>
                  </a:lnTo>
                  <a:lnTo>
                    <a:pt x="728" y="239"/>
                  </a:lnTo>
                  <a:lnTo>
                    <a:pt x="728" y="239"/>
                  </a:lnTo>
                  <a:lnTo>
                    <a:pt x="728" y="239"/>
                  </a:lnTo>
                  <a:close/>
                  <a:moveTo>
                    <a:pt x="722" y="235"/>
                  </a:moveTo>
                  <a:lnTo>
                    <a:pt x="719" y="235"/>
                  </a:lnTo>
                  <a:lnTo>
                    <a:pt x="719" y="235"/>
                  </a:lnTo>
                  <a:lnTo>
                    <a:pt x="722" y="235"/>
                  </a:lnTo>
                  <a:lnTo>
                    <a:pt x="722" y="235"/>
                  </a:lnTo>
                  <a:lnTo>
                    <a:pt x="722" y="235"/>
                  </a:lnTo>
                  <a:lnTo>
                    <a:pt x="722" y="235"/>
                  </a:lnTo>
                  <a:lnTo>
                    <a:pt x="722" y="235"/>
                  </a:lnTo>
                  <a:close/>
                  <a:moveTo>
                    <a:pt x="728" y="229"/>
                  </a:moveTo>
                  <a:lnTo>
                    <a:pt x="728" y="231"/>
                  </a:lnTo>
                  <a:lnTo>
                    <a:pt x="730" y="231"/>
                  </a:lnTo>
                  <a:lnTo>
                    <a:pt x="728" y="229"/>
                  </a:lnTo>
                  <a:lnTo>
                    <a:pt x="728" y="229"/>
                  </a:lnTo>
                  <a:lnTo>
                    <a:pt x="728" y="229"/>
                  </a:lnTo>
                  <a:lnTo>
                    <a:pt x="728" y="229"/>
                  </a:lnTo>
                  <a:lnTo>
                    <a:pt x="728" y="229"/>
                  </a:lnTo>
                  <a:close/>
                  <a:moveTo>
                    <a:pt x="728" y="229"/>
                  </a:moveTo>
                  <a:lnTo>
                    <a:pt x="724" y="229"/>
                  </a:lnTo>
                  <a:lnTo>
                    <a:pt x="724" y="233"/>
                  </a:lnTo>
                  <a:lnTo>
                    <a:pt x="722" y="233"/>
                  </a:lnTo>
                  <a:lnTo>
                    <a:pt x="724" y="233"/>
                  </a:lnTo>
                  <a:lnTo>
                    <a:pt x="724" y="235"/>
                  </a:lnTo>
                  <a:lnTo>
                    <a:pt x="724" y="235"/>
                  </a:lnTo>
                  <a:lnTo>
                    <a:pt x="724" y="235"/>
                  </a:lnTo>
                  <a:lnTo>
                    <a:pt x="724" y="239"/>
                  </a:lnTo>
                  <a:lnTo>
                    <a:pt x="724" y="239"/>
                  </a:lnTo>
                  <a:lnTo>
                    <a:pt x="728" y="235"/>
                  </a:lnTo>
                  <a:lnTo>
                    <a:pt x="728" y="235"/>
                  </a:lnTo>
                  <a:lnTo>
                    <a:pt x="730" y="235"/>
                  </a:lnTo>
                  <a:lnTo>
                    <a:pt x="730" y="231"/>
                  </a:lnTo>
                  <a:lnTo>
                    <a:pt x="728" y="231"/>
                  </a:lnTo>
                  <a:lnTo>
                    <a:pt x="728" y="229"/>
                  </a:lnTo>
                  <a:lnTo>
                    <a:pt x="728" y="229"/>
                  </a:lnTo>
                  <a:lnTo>
                    <a:pt x="728" y="229"/>
                  </a:lnTo>
                  <a:lnTo>
                    <a:pt x="728" y="229"/>
                  </a:lnTo>
                  <a:close/>
                  <a:moveTo>
                    <a:pt x="677" y="260"/>
                  </a:moveTo>
                  <a:lnTo>
                    <a:pt x="681" y="258"/>
                  </a:lnTo>
                  <a:lnTo>
                    <a:pt x="679" y="258"/>
                  </a:lnTo>
                  <a:lnTo>
                    <a:pt x="677" y="260"/>
                  </a:lnTo>
                  <a:lnTo>
                    <a:pt x="677" y="260"/>
                  </a:lnTo>
                  <a:lnTo>
                    <a:pt x="677" y="260"/>
                  </a:lnTo>
                  <a:lnTo>
                    <a:pt x="677" y="260"/>
                  </a:lnTo>
                  <a:close/>
                  <a:moveTo>
                    <a:pt x="673" y="260"/>
                  </a:moveTo>
                  <a:lnTo>
                    <a:pt x="679" y="263"/>
                  </a:lnTo>
                  <a:lnTo>
                    <a:pt x="677" y="260"/>
                  </a:lnTo>
                  <a:lnTo>
                    <a:pt x="673" y="260"/>
                  </a:lnTo>
                  <a:lnTo>
                    <a:pt x="673" y="260"/>
                  </a:lnTo>
                  <a:lnTo>
                    <a:pt x="673" y="260"/>
                  </a:lnTo>
                  <a:lnTo>
                    <a:pt x="673" y="260"/>
                  </a:lnTo>
                  <a:close/>
                  <a:moveTo>
                    <a:pt x="658" y="267"/>
                  </a:moveTo>
                  <a:lnTo>
                    <a:pt x="656" y="269"/>
                  </a:lnTo>
                  <a:lnTo>
                    <a:pt x="658" y="269"/>
                  </a:lnTo>
                  <a:lnTo>
                    <a:pt x="658" y="269"/>
                  </a:lnTo>
                  <a:lnTo>
                    <a:pt x="658" y="267"/>
                  </a:lnTo>
                  <a:lnTo>
                    <a:pt x="658" y="267"/>
                  </a:lnTo>
                  <a:lnTo>
                    <a:pt x="658" y="267"/>
                  </a:lnTo>
                  <a:lnTo>
                    <a:pt x="658" y="267"/>
                  </a:lnTo>
                  <a:close/>
                  <a:moveTo>
                    <a:pt x="664" y="265"/>
                  </a:moveTo>
                  <a:lnTo>
                    <a:pt x="658" y="265"/>
                  </a:lnTo>
                  <a:lnTo>
                    <a:pt x="660" y="267"/>
                  </a:lnTo>
                  <a:lnTo>
                    <a:pt x="664" y="265"/>
                  </a:lnTo>
                  <a:lnTo>
                    <a:pt x="664" y="265"/>
                  </a:lnTo>
                  <a:lnTo>
                    <a:pt x="664" y="265"/>
                  </a:lnTo>
                  <a:lnTo>
                    <a:pt x="664" y="265"/>
                  </a:lnTo>
                  <a:lnTo>
                    <a:pt x="664" y="265"/>
                  </a:lnTo>
                  <a:close/>
                  <a:moveTo>
                    <a:pt x="664" y="278"/>
                  </a:moveTo>
                  <a:lnTo>
                    <a:pt x="660" y="278"/>
                  </a:lnTo>
                  <a:lnTo>
                    <a:pt x="658" y="282"/>
                  </a:lnTo>
                  <a:lnTo>
                    <a:pt x="658" y="282"/>
                  </a:lnTo>
                  <a:lnTo>
                    <a:pt x="660" y="282"/>
                  </a:lnTo>
                  <a:lnTo>
                    <a:pt x="664" y="280"/>
                  </a:lnTo>
                  <a:lnTo>
                    <a:pt x="664" y="278"/>
                  </a:lnTo>
                  <a:lnTo>
                    <a:pt x="664" y="278"/>
                  </a:lnTo>
                  <a:lnTo>
                    <a:pt x="664" y="278"/>
                  </a:lnTo>
                  <a:lnTo>
                    <a:pt x="664" y="278"/>
                  </a:lnTo>
                  <a:close/>
                  <a:moveTo>
                    <a:pt x="670" y="263"/>
                  </a:moveTo>
                  <a:lnTo>
                    <a:pt x="664" y="267"/>
                  </a:lnTo>
                  <a:lnTo>
                    <a:pt x="664" y="269"/>
                  </a:lnTo>
                  <a:lnTo>
                    <a:pt x="664" y="271"/>
                  </a:lnTo>
                  <a:lnTo>
                    <a:pt x="664" y="273"/>
                  </a:lnTo>
                  <a:lnTo>
                    <a:pt x="664" y="277"/>
                  </a:lnTo>
                  <a:lnTo>
                    <a:pt x="664" y="278"/>
                  </a:lnTo>
                  <a:lnTo>
                    <a:pt x="670" y="278"/>
                  </a:lnTo>
                  <a:lnTo>
                    <a:pt x="673" y="273"/>
                  </a:lnTo>
                  <a:lnTo>
                    <a:pt x="673" y="267"/>
                  </a:lnTo>
                  <a:lnTo>
                    <a:pt x="673" y="263"/>
                  </a:lnTo>
                  <a:lnTo>
                    <a:pt x="673" y="263"/>
                  </a:lnTo>
                  <a:lnTo>
                    <a:pt x="673" y="263"/>
                  </a:lnTo>
                  <a:lnTo>
                    <a:pt x="673" y="260"/>
                  </a:lnTo>
                  <a:lnTo>
                    <a:pt x="670" y="263"/>
                  </a:lnTo>
                  <a:lnTo>
                    <a:pt x="670" y="263"/>
                  </a:lnTo>
                  <a:lnTo>
                    <a:pt x="670" y="263"/>
                  </a:lnTo>
                  <a:lnTo>
                    <a:pt x="670" y="263"/>
                  </a:lnTo>
                  <a:lnTo>
                    <a:pt x="670" y="263"/>
                  </a:lnTo>
                  <a:close/>
                  <a:moveTo>
                    <a:pt x="641" y="246"/>
                  </a:moveTo>
                  <a:lnTo>
                    <a:pt x="643" y="245"/>
                  </a:lnTo>
                  <a:lnTo>
                    <a:pt x="641" y="243"/>
                  </a:lnTo>
                  <a:lnTo>
                    <a:pt x="641" y="246"/>
                  </a:lnTo>
                  <a:lnTo>
                    <a:pt x="641" y="246"/>
                  </a:lnTo>
                  <a:lnTo>
                    <a:pt x="641" y="246"/>
                  </a:lnTo>
                  <a:lnTo>
                    <a:pt x="641" y="246"/>
                  </a:lnTo>
                  <a:close/>
                  <a:moveTo>
                    <a:pt x="634" y="252"/>
                  </a:moveTo>
                  <a:lnTo>
                    <a:pt x="632" y="254"/>
                  </a:lnTo>
                  <a:lnTo>
                    <a:pt x="634" y="254"/>
                  </a:lnTo>
                  <a:lnTo>
                    <a:pt x="634" y="252"/>
                  </a:lnTo>
                  <a:lnTo>
                    <a:pt x="634" y="252"/>
                  </a:lnTo>
                  <a:lnTo>
                    <a:pt x="634" y="252"/>
                  </a:lnTo>
                  <a:lnTo>
                    <a:pt x="634" y="252"/>
                  </a:lnTo>
                  <a:close/>
                  <a:moveTo>
                    <a:pt x="640" y="280"/>
                  </a:moveTo>
                  <a:lnTo>
                    <a:pt x="636" y="282"/>
                  </a:lnTo>
                  <a:lnTo>
                    <a:pt x="640" y="282"/>
                  </a:lnTo>
                  <a:lnTo>
                    <a:pt x="640" y="280"/>
                  </a:lnTo>
                  <a:lnTo>
                    <a:pt x="640" y="280"/>
                  </a:lnTo>
                  <a:lnTo>
                    <a:pt x="640" y="280"/>
                  </a:lnTo>
                  <a:lnTo>
                    <a:pt x="640" y="280"/>
                  </a:lnTo>
                  <a:close/>
                  <a:moveTo>
                    <a:pt x="634" y="275"/>
                  </a:moveTo>
                  <a:lnTo>
                    <a:pt x="636" y="273"/>
                  </a:lnTo>
                  <a:lnTo>
                    <a:pt x="640" y="275"/>
                  </a:lnTo>
                  <a:lnTo>
                    <a:pt x="640" y="277"/>
                  </a:lnTo>
                  <a:lnTo>
                    <a:pt x="636" y="278"/>
                  </a:lnTo>
                  <a:lnTo>
                    <a:pt x="634" y="277"/>
                  </a:lnTo>
                  <a:lnTo>
                    <a:pt x="634" y="275"/>
                  </a:lnTo>
                  <a:lnTo>
                    <a:pt x="634" y="275"/>
                  </a:lnTo>
                  <a:lnTo>
                    <a:pt x="634" y="275"/>
                  </a:lnTo>
                  <a:lnTo>
                    <a:pt x="634" y="275"/>
                  </a:lnTo>
                  <a:close/>
                  <a:moveTo>
                    <a:pt x="615" y="260"/>
                  </a:moveTo>
                  <a:lnTo>
                    <a:pt x="615" y="260"/>
                  </a:lnTo>
                  <a:lnTo>
                    <a:pt x="617" y="260"/>
                  </a:lnTo>
                  <a:lnTo>
                    <a:pt x="615" y="263"/>
                  </a:lnTo>
                  <a:lnTo>
                    <a:pt x="615" y="263"/>
                  </a:lnTo>
                  <a:lnTo>
                    <a:pt x="615" y="260"/>
                  </a:lnTo>
                  <a:lnTo>
                    <a:pt x="615" y="260"/>
                  </a:lnTo>
                  <a:lnTo>
                    <a:pt x="615" y="260"/>
                  </a:lnTo>
                  <a:lnTo>
                    <a:pt x="615" y="260"/>
                  </a:lnTo>
                  <a:close/>
                  <a:moveTo>
                    <a:pt x="617" y="284"/>
                  </a:moveTo>
                  <a:lnTo>
                    <a:pt x="621" y="282"/>
                  </a:lnTo>
                  <a:lnTo>
                    <a:pt x="623" y="284"/>
                  </a:lnTo>
                  <a:lnTo>
                    <a:pt x="619" y="284"/>
                  </a:lnTo>
                  <a:lnTo>
                    <a:pt x="617" y="284"/>
                  </a:lnTo>
                  <a:lnTo>
                    <a:pt x="617" y="284"/>
                  </a:lnTo>
                  <a:lnTo>
                    <a:pt x="617" y="284"/>
                  </a:lnTo>
                  <a:lnTo>
                    <a:pt x="617" y="284"/>
                  </a:lnTo>
                  <a:close/>
                  <a:moveTo>
                    <a:pt x="589" y="269"/>
                  </a:moveTo>
                  <a:lnTo>
                    <a:pt x="592" y="267"/>
                  </a:lnTo>
                  <a:lnTo>
                    <a:pt x="591" y="265"/>
                  </a:lnTo>
                  <a:lnTo>
                    <a:pt x="589" y="267"/>
                  </a:lnTo>
                  <a:lnTo>
                    <a:pt x="589" y="269"/>
                  </a:lnTo>
                  <a:lnTo>
                    <a:pt x="589" y="269"/>
                  </a:lnTo>
                  <a:lnTo>
                    <a:pt x="589" y="269"/>
                  </a:lnTo>
                  <a:lnTo>
                    <a:pt x="589" y="269"/>
                  </a:lnTo>
                  <a:close/>
                  <a:moveTo>
                    <a:pt x="600" y="280"/>
                  </a:moveTo>
                  <a:lnTo>
                    <a:pt x="606" y="282"/>
                  </a:lnTo>
                  <a:lnTo>
                    <a:pt x="609" y="280"/>
                  </a:lnTo>
                  <a:lnTo>
                    <a:pt x="609" y="282"/>
                  </a:lnTo>
                  <a:lnTo>
                    <a:pt x="604" y="284"/>
                  </a:lnTo>
                  <a:lnTo>
                    <a:pt x="600" y="282"/>
                  </a:lnTo>
                  <a:lnTo>
                    <a:pt x="600" y="280"/>
                  </a:lnTo>
                  <a:lnTo>
                    <a:pt x="600" y="280"/>
                  </a:lnTo>
                  <a:lnTo>
                    <a:pt x="600" y="280"/>
                  </a:lnTo>
                  <a:lnTo>
                    <a:pt x="600" y="280"/>
                  </a:lnTo>
                  <a:close/>
                  <a:moveTo>
                    <a:pt x="594" y="282"/>
                  </a:moveTo>
                  <a:lnTo>
                    <a:pt x="596" y="282"/>
                  </a:lnTo>
                  <a:lnTo>
                    <a:pt x="596" y="284"/>
                  </a:lnTo>
                  <a:lnTo>
                    <a:pt x="594" y="282"/>
                  </a:lnTo>
                  <a:lnTo>
                    <a:pt x="594" y="282"/>
                  </a:lnTo>
                  <a:lnTo>
                    <a:pt x="594" y="282"/>
                  </a:lnTo>
                  <a:lnTo>
                    <a:pt x="594" y="282"/>
                  </a:lnTo>
                  <a:close/>
                  <a:moveTo>
                    <a:pt x="585" y="282"/>
                  </a:moveTo>
                  <a:lnTo>
                    <a:pt x="587" y="280"/>
                  </a:lnTo>
                  <a:lnTo>
                    <a:pt x="589" y="282"/>
                  </a:lnTo>
                  <a:lnTo>
                    <a:pt x="587" y="282"/>
                  </a:lnTo>
                  <a:lnTo>
                    <a:pt x="585" y="282"/>
                  </a:lnTo>
                  <a:lnTo>
                    <a:pt x="585" y="282"/>
                  </a:lnTo>
                  <a:lnTo>
                    <a:pt x="585" y="282"/>
                  </a:lnTo>
                  <a:lnTo>
                    <a:pt x="585" y="282"/>
                  </a:lnTo>
                  <a:close/>
                  <a:moveTo>
                    <a:pt x="517" y="320"/>
                  </a:moveTo>
                  <a:lnTo>
                    <a:pt x="515" y="324"/>
                  </a:lnTo>
                  <a:lnTo>
                    <a:pt x="517" y="326"/>
                  </a:lnTo>
                  <a:lnTo>
                    <a:pt x="523" y="324"/>
                  </a:lnTo>
                  <a:lnTo>
                    <a:pt x="528" y="320"/>
                  </a:lnTo>
                  <a:lnTo>
                    <a:pt x="532" y="320"/>
                  </a:lnTo>
                  <a:lnTo>
                    <a:pt x="536" y="320"/>
                  </a:lnTo>
                  <a:lnTo>
                    <a:pt x="538" y="318"/>
                  </a:lnTo>
                  <a:lnTo>
                    <a:pt x="542" y="314"/>
                  </a:lnTo>
                  <a:lnTo>
                    <a:pt x="547" y="309"/>
                  </a:lnTo>
                  <a:lnTo>
                    <a:pt x="551" y="307"/>
                  </a:lnTo>
                  <a:lnTo>
                    <a:pt x="551" y="307"/>
                  </a:lnTo>
                  <a:lnTo>
                    <a:pt x="547" y="303"/>
                  </a:lnTo>
                  <a:lnTo>
                    <a:pt x="544" y="297"/>
                  </a:lnTo>
                  <a:lnTo>
                    <a:pt x="542" y="299"/>
                  </a:lnTo>
                  <a:lnTo>
                    <a:pt x="538" y="299"/>
                  </a:lnTo>
                  <a:lnTo>
                    <a:pt x="538" y="305"/>
                  </a:lnTo>
                  <a:lnTo>
                    <a:pt x="536" y="305"/>
                  </a:lnTo>
                  <a:lnTo>
                    <a:pt x="530" y="307"/>
                  </a:lnTo>
                  <a:lnTo>
                    <a:pt x="527" y="303"/>
                  </a:lnTo>
                  <a:lnTo>
                    <a:pt x="527" y="305"/>
                  </a:lnTo>
                  <a:lnTo>
                    <a:pt x="523" y="307"/>
                  </a:lnTo>
                  <a:lnTo>
                    <a:pt x="523" y="309"/>
                  </a:lnTo>
                  <a:lnTo>
                    <a:pt x="519" y="316"/>
                  </a:lnTo>
                  <a:lnTo>
                    <a:pt x="519" y="316"/>
                  </a:lnTo>
                  <a:lnTo>
                    <a:pt x="521" y="318"/>
                  </a:lnTo>
                  <a:lnTo>
                    <a:pt x="521" y="320"/>
                  </a:lnTo>
                  <a:lnTo>
                    <a:pt x="519" y="320"/>
                  </a:lnTo>
                  <a:lnTo>
                    <a:pt x="517" y="320"/>
                  </a:lnTo>
                  <a:lnTo>
                    <a:pt x="517" y="320"/>
                  </a:lnTo>
                  <a:lnTo>
                    <a:pt x="517" y="320"/>
                  </a:lnTo>
                  <a:lnTo>
                    <a:pt x="517" y="320"/>
                  </a:lnTo>
                  <a:close/>
                  <a:moveTo>
                    <a:pt x="513" y="324"/>
                  </a:moveTo>
                  <a:lnTo>
                    <a:pt x="515" y="320"/>
                  </a:lnTo>
                  <a:lnTo>
                    <a:pt x="513" y="320"/>
                  </a:lnTo>
                  <a:lnTo>
                    <a:pt x="512" y="322"/>
                  </a:lnTo>
                  <a:lnTo>
                    <a:pt x="513" y="324"/>
                  </a:lnTo>
                  <a:lnTo>
                    <a:pt x="513" y="324"/>
                  </a:lnTo>
                  <a:lnTo>
                    <a:pt x="513" y="324"/>
                  </a:lnTo>
                  <a:lnTo>
                    <a:pt x="513" y="324"/>
                  </a:lnTo>
                  <a:close/>
                  <a:moveTo>
                    <a:pt x="513" y="326"/>
                  </a:moveTo>
                  <a:lnTo>
                    <a:pt x="510" y="327"/>
                  </a:lnTo>
                  <a:lnTo>
                    <a:pt x="512" y="327"/>
                  </a:lnTo>
                  <a:lnTo>
                    <a:pt x="504" y="331"/>
                  </a:lnTo>
                  <a:lnTo>
                    <a:pt x="502" y="333"/>
                  </a:lnTo>
                  <a:lnTo>
                    <a:pt x="504" y="333"/>
                  </a:lnTo>
                  <a:lnTo>
                    <a:pt x="513" y="331"/>
                  </a:lnTo>
                  <a:lnTo>
                    <a:pt x="515" y="327"/>
                  </a:lnTo>
                  <a:lnTo>
                    <a:pt x="513" y="326"/>
                  </a:lnTo>
                  <a:lnTo>
                    <a:pt x="513" y="326"/>
                  </a:lnTo>
                  <a:lnTo>
                    <a:pt x="513" y="326"/>
                  </a:lnTo>
                  <a:lnTo>
                    <a:pt x="513" y="326"/>
                  </a:lnTo>
                  <a:close/>
                  <a:moveTo>
                    <a:pt x="487" y="326"/>
                  </a:moveTo>
                  <a:lnTo>
                    <a:pt x="489" y="327"/>
                  </a:lnTo>
                  <a:lnTo>
                    <a:pt x="489" y="327"/>
                  </a:lnTo>
                  <a:lnTo>
                    <a:pt x="487" y="327"/>
                  </a:lnTo>
                  <a:lnTo>
                    <a:pt x="483" y="327"/>
                  </a:lnTo>
                  <a:lnTo>
                    <a:pt x="485" y="327"/>
                  </a:lnTo>
                  <a:lnTo>
                    <a:pt x="487" y="326"/>
                  </a:lnTo>
                  <a:lnTo>
                    <a:pt x="487" y="326"/>
                  </a:lnTo>
                  <a:lnTo>
                    <a:pt x="487" y="326"/>
                  </a:lnTo>
                  <a:lnTo>
                    <a:pt x="487" y="326"/>
                  </a:lnTo>
                  <a:close/>
                  <a:moveTo>
                    <a:pt x="432" y="307"/>
                  </a:moveTo>
                  <a:lnTo>
                    <a:pt x="442" y="301"/>
                  </a:lnTo>
                  <a:lnTo>
                    <a:pt x="448" y="307"/>
                  </a:lnTo>
                  <a:lnTo>
                    <a:pt x="449" y="307"/>
                  </a:lnTo>
                  <a:lnTo>
                    <a:pt x="451" y="305"/>
                  </a:lnTo>
                  <a:lnTo>
                    <a:pt x="457" y="307"/>
                  </a:lnTo>
                  <a:lnTo>
                    <a:pt x="459" y="309"/>
                  </a:lnTo>
                  <a:lnTo>
                    <a:pt x="463" y="309"/>
                  </a:lnTo>
                  <a:lnTo>
                    <a:pt x="464" y="312"/>
                  </a:lnTo>
                  <a:lnTo>
                    <a:pt x="468" y="316"/>
                  </a:lnTo>
                  <a:lnTo>
                    <a:pt x="468" y="318"/>
                  </a:lnTo>
                  <a:lnTo>
                    <a:pt x="464" y="322"/>
                  </a:lnTo>
                  <a:lnTo>
                    <a:pt x="459" y="322"/>
                  </a:lnTo>
                  <a:lnTo>
                    <a:pt x="453" y="320"/>
                  </a:lnTo>
                  <a:lnTo>
                    <a:pt x="449" y="314"/>
                  </a:lnTo>
                  <a:lnTo>
                    <a:pt x="448" y="314"/>
                  </a:lnTo>
                  <a:lnTo>
                    <a:pt x="444" y="312"/>
                  </a:lnTo>
                  <a:lnTo>
                    <a:pt x="442" y="312"/>
                  </a:lnTo>
                  <a:lnTo>
                    <a:pt x="434" y="312"/>
                  </a:lnTo>
                  <a:lnTo>
                    <a:pt x="432" y="309"/>
                  </a:lnTo>
                  <a:lnTo>
                    <a:pt x="432" y="307"/>
                  </a:lnTo>
                  <a:lnTo>
                    <a:pt x="432" y="307"/>
                  </a:lnTo>
                  <a:lnTo>
                    <a:pt x="432" y="307"/>
                  </a:lnTo>
                  <a:lnTo>
                    <a:pt x="432" y="307"/>
                  </a:lnTo>
                  <a:close/>
                  <a:moveTo>
                    <a:pt x="376" y="263"/>
                  </a:moveTo>
                  <a:lnTo>
                    <a:pt x="378" y="263"/>
                  </a:lnTo>
                  <a:lnTo>
                    <a:pt x="380" y="263"/>
                  </a:lnTo>
                  <a:lnTo>
                    <a:pt x="380" y="263"/>
                  </a:lnTo>
                  <a:lnTo>
                    <a:pt x="376" y="263"/>
                  </a:lnTo>
                  <a:lnTo>
                    <a:pt x="376" y="263"/>
                  </a:lnTo>
                  <a:lnTo>
                    <a:pt x="376" y="263"/>
                  </a:lnTo>
                  <a:lnTo>
                    <a:pt x="376" y="263"/>
                  </a:lnTo>
                  <a:lnTo>
                    <a:pt x="376" y="263"/>
                  </a:lnTo>
                  <a:close/>
                  <a:moveTo>
                    <a:pt x="365" y="260"/>
                  </a:moveTo>
                  <a:lnTo>
                    <a:pt x="367" y="260"/>
                  </a:lnTo>
                  <a:lnTo>
                    <a:pt x="370" y="258"/>
                  </a:lnTo>
                  <a:lnTo>
                    <a:pt x="372" y="260"/>
                  </a:lnTo>
                  <a:lnTo>
                    <a:pt x="372" y="260"/>
                  </a:lnTo>
                  <a:lnTo>
                    <a:pt x="372" y="258"/>
                  </a:lnTo>
                  <a:lnTo>
                    <a:pt x="370" y="256"/>
                  </a:lnTo>
                  <a:lnTo>
                    <a:pt x="367" y="256"/>
                  </a:lnTo>
                  <a:lnTo>
                    <a:pt x="365" y="258"/>
                  </a:lnTo>
                  <a:lnTo>
                    <a:pt x="365" y="260"/>
                  </a:lnTo>
                  <a:lnTo>
                    <a:pt x="365" y="260"/>
                  </a:lnTo>
                  <a:lnTo>
                    <a:pt x="365" y="260"/>
                  </a:lnTo>
                  <a:lnTo>
                    <a:pt x="365" y="260"/>
                  </a:lnTo>
                  <a:close/>
                  <a:moveTo>
                    <a:pt x="562" y="277"/>
                  </a:moveTo>
                  <a:lnTo>
                    <a:pt x="568" y="275"/>
                  </a:lnTo>
                  <a:lnTo>
                    <a:pt x="574" y="277"/>
                  </a:lnTo>
                  <a:lnTo>
                    <a:pt x="576" y="277"/>
                  </a:lnTo>
                  <a:lnTo>
                    <a:pt x="577" y="275"/>
                  </a:lnTo>
                  <a:lnTo>
                    <a:pt x="579" y="273"/>
                  </a:lnTo>
                  <a:lnTo>
                    <a:pt x="581" y="271"/>
                  </a:lnTo>
                  <a:lnTo>
                    <a:pt x="581" y="269"/>
                  </a:lnTo>
                  <a:lnTo>
                    <a:pt x="579" y="269"/>
                  </a:lnTo>
                  <a:lnTo>
                    <a:pt x="576" y="271"/>
                  </a:lnTo>
                  <a:lnTo>
                    <a:pt x="568" y="271"/>
                  </a:lnTo>
                  <a:lnTo>
                    <a:pt x="566" y="269"/>
                  </a:lnTo>
                  <a:lnTo>
                    <a:pt x="564" y="271"/>
                  </a:lnTo>
                  <a:lnTo>
                    <a:pt x="562" y="275"/>
                  </a:lnTo>
                  <a:lnTo>
                    <a:pt x="562" y="277"/>
                  </a:lnTo>
                  <a:lnTo>
                    <a:pt x="562" y="277"/>
                  </a:lnTo>
                  <a:lnTo>
                    <a:pt x="562" y="277"/>
                  </a:lnTo>
                  <a:lnTo>
                    <a:pt x="562" y="277"/>
                  </a:lnTo>
                  <a:close/>
                  <a:moveTo>
                    <a:pt x="557" y="282"/>
                  </a:moveTo>
                  <a:lnTo>
                    <a:pt x="557" y="284"/>
                  </a:lnTo>
                  <a:lnTo>
                    <a:pt x="557" y="284"/>
                  </a:lnTo>
                  <a:lnTo>
                    <a:pt x="560" y="284"/>
                  </a:lnTo>
                  <a:lnTo>
                    <a:pt x="557" y="282"/>
                  </a:lnTo>
                  <a:lnTo>
                    <a:pt x="557" y="282"/>
                  </a:lnTo>
                  <a:lnTo>
                    <a:pt x="557" y="282"/>
                  </a:lnTo>
                  <a:lnTo>
                    <a:pt x="557" y="282"/>
                  </a:lnTo>
                  <a:close/>
                  <a:moveTo>
                    <a:pt x="540" y="282"/>
                  </a:moveTo>
                  <a:lnTo>
                    <a:pt x="536" y="284"/>
                  </a:lnTo>
                  <a:lnTo>
                    <a:pt x="538" y="284"/>
                  </a:lnTo>
                  <a:lnTo>
                    <a:pt x="538" y="284"/>
                  </a:lnTo>
                  <a:lnTo>
                    <a:pt x="538" y="288"/>
                  </a:lnTo>
                  <a:lnTo>
                    <a:pt x="542" y="288"/>
                  </a:lnTo>
                  <a:lnTo>
                    <a:pt x="547" y="284"/>
                  </a:lnTo>
                  <a:lnTo>
                    <a:pt x="547" y="284"/>
                  </a:lnTo>
                  <a:lnTo>
                    <a:pt x="547" y="282"/>
                  </a:lnTo>
                  <a:lnTo>
                    <a:pt x="542" y="282"/>
                  </a:lnTo>
                  <a:lnTo>
                    <a:pt x="540" y="282"/>
                  </a:lnTo>
                  <a:lnTo>
                    <a:pt x="540" y="282"/>
                  </a:lnTo>
                  <a:lnTo>
                    <a:pt x="540" y="282"/>
                  </a:lnTo>
                  <a:lnTo>
                    <a:pt x="540" y="282"/>
                  </a:lnTo>
                  <a:close/>
                  <a:moveTo>
                    <a:pt x="527" y="288"/>
                  </a:moveTo>
                  <a:lnTo>
                    <a:pt x="528" y="288"/>
                  </a:lnTo>
                  <a:lnTo>
                    <a:pt x="530" y="290"/>
                  </a:lnTo>
                  <a:lnTo>
                    <a:pt x="536" y="288"/>
                  </a:lnTo>
                  <a:lnTo>
                    <a:pt x="536" y="284"/>
                  </a:lnTo>
                  <a:lnTo>
                    <a:pt x="532" y="288"/>
                  </a:lnTo>
                  <a:lnTo>
                    <a:pt x="528" y="288"/>
                  </a:lnTo>
                  <a:lnTo>
                    <a:pt x="527" y="288"/>
                  </a:lnTo>
                  <a:lnTo>
                    <a:pt x="527" y="288"/>
                  </a:lnTo>
                  <a:lnTo>
                    <a:pt x="527" y="288"/>
                  </a:lnTo>
                  <a:lnTo>
                    <a:pt x="527" y="288"/>
                  </a:lnTo>
                  <a:close/>
                  <a:moveTo>
                    <a:pt x="515" y="288"/>
                  </a:moveTo>
                  <a:lnTo>
                    <a:pt x="521" y="288"/>
                  </a:lnTo>
                  <a:lnTo>
                    <a:pt x="519" y="284"/>
                  </a:lnTo>
                  <a:lnTo>
                    <a:pt x="521" y="284"/>
                  </a:lnTo>
                  <a:lnTo>
                    <a:pt x="523" y="284"/>
                  </a:lnTo>
                  <a:lnTo>
                    <a:pt x="527" y="284"/>
                  </a:lnTo>
                  <a:lnTo>
                    <a:pt x="527" y="284"/>
                  </a:lnTo>
                  <a:lnTo>
                    <a:pt x="523" y="288"/>
                  </a:lnTo>
                  <a:lnTo>
                    <a:pt x="523" y="290"/>
                  </a:lnTo>
                  <a:lnTo>
                    <a:pt x="517" y="290"/>
                  </a:lnTo>
                  <a:lnTo>
                    <a:pt x="515" y="288"/>
                  </a:lnTo>
                  <a:lnTo>
                    <a:pt x="515" y="288"/>
                  </a:lnTo>
                  <a:lnTo>
                    <a:pt x="515" y="288"/>
                  </a:lnTo>
                  <a:lnTo>
                    <a:pt x="515" y="288"/>
                  </a:lnTo>
                  <a:close/>
                  <a:moveTo>
                    <a:pt x="513" y="288"/>
                  </a:moveTo>
                  <a:lnTo>
                    <a:pt x="510" y="288"/>
                  </a:lnTo>
                  <a:lnTo>
                    <a:pt x="508" y="292"/>
                  </a:lnTo>
                  <a:lnTo>
                    <a:pt x="510" y="288"/>
                  </a:lnTo>
                  <a:lnTo>
                    <a:pt x="513" y="288"/>
                  </a:lnTo>
                  <a:lnTo>
                    <a:pt x="513" y="288"/>
                  </a:lnTo>
                  <a:lnTo>
                    <a:pt x="513" y="288"/>
                  </a:lnTo>
                  <a:lnTo>
                    <a:pt x="513" y="288"/>
                  </a:lnTo>
                  <a:close/>
                  <a:moveTo>
                    <a:pt x="515" y="284"/>
                  </a:moveTo>
                  <a:lnTo>
                    <a:pt x="512" y="284"/>
                  </a:lnTo>
                  <a:lnTo>
                    <a:pt x="513" y="284"/>
                  </a:lnTo>
                  <a:lnTo>
                    <a:pt x="515" y="284"/>
                  </a:lnTo>
                  <a:lnTo>
                    <a:pt x="515" y="284"/>
                  </a:lnTo>
                  <a:lnTo>
                    <a:pt x="515" y="284"/>
                  </a:lnTo>
                  <a:lnTo>
                    <a:pt x="515" y="284"/>
                  </a:lnTo>
                  <a:lnTo>
                    <a:pt x="515" y="284"/>
                  </a:lnTo>
                  <a:close/>
                  <a:moveTo>
                    <a:pt x="449" y="290"/>
                  </a:moveTo>
                  <a:lnTo>
                    <a:pt x="449" y="290"/>
                  </a:lnTo>
                  <a:lnTo>
                    <a:pt x="449" y="288"/>
                  </a:lnTo>
                  <a:lnTo>
                    <a:pt x="455" y="284"/>
                  </a:lnTo>
                  <a:lnTo>
                    <a:pt x="464" y="282"/>
                  </a:lnTo>
                  <a:lnTo>
                    <a:pt x="468" y="284"/>
                  </a:lnTo>
                  <a:lnTo>
                    <a:pt x="472" y="284"/>
                  </a:lnTo>
                  <a:lnTo>
                    <a:pt x="476" y="284"/>
                  </a:lnTo>
                  <a:lnTo>
                    <a:pt x="481" y="288"/>
                  </a:lnTo>
                  <a:lnTo>
                    <a:pt x="485" y="288"/>
                  </a:lnTo>
                  <a:lnTo>
                    <a:pt x="491" y="288"/>
                  </a:lnTo>
                  <a:lnTo>
                    <a:pt x="493" y="288"/>
                  </a:lnTo>
                  <a:lnTo>
                    <a:pt x="498" y="288"/>
                  </a:lnTo>
                  <a:lnTo>
                    <a:pt x="498" y="284"/>
                  </a:lnTo>
                  <a:lnTo>
                    <a:pt x="502" y="284"/>
                  </a:lnTo>
                  <a:lnTo>
                    <a:pt x="504" y="282"/>
                  </a:lnTo>
                  <a:lnTo>
                    <a:pt x="502" y="280"/>
                  </a:lnTo>
                  <a:lnTo>
                    <a:pt x="506" y="278"/>
                  </a:lnTo>
                  <a:lnTo>
                    <a:pt x="510" y="280"/>
                  </a:lnTo>
                  <a:lnTo>
                    <a:pt x="512" y="284"/>
                  </a:lnTo>
                  <a:lnTo>
                    <a:pt x="510" y="288"/>
                  </a:lnTo>
                  <a:lnTo>
                    <a:pt x="506" y="288"/>
                  </a:lnTo>
                  <a:lnTo>
                    <a:pt x="504" y="290"/>
                  </a:lnTo>
                  <a:lnTo>
                    <a:pt x="498" y="292"/>
                  </a:lnTo>
                  <a:lnTo>
                    <a:pt x="498" y="294"/>
                  </a:lnTo>
                  <a:lnTo>
                    <a:pt x="496" y="292"/>
                  </a:lnTo>
                  <a:lnTo>
                    <a:pt x="491" y="292"/>
                  </a:lnTo>
                  <a:lnTo>
                    <a:pt x="485" y="294"/>
                  </a:lnTo>
                  <a:lnTo>
                    <a:pt x="480" y="294"/>
                  </a:lnTo>
                  <a:lnTo>
                    <a:pt x="474" y="295"/>
                  </a:lnTo>
                  <a:lnTo>
                    <a:pt x="474" y="295"/>
                  </a:lnTo>
                  <a:lnTo>
                    <a:pt x="472" y="295"/>
                  </a:lnTo>
                  <a:lnTo>
                    <a:pt x="468" y="295"/>
                  </a:lnTo>
                  <a:lnTo>
                    <a:pt x="466" y="295"/>
                  </a:lnTo>
                  <a:lnTo>
                    <a:pt x="464" y="294"/>
                  </a:lnTo>
                  <a:lnTo>
                    <a:pt x="461" y="294"/>
                  </a:lnTo>
                  <a:lnTo>
                    <a:pt x="459" y="294"/>
                  </a:lnTo>
                  <a:lnTo>
                    <a:pt x="455" y="294"/>
                  </a:lnTo>
                  <a:lnTo>
                    <a:pt x="453" y="294"/>
                  </a:lnTo>
                  <a:lnTo>
                    <a:pt x="449" y="294"/>
                  </a:lnTo>
                  <a:lnTo>
                    <a:pt x="449" y="290"/>
                  </a:lnTo>
                  <a:lnTo>
                    <a:pt x="449" y="290"/>
                  </a:lnTo>
                  <a:lnTo>
                    <a:pt x="449" y="290"/>
                  </a:lnTo>
                  <a:lnTo>
                    <a:pt x="449" y="290"/>
                  </a:lnTo>
                  <a:close/>
                  <a:moveTo>
                    <a:pt x="448" y="290"/>
                  </a:moveTo>
                  <a:lnTo>
                    <a:pt x="444" y="294"/>
                  </a:lnTo>
                  <a:lnTo>
                    <a:pt x="448" y="294"/>
                  </a:lnTo>
                  <a:lnTo>
                    <a:pt x="448" y="290"/>
                  </a:lnTo>
                  <a:lnTo>
                    <a:pt x="448" y="290"/>
                  </a:lnTo>
                  <a:lnTo>
                    <a:pt x="448" y="290"/>
                  </a:lnTo>
                  <a:lnTo>
                    <a:pt x="448" y="290"/>
                  </a:lnTo>
                  <a:lnTo>
                    <a:pt x="448" y="290"/>
                  </a:lnTo>
                  <a:close/>
                  <a:moveTo>
                    <a:pt x="444" y="288"/>
                  </a:moveTo>
                  <a:lnTo>
                    <a:pt x="442" y="288"/>
                  </a:lnTo>
                  <a:lnTo>
                    <a:pt x="442" y="290"/>
                  </a:lnTo>
                  <a:lnTo>
                    <a:pt x="444" y="294"/>
                  </a:lnTo>
                  <a:lnTo>
                    <a:pt x="444" y="288"/>
                  </a:lnTo>
                  <a:lnTo>
                    <a:pt x="444" y="288"/>
                  </a:lnTo>
                  <a:lnTo>
                    <a:pt x="444" y="288"/>
                  </a:lnTo>
                  <a:lnTo>
                    <a:pt x="444" y="288"/>
                  </a:lnTo>
                  <a:lnTo>
                    <a:pt x="444" y="288"/>
                  </a:lnTo>
                  <a:close/>
                  <a:moveTo>
                    <a:pt x="393" y="290"/>
                  </a:moveTo>
                  <a:lnTo>
                    <a:pt x="393" y="292"/>
                  </a:lnTo>
                  <a:lnTo>
                    <a:pt x="393" y="294"/>
                  </a:lnTo>
                  <a:lnTo>
                    <a:pt x="393" y="295"/>
                  </a:lnTo>
                  <a:lnTo>
                    <a:pt x="393" y="297"/>
                  </a:lnTo>
                  <a:lnTo>
                    <a:pt x="397" y="299"/>
                  </a:lnTo>
                  <a:lnTo>
                    <a:pt x="402" y="297"/>
                  </a:lnTo>
                  <a:lnTo>
                    <a:pt x="404" y="299"/>
                  </a:lnTo>
                  <a:lnTo>
                    <a:pt x="408" y="297"/>
                  </a:lnTo>
                  <a:lnTo>
                    <a:pt x="410" y="295"/>
                  </a:lnTo>
                  <a:lnTo>
                    <a:pt x="414" y="297"/>
                  </a:lnTo>
                  <a:lnTo>
                    <a:pt x="417" y="295"/>
                  </a:lnTo>
                  <a:lnTo>
                    <a:pt x="423" y="295"/>
                  </a:lnTo>
                  <a:lnTo>
                    <a:pt x="425" y="292"/>
                  </a:lnTo>
                  <a:lnTo>
                    <a:pt x="427" y="295"/>
                  </a:lnTo>
                  <a:lnTo>
                    <a:pt x="431" y="294"/>
                  </a:lnTo>
                  <a:lnTo>
                    <a:pt x="434" y="295"/>
                  </a:lnTo>
                  <a:lnTo>
                    <a:pt x="432" y="292"/>
                  </a:lnTo>
                  <a:lnTo>
                    <a:pt x="438" y="292"/>
                  </a:lnTo>
                  <a:lnTo>
                    <a:pt x="438" y="288"/>
                  </a:lnTo>
                  <a:lnTo>
                    <a:pt x="434" y="290"/>
                  </a:lnTo>
                  <a:lnTo>
                    <a:pt x="434" y="288"/>
                  </a:lnTo>
                  <a:lnTo>
                    <a:pt x="434" y="284"/>
                  </a:lnTo>
                  <a:lnTo>
                    <a:pt x="432" y="284"/>
                  </a:lnTo>
                  <a:lnTo>
                    <a:pt x="432" y="288"/>
                  </a:lnTo>
                  <a:lnTo>
                    <a:pt x="431" y="288"/>
                  </a:lnTo>
                  <a:lnTo>
                    <a:pt x="431" y="284"/>
                  </a:lnTo>
                  <a:lnTo>
                    <a:pt x="427" y="282"/>
                  </a:lnTo>
                  <a:lnTo>
                    <a:pt x="423" y="284"/>
                  </a:lnTo>
                  <a:lnTo>
                    <a:pt x="419" y="282"/>
                  </a:lnTo>
                  <a:lnTo>
                    <a:pt x="417" y="280"/>
                  </a:lnTo>
                  <a:lnTo>
                    <a:pt x="410" y="282"/>
                  </a:lnTo>
                  <a:lnTo>
                    <a:pt x="410" y="284"/>
                  </a:lnTo>
                  <a:lnTo>
                    <a:pt x="419" y="288"/>
                  </a:lnTo>
                  <a:lnTo>
                    <a:pt x="423" y="290"/>
                  </a:lnTo>
                  <a:lnTo>
                    <a:pt x="417" y="290"/>
                  </a:lnTo>
                  <a:lnTo>
                    <a:pt x="414" y="292"/>
                  </a:lnTo>
                  <a:lnTo>
                    <a:pt x="410" y="288"/>
                  </a:lnTo>
                  <a:lnTo>
                    <a:pt x="410" y="288"/>
                  </a:lnTo>
                  <a:lnTo>
                    <a:pt x="406" y="284"/>
                  </a:lnTo>
                  <a:lnTo>
                    <a:pt x="404" y="288"/>
                  </a:lnTo>
                  <a:lnTo>
                    <a:pt x="400" y="284"/>
                  </a:lnTo>
                  <a:lnTo>
                    <a:pt x="395" y="288"/>
                  </a:lnTo>
                  <a:lnTo>
                    <a:pt x="395" y="288"/>
                  </a:lnTo>
                  <a:lnTo>
                    <a:pt x="393" y="290"/>
                  </a:lnTo>
                  <a:lnTo>
                    <a:pt x="393" y="290"/>
                  </a:lnTo>
                  <a:lnTo>
                    <a:pt x="393" y="290"/>
                  </a:lnTo>
                  <a:lnTo>
                    <a:pt x="393" y="290"/>
                  </a:lnTo>
                  <a:close/>
                  <a:moveTo>
                    <a:pt x="380" y="284"/>
                  </a:moveTo>
                  <a:lnTo>
                    <a:pt x="385" y="284"/>
                  </a:lnTo>
                  <a:lnTo>
                    <a:pt x="393" y="284"/>
                  </a:lnTo>
                  <a:lnTo>
                    <a:pt x="389" y="288"/>
                  </a:lnTo>
                  <a:lnTo>
                    <a:pt x="389" y="292"/>
                  </a:lnTo>
                  <a:lnTo>
                    <a:pt x="389" y="295"/>
                  </a:lnTo>
                  <a:lnTo>
                    <a:pt x="385" y="294"/>
                  </a:lnTo>
                  <a:lnTo>
                    <a:pt x="384" y="295"/>
                  </a:lnTo>
                  <a:lnTo>
                    <a:pt x="378" y="294"/>
                  </a:lnTo>
                  <a:lnTo>
                    <a:pt x="376" y="292"/>
                  </a:lnTo>
                  <a:lnTo>
                    <a:pt x="378" y="290"/>
                  </a:lnTo>
                  <a:lnTo>
                    <a:pt x="380" y="290"/>
                  </a:lnTo>
                  <a:lnTo>
                    <a:pt x="380" y="284"/>
                  </a:lnTo>
                  <a:lnTo>
                    <a:pt x="380" y="284"/>
                  </a:lnTo>
                  <a:lnTo>
                    <a:pt x="380" y="284"/>
                  </a:lnTo>
                  <a:lnTo>
                    <a:pt x="380" y="284"/>
                  </a:lnTo>
                  <a:close/>
                  <a:moveTo>
                    <a:pt x="368" y="292"/>
                  </a:moveTo>
                  <a:lnTo>
                    <a:pt x="370" y="290"/>
                  </a:lnTo>
                  <a:lnTo>
                    <a:pt x="372" y="292"/>
                  </a:lnTo>
                  <a:lnTo>
                    <a:pt x="370" y="292"/>
                  </a:lnTo>
                  <a:lnTo>
                    <a:pt x="368" y="292"/>
                  </a:lnTo>
                  <a:lnTo>
                    <a:pt x="368" y="292"/>
                  </a:lnTo>
                  <a:lnTo>
                    <a:pt x="368" y="292"/>
                  </a:lnTo>
                  <a:lnTo>
                    <a:pt x="368" y="292"/>
                  </a:lnTo>
                  <a:close/>
                  <a:moveTo>
                    <a:pt x="352" y="280"/>
                  </a:moveTo>
                  <a:lnTo>
                    <a:pt x="352" y="284"/>
                  </a:lnTo>
                  <a:lnTo>
                    <a:pt x="353" y="284"/>
                  </a:lnTo>
                  <a:lnTo>
                    <a:pt x="359" y="288"/>
                  </a:lnTo>
                  <a:lnTo>
                    <a:pt x="365" y="290"/>
                  </a:lnTo>
                  <a:lnTo>
                    <a:pt x="365" y="292"/>
                  </a:lnTo>
                  <a:lnTo>
                    <a:pt x="365" y="290"/>
                  </a:lnTo>
                  <a:lnTo>
                    <a:pt x="368" y="288"/>
                  </a:lnTo>
                  <a:lnTo>
                    <a:pt x="370" y="288"/>
                  </a:lnTo>
                  <a:lnTo>
                    <a:pt x="374" y="288"/>
                  </a:lnTo>
                  <a:lnTo>
                    <a:pt x="374" y="284"/>
                  </a:lnTo>
                  <a:lnTo>
                    <a:pt x="370" y="280"/>
                  </a:lnTo>
                  <a:lnTo>
                    <a:pt x="365" y="278"/>
                  </a:lnTo>
                  <a:lnTo>
                    <a:pt x="359" y="280"/>
                  </a:lnTo>
                  <a:lnTo>
                    <a:pt x="355" y="280"/>
                  </a:lnTo>
                  <a:lnTo>
                    <a:pt x="352" y="280"/>
                  </a:lnTo>
                  <a:lnTo>
                    <a:pt x="352" y="280"/>
                  </a:lnTo>
                  <a:lnTo>
                    <a:pt x="352" y="280"/>
                  </a:lnTo>
                  <a:lnTo>
                    <a:pt x="352" y="280"/>
                  </a:lnTo>
                  <a:close/>
                  <a:moveTo>
                    <a:pt x="801" y="284"/>
                  </a:moveTo>
                  <a:lnTo>
                    <a:pt x="803" y="284"/>
                  </a:lnTo>
                  <a:lnTo>
                    <a:pt x="807" y="284"/>
                  </a:lnTo>
                  <a:lnTo>
                    <a:pt x="807" y="284"/>
                  </a:lnTo>
                  <a:lnTo>
                    <a:pt x="803" y="280"/>
                  </a:lnTo>
                  <a:lnTo>
                    <a:pt x="803" y="280"/>
                  </a:lnTo>
                  <a:lnTo>
                    <a:pt x="803" y="280"/>
                  </a:lnTo>
                  <a:lnTo>
                    <a:pt x="801" y="284"/>
                  </a:lnTo>
                  <a:lnTo>
                    <a:pt x="801" y="284"/>
                  </a:lnTo>
                  <a:lnTo>
                    <a:pt x="801" y="284"/>
                  </a:lnTo>
                  <a:lnTo>
                    <a:pt x="801" y="284"/>
                  </a:lnTo>
                  <a:close/>
                  <a:moveTo>
                    <a:pt x="783" y="284"/>
                  </a:moveTo>
                  <a:lnTo>
                    <a:pt x="783" y="284"/>
                  </a:lnTo>
                  <a:lnTo>
                    <a:pt x="788" y="284"/>
                  </a:lnTo>
                  <a:lnTo>
                    <a:pt x="790" y="284"/>
                  </a:lnTo>
                  <a:lnTo>
                    <a:pt x="796" y="284"/>
                  </a:lnTo>
                  <a:lnTo>
                    <a:pt x="800" y="282"/>
                  </a:lnTo>
                  <a:lnTo>
                    <a:pt x="801" y="278"/>
                  </a:lnTo>
                  <a:lnTo>
                    <a:pt x="803" y="278"/>
                  </a:lnTo>
                  <a:lnTo>
                    <a:pt x="807" y="277"/>
                  </a:lnTo>
                  <a:lnTo>
                    <a:pt x="807" y="275"/>
                  </a:lnTo>
                  <a:lnTo>
                    <a:pt x="807" y="273"/>
                  </a:lnTo>
                  <a:lnTo>
                    <a:pt x="807" y="271"/>
                  </a:lnTo>
                  <a:lnTo>
                    <a:pt x="807" y="269"/>
                  </a:lnTo>
                  <a:lnTo>
                    <a:pt x="807" y="267"/>
                  </a:lnTo>
                  <a:lnTo>
                    <a:pt x="803" y="265"/>
                  </a:lnTo>
                  <a:lnTo>
                    <a:pt x="798" y="265"/>
                  </a:lnTo>
                  <a:lnTo>
                    <a:pt x="794" y="267"/>
                  </a:lnTo>
                  <a:lnTo>
                    <a:pt x="792" y="273"/>
                  </a:lnTo>
                  <a:lnTo>
                    <a:pt x="790" y="277"/>
                  </a:lnTo>
                  <a:lnTo>
                    <a:pt x="783" y="284"/>
                  </a:lnTo>
                  <a:lnTo>
                    <a:pt x="783" y="284"/>
                  </a:lnTo>
                  <a:lnTo>
                    <a:pt x="783" y="284"/>
                  </a:lnTo>
                  <a:lnTo>
                    <a:pt x="783" y="284"/>
                  </a:lnTo>
                  <a:close/>
                  <a:moveTo>
                    <a:pt x="325" y="256"/>
                  </a:moveTo>
                  <a:lnTo>
                    <a:pt x="321" y="260"/>
                  </a:lnTo>
                  <a:lnTo>
                    <a:pt x="325" y="263"/>
                  </a:lnTo>
                  <a:lnTo>
                    <a:pt x="329" y="263"/>
                  </a:lnTo>
                  <a:lnTo>
                    <a:pt x="331" y="263"/>
                  </a:lnTo>
                  <a:lnTo>
                    <a:pt x="336" y="263"/>
                  </a:lnTo>
                  <a:lnTo>
                    <a:pt x="338" y="260"/>
                  </a:lnTo>
                  <a:lnTo>
                    <a:pt x="344" y="260"/>
                  </a:lnTo>
                  <a:lnTo>
                    <a:pt x="346" y="260"/>
                  </a:lnTo>
                  <a:lnTo>
                    <a:pt x="344" y="258"/>
                  </a:lnTo>
                  <a:lnTo>
                    <a:pt x="338" y="260"/>
                  </a:lnTo>
                  <a:lnTo>
                    <a:pt x="335" y="258"/>
                  </a:lnTo>
                  <a:lnTo>
                    <a:pt x="327" y="258"/>
                  </a:lnTo>
                  <a:lnTo>
                    <a:pt x="325" y="256"/>
                  </a:lnTo>
                  <a:lnTo>
                    <a:pt x="325" y="256"/>
                  </a:lnTo>
                  <a:lnTo>
                    <a:pt x="325" y="256"/>
                  </a:lnTo>
                  <a:lnTo>
                    <a:pt x="325" y="256"/>
                  </a:lnTo>
                  <a:close/>
                  <a:moveTo>
                    <a:pt x="186" y="250"/>
                  </a:moveTo>
                  <a:lnTo>
                    <a:pt x="186" y="252"/>
                  </a:lnTo>
                  <a:lnTo>
                    <a:pt x="188" y="252"/>
                  </a:lnTo>
                  <a:lnTo>
                    <a:pt x="188" y="250"/>
                  </a:lnTo>
                  <a:lnTo>
                    <a:pt x="186" y="250"/>
                  </a:lnTo>
                  <a:lnTo>
                    <a:pt x="186" y="250"/>
                  </a:lnTo>
                  <a:lnTo>
                    <a:pt x="186" y="250"/>
                  </a:lnTo>
                  <a:lnTo>
                    <a:pt x="186" y="250"/>
                  </a:lnTo>
                  <a:close/>
                  <a:moveTo>
                    <a:pt x="188" y="252"/>
                  </a:moveTo>
                  <a:lnTo>
                    <a:pt x="188" y="254"/>
                  </a:lnTo>
                  <a:lnTo>
                    <a:pt x="192" y="254"/>
                  </a:lnTo>
                  <a:lnTo>
                    <a:pt x="192" y="250"/>
                  </a:lnTo>
                  <a:lnTo>
                    <a:pt x="197" y="248"/>
                  </a:lnTo>
                  <a:lnTo>
                    <a:pt x="197" y="245"/>
                  </a:lnTo>
                  <a:lnTo>
                    <a:pt x="197" y="241"/>
                  </a:lnTo>
                  <a:lnTo>
                    <a:pt x="201" y="235"/>
                  </a:lnTo>
                  <a:lnTo>
                    <a:pt x="203" y="239"/>
                  </a:lnTo>
                  <a:lnTo>
                    <a:pt x="207" y="239"/>
                  </a:lnTo>
                  <a:lnTo>
                    <a:pt x="214" y="239"/>
                  </a:lnTo>
                  <a:lnTo>
                    <a:pt x="216" y="241"/>
                  </a:lnTo>
                  <a:lnTo>
                    <a:pt x="218" y="239"/>
                  </a:lnTo>
                  <a:lnTo>
                    <a:pt x="218" y="239"/>
                  </a:lnTo>
                  <a:lnTo>
                    <a:pt x="224" y="239"/>
                  </a:lnTo>
                  <a:lnTo>
                    <a:pt x="227" y="241"/>
                  </a:lnTo>
                  <a:lnTo>
                    <a:pt x="235" y="243"/>
                  </a:lnTo>
                  <a:lnTo>
                    <a:pt x="242" y="245"/>
                  </a:lnTo>
                  <a:lnTo>
                    <a:pt x="246" y="248"/>
                  </a:lnTo>
                  <a:lnTo>
                    <a:pt x="246" y="252"/>
                  </a:lnTo>
                  <a:lnTo>
                    <a:pt x="246" y="254"/>
                  </a:lnTo>
                  <a:lnTo>
                    <a:pt x="252" y="256"/>
                  </a:lnTo>
                  <a:lnTo>
                    <a:pt x="263" y="256"/>
                  </a:lnTo>
                  <a:lnTo>
                    <a:pt x="272" y="258"/>
                  </a:lnTo>
                  <a:lnTo>
                    <a:pt x="282" y="256"/>
                  </a:lnTo>
                  <a:lnTo>
                    <a:pt x="284" y="254"/>
                  </a:lnTo>
                  <a:lnTo>
                    <a:pt x="284" y="245"/>
                  </a:lnTo>
                  <a:lnTo>
                    <a:pt x="288" y="245"/>
                  </a:lnTo>
                  <a:lnTo>
                    <a:pt x="293" y="250"/>
                  </a:lnTo>
                  <a:lnTo>
                    <a:pt x="297" y="250"/>
                  </a:lnTo>
                  <a:lnTo>
                    <a:pt x="301" y="250"/>
                  </a:lnTo>
                  <a:lnTo>
                    <a:pt x="301" y="252"/>
                  </a:lnTo>
                  <a:lnTo>
                    <a:pt x="304" y="256"/>
                  </a:lnTo>
                  <a:lnTo>
                    <a:pt x="310" y="254"/>
                  </a:lnTo>
                  <a:lnTo>
                    <a:pt x="310" y="258"/>
                  </a:lnTo>
                  <a:lnTo>
                    <a:pt x="314" y="256"/>
                  </a:lnTo>
                  <a:lnTo>
                    <a:pt x="320" y="256"/>
                  </a:lnTo>
                  <a:lnTo>
                    <a:pt x="320" y="260"/>
                  </a:lnTo>
                  <a:lnTo>
                    <a:pt x="323" y="265"/>
                  </a:lnTo>
                  <a:lnTo>
                    <a:pt x="323" y="267"/>
                  </a:lnTo>
                  <a:lnTo>
                    <a:pt x="325" y="271"/>
                  </a:lnTo>
                  <a:lnTo>
                    <a:pt x="331" y="273"/>
                  </a:lnTo>
                  <a:lnTo>
                    <a:pt x="335" y="271"/>
                  </a:lnTo>
                  <a:lnTo>
                    <a:pt x="336" y="273"/>
                  </a:lnTo>
                  <a:lnTo>
                    <a:pt x="338" y="273"/>
                  </a:lnTo>
                  <a:lnTo>
                    <a:pt x="342" y="271"/>
                  </a:lnTo>
                  <a:lnTo>
                    <a:pt x="344" y="271"/>
                  </a:lnTo>
                  <a:lnTo>
                    <a:pt x="346" y="273"/>
                  </a:lnTo>
                  <a:lnTo>
                    <a:pt x="350" y="273"/>
                  </a:lnTo>
                  <a:lnTo>
                    <a:pt x="352" y="277"/>
                  </a:lnTo>
                  <a:lnTo>
                    <a:pt x="350" y="284"/>
                  </a:lnTo>
                  <a:lnTo>
                    <a:pt x="348" y="284"/>
                  </a:lnTo>
                  <a:lnTo>
                    <a:pt x="350" y="288"/>
                  </a:lnTo>
                  <a:lnTo>
                    <a:pt x="352" y="292"/>
                  </a:lnTo>
                  <a:lnTo>
                    <a:pt x="350" y="294"/>
                  </a:lnTo>
                  <a:lnTo>
                    <a:pt x="346" y="290"/>
                  </a:lnTo>
                  <a:lnTo>
                    <a:pt x="342" y="290"/>
                  </a:lnTo>
                  <a:lnTo>
                    <a:pt x="336" y="288"/>
                  </a:lnTo>
                  <a:lnTo>
                    <a:pt x="335" y="288"/>
                  </a:lnTo>
                  <a:lnTo>
                    <a:pt x="331" y="284"/>
                  </a:lnTo>
                  <a:lnTo>
                    <a:pt x="327" y="282"/>
                  </a:lnTo>
                  <a:lnTo>
                    <a:pt x="321" y="284"/>
                  </a:lnTo>
                  <a:lnTo>
                    <a:pt x="316" y="284"/>
                  </a:lnTo>
                  <a:lnTo>
                    <a:pt x="312" y="284"/>
                  </a:lnTo>
                  <a:lnTo>
                    <a:pt x="306" y="282"/>
                  </a:lnTo>
                  <a:lnTo>
                    <a:pt x="301" y="284"/>
                  </a:lnTo>
                  <a:lnTo>
                    <a:pt x="299" y="282"/>
                  </a:lnTo>
                  <a:lnTo>
                    <a:pt x="291" y="282"/>
                  </a:lnTo>
                  <a:lnTo>
                    <a:pt x="288" y="284"/>
                  </a:lnTo>
                  <a:lnTo>
                    <a:pt x="276" y="280"/>
                  </a:lnTo>
                  <a:lnTo>
                    <a:pt x="267" y="275"/>
                  </a:lnTo>
                  <a:lnTo>
                    <a:pt x="263" y="275"/>
                  </a:lnTo>
                  <a:lnTo>
                    <a:pt x="257" y="271"/>
                  </a:lnTo>
                  <a:lnTo>
                    <a:pt x="256" y="271"/>
                  </a:lnTo>
                  <a:lnTo>
                    <a:pt x="256" y="275"/>
                  </a:lnTo>
                  <a:lnTo>
                    <a:pt x="252" y="273"/>
                  </a:lnTo>
                  <a:lnTo>
                    <a:pt x="246" y="271"/>
                  </a:lnTo>
                  <a:lnTo>
                    <a:pt x="246" y="271"/>
                  </a:lnTo>
                  <a:lnTo>
                    <a:pt x="242" y="275"/>
                  </a:lnTo>
                  <a:lnTo>
                    <a:pt x="233" y="273"/>
                  </a:lnTo>
                  <a:lnTo>
                    <a:pt x="227" y="267"/>
                  </a:lnTo>
                  <a:lnTo>
                    <a:pt x="222" y="267"/>
                  </a:lnTo>
                  <a:lnTo>
                    <a:pt x="218" y="265"/>
                  </a:lnTo>
                  <a:lnTo>
                    <a:pt x="216" y="267"/>
                  </a:lnTo>
                  <a:lnTo>
                    <a:pt x="212" y="267"/>
                  </a:lnTo>
                  <a:lnTo>
                    <a:pt x="207" y="265"/>
                  </a:lnTo>
                  <a:lnTo>
                    <a:pt x="205" y="263"/>
                  </a:lnTo>
                  <a:lnTo>
                    <a:pt x="208" y="260"/>
                  </a:lnTo>
                  <a:lnTo>
                    <a:pt x="208" y="260"/>
                  </a:lnTo>
                  <a:lnTo>
                    <a:pt x="207" y="260"/>
                  </a:lnTo>
                  <a:lnTo>
                    <a:pt x="205" y="260"/>
                  </a:lnTo>
                  <a:lnTo>
                    <a:pt x="201" y="258"/>
                  </a:lnTo>
                  <a:lnTo>
                    <a:pt x="199" y="256"/>
                  </a:lnTo>
                  <a:lnTo>
                    <a:pt x="197" y="258"/>
                  </a:lnTo>
                  <a:lnTo>
                    <a:pt x="188" y="256"/>
                  </a:lnTo>
                  <a:lnTo>
                    <a:pt x="188" y="256"/>
                  </a:lnTo>
                  <a:lnTo>
                    <a:pt x="186" y="252"/>
                  </a:lnTo>
                  <a:lnTo>
                    <a:pt x="188" y="252"/>
                  </a:lnTo>
                  <a:lnTo>
                    <a:pt x="188" y="252"/>
                  </a:lnTo>
                  <a:lnTo>
                    <a:pt x="188" y="252"/>
                  </a:lnTo>
                  <a:lnTo>
                    <a:pt x="188" y="252"/>
                  </a:lnTo>
                  <a:close/>
                  <a:moveTo>
                    <a:pt x="235" y="49"/>
                  </a:moveTo>
                  <a:lnTo>
                    <a:pt x="239" y="51"/>
                  </a:lnTo>
                  <a:lnTo>
                    <a:pt x="242" y="51"/>
                  </a:lnTo>
                  <a:lnTo>
                    <a:pt x="240" y="52"/>
                  </a:lnTo>
                  <a:lnTo>
                    <a:pt x="242" y="52"/>
                  </a:lnTo>
                  <a:lnTo>
                    <a:pt x="246" y="49"/>
                  </a:lnTo>
                  <a:lnTo>
                    <a:pt x="240" y="41"/>
                  </a:lnTo>
                  <a:lnTo>
                    <a:pt x="237" y="45"/>
                  </a:lnTo>
                  <a:lnTo>
                    <a:pt x="235" y="49"/>
                  </a:lnTo>
                  <a:lnTo>
                    <a:pt x="235" y="49"/>
                  </a:lnTo>
                  <a:lnTo>
                    <a:pt x="235" y="49"/>
                  </a:lnTo>
                  <a:lnTo>
                    <a:pt x="235" y="49"/>
                  </a:lnTo>
                  <a:close/>
                  <a:moveTo>
                    <a:pt x="205" y="69"/>
                  </a:moveTo>
                  <a:lnTo>
                    <a:pt x="205" y="73"/>
                  </a:lnTo>
                  <a:lnTo>
                    <a:pt x="207" y="73"/>
                  </a:lnTo>
                  <a:lnTo>
                    <a:pt x="205" y="69"/>
                  </a:lnTo>
                  <a:lnTo>
                    <a:pt x="205" y="69"/>
                  </a:lnTo>
                  <a:lnTo>
                    <a:pt x="205" y="69"/>
                  </a:lnTo>
                  <a:lnTo>
                    <a:pt x="205" y="69"/>
                  </a:lnTo>
                  <a:close/>
                  <a:moveTo>
                    <a:pt x="205" y="60"/>
                  </a:moveTo>
                  <a:lnTo>
                    <a:pt x="207" y="60"/>
                  </a:lnTo>
                  <a:lnTo>
                    <a:pt x="205" y="58"/>
                  </a:lnTo>
                  <a:lnTo>
                    <a:pt x="205" y="60"/>
                  </a:lnTo>
                  <a:lnTo>
                    <a:pt x="205" y="60"/>
                  </a:lnTo>
                  <a:lnTo>
                    <a:pt x="205" y="60"/>
                  </a:lnTo>
                  <a:lnTo>
                    <a:pt x="205" y="60"/>
                  </a:lnTo>
                  <a:close/>
                  <a:moveTo>
                    <a:pt x="205" y="64"/>
                  </a:moveTo>
                  <a:lnTo>
                    <a:pt x="205" y="64"/>
                  </a:lnTo>
                  <a:lnTo>
                    <a:pt x="207" y="64"/>
                  </a:lnTo>
                  <a:lnTo>
                    <a:pt x="205" y="64"/>
                  </a:lnTo>
                  <a:lnTo>
                    <a:pt x="205" y="64"/>
                  </a:lnTo>
                  <a:lnTo>
                    <a:pt x="205" y="64"/>
                  </a:lnTo>
                  <a:lnTo>
                    <a:pt x="205" y="64"/>
                  </a:lnTo>
                  <a:close/>
                  <a:moveTo>
                    <a:pt x="193" y="67"/>
                  </a:moveTo>
                  <a:lnTo>
                    <a:pt x="192" y="69"/>
                  </a:lnTo>
                  <a:lnTo>
                    <a:pt x="197" y="73"/>
                  </a:lnTo>
                  <a:lnTo>
                    <a:pt x="199" y="67"/>
                  </a:lnTo>
                  <a:lnTo>
                    <a:pt x="197" y="67"/>
                  </a:lnTo>
                  <a:lnTo>
                    <a:pt x="193" y="67"/>
                  </a:lnTo>
                  <a:lnTo>
                    <a:pt x="193" y="67"/>
                  </a:lnTo>
                  <a:lnTo>
                    <a:pt x="193" y="67"/>
                  </a:lnTo>
                  <a:lnTo>
                    <a:pt x="193" y="67"/>
                  </a:lnTo>
                  <a:close/>
                  <a:moveTo>
                    <a:pt x="163" y="107"/>
                  </a:moveTo>
                  <a:lnTo>
                    <a:pt x="167" y="109"/>
                  </a:lnTo>
                  <a:lnTo>
                    <a:pt x="167" y="105"/>
                  </a:lnTo>
                  <a:lnTo>
                    <a:pt x="167" y="101"/>
                  </a:lnTo>
                  <a:lnTo>
                    <a:pt x="163" y="107"/>
                  </a:lnTo>
                  <a:lnTo>
                    <a:pt x="163" y="107"/>
                  </a:lnTo>
                  <a:lnTo>
                    <a:pt x="163" y="107"/>
                  </a:lnTo>
                  <a:lnTo>
                    <a:pt x="163" y="107"/>
                  </a:lnTo>
                  <a:close/>
                  <a:moveTo>
                    <a:pt x="171" y="103"/>
                  </a:moveTo>
                  <a:lnTo>
                    <a:pt x="169" y="107"/>
                  </a:lnTo>
                  <a:lnTo>
                    <a:pt x="173" y="109"/>
                  </a:lnTo>
                  <a:lnTo>
                    <a:pt x="175" y="113"/>
                  </a:lnTo>
                  <a:lnTo>
                    <a:pt x="176" y="113"/>
                  </a:lnTo>
                  <a:lnTo>
                    <a:pt x="178" y="107"/>
                  </a:lnTo>
                  <a:lnTo>
                    <a:pt x="176" y="105"/>
                  </a:lnTo>
                  <a:lnTo>
                    <a:pt x="178" y="101"/>
                  </a:lnTo>
                  <a:lnTo>
                    <a:pt x="175" y="101"/>
                  </a:lnTo>
                  <a:lnTo>
                    <a:pt x="173" y="103"/>
                  </a:lnTo>
                  <a:lnTo>
                    <a:pt x="171" y="103"/>
                  </a:lnTo>
                  <a:lnTo>
                    <a:pt x="171" y="103"/>
                  </a:lnTo>
                  <a:lnTo>
                    <a:pt x="171" y="103"/>
                  </a:lnTo>
                  <a:lnTo>
                    <a:pt x="171" y="103"/>
                  </a:lnTo>
                  <a:close/>
                  <a:moveTo>
                    <a:pt x="252" y="158"/>
                  </a:moveTo>
                  <a:lnTo>
                    <a:pt x="252" y="160"/>
                  </a:lnTo>
                  <a:lnTo>
                    <a:pt x="256" y="162"/>
                  </a:lnTo>
                  <a:lnTo>
                    <a:pt x="257" y="160"/>
                  </a:lnTo>
                  <a:lnTo>
                    <a:pt x="256" y="158"/>
                  </a:lnTo>
                  <a:lnTo>
                    <a:pt x="252" y="158"/>
                  </a:lnTo>
                  <a:lnTo>
                    <a:pt x="252" y="158"/>
                  </a:lnTo>
                  <a:lnTo>
                    <a:pt x="252" y="158"/>
                  </a:lnTo>
                  <a:lnTo>
                    <a:pt x="252" y="158"/>
                  </a:lnTo>
                  <a:close/>
                  <a:moveTo>
                    <a:pt x="227" y="175"/>
                  </a:moveTo>
                  <a:lnTo>
                    <a:pt x="229" y="179"/>
                  </a:lnTo>
                  <a:lnTo>
                    <a:pt x="229" y="181"/>
                  </a:lnTo>
                  <a:lnTo>
                    <a:pt x="225" y="182"/>
                  </a:lnTo>
                  <a:lnTo>
                    <a:pt x="224" y="184"/>
                  </a:lnTo>
                  <a:lnTo>
                    <a:pt x="227" y="184"/>
                  </a:lnTo>
                  <a:lnTo>
                    <a:pt x="227" y="182"/>
                  </a:lnTo>
                  <a:lnTo>
                    <a:pt x="229" y="181"/>
                  </a:lnTo>
                  <a:lnTo>
                    <a:pt x="229" y="186"/>
                  </a:lnTo>
                  <a:lnTo>
                    <a:pt x="233" y="190"/>
                  </a:lnTo>
                  <a:lnTo>
                    <a:pt x="237" y="184"/>
                  </a:lnTo>
                  <a:lnTo>
                    <a:pt x="239" y="186"/>
                  </a:lnTo>
                  <a:lnTo>
                    <a:pt x="240" y="186"/>
                  </a:lnTo>
                  <a:lnTo>
                    <a:pt x="242" y="186"/>
                  </a:lnTo>
                  <a:lnTo>
                    <a:pt x="246" y="184"/>
                  </a:lnTo>
                  <a:lnTo>
                    <a:pt x="242" y="181"/>
                  </a:lnTo>
                  <a:lnTo>
                    <a:pt x="237" y="177"/>
                  </a:lnTo>
                  <a:lnTo>
                    <a:pt x="231" y="175"/>
                  </a:lnTo>
                  <a:lnTo>
                    <a:pt x="227" y="175"/>
                  </a:lnTo>
                  <a:lnTo>
                    <a:pt x="227" y="175"/>
                  </a:lnTo>
                  <a:lnTo>
                    <a:pt x="227" y="175"/>
                  </a:lnTo>
                  <a:lnTo>
                    <a:pt x="227" y="175"/>
                  </a:lnTo>
                  <a:close/>
                  <a:moveTo>
                    <a:pt x="218" y="182"/>
                  </a:moveTo>
                  <a:lnTo>
                    <a:pt x="216" y="186"/>
                  </a:lnTo>
                  <a:lnTo>
                    <a:pt x="218" y="184"/>
                  </a:lnTo>
                  <a:lnTo>
                    <a:pt x="218" y="182"/>
                  </a:lnTo>
                  <a:lnTo>
                    <a:pt x="218" y="182"/>
                  </a:lnTo>
                  <a:lnTo>
                    <a:pt x="218" y="182"/>
                  </a:lnTo>
                  <a:lnTo>
                    <a:pt x="218" y="182"/>
                  </a:lnTo>
                  <a:close/>
                  <a:moveTo>
                    <a:pt x="192" y="160"/>
                  </a:moveTo>
                  <a:lnTo>
                    <a:pt x="192" y="162"/>
                  </a:lnTo>
                  <a:lnTo>
                    <a:pt x="188" y="165"/>
                  </a:lnTo>
                  <a:lnTo>
                    <a:pt x="188" y="167"/>
                  </a:lnTo>
                  <a:lnTo>
                    <a:pt x="197" y="167"/>
                  </a:lnTo>
                  <a:lnTo>
                    <a:pt x="197" y="169"/>
                  </a:lnTo>
                  <a:lnTo>
                    <a:pt x="197" y="173"/>
                  </a:lnTo>
                  <a:lnTo>
                    <a:pt x="199" y="175"/>
                  </a:lnTo>
                  <a:lnTo>
                    <a:pt x="201" y="181"/>
                  </a:lnTo>
                  <a:lnTo>
                    <a:pt x="205" y="182"/>
                  </a:lnTo>
                  <a:lnTo>
                    <a:pt x="208" y="182"/>
                  </a:lnTo>
                  <a:lnTo>
                    <a:pt x="210" y="186"/>
                  </a:lnTo>
                  <a:lnTo>
                    <a:pt x="212" y="186"/>
                  </a:lnTo>
                  <a:lnTo>
                    <a:pt x="214" y="184"/>
                  </a:lnTo>
                  <a:lnTo>
                    <a:pt x="212" y="181"/>
                  </a:lnTo>
                  <a:lnTo>
                    <a:pt x="214" y="175"/>
                  </a:lnTo>
                  <a:lnTo>
                    <a:pt x="208" y="175"/>
                  </a:lnTo>
                  <a:lnTo>
                    <a:pt x="205" y="169"/>
                  </a:lnTo>
                  <a:lnTo>
                    <a:pt x="203" y="162"/>
                  </a:lnTo>
                  <a:lnTo>
                    <a:pt x="201" y="162"/>
                  </a:lnTo>
                  <a:lnTo>
                    <a:pt x="201" y="158"/>
                  </a:lnTo>
                  <a:lnTo>
                    <a:pt x="197" y="156"/>
                  </a:lnTo>
                  <a:lnTo>
                    <a:pt x="197" y="156"/>
                  </a:lnTo>
                  <a:lnTo>
                    <a:pt x="197" y="160"/>
                  </a:lnTo>
                  <a:lnTo>
                    <a:pt x="197" y="162"/>
                  </a:lnTo>
                  <a:lnTo>
                    <a:pt x="193" y="162"/>
                  </a:lnTo>
                  <a:lnTo>
                    <a:pt x="192" y="158"/>
                  </a:lnTo>
                  <a:lnTo>
                    <a:pt x="192" y="160"/>
                  </a:lnTo>
                  <a:lnTo>
                    <a:pt x="192" y="160"/>
                  </a:lnTo>
                  <a:lnTo>
                    <a:pt x="192" y="160"/>
                  </a:lnTo>
                  <a:lnTo>
                    <a:pt x="192" y="160"/>
                  </a:lnTo>
                  <a:close/>
                  <a:moveTo>
                    <a:pt x="173" y="137"/>
                  </a:moveTo>
                  <a:lnTo>
                    <a:pt x="171" y="137"/>
                  </a:lnTo>
                  <a:lnTo>
                    <a:pt x="173" y="141"/>
                  </a:lnTo>
                  <a:lnTo>
                    <a:pt x="176" y="141"/>
                  </a:lnTo>
                  <a:lnTo>
                    <a:pt x="175" y="137"/>
                  </a:lnTo>
                  <a:lnTo>
                    <a:pt x="173" y="137"/>
                  </a:lnTo>
                  <a:lnTo>
                    <a:pt x="173" y="137"/>
                  </a:lnTo>
                  <a:lnTo>
                    <a:pt x="173" y="137"/>
                  </a:lnTo>
                  <a:lnTo>
                    <a:pt x="173" y="137"/>
                  </a:lnTo>
                  <a:close/>
                  <a:moveTo>
                    <a:pt x="175" y="128"/>
                  </a:moveTo>
                  <a:lnTo>
                    <a:pt x="173" y="132"/>
                  </a:lnTo>
                  <a:lnTo>
                    <a:pt x="175" y="133"/>
                  </a:lnTo>
                  <a:lnTo>
                    <a:pt x="178" y="133"/>
                  </a:lnTo>
                  <a:lnTo>
                    <a:pt x="182" y="133"/>
                  </a:lnTo>
                  <a:lnTo>
                    <a:pt x="184" y="133"/>
                  </a:lnTo>
                  <a:lnTo>
                    <a:pt x="178" y="130"/>
                  </a:lnTo>
                  <a:lnTo>
                    <a:pt x="175" y="128"/>
                  </a:lnTo>
                  <a:lnTo>
                    <a:pt x="175" y="128"/>
                  </a:lnTo>
                  <a:lnTo>
                    <a:pt x="175" y="128"/>
                  </a:lnTo>
                  <a:lnTo>
                    <a:pt x="175" y="128"/>
                  </a:lnTo>
                  <a:close/>
                  <a:moveTo>
                    <a:pt x="139" y="103"/>
                  </a:moveTo>
                  <a:lnTo>
                    <a:pt x="137" y="109"/>
                  </a:lnTo>
                  <a:lnTo>
                    <a:pt x="137" y="113"/>
                  </a:lnTo>
                  <a:lnTo>
                    <a:pt x="143" y="113"/>
                  </a:lnTo>
                  <a:lnTo>
                    <a:pt x="146" y="116"/>
                  </a:lnTo>
                  <a:lnTo>
                    <a:pt x="148" y="113"/>
                  </a:lnTo>
                  <a:lnTo>
                    <a:pt x="146" y="109"/>
                  </a:lnTo>
                  <a:lnTo>
                    <a:pt x="143" y="105"/>
                  </a:lnTo>
                  <a:lnTo>
                    <a:pt x="139" y="103"/>
                  </a:lnTo>
                  <a:lnTo>
                    <a:pt x="139" y="103"/>
                  </a:lnTo>
                  <a:lnTo>
                    <a:pt x="139" y="103"/>
                  </a:lnTo>
                  <a:lnTo>
                    <a:pt x="139" y="103"/>
                  </a:lnTo>
                  <a:close/>
                  <a:moveTo>
                    <a:pt x="128" y="98"/>
                  </a:moveTo>
                  <a:lnTo>
                    <a:pt x="129" y="98"/>
                  </a:lnTo>
                  <a:lnTo>
                    <a:pt x="133" y="100"/>
                  </a:lnTo>
                  <a:lnTo>
                    <a:pt x="137" y="103"/>
                  </a:lnTo>
                  <a:lnTo>
                    <a:pt x="133" y="107"/>
                  </a:lnTo>
                  <a:lnTo>
                    <a:pt x="133" y="105"/>
                  </a:lnTo>
                  <a:lnTo>
                    <a:pt x="128" y="98"/>
                  </a:lnTo>
                  <a:lnTo>
                    <a:pt x="128" y="98"/>
                  </a:lnTo>
                  <a:lnTo>
                    <a:pt x="128" y="98"/>
                  </a:lnTo>
                  <a:lnTo>
                    <a:pt x="128" y="98"/>
                  </a:lnTo>
                  <a:close/>
                  <a:moveTo>
                    <a:pt x="114" y="88"/>
                  </a:moveTo>
                  <a:lnTo>
                    <a:pt x="116" y="94"/>
                  </a:lnTo>
                  <a:lnTo>
                    <a:pt x="120" y="94"/>
                  </a:lnTo>
                  <a:lnTo>
                    <a:pt x="124" y="92"/>
                  </a:lnTo>
                  <a:lnTo>
                    <a:pt x="120" y="88"/>
                  </a:lnTo>
                  <a:lnTo>
                    <a:pt x="118" y="88"/>
                  </a:lnTo>
                  <a:lnTo>
                    <a:pt x="114" y="88"/>
                  </a:lnTo>
                  <a:lnTo>
                    <a:pt x="114" y="88"/>
                  </a:lnTo>
                  <a:lnTo>
                    <a:pt x="114" y="88"/>
                  </a:lnTo>
                  <a:lnTo>
                    <a:pt x="114" y="88"/>
                  </a:lnTo>
                  <a:close/>
                  <a:moveTo>
                    <a:pt x="128" y="226"/>
                  </a:moveTo>
                  <a:lnTo>
                    <a:pt x="133" y="229"/>
                  </a:lnTo>
                  <a:lnTo>
                    <a:pt x="133" y="228"/>
                  </a:lnTo>
                  <a:lnTo>
                    <a:pt x="129" y="226"/>
                  </a:lnTo>
                  <a:lnTo>
                    <a:pt x="128" y="226"/>
                  </a:lnTo>
                  <a:lnTo>
                    <a:pt x="128" y="226"/>
                  </a:lnTo>
                  <a:lnTo>
                    <a:pt x="128" y="226"/>
                  </a:lnTo>
                  <a:lnTo>
                    <a:pt x="128" y="226"/>
                  </a:lnTo>
                  <a:close/>
                  <a:moveTo>
                    <a:pt x="94" y="181"/>
                  </a:moveTo>
                  <a:lnTo>
                    <a:pt x="92" y="184"/>
                  </a:lnTo>
                  <a:lnTo>
                    <a:pt x="99" y="190"/>
                  </a:lnTo>
                  <a:lnTo>
                    <a:pt x="97" y="186"/>
                  </a:lnTo>
                  <a:lnTo>
                    <a:pt x="97" y="184"/>
                  </a:lnTo>
                  <a:lnTo>
                    <a:pt x="94" y="181"/>
                  </a:lnTo>
                  <a:lnTo>
                    <a:pt x="94" y="181"/>
                  </a:lnTo>
                  <a:lnTo>
                    <a:pt x="94" y="181"/>
                  </a:lnTo>
                  <a:lnTo>
                    <a:pt x="94" y="181"/>
                  </a:lnTo>
                  <a:close/>
                  <a:moveTo>
                    <a:pt x="88" y="177"/>
                  </a:moveTo>
                  <a:lnTo>
                    <a:pt x="92" y="179"/>
                  </a:lnTo>
                  <a:lnTo>
                    <a:pt x="88" y="181"/>
                  </a:lnTo>
                  <a:lnTo>
                    <a:pt x="88" y="177"/>
                  </a:lnTo>
                  <a:lnTo>
                    <a:pt x="88" y="177"/>
                  </a:lnTo>
                  <a:lnTo>
                    <a:pt x="88" y="177"/>
                  </a:lnTo>
                  <a:lnTo>
                    <a:pt x="88" y="177"/>
                  </a:lnTo>
                  <a:close/>
                  <a:moveTo>
                    <a:pt x="80" y="165"/>
                  </a:moveTo>
                  <a:lnTo>
                    <a:pt x="79" y="167"/>
                  </a:lnTo>
                  <a:lnTo>
                    <a:pt x="80" y="169"/>
                  </a:lnTo>
                  <a:lnTo>
                    <a:pt x="86" y="171"/>
                  </a:lnTo>
                  <a:lnTo>
                    <a:pt x="80" y="165"/>
                  </a:lnTo>
                  <a:lnTo>
                    <a:pt x="80" y="165"/>
                  </a:lnTo>
                  <a:lnTo>
                    <a:pt x="80" y="165"/>
                  </a:lnTo>
                  <a:lnTo>
                    <a:pt x="80" y="165"/>
                  </a:lnTo>
                  <a:close/>
                  <a:moveTo>
                    <a:pt x="62" y="148"/>
                  </a:moveTo>
                  <a:lnTo>
                    <a:pt x="62" y="152"/>
                  </a:lnTo>
                  <a:lnTo>
                    <a:pt x="65" y="152"/>
                  </a:lnTo>
                  <a:lnTo>
                    <a:pt x="71" y="160"/>
                  </a:lnTo>
                  <a:lnTo>
                    <a:pt x="75" y="162"/>
                  </a:lnTo>
                  <a:lnTo>
                    <a:pt x="75" y="154"/>
                  </a:lnTo>
                  <a:lnTo>
                    <a:pt x="69" y="147"/>
                  </a:lnTo>
                  <a:lnTo>
                    <a:pt x="65" y="145"/>
                  </a:lnTo>
                  <a:lnTo>
                    <a:pt x="62" y="148"/>
                  </a:lnTo>
                  <a:lnTo>
                    <a:pt x="62" y="148"/>
                  </a:lnTo>
                  <a:lnTo>
                    <a:pt x="62" y="148"/>
                  </a:lnTo>
                  <a:lnTo>
                    <a:pt x="62" y="148"/>
                  </a:lnTo>
                  <a:close/>
                  <a:moveTo>
                    <a:pt x="58" y="133"/>
                  </a:moveTo>
                  <a:lnTo>
                    <a:pt x="56" y="137"/>
                  </a:lnTo>
                  <a:lnTo>
                    <a:pt x="60" y="141"/>
                  </a:lnTo>
                  <a:lnTo>
                    <a:pt x="62" y="137"/>
                  </a:lnTo>
                  <a:lnTo>
                    <a:pt x="62" y="137"/>
                  </a:lnTo>
                  <a:lnTo>
                    <a:pt x="58" y="133"/>
                  </a:lnTo>
                  <a:lnTo>
                    <a:pt x="58" y="133"/>
                  </a:lnTo>
                  <a:lnTo>
                    <a:pt x="58" y="133"/>
                  </a:lnTo>
                  <a:lnTo>
                    <a:pt x="58" y="133"/>
                  </a:lnTo>
                  <a:close/>
                  <a:moveTo>
                    <a:pt x="62" y="124"/>
                  </a:moveTo>
                  <a:lnTo>
                    <a:pt x="65" y="124"/>
                  </a:lnTo>
                  <a:lnTo>
                    <a:pt x="67" y="126"/>
                  </a:lnTo>
                  <a:lnTo>
                    <a:pt x="67" y="124"/>
                  </a:lnTo>
                  <a:lnTo>
                    <a:pt x="64" y="122"/>
                  </a:lnTo>
                  <a:lnTo>
                    <a:pt x="62" y="124"/>
                  </a:lnTo>
                  <a:lnTo>
                    <a:pt x="62" y="124"/>
                  </a:lnTo>
                  <a:lnTo>
                    <a:pt x="62" y="124"/>
                  </a:lnTo>
                  <a:lnTo>
                    <a:pt x="62" y="124"/>
                  </a:lnTo>
                  <a:close/>
                  <a:moveTo>
                    <a:pt x="35" y="100"/>
                  </a:moveTo>
                  <a:lnTo>
                    <a:pt x="39" y="100"/>
                  </a:lnTo>
                  <a:lnTo>
                    <a:pt x="41" y="98"/>
                  </a:lnTo>
                  <a:lnTo>
                    <a:pt x="43" y="100"/>
                  </a:lnTo>
                  <a:lnTo>
                    <a:pt x="47" y="105"/>
                  </a:lnTo>
                  <a:lnTo>
                    <a:pt x="50" y="107"/>
                  </a:lnTo>
                  <a:lnTo>
                    <a:pt x="50" y="109"/>
                  </a:lnTo>
                  <a:lnTo>
                    <a:pt x="48" y="116"/>
                  </a:lnTo>
                  <a:lnTo>
                    <a:pt x="47" y="116"/>
                  </a:lnTo>
                  <a:lnTo>
                    <a:pt x="43" y="109"/>
                  </a:lnTo>
                  <a:lnTo>
                    <a:pt x="41" y="109"/>
                  </a:lnTo>
                  <a:lnTo>
                    <a:pt x="39" y="105"/>
                  </a:lnTo>
                  <a:lnTo>
                    <a:pt x="35" y="100"/>
                  </a:lnTo>
                  <a:lnTo>
                    <a:pt x="35" y="100"/>
                  </a:lnTo>
                  <a:lnTo>
                    <a:pt x="35" y="100"/>
                  </a:lnTo>
                  <a:lnTo>
                    <a:pt x="35" y="100"/>
                  </a:lnTo>
                  <a:close/>
                  <a:moveTo>
                    <a:pt x="35" y="84"/>
                  </a:moveTo>
                  <a:lnTo>
                    <a:pt x="39" y="88"/>
                  </a:lnTo>
                  <a:lnTo>
                    <a:pt x="37" y="84"/>
                  </a:lnTo>
                  <a:lnTo>
                    <a:pt x="35" y="84"/>
                  </a:lnTo>
                  <a:lnTo>
                    <a:pt x="35" y="84"/>
                  </a:lnTo>
                  <a:lnTo>
                    <a:pt x="35" y="84"/>
                  </a:lnTo>
                  <a:lnTo>
                    <a:pt x="35" y="84"/>
                  </a:lnTo>
                  <a:close/>
                  <a:moveTo>
                    <a:pt x="9" y="69"/>
                  </a:moveTo>
                  <a:lnTo>
                    <a:pt x="9" y="73"/>
                  </a:lnTo>
                  <a:lnTo>
                    <a:pt x="7" y="73"/>
                  </a:lnTo>
                  <a:lnTo>
                    <a:pt x="11" y="77"/>
                  </a:lnTo>
                  <a:lnTo>
                    <a:pt x="16" y="75"/>
                  </a:lnTo>
                  <a:lnTo>
                    <a:pt x="13" y="73"/>
                  </a:lnTo>
                  <a:lnTo>
                    <a:pt x="9" y="69"/>
                  </a:lnTo>
                  <a:lnTo>
                    <a:pt x="9" y="69"/>
                  </a:lnTo>
                  <a:lnTo>
                    <a:pt x="9" y="69"/>
                  </a:lnTo>
                  <a:lnTo>
                    <a:pt x="9" y="69"/>
                  </a:lnTo>
                  <a:close/>
                  <a:moveTo>
                    <a:pt x="0" y="20"/>
                  </a:moveTo>
                  <a:lnTo>
                    <a:pt x="0" y="20"/>
                  </a:lnTo>
                  <a:lnTo>
                    <a:pt x="0" y="26"/>
                  </a:lnTo>
                  <a:lnTo>
                    <a:pt x="3" y="35"/>
                  </a:lnTo>
                  <a:lnTo>
                    <a:pt x="7" y="35"/>
                  </a:lnTo>
                  <a:lnTo>
                    <a:pt x="15" y="45"/>
                  </a:lnTo>
                  <a:lnTo>
                    <a:pt x="16" y="45"/>
                  </a:lnTo>
                  <a:lnTo>
                    <a:pt x="24" y="52"/>
                  </a:lnTo>
                  <a:lnTo>
                    <a:pt x="26" y="52"/>
                  </a:lnTo>
                  <a:lnTo>
                    <a:pt x="26" y="52"/>
                  </a:lnTo>
                  <a:lnTo>
                    <a:pt x="33" y="58"/>
                  </a:lnTo>
                  <a:lnTo>
                    <a:pt x="41" y="69"/>
                  </a:lnTo>
                  <a:lnTo>
                    <a:pt x="47" y="73"/>
                  </a:lnTo>
                  <a:lnTo>
                    <a:pt x="48" y="73"/>
                  </a:lnTo>
                  <a:lnTo>
                    <a:pt x="48" y="79"/>
                  </a:lnTo>
                  <a:lnTo>
                    <a:pt x="50" y="81"/>
                  </a:lnTo>
                  <a:lnTo>
                    <a:pt x="50" y="84"/>
                  </a:lnTo>
                  <a:lnTo>
                    <a:pt x="54" y="88"/>
                  </a:lnTo>
                  <a:lnTo>
                    <a:pt x="56" y="88"/>
                  </a:lnTo>
                  <a:lnTo>
                    <a:pt x="62" y="92"/>
                  </a:lnTo>
                  <a:lnTo>
                    <a:pt x="64" y="94"/>
                  </a:lnTo>
                  <a:lnTo>
                    <a:pt x="67" y="94"/>
                  </a:lnTo>
                  <a:lnTo>
                    <a:pt x="67" y="98"/>
                  </a:lnTo>
                  <a:lnTo>
                    <a:pt x="65" y="98"/>
                  </a:lnTo>
                  <a:lnTo>
                    <a:pt x="69" y="101"/>
                  </a:lnTo>
                  <a:lnTo>
                    <a:pt x="71" y="105"/>
                  </a:lnTo>
                  <a:lnTo>
                    <a:pt x="69" y="107"/>
                  </a:lnTo>
                  <a:lnTo>
                    <a:pt x="75" y="116"/>
                  </a:lnTo>
                  <a:lnTo>
                    <a:pt x="75" y="122"/>
                  </a:lnTo>
                  <a:lnTo>
                    <a:pt x="79" y="124"/>
                  </a:lnTo>
                  <a:lnTo>
                    <a:pt x="84" y="128"/>
                  </a:lnTo>
                  <a:lnTo>
                    <a:pt x="84" y="130"/>
                  </a:lnTo>
                  <a:lnTo>
                    <a:pt x="90" y="137"/>
                  </a:lnTo>
                  <a:lnTo>
                    <a:pt x="94" y="141"/>
                  </a:lnTo>
                  <a:lnTo>
                    <a:pt x="96" y="150"/>
                  </a:lnTo>
                  <a:lnTo>
                    <a:pt x="103" y="162"/>
                  </a:lnTo>
                  <a:lnTo>
                    <a:pt x="101" y="167"/>
                  </a:lnTo>
                  <a:lnTo>
                    <a:pt x="103" y="173"/>
                  </a:lnTo>
                  <a:lnTo>
                    <a:pt x="109" y="179"/>
                  </a:lnTo>
                  <a:lnTo>
                    <a:pt x="116" y="186"/>
                  </a:lnTo>
                  <a:lnTo>
                    <a:pt x="118" y="190"/>
                  </a:lnTo>
                  <a:lnTo>
                    <a:pt x="124" y="192"/>
                  </a:lnTo>
                  <a:lnTo>
                    <a:pt x="126" y="194"/>
                  </a:lnTo>
                  <a:lnTo>
                    <a:pt x="129" y="196"/>
                  </a:lnTo>
                  <a:lnTo>
                    <a:pt x="129" y="201"/>
                  </a:lnTo>
                  <a:lnTo>
                    <a:pt x="133" y="205"/>
                  </a:lnTo>
                  <a:lnTo>
                    <a:pt x="139" y="211"/>
                  </a:lnTo>
                  <a:lnTo>
                    <a:pt x="148" y="214"/>
                  </a:lnTo>
                  <a:lnTo>
                    <a:pt x="150" y="218"/>
                  </a:lnTo>
                  <a:lnTo>
                    <a:pt x="154" y="220"/>
                  </a:lnTo>
                  <a:lnTo>
                    <a:pt x="167" y="229"/>
                  </a:lnTo>
                  <a:lnTo>
                    <a:pt x="167" y="235"/>
                  </a:lnTo>
                  <a:lnTo>
                    <a:pt x="169" y="235"/>
                  </a:lnTo>
                  <a:lnTo>
                    <a:pt x="171" y="239"/>
                  </a:lnTo>
                  <a:lnTo>
                    <a:pt x="173" y="239"/>
                  </a:lnTo>
                  <a:lnTo>
                    <a:pt x="173" y="235"/>
                  </a:lnTo>
                  <a:lnTo>
                    <a:pt x="171" y="233"/>
                  </a:lnTo>
                  <a:lnTo>
                    <a:pt x="171" y="229"/>
                  </a:lnTo>
                  <a:lnTo>
                    <a:pt x="175" y="231"/>
                  </a:lnTo>
                  <a:lnTo>
                    <a:pt x="182" y="239"/>
                  </a:lnTo>
                  <a:lnTo>
                    <a:pt x="184" y="235"/>
                  </a:lnTo>
                  <a:lnTo>
                    <a:pt x="184" y="231"/>
                  </a:lnTo>
                  <a:lnTo>
                    <a:pt x="186" y="229"/>
                  </a:lnTo>
                  <a:lnTo>
                    <a:pt x="188" y="229"/>
                  </a:lnTo>
                  <a:lnTo>
                    <a:pt x="192" y="235"/>
                  </a:lnTo>
                  <a:lnTo>
                    <a:pt x="193" y="235"/>
                  </a:lnTo>
                  <a:lnTo>
                    <a:pt x="197" y="233"/>
                  </a:lnTo>
                  <a:lnTo>
                    <a:pt x="197" y="224"/>
                  </a:lnTo>
                  <a:lnTo>
                    <a:pt x="197" y="214"/>
                  </a:lnTo>
                  <a:lnTo>
                    <a:pt x="197" y="209"/>
                  </a:lnTo>
                  <a:lnTo>
                    <a:pt x="199" y="201"/>
                  </a:lnTo>
                  <a:lnTo>
                    <a:pt x="197" y="197"/>
                  </a:lnTo>
                  <a:lnTo>
                    <a:pt x="197" y="192"/>
                  </a:lnTo>
                  <a:lnTo>
                    <a:pt x="201" y="190"/>
                  </a:lnTo>
                  <a:lnTo>
                    <a:pt x="203" y="190"/>
                  </a:lnTo>
                  <a:lnTo>
                    <a:pt x="203" y="186"/>
                  </a:lnTo>
                  <a:lnTo>
                    <a:pt x="199" y="184"/>
                  </a:lnTo>
                  <a:lnTo>
                    <a:pt x="197" y="181"/>
                  </a:lnTo>
                  <a:lnTo>
                    <a:pt x="193" y="177"/>
                  </a:lnTo>
                  <a:lnTo>
                    <a:pt x="192" y="175"/>
                  </a:lnTo>
                  <a:lnTo>
                    <a:pt x="192" y="173"/>
                  </a:lnTo>
                  <a:lnTo>
                    <a:pt x="188" y="171"/>
                  </a:lnTo>
                  <a:lnTo>
                    <a:pt x="182" y="171"/>
                  </a:lnTo>
                  <a:lnTo>
                    <a:pt x="178" y="171"/>
                  </a:lnTo>
                  <a:lnTo>
                    <a:pt x="178" y="165"/>
                  </a:lnTo>
                  <a:lnTo>
                    <a:pt x="175" y="162"/>
                  </a:lnTo>
                  <a:lnTo>
                    <a:pt x="173" y="162"/>
                  </a:lnTo>
                  <a:lnTo>
                    <a:pt x="175" y="160"/>
                  </a:lnTo>
                  <a:lnTo>
                    <a:pt x="173" y="156"/>
                  </a:lnTo>
                  <a:lnTo>
                    <a:pt x="173" y="147"/>
                  </a:lnTo>
                  <a:lnTo>
                    <a:pt x="167" y="148"/>
                  </a:lnTo>
                  <a:lnTo>
                    <a:pt x="167" y="147"/>
                  </a:lnTo>
                  <a:lnTo>
                    <a:pt x="160" y="147"/>
                  </a:lnTo>
                  <a:lnTo>
                    <a:pt x="154" y="143"/>
                  </a:lnTo>
                  <a:lnTo>
                    <a:pt x="154" y="141"/>
                  </a:lnTo>
                  <a:lnTo>
                    <a:pt x="158" y="137"/>
                  </a:lnTo>
                  <a:lnTo>
                    <a:pt x="161" y="133"/>
                  </a:lnTo>
                  <a:lnTo>
                    <a:pt x="160" y="133"/>
                  </a:lnTo>
                  <a:lnTo>
                    <a:pt x="154" y="133"/>
                  </a:lnTo>
                  <a:lnTo>
                    <a:pt x="152" y="133"/>
                  </a:lnTo>
                  <a:lnTo>
                    <a:pt x="148" y="133"/>
                  </a:lnTo>
                  <a:lnTo>
                    <a:pt x="152" y="133"/>
                  </a:lnTo>
                  <a:lnTo>
                    <a:pt x="154" y="130"/>
                  </a:lnTo>
                  <a:lnTo>
                    <a:pt x="161" y="130"/>
                  </a:lnTo>
                  <a:lnTo>
                    <a:pt x="161" y="124"/>
                  </a:lnTo>
                  <a:lnTo>
                    <a:pt x="154" y="118"/>
                  </a:lnTo>
                  <a:lnTo>
                    <a:pt x="150" y="118"/>
                  </a:lnTo>
                  <a:lnTo>
                    <a:pt x="146" y="122"/>
                  </a:lnTo>
                  <a:lnTo>
                    <a:pt x="143" y="124"/>
                  </a:lnTo>
                  <a:lnTo>
                    <a:pt x="139" y="124"/>
                  </a:lnTo>
                  <a:lnTo>
                    <a:pt x="143" y="122"/>
                  </a:lnTo>
                  <a:lnTo>
                    <a:pt x="143" y="122"/>
                  </a:lnTo>
                  <a:lnTo>
                    <a:pt x="144" y="122"/>
                  </a:lnTo>
                  <a:lnTo>
                    <a:pt x="146" y="118"/>
                  </a:lnTo>
                  <a:lnTo>
                    <a:pt x="144" y="116"/>
                  </a:lnTo>
                  <a:lnTo>
                    <a:pt x="143" y="113"/>
                  </a:lnTo>
                  <a:lnTo>
                    <a:pt x="133" y="113"/>
                  </a:lnTo>
                  <a:lnTo>
                    <a:pt x="129" y="109"/>
                  </a:lnTo>
                  <a:lnTo>
                    <a:pt x="129" y="109"/>
                  </a:lnTo>
                  <a:lnTo>
                    <a:pt x="129" y="103"/>
                  </a:lnTo>
                  <a:lnTo>
                    <a:pt x="122" y="98"/>
                  </a:lnTo>
                  <a:lnTo>
                    <a:pt x="118" y="98"/>
                  </a:lnTo>
                  <a:lnTo>
                    <a:pt x="116" y="98"/>
                  </a:lnTo>
                  <a:lnTo>
                    <a:pt x="112" y="94"/>
                  </a:lnTo>
                  <a:lnTo>
                    <a:pt x="112" y="88"/>
                  </a:lnTo>
                  <a:lnTo>
                    <a:pt x="109" y="83"/>
                  </a:lnTo>
                  <a:lnTo>
                    <a:pt x="101" y="79"/>
                  </a:lnTo>
                  <a:lnTo>
                    <a:pt x="96" y="77"/>
                  </a:lnTo>
                  <a:lnTo>
                    <a:pt x="96" y="79"/>
                  </a:lnTo>
                  <a:lnTo>
                    <a:pt x="94" y="79"/>
                  </a:lnTo>
                  <a:lnTo>
                    <a:pt x="92" y="73"/>
                  </a:lnTo>
                  <a:lnTo>
                    <a:pt x="90" y="75"/>
                  </a:lnTo>
                  <a:lnTo>
                    <a:pt x="88" y="73"/>
                  </a:lnTo>
                  <a:lnTo>
                    <a:pt x="88" y="69"/>
                  </a:lnTo>
                  <a:lnTo>
                    <a:pt x="84" y="64"/>
                  </a:lnTo>
                  <a:lnTo>
                    <a:pt x="79" y="64"/>
                  </a:lnTo>
                  <a:lnTo>
                    <a:pt x="79" y="60"/>
                  </a:lnTo>
                  <a:lnTo>
                    <a:pt x="67" y="52"/>
                  </a:lnTo>
                  <a:lnTo>
                    <a:pt x="64" y="52"/>
                  </a:lnTo>
                  <a:lnTo>
                    <a:pt x="60" y="49"/>
                  </a:lnTo>
                  <a:lnTo>
                    <a:pt x="54" y="49"/>
                  </a:lnTo>
                  <a:lnTo>
                    <a:pt x="54" y="45"/>
                  </a:lnTo>
                  <a:lnTo>
                    <a:pt x="54" y="39"/>
                  </a:lnTo>
                  <a:lnTo>
                    <a:pt x="50" y="35"/>
                  </a:lnTo>
                  <a:lnTo>
                    <a:pt x="48" y="32"/>
                  </a:lnTo>
                  <a:lnTo>
                    <a:pt x="47" y="32"/>
                  </a:lnTo>
                  <a:lnTo>
                    <a:pt x="45" y="26"/>
                  </a:lnTo>
                  <a:lnTo>
                    <a:pt x="39" y="24"/>
                  </a:lnTo>
                  <a:lnTo>
                    <a:pt x="35" y="24"/>
                  </a:lnTo>
                  <a:lnTo>
                    <a:pt x="33" y="26"/>
                  </a:lnTo>
                  <a:lnTo>
                    <a:pt x="30" y="24"/>
                  </a:lnTo>
                  <a:lnTo>
                    <a:pt x="26" y="24"/>
                  </a:lnTo>
                  <a:lnTo>
                    <a:pt x="20" y="26"/>
                  </a:lnTo>
                  <a:lnTo>
                    <a:pt x="16" y="24"/>
                  </a:lnTo>
                  <a:lnTo>
                    <a:pt x="9" y="20"/>
                  </a:lnTo>
                  <a:lnTo>
                    <a:pt x="1" y="17"/>
                  </a:lnTo>
                  <a:lnTo>
                    <a:pt x="0" y="20"/>
                  </a:lnTo>
                  <a:lnTo>
                    <a:pt x="0" y="20"/>
                  </a:lnTo>
                  <a:lnTo>
                    <a:pt x="0" y="2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2" name="Freeform 195">
              <a:extLst>
                <a:ext uri="{FF2B5EF4-FFF2-40B4-BE49-F238E27FC236}">
                  <a16:creationId xmlns:a16="http://schemas.microsoft.com/office/drawing/2014/main" id="{3574B547-C7EF-4E76-BCFE-B52EE622927C}"/>
                </a:ext>
              </a:extLst>
            </p:cNvPr>
            <p:cNvSpPr>
              <a:spLocks noEditPoints="1"/>
            </p:cNvSpPr>
            <p:nvPr/>
          </p:nvSpPr>
          <p:spPr bwMode="auto">
            <a:xfrm>
              <a:off x="5800" y="3516"/>
              <a:ext cx="75" cy="52"/>
            </a:xfrm>
            <a:custGeom>
              <a:avLst/>
              <a:gdLst/>
              <a:ahLst/>
              <a:cxnLst>
                <a:cxn ang="0">
                  <a:pos x="6" y="5"/>
                </a:cxn>
                <a:cxn ang="0">
                  <a:pos x="10" y="5"/>
                </a:cxn>
                <a:cxn ang="0">
                  <a:pos x="15" y="11"/>
                </a:cxn>
                <a:cxn ang="0">
                  <a:pos x="21" y="15"/>
                </a:cxn>
                <a:cxn ang="0">
                  <a:pos x="30" y="32"/>
                </a:cxn>
                <a:cxn ang="0">
                  <a:pos x="36" y="32"/>
                </a:cxn>
                <a:cxn ang="0">
                  <a:pos x="47" y="47"/>
                </a:cxn>
                <a:cxn ang="0">
                  <a:pos x="51" y="52"/>
                </a:cxn>
                <a:cxn ang="0">
                  <a:pos x="45" y="52"/>
                </a:cxn>
                <a:cxn ang="0">
                  <a:pos x="40" y="50"/>
                </a:cxn>
                <a:cxn ang="0">
                  <a:pos x="36" y="45"/>
                </a:cxn>
                <a:cxn ang="0">
                  <a:pos x="28" y="37"/>
                </a:cxn>
                <a:cxn ang="0">
                  <a:pos x="25" y="37"/>
                </a:cxn>
                <a:cxn ang="0">
                  <a:pos x="17" y="30"/>
                </a:cxn>
                <a:cxn ang="0">
                  <a:pos x="13" y="28"/>
                </a:cxn>
                <a:cxn ang="0">
                  <a:pos x="11" y="20"/>
                </a:cxn>
                <a:cxn ang="0">
                  <a:pos x="2" y="7"/>
                </a:cxn>
                <a:cxn ang="0">
                  <a:pos x="0" y="2"/>
                </a:cxn>
                <a:cxn ang="0">
                  <a:pos x="0" y="0"/>
                </a:cxn>
                <a:cxn ang="0">
                  <a:pos x="0" y="0"/>
                </a:cxn>
                <a:cxn ang="0">
                  <a:pos x="72" y="32"/>
                </a:cxn>
                <a:cxn ang="0">
                  <a:pos x="75" y="37"/>
                </a:cxn>
                <a:cxn ang="0">
                  <a:pos x="72" y="37"/>
                </a:cxn>
                <a:cxn ang="0">
                  <a:pos x="66" y="32"/>
                </a:cxn>
                <a:cxn ang="0">
                  <a:pos x="66" y="32"/>
                </a:cxn>
                <a:cxn ang="0">
                  <a:pos x="60" y="13"/>
                </a:cxn>
                <a:cxn ang="0">
                  <a:pos x="57" y="17"/>
                </a:cxn>
                <a:cxn ang="0">
                  <a:pos x="59" y="22"/>
                </a:cxn>
                <a:cxn ang="0">
                  <a:pos x="64" y="22"/>
                </a:cxn>
                <a:cxn ang="0">
                  <a:pos x="62" y="17"/>
                </a:cxn>
                <a:cxn ang="0">
                  <a:pos x="60" y="13"/>
                </a:cxn>
                <a:cxn ang="0">
                  <a:pos x="60" y="13"/>
                </a:cxn>
                <a:cxn ang="0">
                  <a:pos x="47" y="7"/>
                </a:cxn>
                <a:cxn ang="0">
                  <a:pos x="45" y="13"/>
                </a:cxn>
                <a:cxn ang="0">
                  <a:pos x="51" y="11"/>
                </a:cxn>
                <a:cxn ang="0">
                  <a:pos x="47" y="7"/>
                </a:cxn>
                <a:cxn ang="0">
                  <a:pos x="47" y="7"/>
                </a:cxn>
              </a:cxnLst>
              <a:rect l="0" t="0" r="r" b="b"/>
              <a:pathLst>
                <a:path w="75" h="52">
                  <a:moveTo>
                    <a:pt x="0" y="0"/>
                  </a:moveTo>
                  <a:lnTo>
                    <a:pt x="6" y="5"/>
                  </a:lnTo>
                  <a:lnTo>
                    <a:pt x="10" y="2"/>
                  </a:lnTo>
                  <a:lnTo>
                    <a:pt x="10" y="5"/>
                  </a:lnTo>
                  <a:lnTo>
                    <a:pt x="11" y="7"/>
                  </a:lnTo>
                  <a:lnTo>
                    <a:pt x="15" y="11"/>
                  </a:lnTo>
                  <a:lnTo>
                    <a:pt x="17" y="15"/>
                  </a:lnTo>
                  <a:lnTo>
                    <a:pt x="21" y="15"/>
                  </a:lnTo>
                  <a:lnTo>
                    <a:pt x="28" y="26"/>
                  </a:lnTo>
                  <a:lnTo>
                    <a:pt x="30" y="32"/>
                  </a:lnTo>
                  <a:lnTo>
                    <a:pt x="34" y="32"/>
                  </a:lnTo>
                  <a:lnTo>
                    <a:pt x="36" y="32"/>
                  </a:lnTo>
                  <a:lnTo>
                    <a:pt x="40" y="41"/>
                  </a:lnTo>
                  <a:lnTo>
                    <a:pt x="47" y="47"/>
                  </a:lnTo>
                  <a:lnTo>
                    <a:pt x="49" y="47"/>
                  </a:lnTo>
                  <a:lnTo>
                    <a:pt x="51" y="52"/>
                  </a:lnTo>
                  <a:lnTo>
                    <a:pt x="47" y="50"/>
                  </a:lnTo>
                  <a:lnTo>
                    <a:pt x="45" y="52"/>
                  </a:lnTo>
                  <a:lnTo>
                    <a:pt x="42" y="50"/>
                  </a:lnTo>
                  <a:lnTo>
                    <a:pt x="40" y="50"/>
                  </a:lnTo>
                  <a:lnTo>
                    <a:pt x="36" y="47"/>
                  </a:lnTo>
                  <a:lnTo>
                    <a:pt x="36" y="45"/>
                  </a:lnTo>
                  <a:lnTo>
                    <a:pt x="30" y="45"/>
                  </a:lnTo>
                  <a:lnTo>
                    <a:pt x="28" y="37"/>
                  </a:lnTo>
                  <a:lnTo>
                    <a:pt x="27" y="37"/>
                  </a:lnTo>
                  <a:lnTo>
                    <a:pt x="25" y="37"/>
                  </a:lnTo>
                  <a:lnTo>
                    <a:pt x="23" y="32"/>
                  </a:lnTo>
                  <a:lnTo>
                    <a:pt x="17" y="30"/>
                  </a:lnTo>
                  <a:lnTo>
                    <a:pt x="17" y="28"/>
                  </a:lnTo>
                  <a:lnTo>
                    <a:pt x="13" y="28"/>
                  </a:lnTo>
                  <a:lnTo>
                    <a:pt x="11" y="24"/>
                  </a:lnTo>
                  <a:lnTo>
                    <a:pt x="11" y="20"/>
                  </a:lnTo>
                  <a:lnTo>
                    <a:pt x="10" y="18"/>
                  </a:lnTo>
                  <a:lnTo>
                    <a:pt x="2" y="7"/>
                  </a:lnTo>
                  <a:lnTo>
                    <a:pt x="2" y="5"/>
                  </a:lnTo>
                  <a:lnTo>
                    <a:pt x="0" y="2"/>
                  </a:lnTo>
                  <a:lnTo>
                    <a:pt x="0" y="0"/>
                  </a:lnTo>
                  <a:lnTo>
                    <a:pt x="0" y="0"/>
                  </a:lnTo>
                  <a:lnTo>
                    <a:pt x="0" y="0"/>
                  </a:lnTo>
                  <a:lnTo>
                    <a:pt x="0" y="0"/>
                  </a:lnTo>
                  <a:close/>
                  <a:moveTo>
                    <a:pt x="66" y="32"/>
                  </a:moveTo>
                  <a:lnTo>
                    <a:pt x="72" y="32"/>
                  </a:lnTo>
                  <a:lnTo>
                    <a:pt x="75" y="32"/>
                  </a:lnTo>
                  <a:lnTo>
                    <a:pt x="75" y="37"/>
                  </a:lnTo>
                  <a:lnTo>
                    <a:pt x="72" y="37"/>
                  </a:lnTo>
                  <a:lnTo>
                    <a:pt x="72" y="37"/>
                  </a:lnTo>
                  <a:lnTo>
                    <a:pt x="66" y="35"/>
                  </a:lnTo>
                  <a:lnTo>
                    <a:pt x="66" y="32"/>
                  </a:lnTo>
                  <a:lnTo>
                    <a:pt x="66" y="32"/>
                  </a:lnTo>
                  <a:lnTo>
                    <a:pt x="66" y="32"/>
                  </a:lnTo>
                  <a:lnTo>
                    <a:pt x="66" y="32"/>
                  </a:lnTo>
                  <a:close/>
                  <a:moveTo>
                    <a:pt x="60" y="13"/>
                  </a:moveTo>
                  <a:lnTo>
                    <a:pt x="57" y="15"/>
                  </a:lnTo>
                  <a:lnTo>
                    <a:pt x="57" y="17"/>
                  </a:lnTo>
                  <a:lnTo>
                    <a:pt x="57" y="18"/>
                  </a:lnTo>
                  <a:lnTo>
                    <a:pt x="59" y="22"/>
                  </a:lnTo>
                  <a:lnTo>
                    <a:pt x="62" y="24"/>
                  </a:lnTo>
                  <a:lnTo>
                    <a:pt x="64" y="22"/>
                  </a:lnTo>
                  <a:lnTo>
                    <a:pt x="60" y="20"/>
                  </a:lnTo>
                  <a:lnTo>
                    <a:pt x="62" y="17"/>
                  </a:lnTo>
                  <a:lnTo>
                    <a:pt x="62" y="13"/>
                  </a:lnTo>
                  <a:lnTo>
                    <a:pt x="60" y="13"/>
                  </a:lnTo>
                  <a:lnTo>
                    <a:pt x="60" y="13"/>
                  </a:lnTo>
                  <a:lnTo>
                    <a:pt x="60" y="13"/>
                  </a:lnTo>
                  <a:lnTo>
                    <a:pt x="60" y="13"/>
                  </a:lnTo>
                  <a:close/>
                  <a:moveTo>
                    <a:pt x="47" y="7"/>
                  </a:moveTo>
                  <a:lnTo>
                    <a:pt x="47" y="11"/>
                  </a:lnTo>
                  <a:lnTo>
                    <a:pt x="45" y="13"/>
                  </a:lnTo>
                  <a:lnTo>
                    <a:pt x="49" y="13"/>
                  </a:lnTo>
                  <a:lnTo>
                    <a:pt x="51" y="11"/>
                  </a:lnTo>
                  <a:lnTo>
                    <a:pt x="49" y="7"/>
                  </a:lnTo>
                  <a:lnTo>
                    <a:pt x="47" y="7"/>
                  </a:lnTo>
                  <a:lnTo>
                    <a:pt x="47" y="7"/>
                  </a:lnTo>
                  <a:lnTo>
                    <a:pt x="47"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3" name="Freeform 196">
              <a:extLst>
                <a:ext uri="{FF2B5EF4-FFF2-40B4-BE49-F238E27FC236}">
                  <a16:creationId xmlns:a16="http://schemas.microsoft.com/office/drawing/2014/main" id="{716F5078-F32D-4E40-905A-B492724E644C}"/>
                </a:ext>
              </a:extLst>
            </p:cNvPr>
            <p:cNvSpPr>
              <a:spLocks noEditPoints="1"/>
            </p:cNvSpPr>
            <p:nvPr/>
          </p:nvSpPr>
          <p:spPr bwMode="auto">
            <a:xfrm>
              <a:off x="5800" y="3516"/>
              <a:ext cx="75" cy="52"/>
            </a:xfrm>
            <a:custGeom>
              <a:avLst/>
              <a:gdLst/>
              <a:ahLst/>
              <a:cxnLst>
                <a:cxn ang="0">
                  <a:pos x="6" y="5"/>
                </a:cxn>
                <a:cxn ang="0">
                  <a:pos x="10" y="5"/>
                </a:cxn>
                <a:cxn ang="0">
                  <a:pos x="15" y="11"/>
                </a:cxn>
                <a:cxn ang="0">
                  <a:pos x="21" y="15"/>
                </a:cxn>
                <a:cxn ang="0">
                  <a:pos x="30" y="32"/>
                </a:cxn>
                <a:cxn ang="0">
                  <a:pos x="36" y="32"/>
                </a:cxn>
                <a:cxn ang="0">
                  <a:pos x="47" y="47"/>
                </a:cxn>
                <a:cxn ang="0">
                  <a:pos x="51" y="52"/>
                </a:cxn>
                <a:cxn ang="0">
                  <a:pos x="45" y="52"/>
                </a:cxn>
                <a:cxn ang="0">
                  <a:pos x="40" y="50"/>
                </a:cxn>
                <a:cxn ang="0">
                  <a:pos x="36" y="45"/>
                </a:cxn>
                <a:cxn ang="0">
                  <a:pos x="28" y="37"/>
                </a:cxn>
                <a:cxn ang="0">
                  <a:pos x="25" y="37"/>
                </a:cxn>
                <a:cxn ang="0">
                  <a:pos x="17" y="30"/>
                </a:cxn>
                <a:cxn ang="0">
                  <a:pos x="13" y="28"/>
                </a:cxn>
                <a:cxn ang="0">
                  <a:pos x="11" y="20"/>
                </a:cxn>
                <a:cxn ang="0">
                  <a:pos x="2" y="7"/>
                </a:cxn>
                <a:cxn ang="0">
                  <a:pos x="0" y="2"/>
                </a:cxn>
                <a:cxn ang="0">
                  <a:pos x="0" y="0"/>
                </a:cxn>
                <a:cxn ang="0">
                  <a:pos x="0" y="0"/>
                </a:cxn>
                <a:cxn ang="0">
                  <a:pos x="72" y="32"/>
                </a:cxn>
                <a:cxn ang="0">
                  <a:pos x="75" y="37"/>
                </a:cxn>
                <a:cxn ang="0">
                  <a:pos x="72" y="37"/>
                </a:cxn>
                <a:cxn ang="0">
                  <a:pos x="66" y="32"/>
                </a:cxn>
                <a:cxn ang="0">
                  <a:pos x="66" y="32"/>
                </a:cxn>
                <a:cxn ang="0">
                  <a:pos x="60" y="13"/>
                </a:cxn>
                <a:cxn ang="0">
                  <a:pos x="57" y="17"/>
                </a:cxn>
                <a:cxn ang="0">
                  <a:pos x="59" y="22"/>
                </a:cxn>
                <a:cxn ang="0">
                  <a:pos x="64" y="22"/>
                </a:cxn>
                <a:cxn ang="0">
                  <a:pos x="62" y="17"/>
                </a:cxn>
                <a:cxn ang="0">
                  <a:pos x="60" y="13"/>
                </a:cxn>
                <a:cxn ang="0">
                  <a:pos x="60" y="13"/>
                </a:cxn>
                <a:cxn ang="0">
                  <a:pos x="47" y="7"/>
                </a:cxn>
                <a:cxn ang="0">
                  <a:pos x="45" y="13"/>
                </a:cxn>
                <a:cxn ang="0">
                  <a:pos x="51" y="11"/>
                </a:cxn>
                <a:cxn ang="0">
                  <a:pos x="47" y="7"/>
                </a:cxn>
                <a:cxn ang="0">
                  <a:pos x="47" y="7"/>
                </a:cxn>
              </a:cxnLst>
              <a:rect l="0" t="0" r="r" b="b"/>
              <a:pathLst>
                <a:path w="75" h="52">
                  <a:moveTo>
                    <a:pt x="0" y="0"/>
                  </a:moveTo>
                  <a:lnTo>
                    <a:pt x="6" y="5"/>
                  </a:lnTo>
                  <a:lnTo>
                    <a:pt x="10" y="2"/>
                  </a:lnTo>
                  <a:lnTo>
                    <a:pt x="10" y="5"/>
                  </a:lnTo>
                  <a:lnTo>
                    <a:pt x="11" y="7"/>
                  </a:lnTo>
                  <a:lnTo>
                    <a:pt x="15" y="11"/>
                  </a:lnTo>
                  <a:lnTo>
                    <a:pt x="17" y="15"/>
                  </a:lnTo>
                  <a:lnTo>
                    <a:pt x="21" y="15"/>
                  </a:lnTo>
                  <a:lnTo>
                    <a:pt x="28" y="26"/>
                  </a:lnTo>
                  <a:lnTo>
                    <a:pt x="30" y="32"/>
                  </a:lnTo>
                  <a:lnTo>
                    <a:pt x="34" y="32"/>
                  </a:lnTo>
                  <a:lnTo>
                    <a:pt x="36" y="32"/>
                  </a:lnTo>
                  <a:lnTo>
                    <a:pt x="40" y="41"/>
                  </a:lnTo>
                  <a:lnTo>
                    <a:pt x="47" y="47"/>
                  </a:lnTo>
                  <a:lnTo>
                    <a:pt x="49" y="47"/>
                  </a:lnTo>
                  <a:lnTo>
                    <a:pt x="51" y="52"/>
                  </a:lnTo>
                  <a:lnTo>
                    <a:pt x="47" y="50"/>
                  </a:lnTo>
                  <a:lnTo>
                    <a:pt x="45" y="52"/>
                  </a:lnTo>
                  <a:lnTo>
                    <a:pt x="42" y="50"/>
                  </a:lnTo>
                  <a:lnTo>
                    <a:pt x="40" y="50"/>
                  </a:lnTo>
                  <a:lnTo>
                    <a:pt x="36" y="47"/>
                  </a:lnTo>
                  <a:lnTo>
                    <a:pt x="36" y="45"/>
                  </a:lnTo>
                  <a:lnTo>
                    <a:pt x="30" y="45"/>
                  </a:lnTo>
                  <a:lnTo>
                    <a:pt x="28" y="37"/>
                  </a:lnTo>
                  <a:lnTo>
                    <a:pt x="27" y="37"/>
                  </a:lnTo>
                  <a:lnTo>
                    <a:pt x="25" y="37"/>
                  </a:lnTo>
                  <a:lnTo>
                    <a:pt x="23" y="32"/>
                  </a:lnTo>
                  <a:lnTo>
                    <a:pt x="17" y="30"/>
                  </a:lnTo>
                  <a:lnTo>
                    <a:pt x="17" y="28"/>
                  </a:lnTo>
                  <a:lnTo>
                    <a:pt x="13" y="28"/>
                  </a:lnTo>
                  <a:lnTo>
                    <a:pt x="11" y="24"/>
                  </a:lnTo>
                  <a:lnTo>
                    <a:pt x="11" y="20"/>
                  </a:lnTo>
                  <a:lnTo>
                    <a:pt x="10" y="18"/>
                  </a:lnTo>
                  <a:lnTo>
                    <a:pt x="2" y="7"/>
                  </a:lnTo>
                  <a:lnTo>
                    <a:pt x="2" y="5"/>
                  </a:lnTo>
                  <a:lnTo>
                    <a:pt x="0" y="2"/>
                  </a:lnTo>
                  <a:lnTo>
                    <a:pt x="0" y="0"/>
                  </a:lnTo>
                  <a:lnTo>
                    <a:pt x="0" y="0"/>
                  </a:lnTo>
                  <a:lnTo>
                    <a:pt x="0" y="0"/>
                  </a:lnTo>
                  <a:lnTo>
                    <a:pt x="0" y="0"/>
                  </a:lnTo>
                  <a:close/>
                  <a:moveTo>
                    <a:pt x="66" y="32"/>
                  </a:moveTo>
                  <a:lnTo>
                    <a:pt x="72" y="32"/>
                  </a:lnTo>
                  <a:lnTo>
                    <a:pt x="75" y="32"/>
                  </a:lnTo>
                  <a:lnTo>
                    <a:pt x="75" y="37"/>
                  </a:lnTo>
                  <a:lnTo>
                    <a:pt x="72" y="37"/>
                  </a:lnTo>
                  <a:lnTo>
                    <a:pt x="72" y="37"/>
                  </a:lnTo>
                  <a:lnTo>
                    <a:pt x="66" y="35"/>
                  </a:lnTo>
                  <a:lnTo>
                    <a:pt x="66" y="32"/>
                  </a:lnTo>
                  <a:lnTo>
                    <a:pt x="66" y="32"/>
                  </a:lnTo>
                  <a:lnTo>
                    <a:pt x="66" y="32"/>
                  </a:lnTo>
                  <a:lnTo>
                    <a:pt x="66" y="32"/>
                  </a:lnTo>
                  <a:close/>
                  <a:moveTo>
                    <a:pt x="60" y="13"/>
                  </a:moveTo>
                  <a:lnTo>
                    <a:pt x="57" y="15"/>
                  </a:lnTo>
                  <a:lnTo>
                    <a:pt x="57" y="17"/>
                  </a:lnTo>
                  <a:lnTo>
                    <a:pt x="57" y="18"/>
                  </a:lnTo>
                  <a:lnTo>
                    <a:pt x="59" y="22"/>
                  </a:lnTo>
                  <a:lnTo>
                    <a:pt x="62" y="24"/>
                  </a:lnTo>
                  <a:lnTo>
                    <a:pt x="64" y="22"/>
                  </a:lnTo>
                  <a:lnTo>
                    <a:pt x="60" y="20"/>
                  </a:lnTo>
                  <a:lnTo>
                    <a:pt x="62" y="17"/>
                  </a:lnTo>
                  <a:lnTo>
                    <a:pt x="62" y="13"/>
                  </a:lnTo>
                  <a:lnTo>
                    <a:pt x="60" y="13"/>
                  </a:lnTo>
                  <a:lnTo>
                    <a:pt x="60" y="13"/>
                  </a:lnTo>
                  <a:lnTo>
                    <a:pt x="60" y="13"/>
                  </a:lnTo>
                  <a:lnTo>
                    <a:pt x="60" y="13"/>
                  </a:lnTo>
                  <a:close/>
                  <a:moveTo>
                    <a:pt x="47" y="7"/>
                  </a:moveTo>
                  <a:lnTo>
                    <a:pt x="47" y="11"/>
                  </a:lnTo>
                  <a:lnTo>
                    <a:pt x="45" y="13"/>
                  </a:lnTo>
                  <a:lnTo>
                    <a:pt x="49" y="13"/>
                  </a:lnTo>
                  <a:lnTo>
                    <a:pt x="51" y="11"/>
                  </a:lnTo>
                  <a:lnTo>
                    <a:pt x="49" y="7"/>
                  </a:lnTo>
                  <a:lnTo>
                    <a:pt x="47" y="7"/>
                  </a:lnTo>
                  <a:lnTo>
                    <a:pt x="47" y="7"/>
                  </a:lnTo>
                  <a:lnTo>
                    <a:pt x="47"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4" name="Freeform 197">
              <a:extLst>
                <a:ext uri="{FF2B5EF4-FFF2-40B4-BE49-F238E27FC236}">
                  <a16:creationId xmlns:a16="http://schemas.microsoft.com/office/drawing/2014/main" id="{C8FA8BCE-2469-459A-9FC1-0BD6B0D502E4}"/>
                </a:ext>
              </a:extLst>
            </p:cNvPr>
            <p:cNvSpPr>
              <a:spLocks noEditPoints="1"/>
            </p:cNvSpPr>
            <p:nvPr/>
          </p:nvSpPr>
          <p:spPr bwMode="auto">
            <a:xfrm>
              <a:off x="5047" y="2056"/>
              <a:ext cx="290" cy="565"/>
            </a:xfrm>
            <a:custGeom>
              <a:avLst/>
              <a:gdLst/>
              <a:ahLst/>
              <a:cxnLst>
                <a:cxn ang="0">
                  <a:pos x="121" y="267"/>
                </a:cxn>
                <a:cxn ang="0">
                  <a:pos x="4" y="565"/>
                </a:cxn>
                <a:cxn ang="0">
                  <a:pos x="6" y="561"/>
                </a:cxn>
                <a:cxn ang="0">
                  <a:pos x="64" y="507"/>
                </a:cxn>
                <a:cxn ang="0">
                  <a:pos x="64" y="516"/>
                </a:cxn>
                <a:cxn ang="0">
                  <a:pos x="87" y="471"/>
                </a:cxn>
                <a:cxn ang="0">
                  <a:pos x="89" y="467"/>
                </a:cxn>
                <a:cxn ang="0">
                  <a:pos x="185" y="100"/>
                </a:cxn>
                <a:cxn ang="0">
                  <a:pos x="192" y="96"/>
                </a:cxn>
                <a:cxn ang="0">
                  <a:pos x="192" y="68"/>
                </a:cxn>
                <a:cxn ang="0">
                  <a:pos x="207" y="54"/>
                </a:cxn>
                <a:cxn ang="0">
                  <a:pos x="196" y="7"/>
                </a:cxn>
                <a:cxn ang="0">
                  <a:pos x="232" y="24"/>
                </a:cxn>
                <a:cxn ang="0">
                  <a:pos x="273" y="26"/>
                </a:cxn>
                <a:cxn ang="0">
                  <a:pos x="284" y="51"/>
                </a:cxn>
                <a:cxn ang="0">
                  <a:pos x="273" y="64"/>
                </a:cxn>
                <a:cxn ang="0">
                  <a:pos x="251" y="94"/>
                </a:cxn>
                <a:cxn ang="0">
                  <a:pos x="205" y="83"/>
                </a:cxn>
                <a:cxn ang="0">
                  <a:pos x="220" y="109"/>
                </a:cxn>
                <a:cxn ang="0">
                  <a:pos x="200" y="216"/>
                </a:cxn>
                <a:cxn ang="0">
                  <a:pos x="200" y="222"/>
                </a:cxn>
                <a:cxn ang="0">
                  <a:pos x="64" y="348"/>
                </a:cxn>
                <a:cxn ang="0">
                  <a:pos x="59" y="352"/>
                </a:cxn>
                <a:cxn ang="0">
                  <a:pos x="55" y="358"/>
                </a:cxn>
                <a:cxn ang="0">
                  <a:pos x="85" y="363"/>
                </a:cxn>
                <a:cxn ang="0">
                  <a:pos x="79" y="371"/>
                </a:cxn>
                <a:cxn ang="0">
                  <a:pos x="79" y="363"/>
                </a:cxn>
                <a:cxn ang="0">
                  <a:pos x="158" y="316"/>
                </a:cxn>
                <a:cxn ang="0">
                  <a:pos x="143" y="316"/>
                </a:cxn>
                <a:cxn ang="0">
                  <a:pos x="143" y="333"/>
                </a:cxn>
                <a:cxn ang="0">
                  <a:pos x="141" y="316"/>
                </a:cxn>
                <a:cxn ang="0">
                  <a:pos x="117" y="337"/>
                </a:cxn>
                <a:cxn ang="0">
                  <a:pos x="102" y="414"/>
                </a:cxn>
                <a:cxn ang="0">
                  <a:pos x="106" y="403"/>
                </a:cxn>
                <a:cxn ang="0">
                  <a:pos x="104" y="390"/>
                </a:cxn>
                <a:cxn ang="0">
                  <a:pos x="113" y="352"/>
                </a:cxn>
                <a:cxn ang="0">
                  <a:pos x="98" y="337"/>
                </a:cxn>
                <a:cxn ang="0">
                  <a:pos x="113" y="316"/>
                </a:cxn>
                <a:cxn ang="0">
                  <a:pos x="147" y="307"/>
                </a:cxn>
                <a:cxn ang="0">
                  <a:pos x="162" y="324"/>
                </a:cxn>
                <a:cxn ang="0">
                  <a:pos x="190" y="316"/>
                </a:cxn>
                <a:cxn ang="0">
                  <a:pos x="192" y="303"/>
                </a:cxn>
                <a:cxn ang="0">
                  <a:pos x="205" y="303"/>
                </a:cxn>
                <a:cxn ang="0">
                  <a:pos x="232" y="297"/>
                </a:cxn>
                <a:cxn ang="0">
                  <a:pos x="241" y="282"/>
                </a:cxn>
                <a:cxn ang="0">
                  <a:pos x="251" y="264"/>
                </a:cxn>
                <a:cxn ang="0">
                  <a:pos x="254" y="201"/>
                </a:cxn>
                <a:cxn ang="0">
                  <a:pos x="254" y="169"/>
                </a:cxn>
                <a:cxn ang="0">
                  <a:pos x="230" y="115"/>
                </a:cxn>
                <a:cxn ang="0">
                  <a:pos x="226" y="126"/>
                </a:cxn>
                <a:cxn ang="0">
                  <a:pos x="209" y="124"/>
                </a:cxn>
                <a:cxn ang="0">
                  <a:pos x="205" y="158"/>
                </a:cxn>
                <a:cxn ang="0">
                  <a:pos x="207" y="222"/>
                </a:cxn>
                <a:cxn ang="0">
                  <a:pos x="181" y="233"/>
                </a:cxn>
                <a:cxn ang="0">
                  <a:pos x="168" y="262"/>
                </a:cxn>
                <a:cxn ang="0">
                  <a:pos x="160" y="282"/>
                </a:cxn>
                <a:cxn ang="0">
                  <a:pos x="123" y="286"/>
                </a:cxn>
                <a:cxn ang="0">
                  <a:pos x="89" y="318"/>
                </a:cxn>
                <a:cxn ang="0">
                  <a:pos x="68" y="346"/>
                </a:cxn>
                <a:cxn ang="0">
                  <a:pos x="72" y="361"/>
                </a:cxn>
                <a:cxn ang="0">
                  <a:pos x="79" y="352"/>
                </a:cxn>
                <a:cxn ang="0">
                  <a:pos x="87" y="386"/>
                </a:cxn>
                <a:cxn ang="0">
                  <a:pos x="98" y="384"/>
                </a:cxn>
              </a:cxnLst>
              <a:rect l="0" t="0" r="r" b="b"/>
              <a:pathLst>
                <a:path w="290" h="565">
                  <a:moveTo>
                    <a:pt x="117" y="271"/>
                  </a:moveTo>
                  <a:lnTo>
                    <a:pt x="117" y="273"/>
                  </a:lnTo>
                  <a:lnTo>
                    <a:pt x="117" y="273"/>
                  </a:lnTo>
                  <a:lnTo>
                    <a:pt x="113" y="273"/>
                  </a:lnTo>
                  <a:lnTo>
                    <a:pt x="117" y="271"/>
                  </a:lnTo>
                  <a:lnTo>
                    <a:pt x="117" y="271"/>
                  </a:lnTo>
                  <a:lnTo>
                    <a:pt x="117" y="271"/>
                  </a:lnTo>
                  <a:lnTo>
                    <a:pt x="117" y="271"/>
                  </a:lnTo>
                  <a:close/>
                  <a:moveTo>
                    <a:pt x="117" y="271"/>
                  </a:moveTo>
                  <a:lnTo>
                    <a:pt x="117" y="269"/>
                  </a:lnTo>
                  <a:lnTo>
                    <a:pt x="119" y="267"/>
                  </a:lnTo>
                  <a:lnTo>
                    <a:pt x="121" y="267"/>
                  </a:lnTo>
                  <a:lnTo>
                    <a:pt x="121" y="271"/>
                  </a:lnTo>
                  <a:lnTo>
                    <a:pt x="119" y="271"/>
                  </a:lnTo>
                  <a:lnTo>
                    <a:pt x="117" y="271"/>
                  </a:lnTo>
                  <a:lnTo>
                    <a:pt x="117" y="271"/>
                  </a:lnTo>
                  <a:lnTo>
                    <a:pt x="117" y="271"/>
                  </a:lnTo>
                  <a:lnTo>
                    <a:pt x="117" y="271"/>
                  </a:lnTo>
                  <a:close/>
                  <a:moveTo>
                    <a:pt x="4" y="565"/>
                  </a:moveTo>
                  <a:lnTo>
                    <a:pt x="2" y="561"/>
                  </a:lnTo>
                  <a:lnTo>
                    <a:pt x="0" y="561"/>
                  </a:lnTo>
                  <a:lnTo>
                    <a:pt x="0" y="565"/>
                  </a:lnTo>
                  <a:lnTo>
                    <a:pt x="2" y="565"/>
                  </a:lnTo>
                  <a:lnTo>
                    <a:pt x="4" y="565"/>
                  </a:lnTo>
                  <a:lnTo>
                    <a:pt x="4" y="565"/>
                  </a:lnTo>
                  <a:lnTo>
                    <a:pt x="4" y="565"/>
                  </a:lnTo>
                  <a:lnTo>
                    <a:pt x="4" y="565"/>
                  </a:lnTo>
                  <a:close/>
                  <a:moveTo>
                    <a:pt x="6" y="561"/>
                  </a:moveTo>
                  <a:lnTo>
                    <a:pt x="6" y="559"/>
                  </a:lnTo>
                  <a:lnTo>
                    <a:pt x="10" y="561"/>
                  </a:lnTo>
                  <a:lnTo>
                    <a:pt x="10" y="565"/>
                  </a:lnTo>
                  <a:lnTo>
                    <a:pt x="6" y="561"/>
                  </a:lnTo>
                  <a:lnTo>
                    <a:pt x="6" y="561"/>
                  </a:lnTo>
                  <a:lnTo>
                    <a:pt x="6" y="561"/>
                  </a:lnTo>
                  <a:lnTo>
                    <a:pt x="6" y="561"/>
                  </a:lnTo>
                  <a:lnTo>
                    <a:pt x="6" y="561"/>
                  </a:lnTo>
                  <a:close/>
                  <a:moveTo>
                    <a:pt x="23" y="548"/>
                  </a:moveTo>
                  <a:lnTo>
                    <a:pt x="23" y="552"/>
                  </a:lnTo>
                  <a:lnTo>
                    <a:pt x="23" y="554"/>
                  </a:lnTo>
                  <a:lnTo>
                    <a:pt x="27" y="554"/>
                  </a:lnTo>
                  <a:lnTo>
                    <a:pt x="27" y="550"/>
                  </a:lnTo>
                  <a:lnTo>
                    <a:pt x="23" y="548"/>
                  </a:lnTo>
                  <a:lnTo>
                    <a:pt x="23" y="548"/>
                  </a:lnTo>
                  <a:lnTo>
                    <a:pt x="23" y="548"/>
                  </a:lnTo>
                  <a:lnTo>
                    <a:pt x="23" y="548"/>
                  </a:lnTo>
                  <a:close/>
                  <a:moveTo>
                    <a:pt x="64" y="516"/>
                  </a:moveTo>
                  <a:lnTo>
                    <a:pt x="62" y="510"/>
                  </a:lnTo>
                  <a:lnTo>
                    <a:pt x="64" y="507"/>
                  </a:lnTo>
                  <a:lnTo>
                    <a:pt x="64" y="505"/>
                  </a:lnTo>
                  <a:lnTo>
                    <a:pt x="64" y="505"/>
                  </a:lnTo>
                  <a:lnTo>
                    <a:pt x="68" y="505"/>
                  </a:lnTo>
                  <a:lnTo>
                    <a:pt x="68" y="501"/>
                  </a:lnTo>
                  <a:lnTo>
                    <a:pt x="70" y="505"/>
                  </a:lnTo>
                  <a:lnTo>
                    <a:pt x="68" y="505"/>
                  </a:lnTo>
                  <a:lnTo>
                    <a:pt x="68" y="508"/>
                  </a:lnTo>
                  <a:lnTo>
                    <a:pt x="64" y="510"/>
                  </a:lnTo>
                  <a:lnTo>
                    <a:pt x="64" y="514"/>
                  </a:lnTo>
                  <a:lnTo>
                    <a:pt x="64" y="516"/>
                  </a:lnTo>
                  <a:lnTo>
                    <a:pt x="64" y="516"/>
                  </a:lnTo>
                  <a:lnTo>
                    <a:pt x="64" y="516"/>
                  </a:lnTo>
                  <a:lnTo>
                    <a:pt x="64" y="516"/>
                  </a:lnTo>
                  <a:close/>
                  <a:moveTo>
                    <a:pt x="79" y="476"/>
                  </a:moveTo>
                  <a:lnTo>
                    <a:pt x="83" y="480"/>
                  </a:lnTo>
                  <a:lnTo>
                    <a:pt x="83" y="482"/>
                  </a:lnTo>
                  <a:lnTo>
                    <a:pt x="81" y="484"/>
                  </a:lnTo>
                  <a:lnTo>
                    <a:pt x="79" y="480"/>
                  </a:lnTo>
                  <a:lnTo>
                    <a:pt x="79" y="480"/>
                  </a:lnTo>
                  <a:lnTo>
                    <a:pt x="79" y="476"/>
                  </a:lnTo>
                  <a:lnTo>
                    <a:pt x="79" y="476"/>
                  </a:lnTo>
                  <a:lnTo>
                    <a:pt x="79" y="476"/>
                  </a:lnTo>
                  <a:lnTo>
                    <a:pt x="79" y="476"/>
                  </a:lnTo>
                  <a:close/>
                  <a:moveTo>
                    <a:pt x="87" y="471"/>
                  </a:moveTo>
                  <a:lnTo>
                    <a:pt x="87" y="471"/>
                  </a:lnTo>
                  <a:lnTo>
                    <a:pt x="83" y="471"/>
                  </a:lnTo>
                  <a:lnTo>
                    <a:pt x="81" y="467"/>
                  </a:lnTo>
                  <a:lnTo>
                    <a:pt x="83" y="467"/>
                  </a:lnTo>
                  <a:lnTo>
                    <a:pt x="87" y="465"/>
                  </a:lnTo>
                  <a:lnTo>
                    <a:pt x="87" y="465"/>
                  </a:lnTo>
                  <a:lnTo>
                    <a:pt x="89" y="461"/>
                  </a:lnTo>
                  <a:lnTo>
                    <a:pt x="89" y="461"/>
                  </a:lnTo>
                  <a:lnTo>
                    <a:pt x="92" y="461"/>
                  </a:lnTo>
                  <a:lnTo>
                    <a:pt x="92" y="461"/>
                  </a:lnTo>
                  <a:lnTo>
                    <a:pt x="92" y="465"/>
                  </a:lnTo>
                  <a:lnTo>
                    <a:pt x="89" y="467"/>
                  </a:lnTo>
                  <a:lnTo>
                    <a:pt x="89" y="471"/>
                  </a:lnTo>
                  <a:lnTo>
                    <a:pt x="87" y="471"/>
                  </a:lnTo>
                  <a:lnTo>
                    <a:pt x="87" y="471"/>
                  </a:lnTo>
                  <a:lnTo>
                    <a:pt x="87" y="471"/>
                  </a:lnTo>
                  <a:lnTo>
                    <a:pt x="87" y="471"/>
                  </a:lnTo>
                  <a:close/>
                  <a:moveTo>
                    <a:pt x="183" y="102"/>
                  </a:moveTo>
                  <a:lnTo>
                    <a:pt x="181" y="100"/>
                  </a:lnTo>
                  <a:lnTo>
                    <a:pt x="181" y="96"/>
                  </a:lnTo>
                  <a:lnTo>
                    <a:pt x="183" y="92"/>
                  </a:lnTo>
                  <a:lnTo>
                    <a:pt x="185" y="92"/>
                  </a:lnTo>
                  <a:lnTo>
                    <a:pt x="185" y="96"/>
                  </a:lnTo>
                  <a:lnTo>
                    <a:pt x="185" y="100"/>
                  </a:lnTo>
                  <a:lnTo>
                    <a:pt x="183" y="102"/>
                  </a:lnTo>
                  <a:lnTo>
                    <a:pt x="183" y="102"/>
                  </a:lnTo>
                  <a:lnTo>
                    <a:pt x="183" y="102"/>
                  </a:lnTo>
                  <a:lnTo>
                    <a:pt x="183" y="102"/>
                  </a:lnTo>
                  <a:close/>
                  <a:moveTo>
                    <a:pt x="205" y="118"/>
                  </a:moveTo>
                  <a:lnTo>
                    <a:pt x="202" y="118"/>
                  </a:lnTo>
                  <a:lnTo>
                    <a:pt x="200" y="113"/>
                  </a:lnTo>
                  <a:lnTo>
                    <a:pt x="200" y="113"/>
                  </a:lnTo>
                  <a:lnTo>
                    <a:pt x="200" y="107"/>
                  </a:lnTo>
                  <a:lnTo>
                    <a:pt x="196" y="100"/>
                  </a:lnTo>
                  <a:lnTo>
                    <a:pt x="196" y="98"/>
                  </a:lnTo>
                  <a:lnTo>
                    <a:pt x="192" y="96"/>
                  </a:lnTo>
                  <a:lnTo>
                    <a:pt x="190" y="96"/>
                  </a:lnTo>
                  <a:lnTo>
                    <a:pt x="190" y="92"/>
                  </a:lnTo>
                  <a:lnTo>
                    <a:pt x="190" y="88"/>
                  </a:lnTo>
                  <a:lnTo>
                    <a:pt x="188" y="83"/>
                  </a:lnTo>
                  <a:lnTo>
                    <a:pt x="190" y="83"/>
                  </a:lnTo>
                  <a:lnTo>
                    <a:pt x="192" y="79"/>
                  </a:lnTo>
                  <a:lnTo>
                    <a:pt x="192" y="79"/>
                  </a:lnTo>
                  <a:lnTo>
                    <a:pt x="196" y="79"/>
                  </a:lnTo>
                  <a:lnTo>
                    <a:pt x="196" y="75"/>
                  </a:lnTo>
                  <a:lnTo>
                    <a:pt x="200" y="73"/>
                  </a:lnTo>
                  <a:lnTo>
                    <a:pt x="196" y="71"/>
                  </a:lnTo>
                  <a:lnTo>
                    <a:pt x="192" y="68"/>
                  </a:lnTo>
                  <a:lnTo>
                    <a:pt x="192" y="68"/>
                  </a:lnTo>
                  <a:lnTo>
                    <a:pt x="192" y="66"/>
                  </a:lnTo>
                  <a:lnTo>
                    <a:pt x="192" y="64"/>
                  </a:lnTo>
                  <a:lnTo>
                    <a:pt x="196" y="62"/>
                  </a:lnTo>
                  <a:lnTo>
                    <a:pt x="200" y="66"/>
                  </a:lnTo>
                  <a:lnTo>
                    <a:pt x="207" y="68"/>
                  </a:lnTo>
                  <a:lnTo>
                    <a:pt x="209" y="66"/>
                  </a:lnTo>
                  <a:lnTo>
                    <a:pt x="209" y="62"/>
                  </a:lnTo>
                  <a:lnTo>
                    <a:pt x="211" y="60"/>
                  </a:lnTo>
                  <a:lnTo>
                    <a:pt x="209" y="58"/>
                  </a:lnTo>
                  <a:lnTo>
                    <a:pt x="207" y="58"/>
                  </a:lnTo>
                  <a:lnTo>
                    <a:pt x="207" y="54"/>
                  </a:lnTo>
                  <a:lnTo>
                    <a:pt x="205" y="53"/>
                  </a:lnTo>
                  <a:lnTo>
                    <a:pt x="205" y="49"/>
                  </a:lnTo>
                  <a:lnTo>
                    <a:pt x="207" y="45"/>
                  </a:lnTo>
                  <a:lnTo>
                    <a:pt x="209" y="45"/>
                  </a:lnTo>
                  <a:lnTo>
                    <a:pt x="209" y="45"/>
                  </a:lnTo>
                  <a:lnTo>
                    <a:pt x="207" y="41"/>
                  </a:lnTo>
                  <a:lnTo>
                    <a:pt x="205" y="36"/>
                  </a:lnTo>
                  <a:lnTo>
                    <a:pt x="205" y="32"/>
                  </a:lnTo>
                  <a:lnTo>
                    <a:pt x="205" y="24"/>
                  </a:lnTo>
                  <a:lnTo>
                    <a:pt x="205" y="21"/>
                  </a:lnTo>
                  <a:lnTo>
                    <a:pt x="200" y="11"/>
                  </a:lnTo>
                  <a:lnTo>
                    <a:pt x="196" y="7"/>
                  </a:lnTo>
                  <a:lnTo>
                    <a:pt x="196" y="4"/>
                  </a:lnTo>
                  <a:lnTo>
                    <a:pt x="196" y="4"/>
                  </a:lnTo>
                  <a:lnTo>
                    <a:pt x="200" y="4"/>
                  </a:lnTo>
                  <a:lnTo>
                    <a:pt x="200" y="0"/>
                  </a:lnTo>
                  <a:lnTo>
                    <a:pt x="200" y="0"/>
                  </a:lnTo>
                  <a:lnTo>
                    <a:pt x="205" y="0"/>
                  </a:lnTo>
                  <a:lnTo>
                    <a:pt x="205" y="2"/>
                  </a:lnTo>
                  <a:lnTo>
                    <a:pt x="211" y="7"/>
                  </a:lnTo>
                  <a:lnTo>
                    <a:pt x="217" y="9"/>
                  </a:lnTo>
                  <a:lnTo>
                    <a:pt x="217" y="13"/>
                  </a:lnTo>
                  <a:lnTo>
                    <a:pt x="226" y="21"/>
                  </a:lnTo>
                  <a:lnTo>
                    <a:pt x="232" y="24"/>
                  </a:lnTo>
                  <a:lnTo>
                    <a:pt x="234" y="26"/>
                  </a:lnTo>
                  <a:lnTo>
                    <a:pt x="237" y="28"/>
                  </a:lnTo>
                  <a:lnTo>
                    <a:pt x="239" y="32"/>
                  </a:lnTo>
                  <a:lnTo>
                    <a:pt x="247" y="34"/>
                  </a:lnTo>
                  <a:lnTo>
                    <a:pt x="251" y="36"/>
                  </a:lnTo>
                  <a:lnTo>
                    <a:pt x="254" y="39"/>
                  </a:lnTo>
                  <a:lnTo>
                    <a:pt x="256" y="37"/>
                  </a:lnTo>
                  <a:lnTo>
                    <a:pt x="256" y="39"/>
                  </a:lnTo>
                  <a:lnTo>
                    <a:pt x="262" y="37"/>
                  </a:lnTo>
                  <a:lnTo>
                    <a:pt x="268" y="34"/>
                  </a:lnTo>
                  <a:lnTo>
                    <a:pt x="271" y="30"/>
                  </a:lnTo>
                  <a:lnTo>
                    <a:pt x="273" y="26"/>
                  </a:lnTo>
                  <a:lnTo>
                    <a:pt x="273" y="24"/>
                  </a:lnTo>
                  <a:lnTo>
                    <a:pt x="275" y="26"/>
                  </a:lnTo>
                  <a:lnTo>
                    <a:pt x="275" y="30"/>
                  </a:lnTo>
                  <a:lnTo>
                    <a:pt x="273" y="36"/>
                  </a:lnTo>
                  <a:lnTo>
                    <a:pt x="273" y="41"/>
                  </a:lnTo>
                  <a:lnTo>
                    <a:pt x="273" y="43"/>
                  </a:lnTo>
                  <a:lnTo>
                    <a:pt x="279" y="45"/>
                  </a:lnTo>
                  <a:lnTo>
                    <a:pt x="281" y="49"/>
                  </a:lnTo>
                  <a:lnTo>
                    <a:pt x="281" y="51"/>
                  </a:lnTo>
                  <a:lnTo>
                    <a:pt x="279" y="53"/>
                  </a:lnTo>
                  <a:lnTo>
                    <a:pt x="283" y="53"/>
                  </a:lnTo>
                  <a:lnTo>
                    <a:pt x="284" y="51"/>
                  </a:lnTo>
                  <a:lnTo>
                    <a:pt x="288" y="49"/>
                  </a:lnTo>
                  <a:lnTo>
                    <a:pt x="290" y="49"/>
                  </a:lnTo>
                  <a:lnTo>
                    <a:pt x="288" y="51"/>
                  </a:lnTo>
                  <a:lnTo>
                    <a:pt x="286" y="51"/>
                  </a:lnTo>
                  <a:lnTo>
                    <a:pt x="286" y="54"/>
                  </a:lnTo>
                  <a:lnTo>
                    <a:pt x="284" y="58"/>
                  </a:lnTo>
                  <a:lnTo>
                    <a:pt x="281" y="58"/>
                  </a:lnTo>
                  <a:lnTo>
                    <a:pt x="281" y="62"/>
                  </a:lnTo>
                  <a:lnTo>
                    <a:pt x="279" y="64"/>
                  </a:lnTo>
                  <a:lnTo>
                    <a:pt x="275" y="64"/>
                  </a:lnTo>
                  <a:lnTo>
                    <a:pt x="275" y="62"/>
                  </a:lnTo>
                  <a:lnTo>
                    <a:pt x="273" y="64"/>
                  </a:lnTo>
                  <a:lnTo>
                    <a:pt x="273" y="66"/>
                  </a:lnTo>
                  <a:lnTo>
                    <a:pt x="269" y="66"/>
                  </a:lnTo>
                  <a:lnTo>
                    <a:pt x="266" y="66"/>
                  </a:lnTo>
                  <a:lnTo>
                    <a:pt x="262" y="66"/>
                  </a:lnTo>
                  <a:lnTo>
                    <a:pt x="256" y="73"/>
                  </a:lnTo>
                  <a:lnTo>
                    <a:pt x="254" y="83"/>
                  </a:lnTo>
                  <a:lnTo>
                    <a:pt x="254" y="88"/>
                  </a:lnTo>
                  <a:lnTo>
                    <a:pt x="254" y="90"/>
                  </a:lnTo>
                  <a:lnTo>
                    <a:pt x="254" y="94"/>
                  </a:lnTo>
                  <a:lnTo>
                    <a:pt x="254" y="98"/>
                  </a:lnTo>
                  <a:lnTo>
                    <a:pt x="251" y="96"/>
                  </a:lnTo>
                  <a:lnTo>
                    <a:pt x="251" y="94"/>
                  </a:lnTo>
                  <a:lnTo>
                    <a:pt x="245" y="92"/>
                  </a:lnTo>
                  <a:lnTo>
                    <a:pt x="239" y="88"/>
                  </a:lnTo>
                  <a:lnTo>
                    <a:pt x="234" y="85"/>
                  </a:lnTo>
                  <a:lnTo>
                    <a:pt x="230" y="83"/>
                  </a:lnTo>
                  <a:lnTo>
                    <a:pt x="226" y="83"/>
                  </a:lnTo>
                  <a:lnTo>
                    <a:pt x="226" y="79"/>
                  </a:lnTo>
                  <a:lnTo>
                    <a:pt x="224" y="79"/>
                  </a:lnTo>
                  <a:lnTo>
                    <a:pt x="220" y="79"/>
                  </a:lnTo>
                  <a:lnTo>
                    <a:pt x="215" y="83"/>
                  </a:lnTo>
                  <a:lnTo>
                    <a:pt x="211" y="88"/>
                  </a:lnTo>
                  <a:lnTo>
                    <a:pt x="209" y="88"/>
                  </a:lnTo>
                  <a:lnTo>
                    <a:pt x="205" y="83"/>
                  </a:lnTo>
                  <a:lnTo>
                    <a:pt x="202" y="83"/>
                  </a:lnTo>
                  <a:lnTo>
                    <a:pt x="200" y="88"/>
                  </a:lnTo>
                  <a:lnTo>
                    <a:pt x="200" y="90"/>
                  </a:lnTo>
                  <a:lnTo>
                    <a:pt x="200" y="92"/>
                  </a:lnTo>
                  <a:lnTo>
                    <a:pt x="205" y="96"/>
                  </a:lnTo>
                  <a:lnTo>
                    <a:pt x="209" y="94"/>
                  </a:lnTo>
                  <a:lnTo>
                    <a:pt x="213" y="100"/>
                  </a:lnTo>
                  <a:lnTo>
                    <a:pt x="217" y="102"/>
                  </a:lnTo>
                  <a:lnTo>
                    <a:pt x="220" y="102"/>
                  </a:lnTo>
                  <a:lnTo>
                    <a:pt x="224" y="103"/>
                  </a:lnTo>
                  <a:lnTo>
                    <a:pt x="220" y="107"/>
                  </a:lnTo>
                  <a:lnTo>
                    <a:pt x="220" y="109"/>
                  </a:lnTo>
                  <a:lnTo>
                    <a:pt x="217" y="107"/>
                  </a:lnTo>
                  <a:lnTo>
                    <a:pt x="211" y="107"/>
                  </a:lnTo>
                  <a:lnTo>
                    <a:pt x="209" y="109"/>
                  </a:lnTo>
                  <a:lnTo>
                    <a:pt x="211" y="109"/>
                  </a:lnTo>
                  <a:lnTo>
                    <a:pt x="209" y="113"/>
                  </a:lnTo>
                  <a:lnTo>
                    <a:pt x="205" y="118"/>
                  </a:lnTo>
                  <a:lnTo>
                    <a:pt x="205" y="118"/>
                  </a:lnTo>
                  <a:lnTo>
                    <a:pt x="205" y="118"/>
                  </a:lnTo>
                  <a:lnTo>
                    <a:pt x="205" y="118"/>
                  </a:lnTo>
                  <a:close/>
                  <a:moveTo>
                    <a:pt x="200" y="222"/>
                  </a:moveTo>
                  <a:lnTo>
                    <a:pt x="200" y="218"/>
                  </a:lnTo>
                  <a:lnTo>
                    <a:pt x="200" y="216"/>
                  </a:lnTo>
                  <a:lnTo>
                    <a:pt x="200" y="215"/>
                  </a:lnTo>
                  <a:lnTo>
                    <a:pt x="196" y="216"/>
                  </a:lnTo>
                  <a:lnTo>
                    <a:pt x="196" y="215"/>
                  </a:lnTo>
                  <a:lnTo>
                    <a:pt x="200" y="209"/>
                  </a:lnTo>
                  <a:lnTo>
                    <a:pt x="200" y="209"/>
                  </a:lnTo>
                  <a:lnTo>
                    <a:pt x="200" y="209"/>
                  </a:lnTo>
                  <a:lnTo>
                    <a:pt x="200" y="213"/>
                  </a:lnTo>
                  <a:lnTo>
                    <a:pt x="202" y="213"/>
                  </a:lnTo>
                  <a:lnTo>
                    <a:pt x="202" y="215"/>
                  </a:lnTo>
                  <a:lnTo>
                    <a:pt x="202" y="218"/>
                  </a:lnTo>
                  <a:lnTo>
                    <a:pt x="200" y="222"/>
                  </a:lnTo>
                  <a:lnTo>
                    <a:pt x="200" y="222"/>
                  </a:lnTo>
                  <a:lnTo>
                    <a:pt x="200" y="222"/>
                  </a:lnTo>
                  <a:lnTo>
                    <a:pt x="200" y="222"/>
                  </a:lnTo>
                  <a:lnTo>
                    <a:pt x="200" y="222"/>
                  </a:lnTo>
                  <a:close/>
                  <a:moveTo>
                    <a:pt x="64" y="348"/>
                  </a:moveTo>
                  <a:lnTo>
                    <a:pt x="64" y="350"/>
                  </a:lnTo>
                  <a:lnTo>
                    <a:pt x="68" y="348"/>
                  </a:lnTo>
                  <a:lnTo>
                    <a:pt x="64" y="346"/>
                  </a:lnTo>
                  <a:lnTo>
                    <a:pt x="64" y="346"/>
                  </a:lnTo>
                  <a:lnTo>
                    <a:pt x="64" y="348"/>
                  </a:lnTo>
                  <a:lnTo>
                    <a:pt x="64" y="348"/>
                  </a:lnTo>
                  <a:lnTo>
                    <a:pt x="64" y="348"/>
                  </a:lnTo>
                  <a:lnTo>
                    <a:pt x="64" y="348"/>
                  </a:lnTo>
                  <a:close/>
                  <a:moveTo>
                    <a:pt x="62" y="350"/>
                  </a:moveTo>
                  <a:lnTo>
                    <a:pt x="64" y="352"/>
                  </a:lnTo>
                  <a:lnTo>
                    <a:pt x="64" y="350"/>
                  </a:lnTo>
                  <a:lnTo>
                    <a:pt x="62" y="350"/>
                  </a:lnTo>
                  <a:lnTo>
                    <a:pt x="62" y="350"/>
                  </a:lnTo>
                  <a:lnTo>
                    <a:pt x="62" y="350"/>
                  </a:lnTo>
                  <a:lnTo>
                    <a:pt x="62" y="350"/>
                  </a:lnTo>
                  <a:close/>
                  <a:moveTo>
                    <a:pt x="59" y="352"/>
                  </a:moveTo>
                  <a:lnTo>
                    <a:pt x="62" y="354"/>
                  </a:lnTo>
                  <a:lnTo>
                    <a:pt x="62" y="352"/>
                  </a:lnTo>
                  <a:lnTo>
                    <a:pt x="59" y="352"/>
                  </a:lnTo>
                  <a:lnTo>
                    <a:pt x="59" y="352"/>
                  </a:lnTo>
                  <a:lnTo>
                    <a:pt x="59" y="352"/>
                  </a:lnTo>
                  <a:lnTo>
                    <a:pt x="59" y="352"/>
                  </a:lnTo>
                  <a:close/>
                  <a:moveTo>
                    <a:pt x="59" y="354"/>
                  </a:moveTo>
                  <a:lnTo>
                    <a:pt x="59" y="356"/>
                  </a:lnTo>
                  <a:lnTo>
                    <a:pt x="59" y="356"/>
                  </a:lnTo>
                  <a:lnTo>
                    <a:pt x="59" y="354"/>
                  </a:lnTo>
                  <a:lnTo>
                    <a:pt x="59" y="354"/>
                  </a:lnTo>
                  <a:lnTo>
                    <a:pt x="59" y="354"/>
                  </a:lnTo>
                  <a:lnTo>
                    <a:pt x="59" y="354"/>
                  </a:lnTo>
                  <a:close/>
                  <a:moveTo>
                    <a:pt x="55" y="365"/>
                  </a:moveTo>
                  <a:lnTo>
                    <a:pt x="53" y="360"/>
                  </a:lnTo>
                  <a:lnTo>
                    <a:pt x="55" y="358"/>
                  </a:lnTo>
                  <a:lnTo>
                    <a:pt x="55" y="356"/>
                  </a:lnTo>
                  <a:lnTo>
                    <a:pt x="55" y="360"/>
                  </a:lnTo>
                  <a:lnTo>
                    <a:pt x="59" y="360"/>
                  </a:lnTo>
                  <a:lnTo>
                    <a:pt x="59" y="363"/>
                  </a:lnTo>
                  <a:lnTo>
                    <a:pt x="59" y="365"/>
                  </a:lnTo>
                  <a:lnTo>
                    <a:pt x="55" y="365"/>
                  </a:lnTo>
                  <a:lnTo>
                    <a:pt x="55" y="365"/>
                  </a:lnTo>
                  <a:lnTo>
                    <a:pt x="55" y="365"/>
                  </a:lnTo>
                  <a:lnTo>
                    <a:pt x="55" y="365"/>
                  </a:lnTo>
                  <a:close/>
                  <a:moveTo>
                    <a:pt x="83" y="367"/>
                  </a:moveTo>
                  <a:lnTo>
                    <a:pt x="83" y="365"/>
                  </a:lnTo>
                  <a:lnTo>
                    <a:pt x="85" y="363"/>
                  </a:lnTo>
                  <a:lnTo>
                    <a:pt x="85" y="363"/>
                  </a:lnTo>
                  <a:lnTo>
                    <a:pt x="85" y="367"/>
                  </a:lnTo>
                  <a:lnTo>
                    <a:pt x="83" y="367"/>
                  </a:lnTo>
                  <a:lnTo>
                    <a:pt x="83" y="367"/>
                  </a:lnTo>
                  <a:lnTo>
                    <a:pt x="83" y="367"/>
                  </a:lnTo>
                  <a:lnTo>
                    <a:pt x="83" y="367"/>
                  </a:lnTo>
                  <a:close/>
                  <a:moveTo>
                    <a:pt x="79" y="371"/>
                  </a:moveTo>
                  <a:lnTo>
                    <a:pt x="81" y="371"/>
                  </a:lnTo>
                  <a:lnTo>
                    <a:pt x="83" y="371"/>
                  </a:lnTo>
                  <a:lnTo>
                    <a:pt x="81" y="373"/>
                  </a:lnTo>
                  <a:lnTo>
                    <a:pt x="79" y="371"/>
                  </a:lnTo>
                  <a:lnTo>
                    <a:pt x="79" y="371"/>
                  </a:lnTo>
                  <a:lnTo>
                    <a:pt x="79" y="371"/>
                  </a:lnTo>
                  <a:lnTo>
                    <a:pt x="79" y="371"/>
                  </a:lnTo>
                  <a:close/>
                  <a:moveTo>
                    <a:pt x="79" y="363"/>
                  </a:moveTo>
                  <a:lnTo>
                    <a:pt x="77" y="365"/>
                  </a:lnTo>
                  <a:lnTo>
                    <a:pt x="77" y="367"/>
                  </a:lnTo>
                  <a:lnTo>
                    <a:pt x="79" y="371"/>
                  </a:lnTo>
                  <a:lnTo>
                    <a:pt x="81" y="371"/>
                  </a:lnTo>
                  <a:lnTo>
                    <a:pt x="81" y="367"/>
                  </a:lnTo>
                  <a:lnTo>
                    <a:pt x="79" y="363"/>
                  </a:lnTo>
                  <a:lnTo>
                    <a:pt x="79" y="363"/>
                  </a:lnTo>
                  <a:lnTo>
                    <a:pt x="79" y="363"/>
                  </a:lnTo>
                  <a:lnTo>
                    <a:pt x="79" y="363"/>
                  </a:lnTo>
                  <a:lnTo>
                    <a:pt x="79" y="363"/>
                  </a:lnTo>
                  <a:lnTo>
                    <a:pt x="79" y="363"/>
                  </a:lnTo>
                  <a:close/>
                  <a:moveTo>
                    <a:pt x="158" y="316"/>
                  </a:moveTo>
                  <a:lnTo>
                    <a:pt x="156" y="312"/>
                  </a:lnTo>
                  <a:lnTo>
                    <a:pt x="156" y="311"/>
                  </a:lnTo>
                  <a:lnTo>
                    <a:pt x="156" y="309"/>
                  </a:lnTo>
                  <a:lnTo>
                    <a:pt x="158" y="307"/>
                  </a:lnTo>
                  <a:lnTo>
                    <a:pt x="160" y="311"/>
                  </a:lnTo>
                  <a:lnTo>
                    <a:pt x="160" y="312"/>
                  </a:lnTo>
                  <a:lnTo>
                    <a:pt x="160" y="316"/>
                  </a:lnTo>
                  <a:lnTo>
                    <a:pt x="160" y="316"/>
                  </a:lnTo>
                  <a:lnTo>
                    <a:pt x="158" y="316"/>
                  </a:lnTo>
                  <a:lnTo>
                    <a:pt x="158" y="316"/>
                  </a:lnTo>
                  <a:lnTo>
                    <a:pt x="158" y="316"/>
                  </a:lnTo>
                  <a:lnTo>
                    <a:pt x="158" y="316"/>
                  </a:lnTo>
                  <a:close/>
                  <a:moveTo>
                    <a:pt x="143" y="316"/>
                  </a:moveTo>
                  <a:lnTo>
                    <a:pt x="147" y="311"/>
                  </a:lnTo>
                  <a:lnTo>
                    <a:pt x="151" y="311"/>
                  </a:lnTo>
                  <a:lnTo>
                    <a:pt x="151" y="312"/>
                  </a:lnTo>
                  <a:lnTo>
                    <a:pt x="147" y="316"/>
                  </a:lnTo>
                  <a:lnTo>
                    <a:pt x="143" y="316"/>
                  </a:lnTo>
                  <a:lnTo>
                    <a:pt x="143" y="316"/>
                  </a:lnTo>
                  <a:lnTo>
                    <a:pt x="143" y="316"/>
                  </a:lnTo>
                  <a:lnTo>
                    <a:pt x="143" y="316"/>
                  </a:lnTo>
                  <a:close/>
                  <a:moveTo>
                    <a:pt x="128" y="354"/>
                  </a:moveTo>
                  <a:lnTo>
                    <a:pt x="128" y="354"/>
                  </a:lnTo>
                  <a:lnTo>
                    <a:pt x="130" y="352"/>
                  </a:lnTo>
                  <a:lnTo>
                    <a:pt x="132" y="354"/>
                  </a:lnTo>
                  <a:lnTo>
                    <a:pt x="134" y="352"/>
                  </a:lnTo>
                  <a:lnTo>
                    <a:pt x="134" y="350"/>
                  </a:lnTo>
                  <a:lnTo>
                    <a:pt x="130" y="346"/>
                  </a:lnTo>
                  <a:lnTo>
                    <a:pt x="132" y="343"/>
                  </a:lnTo>
                  <a:lnTo>
                    <a:pt x="134" y="337"/>
                  </a:lnTo>
                  <a:lnTo>
                    <a:pt x="138" y="337"/>
                  </a:lnTo>
                  <a:lnTo>
                    <a:pt x="138" y="333"/>
                  </a:lnTo>
                  <a:lnTo>
                    <a:pt x="143" y="333"/>
                  </a:lnTo>
                  <a:lnTo>
                    <a:pt x="151" y="337"/>
                  </a:lnTo>
                  <a:lnTo>
                    <a:pt x="151" y="341"/>
                  </a:lnTo>
                  <a:lnTo>
                    <a:pt x="153" y="341"/>
                  </a:lnTo>
                  <a:lnTo>
                    <a:pt x="155" y="333"/>
                  </a:lnTo>
                  <a:lnTo>
                    <a:pt x="158" y="329"/>
                  </a:lnTo>
                  <a:lnTo>
                    <a:pt x="158" y="326"/>
                  </a:lnTo>
                  <a:lnTo>
                    <a:pt x="158" y="326"/>
                  </a:lnTo>
                  <a:lnTo>
                    <a:pt x="156" y="322"/>
                  </a:lnTo>
                  <a:lnTo>
                    <a:pt x="153" y="318"/>
                  </a:lnTo>
                  <a:lnTo>
                    <a:pt x="151" y="318"/>
                  </a:lnTo>
                  <a:lnTo>
                    <a:pt x="147" y="316"/>
                  </a:lnTo>
                  <a:lnTo>
                    <a:pt x="141" y="316"/>
                  </a:lnTo>
                  <a:lnTo>
                    <a:pt x="138" y="320"/>
                  </a:lnTo>
                  <a:lnTo>
                    <a:pt x="138" y="322"/>
                  </a:lnTo>
                  <a:lnTo>
                    <a:pt x="136" y="326"/>
                  </a:lnTo>
                  <a:lnTo>
                    <a:pt x="134" y="328"/>
                  </a:lnTo>
                  <a:lnTo>
                    <a:pt x="130" y="329"/>
                  </a:lnTo>
                  <a:lnTo>
                    <a:pt x="128" y="328"/>
                  </a:lnTo>
                  <a:lnTo>
                    <a:pt x="126" y="324"/>
                  </a:lnTo>
                  <a:lnTo>
                    <a:pt x="124" y="324"/>
                  </a:lnTo>
                  <a:lnTo>
                    <a:pt x="119" y="329"/>
                  </a:lnTo>
                  <a:lnTo>
                    <a:pt x="119" y="333"/>
                  </a:lnTo>
                  <a:lnTo>
                    <a:pt x="117" y="333"/>
                  </a:lnTo>
                  <a:lnTo>
                    <a:pt x="117" y="337"/>
                  </a:lnTo>
                  <a:lnTo>
                    <a:pt x="121" y="341"/>
                  </a:lnTo>
                  <a:lnTo>
                    <a:pt x="121" y="343"/>
                  </a:lnTo>
                  <a:lnTo>
                    <a:pt x="121" y="343"/>
                  </a:lnTo>
                  <a:lnTo>
                    <a:pt x="121" y="346"/>
                  </a:lnTo>
                  <a:lnTo>
                    <a:pt x="123" y="350"/>
                  </a:lnTo>
                  <a:lnTo>
                    <a:pt x="128" y="350"/>
                  </a:lnTo>
                  <a:lnTo>
                    <a:pt x="128" y="354"/>
                  </a:lnTo>
                  <a:lnTo>
                    <a:pt x="128" y="354"/>
                  </a:lnTo>
                  <a:lnTo>
                    <a:pt x="128" y="354"/>
                  </a:lnTo>
                  <a:lnTo>
                    <a:pt x="128" y="354"/>
                  </a:lnTo>
                  <a:close/>
                  <a:moveTo>
                    <a:pt x="104" y="416"/>
                  </a:moveTo>
                  <a:lnTo>
                    <a:pt x="102" y="414"/>
                  </a:lnTo>
                  <a:lnTo>
                    <a:pt x="98" y="414"/>
                  </a:lnTo>
                  <a:lnTo>
                    <a:pt x="98" y="416"/>
                  </a:lnTo>
                  <a:lnTo>
                    <a:pt x="100" y="420"/>
                  </a:lnTo>
                  <a:lnTo>
                    <a:pt x="104" y="420"/>
                  </a:lnTo>
                  <a:lnTo>
                    <a:pt x="104" y="420"/>
                  </a:lnTo>
                  <a:lnTo>
                    <a:pt x="104" y="416"/>
                  </a:lnTo>
                  <a:lnTo>
                    <a:pt x="104" y="416"/>
                  </a:lnTo>
                  <a:lnTo>
                    <a:pt x="104" y="416"/>
                  </a:lnTo>
                  <a:lnTo>
                    <a:pt x="104" y="416"/>
                  </a:lnTo>
                  <a:close/>
                  <a:moveTo>
                    <a:pt x="108" y="412"/>
                  </a:moveTo>
                  <a:lnTo>
                    <a:pt x="106" y="407"/>
                  </a:lnTo>
                  <a:lnTo>
                    <a:pt x="106" y="403"/>
                  </a:lnTo>
                  <a:lnTo>
                    <a:pt x="109" y="407"/>
                  </a:lnTo>
                  <a:lnTo>
                    <a:pt x="109" y="410"/>
                  </a:lnTo>
                  <a:lnTo>
                    <a:pt x="108" y="410"/>
                  </a:lnTo>
                  <a:lnTo>
                    <a:pt x="108" y="412"/>
                  </a:lnTo>
                  <a:lnTo>
                    <a:pt x="108" y="412"/>
                  </a:lnTo>
                  <a:lnTo>
                    <a:pt x="108" y="412"/>
                  </a:lnTo>
                  <a:lnTo>
                    <a:pt x="108" y="412"/>
                  </a:lnTo>
                  <a:close/>
                  <a:moveTo>
                    <a:pt x="100" y="401"/>
                  </a:moveTo>
                  <a:lnTo>
                    <a:pt x="104" y="401"/>
                  </a:lnTo>
                  <a:lnTo>
                    <a:pt x="108" y="395"/>
                  </a:lnTo>
                  <a:lnTo>
                    <a:pt x="104" y="392"/>
                  </a:lnTo>
                  <a:lnTo>
                    <a:pt x="104" y="390"/>
                  </a:lnTo>
                  <a:lnTo>
                    <a:pt x="106" y="388"/>
                  </a:lnTo>
                  <a:lnTo>
                    <a:pt x="109" y="390"/>
                  </a:lnTo>
                  <a:lnTo>
                    <a:pt x="109" y="392"/>
                  </a:lnTo>
                  <a:lnTo>
                    <a:pt x="111" y="386"/>
                  </a:lnTo>
                  <a:lnTo>
                    <a:pt x="111" y="380"/>
                  </a:lnTo>
                  <a:lnTo>
                    <a:pt x="109" y="377"/>
                  </a:lnTo>
                  <a:lnTo>
                    <a:pt x="109" y="367"/>
                  </a:lnTo>
                  <a:lnTo>
                    <a:pt x="109" y="361"/>
                  </a:lnTo>
                  <a:lnTo>
                    <a:pt x="111" y="358"/>
                  </a:lnTo>
                  <a:lnTo>
                    <a:pt x="113" y="354"/>
                  </a:lnTo>
                  <a:lnTo>
                    <a:pt x="113" y="352"/>
                  </a:lnTo>
                  <a:lnTo>
                    <a:pt x="113" y="352"/>
                  </a:lnTo>
                  <a:lnTo>
                    <a:pt x="113" y="348"/>
                  </a:lnTo>
                  <a:lnTo>
                    <a:pt x="111" y="346"/>
                  </a:lnTo>
                  <a:lnTo>
                    <a:pt x="111" y="346"/>
                  </a:lnTo>
                  <a:lnTo>
                    <a:pt x="106" y="346"/>
                  </a:lnTo>
                  <a:lnTo>
                    <a:pt x="104" y="343"/>
                  </a:lnTo>
                  <a:lnTo>
                    <a:pt x="108" y="341"/>
                  </a:lnTo>
                  <a:lnTo>
                    <a:pt x="108" y="341"/>
                  </a:lnTo>
                  <a:lnTo>
                    <a:pt x="108" y="333"/>
                  </a:lnTo>
                  <a:lnTo>
                    <a:pt x="104" y="333"/>
                  </a:lnTo>
                  <a:lnTo>
                    <a:pt x="102" y="333"/>
                  </a:lnTo>
                  <a:lnTo>
                    <a:pt x="102" y="333"/>
                  </a:lnTo>
                  <a:lnTo>
                    <a:pt x="98" y="337"/>
                  </a:lnTo>
                  <a:lnTo>
                    <a:pt x="96" y="337"/>
                  </a:lnTo>
                  <a:lnTo>
                    <a:pt x="92" y="333"/>
                  </a:lnTo>
                  <a:lnTo>
                    <a:pt x="92" y="329"/>
                  </a:lnTo>
                  <a:lnTo>
                    <a:pt x="98" y="328"/>
                  </a:lnTo>
                  <a:lnTo>
                    <a:pt x="104" y="326"/>
                  </a:lnTo>
                  <a:lnTo>
                    <a:pt x="109" y="328"/>
                  </a:lnTo>
                  <a:lnTo>
                    <a:pt x="113" y="329"/>
                  </a:lnTo>
                  <a:lnTo>
                    <a:pt x="113" y="328"/>
                  </a:lnTo>
                  <a:lnTo>
                    <a:pt x="113" y="326"/>
                  </a:lnTo>
                  <a:lnTo>
                    <a:pt x="113" y="320"/>
                  </a:lnTo>
                  <a:lnTo>
                    <a:pt x="113" y="318"/>
                  </a:lnTo>
                  <a:lnTo>
                    <a:pt x="113" y="316"/>
                  </a:lnTo>
                  <a:lnTo>
                    <a:pt x="117" y="316"/>
                  </a:lnTo>
                  <a:lnTo>
                    <a:pt x="117" y="318"/>
                  </a:lnTo>
                  <a:lnTo>
                    <a:pt x="119" y="318"/>
                  </a:lnTo>
                  <a:lnTo>
                    <a:pt x="123" y="316"/>
                  </a:lnTo>
                  <a:lnTo>
                    <a:pt x="128" y="316"/>
                  </a:lnTo>
                  <a:lnTo>
                    <a:pt x="134" y="312"/>
                  </a:lnTo>
                  <a:lnTo>
                    <a:pt x="138" y="312"/>
                  </a:lnTo>
                  <a:lnTo>
                    <a:pt x="138" y="316"/>
                  </a:lnTo>
                  <a:lnTo>
                    <a:pt x="141" y="312"/>
                  </a:lnTo>
                  <a:lnTo>
                    <a:pt x="141" y="311"/>
                  </a:lnTo>
                  <a:lnTo>
                    <a:pt x="147" y="309"/>
                  </a:lnTo>
                  <a:lnTo>
                    <a:pt x="147" y="307"/>
                  </a:lnTo>
                  <a:lnTo>
                    <a:pt x="151" y="303"/>
                  </a:lnTo>
                  <a:lnTo>
                    <a:pt x="155" y="303"/>
                  </a:lnTo>
                  <a:lnTo>
                    <a:pt x="160" y="303"/>
                  </a:lnTo>
                  <a:lnTo>
                    <a:pt x="162" y="303"/>
                  </a:lnTo>
                  <a:lnTo>
                    <a:pt x="166" y="303"/>
                  </a:lnTo>
                  <a:lnTo>
                    <a:pt x="166" y="307"/>
                  </a:lnTo>
                  <a:lnTo>
                    <a:pt x="162" y="311"/>
                  </a:lnTo>
                  <a:lnTo>
                    <a:pt x="162" y="316"/>
                  </a:lnTo>
                  <a:lnTo>
                    <a:pt x="162" y="316"/>
                  </a:lnTo>
                  <a:lnTo>
                    <a:pt x="162" y="318"/>
                  </a:lnTo>
                  <a:lnTo>
                    <a:pt x="162" y="322"/>
                  </a:lnTo>
                  <a:lnTo>
                    <a:pt x="162" y="324"/>
                  </a:lnTo>
                  <a:lnTo>
                    <a:pt x="166" y="328"/>
                  </a:lnTo>
                  <a:lnTo>
                    <a:pt x="168" y="329"/>
                  </a:lnTo>
                  <a:lnTo>
                    <a:pt x="175" y="333"/>
                  </a:lnTo>
                  <a:lnTo>
                    <a:pt x="175" y="333"/>
                  </a:lnTo>
                  <a:lnTo>
                    <a:pt x="179" y="333"/>
                  </a:lnTo>
                  <a:lnTo>
                    <a:pt x="183" y="329"/>
                  </a:lnTo>
                  <a:lnTo>
                    <a:pt x="183" y="326"/>
                  </a:lnTo>
                  <a:lnTo>
                    <a:pt x="185" y="324"/>
                  </a:lnTo>
                  <a:lnTo>
                    <a:pt x="185" y="322"/>
                  </a:lnTo>
                  <a:lnTo>
                    <a:pt x="185" y="318"/>
                  </a:lnTo>
                  <a:lnTo>
                    <a:pt x="187" y="316"/>
                  </a:lnTo>
                  <a:lnTo>
                    <a:pt x="190" y="316"/>
                  </a:lnTo>
                  <a:lnTo>
                    <a:pt x="192" y="316"/>
                  </a:lnTo>
                  <a:lnTo>
                    <a:pt x="192" y="312"/>
                  </a:lnTo>
                  <a:lnTo>
                    <a:pt x="192" y="311"/>
                  </a:lnTo>
                  <a:lnTo>
                    <a:pt x="192" y="307"/>
                  </a:lnTo>
                  <a:lnTo>
                    <a:pt x="187" y="303"/>
                  </a:lnTo>
                  <a:lnTo>
                    <a:pt x="185" y="303"/>
                  </a:lnTo>
                  <a:lnTo>
                    <a:pt x="187" y="297"/>
                  </a:lnTo>
                  <a:lnTo>
                    <a:pt x="188" y="296"/>
                  </a:lnTo>
                  <a:lnTo>
                    <a:pt x="190" y="296"/>
                  </a:lnTo>
                  <a:lnTo>
                    <a:pt x="190" y="297"/>
                  </a:lnTo>
                  <a:lnTo>
                    <a:pt x="190" y="301"/>
                  </a:lnTo>
                  <a:lnTo>
                    <a:pt x="192" y="303"/>
                  </a:lnTo>
                  <a:lnTo>
                    <a:pt x="192" y="301"/>
                  </a:lnTo>
                  <a:lnTo>
                    <a:pt x="192" y="299"/>
                  </a:lnTo>
                  <a:lnTo>
                    <a:pt x="196" y="301"/>
                  </a:lnTo>
                  <a:lnTo>
                    <a:pt x="196" y="301"/>
                  </a:lnTo>
                  <a:lnTo>
                    <a:pt x="200" y="301"/>
                  </a:lnTo>
                  <a:lnTo>
                    <a:pt x="200" y="301"/>
                  </a:lnTo>
                  <a:lnTo>
                    <a:pt x="200" y="303"/>
                  </a:lnTo>
                  <a:lnTo>
                    <a:pt x="196" y="303"/>
                  </a:lnTo>
                  <a:lnTo>
                    <a:pt x="196" y="303"/>
                  </a:lnTo>
                  <a:lnTo>
                    <a:pt x="196" y="307"/>
                  </a:lnTo>
                  <a:lnTo>
                    <a:pt x="200" y="303"/>
                  </a:lnTo>
                  <a:lnTo>
                    <a:pt x="205" y="303"/>
                  </a:lnTo>
                  <a:lnTo>
                    <a:pt x="215" y="303"/>
                  </a:lnTo>
                  <a:lnTo>
                    <a:pt x="220" y="303"/>
                  </a:lnTo>
                  <a:lnTo>
                    <a:pt x="217" y="301"/>
                  </a:lnTo>
                  <a:lnTo>
                    <a:pt x="217" y="297"/>
                  </a:lnTo>
                  <a:lnTo>
                    <a:pt x="217" y="294"/>
                  </a:lnTo>
                  <a:lnTo>
                    <a:pt x="220" y="292"/>
                  </a:lnTo>
                  <a:lnTo>
                    <a:pt x="226" y="292"/>
                  </a:lnTo>
                  <a:lnTo>
                    <a:pt x="226" y="296"/>
                  </a:lnTo>
                  <a:lnTo>
                    <a:pt x="226" y="299"/>
                  </a:lnTo>
                  <a:lnTo>
                    <a:pt x="226" y="301"/>
                  </a:lnTo>
                  <a:lnTo>
                    <a:pt x="230" y="301"/>
                  </a:lnTo>
                  <a:lnTo>
                    <a:pt x="232" y="297"/>
                  </a:lnTo>
                  <a:lnTo>
                    <a:pt x="230" y="290"/>
                  </a:lnTo>
                  <a:lnTo>
                    <a:pt x="230" y="286"/>
                  </a:lnTo>
                  <a:lnTo>
                    <a:pt x="236" y="282"/>
                  </a:lnTo>
                  <a:lnTo>
                    <a:pt x="237" y="282"/>
                  </a:lnTo>
                  <a:lnTo>
                    <a:pt x="237" y="280"/>
                  </a:lnTo>
                  <a:lnTo>
                    <a:pt x="236" y="279"/>
                  </a:lnTo>
                  <a:lnTo>
                    <a:pt x="237" y="273"/>
                  </a:lnTo>
                  <a:lnTo>
                    <a:pt x="239" y="273"/>
                  </a:lnTo>
                  <a:lnTo>
                    <a:pt x="243" y="273"/>
                  </a:lnTo>
                  <a:lnTo>
                    <a:pt x="245" y="277"/>
                  </a:lnTo>
                  <a:lnTo>
                    <a:pt x="243" y="279"/>
                  </a:lnTo>
                  <a:lnTo>
                    <a:pt x="241" y="282"/>
                  </a:lnTo>
                  <a:lnTo>
                    <a:pt x="243" y="294"/>
                  </a:lnTo>
                  <a:lnTo>
                    <a:pt x="245" y="296"/>
                  </a:lnTo>
                  <a:lnTo>
                    <a:pt x="247" y="294"/>
                  </a:lnTo>
                  <a:lnTo>
                    <a:pt x="249" y="290"/>
                  </a:lnTo>
                  <a:lnTo>
                    <a:pt x="251" y="290"/>
                  </a:lnTo>
                  <a:lnTo>
                    <a:pt x="254" y="286"/>
                  </a:lnTo>
                  <a:lnTo>
                    <a:pt x="254" y="280"/>
                  </a:lnTo>
                  <a:lnTo>
                    <a:pt x="254" y="277"/>
                  </a:lnTo>
                  <a:lnTo>
                    <a:pt x="258" y="273"/>
                  </a:lnTo>
                  <a:lnTo>
                    <a:pt x="258" y="273"/>
                  </a:lnTo>
                  <a:lnTo>
                    <a:pt x="256" y="271"/>
                  </a:lnTo>
                  <a:lnTo>
                    <a:pt x="251" y="264"/>
                  </a:lnTo>
                  <a:lnTo>
                    <a:pt x="251" y="260"/>
                  </a:lnTo>
                  <a:lnTo>
                    <a:pt x="251" y="250"/>
                  </a:lnTo>
                  <a:lnTo>
                    <a:pt x="251" y="239"/>
                  </a:lnTo>
                  <a:lnTo>
                    <a:pt x="251" y="233"/>
                  </a:lnTo>
                  <a:lnTo>
                    <a:pt x="249" y="222"/>
                  </a:lnTo>
                  <a:lnTo>
                    <a:pt x="243" y="213"/>
                  </a:lnTo>
                  <a:lnTo>
                    <a:pt x="243" y="209"/>
                  </a:lnTo>
                  <a:lnTo>
                    <a:pt x="245" y="203"/>
                  </a:lnTo>
                  <a:lnTo>
                    <a:pt x="251" y="201"/>
                  </a:lnTo>
                  <a:lnTo>
                    <a:pt x="254" y="201"/>
                  </a:lnTo>
                  <a:lnTo>
                    <a:pt x="254" y="203"/>
                  </a:lnTo>
                  <a:lnTo>
                    <a:pt x="254" y="201"/>
                  </a:lnTo>
                  <a:lnTo>
                    <a:pt x="254" y="198"/>
                  </a:lnTo>
                  <a:lnTo>
                    <a:pt x="254" y="194"/>
                  </a:lnTo>
                  <a:lnTo>
                    <a:pt x="254" y="194"/>
                  </a:lnTo>
                  <a:lnTo>
                    <a:pt x="251" y="188"/>
                  </a:lnTo>
                  <a:lnTo>
                    <a:pt x="251" y="186"/>
                  </a:lnTo>
                  <a:lnTo>
                    <a:pt x="251" y="184"/>
                  </a:lnTo>
                  <a:lnTo>
                    <a:pt x="254" y="183"/>
                  </a:lnTo>
                  <a:lnTo>
                    <a:pt x="254" y="183"/>
                  </a:lnTo>
                  <a:lnTo>
                    <a:pt x="254" y="179"/>
                  </a:lnTo>
                  <a:lnTo>
                    <a:pt x="251" y="177"/>
                  </a:lnTo>
                  <a:lnTo>
                    <a:pt x="251" y="173"/>
                  </a:lnTo>
                  <a:lnTo>
                    <a:pt x="254" y="169"/>
                  </a:lnTo>
                  <a:lnTo>
                    <a:pt x="251" y="167"/>
                  </a:lnTo>
                  <a:lnTo>
                    <a:pt x="251" y="160"/>
                  </a:lnTo>
                  <a:lnTo>
                    <a:pt x="247" y="154"/>
                  </a:lnTo>
                  <a:lnTo>
                    <a:pt x="245" y="154"/>
                  </a:lnTo>
                  <a:lnTo>
                    <a:pt x="243" y="152"/>
                  </a:lnTo>
                  <a:lnTo>
                    <a:pt x="243" y="145"/>
                  </a:lnTo>
                  <a:lnTo>
                    <a:pt x="239" y="143"/>
                  </a:lnTo>
                  <a:lnTo>
                    <a:pt x="232" y="134"/>
                  </a:lnTo>
                  <a:lnTo>
                    <a:pt x="230" y="130"/>
                  </a:lnTo>
                  <a:lnTo>
                    <a:pt x="230" y="124"/>
                  </a:lnTo>
                  <a:lnTo>
                    <a:pt x="230" y="118"/>
                  </a:lnTo>
                  <a:lnTo>
                    <a:pt x="230" y="115"/>
                  </a:lnTo>
                  <a:lnTo>
                    <a:pt x="226" y="118"/>
                  </a:lnTo>
                  <a:lnTo>
                    <a:pt x="226" y="118"/>
                  </a:lnTo>
                  <a:lnTo>
                    <a:pt x="224" y="118"/>
                  </a:lnTo>
                  <a:lnTo>
                    <a:pt x="220" y="115"/>
                  </a:lnTo>
                  <a:lnTo>
                    <a:pt x="217" y="115"/>
                  </a:lnTo>
                  <a:lnTo>
                    <a:pt x="217" y="115"/>
                  </a:lnTo>
                  <a:lnTo>
                    <a:pt x="217" y="120"/>
                  </a:lnTo>
                  <a:lnTo>
                    <a:pt x="217" y="124"/>
                  </a:lnTo>
                  <a:lnTo>
                    <a:pt x="217" y="124"/>
                  </a:lnTo>
                  <a:lnTo>
                    <a:pt x="220" y="124"/>
                  </a:lnTo>
                  <a:lnTo>
                    <a:pt x="226" y="120"/>
                  </a:lnTo>
                  <a:lnTo>
                    <a:pt x="226" y="126"/>
                  </a:lnTo>
                  <a:lnTo>
                    <a:pt x="226" y="128"/>
                  </a:lnTo>
                  <a:lnTo>
                    <a:pt x="224" y="130"/>
                  </a:lnTo>
                  <a:lnTo>
                    <a:pt x="220" y="128"/>
                  </a:lnTo>
                  <a:lnTo>
                    <a:pt x="220" y="128"/>
                  </a:lnTo>
                  <a:lnTo>
                    <a:pt x="220" y="134"/>
                  </a:lnTo>
                  <a:lnTo>
                    <a:pt x="217" y="135"/>
                  </a:lnTo>
                  <a:lnTo>
                    <a:pt x="217" y="134"/>
                  </a:lnTo>
                  <a:lnTo>
                    <a:pt x="217" y="130"/>
                  </a:lnTo>
                  <a:lnTo>
                    <a:pt x="215" y="126"/>
                  </a:lnTo>
                  <a:lnTo>
                    <a:pt x="215" y="124"/>
                  </a:lnTo>
                  <a:lnTo>
                    <a:pt x="211" y="126"/>
                  </a:lnTo>
                  <a:lnTo>
                    <a:pt x="209" y="124"/>
                  </a:lnTo>
                  <a:lnTo>
                    <a:pt x="209" y="128"/>
                  </a:lnTo>
                  <a:lnTo>
                    <a:pt x="211" y="134"/>
                  </a:lnTo>
                  <a:lnTo>
                    <a:pt x="211" y="137"/>
                  </a:lnTo>
                  <a:lnTo>
                    <a:pt x="207" y="137"/>
                  </a:lnTo>
                  <a:lnTo>
                    <a:pt x="205" y="139"/>
                  </a:lnTo>
                  <a:lnTo>
                    <a:pt x="205" y="143"/>
                  </a:lnTo>
                  <a:lnTo>
                    <a:pt x="211" y="149"/>
                  </a:lnTo>
                  <a:lnTo>
                    <a:pt x="213" y="149"/>
                  </a:lnTo>
                  <a:lnTo>
                    <a:pt x="211" y="154"/>
                  </a:lnTo>
                  <a:lnTo>
                    <a:pt x="207" y="156"/>
                  </a:lnTo>
                  <a:lnTo>
                    <a:pt x="205" y="156"/>
                  </a:lnTo>
                  <a:lnTo>
                    <a:pt x="205" y="158"/>
                  </a:lnTo>
                  <a:lnTo>
                    <a:pt x="207" y="162"/>
                  </a:lnTo>
                  <a:lnTo>
                    <a:pt x="211" y="162"/>
                  </a:lnTo>
                  <a:lnTo>
                    <a:pt x="213" y="158"/>
                  </a:lnTo>
                  <a:lnTo>
                    <a:pt x="217" y="167"/>
                  </a:lnTo>
                  <a:lnTo>
                    <a:pt x="217" y="177"/>
                  </a:lnTo>
                  <a:lnTo>
                    <a:pt x="217" y="179"/>
                  </a:lnTo>
                  <a:lnTo>
                    <a:pt x="217" y="188"/>
                  </a:lnTo>
                  <a:lnTo>
                    <a:pt x="215" y="203"/>
                  </a:lnTo>
                  <a:lnTo>
                    <a:pt x="215" y="209"/>
                  </a:lnTo>
                  <a:lnTo>
                    <a:pt x="213" y="213"/>
                  </a:lnTo>
                  <a:lnTo>
                    <a:pt x="209" y="215"/>
                  </a:lnTo>
                  <a:lnTo>
                    <a:pt x="207" y="222"/>
                  </a:lnTo>
                  <a:lnTo>
                    <a:pt x="207" y="228"/>
                  </a:lnTo>
                  <a:lnTo>
                    <a:pt x="205" y="231"/>
                  </a:lnTo>
                  <a:lnTo>
                    <a:pt x="205" y="233"/>
                  </a:lnTo>
                  <a:lnTo>
                    <a:pt x="200" y="239"/>
                  </a:lnTo>
                  <a:lnTo>
                    <a:pt x="192" y="243"/>
                  </a:lnTo>
                  <a:lnTo>
                    <a:pt x="188" y="247"/>
                  </a:lnTo>
                  <a:lnTo>
                    <a:pt x="187" y="248"/>
                  </a:lnTo>
                  <a:lnTo>
                    <a:pt x="181" y="247"/>
                  </a:lnTo>
                  <a:lnTo>
                    <a:pt x="177" y="239"/>
                  </a:lnTo>
                  <a:lnTo>
                    <a:pt x="177" y="239"/>
                  </a:lnTo>
                  <a:lnTo>
                    <a:pt x="179" y="237"/>
                  </a:lnTo>
                  <a:lnTo>
                    <a:pt x="181" y="233"/>
                  </a:lnTo>
                  <a:lnTo>
                    <a:pt x="181" y="231"/>
                  </a:lnTo>
                  <a:lnTo>
                    <a:pt x="183" y="230"/>
                  </a:lnTo>
                  <a:lnTo>
                    <a:pt x="183" y="230"/>
                  </a:lnTo>
                  <a:lnTo>
                    <a:pt x="179" y="230"/>
                  </a:lnTo>
                  <a:lnTo>
                    <a:pt x="175" y="233"/>
                  </a:lnTo>
                  <a:lnTo>
                    <a:pt x="172" y="233"/>
                  </a:lnTo>
                  <a:lnTo>
                    <a:pt x="172" y="239"/>
                  </a:lnTo>
                  <a:lnTo>
                    <a:pt x="175" y="243"/>
                  </a:lnTo>
                  <a:lnTo>
                    <a:pt x="175" y="250"/>
                  </a:lnTo>
                  <a:lnTo>
                    <a:pt x="175" y="256"/>
                  </a:lnTo>
                  <a:lnTo>
                    <a:pt x="168" y="260"/>
                  </a:lnTo>
                  <a:lnTo>
                    <a:pt x="168" y="262"/>
                  </a:lnTo>
                  <a:lnTo>
                    <a:pt x="168" y="264"/>
                  </a:lnTo>
                  <a:lnTo>
                    <a:pt x="168" y="271"/>
                  </a:lnTo>
                  <a:lnTo>
                    <a:pt x="168" y="273"/>
                  </a:lnTo>
                  <a:lnTo>
                    <a:pt x="168" y="277"/>
                  </a:lnTo>
                  <a:lnTo>
                    <a:pt x="168" y="277"/>
                  </a:lnTo>
                  <a:lnTo>
                    <a:pt x="168" y="277"/>
                  </a:lnTo>
                  <a:lnTo>
                    <a:pt x="168" y="279"/>
                  </a:lnTo>
                  <a:lnTo>
                    <a:pt x="166" y="279"/>
                  </a:lnTo>
                  <a:lnTo>
                    <a:pt x="168" y="280"/>
                  </a:lnTo>
                  <a:lnTo>
                    <a:pt x="162" y="282"/>
                  </a:lnTo>
                  <a:lnTo>
                    <a:pt x="162" y="280"/>
                  </a:lnTo>
                  <a:lnTo>
                    <a:pt x="160" y="282"/>
                  </a:lnTo>
                  <a:lnTo>
                    <a:pt x="158" y="282"/>
                  </a:lnTo>
                  <a:lnTo>
                    <a:pt x="156" y="279"/>
                  </a:lnTo>
                  <a:lnTo>
                    <a:pt x="156" y="277"/>
                  </a:lnTo>
                  <a:lnTo>
                    <a:pt x="155" y="279"/>
                  </a:lnTo>
                  <a:lnTo>
                    <a:pt x="151" y="279"/>
                  </a:lnTo>
                  <a:lnTo>
                    <a:pt x="151" y="279"/>
                  </a:lnTo>
                  <a:lnTo>
                    <a:pt x="141" y="280"/>
                  </a:lnTo>
                  <a:lnTo>
                    <a:pt x="138" y="282"/>
                  </a:lnTo>
                  <a:lnTo>
                    <a:pt x="134" y="284"/>
                  </a:lnTo>
                  <a:lnTo>
                    <a:pt x="130" y="284"/>
                  </a:lnTo>
                  <a:lnTo>
                    <a:pt x="124" y="286"/>
                  </a:lnTo>
                  <a:lnTo>
                    <a:pt x="123" y="286"/>
                  </a:lnTo>
                  <a:lnTo>
                    <a:pt x="119" y="286"/>
                  </a:lnTo>
                  <a:lnTo>
                    <a:pt x="113" y="292"/>
                  </a:lnTo>
                  <a:lnTo>
                    <a:pt x="111" y="296"/>
                  </a:lnTo>
                  <a:lnTo>
                    <a:pt x="109" y="297"/>
                  </a:lnTo>
                  <a:lnTo>
                    <a:pt x="109" y="301"/>
                  </a:lnTo>
                  <a:lnTo>
                    <a:pt x="104" y="307"/>
                  </a:lnTo>
                  <a:lnTo>
                    <a:pt x="100" y="307"/>
                  </a:lnTo>
                  <a:lnTo>
                    <a:pt x="96" y="311"/>
                  </a:lnTo>
                  <a:lnTo>
                    <a:pt x="96" y="312"/>
                  </a:lnTo>
                  <a:lnTo>
                    <a:pt x="92" y="316"/>
                  </a:lnTo>
                  <a:lnTo>
                    <a:pt x="89" y="316"/>
                  </a:lnTo>
                  <a:lnTo>
                    <a:pt x="89" y="318"/>
                  </a:lnTo>
                  <a:lnTo>
                    <a:pt x="89" y="326"/>
                  </a:lnTo>
                  <a:lnTo>
                    <a:pt x="89" y="326"/>
                  </a:lnTo>
                  <a:lnTo>
                    <a:pt x="92" y="329"/>
                  </a:lnTo>
                  <a:lnTo>
                    <a:pt x="89" y="331"/>
                  </a:lnTo>
                  <a:lnTo>
                    <a:pt x="87" y="331"/>
                  </a:lnTo>
                  <a:lnTo>
                    <a:pt x="83" y="333"/>
                  </a:lnTo>
                  <a:lnTo>
                    <a:pt x="83" y="337"/>
                  </a:lnTo>
                  <a:lnTo>
                    <a:pt x="79" y="337"/>
                  </a:lnTo>
                  <a:lnTo>
                    <a:pt x="76" y="341"/>
                  </a:lnTo>
                  <a:lnTo>
                    <a:pt x="74" y="346"/>
                  </a:lnTo>
                  <a:lnTo>
                    <a:pt x="72" y="346"/>
                  </a:lnTo>
                  <a:lnTo>
                    <a:pt x="68" y="346"/>
                  </a:lnTo>
                  <a:lnTo>
                    <a:pt x="70" y="346"/>
                  </a:lnTo>
                  <a:lnTo>
                    <a:pt x="72" y="346"/>
                  </a:lnTo>
                  <a:lnTo>
                    <a:pt x="72" y="350"/>
                  </a:lnTo>
                  <a:lnTo>
                    <a:pt x="74" y="354"/>
                  </a:lnTo>
                  <a:lnTo>
                    <a:pt x="74" y="356"/>
                  </a:lnTo>
                  <a:lnTo>
                    <a:pt x="72" y="352"/>
                  </a:lnTo>
                  <a:lnTo>
                    <a:pt x="70" y="350"/>
                  </a:lnTo>
                  <a:lnTo>
                    <a:pt x="70" y="352"/>
                  </a:lnTo>
                  <a:lnTo>
                    <a:pt x="72" y="356"/>
                  </a:lnTo>
                  <a:lnTo>
                    <a:pt x="74" y="358"/>
                  </a:lnTo>
                  <a:lnTo>
                    <a:pt x="74" y="360"/>
                  </a:lnTo>
                  <a:lnTo>
                    <a:pt x="72" y="361"/>
                  </a:lnTo>
                  <a:lnTo>
                    <a:pt x="74" y="361"/>
                  </a:lnTo>
                  <a:lnTo>
                    <a:pt x="76" y="360"/>
                  </a:lnTo>
                  <a:lnTo>
                    <a:pt x="79" y="358"/>
                  </a:lnTo>
                  <a:lnTo>
                    <a:pt x="81" y="358"/>
                  </a:lnTo>
                  <a:lnTo>
                    <a:pt x="79" y="360"/>
                  </a:lnTo>
                  <a:lnTo>
                    <a:pt x="81" y="361"/>
                  </a:lnTo>
                  <a:lnTo>
                    <a:pt x="83" y="360"/>
                  </a:lnTo>
                  <a:lnTo>
                    <a:pt x="83" y="356"/>
                  </a:lnTo>
                  <a:lnTo>
                    <a:pt x="81" y="354"/>
                  </a:lnTo>
                  <a:lnTo>
                    <a:pt x="77" y="356"/>
                  </a:lnTo>
                  <a:lnTo>
                    <a:pt x="77" y="354"/>
                  </a:lnTo>
                  <a:lnTo>
                    <a:pt x="79" y="352"/>
                  </a:lnTo>
                  <a:lnTo>
                    <a:pt x="77" y="348"/>
                  </a:lnTo>
                  <a:lnTo>
                    <a:pt x="79" y="346"/>
                  </a:lnTo>
                  <a:lnTo>
                    <a:pt x="83" y="348"/>
                  </a:lnTo>
                  <a:lnTo>
                    <a:pt x="87" y="354"/>
                  </a:lnTo>
                  <a:lnTo>
                    <a:pt x="87" y="358"/>
                  </a:lnTo>
                  <a:lnTo>
                    <a:pt x="89" y="360"/>
                  </a:lnTo>
                  <a:lnTo>
                    <a:pt x="89" y="367"/>
                  </a:lnTo>
                  <a:lnTo>
                    <a:pt x="85" y="371"/>
                  </a:lnTo>
                  <a:lnTo>
                    <a:pt x="83" y="373"/>
                  </a:lnTo>
                  <a:lnTo>
                    <a:pt x="83" y="377"/>
                  </a:lnTo>
                  <a:lnTo>
                    <a:pt x="87" y="378"/>
                  </a:lnTo>
                  <a:lnTo>
                    <a:pt x="87" y="386"/>
                  </a:lnTo>
                  <a:lnTo>
                    <a:pt x="89" y="390"/>
                  </a:lnTo>
                  <a:lnTo>
                    <a:pt x="89" y="393"/>
                  </a:lnTo>
                  <a:lnTo>
                    <a:pt x="89" y="395"/>
                  </a:lnTo>
                  <a:lnTo>
                    <a:pt x="92" y="397"/>
                  </a:lnTo>
                  <a:lnTo>
                    <a:pt x="92" y="397"/>
                  </a:lnTo>
                  <a:lnTo>
                    <a:pt x="96" y="397"/>
                  </a:lnTo>
                  <a:lnTo>
                    <a:pt x="96" y="397"/>
                  </a:lnTo>
                  <a:lnTo>
                    <a:pt x="96" y="395"/>
                  </a:lnTo>
                  <a:lnTo>
                    <a:pt x="94" y="392"/>
                  </a:lnTo>
                  <a:lnTo>
                    <a:pt x="94" y="386"/>
                  </a:lnTo>
                  <a:lnTo>
                    <a:pt x="96" y="384"/>
                  </a:lnTo>
                  <a:lnTo>
                    <a:pt x="98" y="384"/>
                  </a:lnTo>
                  <a:lnTo>
                    <a:pt x="96" y="386"/>
                  </a:lnTo>
                  <a:lnTo>
                    <a:pt x="96" y="388"/>
                  </a:lnTo>
                  <a:lnTo>
                    <a:pt x="100" y="392"/>
                  </a:lnTo>
                  <a:lnTo>
                    <a:pt x="100" y="397"/>
                  </a:lnTo>
                  <a:lnTo>
                    <a:pt x="100" y="397"/>
                  </a:lnTo>
                  <a:lnTo>
                    <a:pt x="100" y="401"/>
                  </a:lnTo>
                  <a:lnTo>
                    <a:pt x="100" y="401"/>
                  </a:lnTo>
                  <a:lnTo>
                    <a:pt x="100" y="401"/>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5" name="Freeform 198">
              <a:extLst>
                <a:ext uri="{FF2B5EF4-FFF2-40B4-BE49-F238E27FC236}">
                  <a16:creationId xmlns:a16="http://schemas.microsoft.com/office/drawing/2014/main" id="{E056336D-18DD-4A71-9C75-5E8F903DB0C3}"/>
                </a:ext>
              </a:extLst>
            </p:cNvPr>
            <p:cNvSpPr>
              <a:spLocks noEditPoints="1"/>
            </p:cNvSpPr>
            <p:nvPr/>
          </p:nvSpPr>
          <p:spPr bwMode="auto">
            <a:xfrm>
              <a:off x="4947" y="2717"/>
              <a:ext cx="185" cy="281"/>
            </a:xfrm>
            <a:custGeom>
              <a:avLst/>
              <a:gdLst/>
              <a:ahLst/>
              <a:cxnLst>
                <a:cxn ang="0">
                  <a:pos x="63" y="6"/>
                </a:cxn>
                <a:cxn ang="0">
                  <a:pos x="81" y="11"/>
                </a:cxn>
                <a:cxn ang="0">
                  <a:pos x="108" y="107"/>
                </a:cxn>
                <a:cxn ang="0">
                  <a:pos x="119" y="121"/>
                </a:cxn>
                <a:cxn ang="0">
                  <a:pos x="127" y="137"/>
                </a:cxn>
                <a:cxn ang="0">
                  <a:pos x="98" y="115"/>
                </a:cxn>
                <a:cxn ang="0">
                  <a:pos x="72" y="119"/>
                </a:cxn>
                <a:cxn ang="0">
                  <a:pos x="61" y="98"/>
                </a:cxn>
                <a:cxn ang="0">
                  <a:pos x="46" y="75"/>
                </a:cxn>
                <a:cxn ang="0">
                  <a:pos x="51" y="32"/>
                </a:cxn>
                <a:cxn ang="0">
                  <a:pos x="87" y="24"/>
                </a:cxn>
                <a:cxn ang="0">
                  <a:pos x="85" y="70"/>
                </a:cxn>
                <a:cxn ang="0">
                  <a:pos x="81" y="105"/>
                </a:cxn>
                <a:cxn ang="0">
                  <a:pos x="89" y="98"/>
                </a:cxn>
                <a:cxn ang="0">
                  <a:pos x="51" y="115"/>
                </a:cxn>
                <a:cxn ang="0">
                  <a:pos x="74" y="151"/>
                </a:cxn>
                <a:cxn ang="0">
                  <a:pos x="57" y="124"/>
                </a:cxn>
                <a:cxn ang="0">
                  <a:pos x="130" y="111"/>
                </a:cxn>
                <a:cxn ang="0">
                  <a:pos x="87" y="128"/>
                </a:cxn>
                <a:cxn ang="0">
                  <a:pos x="95" y="139"/>
                </a:cxn>
                <a:cxn ang="0">
                  <a:pos x="110" y="134"/>
                </a:cxn>
                <a:cxn ang="0">
                  <a:pos x="121" y="141"/>
                </a:cxn>
                <a:cxn ang="0">
                  <a:pos x="119" y="143"/>
                </a:cxn>
                <a:cxn ang="0">
                  <a:pos x="95" y="185"/>
                </a:cxn>
                <a:cxn ang="0">
                  <a:pos x="98" y="160"/>
                </a:cxn>
                <a:cxn ang="0">
                  <a:pos x="104" y="179"/>
                </a:cxn>
                <a:cxn ang="0">
                  <a:pos x="106" y="179"/>
                </a:cxn>
                <a:cxn ang="0">
                  <a:pos x="125" y="192"/>
                </a:cxn>
                <a:cxn ang="0">
                  <a:pos x="121" y="203"/>
                </a:cxn>
                <a:cxn ang="0">
                  <a:pos x="113" y="181"/>
                </a:cxn>
                <a:cxn ang="0">
                  <a:pos x="121" y="205"/>
                </a:cxn>
                <a:cxn ang="0">
                  <a:pos x="127" y="207"/>
                </a:cxn>
                <a:cxn ang="0">
                  <a:pos x="138" y="190"/>
                </a:cxn>
                <a:cxn ang="0">
                  <a:pos x="145" y="211"/>
                </a:cxn>
                <a:cxn ang="0">
                  <a:pos x="142" y="160"/>
                </a:cxn>
                <a:cxn ang="0">
                  <a:pos x="159" y="158"/>
                </a:cxn>
                <a:cxn ang="0">
                  <a:pos x="134" y="141"/>
                </a:cxn>
                <a:cxn ang="0">
                  <a:pos x="151" y="168"/>
                </a:cxn>
                <a:cxn ang="0">
                  <a:pos x="145" y="190"/>
                </a:cxn>
                <a:cxn ang="0">
                  <a:pos x="145" y="168"/>
                </a:cxn>
                <a:cxn ang="0">
                  <a:pos x="164" y="179"/>
                </a:cxn>
                <a:cxn ang="0">
                  <a:pos x="164" y="198"/>
                </a:cxn>
                <a:cxn ang="0">
                  <a:pos x="168" y="198"/>
                </a:cxn>
                <a:cxn ang="0">
                  <a:pos x="96" y="247"/>
                </a:cxn>
                <a:cxn ang="0">
                  <a:pos x="130" y="224"/>
                </a:cxn>
                <a:cxn ang="0">
                  <a:pos x="151" y="215"/>
                </a:cxn>
                <a:cxn ang="0">
                  <a:pos x="172" y="209"/>
                </a:cxn>
                <a:cxn ang="0">
                  <a:pos x="179" y="237"/>
                </a:cxn>
                <a:cxn ang="0">
                  <a:pos x="176" y="267"/>
                </a:cxn>
                <a:cxn ang="0">
                  <a:pos x="164" y="279"/>
                </a:cxn>
                <a:cxn ang="0">
                  <a:pos x="138" y="267"/>
                </a:cxn>
                <a:cxn ang="0">
                  <a:pos x="127" y="239"/>
                </a:cxn>
                <a:cxn ang="0">
                  <a:pos x="115" y="245"/>
                </a:cxn>
                <a:cxn ang="0">
                  <a:pos x="95" y="262"/>
                </a:cxn>
                <a:cxn ang="0">
                  <a:pos x="51" y="154"/>
                </a:cxn>
                <a:cxn ang="0">
                  <a:pos x="51" y="154"/>
                </a:cxn>
                <a:cxn ang="0">
                  <a:pos x="51" y="183"/>
                </a:cxn>
                <a:cxn ang="0">
                  <a:pos x="12" y="222"/>
                </a:cxn>
                <a:cxn ang="0">
                  <a:pos x="48" y="185"/>
                </a:cxn>
                <a:cxn ang="0">
                  <a:pos x="34" y="185"/>
                </a:cxn>
                <a:cxn ang="0">
                  <a:pos x="4" y="224"/>
                </a:cxn>
                <a:cxn ang="0">
                  <a:pos x="8" y="228"/>
                </a:cxn>
              </a:cxnLst>
              <a:rect l="0" t="0" r="r" b="b"/>
              <a:pathLst>
                <a:path w="185" h="281">
                  <a:moveTo>
                    <a:pt x="64" y="15"/>
                  </a:moveTo>
                  <a:lnTo>
                    <a:pt x="70" y="15"/>
                  </a:lnTo>
                  <a:lnTo>
                    <a:pt x="66" y="15"/>
                  </a:lnTo>
                  <a:lnTo>
                    <a:pt x="64" y="15"/>
                  </a:lnTo>
                  <a:lnTo>
                    <a:pt x="64" y="15"/>
                  </a:lnTo>
                  <a:lnTo>
                    <a:pt x="64" y="15"/>
                  </a:lnTo>
                  <a:lnTo>
                    <a:pt x="64" y="15"/>
                  </a:lnTo>
                  <a:close/>
                  <a:moveTo>
                    <a:pt x="63" y="6"/>
                  </a:moveTo>
                  <a:lnTo>
                    <a:pt x="64" y="7"/>
                  </a:lnTo>
                  <a:lnTo>
                    <a:pt x="61" y="9"/>
                  </a:lnTo>
                  <a:lnTo>
                    <a:pt x="63" y="6"/>
                  </a:lnTo>
                  <a:lnTo>
                    <a:pt x="63" y="6"/>
                  </a:lnTo>
                  <a:lnTo>
                    <a:pt x="63" y="6"/>
                  </a:lnTo>
                  <a:lnTo>
                    <a:pt x="63" y="6"/>
                  </a:lnTo>
                  <a:close/>
                  <a:moveTo>
                    <a:pt x="70" y="0"/>
                  </a:moveTo>
                  <a:lnTo>
                    <a:pt x="68" y="2"/>
                  </a:lnTo>
                  <a:lnTo>
                    <a:pt x="70" y="4"/>
                  </a:lnTo>
                  <a:lnTo>
                    <a:pt x="70" y="0"/>
                  </a:lnTo>
                  <a:lnTo>
                    <a:pt x="70" y="0"/>
                  </a:lnTo>
                  <a:lnTo>
                    <a:pt x="70" y="0"/>
                  </a:lnTo>
                  <a:lnTo>
                    <a:pt x="70" y="0"/>
                  </a:lnTo>
                  <a:close/>
                  <a:moveTo>
                    <a:pt x="80" y="9"/>
                  </a:moveTo>
                  <a:lnTo>
                    <a:pt x="78" y="13"/>
                  </a:lnTo>
                  <a:lnTo>
                    <a:pt x="80" y="15"/>
                  </a:lnTo>
                  <a:lnTo>
                    <a:pt x="81" y="11"/>
                  </a:lnTo>
                  <a:lnTo>
                    <a:pt x="81" y="11"/>
                  </a:lnTo>
                  <a:lnTo>
                    <a:pt x="80" y="9"/>
                  </a:lnTo>
                  <a:lnTo>
                    <a:pt x="80" y="9"/>
                  </a:lnTo>
                  <a:lnTo>
                    <a:pt x="80" y="9"/>
                  </a:lnTo>
                  <a:lnTo>
                    <a:pt x="80" y="9"/>
                  </a:lnTo>
                  <a:close/>
                  <a:moveTo>
                    <a:pt x="81" y="105"/>
                  </a:moveTo>
                  <a:lnTo>
                    <a:pt x="81" y="107"/>
                  </a:lnTo>
                  <a:lnTo>
                    <a:pt x="85" y="111"/>
                  </a:lnTo>
                  <a:lnTo>
                    <a:pt x="91" y="113"/>
                  </a:lnTo>
                  <a:lnTo>
                    <a:pt x="91" y="111"/>
                  </a:lnTo>
                  <a:lnTo>
                    <a:pt x="95" y="109"/>
                  </a:lnTo>
                  <a:lnTo>
                    <a:pt x="98" y="104"/>
                  </a:lnTo>
                  <a:lnTo>
                    <a:pt x="102" y="104"/>
                  </a:lnTo>
                  <a:lnTo>
                    <a:pt x="108" y="107"/>
                  </a:lnTo>
                  <a:lnTo>
                    <a:pt x="110" y="113"/>
                  </a:lnTo>
                  <a:lnTo>
                    <a:pt x="110" y="115"/>
                  </a:lnTo>
                  <a:lnTo>
                    <a:pt x="112" y="119"/>
                  </a:lnTo>
                  <a:lnTo>
                    <a:pt x="113" y="115"/>
                  </a:lnTo>
                  <a:lnTo>
                    <a:pt x="113" y="113"/>
                  </a:lnTo>
                  <a:lnTo>
                    <a:pt x="115" y="111"/>
                  </a:lnTo>
                  <a:lnTo>
                    <a:pt x="115" y="115"/>
                  </a:lnTo>
                  <a:lnTo>
                    <a:pt x="121" y="115"/>
                  </a:lnTo>
                  <a:lnTo>
                    <a:pt x="125" y="119"/>
                  </a:lnTo>
                  <a:lnTo>
                    <a:pt x="125" y="119"/>
                  </a:lnTo>
                  <a:lnTo>
                    <a:pt x="125" y="121"/>
                  </a:lnTo>
                  <a:lnTo>
                    <a:pt x="121" y="119"/>
                  </a:lnTo>
                  <a:lnTo>
                    <a:pt x="119" y="121"/>
                  </a:lnTo>
                  <a:lnTo>
                    <a:pt x="121" y="124"/>
                  </a:lnTo>
                  <a:lnTo>
                    <a:pt x="121" y="128"/>
                  </a:lnTo>
                  <a:lnTo>
                    <a:pt x="121" y="134"/>
                  </a:lnTo>
                  <a:lnTo>
                    <a:pt x="125" y="134"/>
                  </a:lnTo>
                  <a:lnTo>
                    <a:pt x="128" y="134"/>
                  </a:lnTo>
                  <a:lnTo>
                    <a:pt x="132" y="134"/>
                  </a:lnTo>
                  <a:lnTo>
                    <a:pt x="132" y="134"/>
                  </a:lnTo>
                  <a:lnTo>
                    <a:pt x="132" y="136"/>
                  </a:lnTo>
                  <a:lnTo>
                    <a:pt x="132" y="139"/>
                  </a:lnTo>
                  <a:lnTo>
                    <a:pt x="130" y="145"/>
                  </a:lnTo>
                  <a:lnTo>
                    <a:pt x="127" y="143"/>
                  </a:lnTo>
                  <a:lnTo>
                    <a:pt x="125" y="139"/>
                  </a:lnTo>
                  <a:lnTo>
                    <a:pt x="127" y="137"/>
                  </a:lnTo>
                  <a:lnTo>
                    <a:pt x="127" y="136"/>
                  </a:lnTo>
                  <a:lnTo>
                    <a:pt x="125" y="136"/>
                  </a:lnTo>
                  <a:lnTo>
                    <a:pt x="125" y="136"/>
                  </a:lnTo>
                  <a:lnTo>
                    <a:pt x="121" y="137"/>
                  </a:lnTo>
                  <a:lnTo>
                    <a:pt x="115" y="134"/>
                  </a:lnTo>
                  <a:lnTo>
                    <a:pt x="115" y="134"/>
                  </a:lnTo>
                  <a:lnTo>
                    <a:pt x="115" y="128"/>
                  </a:lnTo>
                  <a:lnTo>
                    <a:pt x="113" y="124"/>
                  </a:lnTo>
                  <a:lnTo>
                    <a:pt x="108" y="122"/>
                  </a:lnTo>
                  <a:lnTo>
                    <a:pt x="106" y="119"/>
                  </a:lnTo>
                  <a:lnTo>
                    <a:pt x="102" y="115"/>
                  </a:lnTo>
                  <a:lnTo>
                    <a:pt x="100" y="115"/>
                  </a:lnTo>
                  <a:lnTo>
                    <a:pt x="98" y="115"/>
                  </a:lnTo>
                  <a:lnTo>
                    <a:pt x="98" y="115"/>
                  </a:lnTo>
                  <a:lnTo>
                    <a:pt x="102" y="124"/>
                  </a:lnTo>
                  <a:lnTo>
                    <a:pt x="104" y="128"/>
                  </a:lnTo>
                  <a:lnTo>
                    <a:pt x="102" y="128"/>
                  </a:lnTo>
                  <a:lnTo>
                    <a:pt x="98" y="124"/>
                  </a:lnTo>
                  <a:lnTo>
                    <a:pt x="95" y="121"/>
                  </a:lnTo>
                  <a:lnTo>
                    <a:pt x="95" y="115"/>
                  </a:lnTo>
                  <a:lnTo>
                    <a:pt x="85" y="115"/>
                  </a:lnTo>
                  <a:lnTo>
                    <a:pt x="81" y="115"/>
                  </a:lnTo>
                  <a:lnTo>
                    <a:pt x="80" y="115"/>
                  </a:lnTo>
                  <a:lnTo>
                    <a:pt x="80" y="121"/>
                  </a:lnTo>
                  <a:lnTo>
                    <a:pt x="76" y="122"/>
                  </a:lnTo>
                  <a:lnTo>
                    <a:pt x="72" y="119"/>
                  </a:lnTo>
                  <a:lnTo>
                    <a:pt x="70" y="121"/>
                  </a:lnTo>
                  <a:lnTo>
                    <a:pt x="66" y="121"/>
                  </a:lnTo>
                  <a:lnTo>
                    <a:pt x="68" y="115"/>
                  </a:lnTo>
                  <a:lnTo>
                    <a:pt x="66" y="115"/>
                  </a:lnTo>
                  <a:lnTo>
                    <a:pt x="64" y="115"/>
                  </a:lnTo>
                  <a:lnTo>
                    <a:pt x="63" y="119"/>
                  </a:lnTo>
                  <a:lnTo>
                    <a:pt x="61" y="115"/>
                  </a:lnTo>
                  <a:lnTo>
                    <a:pt x="61" y="109"/>
                  </a:lnTo>
                  <a:lnTo>
                    <a:pt x="61" y="107"/>
                  </a:lnTo>
                  <a:lnTo>
                    <a:pt x="63" y="105"/>
                  </a:lnTo>
                  <a:lnTo>
                    <a:pt x="66" y="100"/>
                  </a:lnTo>
                  <a:lnTo>
                    <a:pt x="63" y="98"/>
                  </a:lnTo>
                  <a:lnTo>
                    <a:pt x="61" y="98"/>
                  </a:lnTo>
                  <a:lnTo>
                    <a:pt x="61" y="100"/>
                  </a:lnTo>
                  <a:lnTo>
                    <a:pt x="61" y="102"/>
                  </a:lnTo>
                  <a:lnTo>
                    <a:pt x="61" y="104"/>
                  </a:lnTo>
                  <a:lnTo>
                    <a:pt x="57" y="104"/>
                  </a:lnTo>
                  <a:lnTo>
                    <a:pt x="55" y="100"/>
                  </a:lnTo>
                  <a:lnTo>
                    <a:pt x="55" y="98"/>
                  </a:lnTo>
                  <a:lnTo>
                    <a:pt x="51" y="94"/>
                  </a:lnTo>
                  <a:lnTo>
                    <a:pt x="51" y="98"/>
                  </a:lnTo>
                  <a:lnTo>
                    <a:pt x="49" y="94"/>
                  </a:lnTo>
                  <a:lnTo>
                    <a:pt x="49" y="88"/>
                  </a:lnTo>
                  <a:lnTo>
                    <a:pt x="46" y="85"/>
                  </a:lnTo>
                  <a:lnTo>
                    <a:pt x="46" y="79"/>
                  </a:lnTo>
                  <a:lnTo>
                    <a:pt x="46" y="75"/>
                  </a:lnTo>
                  <a:lnTo>
                    <a:pt x="46" y="73"/>
                  </a:lnTo>
                  <a:lnTo>
                    <a:pt x="44" y="73"/>
                  </a:lnTo>
                  <a:lnTo>
                    <a:pt x="42" y="70"/>
                  </a:lnTo>
                  <a:lnTo>
                    <a:pt x="44" y="64"/>
                  </a:lnTo>
                  <a:lnTo>
                    <a:pt x="46" y="68"/>
                  </a:lnTo>
                  <a:lnTo>
                    <a:pt x="49" y="68"/>
                  </a:lnTo>
                  <a:lnTo>
                    <a:pt x="51" y="68"/>
                  </a:lnTo>
                  <a:lnTo>
                    <a:pt x="51" y="64"/>
                  </a:lnTo>
                  <a:lnTo>
                    <a:pt x="49" y="58"/>
                  </a:lnTo>
                  <a:lnTo>
                    <a:pt x="51" y="55"/>
                  </a:lnTo>
                  <a:lnTo>
                    <a:pt x="51" y="45"/>
                  </a:lnTo>
                  <a:lnTo>
                    <a:pt x="51" y="38"/>
                  </a:lnTo>
                  <a:lnTo>
                    <a:pt x="51" y="32"/>
                  </a:lnTo>
                  <a:lnTo>
                    <a:pt x="55" y="24"/>
                  </a:lnTo>
                  <a:lnTo>
                    <a:pt x="57" y="21"/>
                  </a:lnTo>
                  <a:lnTo>
                    <a:pt x="61" y="19"/>
                  </a:lnTo>
                  <a:lnTo>
                    <a:pt x="68" y="19"/>
                  </a:lnTo>
                  <a:lnTo>
                    <a:pt x="70" y="24"/>
                  </a:lnTo>
                  <a:lnTo>
                    <a:pt x="74" y="24"/>
                  </a:lnTo>
                  <a:lnTo>
                    <a:pt x="74" y="24"/>
                  </a:lnTo>
                  <a:lnTo>
                    <a:pt x="80" y="24"/>
                  </a:lnTo>
                  <a:lnTo>
                    <a:pt x="81" y="21"/>
                  </a:lnTo>
                  <a:lnTo>
                    <a:pt x="81" y="19"/>
                  </a:lnTo>
                  <a:lnTo>
                    <a:pt x="85" y="19"/>
                  </a:lnTo>
                  <a:lnTo>
                    <a:pt x="87" y="24"/>
                  </a:lnTo>
                  <a:lnTo>
                    <a:pt x="87" y="24"/>
                  </a:lnTo>
                  <a:lnTo>
                    <a:pt x="85" y="28"/>
                  </a:lnTo>
                  <a:lnTo>
                    <a:pt x="85" y="36"/>
                  </a:lnTo>
                  <a:lnTo>
                    <a:pt x="87" y="41"/>
                  </a:lnTo>
                  <a:lnTo>
                    <a:pt x="91" y="41"/>
                  </a:lnTo>
                  <a:lnTo>
                    <a:pt x="91" y="47"/>
                  </a:lnTo>
                  <a:lnTo>
                    <a:pt x="91" y="49"/>
                  </a:lnTo>
                  <a:lnTo>
                    <a:pt x="91" y="58"/>
                  </a:lnTo>
                  <a:lnTo>
                    <a:pt x="89" y="62"/>
                  </a:lnTo>
                  <a:lnTo>
                    <a:pt x="91" y="68"/>
                  </a:lnTo>
                  <a:lnTo>
                    <a:pt x="87" y="72"/>
                  </a:lnTo>
                  <a:lnTo>
                    <a:pt x="87" y="70"/>
                  </a:lnTo>
                  <a:lnTo>
                    <a:pt x="89" y="68"/>
                  </a:lnTo>
                  <a:lnTo>
                    <a:pt x="85" y="70"/>
                  </a:lnTo>
                  <a:lnTo>
                    <a:pt x="80" y="75"/>
                  </a:lnTo>
                  <a:lnTo>
                    <a:pt x="78" y="79"/>
                  </a:lnTo>
                  <a:lnTo>
                    <a:pt x="78" y="83"/>
                  </a:lnTo>
                  <a:lnTo>
                    <a:pt x="76" y="85"/>
                  </a:lnTo>
                  <a:lnTo>
                    <a:pt x="76" y="88"/>
                  </a:lnTo>
                  <a:lnTo>
                    <a:pt x="78" y="90"/>
                  </a:lnTo>
                  <a:lnTo>
                    <a:pt x="80" y="98"/>
                  </a:lnTo>
                  <a:lnTo>
                    <a:pt x="81" y="98"/>
                  </a:lnTo>
                  <a:lnTo>
                    <a:pt x="81" y="100"/>
                  </a:lnTo>
                  <a:lnTo>
                    <a:pt x="81" y="105"/>
                  </a:lnTo>
                  <a:lnTo>
                    <a:pt x="81" y="105"/>
                  </a:lnTo>
                  <a:lnTo>
                    <a:pt x="81" y="105"/>
                  </a:lnTo>
                  <a:lnTo>
                    <a:pt x="81" y="105"/>
                  </a:lnTo>
                  <a:close/>
                  <a:moveTo>
                    <a:pt x="89" y="105"/>
                  </a:moveTo>
                  <a:lnTo>
                    <a:pt x="89" y="109"/>
                  </a:lnTo>
                  <a:lnTo>
                    <a:pt x="91" y="111"/>
                  </a:lnTo>
                  <a:lnTo>
                    <a:pt x="91" y="107"/>
                  </a:lnTo>
                  <a:lnTo>
                    <a:pt x="89" y="105"/>
                  </a:lnTo>
                  <a:lnTo>
                    <a:pt x="89" y="105"/>
                  </a:lnTo>
                  <a:lnTo>
                    <a:pt x="89" y="105"/>
                  </a:lnTo>
                  <a:lnTo>
                    <a:pt x="89" y="105"/>
                  </a:lnTo>
                  <a:close/>
                  <a:moveTo>
                    <a:pt x="85" y="90"/>
                  </a:moveTo>
                  <a:lnTo>
                    <a:pt x="87" y="98"/>
                  </a:lnTo>
                  <a:lnTo>
                    <a:pt x="87" y="98"/>
                  </a:lnTo>
                  <a:lnTo>
                    <a:pt x="87" y="102"/>
                  </a:lnTo>
                  <a:lnTo>
                    <a:pt x="89" y="98"/>
                  </a:lnTo>
                  <a:lnTo>
                    <a:pt x="91" y="94"/>
                  </a:lnTo>
                  <a:lnTo>
                    <a:pt x="91" y="90"/>
                  </a:lnTo>
                  <a:lnTo>
                    <a:pt x="89" y="88"/>
                  </a:lnTo>
                  <a:lnTo>
                    <a:pt x="85" y="90"/>
                  </a:lnTo>
                  <a:lnTo>
                    <a:pt x="85" y="90"/>
                  </a:lnTo>
                  <a:lnTo>
                    <a:pt x="85" y="90"/>
                  </a:lnTo>
                  <a:lnTo>
                    <a:pt x="85" y="90"/>
                  </a:lnTo>
                  <a:close/>
                  <a:moveTo>
                    <a:pt x="51" y="115"/>
                  </a:moveTo>
                  <a:lnTo>
                    <a:pt x="51" y="119"/>
                  </a:lnTo>
                  <a:lnTo>
                    <a:pt x="57" y="121"/>
                  </a:lnTo>
                  <a:lnTo>
                    <a:pt x="57" y="121"/>
                  </a:lnTo>
                  <a:lnTo>
                    <a:pt x="55" y="115"/>
                  </a:lnTo>
                  <a:lnTo>
                    <a:pt x="51" y="115"/>
                  </a:lnTo>
                  <a:lnTo>
                    <a:pt x="51" y="115"/>
                  </a:lnTo>
                  <a:lnTo>
                    <a:pt x="51" y="115"/>
                  </a:lnTo>
                  <a:lnTo>
                    <a:pt x="51" y="115"/>
                  </a:lnTo>
                  <a:close/>
                  <a:moveTo>
                    <a:pt x="57" y="124"/>
                  </a:moveTo>
                  <a:lnTo>
                    <a:pt x="57" y="124"/>
                  </a:lnTo>
                  <a:lnTo>
                    <a:pt x="61" y="124"/>
                  </a:lnTo>
                  <a:lnTo>
                    <a:pt x="61" y="130"/>
                  </a:lnTo>
                  <a:lnTo>
                    <a:pt x="64" y="130"/>
                  </a:lnTo>
                  <a:lnTo>
                    <a:pt x="66" y="134"/>
                  </a:lnTo>
                  <a:lnTo>
                    <a:pt x="66" y="139"/>
                  </a:lnTo>
                  <a:lnTo>
                    <a:pt x="70" y="141"/>
                  </a:lnTo>
                  <a:lnTo>
                    <a:pt x="70" y="145"/>
                  </a:lnTo>
                  <a:lnTo>
                    <a:pt x="74" y="151"/>
                  </a:lnTo>
                  <a:lnTo>
                    <a:pt x="78" y="151"/>
                  </a:lnTo>
                  <a:lnTo>
                    <a:pt x="80" y="147"/>
                  </a:lnTo>
                  <a:lnTo>
                    <a:pt x="80" y="145"/>
                  </a:lnTo>
                  <a:lnTo>
                    <a:pt x="81" y="143"/>
                  </a:lnTo>
                  <a:lnTo>
                    <a:pt x="81" y="139"/>
                  </a:lnTo>
                  <a:lnTo>
                    <a:pt x="80" y="137"/>
                  </a:lnTo>
                  <a:lnTo>
                    <a:pt x="81" y="134"/>
                  </a:lnTo>
                  <a:lnTo>
                    <a:pt x="81" y="130"/>
                  </a:lnTo>
                  <a:lnTo>
                    <a:pt x="78" y="128"/>
                  </a:lnTo>
                  <a:lnTo>
                    <a:pt x="70" y="124"/>
                  </a:lnTo>
                  <a:lnTo>
                    <a:pt x="64" y="124"/>
                  </a:lnTo>
                  <a:lnTo>
                    <a:pt x="61" y="122"/>
                  </a:lnTo>
                  <a:lnTo>
                    <a:pt x="57" y="124"/>
                  </a:lnTo>
                  <a:lnTo>
                    <a:pt x="57" y="124"/>
                  </a:lnTo>
                  <a:lnTo>
                    <a:pt x="57" y="124"/>
                  </a:lnTo>
                  <a:lnTo>
                    <a:pt x="57" y="124"/>
                  </a:lnTo>
                  <a:close/>
                  <a:moveTo>
                    <a:pt x="130" y="111"/>
                  </a:moveTo>
                  <a:lnTo>
                    <a:pt x="128" y="113"/>
                  </a:lnTo>
                  <a:lnTo>
                    <a:pt x="130" y="115"/>
                  </a:lnTo>
                  <a:lnTo>
                    <a:pt x="128" y="121"/>
                  </a:lnTo>
                  <a:lnTo>
                    <a:pt x="127" y="121"/>
                  </a:lnTo>
                  <a:lnTo>
                    <a:pt x="128" y="122"/>
                  </a:lnTo>
                  <a:lnTo>
                    <a:pt x="134" y="122"/>
                  </a:lnTo>
                  <a:lnTo>
                    <a:pt x="136" y="119"/>
                  </a:lnTo>
                  <a:lnTo>
                    <a:pt x="134" y="115"/>
                  </a:lnTo>
                  <a:lnTo>
                    <a:pt x="130" y="111"/>
                  </a:lnTo>
                  <a:lnTo>
                    <a:pt x="130" y="111"/>
                  </a:lnTo>
                  <a:lnTo>
                    <a:pt x="130" y="111"/>
                  </a:lnTo>
                  <a:lnTo>
                    <a:pt x="130" y="111"/>
                  </a:lnTo>
                  <a:close/>
                  <a:moveTo>
                    <a:pt x="87" y="128"/>
                  </a:moveTo>
                  <a:lnTo>
                    <a:pt x="91" y="128"/>
                  </a:lnTo>
                  <a:lnTo>
                    <a:pt x="91" y="128"/>
                  </a:lnTo>
                  <a:lnTo>
                    <a:pt x="95" y="124"/>
                  </a:lnTo>
                  <a:lnTo>
                    <a:pt x="91" y="122"/>
                  </a:lnTo>
                  <a:lnTo>
                    <a:pt x="89" y="121"/>
                  </a:lnTo>
                  <a:lnTo>
                    <a:pt x="87" y="124"/>
                  </a:lnTo>
                  <a:lnTo>
                    <a:pt x="87" y="128"/>
                  </a:lnTo>
                  <a:lnTo>
                    <a:pt x="87" y="128"/>
                  </a:lnTo>
                  <a:lnTo>
                    <a:pt x="87" y="128"/>
                  </a:lnTo>
                  <a:lnTo>
                    <a:pt x="87" y="128"/>
                  </a:lnTo>
                  <a:close/>
                  <a:moveTo>
                    <a:pt x="95" y="139"/>
                  </a:moveTo>
                  <a:lnTo>
                    <a:pt x="91" y="143"/>
                  </a:lnTo>
                  <a:lnTo>
                    <a:pt x="91" y="147"/>
                  </a:lnTo>
                  <a:lnTo>
                    <a:pt x="91" y="153"/>
                  </a:lnTo>
                  <a:lnTo>
                    <a:pt x="95" y="153"/>
                  </a:lnTo>
                  <a:lnTo>
                    <a:pt x="95" y="147"/>
                  </a:lnTo>
                  <a:lnTo>
                    <a:pt x="95" y="143"/>
                  </a:lnTo>
                  <a:lnTo>
                    <a:pt x="95" y="139"/>
                  </a:lnTo>
                  <a:lnTo>
                    <a:pt x="95" y="139"/>
                  </a:lnTo>
                  <a:lnTo>
                    <a:pt x="95" y="139"/>
                  </a:lnTo>
                  <a:lnTo>
                    <a:pt x="95" y="139"/>
                  </a:lnTo>
                  <a:lnTo>
                    <a:pt x="95" y="139"/>
                  </a:lnTo>
                  <a:close/>
                  <a:moveTo>
                    <a:pt x="102" y="143"/>
                  </a:moveTo>
                  <a:lnTo>
                    <a:pt x="100" y="145"/>
                  </a:lnTo>
                  <a:lnTo>
                    <a:pt x="100" y="147"/>
                  </a:lnTo>
                  <a:lnTo>
                    <a:pt x="104" y="147"/>
                  </a:lnTo>
                  <a:lnTo>
                    <a:pt x="104" y="145"/>
                  </a:lnTo>
                  <a:lnTo>
                    <a:pt x="102" y="143"/>
                  </a:lnTo>
                  <a:lnTo>
                    <a:pt x="102" y="143"/>
                  </a:lnTo>
                  <a:lnTo>
                    <a:pt x="102" y="143"/>
                  </a:lnTo>
                  <a:lnTo>
                    <a:pt x="102" y="143"/>
                  </a:lnTo>
                  <a:close/>
                  <a:moveTo>
                    <a:pt x="115" y="134"/>
                  </a:moveTo>
                  <a:lnTo>
                    <a:pt x="110" y="130"/>
                  </a:lnTo>
                  <a:lnTo>
                    <a:pt x="110" y="130"/>
                  </a:lnTo>
                  <a:lnTo>
                    <a:pt x="110" y="134"/>
                  </a:lnTo>
                  <a:lnTo>
                    <a:pt x="113" y="137"/>
                  </a:lnTo>
                  <a:lnTo>
                    <a:pt x="115" y="136"/>
                  </a:lnTo>
                  <a:lnTo>
                    <a:pt x="115" y="134"/>
                  </a:lnTo>
                  <a:lnTo>
                    <a:pt x="115" y="134"/>
                  </a:lnTo>
                  <a:lnTo>
                    <a:pt x="115" y="134"/>
                  </a:lnTo>
                  <a:lnTo>
                    <a:pt x="115" y="134"/>
                  </a:lnTo>
                  <a:close/>
                  <a:moveTo>
                    <a:pt x="121" y="141"/>
                  </a:moveTo>
                  <a:lnTo>
                    <a:pt x="121" y="143"/>
                  </a:lnTo>
                  <a:lnTo>
                    <a:pt x="125" y="147"/>
                  </a:lnTo>
                  <a:lnTo>
                    <a:pt x="127" y="147"/>
                  </a:lnTo>
                  <a:lnTo>
                    <a:pt x="125" y="141"/>
                  </a:lnTo>
                  <a:lnTo>
                    <a:pt x="121" y="141"/>
                  </a:lnTo>
                  <a:lnTo>
                    <a:pt x="121" y="141"/>
                  </a:lnTo>
                  <a:lnTo>
                    <a:pt x="121" y="141"/>
                  </a:lnTo>
                  <a:lnTo>
                    <a:pt x="121" y="141"/>
                  </a:lnTo>
                  <a:close/>
                  <a:moveTo>
                    <a:pt x="115" y="154"/>
                  </a:moveTo>
                  <a:lnTo>
                    <a:pt x="119" y="151"/>
                  </a:lnTo>
                  <a:lnTo>
                    <a:pt x="121" y="151"/>
                  </a:lnTo>
                  <a:lnTo>
                    <a:pt x="125" y="154"/>
                  </a:lnTo>
                  <a:lnTo>
                    <a:pt x="128" y="154"/>
                  </a:lnTo>
                  <a:lnTo>
                    <a:pt x="132" y="154"/>
                  </a:lnTo>
                  <a:lnTo>
                    <a:pt x="132" y="154"/>
                  </a:lnTo>
                  <a:lnTo>
                    <a:pt x="128" y="151"/>
                  </a:lnTo>
                  <a:lnTo>
                    <a:pt x="125" y="147"/>
                  </a:lnTo>
                  <a:lnTo>
                    <a:pt x="121" y="147"/>
                  </a:lnTo>
                  <a:lnTo>
                    <a:pt x="119" y="143"/>
                  </a:lnTo>
                  <a:lnTo>
                    <a:pt x="115" y="143"/>
                  </a:lnTo>
                  <a:lnTo>
                    <a:pt x="115" y="143"/>
                  </a:lnTo>
                  <a:lnTo>
                    <a:pt x="115" y="141"/>
                  </a:lnTo>
                  <a:lnTo>
                    <a:pt x="115" y="147"/>
                  </a:lnTo>
                  <a:lnTo>
                    <a:pt x="115" y="149"/>
                  </a:lnTo>
                  <a:lnTo>
                    <a:pt x="115" y="151"/>
                  </a:lnTo>
                  <a:lnTo>
                    <a:pt x="115" y="153"/>
                  </a:lnTo>
                  <a:lnTo>
                    <a:pt x="115" y="154"/>
                  </a:lnTo>
                  <a:lnTo>
                    <a:pt x="115" y="154"/>
                  </a:lnTo>
                  <a:lnTo>
                    <a:pt x="115" y="154"/>
                  </a:lnTo>
                  <a:lnTo>
                    <a:pt x="115" y="154"/>
                  </a:lnTo>
                  <a:close/>
                  <a:moveTo>
                    <a:pt x="96" y="183"/>
                  </a:moveTo>
                  <a:lnTo>
                    <a:pt x="95" y="185"/>
                  </a:lnTo>
                  <a:lnTo>
                    <a:pt x="95" y="185"/>
                  </a:lnTo>
                  <a:lnTo>
                    <a:pt x="91" y="177"/>
                  </a:lnTo>
                  <a:lnTo>
                    <a:pt x="95" y="173"/>
                  </a:lnTo>
                  <a:lnTo>
                    <a:pt x="95" y="168"/>
                  </a:lnTo>
                  <a:lnTo>
                    <a:pt x="95" y="164"/>
                  </a:lnTo>
                  <a:lnTo>
                    <a:pt x="95" y="158"/>
                  </a:lnTo>
                  <a:lnTo>
                    <a:pt x="91" y="158"/>
                  </a:lnTo>
                  <a:lnTo>
                    <a:pt x="89" y="158"/>
                  </a:lnTo>
                  <a:lnTo>
                    <a:pt x="91" y="154"/>
                  </a:lnTo>
                  <a:lnTo>
                    <a:pt x="95" y="154"/>
                  </a:lnTo>
                  <a:lnTo>
                    <a:pt x="96" y="158"/>
                  </a:lnTo>
                  <a:lnTo>
                    <a:pt x="98" y="158"/>
                  </a:lnTo>
                  <a:lnTo>
                    <a:pt x="98" y="160"/>
                  </a:lnTo>
                  <a:lnTo>
                    <a:pt x="100" y="160"/>
                  </a:lnTo>
                  <a:lnTo>
                    <a:pt x="104" y="160"/>
                  </a:lnTo>
                  <a:lnTo>
                    <a:pt x="108" y="160"/>
                  </a:lnTo>
                  <a:lnTo>
                    <a:pt x="110" y="164"/>
                  </a:lnTo>
                  <a:lnTo>
                    <a:pt x="112" y="164"/>
                  </a:lnTo>
                  <a:lnTo>
                    <a:pt x="115" y="160"/>
                  </a:lnTo>
                  <a:lnTo>
                    <a:pt x="115" y="164"/>
                  </a:lnTo>
                  <a:lnTo>
                    <a:pt x="115" y="168"/>
                  </a:lnTo>
                  <a:lnTo>
                    <a:pt x="113" y="168"/>
                  </a:lnTo>
                  <a:lnTo>
                    <a:pt x="112" y="171"/>
                  </a:lnTo>
                  <a:lnTo>
                    <a:pt x="108" y="175"/>
                  </a:lnTo>
                  <a:lnTo>
                    <a:pt x="106" y="179"/>
                  </a:lnTo>
                  <a:lnTo>
                    <a:pt x="104" y="179"/>
                  </a:lnTo>
                  <a:lnTo>
                    <a:pt x="102" y="179"/>
                  </a:lnTo>
                  <a:lnTo>
                    <a:pt x="100" y="179"/>
                  </a:lnTo>
                  <a:lnTo>
                    <a:pt x="96" y="183"/>
                  </a:lnTo>
                  <a:lnTo>
                    <a:pt x="96" y="183"/>
                  </a:lnTo>
                  <a:lnTo>
                    <a:pt x="96" y="183"/>
                  </a:lnTo>
                  <a:lnTo>
                    <a:pt x="96" y="183"/>
                  </a:lnTo>
                  <a:close/>
                  <a:moveTo>
                    <a:pt x="106" y="179"/>
                  </a:moveTo>
                  <a:lnTo>
                    <a:pt x="102" y="181"/>
                  </a:lnTo>
                  <a:lnTo>
                    <a:pt x="102" y="185"/>
                  </a:lnTo>
                  <a:lnTo>
                    <a:pt x="104" y="185"/>
                  </a:lnTo>
                  <a:lnTo>
                    <a:pt x="108" y="183"/>
                  </a:lnTo>
                  <a:lnTo>
                    <a:pt x="108" y="181"/>
                  </a:lnTo>
                  <a:lnTo>
                    <a:pt x="106" y="179"/>
                  </a:lnTo>
                  <a:lnTo>
                    <a:pt x="106" y="179"/>
                  </a:lnTo>
                  <a:lnTo>
                    <a:pt x="106" y="179"/>
                  </a:lnTo>
                  <a:lnTo>
                    <a:pt x="106" y="179"/>
                  </a:lnTo>
                  <a:close/>
                  <a:moveTo>
                    <a:pt x="138" y="179"/>
                  </a:moveTo>
                  <a:lnTo>
                    <a:pt x="138" y="183"/>
                  </a:lnTo>
                  <a:lnTo>
                    <a:pt x="136" y="181"/>
                  </a:lnTo>
                  <a:lnTo>
                    <a:pt x="138" y="179"/>
                  </a:lnTo>
                  <a:lnTo>
                    <a:pt x="138" y="179"/>
                  </a:lnTo>
                  <a:lnTo>
                    <a:pt x="138" y="179"/>
                  </a:lnTo>
                  <a:lnTo>
                    <a:pt x="138" y="179"/>
                  </a:lnTo>
                  <a:close/>
                  <a:moveTo>
                    <a:pt x="121" y="203"/>
                  </a:moveTo>
                  <a:lnTo>
                    <a:pt x="125" y="200"/>
                  </a:lnTo>
                  <a:lnTo>
                    <a:pt x="125" y="192"/>
                  </a:lnTo>
                  <a:lnTo>
                    <a:pt x="130" y="185"/>
                  </a:lnTo>
                  <a:lnTo>
                    <a:pt x="130" y="183"/>
                  </a:lnTo>
                  <a:lnTo>
                    <a:pt x="130" y="179"/>
                  </a:lnTo>
                  <a:lnTo>
                    <a:pt x="132" y="177"/>
                  </a:lnTo>
                  <a:lnTo>
                    <a:pt x="132" y="169"/>
                  </a:lnTo>
                  <a:lnTo>
                    <a:pt x="128" y="171"/>
                  </a:lnTo>
                  <a:lnTo>
                    <a:pt x="128" y="177"/>
                  </a:lnTo>
                  <a:lnTo>
                    <a:pt x="125" y="183"/>
                  </a:lnTo>
                  <a:lnTo>
                    <a:pt x="125" y="188"/>
                  </a:lnTo>
                  <a:lnTo>
                    <a:pt x="125" y="194"/>
                  </a:lnTo>
                  <a:lnTo>
                    <a:pt x="121" y="198"/>
                  </a:lnTo>
                  <a:lnTo>
                    <a:pt x="121" y="200"/>
                  </a:lnTo>
                  <a:lnTo>
                    <a:pt x="121" y="203"/>
                  </a:lnTo>
                  <a:lnTo>
                    <a:pt x="121" y="203"/>
                  </a:lnTo>
                  <a:lnTo>
                    <a:pt x="121" y="203"/>
                  </a:lnTo>
                  <a:lnTo>
                    <a:pt x="121" y="203"/>
                  </a:lnTo>
                  <a:close/>
                  <a:moveTo>
                    <a:pt x="115" y="203"/>
                  </a:moveTo>
                  <a:lnTo>
                    <a:pt x="115" y="194"/>
                  </a:lnTo>
                  <a:lnTo>
                    <a:pt x="119" y="185"/>
                  </a:lnTo>
                  <a:lnTo>
                    <a:pt x="121" y="181"/>
                  </a:lnTo>
                  <a:lnTo>
                    <a:pt x="121" y="177"/>
                  </a:lnTo>
                  <a:lnTo>
                    <a:pt x="121" y="175"/>
                  </a:lnTo>
                  <a:lnTo>
                    <a:pt x="119" y="175"/>
                  </a:lnTo>
                  <a:lnTo>
                    <a:pt x="115" y="175"/>
                  </a:lnTo>
                  <a:lnTo>
                    <a:pt x="113" y="177"/>
                  </a:lnTo>
                  <a:lnTo>
                    <a:pt x="113" y="181"/>
                  </a:lnTo>
                  <a:lnTo>
                    <a:pt x="110" y="185"/>
                  </a:lnTo>
                  <a:lnTo>
                    <a:pt x="112" y="190"/>
                  </a:lnTo>
                  <a:lnTo>
                    <a:pt x="110" y="194"/>
                  </a:lnTo>
                  <a:lnTo>
                    <a:pt x="102" y="194"/>
                  </a:lnTo>
                  <a:lnTo>
                    <a:pt x="102" y="198"/>
                  </a:lnTo>
                  <a:lnTo>
                    <a:pt x="102" y="203"/>
                  </a:lnTo>
                  <a:lnTo>
                    <a:pt x="106" y="203"/>
                  </a:lnTo>
                  <a:lnTo>
                    <a:pt x="110" y="205"/>
                  </a:lnTo>
                  <a:lnTo>
                    <a:pt x="113" y="205"/>
                  </a:lnTo>
                  <a:lnTo>
                    <a:pt x="113" y="211"/>
                  </a:lnTo>
                  <a:lnTo>
                    <a:pt x="115" y="211"/>
                  </a:lnTo>
                  <a:lnTo>
                    <a:pt x="121" y="209"/>
                  </a:lnTo>
                  <a:lnTo>
                    <a:pt x="121" y="205"/>
                  </a:lnTo>
                  <a:lnTo>
                    <a:pt x="115" y="203"/>
                  </a:lnTo>
                  <a:lnTo>
                    <a:pt x="115" y="203"/>
                  </a:lnTo>
                  <a:lnTo>
                    <a:pt x="115" y="203"/>
                  </a:lnTo>
                  <a:lnTo>
                    <a:pt x="115" y="203"/>
                  </a:lnTo>
                  <a:close/>
                  <a:moveTo>
                    <a:pt x="127" y="207"/>
                  </a:moveTo>
                  <a:lnTo>
                    <a:pt x="127" y="209"/>
                  </a:lnTo>
                  <a:lnTo>
                    <a:pt x="127" y="211"/>
                  </a:lnTo>
                  <a:lnTo>
                    <a:pt x="125" y="213"/>
                  </a:lnTo>
                  <a:lnTo>
                    <a:pt x="121" y="211"/>
                  </a:lnTo>
                  <a:lnTo>
                    <a:pt x="125" y="207"/>
                  </a:lnTo>
                  <a:lnTo>
                    <a:pt x="127" y="207"/>
                  </a:lnTo>
                  <a:lnTo>
                    <a:pt x="127" y="207"/>
                  </a:lnTo>
                  <a:lnTo>
                    <a:pt x="127" y="207"/>
                  </a:lnTo>
                  <a:lnTo>
                    <a:pt x="127" y="207"/>
                  </a:lnTo>
                  <a:close/>
                  <a:moveTo>
                    <a:pt x="138" y="190"/>
                  </a:moveTo>
                  <a:lnTo>
                    <a:pt x="140" y="190"/>
                  </a:lnTo>
                  <a:lnTo>
                    <a:pt x="142" y="194"/>
                  </a:lnTo>
                  <a:lnTo>
                    <a:pt x="144" y="198"/>
                  </a:lnTo>
                  <a:lnTo>
                    <a:pt x="142" y="198"/>
                  </a:lnTo>
                  <a:lnTo>
                    <a:pt x="136" y="203"/>
                  </a:lnTo>
                  <a:lnTo>
                    <a:pt x="130" y="203"/>
                  </a:lnTo>
                  <a:lnTo>
                    <a:pt x="130" y="200"/>
                  </a:lnTo>
                  <a:lnTo>
                    <a:pt x="128" y="198"/>
                  </a:lnTo>
                  <a:lnTo>
                    <a:pt x="130" y="194"/>
                  </a:lnTo>
                  <a:lnTo>
                    <a:pt x="138" y="190"/>
                  </a:lnTo>
                  <a:lnTo>
                    <a:pt x="138" y="190"/>
                  </a:lnTo>
                  <a:lnTo>
                    <a:pt x="138" y="190"/>
                  </a:lnTo>
                  <a:lnTo>
                    <a:pt x="138" y="190"/>
                  </a:lnTo>
                  <a:close/>
                  <a:moveTo>
                    <a:pt x="155" y="192"/>
                  </a:moveTo>
                  <a:lnTo>
                    <a:pt x="157" y="194"/>
                  </a:lnTo>
                  <a:lnTo>
                    <a:pt x="157" y="198"/>
                  </a:lnTo>
                  <a:lnTo>
                    <a:pt x="155" y="194"/>
                  </a:lnTo>
                  <a:lnTo>
                    <a:pt x="155" y="192"/>
                  </a:lnTo>
                  <a:lnTo>
                    <a:pt x="155" y="192"/>
                  </a:lnTo>
                  <a:lnTo>
                    <a:pt x="155" y="192"/>
                  </a:lnTo>
                  <a:lnTo>
                    <a:pt x="155" y="192"/>
                  </a:lnTo>
                  <a:close/>
                  <a:moveTo>
                    <a:pt x="145" y="205"/>
                  </a:moveTo>
                  <a:lnTo>
                    <a:pt x="149" y="209"/>
                  </a:lnTo>
                  <a:lnTo>
                    <a:pt x="145" y="211"/>
                  </a:lnTo>
                  <a:lnTo>
                    <a:pt x="145" y="209"/>
                  </a:lnTo>
                  <a:lnTo>
                    <a:pt x="144" y="207"/>
                  </a:lnTo>
                  <a:lnTo>
                    <a:pt x="145" y="205"/>
                  </a:lnTo>
                  <a:lnTo>
                    <a:pt x="145" y="205"/>
                  </a:lnTo>
                  <a:lnTo>
                    <a:pt x="145" y="205"/>
                  </a:lnTo>
                  <a:lnTo>
                    <a:pt x="145" y="205"/>
                  </a:lnTo>
                  <a:close/>
                  <a:moveTo>
                    <a:pt x="142" y="160"/>
                  </a:moveTo>
                  <a:lnTo>
                    <a:pt x="142" y="164"/>
                  </a:lnTo>
                  <a:lnTo>
                    <a:pt x="138" y="164"/>
                  </a:lnTo>
                  <a:lnTo>
                    <a:pt x="136" y="164"/>
                  </a:lnTo>
                  <a:lnTo>
                    <a:pt x="138" y="160"/>
                  </a:lnTo>
                  <a:lnTo>
                    <a:pt x="142" y="160"/>
                  </a:lnTo>
                  <a:lnTo>
                    <a:pt x="142" y="160"/>
                  </a:lnTo>
                  <a:lnTo>
                    <a:pt x="142" y="160"/>
                  </a:lnTo>
                  <a:lnTo>
                    <a:pt x="142" y="160"/>
                  </a:lnTo>
                  <a:close/>
                  <a:moveTo>
                    <a:pt x="151" y="168"/>
                  </a:moveTo>
                  <a:lnTo>
                    <a:pt x="151" y="168"/>
                  </a:lnTo>
                  <a:lnTo>
                    <a:pt x="155" y="171"/>
                  </a:lnTo>
                  <a:lnTo>
                    <a:pt x="159" y="171"/>
                  </a:lnTo>
                  <a:lnTo>
                    <a:pt x="160" y="171"/>
                  </a:lnTo>
                  <a:lnTo>
                    <a:pt x="160" y="169"/>
                  </a:lnTo>
                  <a:lnTo>
                    <a:pt x="164" y="171"/>
                  </a:lnTo>
                  <a:lnTo>
                    <a:pt x="160" y="169"/>
                  </a:lnTo>
                  <a:lnTo>
                    <a:pt x="160" y="168"/>
                  </a:lnTo>
                  <a:lnTo>
                    <a:pt x="157" y="164"/>
                  </a:lnTo>
                  <a:lnTo>
                    <a:pt x="159" y="158"/>
                  </a:lnTo>
                  <a:lnTo>
                    <a:pt x="157" y="153"/>
                  </a:lnTo>
                  <a:lnTo>
                    <a:pt x="157" y="151"/>
                  </a:lnTo>
                  <a:lnTo>
                    <a:pt x="157" y="149"/>
                  </a:lnTo>
                  <a:lnTo>
                    <a:pt x="155" y="145"/>
                  </a:lnTo>
                  <a:lnTo>
                    <a:pt x="151" y="141"/>
                  </a:lnTo>
                  <a:lnTo>
                    <a:pt x="151" y="141"/>
                  </a:lnTo>
                  <a:lnTo>
                    <a:pt x="149" y="141"/>
                  </a:lnTo>
                  <a:lnTo>
                    <a:pt x="145" y="141"/>
                  </a:lnTo>
                  <a:lnTo>
                    <a:pt x="145" y="141"/>
                  </a:lnTo>
                  <a:lnTo>
                    <a:pt x="144" y="143"/>
                  </a:lnTo>
                  <a:lnTo>
                    <a:pt x="140" y="143"/>
                  </a:lnTo>
                  <a:lnTo>
                    <a:pt x="136" y="143"/>
                  </a:lnTo>
                  <a:lnTo>
                    <a:pt x="134" y="141"/>
                  </a:lnTo>
                  <a:lnTo>
                    <a:pt x="134" y="145"/>
                  </a:lnTo>
                  <a:lnTo>
                    <a:pt x="138" y="151"/>
                  </a:lnTo>
                  <a:lnTo>
                    <a:pt x="144" y="154"/>
                  </a:lnTo>
                  <a:lnTo>
                    <a:pt x="145" y="158"/>
                  </a:lnTo>
                  <a:lnTo>
                    <a:pt x="149" y="160"/>
                  </a:lnTo>
                  <a:lnTo>
                    <a:pt x="149" y="164"/>
                  </a:lnTo>
                  <a:lnTo>
                    <a:pt x="145" y="164"/>
                  </a:lnTo>
                  <a:lnTo>
                    <a:pt x="145" y="164"/>
                  </a:lnTo>
                  <a:lnTo>
                    <a:pt x="149" y="164"/>
                  </a:lnTo>
                  <a:lnTo>
                    <a:pt x="149" y="164"/>
                  </a:lnTo>
                  <a:lnTo>
                    <a:pt x="151" y="168"/>
                  </a:lnTo>
                  <a:lnTo>
                    <a:pt x="151" y="168"/>
                  </a:lnTo>
                  <a:lnTo>
                    <a:pt x="151" y="168"/>
                  </a:lnTo>
                  <a:lnTo>
                    <a:pt x="151" y="168"/>
                  </a:lnTo>
                  <a:close/>
                  <a:moveTo>
                    <a:pt x="145" y="168"/>
                  </a:moveTo>
                  <a:lnTo>
                    <a:pt x="144" y="168"/>
                  </a:lnTo>
                  <a:lnTo>
                    <a:pt x="140" y="168"/>
                  </a:lnTo>
                  <a:lnTo>
                    <a:pt x="136" y="168"/>
                  </a:lnTo>
                  <a:lnTo>
                    <a:pt x="138" y="169"/>
                  </a:lnTo>
                  <a:lnTo>
                    <a:pt x="138" y="173"/>
                  </a:lnTo>
                  <a:lnTo>
                    <a:pt x="142" y="177"/>
                  </a:lnTo>
                  <a:lnTo>
                    <a:pt x="144" y="175"/>
                  </a:lnTo>
                  <a:lnTo>
                    <a:pt x="145" y="177"/>
                  </a:lnTo>
                  <a:lnTo>
                    <a:pt x="145" y="181"/>
                  </a:lnTo>
                  <a:lnTo>
                    <a:pt x="145" y="185"/>
                  </a:lnTo>
                  <a:lnTo>
                    <a:pt x="145" y="190"/>
                  </a:lnTo>
                  <a:lnTo>
                    <a:pt x="151" y="194"/>
                  </a:lnTo>
                  <a:lnTo>
                    <a:pt x="151" y="188"/>
                  </a:lnTo>
                  <a:lnTo>
                    <a:pt x="151" y="190"/>
                  </a:lnTo>
                  <a:lnTo>
                    <a:pt x="155" y="190"/>
                  </a:lnTo>
                  <a:lnTo>
                    <a:pt x="155" y="185"/>
                  </a:lnTo>
                  <a:lnTo>
                    <a:pt x="151" y="181"/>
                  </a:lnTo>
                  <a:lnTo>
                    <a:pt x="151" y="179"/>
                  </a:lnTo>
                  <a:lnTo>
                    <a:pt x="149" y="173"/>
                  </a:lnTo>
                  <a:lnTo>
                    <a:pt x="145" y="168"/>
                  </a:lnTo>
                  <a:lnTo>
                    <a:pt x="145" y="168"/>
                  </a:lnTo>
                  <a:lnTo>
                    <a:pt x="145" y="168"/>
                  </a:lnTo>
                  <a:lnTo>
                    <a:pt x="145" y="168"/>
                  </a:lnTo>
                  <a:lnTo>
                    <a:pt x="145" y="168"/>
                  </a:lnTo>
                  <a:close/>
                  <a:moveTo>
                    <a:pt x="164" y="177"/>
                  </a:moveTo>
                  <a:lnTo>
                    <a:pt x="166" y="175"/>
                  </a:lnTo>
                  <a:lnTo>
                    <a:pt x="164" y="175"/>
                  </a:lnTo>
                  <a:lnTo>
                    <a:pt x="164" y="175"/>
                  </a:lnTo>
                  <a:lnTo>
                    <a:pt x="164" y="177"/>
                  </a:lnTo>
                  <a:lnTo>
                    <a:pt x="164" y="177"/>
                  </a:lnTo>
                  <a:lnTo>
                    <a:pt x="164" y="177"/>
                  </a:lnTo>
                  <a:lnTo>
                    <a:pt x="164" y="177"/>
                  </a:lnTo>
                  <a:close/>
                  <a:moveTo>
                    <a:pt x="164" y="179"/>
                  </a:moveTo>
                  <a:lnTo>
                    <a:pt x="164" y="179"/>
                  </a:lnTo>
                  <a:lnTo>
                    <a:pt x="164" y="181"/>
                  </a:lnTo>
                  <a:lnTo>
                    <a:pt x="164" y="181"/>
                  </a:lnTo>
                  <a:lnTo>
                    <a:pt x="164" y="179"/>
                  </a:lnTo>
                  <a:lnTo>
                    <a:pt x="164" y="179"/>
                  </a:lnTo>
                  <a:lnTo>
                    <a:pt x="164" y="179"/>
                  </a:lnTo>
                  <a:lnTo>
                    <a:pt x="164" y="179"/>
                  </a:lnTo>
                  <a:close/>
                  <a:moveTo>
                    <a:pt x="164" y="198"/>
                  </a:moveTo>
                  <a:lnTo>
                    <a:pt x="166" y="194"/>
                  </a:lnTo>
                  <a:lnTo>
                    <a:pt x="164" y="192"/>
                  </a:lnTo>
                  <a:lnTo>
                    <a:pt x="164" y="188"/>
                  </a:lnTo>
                  <a:lnTo>
                    <a:pt x="164" y="185"/>
                  </a:lnTo>
                  <a:lnTo>
                    <a:pt x="164" y="185"/>
                  </a:lnTo>
                  <a:lnTo>
                    <a:pt x="160" y="185"/>
                  </a:lnTo>
                  <a:lnTo>
                    <a:pt x="160" y="190"/>
                  </a:lnTo>
                  <a:lnTo>
                    <a:pt x="164" y="194"/>
                  </a:lnTo>
                  <a:lnTo>
                    <a:pt x="164" y="198"/>
                  </a:lnTo>
                  <a:lnTo>
                    <a:pt x="164" y="198"/>
                  </a:lnTo>
                  <a:lnTo>
                    <a:pt x="164" y="198"/>
                  </a:lnTo>
                  <a:lnTo>
                    <a:pt x="164" y="198"/>
                  </a:lnTo>
                  <a:lnTo>
                    <a:pt x="164" y="198"/>
                  </a:lnTo>
                  <a:lnTo>
                    <a:pt x="164" y="198"/>
                  </a:lnTo>
                  <a:close/>
                  <a:moveTo>
                    <a:pt x="168" y="198"/>
                  </a:moveTo>
                  <a:lnTo>
                    <a:pt x="168" y="200"/>
                  </a:lnTo>
                  <a:lnTo>
                    <a:pt x="170" y="203"/>
                  </a:lnTo>
                  <a:lnTo>
                    <a:pt x="170" y="200"/>
                  </a:lnTo>
                  <a:lnTo>
                    <a:pt x="168" y="198"/>
                  </a:lnTo>
                  <a:lnTo>
                    <a:pt x="168" y="198"/>
                  </a:lnTo>
                  <a:lnTo>
                    <a:pt x="168" y="198"/>
                  </a:lnTo>
                  <a:lnTo>
                    <a:pt x="168" y="198"/>
                  </a:lnTo>
                  <a:close/>
                  <a:moveTo>
                    <a:pt x="172" y="192"/>
                  </a:moveTo>
                  <a:lnTo>
                    <a:pt x="170" y="194"/>
                  </a:lnTo>
                  <a:lnTo>
                    <a:pt x="170" y="198"/>
                  </a:lnTo>
                  <a:lnTo>
                    <a:pt x="172" y="198"/>
                  </a:lnTo>
                  <a:lnTo>
                    <a:pt x="176" y="198"/>
                  </a:lnTo>
                  <a:lnTo>
                    <a:pt x="174" y="194"/>
                  </a:lnTo>
                  <a:lnTo>
                    <a:pt x="172" y="192"/>
                  </a:lnTo>
                  <a:lnTo>
                    <a:pt x="172" y="192"/>
                  </a:lnTo>
                  <a:lnTo>
                    <a:pt x="172" y="192"/>
                  </a:lnTo>
                  <a:lnTo>
                    <a:pt x="172" y="192"/>
                  </a:lnTo>
                  <a:close/>
                  <a:moveTo>
                    <a:pt x="98" y="254"/>
                  </a:moveTo>
                  <a:lnTo>
                    <a:pt x="95" y="252"/>
                  </a:lnTo>
                  <a:lnTo>
                    <a:pt x="96" y="247"/>
                  </a:lnTo>
                  <a:lnTo>
                    <a:pt x="98" y="241"/>
                  </a:lnTo>
                  <a:lnTo>
                    <a:pt x="96" y="239"/>
                  </a:lnTo>
                  <a:lnTo>
                    <a:pt x="100" y="234"/>
                  </a:lnTo>
                  <a:lnTo>
                    <a:pt x="104" y="234"/>
                  </a:lnTo>
                  <a:lnTo>
                    <a:pt x="108" y="230"/>
                  </a:lnTo>
                  <a:lnTo>
                    <a:pt x="112" y="234"/>
                  </a:lnTo>
                  <a:lnTo>
                    <a:pt x="115" y="230"/>
                  </a:lnTo>
                  <a:lnTo>
                    <a:pt x="115" y="228"/>
                  </a:lnTo>
                  <a:lnTo>
                    <a:pt x="115" y="224"/>
                  </a:lnTo>
                  <a:lnTo>
                    <a:pt x="121" y="224"/>
                  </a:lnTo>
                  <a:lnTo>
                    <a:pt x="121" y="220"/>
                  </a:lnTo>
                  <a:lnTo>
                    <a:pt x="125" y="220"/>
                  </a:lnTo>
                  <a:lnTo>
                    <a:pt x="130" y="224"/>
                  </a:lnTo>
                  <a:lnTo>
                    <a:pt x="130" y="230"/>
                  </a:lnTo>
                  <a:lnTo>
                    <a:pt x="127" y="237"/>
                  </a:lnTo>
                  <a:lnTo>
                    <a:pt x="130" y="234"/>
                  </a:lnTo>
                  <a:lnTo>
                    <a:pt x="134" y="230"/>
                  </a:lnTo>
                  <a:lnTo>
                    <a:pt x="138" y="230"/>
                  </a:lnTo>
                  <a:lnTo>
                    <a:pt x="140" y="224"/>
                  </a:lnTo>
                  <a:lnTo>
                    <a:pt x="144" y="222"/>
                  </a:lnTo>
                  <a:lnTo>
                    <a:pt x="145" y="224"/>
                  </a:lnTo>
                  <a:lnTo>
                    <a:pt x="149" y="224"/>
                  </a:lnTo>
                  <a:lnTo>
                    <a:pt x="149" y="222"/>
                  </a:lnTo>
                  <a:lnTo>
                    <a:pt x="145" y="220"/>
                  </a:lnTo>
                  <a:lnTo>
                    <a:pt x="149" y="213"/>
                  </a:lnTo>
                  <a:lnTo>
                    <a:pt x="151" y="215"/>
                  </a:lnTo>
                  <a:lnTo>
                    <a:pt x="155" y="217"/>
                  </a:lnTo>
                  <a:lnTo>
                    <a:pt x="155" y="215"/>
                  </a:lnTo>
                  <a:lnTo>
                    <a:pt x="155" y="209"/>
                  </a:lnTo>
                  <a:lnTo>
                    <a:pt x="157" y="209"/>
                  </a:lnTo>
                  <a:lnTo>
                    <a:pt x="159" y="213"/>
                  </a:lnTo>
                  <a:lnTo>
                    <a:pt x="160" y="209"/>
                  </a:lnTo>
                  <a:lnTo>
                    <a:pt x="159" y="203"/>
                  </a:lnTo>
                  <a:lnTo>
                    <a:pt x="159" y="198"/>
                  </a:lnTo>
                  <a:lnTo>
                    <a:pt x="160" y="198"/>
                  </a:lnTo>
                  <a:lnTo>
                    <a:pt x="164" y="198"/>
                  </a:lnTo>
                  <a:lnTo>
                    <a:pt x="164" y="203"/>
                  </a:lnTo>
                  <a:lnTo>
                    <a:pt x="168" y="205"/>
                  </a:lnTo>
                  <a:lnTo>
                    <a:pt x="172" y="209"/>
                  </a:lnTo>
                  <a:lnTo>
                    <a:pt x="176" y="207"/>
                  </a:lnTo>
                  <a:lnTo>
                    <a:pt x="176" y="211"/>
                  </a:lnTo>
                  <a:lnTo>
                    <a:pt x="176" y="215"/>
                  </a:lnTo>
                  <a:lnTo>
                    <a:pt x="176" y="218"/>
                  </a:lnTo>
                  <a:lnTo>
                    <a:pt x="176" y="218"/>
                  </a:lnTo>
                  <a:lnTo>
                    <a:pt x="174" y="220"/>
                  </a:lnTo>
                  <a:lnTo>
                    <a:pt x="176" y="224"/>
                  </a:lnTo>
                  <a:lnTo>
                    <a:pt x="176" y="224"/>
                  </a:lnTo>
                  <a:lnTo>
                    <a:pt x="176" y="224"/>
                  </a:lnTo>
                  <a:lnTo>
                    <a:pt x="176" y="230"/>
                  </a:lnTo>
                  <a:lnTo>
                    <a:pt x="179" y="228"/>
                  </a:lnTo>
                  <a:lnTo>
                    <a:pt x="179" y="234"/>
                  </a:lnTo>
                  <a:lnTo>
                    <a:pt x="179" y="237"/>
                  </a:lnTo>
                  <a:lnTo>
                    <a:pt x="183" y="239"/>
                  </a:lnTo>
                  <a:lnTo>
                    <a:pt x="185" y="243"/>
                  </a:lnTo>
                  <a:lnTo>
                    <a:pt x="185" y="249"/>
                  </a:lnTo>
                  <a:lnTo>
                    <a:pt x="183" y="254"/>
                  </a:lnTo>
                  <a:lnTo>
                    <a:pt x="181" y="254"/>
                  </a:lnTo>
                  <a:lnTo>
                    <a:pt x="181" y="254"/>
                  </a:lnTo>
                  <a:lnTo>
                    <a:pt x="181" y="254"/>
                  </a:lnTo>
                  <a:lnTo>
                    <a:pt x="176" y="254"/>
                  </a:lnTo>
                  <a:lnTo>
                    <a:pt x="176" y="254"/>
                  </a:lnTo>
                  <a:lnTo>
                    <a:pt x="179" y="262"/>
                  </a:lnTo>
                  <a:lnTo>
                    <a:pt x="179" y="267"/>
                  </a:lnTo>
                  <a:lnTo>
                    <a:pt x="176" y="267"/>
                  </a:lnTo>
                  <a:lnTo>
                    <a:pt x="176" y="267"/>
                  </a:lnTo>
                  <a:lnTo>
                    <a:pt x="176" y="262"/>
                  </a:lnTo>
                  <a:lnTo>
                    <a:pt x="176" y="258"/>
                  </a:lnTo>
                  <a:lnTo>
                    <a:pt x="174" y="254"/>
                  </a:lnTo>
                  <a:lnTo>
                    <a:pt x="172" y="250"/>
                  </a:lnTo>
                  <a:lnTo>
                    <a:pt x="170" y="247"/>
                  </a:lnTo>
                  <a:lnTo>
                    <a:pt x="168" y="249"/>
                  </a:lnTo>
                  <a:lnTo>
                    <a:pt x="164" y="254"/>
                  </a:lnTo>
                  <a:lnTo>
                    <a:pt x="164" y="260"/>
                  </a:lnTo>
                  <a:lnTo>
                    <a:pt x="164" y="262"/>
                  </a:lnTo>
                  <a:lnTo>
                    <a:pt x="168" y="267"/>
                  </a:lnTo>
                  <a:lnTo>
                    <a:pt x="168" y="267"/>
                  </a:lnTo>
                  <a:lnTo>
                    <a:pt x="168" y="273"/>
                  </a:lnTo>
                  <a:lnTo>
                    <a:pt x="164" y="279"/>
                  </a:lnTo>
                  <a:lnTo>
                    <a:pt x="160" y="281"/>
                  </a:lnTo>
                  <a:lnTo>
                    <a:pt x="159" y="281"/>
                  </a:lnTo>
                  <a:lnTo>
                    <a:pt x="159" y="277"/>
                  </a:lnTo>
                  <a:lnTo>
                    <a:pt x="159" y="273"/>
                  </a:lnTo>
                  <a:lnTo>
                    <a:pt x="159" y="273"/>
                  </a:lnTo>
                  <a:lnTo>
                    <a:pt x="157" y="273"/>
                  </a:lnTo>
                  <a:lnTo>
                    <a:pt x="155" y="275"/>
                  </a:lnTo>
                  <a:lnTo>
                    <a:pt x="155" y="277"/>
                  </a:lnTo>
                  <a:lnTo>
                    <a:pt x="151" y="277"/>
                  </a:lnTo>
                  <a:lnTo>
                    <a:pt x="145" y="273"/>
                  </a:lnTo>
                  <a:lnTo>
                    <a:pt x="142" y="273"/>
                  </a:lnTo>
                  <a:lnTo>
                    <a:pt x="138" y="269"/>
                  </a:lnTo>
                  <a:lnTo>
                    <a:pt x="138" y="267"/>
                  </a:lnTo>
                  <a:lnTo>
                    <a:pt x="136" y="264"/>
                  </a:lnTo>
                  <a:lnTo>
                    <a:pt x="136" y="262"/>
                  </a:lnTo>
                  <a:lnTo>
                    <a:pt x="136" y="258"/>
                  </a:lnTo>
                  <a:lnTo>
                    <a:pt x="134" y="254"/>
                  </a:lnTo>
                  <a:lnTo>
                    <a:pt x="136" y="254"/>
                  </a:lnTo>
                  <a:lnTo>
                    <a:pt x="136" y="250"/>
                  </a:lnTo>
                  <a:lnTo>
                    <a:pt x="138" y="250"/>
                  </a:lnTo>
                  <a:lnTo>
                    <a:pt x="140" y="252"/>
                  </a:lnTo>
                  <a:lnTo>
                    <a:pt x="138" y="249"/>
                  </a:lnTo>
                  <a:lnTo>
                    <a:pt x="136" y="245"/>
                  </a:lnTo>
                  <a:lnTo>
                    <a:pt x="132" y="243"/>
                  </a:lnTo>
                  <a:lnTo>
                    <a:pt x="130" y="241"/>
                  </a:lnTo>
                  <a:lnTo>
                    <a:pt x="127" y="239"/>
                  </a:lnTo>
                  <a:lnTo>
                    <a:pt x="125" y="239"/>
                  </a:lnTo>
                  <a:lnTo>
                    <a:pt x="125" y="239"/>
                  </a:lnTo>
                  <a:lnTo>
                    <a:pt x="125" y="241"/>
                  </a:lnTo>
                  <a:lnTo>
                    <a:pt x="125" y="243"/>
                  </a:lnTo>
                  <a:lnTo>
                    <a:pt x="125" y="247"/>
                  </a:lnTo>
                  <a:lnTo>
                    <a:pt x="125" y="247"/>
                  </a:lnTo>
                  <a:lnTo>
                    <a:pt x="121" y="245"/>
                  </a:lnTo>
                  <a:lnTo>
                    <a:pt x="119" y="245"/>
                  </a:lnTo>
                  <a:lnTo>
                    <a:pt x="121" y="241"/>
                  </a:lnTo>
                  <a:lnTo>
                    <a:pt x="115" y="241"/>
                  </a:lnTo>
                  <a:lnTo>
                    <a:pt x="115" y="243"/>
                  </a:lnTo>
                  <a:lnTo>
                    <a:pt x="115" y="247"/>
                  </a:lnTo>
                  <a:lnTo>
                    <a:pt x="115" y="245"/>
                  </a:lnTo>
                  <a:lnTo>
                    <a:pt x="113" y="245"/>
                  </a:lnTo>
                  <a:lnTo>
                    <a:pt x="112" y="245"/>
                  </a:lnTo>
                  <a:lnTo>
                    <a:pt x="112" y="241"/>
                  </a:lnTo>
                  <a:lnTo>
                    <a:pt x="110" y="237"/>
                  </a:lnTo>
                  <a:lnTo>
                    <a:pt x="108" y="239"/>
                  </a:lnTo>
                  <a:lnTo>
                    <a:pt x="106" y="243"/>
                  </a:lnTo>
                  <a:lnTo>
                    <a:pt x="102" y="247"/>
                  </a:lnTo>
                  <a:lnTo>
                    <a:pt x="100" y="254"/>
                  </a:lnTo>
                  <a:lnTo>
                    <a:pt x="98" y="254"/>
                  </a:lnTo>
                  <a:lnTo>
                    <a:pt x="98" y="254"/>
                  </a:lnTo>
                  <a:lnTo>
                    <a:pt x="98" y="254"/>
                  </a:lnTo>
                  <a:lnTo>
                    <a:pt x="98" y="254"/>
                  </a:lnTo>
                  <a:close/>
                  <a:moveTo>
                    <a:pt x="95" y="262"/>
                  </a:moveTo>
                  <a:lnTo>
                    <a:pt x="95" y="264"/>
                  </a:lnTo>
                  <a:lnTo>
                    <a:pt x="95" y="267"/>
                  </a:lnTo>
                  <a:lnTo>
                    <a:pt x="96" y="267"/>
                  </a:lnTo>
                  <a:lnTo>
                    <a:pt x="102" y="264"/>
                  </a:lnTo>
                  <a:lnTo>
                    <a:pt x="102" y="262"/>
                  </a:lnTo>
                  <a:lnTo>
                    <a:pt x="100" y="262"/>
                  </a:lnTo>
                  <a:lnTo>
                    <a:pt x="98" y="260"/>
                  </a:lnTo>
                  <a:lnTo>
                    <a:pt x="96" y="262"/>
                  </a:lnTo>
                  <a:lnTo>
                    <a:pt x="95" y="262"/>
                  </a:lnTo>
                  <a:lnTo>
                    <a:pt x="95" y="262"/>
                  </a:lnTo>
                  <a:lnTo>
                    <a:pt x="95" y="262"/>
                  </a:lnTo>
                  <a:lnTo>
                    <a:pt x="95" y="262"/>
                  </a:lnTo>
                  <a:close/>
                  <a:moveTo>
                    <a:pt x="51" y="154"/>
                  </a:moveTo>
                  <a:lnTo>
                    <a:pt x="49" y="151"/>
                  </a:lnTo>
                  <a:lnTo>
                    <a:pt x="48" y="149"/>
                  </a:lnTo>
                  <a:lnTo>
                    <a:pt x="49" y="147"/>
                  </a:lnTo>
                  <a:lnTo>
                    <a:pt x="51" y="147"/>
                  </a:lnTo>
                  <a:lnTo>
                    <a:pt x="55" y="151"/>
                  </a:lnTo>
                  <a:lnTo>
                    <a:pt x="57" y="151"/>
                  </a:lnTo>
                  <a:lnTo>
                    <a:pt x="57" y="153"/>
                  </a:lnTo>
                  <a:lnTo>
                    <a:pt x="57" y="154"/>
                  </a:lnTo>
                  <a:lnTo>
                    <a:pt x="55" y="154"/>
                  </a:lnTo>
                  <a:lnTo>
                    <a:pt x="51" y="154"/>
                  </a:lnTo>
                  <a:lnTo>
                    <a:pt x="51" y="154"/>
                  </a:lnTo>
                  <a:lnTo>
                    <a:pt x="51" y="154"/>
                  </a:lnTo>
                  <a:lnTo>
                    <a:pt x="51" y="154"/>
                  </a:lnTo>
                  <a:close/>
                  <a:moveTo>
                    <a:pt x="49" y="154"/>
                  </a:moveTo>
                  <a:lnTo>
                    <a:pt x="51" y="154"/>
                  </a:lnTo>
                  <a:lnTo>
                    <a:pt x="51" y="158"/>
                  </a:lnTo>
                  <a:lnTo>
                    <a:pt x="51" y="158"/>
                  </a:lnTo>
                  <a:lnTo>
                    <a:pt x="51" y="160"/>
                  </a:lnTo>
                  <a:lnTo>
                    <a:pt x="49" y="160"/>
                  </a:lnTo>
                  <a:lnTo>
                    <a:pt x="48" y="158"/>
                  </a:lnTo>
                  <a:lnTo>
                    <a:pt x="49" y="154"/>
                  </a:lnTo>
                  <a:lnTo>
                    <a:pt x="49" y="154"/>
                  </a:lnTo>
                  <a:lnTo>
                    <a:pt x="49" y="154"/>
                  </a:lnTo>
                  <a:lnTo>
                    <a:pt x="49" y="154"/>
                  </a:lnTo>
                  <a:close/>
                  <a:moveTo>
                    <a:pt x="51" y="183"/>
                  </a:moveTo>
                  <a:lnTo>
                    <a:pt x="51" y="183"/>
                  </a:lnTo>
                  <a:lnTo>
                    <a:pt x="51" y="181"/>
                  </a:lnTo>
                  <a:lnTo>
                    <a:pt x="55" y="183"/>
                  </a:lnTo>
                  <a:lnTo>
                    <a:pt x="57" y="185"/>
                  </a:lnTo>
                  <a:lnTo>
                    <a:pt x="55" y="185"/>
                  </a:lnTo>
                  <a:lnTo>
                    <a:pt x="51" y="185"/>
                  </a:lnTo>
                  <a:lnTo>
                    <a:pt x="49" y="185"/>
                  </a:lnTo>
                  <a:lnTo>
                    <a:pt x="51" y="183"/>
                  </a:lnTo>
                  <a:lnTo>
                    <a:pt x="51" y="183"/>
                  </a:lnTo>
                  <a:lnTo>
                    <a:pt x="51" y="183"/>
                  </a:lnTo>
                  <a:lnTo>
                    <a:pt x="51" y="183"/>
                  </a:lnTo>
                  <a:close/>
                  <a:moveTo>
                    <a:pt x="4" y="224"/>
                  </a:moveTo>
                  <a:lnTo>
                    <a:pt x="8" y="222"/>
                  </a:lnTo>
                  <a:lnTo>
                    <a:pt x="12" y="222"/>
                  </a:lnTo>
                  <a:lnTo>
                    <a:pt x="14" y="218"/>
                  </a:lnTo>
                  <a:lnTo>
                    <a:pt x="17" y="218"/>
                  </a:lnTo>
                  <a:lnTo>
                    <a:pt x="21" y="211"/>
                  </a:lnTo>
                  <a:lnTo>
                    <a:pt x="27" y="209"/>
                  </a:lnTo>
                  <a:lnTo>
                    <a:pt x="31" y="207"/>
                  </a:lnTo>
                  <a:lnTo>
                    <a:pt x="31" y="205"/>
                  </a:lnTo>
                  <a:lnTo>
                    <a:pt x="31" y="203"/>
                  </a:lnTo>
                  <a:lnTo>
                    <a:pt x="31" y="198"/>
                  </a:lnTo>
                  <a:lnTo>
                    <a:pt x="34" y="194"/>
                  </a:lnTo>
                  <a:lnTo>
                    <a:pt x="40" y="194"/>
                  </a:lnTo>
                  <a:lnTo>
                    <a:pt x="42" y="190"/>
                  </a:lnTo>
                  <a:lnTo>
                    <a:pt x="44" y="185"/>
                  </a:lnTo>
                  <a:lnTo>
                    <a:pt x="48" y="185"/>
                  </a:lnTo>
                  <a:lnTo>
                    <a:pt x="49" y="183"/>
                  </a:lnTo>
                  <a:lnTo>
                    <a:pt x="48" y="179"/>
                  </a:lnTo>
                  <a:lnTo>
                    <a:pt x="44" y="175"/>
                  </a:lnTo>
                  <a:lnTo>
                    <a:pt x="44" y="171"/>
                  </a:lnTo>
                  <a:lnTo>
                    <a:pt x="44" y="168"/>
                  </a:lnTo>
                  <a:lnTo>
                    <a:pt x="42" y="168"/>
                  </a:lnTo>
                  <a:lnTo>
                    <a:pt x="42" y="173"/>
                  </a:lnTo>
                  <a:lnTo>
                    <a:pt x="42" y="179"/>
                  </a:lnTo>
                  <a:lnTo>
                    <a:pt x="38" y="177"/>
                  </a:lnTo>
                  <a:lnTo>
                    <a:pt x="42" y="181"/>
                  </a:lnTo>
                  <a:lnTo>
                    <a:pt x="40" y="183"/>
                  </a:lnTo>
                  <a:lnTo>
                    <a:pt x="38" y="185"/>
                  </a:lnTo>
                  <a:lnTo>
                    <a:pt x="34" y="185"/>
                  </a:lnTo>
                  <a:lnTo>
                    <a:pt x="32" y="190"/>
                  </a:lnTo>
                  <a:lnTo>
                    <a:pt x="31" y="194"/>
                  </a:lnTo>
                  <a:lnTo>
                    <a:pt x="27" y="194"/>
                  </a:lnTo>
                  <a:lnTo>
                    <a:pt x="25" y="203"/>
                  </a:lnTo>
                  <a:lnTo>
                    <a:pt x="19" y="207"/>
                  </a:lnTo>
                  <a:lnTo>
                    <a:pt x="16" y="209"/>
                  </a:lnTo>
                  <a:lnTo>
                    <a:pt x="14" y="215"/>
                  </a:lnTo>
                  <a:lnTo>
                    <a:pt x="12" y="215"/>
                  </a:lnTo>
                  <a:lnTo>
                    <a:pt x="6" y="222"/>
                  </a:lnTo>
                  <a:lnTo>
                    <a:pt x="4" y="224"/>
                  </a:lnTo>
                  <a:lnTo>
                    <a:pt x="4" y="224"/>
                  </a:lnTo>
                  <a:lnTo>
                    <a:pt x="4" y="224"/>
                  </a:lnTo>
                  <a:lnTo>
                    <a:pt x="4" y="224"/>
                  </a:lnTo>
                  <a:lnTo>
                    <a:pt x="4" y="224"/>
                  </a:lnTo>
                  <a:close/>
                  <a:moveTo>
                    <a:pt x="6" y="228"/>
                  </a:moveTo>
                  <a:lnTo>
                    <a:pt x="4" y="230"/>
                  </a:lnTo>
                  <a:lnTo>
                    <a:pt x="6" y="230"/>
                  </a:lnTo>
                  <a:lnTo>
                    <a:pt x="6" y="228"/>
                  </a:lnTo>
                  <a:lnTo>
                    <a:pt x="6" y="228"/>
                  </a:lnTo>
                  <a:lnTo>
                    <a:pt x="6" y="228"/>
                  </a:lnTo>
                  <a:lnTo>
                    <a:pt x="6" y="228"/>
                  </a:lnTo>
                  <a:close/>
                  <a:moveTo>
                    <a:pt x="8" y="228"/>
                  </a:moveTo>
                  <a:lnTo>
                    <a:pt x="6" y="230"/>
                  </a:lnTo>
                  <a:lnTo>
                    <a:pt x="8" y="230"/>
                  </a:lnTo>
                  <a:lnTo>
                    <a:pt x="8" y="228"/>
                  </a:lnTo>
                  <a:lnTo>
                    <a:pt x="8" y="228"/>
                  </a:lnTo>
                  <a:lnTo>
                    <a:pt x="8" y="228"/>
                  </a:lnTo>
                  <a:lnTo>
                    <a:pt x="8" y="228"/>
                  </a:lnTo>
                  <a:close/>
                  <a:moveTo>
                    <a:pt x="2" y="234"/>
                  </a:moveTo>
                  <a:lnTo>
                    <a:pt x="0" y="234"/>
                  </a:lnTo>
                  <a:lnTo>
                    <a:pt x="0" y="237"/>
                  </a:lnTo>
                  <a:lnTo>
                    <a:pt x="0" y="239"/>
                  </a:lnTo>
                  <a:lnTo>
                    <a:pt x="2" y="239"/>
                  </a:lnTo>
                  <a:lnTo>
                    <a:pt x="2" y="234"/>
                  </a:lnTo>
                  <a:lnTo>
                    <a:pt x="4" y="234"/>
                  </a:lnTo>
                  <a:lnTo>
                    <a:pt x="2" y="234"/>
                  </a:lnTo>
                  <a:lnTo>
                    <a:pt x="2" y="234"/>
                  </a:lnTo>
                  <a:lnTo>
                    <a:pt x="2" y="234"/>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6" name="Freeform 199">
              <a:extLst>
                <a:ext uri="{FF2B5EF4-FFF2-40B4-BE49-F238E27FC236}">
                  <a16:creationId xmlns:a16="http://schemas.microsoft.com/office/drawing/2014/main" id="{22B2FB36-1D02-4F70-96EC-BE56ABF095DC}"/>
                </a:ext>
              </a:extLst>
            </p:cNvPr>
            <p:cNvSpPr>
              <a:spLocks noEditPoints="1"/>
            </p:cNvSpPr>
            <p:nvPr/>
          </p:nvSpPr>
          <p:spPr bwMode="auto">
            <a:xfrm>
              <a:off x="4635" y="2966"/>
              <a:ext cx="360" cy="120"/>
            </a:xfrm>
            <a:custGeom>
              <a:avLst/>
              <a:gdLst/>
              <a:ahLst/>
              <a:cxnLst>
                <a:cxn ang="0">
                  <a:pos x="216" y="88"/>
                </a:cxn>
                <a:cxn ang="0">
                  <a:pos x="0" y="32"/>
                </a:cxn>
                <a:cxn ang="0">
                  <a:pos x="2" y="34"/>
                </a:cxn>
                <a:cxn ang="0">
                  <a:pos x="183" y="101"/>
                </a:cxn>
                <a:cxn ang="0">
                  <a:pos x="200" y="120"/>
                </a:cxn>
                <a:cxn ang="0">
                  <a:pos x="215" y="116"/>
                </a:cxn>
                <a:cxn ang="0">
                  <a:pos x="252" y="115"/>
                </a:cxn>
                <a:cxn ang="0">
                  <a:pos x="273" y="107"/>
                </a:cxn>
                <a:cxn ang="0">
                  <a:pos x="294" y="64"/>
                </a:cxn>
                <a:cxn ang="0">
                  <a:pos x="309" y="54"/>
                </a:cxn>
                <a:cxn ang="0">
                  <a:pos x="329" y="54"/>
                </a:cxn>
                <a:cxn ang="0">
                  <a:pos x="344" y="54"/>
                </a:cxn>
                <a:cxn ang="0">
                  <a:pos x="356" y="43"/>
                </a:cxn>
                <a:cxn ang="0">
                  <a:pos x="348" y="35"/>
                </a:cxn>
                <a:cxn ang="0">
                  <a:pos x="333" y="32"/>
                </a:cxn>
                <a:cxn ang="0">
                  <a:pos x="329" y="28"/>
                </a:cxn>
                <a:cxn ang="0">
                  <a:pos x="326" y="17"/>
                </a:cxn>
                <a:cxn ang="0">
                  <a:pos x="316" y="7"/>
                </a:cxn>
                <a:cxn ang="0">
                  <a:pos x="312" y="7"/>
                </a:cxn>
                <a:cxn ang="0">
                  <a:pos x="299" y="30"/>
                </a:cxn>
                <a:cxn ang="0">
                  <a:pos x="284" y="39"/>
                </a:cxn>
                <a:cxn ang="0">
                  <a:pos x="284" y="45"/>
                </a:cxn>
                <a:cxn ang="0">
                  <a:pos x="282" y="54"/>
                </a:cxn>
                <a:cxn ang="0">
                  <a:pos x="279" y="47"/>
                </a:cxn>
                <a:cxn ang="0">
                  <a:pos x="269" y="52"/>
                </a:cxn>
                <a:cxn ang="0">
                  <a:pos x="256" y="62"/>
                </a:cxn>
                <a:cxn ang="0">
                  <a:pos x="239" y="82"/>
                </a:cxn>
                <a:cxn ang="0">
                  <a:pos x="224" y="94"/>
                </a:cxn>
                <a:cxn ang="0">
                  <a:pos x="213" y="105"/>
                </a:cxn>
                <a:cxn ang="0">
                  <a:pos x="190" y="109"/>
                </a:cxn>
                <a:cxn ang="0">
                  <a:pos x="183" y="101"/>
                </a:cxn>
                <a:cxn ang="0">
                  <a:pos x="316" y="1"/>
                </a:cxn>
                <a:cxn ang="0">
                  <a:pos x="320" y="0"/>
                </a:cxn>
                <a:cxn ang="0">
                  <a:pos x="320" y="0"/>
                </a:cxn>
                <a:cxn ang="0">
                  <a:pos x="215" y="96"/>
                </a:cxn>
                <a:cxn ang="0">
                  <a:pos x="216" y="94"/>
                </a:cxn>
                <a:cxn ang="0">
                  <a:pos x="220" y="94"/>
                </a:cxn>
                <a:cxn ang="0">
                  <a:pos x="224" y="92"/>
                </a:cxn>
                <a:cxn ang="0">
                  <a:pos x="220" y="88"/>
                </a:cxn>
                <a:cxn ang="0">
                  <a:pos x="0" y="17"/>
                </a:cxn>
                <a:cxn ang="0">
                  <a:pos x="15" y="17"/>
                </a:cxn>
                <a:cxn ang="0">
                  <a:pos x="17" y="28"/>
                </a:cxn>
                <a:cxn ang="0">
                  <a:pos x="36" y="26"/>
                </a:cxn>
                <a:cxn ang="0">
                  <a:pos x="41" y="20"/>
                </a:cxn>
                <a:cxn ang="0">
                  <a:pos x="66" y="52"/>
                </a:cxn>
                <a:cxn ang="0">
                  <a:pos x="66" y="69"/>
                </a:cxn>
                <a:cxn ang="0">
                  <a:pos x="75" y="88"/>
                </a:cxn>
                <a:cxn ang="0">
                  <a:pos x="77" y="98"/>
                </a:cxn>
                <a:cxn ang="0">
                  <a:pos x="79" y="109"/>
                </a:cxn>
                <a:cxn ang="0">
                  <a:pos x="75" y="111"/>
                </a:cxn>
                <a:cxn ang="0">
                  <a:pos x="72" y="113"/>
                </a:cxn>
                <a:cxn ang="0">
                  <a:pos x="51" y="101"/>
                </a:cxn>
                <a:cxn ang="0">
                  <a:pos x="40" y="92"/>
                </a:cxn>
                <a:cxn ang="0">
                  <a:pos x="26" y="79"/>
                </a:cxn>
                <a:cxn ang="0">
                  <a:pos x="11" y="64"/>
                </a:cxn>
                <a:cxn ang="0">
                  <a:pos x="11" y="47"/>
                </a:cxn>
                <a:cxn ang="0">
                  <a:pos x="0" y="17"/>
                </a:cxn>
              </a:cxnLst>
              <a:rect l="0" t="0" r="r" b="b"/>
              <a:pathLst>
                <a:path w="360" h="120">
                  <a:moveTo>
                    <a:pt x="216" y="88"/>
                  </a:moveTo>
                  <a:lnTo>
                    <a:pt x="216" y="90"/>
                  </a:lnTo>
                  <a:lnTo>
                    <a:pt x="216" y="92"/>
                  </a:lnTo>
                  <a:lnTo>
                    <a:pt x="216" y="90"/>
                  </a:lnTo>
                  <a:lnTo>
                    <a:pt x="216" y="88"/>
                  </a:lnTo>
                  <a:lnTo>
                    <a:pt x="216" y="88"/>
                  </a:lnTo>
                  <a:lnTo>
                    <a:pt x="216" y="88"/>
                  </a:lnTo>
                  <a:lnTo>
                    <a:pt x="216" y="88"/>
                  </a:lnTo>
                  <a:lnTo>
                    <a:pt x="216" y="88"/>
                  </a:lnTo>
                  <a:close/>
                  <a:moveTo>
                    <a:pt x="0" y="32"/>
                  </a:moveTo>
                  <a:lnTo>
                    <a:pt x="0" y="37"/>
                  </a:lnTo>
                  <a:lnTo>
                    <a:pt x="4" y="39"/>
                  </a:lnTo>
                  <a:lnTo>
                    <a:pt x="4" y="39"/>
                  </a:lnTo>
                  <a:lnTo>
                    <a:pt x="4" y="35"/>
                  </a:lnTo>
                  <a:lnTo>
                    <a:pt x="2" y="34"/>
                  </a:lnTo>
                  <a:lnTo>
                    <a:pt x="0" y="32"/>
                  </a:lnTo>
                  <a:lnTo>
                    <a:pt x="0" y="32"/>
                  </a:lnTo>
                  <a:lnTo>
                    <a:pt x="0" y="32"/>
                  </a:lnTo>
                  <a:lnTo>
                    <a:pt x="0" y="32"/>
                  </a:lnTo>
                  <a:close/>
                  <a:moveTo>
                    <a:pt x="183" y="101"/>
                  </a:moveTo>
                  <a:lnTo>
                    <a:pt x="186" y="109"/>
                  </a:lnTo>
                  <a:lnTo>
                    <a:pt x="194" y="113"/>
                  </a:lnTo>
                  <a:lnTo>
                    <a:pt x="194" y="115"/>
                  </a:lnTo>
                  <a:lnTo>
                    <a:pt x="196" y="116"/>
                  </a:lnTo>
                  <a:lnTo>
                    <a:pt x="200" y="120"/>
                  </a:lnTo>
                  <a:lnTo>
                    <a:pt x="201" y="120"/>
                  </a:lnTo>
                  <a:lnTo>
                    <a:pt x="207" y="120"/>
                  </a:lnTo>
                  <a:lnTo>
                    <a:pt x="207" y="116"/>
                  </a:lnTo>
                  <a:lnTo>
                    <a:pt x="213" y="120"/>
                  </a:lnTo>
                  <a:lnTo>
                    <a:pt x="215" y="116"/>
                  </a:lnTo>
                  <a:lnTo>
                    <a:pt x="226" y="116"/>
                  </a:lnTo>
                  <a:lnTo>
                    <a:pt x="235" y="115"/>
                  </a:lnTo>
                  <a:lnTo>
                    <a:pt x="239" y="111"/>
                  </a:lnTo>
                  <a:lnTo>
                    <a:pt x="247" y="111"/>
                  </a:lnTo>
                  <a:lnTo>
                    <a:pt x="252" y="115"/>
                  </a:lnTo>
                  <a:lnTo>
                    <a:pt x="254" y="116"/>
                  </a:lnTo>
                  <a:lnTo>
                    <a:pt x="256" y="116"/>
                  </a:lnTo>
                  <a:lnTo>
                    <a:pt x="265" y="111"/>
                  </a:lnTo>
                  <a:lnTo>
                    <a:pt x="275" y="111"/>
                  </a:lnTo>
                  <a:lnTo>
                    <a:pt x="273" y="107"/>
                  </a:lnTo>
                  <a:lnTo>
                    <a:pt x="280" y="98"/>
                  </a:lnTo>
                  <a:lnTo>
                    <a:pt x="284" y="88"/>
                  </a:lnTo>
                  <a:lnTo>
                    <a:pt x="290" y="82"/>
                  </a:lnTo>
                  <a:lnTo>
                    <a:pt x="294" y="67"/>
                  </a:lnTo>
                  <a:lnTo>
                    <a:pt x="294" y="64"/>
                  </a:lnTo>
                  <a:lnTo>
                    <a:pt x="296" y="62"/>
                  </a:lnTo>
                  <a:lnTo>
                    <a:pt x="296" y="60"/>
                  </a:lnTo>
                  <a:lnTo>
                    <a:pt x="299" y="54"/>
                  </a:lnTo>
                  <a:lnTo>
                    <a:pt x="301" y="54"/>
                  </a:lnTo>
                  <a:lnTo>
                    <a:pt x="309" y="54"/>
                  </a:lnTo>
                  <a:lnTo>
                    <a:pt x="316" y="54"/>
                  </a:lnTo>
                  <a:lnTo>
                    <a:pt x="318" y="54"/>
                  </a:lnTo>
                  <a:lnTo>
                    <a:pt x="324" y="54"/>
                  </a:lnTo>
                  <a:lnTo>
                    <a:pt x="329" y="58"/>
                  </a:lnTo>
                  <a:lnTo>
                    <a:pt x="329" y="54"/>
                  </a:lnTo>
                  <a:lnTo>
                    <a:pt x="333" y="60"/>
                  </a:lnTo>
                  <a:lnTo>
                    <a:pt x="335" y="60"/>
                  </a:lnTo>
                  <a:lnTo>
                    <a:pt x="339" y="58"/>
                  </a:lnTo>
                  <a:lnTo>
                    <a:pt x="344" y="58"/>
                  </a:lnTo>
                  <a:lnTo>
                    <a:pt x="344" y="54"/>
                  </a:lnTo>
                  <a:lnTo>
                    <a:pt x="339" y="50"/>
                  </a:lnTo>
                  <a:lnTo>
                    <a:pt x="339" y="45"/>
                  </a:lnTo>
                  <a:lnTo>
                    <a:pt x="341" y="43"/>
                  </a:lnTo>
                  <a:lnTo>
                    <a:pt x="350" y="45"/>
                  </a:lnTo>
                  <a:lnTo>
                    <a:pt x="356" y="43"/>
                  </a:lnTo>
                  <a:lnTo>
                    <a:pt x="360" y="39"/>
                  </a:lnTo>
                  <a:lnTo>
                    <a:pt x="360" y="39"/>
                  </a:lnTo>
                  <a:lnTo>
                    <a:pt x="356" y="39"/>
                  </a:lnTo>
                  <a:lnTo>
                    <a:pt x="352" y="37"/>
                  </a:lnTo>
                  <a:lnTo>
                    <a:pt x="348" y="35"/>
                  </a:lnTo>
                  <a:lnTo>
                    <a:pt x="344" y="35"/>
                  </a:lnTo>
                  <a:lnTo>
                    <a:pt x="339" y="30"/>
                  </a:lnTo>
                  <a:lnTo>
                    <a:pt x="339" y="30"/>
                  </a:lnTo>
                  <a:lnTo>
                    <a:pt x="335" y="34"/>
                  </a:lnTo>
                  <a:lnTo>
                    <a:pt x="333" y="32"/>
                  </a:lnTo>
                  <a:lnTo>
                    <a:pt x="339" y="28"/>
                  </a:lnTo>
                  <a:lnTo>
                    <a:pt x="335" y="26"/>
                  </a:lnTo>
                  <a:lnTo>
                    <a:pt x="335" y="26"/>
                  </a:lnTo>
                  <a:lnTo>
                    <a:pt x="329" y="30"/>
                  </a:lnTo>
                  <a:lnTo>
                    <a:pt x="329" y="28"/>
                  </a:lnTo>
                  <a:lnTo>
                    <a:pt x="326" y="26"/>
                  </a:lnTo>
                  <a:lnTo>
                    <a:pt x="329" y="20"/>
                  </a:lnTo>
                  <a:lnTo>
                    <a:pt x="329" y="20"/>
                  </a:lnTo>
                  <a:lnTo>
                    <a:pt x="329" y="18"/>
                  </a:lnTo>
                  <a:lnTo>
                    <a:pt x="326" y="17"/>
                  </a:lnTo>
                  <a:lnTo>
                    <a:pt x="326" y="17"/>
                  </a:lnTo>
                  <a:lnTo>
                    <a:pt x="322" y="13"/>
                  </a:lnTo>
                  <a:lnTo>
                    <a:pt x="322" y="7"/>
                  </a:lnTo>
                  <a:lnTo>
                    <a:pt x="318" y="5"/>
                  </a:lnTo>
                  <a:lnTo>
                    <a:pt x="316" y="7"/>
                  </a:lnTo>
                  <a:lnTo>
                    <a:pt x="316" y="11"/>
                  </a:lnTo>
                  <a:lnTo>
                    <a:pt x="312" y="15"/>
                  </a:lnTo>
                  <a:lnTo>
                    <a:pt x="311" y="15"/>
                  </a:lnTo>
                  <a:lnTo>
                    <a:pt x="312" y="11"/>
                  </a:lnTo>
                  <a:lnTo>
                    <a:pt x="312" y="7"/>
                  </a:lnTo>
                  <a:lnTo>
                    <a:pt x="309" y="7"/>
                  </a:lnTo>
                  <a:lnTo>
                    <a:pt x="309" y="17"/>
                  </a:lnTo>
                  <a:lnTo>
                    <a:pt x="305" y="17"/>
                  </a:lnTo>
                  <a:lnTo>
                    <a:pt x="299" y="24"/>
                  </a:lnTo>
                  <a:lnTo>
                    <a:pt x="299" y="30"/>
                  </a:lnTo>
                  <a:lnTo>
                    <a:pt x="294" y="37"/>
                  </a:lnTo>
                  <a:lnTo>
                    <a:pt x="290" y="37"/>
                  </a:lnTo>
                  <a:lnTo>
                    <a:pt x="284" y="39"/>
                  </a:lnTo>
                  <a:lnTo>
                    <a:pt x="282" y="39"/>
                  </a:lnTo>
                  <a:lnTo>
                    <a:pt x="284" y="39"/>
                  </a:lnTo>
                  <a:lnTo>
                    <a:pt x="282" y="43"/>
                  </a:lnTo>
                  <a:lnTo>
                    <a:pt x="284" y="43"/>
                  </a:lnTo>
                  <a:lnTo>
                    <a:pt x="290" y="43"/>
                  </a:lnTo>
                  <a:lnTo>
                    <a:pt x="288" y="45"/>
                  </a:lnTo>
                  <a:lnTo>
                    <a:pt x="284" y="45"/>
                  </a:lnTo>
                  <a:lnTo>
                    <a:pt x="284" y="47"/>
                  </a:lnTo>
                  <a:lnTo>
                    <a:pt x="284" y="49"/>
                  </a:lnTo>
                  <a:lnTo>
                    <a:pt x="286" y="54"/>
                  </a:lnTo>
                  <a:lnTo>
                    <a:pt x="284" y="58"/>
                  </a:lnTo>
                  <a:lnTo>
                    <a:pt x="282" y="54"/>
                  </a:lnTo>
                  <a:lnTo>
                    <a:pt x="282" y="52"/>
                  </a:lnTo>
                  <a:lnTo>
                    <a:pt x="280" y="49"/>
                  </a:lnTo>
                  <a:lnTo>
                    <a:pt x="280" y="49"/>
                  </a:lnTo>
                  <a:lnTo>
                    <a:pt x="280" y="47"/>
                  </a:lnTo>
                  <a:lnTo>
                    <a:pt x="279" y="47"/>
                  </a:lnTo>
                  <a:lnTo>
                    <a:pt x="277" y="50"/>
                  </a:lnTo>
                  <a:lnTo>
                    <a:pt x="279" y="60"/>
                  </a:lnTo>
                  <a:lnTo>
                    <a:pt x="277" y="60"/>
                  </a:lnTo>
                  <a:lnTo>
                    <a:pt x="273" y="58"/>
                  </a:lnTo>
                  <a:lnTo>
                    <a:pt x="269" y="52"/>
                  </a:lnTo>
                  <a:lnTo>
                    <a:pt x="269" y="52"/>
                  </a:lnTo>
                  <a:lnTo>
                    <a:pt x="265" y="50"/>
                  </a:lnTo>
                  <a:lnTo>
                    <a:pt x="264" y="54"/>
                  </a:lnTo>
                  <a:lnTo>
                    <a:pt x="264" y="58"/>
                  </a:lnTo>
                  <a:lnTo>
                    <a:pt x="256" y="62"/>
                  </a:lnTo>
                  <a:lnTo>
                    <a:pt x="256" y="67"/>
                  </a:lnTo>
                  <a:lnTo>
                    <a:pt x="250" y="69"/>
                  </a:lnTo>
                  <a:lnTo>
                    <a:pt x="248" y="73"/>
                  </a:lnTo>
                  <a:lnTo>
                    <a:pt x="245" y="79"/>
                  </a:lnTo>
                  <a:lnTo>
                    <a:pt x="239" y="82"/>
                  </a:lnTo>
                  <a:lnTo>
                    <a:pt x="224" y="86"/>
                  </a:lnTo>
                  <a:lnTo>
                    <a:pt x="222" y="86"/>
                  </a:lnTo>
                  <a:lnTo>
                    <a:pt x="224" y="92"/>
                  </a:lnTo>
                  <a:lnTo>
                    <a:pt x="226" y="94"/>
                  </a:lnTo>
                  <a:lnTo>
                    <a:pt x="224" y="94"/>
                  </a:lnTo>
                  <a:lnTo>
                    <a:pt x="220" y="94"/>
                  </a:lnTo>
                  <a:lnTo>
                    <a:pt x="216" y="96"/>
                  </a:lnTo>
                  <a:lnTo>
                    <a:pt x="215" y="98"/>
                  </a:lnTo>
                  <a:lnTo>
                    <a:pt x="213" y="101"/>
                  </a:lnTo>
                  <a:lnTo>
                    <a:pt x="213" y="105"/>
                  </a:lnTo>
                  <a:lnTo>
                    <a:pt x="209" y="111"/>
                  </a:lnTo>
                  <a:lnTo>
                    <a:pt x="209" y="113"/>
                  </a:lnTo>
                  <a:lnTo>
                    <a:pt x="201" y="111"/>
                  </a:lnTo>
                  <a:lnTo>
                    <a:pt x="196" y="109"/>
                  </a:lnTo>
                  <a:lnTo>
                    <a:pt x="190" y="109"/>
                  </a:lnTo>
                  <a:lnTo>
                    <a:pt x="186" y="105"/>
                  </a:lnTo>
                  <a:lnTo>
                    <a:pt x="184" y="101"/>
                  </a:lnTo>
                  <a:lnTo>
                    <a:pt x="183" y="101"/>
                  </a:lnTo>
                  <a:lnTo>
                    <a:pt x="183" y="101"/>
                  </a:lnTo>
                  <a:lnTo>
                    <a:pt x="183" y="101"/>
                  </a:lnTo>
                  <a:lnTo>
                    <a:pt x="183" y="101"/>
                  </a:lnTo>
                  <a:close/>
                  <a:moveTo>
                    <a:pt x="316" y="0"/>
                  </a:moveTo>
                  <a:lnTo>
                    <a:pt x="311" y="1"/>
                  </a:lnTo>
                  <a:lnTo>
                    <a:pt x="312" y="1"/>
                  </a:lnTo>
                  <a:lnTo>
                    <a:pt x="316" y="1"/>
                  </a:lnTo>
                  <a:lnTo>
                    <a:pt x="316" y="0"/>
                  </a:lnTo>
                  <a:lnTo>
                    <a:pt x="316" y="0"/>
                  </a:lnTo>
                  <a:lnTo>
                    <a:pt x="316" y="0"/>
                  </a:lnTo>
                  <a:lnTo>
                    <a:pt x="316" y="0"/>
                  </a:lnTo>
                  <a:close/>
                  <a:moveTo>
                    <a:pt x="320" y="0"/>
                  </a:moveTo>
                  <a:lnTo>
                    <a:pt x="316" y="1"/>
                  </a:lnTo>
                  <a:lnTo>
                    <a:pt x="318" y="5"/>
                  </a:lnTo>
                  <a:lnTo>
                    <a:pt x="322" y="1"/>
                  </a:lnTo>
                  <a:lnTo>
                    <a:pt x="322" y="1"/>
                  </a:lnTo>
                  <a:lnTo>
                    <a:pt x="320" y="0"/>
                  </a:lnTo>
                  <a:lnTo>
                    <a:pt x="320" y="0"/>
                  </a:lnTo>
                  <a:lnTo>
                    <a:pt x="320" y="0"/>
                  </a:lnTo>
                  <a:lnTo>
                    <a:pt x="320" y="0"/>
                  </a:lnTo>
                  <a:close/>
                  <a:moveTo>
                    <a:pt x="216" y="94"/>
                  </a:moveTo>
                  <a:lnTo>
                    <a:pt x="215" y="96"/>
                  </a:lnTo>
                  <a:lnTo>
                    <a:pt x="216" y="92"/>
                  </a:lnTo>
                  <a:lnTo>
                    <a:pt x="216" y="94"/>
                  </a:lnTo>
                  <a:lnTo>
                    <a:pt x="216" y="94"/>
                  </a:lnTo>
                  <a:lnTo>
                    <a:pt x="216" y="94"/>
                  </a:lnTo>
                  <a:lnTo>
                    <a:pt x="216" y="94"/>
                  </a:lnTo>
                  <a:close/>
                  <a:moveTo>
                    <a:pt x="220" y="94"/>
                  </a:moveTo>
                  <a:lnTo>
                    <a:pt x="218" y="94"/>
                  </a:lnTo>
                  <a:lnTo>
                    <a:pt x="216" y="92"/>
                  </a:lnTo>
                  <a:lnTo>
                    <a:pt x="218" y="92"/>
                  </a:lnTo>
                  <a:lnTo>
                    <a:pt x="220" y="94"/>
                  </a:lnTo>
                  <a:lnTo>
                    <a:pt x="220" y="94"/>
                  </a:lnTo>
                  <a:lnTo>
                    <a:pt x="220" y="94"/>
                  </a:lnTo>
                  <a:lnTo>
                    <a:pt x="220" y="94"/>
                  </a:lnTo>
                  <a:close/>
                  <a:moveTo>
                    <a:pt x="222" y="86"/>
                  </a:moveTo>
                  <a:lnTo>
                    <a:pt x="224" y="92"/>
                  </a:lnTo>
                  <a:lnTo>
                    <a:pt x="220" y="94"/>
                  </a:lnTo>
                  <a:lnTo>
                    <a:pt x="218" y="90"/>
                  </a:lnTo>
                  <a:lnTo>
                    <a:pt x="218" y="88"/>
                  </a:lnTo>
                  <a:lnTo>
                    <a:pt x="218" y="88"/>
                  </a:lnTo>
                  <a:lnTo>
                    <a:pt x="220" y="88"/>
                  </a:lnTo>
                  <a:lnTo>
                    <a:pt x="222" y="86"/>
                  </a:lnTo>
                  <a:lnTo>
                    <a:pt x="222" y="86"/>
                  </a:lnTo>
                  <a:lnTo>
                    <a:pt x="222" y="86"/>
                  </a:lnTo>
                  <a:lnTo>
                    <a:pt x="222" y="86"/>
                  </a:lnTo>
                  <a:close/>
                  <a:moveTo>
                    <a:pt x="0" y="17"/>
                  </a:moveTo>
                  <a:lnTo>
                    <a:pt x="2" y="13"/>
                  </a:lnTo>
                  <a:lnTo>
                    <a:pt x="4" y="9"/>
                  </a:lnTo>
                  <a:lnTo>
                    <a:pt x="8" y="13"/>
                  </a:lnTo>
                  <a:lnTo>
                    <a:pt x="13" y="15"/>
                  </a:lnTo>
                  <a:lnTo>
                    <a:pt x="15" y="17"/>
                  </a:lnTo>
                  <a:lnTo>
                    <a:pt x="17" y="17"/>
                  </a:lnTo>
                  <a:lnTo>
                    <a:pt x="21" y="18"/>
                  </a:lnTo>
                  <a:lnTo>
                    <a:pt x="21" y="24"/>
                  </a:lnTo>
                  <a:lnTo>
                    <a:pt x="17" y="26"/>
                  </a:lnTo>
                  <a:lnTo>
                    <a:pt x="17" y="28"/>
                  </a:lnTo>
                  <a:lnTo>
                    <a:pt x="23" y="30"/>
                  </a:lnTo>
                  <a:lnTo>
                    <a:pt x="26" y="26"/>
                  </a:lnTo>
                  <a:lnTo>
                    <a:pt x="30" y="26"/>
                  </a:lnTo>
                  <a:lnTo>
                    <a:pt x="32" y="28"/>
                  </a:lnTo>
                  <a:lnTo>
                    <a:pt x="36" y="26"/>
                  </a:lnTo>
                  <a:lnTo>
                    <a:pt x="36" y="24"/>
                  </a:lnTo>
                  <a:lnTo>
                    <a:pt x="36" y="24"/>
                  </a:lnTo>
                  <a:lnTo>
                    <a:pt x="36" y="24"/>
                  </a:lnTo>
                  <a:lnTo>
                    <a:pt x="40" y="24"/>
                  </a:lnTo>
                  <a:lnTo>
                    <a:pt x="41" y="20"/>
                  </a:lnTo>
                  <a:lnTo>
                    <a:pt x="41" y="20"/>
                  </a:lnTo>
                  <a:lnTo>
                    <a:pt x="45" y="24"/>
                  </a:lnTo>
                  <a:lnTo>
                    <a:pt x="60" y="39"/>
                  </a:lnTo>
                  <a:lnTo>
                    <a:pt x="62" y="45"/>
                  </a:lnTo>
                  <a:lnTo>
                    <a:pt x="66" y="52"/>
                  </a:lnTo>
                  <a:lnTo>
                    <a:pt x="62" y="54"/>
                  </a:lnTo>
                  <a:lnTo>
                    <a:pt x="62" y="64"/>
                  </a:lnTo>
                  <a:lnTo>
                    <a:pt x="62" y="64"/>
                  </a:lnTo>
                  <a:lnTo>
                    <a:pt x="62" y="67"/>
                  </a:lnTo>
                  <a:lnTo>
                    <a:pt x="66" y="69"/>
                  </a:lnTo>
                  <a:lnTo>
                    <a:pt x="66" y="79"/>
                  </a:lnTo>
                  <a:lnTo>
                    <a:pt x="66" y="82"/>
                  </a:lnTo>
                  <a:lnTo>
                    <a:pt x="70" y="86"/>
                  </a:lnTo>
                  <a:lnTo>
                    <a:pt x="73" y="86"/>
                  </a:lnTo>
                  <a:lnTo>
                    <a:pt x="75" y="88"/>
                  </a:lnTo>
                  <a:lnTo>
                    <a:pt x="73" y="90"/>
                  </a:lnTo>
                  <a:lnTo>
                    <a:pt x="75" y="96"/>
                  </a:lnTo>
                  <a:lnTo>
                    <a:pt x="75" y="98"/>
                  </a:lnTo>
                  <a:lnTo>
                    <a:pt x="77" y="98"/>
                  </a:lnTo>
                  <a:lnTo>
                    <a:pt x="77" y="98"/>
                  </a:lnTo>
                  <a:lnTo>
                    <a:pt x="77" y="101"/>
                  </a:lnTo>
                  <a:lnTo>
                    <a:pt x="83" y="107"/>
                  </a:lnTo>
                  <a:lnTo>
                    <a:pt x="83" y="111"/>
                  </a:lnTo>
                  <a:lnTo>
                    <a:pt x="79" y="111"/>
                  </a:lnTo>
                  <a:lnTo>
                    <a:pt x="79" y="109"/>
                  </a:lnTo>
                  <a:lnTo>
                    <a:pt x="79" y="107"/>
                  </a:lnTo>
                  <a:lnTo>
                    <a:pt x="77" y="105"/>
                  </a:lnTo>
                  <a:lnTo>
                    <a:pt x="77" y="107"/>
                  </a:lnTo>
                  <a:lnTo>
                    <a:pt x="77" y="109"/>
                  </a:lnTo>
                  <a:lnTo>
                    <a:pt x="75" y="111"/>
                  </a:lnTo>
                  <a:lnTo>
                    <a:pt x="77" y="111"/>
                  </a:lnTo>
                  <a:lnTo>
                    <a:pt x="77" y="111"/>
                  </a:lnTo>
                  <a:lnTo>
                    <a:pt x="73" y="115"/>
                  </a:lnTo>
                  <a:lnTo>
                    <a:pt x="73" y="111"/>
                  </a:lnTo>
                  <a:lnTo>
                    <a:pt x="72" y="113"/>
                  </a:lnTo>
                  <a:lnTo>
                    <a:pt x="68" y="111"/>
                  </a:lnTo>
                  <a:lnTo>
                    <a:pt x="66" y="109"/>
                  </a:lnTo>
                  <a:lnTo>
                    <a:pt x="60" y="107"/>
                  </a:lnTo>
                  <a:lnTo>
                    <a:pt x="55" y="105"/>
                  </a:lnTo>
                  <a:lnTo>
                    <a:pt x="51" y="101"/>
                  </a:lnTo>
                  <a:lnTo>
                    <a:pt x="49" y="101"/>
                  </a:lnTo>
                  <a:lnTo>
                    <a:pt x="47" y="101"/>
                  </a:lnTo>
                  <a:lnTo>
                    <a:pt x="43" y="101"/>
                  </a:lnTo>
                  <a:lnTo>
                    <a:pt x="40" y="96"/>
                  </a:lnTo>
                  <a:lnTo>
                    <a:pt x="40" y="92"/>
                  </a:lnTo>
                  <a:lnTo>
                    <a:pt x="34" y="88"/>
                  </a:lnTo>
                  <a:lnTo>
                    <a:pt x="26" y="86"/>
                  </a:lnTo>
                  <a:lnTo>
                    <a:pt x="26" y="82"/>
                  </a:lnTo>
                  <a:lnTo>
                    <a:pt x="26" y="82"/>
                  </a:lnTo>
                  <a:lnTo>
                    <a:pt x="26" y="79"/>
                  </a:lnTo>
                  <a:lnTo>
                    <a:pt x="26" y="75"/>
                  </a:lnTo>
                  <a:lnTo>
                    <a:pt x="23" y="73"/>
                  </a:lnTo>
                  <a:lnTo>
                    <a:pt x="17" y="67"/>
                  </a:lnTo>
                  <a:lnTo>
                    <a:pt x="15" y="67"/>
                  </a:lnTo>
                  <a:lnTo>
                    <a:pt x="11" y="64"/>
                  </a:lnTo>
                  <a:lnTo>
                    <a:pt x="13" y="62"/>
                  </a:lnTo>
                  <a:lnTo>
                    <a:pt x="9" y="58"/>
                  </a:lnTo>
                  <a:lnTo>
                    <a:pt x="9" y="54"/>
                  </a:lnTo>
                  <a:lnTo>
                    <a:pt x="11" y="52"/>
                  </a:lnTo>
                  <a:lnTo>
                    <a:pt x="11" y="47"/>
                  </a:lnTo>
                  <a:lnTo>
                    <a:pt x="9" y="43"/>
                  </a:lnTo>
                  <a:lnTo>
                    <a:pt x="8" y="39"/>
                  </a:lnTo>
                  <a:lnTo>
                    <a:pt x="6" y="24"/>
                  </a:lnTo>
                  <a:lnTo>
                    <a:pt x="0" y="17"/>
                  </a:lnTo>
                  <a:lnTo>
                    <a:pt x="0" y="17"/>
                  </a:lnTo>
                  <a:lnTo>
                    <a:pt x="0" y="17"/>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7" name="Freeform 200">
              <a:extLst>
                <a:ext uri="{FF2B5EF4-FFF2-40B4-BE49-F238E27FC236}">
                  <a16:creationId xmlns:a16="http://schemas.microsoft.com/office/drawing/2014/main" id="{EE114624-5201-4C33-91DC-D301A9B43E9C}"/>
                </a:ext>
              </a:extLst>
            </p:cNvPr>
            <p:cNvSpPr>
              <a:spLocks noEditPoints="1"/>
            </p:cNvSpPr>
            <p:nvPr/>
          </p:nvSpPr>
          <p:spPr bwMode="auto">
            <a:xfrm>
              <a:off x="4652" y="2644"/>
              <a:ext cx="152" cy="295"/>
            </a:xfrm>
            <a:custGeom>
              <a:avLst/>
              <a:gdLst/>
              <a:ahLst/>
              <a:cxnLst>
                <a:cxn ang="0">
                  <a:pos x="9" y="13"/>
                </a:cxn>
                <a:cxn ang="0">
                  <a:pos x="19" y="11"/>
                </a:cxn>
                <a:cxn ang="0">
                  <a:pos x="34" y="9"/>
                </a:cxn>
                <a:cxn ang="0">
                  <a:pos x="55" y="0"/>
                </a:cxn>
                <a:cxn ang="0">
                  <a:pos x="75" y="7"/>
                </a:cxn>
                <a:cxn ang="0">
                  <a:pos x="79" y="20"/>
                </a:cxn>
                <a:cxn ang="0">
                  <a:pos x="100" y="33"/>
                </a:cxn>
                <a:cxn ang="0">
                  <a:pos x="111" y="35"/>
                </a:cxn>
                <a:cxn ang="0">
                  <a:pos x="94" y="41"/>
                </a:cxn>
                <a:cxn ang="0">
                  <a:pos x="88" y="48"/>
                </a:cxn>
                <a:cxn ang="0">
                  <a:pos x="81" y="52"/>
                </a:cxn>
                <a:cxn ang="0">
                  <a:pos x="81" y="64"/>
                </a:cxn>
                <a:cxn ang="0">
                  <a:pos x="73" y="69"/>
                </a:cxn>
                <a:cxn ang="0">
                  <a:pos x="70" y="88"/>
                </a:cxn>
                <a:cxn ang="0">
                  <a:pos x="77" y="99"/>
                </a:cxn>
                <a:cxn ang="0">
                  <a:pos x="88" y="114"/>
                </a:cxn>
                <a:cxn ang="0">
                  <a:pos x="120" y="139"/>
                </a:cxn>
                <a:cxn ang="0">
                  <a:pos x="134" y="158"/>
                </a:cxn>
                <a:cxn ang="0">
                  <a:pos x="141" y="178"/>
                </a:cxn>
                <a:cxn ang="0">
                  <a:pos x="147" y="195"/>
                </a:cxn>
                <a:cxn ang="0">
                  <a:pos x="152" y="212"/>
                </a:cxn>
                <a:cxn ang="0">
                  <a:pos x="149" y="216"/>
                </a:cxn>
                <a:cxn ang="0">
                  <a:pos x="147" y="227"/>
                </a:cxn>
                <a:cxn ang="0">
                  <a:pos x="139" y="242"/>
                </a:cxn>
                <a:cxn ang="0">
                  <a:pos x="124" y="254"/>
                </a:cxn>
                <a:cxn ang="0">
                  <a:pos x="103" y="258"/>
                </a:cxn>
                <a:cxn ang="0">
                  <a:pos x="103" y="259"/>
                </a:cxn>
                <a:cxn ang="0">
                  <a:pos x="100" y="269"/>
                </a:cxn>
                <a:cxn ang="0">
                  <a:pos x="94" y="271"/>
                </a:cxn>
                <a:cxn ang="0">
                  <a:pos x="92" y="276"/>
                </a:cxn>
                <a:cxn ang="0">
                  <a:pos x="81" y="288"/>
                </a:cxn>
                <a:cxn ang="0">
                  <a:pos x="70" y="291"/>
                </a:cxn>
                <a:cxn ang="0">
                  <a:pos x="70" y="282"/>
                </a:cxn>
                <a:cxn ang="0">
                  <a:pos x="79" y="263"/>
                </a:cxn>
                <a:cxn ang="0">
                  <a:pos x="64" y="263"/>
                </a:cxn>
                <a:cxn ang="0">
                  <a:pos x="73" y="246"/>
                </a:cxn>
                <a:cxn ang="0">
                  <a:pos x="98" y="250"/>
                </a:cxn>
                <a:cxn ang="0">
                  <a:pos x="92" y="231"/>
                </a:cxn>
                <a:cxn ang="0">
                  <a:pos x="115" y="220"/>
                </a:cxn>
                <a:cxn ang="0">
                  <a:pos x="113" y="188"/>
                </a:cxn>
                <a:cxn ang="0">
                  <a:pos x="109" y="171"/>
                </a:cxn>
                <a:cxn ang="0">
                  <a:pos x="111" y="150"/>
                </a:cxn>
                <a:cxn ang="0">
                  <a:pos x="100" y="141"/>
                </a:cxn>
                <a:cxn ang="0">
                  <a:pos x="92" y="131"/>
                </a:cxn>
                <a:cxn ang="0">
                  <a:pos x="75" y="113"/>
                </a:cxn>
                <a:cxn ang="0">
                  <a:pos x="47" y="94"/>
                </a:cxn>
                <a:cxn ang="0">
                  <a:pos x="39" y="77"/>
                </a:cxn>
                <a:cxn ang="0">
                  <a:pos x="58" y="64"/>
                </a:cxn>
                <a:cxn ang="0">
                  <a:pos x="43" y="50"/>
                </a:cxn>
                <a:cxn ang="0">
                  <a:pos x="13" y="37"/>
                </a:cxn>
                <a:cxn ang="0">
                  <a:pos x="0" y="18"/>
                </a:cxn>
                <a:cxn ang="0">
                  <a:pos x="53" y="265"/>
                </a:cxn>
                <a:cxn ang="0">
                  <a:pos x="51" y="259"/>
                </a:cxn>
              </a:cxnLst>
              <a:rect l="0" t="0" r="r" b="b"/>
              <a:pathLst>
                <a:path w="152" h="295">
                  <a:moveTo>
                    <a:pt x="0" y="18"/>
                  </a:moveTo>
                  <a:lnTo>
                    <a:pt x="0" y="18"/>
                  </a:lnTo>
                  <a:lnTo>
                    <a:pt x="0" y="18"/>
                  </a:lnTo>
                  <a:lnTo>
                    <a:pt x="4" y="15"/>
                  </a:lnTo>
                  <a:lnTo>
                    <a:pt x="6" y="15"/>
                  </a:lnTo>
                  <a:lnTo>
                    <a:pt x="9" y="13"/>
                  </a:lnTo>
                  <a:lnTo>
                    <a:pt x="13" y="13"/>
                  </a:lnTo>
                  <a:lnTo>
                    <a:pt x="13" y="15"/>
                  </a:lnTo>
                  <a:lnTo>
                    <a:pt x="13" y="16"/>
                  </a:lnTo>
                  <a:lnTo>
                    <a:pt x="15" y="16"/>
                  </a:lnTo>
                  <a:lnTo>
                    <a:pt x="15" y="13"/>
                  </a:lnTo>
                  <a:lnTo>
                    <a:pt x="19" y="11"/>
                  </a:lnTo>
                  <a:lnTo>
                    <a:pt x="23" y="15"/>
                  </a:lnTo>
                  <a:lnTo>
                    <a:pt x="24" y="13"/>
                  </a:lnTo>
                  <a:lnTo>
                    <a:pt x="26" y="13"/>
                  </a:lnTo>
                  <a:lnTo>
                    <a:pt x="28" y="15"/>
                  </a:lnTo>
                  <a:lnTo>
                    <a:pt x="32" y="13"/>
                  </a:lnTo>
                  <a:lnTo>
                    <a:pt x="34" y="9"/>
                  </a:lnTo>
                  <a:lnTo>
                    <a:pt x="38" y="9"/>
                  </a:lnTo>
                  <a:lnTo>
                    <a:pt x="39" y="11"/>
                  </a:lnTo>
                  <a:lnTo>
                    <a:pt x="47" y="9"/>
                  </a:lnTo>
                  <a:lnTo>
                    <a:pt x="45" y="1"/>
                  </a:lnTo>
                  <a:lnTo>
                    <a:pt x="51" y="0"/>
                  </a:lnTo>
                  <a:lnTo>
                    <a:pt x="55" y="0"/>
                  </a:lnTo>
                  <a:lnTo>
                    <a:pt x="58" y="0"/>
                  </a:lnTo>
                  <a:lnTo>
                    <a:pt x="62" y="1"/>
                  </a:lnTo>
                  <a:lnTo>
                    <a:pt x="62" y="3"/>
                  </a:lnTo>
                  <a:lnTo>
                    <a:pt x="64" y="3"/>
                  </a:lnTo>
                  <a:lnTo>
                    <a:pt x="68" y="7"/>
                  </a:lnTo>
                  <a:lnTo>
                    <a:pt x="75" y="7"/>
                  </a:lnTo>
                  <a:lnTo>
                    <a:pt x="77" y="9"/>
                  </a:lnTo>
                  <a:lnTo>
                    <a:pt x="83" y="7"/>
                  </a:lnTo>
                  <a:lnTo>
                    <a:pt x="85" y="9"/>
                  </a:lnTo>
                  <a:lnTo>
                    <a:pt x="85" y="13"/>
                  </a:lnTo>
                  <a:lnTo>
                    <a:pt x="83" y="13"/>
                  </a:lnTo>
                  <a:lnTo>
                    <a:pt x="79" y="20"/>
                  </a:lnTo>
                  <a:lnTo>
                    <a:pt x="83" y="20"/>
                  </a:lnTo>
                  <a:lnTo>
                    <a:pt x="83" y="24"/>
                  </a:lnTo>
                  <a:lnTo>
                    <a:pt x="92" y="26"/>
                  </a:lnTo>
                  <a:lnTo>
                    <a:pt x="92" y="30"/>
                  </a:lnTo>
                  <a:lnTo>
                    <a:pt x="94" y="33"/>
                  </a:lnTo>
                  <a:lnTo>
                    <a:pt x="100" y="33"/>
                  </a:lnTo>
                  <a:lnTo>
                    <a:pt x="103" y="33"/>
                  </a:lnTo>
                  <a:lnTo>
                    <a:pt x="103" y="33"/>
                  </a:lnTo>
                  <a:lnTo>
                    <a:pt x="107" y="33"/>
                  </a:lnTo>
                  <a:lnTo>
                    <a:pt x="109" y="33"/>
                  </a:lnTo>
                  <a:lnTo>
                    <a:pt x="109" y="33"/>
                  </a:lnTo>
                  <a:lnTo>
                    <a:pt x="111" y="35"/>
                  </a:lnTo>
                  <a:lnTo>
                    <a:pt x="109" y="37"/>
                  </a:lnTo>
                  <a:lnTo>
                    <a:pt x="107" y="39"/>
                  </a:lnTo>
                  <a:lnTo>
                    <a:pt x="107" y="39"/>
                  </a:lnTo>
                  <a:lnTo>
                    <a:pt x="103" y="41"/>
                  </a:lnTo>
                  <a:lnTo>
                    <a:pt x="100" y="41"/>
                  </a:lnTo>
                  <a:lnTo>
                    <a:pt x="94" y="41"/>
                  </a:lnTo>
                  <a:lnTo>
                    <a:pt x="94" y="43"/>
                  </a:lnTo>
                  <a:lnTo>
                    <a:pt x="94" y="45"/>
                  </a:lnTo>
                  <a:lnTo>
                    <a:pt x="94" y="45"/>
                  </a:lnTo>
                  <a:lnTo>
                    <a:pt x="94" y="48"/>
                  </a:lnTo>
                  <a:lnTo>
                    <a:pt x="92" y="48"/>
                  </a:lnTo>
                  <a:lnTo>
                    <a:pt x="88" y="48"/>
                  </a:lnTo>
                  <a:lnTo>
                    <a:pt x="87" y="50"/>
                  </a:lnTo>
                  <a:lnTo>
                    <a:pt x="87" y="50"/>
                  </a:lnTo>
                  <a:lnTo>
                    <a:pt x="85" y="48"/>
                  </a:lnTo>
                  <a:lnTo>
                    <a:pt x="83" y="48"/>
                  </a:lnTo>
                  <a:lnTo>
                    <a:pt x="83" y="50"/>
                  </a:lnTo>
                  <a:lnTo>
                    <a:pt x="81" y="52"/>
                  </a:lnTo>
                  <a:lnTo>
                    <a:pt x="83" y="54"/>
                  </a:lnTo>
                  <a:lnTo>
                    <a:pt x="83" y="58"/>
                  </a:lnTo>
                  <a:lnTo>
                    <a:pt x="83" y="58"/>
                  </a:lnTo>
                  <a:lnTo>
                    <a:pt x="81" y="60"/>
                  </a:lnTo>
                  <a:lnTo>
                    <a:pt x="83" y="62"/>
                  </a:lnTo>
                  <a:lnTo>
                    <a:pt x="81" y="64"/>
                  </a:lnTo>
                  <a:lnTo>
                    <a:pt x="81" y="64"/>
                  </a:lnTo>
                  <a:lnTo>
                    <a:pt x="77" y="69"/>
                  </a:lnTo>
                  <a:lnTo>
                    <a:pt x="75" y="69"/>
                  </a:lnTo>
                  <a:lnTo>
                    <a:pt x="73" y="67"/>
                  </a:lnTo>
                  <a:lnTo>
                    <a:pt x="73" y="69"/>
                  </a:lnTo>
                  <a:lnTo>
                    <a:pt x="73" y="69"/>
                  </a:lnTo>
                  <a:lnTo>
                    <a:pt x="73" y="73"/>
                  </a:lnTo>
                  <a:lnTo>
                    <a:pt x="70" y="75"/>
                  </a:lnTo>
                  <a:lnTo>
                    <a:pt x="70" y="79"/>
                  </a:lnTo>
                  <a:lnTo>
                    <a:pt x="73" y="79"/>
                  </a:lnTo>
                  <a:lnTo>
                    <a:pt x="73" y="79"/>
                  </a:lnTo>
                  <a:lnTo>
                    <a:pt x="70" y="88"/>
                  </a:lnTo>
                  <a:lnTo>
                    <a:pt x="70" y="88"/>
                  </a:lnTo>
                  <a:lnTo>
                    <a:pt x="73" y="92"/>
                  </a:lnTo>
                  <a:lnTo>
                    <a:pt x="73" y="94"/>
                  </a:lnTo>
                  <a:lnTo>
                    <a:pt x="70" y="96"/>
                  </a:lnTo>
                  <a:lnTo>
                    <a:pt x="73" y="96"/>
                  </a:lnTo>
                  <a:lnTo>
                    <a:pt x="77" y="99"/>
                  </a:lnTo>
                  <a:lnTo>
                    <a:pt x="83" y="103"/>
                  </a:lnTo>
                  <a:lnTo>
                    <a:pt x="85" y="103"/>
                  </a:lnTo>
                  <a:lnTo>
                    <a:pt x="87" y="109"/>
                  </a:lnTo>
                  <a:lnTo>
                    <a:pt x="87" y="109"/>
                  </a:lnTo>
                  <a:lnTo>
                    <a:pt x="87" y="113"/>
                  </a:lnTo>
                  <a:lnTo>
                    <a:pt x="88" y="114"/>
                  </a:lnTo>
                  <a:lnTo>
                    <a:pt x="88" y="118"/>
                  </a:lnTo>
                  <a:lnTo>
                    <a:pt x="94" y="124"/>
                  </a:lnTo>
                  <a:lnTo>
                    <a:pt x="100" y="126"/>
                  </a:lnTo>
                  <a:lnTo>
                    <a:pt x="100" y="128"/>
                  </a:lnTo>
                  <a:lnTo>
                    <a:pt x="111" y="133"/>
                  </a:lnTo>
                  <a:lnTo>
                    <a:pt x="120" y="139"/>
                  </a:lnTo>
                  <a:lnTo>
                    <a:pt x="122" y="143"/>
                  </a:lnTo>
                  <a:lnTo>
                    <a:pt x="128" y="148"/>
                  </a:lnTo>
                  <a:lnTo>
                    <a:pt x="134" y="154"/>
                  </a:lnTo>
                  <a:lnTo>
                    <a:pt x="134" y="158"/>
                  </a:lnTo>
                  <a:lnTo>
                    <a:pt x="134" y="158"/>
                  </a:lnTo>
                  <a:lnTo>
                    <a:pt x="134" y="158"/>
                  </a:lnTo>
                  <a:lnTo>
                    <a:pt x="137" y="163"/>
                  </a:lnTo>
                  <a:lnTo>
                    <a:pt x="137" y="167"/>
                  </a:lnTo>
                  <a:lnTo>
                    <a:pt x="139" y="167"/>
                  </a:lnTo>
                  <a:lnTo>
                    <a:pt x="137" y="167"/>
                  </a:lnTo>
                  <a:lnTo>
                    <a:pt x="141" y="173"/>
                  </a:lnTo>
                  <a:lnTo>
                    <a:pt x="141" y="178"/>
                  </a:lnTo>
                  <a:lnTo>
                    <a:pt x="143" y="180"/>
                  </a:lnTo>
                  <a:lnTo>
                    <a:pt x="145" y="186"/>
                  </a:lnTo>
                  <a:lnTo>
                    <a:pt x="147" y="188"/>
                  </a:lnTo>
                  <a:lnTo>
                    <a:pt x="147" y="192"/>
                  </a:lnTo>
                  <a:lnTo>
                    <a:pt x="147" y="192"/>
                  </a:lnTo>
                  <a:lnTo>
                    <a:pt x="147" y="195"/>
                  </a:lnTo>
                  <a:lnTo>
                    <a:pt x="147" y="197"/>
                  </a:lnTo>
                  <a:lnTo>
                    <a:pt x="147" y="201"/>
                  </a:lnTo>
                  <a:lnTo>
                    <a:pt x="149" y="203"/>
                  </a:lnTo>
                  <a:lnTo>
                    <a:pt x="149" y="205"/>
                  </a:lnTo>
                  <a:lnTo>
                    <a:pt x="151" y="207"/>
                  </a:lnTo>
                  <a:lnTo>
                    <a:pt x="152" y="212"/>
                  </a:lnTo>
                  <a:lnTo>
                    <a:pt x="152" y="214"/>
                  </a:lnTo>
                  <a:lnTo>
                    <a:pt x="151" y="214"/>
                  </a:lnTo>
                  <a:lnTo>
                    <a:pt x="151" y="212"/>
                  </a:lnTo>
                  <a:lnTo>
                    <a:pt x="151" y="212"/>
                  </a:lnTo>
                  <a:lnTo>
                    <a:pt x="149" y="212"/>
                  </a:lnTo>
                  <a:lnTo>
                    <a:pt x="149" y="216"/>
                  </a:lnTo>
                  <a:lnTo>
                    <a:pt x="151" y="216"/>
                  </a:lnTo>
                  <a:lnTo>
                    <a:pt x="151" y="220"/>
                  </a:lnTo>
                  <a:lnTo>
                    <a:pt x="149" y="222"/>
                  </a:lnTo>
                  <a:lnTo>
                    <a:pt x="149" y="222"/>
                  </a:lnTo>
                  <a:lnTo>
                    <a:pt x="145" y="226"/>
                  </a:lnTo>
                  <a:lnTo>
                    <a:pt x="147" y="227"/>
                  </a:lnTo>
                  <a:lnTo>
                    <a:pt x="147" y="231"/>
                  </a:lnTo>
                  <a:lnTo>
                    <a:pt x="147" y="233"/>
                  </a:lnTo>
                  <a:lnTo>
                    <a:pt x="145" y="235"/>
                  </a:lnTo>
                  <a:lnTo>
                    <a:pt x="143" y="237"/>
                  </a:lnTo>
                  <a:lnTo>
                    <a:pt x="141" y="241"/>
                  </a:lnTo>
                  <a:lnTo>
                    <a:pt x="139" y="242"/>
                  </a:lnTo>
                  <a:lnTo>
                    <a:pt x="137" y="246"/>
                  </a:lnTo>
                  <a:lnTo>
                    <a:pt x="134" y="246"/>
                  </a:lnTo>
                  <a:lnTo>
                    <a:pt x="128" y="250"/>
                  </a:lnTo>
                  <a:lnTo>
                    <a:pt x="128" y="252"/>
                  </a:lnTo>
                  <a:lnTo>
                    <a:pt x="126" y="252"/>
                  </a:lnTo>
                  <a:lnTo>
                    <a:pt x="124" y="254"/>
                  </a:lnTo>
                  <a:lnTo>
                    <a:pt x="115" y="259"/>
                  </a:lnTo>
                  <a:lnTo>
                    <a:pt x="111" y="259"/>
                  </a:lnTo>
                  <a:lnTo>
                    <a:pt x="109" y="259"/>
                  </a:lnTo>
                  <a:lnTo>
                    <a:pt x="107" y="259"/>
                  </a:lnTo>
                  <a:lnTo>
                    <a:pt x="103" y="259"/>
                  </a:lnTo>
                  <a:lnTo>
                    <a:pt x="103" y="258"/>
                  </a:lnTo>
                  <a:lnTo>
                    <a:pt x="103" y="254"/>
                  </a:lnTo>
                  <a:lnTo>
                    <a:pt x="103" y="258"/>
                  </a:lnTo>
                  <a:lnTo>
                    <a:pt x="103" y="258"/>
                  </a:lnTo>
                  <a:lnTo>
                    <a:pt x="100" y="258"/>
                  </a:lnTo>
                  <a:lnTo>
                    <a:pt x="103" y="259"/>
                  </a:lnTo>
                  <a:lnTo>
                    <a:pt x="103" y="259"/>
                  </a:lnTo>
                  <a:lnTo>
                    <a:pt x="100" y="261"/>
                  </a:lnTo>
                  <a:lnTo>
                    <a:pt x="100" y="259"/>
                  </a:lnTo>
                  <a:lnTo>
                    <a:pt x="103" y="263"/>
                  </a:lnTo>
                  <a:lnTo>
                    <a:pt x="103" y="265"/>
                  </a:lnTo>
                  <a:lnTo>
                    <a:pt x="103" y="267"/>
                  </a:lnTo>
                  <a:lnTo>
                    <a:pt x="100" y="269"/>
                  </a:lnTo>
                  <a:lnTo>
                    <a:pt x="98" y="265"/>
                  </a:lnTo>
                  <a:lnTo>
                    <a:pt x="100" y="271"/>
                  </a:lnTo>
                  <a:lnTo>
                    <a:pt x="100" y="271"/>
                  </a:lnTo>
                  <a:lnTo>
                    <a:pt x="100" y="275"/>
                  </a:lnTo>
                  <a:lnTo>
                    <a:pt x="98" y="271"/>
                  </a:lnTo>
                  <a:lnTo>
                    <a:pt x="94" y="271"/>
                  </a:lnTo>
                  <a:lnTo>
                    <a:pt x="94" y="271"/>
                  </a:lnTo>
                  <a:lnTo>
                    <a:pt x="94" y="275"/>
                  </a:lnTo>
                  <a:lnTo>
                    <a:pt x="94" y="275"/>
                  </a:lnTo>
                  <a:lnTo>
                    <a:pt x="94" y="276"/>
                  </a:lnTo>
                  <a:lnTo>
                    <a:pt x="94" y="276"/>
                  </a:lnTo>
                  <a:lnTo>
                    <a:pt x="92" y="276"/>
                  </a:lnTo>
                  <a:lnTo>
                    <a:pt x="90" y="276"/>
                  </a:lnTo>
                  <a:lnTo>
                    <a:pt x="87" y="280"/>
                  </a:lnTo>
                  <a:lnTo>
                    <a:pt x="85" y="282"/>
                  </a:lnTo>
                  <a:lnTo>
                    <a:pt x="83" y="282"/>
                  </a:lnTo>
                  <a:lnTo>
                    <a:pt x="83" y="284"/>
                  </a:lnTo>
                  <a:lnTo>
                    <a:pt x="81" y="288"/>
                  </a:lnTo>
                  <a:lnTo>
                    <a:pt x="79" y="290"/>
                  </a:lnTo>
                  <a:lnTo>
                    <a:pt x="77" y="290"/>
                  </a:lnTo>
                  <a:lnTo>
                    <a:pt x="79" y="291"/>
                  </a:lnTo>
                  <a:lnTo>
                    <a:pt x="70" y="295"/>
                  </a:lnTo>
                  <a:lnTo>
                    <a:pt x="68" y="293"/>
                  </a:lnTo>
                  <a:lnTo>
                    <a:pt x="70" y="291"/>
                  </a:lnTo>
                  <a:lnTo>
                    <a:pt x="73" y="291"/>
                  </a:lnTo>
                  <a:lnTo>
                    <a:pt x="73" y="288"/>
                  </a:lnTo>
                  <a:lnTo>
                    <a:pt x="73" y="290"/>
                  </a:lnTo>
                  <a:lnTo>
                    <a:pt x="70" y="288"/>
                  </a:lnTo>
                  <a:lnTo>
                    <a:pt x="70" y="282"/>
                  </a:lnTo>
                  <a:lnTo>
                    <a:pt x="70" y="282"/>
                  </a:lnTo>
                  <a:lnTo>
                    <a:pt x="70" y="280"/>
                  </a:lnTo>
                  <a:lnTo>
                    <a:pt x="70" y="280"/>
                  </a:lnTo>
                  <a:lnTo>
                    <a:pt x="70" y="275"/>
                  </a:lnTo>
                  <a:lnTo>
                    <a:pt x="73" y="269"/>
                  </a:lnTo>
                  <a:lnTo>
                    <a:pt x="77" y="265"/>
                  </a:lnTo>
                  <a:lnTo>
                    <a:pt x="79" y="263"/>
                  </a:lnTo>
                  <a:lnTo>
                    <a:pt x="75" y="263"/>
                  </a:lnTo>
                  <a:lnTo>
                    <a:pt x="73" y="263"/>
                  </a:lnTo>
                  <a:lnTo>
                    <a:pt x="70" y="265"/>
                  </a:lnTo>
                  <a:lnTo>
                    <a:pt x="70" y="263"/>
                  </a:lnTo>
                  <a:lnTo>
                    <a:pt x="68" y="263"/>
                  </a:lnTo>
                  <a:lnTo>
                    <a:pt x="64" y="263"/>
                  </a:lnTo>
                  <a:lnTo>
                    <a:pt x="64" y="261"/>
                  </a:lnTo>
                  <a:lnTo>
                    <a:pt x="64" y="259"/>
                  </a:lnTo>
                  <a:lnTo>
                    <a:pt x="62" y="258"/>
                  </a:lnTo>
                  <a:lnTo>
                    <a:pt x="64" y="254"/>
                  </a:lnTo>
                  <a:lnTo>
                    <a:pt x="70" y="252"/>
                  </a:lnTo>
                  <a:lnTo>
                    <a:pt x="73" y="246"/>
                  </a:lnTo>
                  <a:lnTo>
                    <a:pt x="75" y="246"/>
                  </a:lnTo>
                  <a:lnTo>
                    <a:pt x="77" y="250"/>
                  </a:lnTo>
                  <a:lnTo>
                    <a:pt x="87" y="246"/>
                  </a:lnTo>
                  <a:lnTo>
                    <a:pt x="90" y="250"/>
                  </a:lnTo>
                  <a:lnTo>
                    <a:pt x="92" y="252"/>
                  </a:lnTo>
                  <a:lnTo>
                    <a:pt x="98" y="250"/>
                  </a:lnTo>
                  <a:lnTo>
                    <a:pt x="94" y="246"/>
                  </a:lnTo>
                  <a:lnTo>
                    <a:pt x="94" y="246"/>
                  </a:lnTo>
                  <a:lnTo>
                    <a:pt x="92" y="242"/>
                  </a:lnTo>
                  <a:lnTo>
                    <a:pt x="88" y="241"/>
                  </a:lnTo>
                  <a:lnTo>
                    <a:pt x="88" y="233"/>
                  </a:lnTo>
                  <a:lnTo>
                    <a:pt x="92" y="231"/>
                  </a:lnTo>
                  <a:lnTo>
                    <a:pt x="100" y="231"/>
                  </a:lnTo>
                  <a:lnTo>
                    <a:pt x="100" y="227"/>
                  </a:lnTo>
                  <a:lnTo>
                    <a:pt x="107" y="226"/>
                  </a:lnTo>
                  <a:lnTo>
                    <a:pt x="109" y="222"/>
                  </a:lnTo>
                  <a:lnTo>
                    <a:pt x="111" y="222"/>
                  </a:lnTo>
                  <a:lnTo>
                    <a:pt x="115" y="220"/>
                  </a:lnTo>
                  <a:lnTo>
                    <a:pt x="117" y="214"/>
                  </a:lnTo>
                  <a:lnTo>
                    <a:pt x="117" y="210"/>
                  </a:lnTo>
                  <a:lnTo>
                    <a:pt x="117" y="205"/>
                  </a:lnTo>
                  <a:lnTo>
                    <a:pt x="117" y="201"/>
                  </a:lnTo>
                  <a:lnTo>
                    <a:pt x="117" y="195"/>
                  </a:lnTo>
                  <a:lnTo>
                    <a:pt x="113" y="188"/>
                  </a:lnTo>
                  <a:lnTo>
                    <a:pt x="109" y="186"/>
                  </a:lnTo>
                  <a:lnTo>
                    <a:pt x="107" y="180"/>
                  </a:lnTo>
                  <a:lnTo>
                    <a:pt x="107" y="180"/>
                  </a:lnTo>
                  <a:lnTo>
                    <a:pt x="111" y="178"/>
                  </a:lnTo>
                  <a:lnTo>
                    <a:pt x="111" y="173"/>
                  </a:lnTo>
                  <a:lnTo>
                    <a:pt x="109" y="171"/>
                  </a:lnTo>
                  <a:lnTo>
                    <a:pt x="109" y="167"/>
                  </a:lnTo>
                  <a:lnTo>
                    <a:pt x="115" y="161"/>
                  </a:lnTo>
                  <a:lnTo>
                    <a:pt x="115" y="158"/>
                  </a:lnTo>
                  <a:lnTo>
                    <a:pt x="111" y="158"/>
                  </a:lnTo>
                  <a:lnTo>
                    <a:pt x="109" y="154"/>
                  </a:lnTo>
                  <a:lnTo>
                    <a:pt x="111" y="150"/>
                  </a:lnTo>
                  <a:lnTo>
                    <a:pt x="113" y="146"/>
                  </a:lnTo>
                  <a:lnTo>
                    <a:pt x="113" y="146"/>
                  </a:lnTo>
                  <a:lnTo>
                    <a:pt x="109" y="146"/>
                  </a:lnTo>
                  <a:lnTo>
                    <a:pt x="107" y="146"/>
                  </a:lnTo>
                  <a:lnTo>
                    <a:pt x="103" y="141"/>
                  </a:lnTo>
                  <a:lnTo>
                    <a:pt x="100" y="141"/>
                  </a:lnTo>
                  <a:lnTo>
                    <a:pt x="100" y="139"/>
                  </a:lnTo>
                  <a:lnTo>
                    <a:pt x="100" y="137"/>
                  </a:lnTo>
                  <a:lnTo>
                    <a:pt x="98" y="137"/>
                  </a:lnTo>
                  <a:lnTo>
                    <a:pt x="94" y="137"/>
                  </a:lnTo>
                  <a:lnTo>
                    <a:pt x="94" y="133"/>
                  </a:lnTo>
                  <a:lnTo>
                    <a:pt x="92" y="131"/>
                  </a:lnTo>
                  <a:lnTo>
                    <a:pt x="90" y="128"/>
                  </a:lnTo>
                  <a:lnTo>
                    <a:pt x="87" y="128"/>
                  </a:lnTo>
                  <a:lnTo>
                    <a:pt x="83" y="126"/>
                  </a:lnTo>
                  <a:lnTo>
                    <a:pt x="81" y="122"/>
                  </a:lnTo>
                  <a:lnTo>
                    <a:pt x="75" y="114"/>
                  </a:lnTo>
                  <a:lnTo>
                    <a:pt x="75" y="113"/>
                  </a:lnTo>
                  <a:lnTo>
                    <a:pt x="73" y="109"/>
                  </a:lnTo>
                  <a:lnTo>
                    <a:pt x="68" y="103"/>
                  </a:lnTo>
                  <a:lnTo>
                    <a:pt x="62" y="99"/>
                  </a:lnTo>
                  <a:lnTo>
                    <a:pt x="58" y="97"/>
                  </a:lnTo>
                  <a:lnTo>
                    <a:pt x="53" y="96"/>
                  </a:lnTo>
                  <a:lnTo>
                    <a:pt x="47" y="94"/>
                  </a:lnTo>
                  <a:lnTo>
                    <a:pt x="45" y="90"/>
                  </a:lnTo>
                  <a:lnTo>
                    <a:pt x="43" y="90"/>
                  </a:lnTo>
                  <a:lnTo>
                    <a:pt x="39" y="88"/>
                  </a:lnTo>
                  <a:lnTo>
                    <a:pt x="43" y="84"/>
                  </a:lnTo>
                  <a:lnTo>
                    <a:pt x="39" y="79"/>
                  </a:lnTo>
                  <a:lnTo>
                    <a:pt x="39" y="77"/>
                  </a:lnTo>
                  <a:lnTo>
                    <a:pt x="43" y="77"/>
                  </a:lnTo>
                  <a:lnTo>
                    <a:pt x="47" y="75"/>
                  </a:lnTo>
                  <a:lnTo>
                    <a:pt x="51" y="75"/>
                  </a:lnTo>
                  <a:lnTo>
                    <a:pt x="53" y="73"/>
                  </a:lnTo>
                  <a:lnTo>
                    <a:pt x="55" y="65"/>
                  </a:lnTo>
                  <a:lnTo>
                    <a:pt x="58" y="64"/>
                  </a:lnTo>
                  <a:lnTo>
                    <a:pt x="58" y="62"/>
                  </a:lnTo>
                  <a:lnTo>
                    <a:pt x="53" y="60"/>
                  </a:lnTo>
                  <a:lnTo>
                    <a:pt x="53" y="58"/>
                  </a:lnTo>
                  <a:lnTo>
                    <a:pt x="53" y="54"/>
                  </a:lnTo>
                  <a:lnTo>
                    <a:pt x="47" y="54"/>
                  </a:lnTo>
                  <a:lnTo>
                    <a:pt x="43" y="50"/>
                  </a:lnTo>
                  <a:lnTo>
                    <a:pt x="39" y="50"/>
                  </a:lnTo>
                  <a:lnTo>
                    <a:pt x="36" y="52"/>
                  </a:lnTo>
                  <a:lnTo>
                    <a:pt x="32" y="50"/>
                  </a:lnTo>
                  <a:lnTo>
                    <a:pt x="23" y="50"/>
                  </a:lnTo>
                  <a:lnTo>
                    <a:pt x="19" y="45"/>
                  </a:lnTo>
                  <a:lnTo>
                    <a:pt x="13" y="37"/>
                  </a:lnTo>
                  <a:lnTo>
                    <a:pt x="13" y="35"/>
                  </a:lnTo>
                  <a:lnTo>
                    <a:pt x="13" y="30"/>
                  </a:lnTo>
                  <a:lnTo>
                    <a:pt x="9" y="28"/>
                  </a:lnTo>
                  <a:lnTo>
                    <a:pt x="6" y="24"/>
                  </a:lnTo>
                  <a:lnTo>
                    <a:pt x="0" y="20"/>
                  </a:lnTo>
                  <a:lnTo>
                    <a:pt x="0" y="18"/>
                  </a:lnTo>
                  <a:lnTo>
                    <a:pt x="0" y="18"/>
                  </a:lnTo>
                  <a:lnTo>
                    <a:pt x="0" y="18"/>
                  </a:lnTo>
                  <a:lnTo>
                    <a:pt x="0" y="18"/>
                  </a:lnTo>
                  <a:close/>
                  <a:moveTo>
                    <a:pt x="51" y="259"/>
                  </a:moveTo>
                  <a:lnTo>
                    <a:pt x="53" y="261"/>
                  </a:lnTo>
                  <a:lnTo>
                    <a:pt x="53" y="265"/>
                  </a:lnTo>
                  <a:lnTo>
                    <a:pt x="53" y="267"/>
                  </a:lnTo>
                  <a:lnTo>
                    <a:pt x="56" y="267"/>
                  </a:lnTo>
                  <a:lnTo>
                    <a:pt x="56" y="261"/>
                  </a:lnTo>
                  <a:lnTo>
                    <a:pt x="55" y="259"/>
                  </a:lnTo>
                  <a:lnTo>
                    <a:pt x="55" y="258"/>
                  </a:lnTo>
                  <a:lnTo>
                    <a:pt x="51" y="259"/>
                  </a:lnTo>
                  <a:lnTo>
                    <a:pt x="51" y="259"/>
                  </a:lnTo>
                  <a:lnTo>
                    <a:pt x="51" y="259"/>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8" name="Freeform 201">
              <a:extLst>
                <a:ext uri="{FF2B5EF4-FFF2-40B4-BE49-F238E27FC236}">
                  <a16:creationId xmlns:a16="http://schemas.microsoft.com/office/drawing/2014/main" id="{834FD986-8EAD-4D70-8B3D-DC05355F8C36}"/>
                </a:ext>
              </a:extLst>
            </p:cNvPr>
            <p:cNvSpPr>
              <a:spLocks noEditPoints="1"/>
            </p:cNvSpPr>
            <p:nvPr/>
          </p:nvSpPr>
          <p:spPr bwMode="auto">
            <a:xfrm>
              <a:off x="4842" y="3305"/>
              <a:ext cx="747" cy="802"/>
            </a:xfrm>
            <a:custGeom>
              <a:avLst/>
              <a:gdLst/>
              <a:ahLst/>
              <a:cxnLst>
                <a:cxn ang="0">
                  <a:pos x="744" y="337"/>
                </a:cxn>
                <a:cxn ang="0">
                  <a:pos x="706" y="256"/>
                </a:cxn>
                <a:cxn ang="0">
                  <a:pos x="572" y="9"/>
                </a:cxn>
                <a:cxn ang="0">
                  <a:pos x="518" y="132"/>
                </a:cxn>
                <a:cxn ang="0">
                  <a:pos x="459" y="71"/>
                </a:cxn>
                <a:cxn ang="0">
                  <a:pos x="463" y="75"/>
                </a:cxn>
                <a:cxn ang="0">
                  <a:pos x="463" y="28"/>
                </a:cxn>
                <a:cxn ang="0">
                  <a:pos x="454" y="34"/>
                </a:cxn>
                <a:cxn ang="0">
                  <a:pos x="395" y="24"/>
                </a:cxn>
                <a:cxn ang="0">
                  <a:pos x="354" y="20"/>
                </a:cxn>
                <a:cxn ang="0">
                  <a:pos x="354" y="24"/>
                </a:cxn>
                <a:cxn ang="0">
                  <a:pos x="250" y="86"/>
                </a:cxn>
                <a:cxn ang="0">
                  <a:pos x="0" y="310"/>
                </a:cxn>
                <a:cxn ang="0">
                  <a:pos x="407" y="574"/>
                </a:cxn>
                <a:cxn ang="0">
                  <a:pos x="531" y="650"/>
                </a:cxn>
                <a:cxn ang="0">
                  <a:pos x="508" y="708"/>
                </a:cxn>
                <a:cxn ang="0">
                  <a:pos x="497" y="680"/>
                </a:cxn>
                <a:cxn ang="0">
                  <a:pos x="565" y="704"/>
                </a:cxn>
                <a:cxn ang="0">
                  <a:pos x="546" y="774"/>
                </a:cxn>
                <a:cxn ang="0">
                  <a:pos x="497" y="785"/>
                </a:cxn>
                <a:cxn ang="0">
                  <a:pos x="501" y="712"/>
                </a:cxn>
                <a:cxn ang="0">
                  <a:pos x="559" y="723"/>
                </a:cxn>
                <a:cxn ang="0">
                  <a:pos x="544" y="783"/>
                </a:cxn>
                <a:cxn ang="0">
                  <a:pos x="510" y="796"/>
                </a:cxn>
                <a:cxn ang="0">
                  <a:pos x="45" y="529"/>
                </a:cxn>
                <a:cxn ang="0">
                  <a:pos x="107" y="504"/>
                </a:cxn>
                <a:cxn ang="0">
                  <a:pos x="175" y="486"/>
                </a:cxn>
                <a:cxn ang="0">
                  <a:pos x="305" y="459"/>
                </a:cxn>
                <a:cxn ang="0">
                  <a:pos x="360" y="491"/>
                </a:cxn>
                <a:cxn ang="0">
                  <a:pos x="388" y="533"/>
                </a:cxn>
                <a:cxn ang="0">
                  <a:pos x="420" y="516"/>
                </a:cxn>
                <a:cxn ang="0">
                  <a:pos x="429" y="553"/>
                </a:cxn>
                <a:cxn ang="0">
                  <a:pos x="439" y="604"/>
                </a:cxn>
                <a:cxn ang="0">
                  <a:pos x="505" y="653"/>
                </a:cxn>
                <a:cxn ang="0">
                  <a:pos x="537" y="661"/>
                </a:cxn>
                <a:cxn ang="0">
                  <a:pos x="572" y="642"/>
                </a:cxn>
                <a:cxn ang="0">
                  <a:pos x="659" y="553"/>
                </a:cxn>
                <a:cxn ang="0">
                  <a:pos x="708" y="480"/>
                </a:cxn>
                <a:cxn ang="0">
                  <a:pos x="736" y="367"/>
                </a:cxn>
                <a:cxn ang="0">
                  <a:pos x="713" y="292"/>
                </a:cxn>
                <a:cxn ang="0">
                  <a:pos x="689" y="258"/>
                </a:cxn>
                <a:cxn ang="0">
                  <a:pos x="663" y="199"/>
                </a:cxn>
                <a:cxn ang="0">
                  <a:pos x="631" y="141"/>
                </a:cxn>
                <a:cxn ang="0">
                  <a:pos x="601" y="86"/>
                </a:cxn>
                <a:cxn ang="0">
                  <a:pos x="580" y="15"/>
                </a:cxn>
                <a:cxn ang="0">
                  <a:pos x="559" y="83"/>
                </a:cxn>
                <a:cxn ang="0">
                  <a:pos x="506" y="137"/>
                </a:cxn>
                <a:cxn ang="0">
                  <a:pos x="448" y="86"/>
                </a:cxn>
                <a:cxn ang="0">
                  <a:pos x="476" y="41"/>
                </a:cxn>
                <a:cxn ang="0">
                  <a:pos x="442" y="43"/>
                </a:cxn>
                <a:cxn ang="0">
                  <a:pos x="393" y="24"/>
                </a:cxn>
                <a:cxn ang="0">
                  <a:pos x="363" y="41"/>
                </a:cxn>
                <a:cxn ang="0">
                  <a:pos x="333" y="77"/>
                </a:cxn>
                <a:cxn ang="0">
                  <a:pos x="326" y="98"/>
                </a:cxn>
                <a:cxn ang="0">
                  <a:pos x="296" y="81"/>
                </a:cxn>
                <a:cxn ang="0">
                  <a:pos x="260" y="86"/>
                </a:cxn>
                <a:cxn ang="0">
                  <a:pos x="237" y="113"/>
                </a:cxn>
                <a:cxn ang="0">
                  <a:pos x="222" y="135"/>
                </a:cxn>
                <a:cxn ang="0">
                  <a:pos x="192" y="156"/>
                </a:cxn>
                <a:cxn ang="0">
                  <a:pos x="104" y="209"/>
                </a:cxn>
                <a:cxn ang="0">
                  <a:pos x="34" y="229"/>
                </a:cxn>
                <a:cxn ang="0">
                  <a:pos x="13" y="318"/>
                </a:cxn>
                <a:cxn ang="0">
                  <a:pos x="25" y="435"/>
                </a:cxn>
              </a:cxnLst>
              <a:rect l="0" t="0" r="r" b="b"/>
              <a:pathLst>
                <a:path w="747" h="802">
                  <a:moveTo>
                    <a:pt x="740" y="382"/>
                  </a:moveTo>
                  <a:lnTo>
                    <a:pt x="742" y="376"/>
                  </a:lnTo>
                  <a:lnTo>
                    <a:pt x="742" y="380"/>
                  </a:lnTo>
                  <a:lnTo>
                    <a:pt x="740" y="382"/>
                  </a:lnTo>
                  <a:lnTo>
                    <a:pt x="740" y="382"/>
                  </a:lnTo>
                  <a:lnTo>
                    <a:pt x="740" y="382"/>
                  </a:lnTo>
                  <a:lnTo>
                    <a:pt x="740" y="382"/>
                  </a:lnTo>
                  <a:close/>
                  <a:moveTo>
                    <a:pt x="742" y="337"/>
                  </a:moveTo>
                  <a:lnTo>
                    <a:pt x="740" y="331"/>
                  </a:lnTo>
                  <a:lnTo>
                    <a:pt x="742" y="326"/>
                  </a:lnTo>
                  <a:lnTo>
                    <a:pt x="742" y="324"/>
                  </a:lnTo>
                  <a:lnTo>
                    <a:pt x="744" y="318"/>
                  </a:lnTo>
                  <a:lnTo>
                    <a:pt x="747" y="316"/>
                  </a:lnTo>
                  <a:lnTo>
                    <a:pt x="744" y="314"/>
                  </a:lnTo>
                  <a:lnTo>
                    <a:pt x="747" y="310"/>
                  </a:lnTo>
                  <a:lnTo>
                    <a:pt x="747" y="310"/>
                  </a:lnTo>
                  <a:lnTo>
                    <a:pt x="747" y="316"/>
                  </a:lnTo>
                  <a:lnTo>
                    <a:pt x="747" y="322"/>
                  </a:lnTo>
                  <a:lnTo>
                    <a:pt x="744" y="326"/>
                  </a:lnTo>
                  <a:lnTo>
                    <a:pt x="744" y="333"/>
                  </a:lnTo>
                  <a:lnTo>
                    <a:pt x="744" y="337"/>
                  </a:lnTo>
                  <a:lnTo>
                    <a:pt x="742" y="337"/>
                  </a:lnTo>
                  <a:lnTo>
                    <a:pt x="742" y="337"/>
                  </a:lnTo>
                  <a:lnTo>
                    <a:pt x="742" y="337"/>
                  </a:lnTo>
                  <a:lnTo>
                    <a:pt x="742" y="337"/>
                  </a:lnTo>
                  <a:close/>
                  <a:moveTo>
                    <a:pt x="712" y="282"/>
                  </a:moveTo>
                  <a:lnTo>
                    <a:pt x="713" y="286"/>
                  </a:lnTo>
                  <a:lnTo>
                    <a:pt x="717" y="290"/>
                  </a:lnTo>
                  <a:lnTo>
                    <a:pt x="717" y="286"/>
                  </a:lnTo>
                  <a:lnTo>
                    <a:pt x="713" y="284"/>
                  </a:lnTo>
                  <a:lnTo>
                    <a:pt x="713" y="282"/>
                  </a:lnTo>
                  <a:lnTo>
                    <a:pt x="713" y="282"/>
                  </a:lnTo>
                  <a:lnTo>
                    <a:pt x="712" y="280"/>
                  </a:lnTo>
                  <a:lnTo>
                    <a:pt x="712" y="282"/>
                  </a:lnTo>
                  <a:lnTo>
                    <a:pt x="712" y="282"/>
                  </a:lnTo>
                  <a:lnTo>
                    <a:pt x="712" y="282"/>
                  </a:lnTo>
                  <a:lnTo>
                    <a:pt x="712" y="282"/>
                  </a:lnTo>
                  <a:close/>
                  <a:moveTo>
                    <a:pt x="706" y="256"/>
                  </a:moveTo>
                  <a:lnTo>
                    <a:pt x="706" y="254"/>
                  </a:lnTo>
                  <a:lnTo>
                    <a:pt x="704" y="254"/>
                  </a:lnTo>
                  <a:lnTo>
                    <a:pt x="706" y="256"/>
                  </a:lnTo>
                  <a:lnTo>
                    <a:pt x="706" y="256"/>
                  </a:lnTo>
                  <a:lnTo>
                    <a:pt x="706" y="256"/>
                  </a:lnTo>
                  <a:lnTo>
                    <a:pt x="706" y="256"/>
                  </a:lnTo>
                  <a:close/>
                  <a:moveTo>
                    <a:pt x="634" y="175"/>
                  </a:moveTo>
                  <a:lnTo>
                    <a:pt x="638" y="171"/>
                  </a:lnTo>
                  <a:lnTo>
                    <a:pt x="634" y="169"/>
                  </a:lnTo>
                  <a:lnTo>
                    <a:pt x="638" y="169"/>
                  </a:lnTo>
                  <a:lnTo>
                    <a:pt x="638" y="165"/>
                  </a:lnTo>
                  <a:lnTo>
                    <a:pt x="638" y="173"/>
                  </a:lnTo>
                  <a:lnTo>
                    <a:pt x="638" y="177"/>
                  </a:lnTo>
                  <a:lnTo>
                    <a:pt x="634" y="175"/>
                  </a:lnTo>
                  <a:lnTo>
                    <a:pt x="634" y="175"/>
                  </a:lnTo>
                  <a:lnTo>
                    <a:pt x="634" y="175"/>
                  </a:lnTo>
                  <a:lnTo>
                    <a:pt x="634" y="175"/>
                  </a:lnTo>
                  <a:close/>
                  <a:moveTo>
                    <a:pt x="576" y="0"/>
                  </a:moveTo>
                  <a:lnTo>
                    <a:pt x="576" y="3"/>
                  </a:lnTo>
                  <a:lnTo>
                    <a:pt x="576" y="0"/>
                  </a:lnTo>
                  <a:lnTo>
                    <a:pt x="576" y="0"/>
                  </a:lnTo>
                  <a:lnTo>
                    <a:pt x="576" y="0"/>
                  </a:lnTo>
                  <a:lnTo>
                    <a:pt x="576" y="0"/>
                  </a:lnTo>
                  <a:lnTo>
                    <a:pt x="576" y="0"/>
                  </a:lnTo>
                  <a:close/>
                  <a:moveTo>
                    <a:pt x="572" y="9"/>
                  </a:moveTo>
                  <a:lnTo>
                    <a:pt x="572" y="13"/>
                  </a:lnTo>
                  <a:lnTo>
                    <a:pt x="574" y="13"/>
                  </a:lnTo>
                  <a:lnTo>
                    <a:pt x="576" y="11"/>
                  </a:lnTo>
                  <a:lnTo>
                    <a:pt x="576" y="9"/>
                  </a:lnTo>
                  <a:lnTo>
                    <a:pt x="572" y="9"/>
                  </a:lnTo>
                  <a:lnTo>
                    <a:pt x="572" y="9"/>
                  </a:lnTo>
                  <a:lnTo>
                    <a:pt x="572" y="9"/>
                  </a:lnTo>
                  <a:lnTo>
                    <a:pt x="572" y="9"/>
                  </a:lnTo>
                  <a:close/>
                  <a:moveTo>
                    <a:pt x="514" y="141"/>
                  </a:moveTo>
                  <a:lnTo>
                    <a:pt x="514" y="145"/>
                  </a:lnTo>
                  <a:lnTo>
                    <a:pt x="516" y="141"/>
                  </a:lnTo>
                  <a:lnTo>
                    <a:pt x="516" y="141"/>
                  </a:lnTo>
                  <a:lnTo>
                    <a:pt x="514" y="141"/>
                  </a:lnTo>
                  <a:lnTo>
                    <a:pt x="514" y="141"/>
                  </a:lnTo>
                  <a:lnTo>
                    <a:pt x="514" y="141"/>
                  </a:lnTo>
                  <a:lnTo>
                    <a:pt x="514" y="141"/>
                  </a:lnTo>
                  <a:close/>
                  <a:moveTo>
                    <a:pt x="508" y="132"/>
                  </a:moveTo>
                  <a:lnTo>
                    <a:pt x="510" y="135"/>
                  </a:lnTo>
                  <a:lnTo>
                    <a:pt x="512" y="135"/>
                  </a:lnTo>
                  <a:lnTo>
                    <a:pt x="516" y="132"/>
                  </a:lnTo>
                  <a:lnTo>
                    <a:pt x="518" y="132"/>
                  </a:lnTo>
                  <a:lnTo>
                    <a:pt x="518" y="130"/>
                  </a:lnTo>
                  <a:lnTo>
                    <a:pt x="514" y="130"/>
                  </a:lnTo>
                  <a:lnTo>
                    <a:pt x="510" y="132"/>
                  </a:lnTo>
                  <a:lnTo>
                    <a:pt x="510" y="132"/>
                  </a:lnTo>
                  <a:lnTo>
                    <a:pt x="508" y="132"/>
                  </a:lnTo>
                  <a:lnTo>
                    <a:pt x="508" y="132"/>
                  </a:lnTo>
                  <a:lnTo>
                    <a:pt x="508" y="132"/>
                  </a:lnTo>
                  <a:lnTo>
                    <a:pt x="508" y="132"/>
                  </a:lnTo>
                  <a:close/>
                  <a:moveTo>
                    <a:pt x="473" y="115"/>
                  </a:moveTo>
                  <a:lnTo>
                    <a:pt x="469" y="113"/>
                  </a:lnTo>
                  <a:lnTo>
                    <a:pt x="473" y="111"/>
                  </a:lnTo>
                  <a:lnTo>
                    <a:pt x="473" y="113"/>
                  </a:lnTo>
                  <a:lnTo>
                    <a:pt x="473" y="115"/>
                  </a:lnTo>
                  <a:lnTo>
                    <a:pt x="473" y="115"/>
                  </a:lnTo>
                  <a:lnTo>
                    <a:pt x="473" y="115"/>
                  </a:lnTo>
                  <a:lnTo>
                    <a:pt x="473" y="115"/>
                  </a:lnTo>
                  <a:close/>
                  <a:moveTo>
                    <a:pt x="459" y="77"/>
                  </a:moveTo>
                  <a:lnTo>
                    <a:pt x="459" y="75"/>
                  </a:lnTo>
                  <a:lnTo>
                    <a:pt x="457" y="75"/>
                  </a:lnTo>
                  <a:lnTo>
                    <a:pt x="457" y="73"/>
                  </a:lnTo>
                  <a:lnTo>
                    <a:pt x="459" y="71"/>
                  </a:lnTo>
                  <a:lnTo>
                    <a:pt x="461" y="75"/>
                  </a:lnTo>
                  <a:lnTo>
                    <a:pt x="459" y="77"/>
                  </a:lnTo>
                  <a:lnTo>
                    <a:pt x="459" y="77"/>
                  </a:lnTo>
                  <a:lnTo>
                    <a:pt x="459" y="77"/>
                  </a:lnTo>
                  <a:lnTo>
                    <a:pt x="459" y="77"/>
                  </a:lnTo>
                  <a:close/>
                  <a:moveTo>
                    <a:pt x="463" y="81"/>
                  </a:moveTo>
                  <a:lnTo>
                    <a:pt x="463" y="83"/>
                  </a:lnTo>
                  <a:lnTo>
                    <a:pt x="463" y="83"/>
                  </a:lnTo>
                  <a:lnTo>
                    <a:pt x="467" y="83"/>
                  </a:lnTo>
                  <a:lnTo>
                    <a:pt x="473" y="83"/>
                  </a:lnTo>
                  <a:lnTo>
                    <a:pt x="473" y="81"/>
                  </a:lnTo>
                  <a:lnTo>
                    <a:pt x="473" y="79"/>
                  </a:lnTo>
                  <a:lnTo>
                    <a:pt x="469" y="79"/>
                  </a:lnTo>
                  <a:lnTo>
                    <a:pt x="467" y="79"/>
                  </a:lnTo>
                  <a:lnTo>
                    <a:pt x="473" y="75"/>
                  </a:lnTo>
                  <a:lnTo>
                    <a:pt x="473" y="75"/>
                  </a:lnTo>
                  <a:lnTo>
                    <a:pt x="467" y="75"/>
                  </a:lnTo>
                  <a:lnTo>
                    <a:pt x="467" y="73"/>
                  </a:lnTo>
                  <a:lnTo>
                    <a:pt x="467" y="73"/>
                  </a:lnTo>
                  <a:lnTo>
                    <a:pt x="463" y="75"/>
                  </a:lnTo>
                  <a:lnTo>
                    <a:pt x="463" y="75"/>
                  </a:lnTo>
                  <a:lnTo>
                    <a:pt x="463" y="77"/>
                  </a:lnTo>
                  <a:lnTo>
                    <a:pt x="463" y="77"/>
                  </a:lnTo>
                  <a:lnTo>
                    <a:pt x="463" y="81"/>
                  </a:lnTo>
                  <a:lnTo>
                    <a:pt x="463" y="81"/>
                  </a:lnTo>
                  <a:lnTo>
                    <a:pt x="463" y="81"/>
                  </a:lnTo>
                  <a:lnTo>
                    <a:pt x="463" y="81"/>
                  </a:lnTo>
                  <a:close/>
                  <a:moveTo>
                    <a:pt x="467" y="24"/>
                  </a:moveTo>
                  <a:lnTo>
                    <a:pt x="467" y="26"/>
                  </a:lnTo>
                  <a:lnTo>
                    <a:pt x="469" y="22"/>
                  </a:lnTo>
                  <a:lnTo>
                    <a:pt x="473" y="20"/>
                  </a:lnTo>
                  <a:lnTo>
                    <a:pt x="473" y="18"/>
                  </a:lnTo>
                  <a:lnTo>
                    <a:pt x="467" y="22"/>
                  </a:lnTo>
                  <a:lnTo>
                    <a:pt x="467" y="24"/>
                  </a:lnTo>
                  <a:lnTo>
                    <a:pt x="467" y="24"/>
                  </a:lnTo>
                  <a:lnTo>
                    <a:pt x="467" y="24"/>
                  </a:lnTo>
                  <a:lnTo>
                    <a:pt x="467" y="24"/>
                  </a:lnTo>
                  <a:close/>
                  <a:moveTo>
                    <a:pt x="463" y="28"/>
                  </a:moveTo>
                  <a:lnTo>
                    <a:pt x="463" y="28"/>
                  </a:lnTo>
                  <a:lnTo>
                    <a:pt x="463" y="26"/>
                  </a:lnTo>
                  <a:lnTo>
                    <a:pt x="463" y="28"/>
                  </a:lnTo>
                  <a:lnTo>
                    <a:pt x="463" y="28"/>
                  </a:lnTo>
                  <a:lnTo>
                    <a:pt x="463" y="28"/>
                  </a:lnTo>
                  <a:lnTo>
                    <a:pt x="463" y="28"/>
                  </a:lnTo>
                  <a:close/>
                  <a:moveTo>
                    <a:pt x="459" y="28"/>
                  </a:moveTo>
                  <a:lnTo>
                    <a:pt x="461" y="32"/>
                  </a:lnTo>
                  <a:lnTo>
                    <a:pt x="461" y="28"/>
                  </a:lnTo>
                  <a:lnTo>
                    <a:pt x="459" y="28"/>
                  </a:lnTo>
                  <a:lnTo>
                    <a:pt x="459" y="28"/>
                  </a:lnTo>
                  <a:lnTo>
                    <a:pt x="459" y="28"/>
                  </a:lnTo>
                  <a:lnTo>
                    <a:pt x="459" y="28"/>
                  </a:lnTo>
                  <a:close/>
                  <a:moveTo>
                    <a:pt x="452" y="32"/>
                  </a:moveTo>
                  <a:lnTo>
                    <a:pt x="456" y="32"/>
                  </a:lnTo>
                  <a:lnTo>
                    <a:pt x="456" y="32"/>
                  </a:lnTo>
                  <a:lnTo>
                    <a:pt x="452" y="32"/>
                  </a:lnTo>
                  <a:lnTo>
                    <a:pt x="452" y="32"/>
                  </a:lnTo>
                  <a:lnTo>
                    <a:pt x="452" y="32"/>
                  </a:lnTo>
                  <a:lnTo>
                    <a:pt x="452" y="32"/>
                  </a:lnTo>
                  <a:close/>
                  <a:moveTo>
                    <a:pt x="448" y="37"/>
                  </a:moveTo>
                  <a:lnTo>
                    <a:pt x="448" y="37"/>
                  </a:lnTo>
                  <a:lnTo>
                    <a:pt x="452" y="32"/>
                  </a:lnTo>
                  <a:lnTo>
                    <a:pt x="454" y="32"/>
                  </a:lnTo>
                  <a:lnTo>
                    <a:pt x="454" y="34"/>
                  </a:lnTo>
                  <a:lnTo>
                    <a:pt x="450" y="37"/>
                  </a:lnTo>
                  <a:lnTo>
                    <a:pt x="448" y="37"/>
                  </a:lnTo>
                  <a:lnTo>
                    <a:pt x="448" y="37"/>
                  </a:lnTo>
                  <a:lnTo>
                    <a:pt x="448" y="37"/>
                  </a:lnTo>
                  <a:lnTo>
                    <a:pt x="448" y="37"/>
                  </a:lnTo>
                  <a:close/>
                  <a:moveTo>
                    <a:pt x="442" y="39"/>
                  </a:moveTo>
                  <a:lnTo>
                    <a:pt x="442" y="39"/>
                  </a:lnTo>
                  <a:lnTo>
                    <a:pt x="446" y="37"/>
                  </a:lnTo>
                  <a:lnTo>
                    <a:pt x="446" y="37"/>
                  </a:lnTo>
                  <a:lnTo>
                    <a:pt x="442" y="39"/>
                  </a:lnTo>
                  <a:lnTo>
                    <a:pt x="442" y="39"/>
                  </a:lnTo>
                  <a:lnTo>
                    <a:pt x="442" y="39"/>
                  </a:lnTo>
                  <a:lnTo>
                    <a:pt x="442" y="39"/>
                  </a:lnTo>
                  <a:close/>
                  <a:moveTo>
                    <a:pt x="395" y="24"/>
                  </a:moveTo>
                  <a:lnTo>
                    <a:pt x="393" y="20"/>
                  </a:lnTo>
                  <a:lnTo>
                    <a:pt x="393" y="18"/>
                  </a:lnTo>
                  <a:lnTo>
                    <a:pt x="397" y="17"/>
                  </a:lnTo>
                  <a:lnTo>
                    <a:pt x="395" y="20"/>
                  </a:lnTo>
                  <a:lnTo>
                    <a:pt x="395" y="24"/>
                  </a:lnTo>
                  <a:lnTo>
                    <a:pt x="395" y="24"/>
                  </a:lnTo>
                  <a:lnTo>
                    <a:pt x="395" y="24"/>
                  </a:lnTo>
                  <a:lnTo>
                    <a:pt x="395" y="24"/>
                  </a:lnTo>
                  <a:close/>
                  <a:moveTo>
                    <a:pt x="354" y="22"/>
                  </a:moveTo>
                  <a:lnTo>
                    <a:pt x="354" y="26"/>
                  </a:lnTo>
                  <a:lnTo>
                    <a:pt x="360" y="28"/>
                  </a:lnTo>
                  <a:lnTo>
                    <a:pt x="360" y="32"/>
                  </a:lnTo>
                  <a:lnTo>
                    <a:pt x="365" y="37"/>
                  </a:lnTo>
                  <a:lnTo>
                    <a:pt x="373" y="28"/>
                  </a:lnTo>
                  <a:lnTo>
                    <a:pt x="373" y="28"/>
                  </a:lnTo>
                  <a:lnTo>
                    <a:pt x="375" y="28"/>
                  </a:lnTo>
                  <a:lnTo>
                    <a:pt x="377" y="26"/>
                  </a:lnTo>
                  <a:lnTo>
                    <a:pt x="375" y="24"/>
                  </a:lnTo>
                  <a:lnTo>
                    <a:pt x="373" y="22"/>
                  </a:lnTo>
                  <a:lnTo>
                    <a:pt x="371" y="22"/>
                  </a:lnTo>
                  <a:lnTo>
                    <a:pt x="369" y="24"/>
                  </a:lnTo>
                  <a:lnTo>
                    <a:pt x="363" y="24"/>
                  </a:lnTo>
                  <a:lnTo>
                    <a:pt x="363" y="26"/>
                  </a:lnTo>
                  <a:lnTo>
                    <a:pt x="360" y="26"/>
                  </a:lnTo>
                  <a:lnTo>
                    <a:pt x="360" y="24"/>
                  </a:lnTo>
                  <a:lnTo>
                    <a:pt x="358" y="24"/>
                  </a:lnTo>
                  <a:lnTo>
                    <a:pt x="354" y="20"/>
                  </a:lnTo>
                  <a:lnTo>
                    <a:pt x="354" y="20"/>
                  </a:lnTo>
                  <a:lnTo>
                    <a:pt x="354" y="22"/>
                  </a:lnTo>
                  <a:lnTo>
                    <a:pt x="354" y="22"/>
                  </a:lnTo>
                  <a:lnTo>
                    <a:pt x="354" y="22"/>
                  </a:lnTo>
                  <a:lnTo>
                    <a:pt x="354" y="22"/>
                  </a:lnTo>
                  <a:close/>
                  <a:moveTo>
                    <a:pt x="354" y="24"/>
                  </a:moveTo>
                  <a:lnTo>
                    <a:pt x="354" y="28"/>
                  </a:lnTo>
                  <a:lnTo>
                    <a:pt x="360" y="32"/>
                  </a:lnTo>
                  <a:lnTo>
                    <a:pt x="360" y="32"/>
                  </a:lnTo>
                  <a:lnTo>
                    <a:pt x="354" y="32"/>
                  </a:lnTo>
                  <a:lnTo>
                    <a:pt x="354" y="32"/>
                  </a:lnTo>
                  <a:lnTo>
                    <a:pt x="348" y="28"/>
                  </a:lnTo>
                  <a:lnTo>
                    <a:pt x="348" y="28"/>
                  </a:lnTo>
                  <a:lnTo>
                    <a:pt x="350" y="28"/>
                  </a:lnTo>
                  <a:lnTo>
                    <a:pt x="350" y="28"/>
                  </a:lnTo>
                  <a:lnTo>
                    <a:pt x="350" y="28"/>
                  </a:lnTo>
                  <a:lnTo>
                    <a:pt x="350" y="28"/>
                  </a:lnTo>
                  <a:lnTo>
                    <a:pt x="350" y="26"/>
                  </a:lnTo>
                  <a:lnTo>
                    <a:pt x="350" y="24"/>
                  </a:lnTo>
                  <a:lnTo>
                    <a:pt x="354" y="24"/>
                  </a:lnTo>
                  <a:lnTo>
                    <a:pt x="354" y="24"/>
                  </a:lnTo>
                  <a:lnTo>
                    <a:pt x="354" y="24"/>
                  </a:lnTo>
                  <a:lnTo>
                    <a:pt x="354" y="24"/>
                  </a:lnTo>
                  <a:close/>
                  <a:moveTo>
                    <a:pt x="235" y="103"/>
                  </a:moveTo>
                  <a:lnTo>
                    <a:pt x="237" y="105"/>
                  </a:lnTo>
                  <a:lnTo>
                    <a:pt x="241" y="103"/>
                  </a:lnTo>
                  <a:lnTo>
                    <a:pt x="237" y="99"/>
                  </a:lnTo>
                  <a:lnTo>
                    <a:pt x="237" y="99"/>
                  </a:lnTo>
                  <a:lnTo>
                    <a:pt x="235" y="103"/>
                  </a:lnTo>
                  <a:lnTo>
                    <a:pt x="235" y="103"/>
                  </a:lnTo>
                  <a:lnTo>
                    <a:pt x="235" y="103"/>
                  </a:lnTo>
                  <a:lnTo>
                    <a:pt x="235" y="103"/>
                  </a:lnTo>
                  <a:close/>
                  <a:moveTo>
                    <a:pt x="237" y="115"/>
                  </a:moveTo>
                  <a:lnTo>
                    <a:pt x="235" y="111"/>
                  </a:lnTo>
                  <a:lnTo>
                    <a:pt x="233" y="107"/>
                  </a:lnTo>
                  <a:lnTo>
                    <a:pt x="233" y="113"/>
                  </a:lnTo>
                  <a:lnTo>
                    <a:pt x="237" y="115"/>
                  </a:lnTo>
                  <a:lnTo>
                    <a:pt x="237" y="115"/>
                  </a:lnTo>
                  <a:lnTo>
                    <a:pt x="237" y="115"/>
                  </a:lnTo>
                  <a:lnTo>
                    <a:pt x="237" y="115"/>
                  </a:lnTo>
                  <a:close/>
                  <a:moveTo>
                    <a:pt x="250" y="86"/>
                  </a:moveTo>
                  <a:lnTo>
                    <a:pt x="250" y="86"/>
                  </a:lnTo>
                  <a:lnTo>
                    <a:pt x="250" y="86"/>
                  </a:lnTo>
                  <a:lnTo>
                    <a:pt x="252" y="86"/>
                  </a:lnTo>
                  <a:lnTo>
                    <a:pt x="250" y="86"/>
                  </a:lnTo>
                  <a:lnTo>
                    <a:pt x="250" y="86"/>
                  </a:lnTo>
                  <a:lnTo>
                    <a:pt x="250" y="86"/>
                  </a:lnTo>
                  <a:lnTo>
                    <a:pt x="250" y="86"/>
                  </a:lnTo>
                  <a:close/>
                  <a:moveTo>
                    <a:pt x="55" y="214"/>
                  </a:moveTo>
                  <a:lnTo>
                    <a:pt x="55" y="213"/>
                  </a:lnTo>
                  <a:lnTo>
                    <a:pt x="58" y="209"/>
                  </a:lnTo>
                  <a:lnTo>
                    <a:pt x="58" y="213"/>
                  </a:lnTo>
                  <a:lnTo>
                    <a:pt x="55" y="214"/>
                  </a:lnTo>
                  <a:lnTo>
                    <a:pt x="55" y="214"/>
                  </a:lnTo>
                  <a:lnTo>
                    <a:pt x="55" y="214"/>
                  </a:lnTo>
                  <a:lnTo>
                    <a:pt x="55" y="214"/>
                  </a:lnTo>
                  <a:close/>
                  <a:moveTo>
                    <a:pt x="0" y="310"/>
                  </a:moveTo>
                  <a:lnTo>
                    <a:pt x="2" y="301"/>
                  </a:lnTo>
                  <a:lnTo>
                    <a:pt x="2" y="307"/>
                  </a:lnTo>
                  <a:lnTo>
                    <a:pt x="2" y="307"/>
                  </a:lnTo>
                  <a:lnTo>
                    <a:pt x="0" y="310"/>
                  </a:lnTo>
                  <a:lnTo>
                    <a:pt x="0" y="310"/>
                  </a:lnTo>
                  <a:lnTo>
                    <a:pt x="0" y="310"/>
                  </a:lnTo>
                  <a:lnTo>
                    <a:pt x="0" y="310"/>
                  </a:lnTo>
                  <a:close/>
                  <a:moveTo>
                    <a:pt x="0" y="324"/>
                  </a:moveTo>
                  <a:lnTo>
                    <a:pt x="0" y="318"/>
                  </a:lnTo>
                  <a:lnTo>
                    <a:pt x="0" y="312"/>
                  </a:lnTo>
                  <a:lnTo>
                    <a:pt x="2" y="318"/>
                  </a:lnTo>
                  <a:lnTo>
                    <a:pt x="0" y="324"/>
                  </a:lnTo>
                  <a:lnTo>
                    <a:pt x="0" y="324"/>
                  </a:lnTo>
                  <a:lnTo>
                    <a:pt x="0" y="324"/>
                  </a:lnTo>
                  <a:lnTo>
                    <a:pt x="0" y="324"/>
                  </a:lnTo>
                  <a:close/>
                  <a:moveTo>
                    <a:pt x="409" y="563"/>
                  </a:moveTo>
                  <a:lnTo>
                    <a:pt x="409" y="567"/>
                  </a:lnTo>
                  <a:lnTo>
                    <a:pt x="409" y="567"/>
                  </a:lnTo>
                  <a:lnTo>
                    <a:pt x="412" y="567"/>
                  </a:lnTo>
                  <a:lnTo>
                    <a:pt x="412" y="569"/>
                  </a:lnTo>
                  <a:lnTo>
                    <a:pt x="414" y="569"/>
                  </a:lnTo>
                  <a:lnTo>
                    <a:pt x="418" y="569"/>
                  </a:lnTo>
                  <a:lnTo>
                    <a:pt x="418" y="569"/>
                  </a:lnTo>
                  <a:lnTo>
                    <a:pt x="418" y="572"/>
                  </a:lnTo>
                  <a:lnTo>
                    <a:pt x="409" y="570"/>
                  </a:lnTo>
                  <a:lnTo>
                    <a:pt x="409" y="572"/>
                  </a:lnTo>
                  <a:lnTo>
                    <a:pt x="407" y="572"/>
                  </a:lnTo>
                  <a:lnTo>
                    <a:pt x="407" y="574"/>
                  </a:lnTo>
                  <a:lnTo>
                    <a:pt x="405" y="574"/>
                  </a:lnTo>
                  <a:lnTo>
                    <a:pt x="403" y="572"/>
                  </a:lnTo>
                  <a:lnTo>
                    <a:pt x="401" y="572"/>
                  </a:lnTo>
                  <a:lnTo>
                    <a:pt x="397" y="572"/>
                  </a:lnTo>
                  <a:lnTo>
                    <a:pt x="395" y="572"/>
                  </a:lnTo>
                  <a:lnTo>
                    <a:pt x="392" y="572"/>
                  </a:lnTo>
                  <a:lnTo>
                    <a:pt x="388" y="570"/>
                  </a:lnTo>
                  <a:lnTo>
                    <a:pt x="388" y="569"/>
                  </a:lnTo>
                  <a:lnTo>
                    <a:pt x="393" y="567"/>
                  </a:lnTo>
                  <a:lnTo>
                    <a:pt x="405" y="563"/>
                  </a:lnTo>
                  <a:lnTo>
                    <a:pt x="407" y="563"/>
                  </a:lnTo>
                  <a:lnTo>
                    <a:pt x="409" y="563"/>
                  </a:lnTo>
                  <a:lnTo>
                    <a:pt x="409" y="563"/>
                  </a:lnTo>
                  <a:lnTo>
                    <a:pt x="409" y="563"/>
                  </a:lnTo>
                  <a:lnTo>
                    <a:pt x="409" y="563"/>
                  </a:lnTo>
                  <a:close/>
                  <a:moveTo>
                    <a:pt x="531" y="650"/>
                  </a:moveTo>
                  <a:lnTo>
                    <a:pt x="531" y="650"/>
                  </a:lnTo>
                  <a:lnTo>
                    <a:pt x="533" y="651"/>
                  </a:lnTo>
                  <a:lnTo>
                    <a:pt x="533" y="651"/>
                  </a:lnTo>
                  <a:lnTo>
                    <a:pt x="531" y="650"/>
                  </a:lnTo>
                  <a:lnTo>
                    <a:pt x="531" y="650"/>
                  </a:lnTo>
                  <a:lnTo>
                    <a:pt x="531" y="650"/>
                  </a:lnTo>
                  <a:lnTo>
                    <a:pt x="531" y="650"/>
                  </a:lnTo>
                  <a:close/>
                  <a:moveTo>
                    <a:pt x="550" y="661"/>
                  </a:moveTo>
                  <a:lnTo>
                    <a:pt x="552" y="665"/>
                  </a:lnTo>
                  <a:lnTo>
                    <a:pt x="552" y="661"/>
                  </a:lnTo>
                  <a:lnTo>
                    <a:pt x="550" y="661"/>
                  </a:lnTo>
                  <a:lnTo>
                    <a:pt x="550" y="661"/>
                  </a:lnTo>
                  <a:lnTo>
                    <a:pt x="550" y="661"/>
                  </a:lnTo>
                  <a:lnTo>
                    <a:pt x="550" y="661"/>
                  </a:lnTo>
                  <a:close/>
                  <a:moveTo>
                    <a:pt x="505" y="712"/>
                  </a:moveTo>
                  <a:lnTo>
                    <a:pt x="505" y="715"/>
                  </a:lnTo>
                  <a:lnTo>
                    <a:pt x="508" y="715"/>
                  </a:lnTo>
                  <a:lnTo>
                    <a:pt x="510" y="714"/>
                  </a:lnTo>
                  <a:lnTo>
                    <a:pt x="506" y="712"/>
                  </a:lnTo>
                  <a:lnTo>
                    <a:pt x="505" y="712"/>
                  </a:lnTo>
                  <a:lnTo>
                    <a:pt x="505" y="712"/>
                  </a:lnTo>
                  <a:lnTo>
                    <a:pt x="505" y="712"/>
                  </a:lnTo>
                  <a:lnTo>
                    <a:pt x="505" y="712"/>
                  </a:lnTo>
                  <a:close/>
                  <a:moveTo>
                    <a:pt x="506" y="704"/>
                  </a:moveTo>
                  <a:lnTo>
                    <a:pt x="506" y="708"/>
                  </a:lnTo>
                  <a:lnTo>
                    <a:pt x="508" y="708"/>
                  </a:lnTo>
                  <a:lnTo>
                    <a:pt x="508" y="704"/>
                  </a:lnTo>
                  <a:lnTo>
                    <a:pt x="506" y="704"/>
                  </a:lnTo>
                  <a:lnTo>
                    <a:pt x="506" y="704"/>
                  </a:lnTo>
                  <a:lnTo>
                    <a:pt x="506" y="704"/>
                  </a:lnTo>
                  <a:lnTo>
                    <a:pt x="506" y="704"/>
                  </a:lnTo>
                  <a:close/>
                  <a:moveTo>
                    <a:pt x="503" y="710"/>
                  </a:moveTo>
                  <a:lnTo>
                    <a:pt x="501" y="708"/>
                  </a:lnTo>
                  <a:lnTo>
                    <a:pt x="501" y="704"/>
                  </a:lnTo>
                  <a:lnTo>
                    <a:pt x="505" y="702"/>
                  </a:lnTo>
                  <a:lnTo>
                    <a:pt x="505" y="706"/>
                  </a:lnTo>
                  <a:lnTo>
                    <a:pt x="503" y="710"/>
                  </a:lnTo>
                  <a:lnTo>
                    <a:pt x="503" y="710"/>
                  </a:lnTo>
                  <a:lnTo>
                    <a:pt x="503" y="710"/>
                  </a:lnTo>
                  <a:lnTo>
                    <a:pt x="503" y="710"/>
                  </a:lnTo>
                  <a:close/>
                  <a:moveTo>
                    <a:pt x="491" y="695"/>
                  </a:moveTo>
                  <a:lnTo>
                    <a:pt x="493" y="695"/>
                  </a:lnTo>
                  <a:lnTo>
                    <a:pt x="491" y="691"/>
                  </a:lnTo>
                  <a:lnTo>
                    <a:pt x="493" y="687"/>
                  </a:lnTo>
                  <a:lnTo>
                    <a:pt x="493" y="683"/>
                  </a:lnTo>
                  <a:lnTo>
                    <a:pt x="497" y="682"/>
                  </a:lnTo>
                  <a:lnTo>
                    <a:pt x="497" y="680"/>
                  </a:lnTo>
                  <a:lnTo>
                    <a:pt x="501" y="682"/>
                  </a:lnTo>
                  <a:lnTo>
                    <a:pt x="501" y="687"/>
                  </a:lnTo>
                  <a:lnTo>
                    <a:pt x="501" y="689"/>
                  </a:lnTo>
                  <a:lnTo>
                    <a:pt x="497" y="691"/>
                  </a:lnTo>
                  <a:lnTo>
                    <a:pt x="497" y="695"/>
                  </a:lnTo>
                  <a:lnTo>
                    <a:pt x="493" y="698"/>
                  </a:lnTo>
                  <a:lnTo>
                    <a:pt x="491" y="695"/>
                  </a:lnTo>
                  <a:lnTo>
                    <a:pt x="491" y="695"/>
                  </a:lnTo>
                  <a:lnTo>
                    <a:pt x="491" y="695"/>
                  </a:lnTo>
                  <a:lnTo>
                    <a:pt x="491" y="695"/>
                  </a:lnTo>
                  <a:close/>
                  <a:moveTo>
                    <a:pt x="565" y="704"/>
                  </a:moveTo>
                  <a:lnTo>
                    <a:pt x="572" y="702"/>
                  </a:lnTo>
                  <a:lnTo>
                    <a:pt x="572" y="698"/>
                  </a:lnTo>
                  <a:lnTo>
                    <a:pt x="565" y="691"/>
                  </a:lnTo>
                  <a:lnTo>
                    <a:pt x="563" y="695"/>
                  </a:lnTo>
                  <a:lnTo>
                    <a:pt x="563" y="698"/>
                  </a:lnTo>
                  <a:lnTo>
                    <a:pt x="563" y="700"/>
                  </a:lnTo>
                  <a:lnTo>
                    <a:pt x="563" y="702"/>
                  </a:lnTo>
                  <a:lnTo>
                    <a:pt x="565" y="704"/>
                  </a:lnTo>
                  <a:lnTo>
                    <a:pt x="565" y="704"/>
                  </a:lnTo>
                  <a:lnTo>
                    <a:pt x="565" y="704"/>
                  </a:lnTo>
                  <a:lnTo>
                    <a:pt x="565" y="704"/>
                  </a:lnTo>
                  <a:close/>
                  <a:moveTo>
                    <a:pt x="561" y="710"/>
                  </a:moveTo>
                  <a:lnTo>
                    <a:pt x="563" y="712"/>
                  </a:lnTo>
                  <a:lnTo>
                    <a:pt x="569" y="712"/>
                  </a:lnTo>
                  <a:lnTo>
                    <a:pt x="570" y="714"/>
                  </a:lnTo>
                  <a:lnTo>
                    <a:pt x="572" y="712"/>
                  </a:lnTo>
                  <a:lnTo>
                    <a:pt x="569" y="708"/>
                  </a:lnTo>
                  <a:lnTo>
                    <a:pt x="563" y="708"/>
                  </a:lnTo>
                  <a:lnTo>
                    <a:pt x="561" y="710"/>
                  </a:lnTo>
                  <a:lnTo>
                    <a:pt x="561" y="710"/>
                  </a:lnTo>
                  <a:lnTo>
                    <a:pt x="561" y="710"/>
                  </a:lnTo>
                  <a:lnTo>
                    <a:pt x="561" y="710"/>
                  </a:lnTo>
                  <a:close/>
                  <a:moveTo>
                    <a:pt x="565" y="719"/>
                  </a:moveTo>
                  <a:lnTo>
                    <a:pt x="563" y="715"/>
                  </a:lnTo>
                  <a:lnTo>
                    <a:pt x="567" y="715"/>
                  </a:lnTo>
                  <a:lnTo>
                    <a:pt x="565" y="719"/>
                  </a:lnTo>
                  <a:lnTo>
                    <a:pt x="565" y="719"/>
                  </a:lnTo>
                  <a:lnTo>
                    <a:pt x="565" y="719"/>
                  </a:lnTo>
                  <a:lnTo>
                    <a:pt x="565" y="719"/>
                  </a:lnTo>
                  <a:close/>
                  <a:moveTo>
                    <a:pt x="546" y="778"/>
                  </a:moveTo>
                  <a:lnTo>
                    <a:pt x="546" y="774"/>
                  </a:lnTo>
                  <a:lnTo>
                    <a:pt x="546" y="778"/>
                  </a:lnTo>
                  <a:lnTo>
                    <a:pt x="546" y="778"/>
                  </a:lnTo>
                  <a:lnTo>
                    <a:pt x="546" y="778"/>
                  </a:lnTo>
                  <a:lnTo>
                    <a:pt x="546" y="778"/>
                  </a:lnTo>
                  <a:lnTo>
                    <a:pt x="546" y="778"/>
                  </a:lnTo>
                  <a:close/>
                  <a:moveTo>
                    <a:pt x="525" y="798"/>
                  </a:moveTo>
                  <a:lnTo>
                    <a:pt x="521" y="798"/>
                  </a:lnTo>
                  <a:lnTo>
                    <a:pt x="525" y="795"/>
                  </a:lnTo>
                  <a:lnTo>
                    <a:pt x="525" y="791"/>
                  </a:lnTo>
                  <a:lnTo>
                    <a:pt x="525" y="789"/>
                  </a:lnTo>
                  <a:lnTo>
                    <a:pt x="525" y="791"/>
                  </a:lnTo>
                  <a:lnTo>
                    <a:pt x="525" y="795"/>
                  </a:lnTo>
                  <a:lnTo>
                    <a:pt x="525" y="798"/>
                  </a:lnTo>
                  <a:lnTo>
                    <a:pt x="525" y="798"/>
                  </a:lnTo>
                  <a:lnTo>
                    <a:pt x="525" y="798"/>
                  </a:lnTo>
                  <a:lnTo>
                    <a:pt x="525" y="798"/>
                  </a:lnTo>
                  <a:close/>
                  <a:moveTo>
                    <a:pt x="501" y="798"/>
                  </a:moveTo>
                  <a:lnTo>
                    <a:pt x="501" y="793"/>
                  </a:lnTo>
                  <a:lnTo>
                    <a:pt x="501" y="791"/>
                  </a:lnTo>
                  <a:lnTo>
                    <a:pt x="497" y="789"/>
                  </a:lnTo>
                  <a:lnTo>
                    <a:pt x="497" y="785"/>
                  </a:lnTo>
                  <a:lnTo>
                    <a:pt x="497" y="783"/>
                  </a:lnTo>
                  <a:lnTo>
                    <a:pt x="497" y="781"/>
                  </a:lnTo>
                  <a:lnTo>
                    <a:pt x="497" y="772"/>
                  </a:lnTo>
                  <a:lnTo>
                    <a:pt x="497" y="768"/>
                  </a:lnTo>
                  <a:lnTo>
                    <a:pt x="493" y="768"/>
                  </a:lnTo>
                  <a:lnTo>
                    <a:pt x="493" y="761"/>
                  </a:lnTo>
                  <a:lnTo>
                    <a:pt x="497" y="757"/>
                  </a:lnTo>
                  <a:lnTo>
                    <a:pt x="501" y="761"/>
                  </a:lnTo>
                  <a:lnTo>
                    <a:pt x="503" y="761"/>
                  </a:lnTo>
                  <a:lnTo>
                    <a:pt x="501" y="757"/>
                  </a:lnTo>
                  <a:lnTo>
                    <a:pt x="501" y="755"/>
                  </a:lnTo>
                  <a:lnTo>
                    <a:pt x="497" y="753"/>
                  </a:lnTo>
                  <a:lnTo>
                    <a:pt x="497" y="747"/>
                  </a:lnTo>
                  <a:lnTo>
                    <a:pt x="497" y="744"/>
                  </a:lnTo>
                  <a:lnTo>
                    <a:pt x="497" y="734"/>
                  </a:lnTo>
                  <a:lnTo>
                    <a:pt x="497" y="729"/>
                  </a:lnTo>
                  <a:lnTo>
                    <a:pt x="497" y="723"/>
                  </a:lnTo>
                  <a:lnTo>
                    <a:pt x="497" y="719"/>
                  </a:lnTo>
                  <a:lnTo>
                    <a:pt x="497" y="719"/>
                  </a:lnTo>
                  <a:lnTo>
                    <a:pt x="497" y="714"/>
                  </a:lnTo>
                  <a:lnTo>
                    <a:pt x="501" y="712"/>
                  </a:lnTo>
                  <a:lnTo>
                    <a:pt x="503" y="715"/>
                  </a:lnTo>
                  <a:lnTo>
                    <a:pt x="506" y="715"/>
                  </a:lnTo>
                  <a:lnTo>
                    <a:pt x="510" y="719"/>
                  </a:lnTo>
                  <a:lnTo>
                    <a:pt x="510" y="715"/>
                  </a:lnTo>
                  <a:lnTo>
                    <a:pt x="512" y="715"/>
                  </a:lnTo>
                  <a:lnTo>
                    <a:pt x="512" y="719"/>
                  </a:lnTo>
                  <a:lnTo>
                    <a:pt x="518" y="723"/>
                  </a:lnTo>
                  <a:lnTo>
                    <a:pt x="521" y="729"/>
                  </a:lnTo>
                  <a:lnTo>
                    <a:pt x="525" y="731"/>
                  </a:lnTo>
                  <a:lnTo>
                    <a:pt x="531" y="729"/>
                  </a:lnTo>
                  <a:lnTo>
                    <a:pt x="533" y="729"/>
                  </a:lnTo>
                  <a:lnTo>
                    <a:pt x="535" y="731"/>
                  </a:lnTo>
                  <a:lnTo>
                    <a:pt x="535" y="729"/>
                  </a:lnTo>
                  <a:lnTo>
                    <a:pt x="538" y="729"/>
                  </a:lnTo>
                  <a:lnTo>
                    <a:pt x="550" y="729"/>
                  </a:lnTo>
                  <a:lnTo>
                    <a:pt x="552" y="725"/>
                  </a:lnTo>
                  <a:lnTo>
                    <a:pt x="552" y="723"/>
                  </a:lnTo>
                  <a:lnTo>
                    <a:pt x="555" y="723"/>
                  </a:lnTo>
                  <a:lnTo>
                    <a:pt x="555" y="725"/>
                  </a:lnTo>
                  <a:lnTo>
                    <a:pt x="557" y="723"/>
                  </a:lnTo>
                  <a:lnTo>
                    <a:pt x="559" y="723"/>
                  </a:lnTo>
                  <a:lnTo>
                    <a:pt x="565" y="725"/>
                  </a:lnTo>
                  <a:lnTo>
                    <a:pt x="563" y="729"/>
                  </a:lnTo>
                  <a:lnTo>
                    <a:pt x="561" y="738"/>
                  </a:lnTo>
                  <a:lnTo>
                    <a:pt x="557" y="740"/>
                  </a:lnTo>
                  <a:lnTo>
                    <a:pt x="557" y="747"/>
                  </a:lnTo>
                  <a:lnTo>
                    <a:pt x="555" y="753"/>
                  </a:lnTo>
                  <a:lnTo>
                    <a:pt x="555" y="757"/>
                  </a:lnTo>
                  <a:lnTo>
                    <a:pt x="555" y="759"/>
                  </a:lnTo>
                  <a:lnTo>
                    <a:pt x="555" y="761"/>
                  </a:lnTo>
                  <a:lnTo>
                    <a:pt x="555" y="764"/>
                  </a:lnTo>
                  <a:lnTo>
                    <a:pt x="552" y="763"/>
                  </a:lnTo>
                  <a:lnTo>
                    <a:pt x="552" y="757"/>
                  </a:lnTo>
                  <a:lnTo>
                    <a:pt x="550" y="761"/>
                  </a:lnTo>
                  <a:lnTo>
                    <a:pt x="546" y="763"/>
                  </a:lnTo>
                  <a:lnTo>
                    <a:pt x="546" y="772"/>
                  </a:lnTo>
                  <a:lnTo>
                    <a:pt x="546" y="774"/>
                  </a:lnTo>
                  <a:lnTo>
                    <a:pt x="542" y="774"/>
                  </a:lnTo>
                  <a:lnTo>
                    <a:pt x="542" y="778"/>
                  </a:lnTo>
                  <a:lnTo>
                    <a:pt x="540" y="779"/>
                  </a:lnTo>
                  <a:lnTo>
                    <a:pt x="544" y="781"/>
                  </a:lnTo>
                  <a:lnTo>
                    <a:pt x="544" y="783"/>
                  </a:lnTo>
                  <a:lnTo>
                    <a:pt x="538" y="791"/>
                  </a:lnTo>
                  <a:lnTo>
                    <a:pt x="537" y="789"/>
                  </a:lnTo>
                  <a:lnTo>
                    <a:pt x="533" y="791"/>
                  </a:lnTo>
                  <a:lnTo>
                    <a:pt x="533" y="785"/>
                  </a:lnTo>
                  <a:lnTo>
                    <a:pt x="537" y="787"/>
                  </a:lnTo>
                  <a:lnTo>
                    <a:pt x="538" y="783"/>
                  </a:lnTo>
                  <a:lnTo>
                    <a:pt x="537" y="781"/>
                  </a:lnTo>
                  <a:lnTo>
                    <a:pt x="533" y="783"/>
                  </a:lnTo>
                  <a:lnTo>
                    <a:pt x="531" y="785"/>
                  </a:lnTo>
                  <a:lnTo>
                    <a:pt x="527" y="785"/>
                  </a:lnTo>
                  <a:lnTo>
                    <a:pt x="527" y="781"/>
                  </a:lnTo>
                  <a:lnTo>
                    <a:pt x="527" y="785"/>
                  </a:lnTo>
                  <a:lnTo>
                    <a:pt x="525" y="787"/>
                  </a:lnTo>
                  <a:lnTo>
                    <a:pt x="521" y="791"/>
                  </a:lnTo>
                  <a:lnTo>
                    <a:pt x="521" y="787"/>
                  </a:lnTo>
                  <a:lnTo>
                    <a:pt x="518" y="795"/>
                  </a:lnTo>
                  <a:lnTo>
                    <a:pt x="518" y="798"/>
                  </a:lnTo>
                  <a:lnTo>
                    <a:pt x="516" y="802"/>
                  </a:lnTo>
                  <a:lnTo>
                    <a:pt x="512" y="802"/>
                  </a:lnTo>
                  <a:lnTo>
                    <a:pt x="510" y="798"/>
                  </a:lnTo>
                  <a:lnTo>
                    <a:pt x="510" y="796"/>
                  </a:lnTo>
                  <a:lnTo>
                    <a:pt x="506" y="798"/>
                  </a:lnTo>
                  <a:lnTo>
                    <a:pt x="505" y="798"/>
                  </a:lnTo>
                  <a:lnTo>
                    <a:pt x="501" y="798"/>
                  </a:lnTo>
                  <a:lnTo>
                    <a:pt x="501" y="798"/>
                  </a:lnTo>
                  <a:lnTo>
                    <a:pt x="501" y="798"/>
                  </a:lnTo>
                  <a:lnTo>
                    <a:pt x="501" y="798"/>
                  </a:lnTo>
                  <a:lnTo>
                    <a:pt x="501" y="798"/>
                  </a:lnTo>
                  <a:lnTo>
                    <a:pt x="501" y="798"/>
                  </a:lnTo>
                  <a:close/>
                  <a:moveTo>
                    <a:pt x="8" y="508"/>
                  </a:moveTo>
                  <a:lnTo>
                    <a:pt x="9" y="510"/>
                  </a:lnTo>
                  <a:lnTo>
                    <a:pt x="13" y="510"/>
                  </a:lnTo>
                  <a:lnTo>
                    <a:pt x="21" y="518"/>
                  </a:lnTo>
                  <a:lnTo>
                    <a:pt x="21" y="521"/>
                  </a:lnTo>
                  <a:lnTo>
                    <a:pt x="21" y="523"/>
                  </a:lnTo>
                  <a:lnTo>
                    <a:pt x="25" y="523"/>
                  </a:lnTo>
                  <a:lnTo>
                    <a:pt x="26" y="527"/>
                  </a:lnTo>
                  <a:lnTo>
                    <a:pt x="34" y="527"/>
                  </a:lnTo>
                  <a:lnTo>
                    <a:pt x="34" y="527"/>
                  </a:lnTo>
                  <a:lnTo>
                    <a:pt x="36" y="529"/>
                  </a:lnTo>
                  <a:lnTo>
                    <a:pt x="40" y="529"/>
                  </a:lnTo>
                  <a:lnTo>
                    <a:pt x="45" y="529"/>
                  </a:lnTo>
                  <a:lnTo>
                    <a:pt x="45" y="529"/>
                  </a:lnTo>
                  <a:lnTo>
                    <a:pt x="49" y="529"/>
                  </a:lnTo>
                  <a:lnTo>
                    <a:pt x="49" y="529"/>
                  </a:lnTo>
                  <a:lnTo>
                    <a:pt x="55" y="529"/>
                  </a:lnTo>
                  <a:lnTo>
                    <a:pt x="58" y="529"/>
                  </a:lnTo>
                  <a:lnTo>
                    <a:pt x="58" y="527"/>
                  </a:lnTo>
                  <a:lnTo>
                    <a:pt x="62" y="525"/>
                  </a:lnTo>
                  <a:lnTo>
                    <a:pt x="66" y="521"/>
                  </a:lnTo>
                  <a:lnTo>
                    <a:pt x="72" y="521"/>
                  </a:lnTo>
                  <a:lnTo>
                    <a:pt x="72" y="518"/>
                  </a:lnTo>
                  <a:lnTo>
                    <a:pt x="75" y="516"/>
                  </a:lnTo>
                  <a:lnTo>
                    <a:pt x="75" y="516"/>
                  </a:lnTo>
                  <a:lnTo>
                    <a:pt x="79" y="520"/>
                  </a:lnTo>
                  <a:lnTo>
                    <a:pt x="83" y="514"/>
                  </a:lnTo>
                  <a:lnTo>
                    <a:pt x="83" y="516"/>
                  </a:lnTo>
                  <a:lnTo>
                    <a:pt x="85" y="514"/>
                  </a:lnTo>
                  <a:lnTo>
                    <a:pt x="87" y="510"/>
                  </a:lnTo>
                  <a:lnTo>
                    <a:pt x="98" y="504"/>
                  </a:lnTo>
                  <a:lnTo>
                    <a:pt x="102" y="504"/>
                  </a:lnTo>
                  <a:lnTo>
                    <a:pt x="104" y="504"/>
                  </a:lnTo>
                  <a:lnTo>
                    <a:pt x="107" y="504"/>
                  </a:lnTo>
                  <a:lnTo>
                    <a:pt x="117" y="503"/>
                  </a:lnTo>
                  <a:lnTo>
                    <a:pt x="119" y="504"/>
                  </a:lnTo>
                  <a:lnTo>
                    <a:pt x="124" y="503"/>
                  </a:lnTo>
                  <a:lnTo>
                    <a:pt x="126" y="504"/>
                  </a:lnTo>
                  <a:lnTo>
                    <a:pt x="130" y="504"/>
                  </a:lnTo>
                  <a:lnTo>
                    <a:pt x="134" y="503"/>
                  </a:lnTo>
                  <a:lnTo>
                    <a:pt x="134" y="508"/>
                  </a:lnTo>
                  <a:lnTo>
                    <a:pt x="137" y="508"/>
                  </a:lnTo>
                  <a:lnTo>
                    <a:pt x="139" y="504"/>
                  </a:lnTo>
                  <a:lnTo>
                    <a:pt x="141" y="508"/>
                  </a:lnTo>
                  <a:lnTo>
                    <a:pt x="143" y="504"/>
                  </a:lnTo>
                  <a:lnTo>
                    <a:pt x="151" y="504"/>
                  </a:lnTo>
                  <a:lnTo>
                    <a:pt x="151" y="508"/>
                  </a:lnTo>
                  <a:lnTo>
                    <a:pt x="153" y="508"/>
                  </a:lnTo>
                  <a:lnTo>
                    <a:pt x="156" y="504"/>
                  </a:lnTo>
                  <a:lnTo>
                    <a:pt x="158" y="504"/>
                  </a:lnTo>
                  <a:lnTo>
                    <a:pt x="164" y="503"/>
                  </a:lnTo>
                  <a:lnTo>
                    <a:pt x="168" y="499"/>
                  </a:lnTo>
                  <a:lnTo>
                    <a:pt x="168" y="497"/>
                  </a:lnTo>
                  <a:lnTo>
                    <a:pt x="173" y="493"/>
                  </a:lnTo>
                  <a:lnTo>
                    <a:pt x="175" y="486"/>
                  </a:lnTo>
                  <a:lnTo>
                    <a:pt x="179" y="484"/>
                  </a:lnTo>
                  <a:lnTo>
                    <a:pt x="183" y="484"/>
                  </a:lnTo>
                  <a:lnTo>
                    <a:pt x="186" y="484"/>
                  </a:lnTo>
                  <a:lnTo>
                    <a:pt x="196" y="480"/>
                  </a:lnTo>
                  <a:lnTo>
                    <a:pt x="203" y="474"/>
                  </a:lnTo>
                  <a:lnTo>
                    <a:pt x="211" y="469"/>
                  </a:lnTo>
                  <a:lnTo>
                    <a:pt x="213" y="469"/>
                  </a:lnTo>
                  <a:lnTo>
                    <a:pt x="217" y="469"/>
                  </a:lnTo>
                  <a:lnTo>
                    <a:pt x="220" y="469"/>
                  </a:lnTo>
                  <a:lnTo>
                    <a:pt x="226" y="471"/>
                  </a:lnTo>
                  <a:lnTo>
                    <a:pt x="230" y="471"/>
                  </a:lnTo>
                  <a:lnTo>
                    <a:pt x="233" y="469"/>
                  </a:lnTo>
                  <a:lnTo>
                    <a:pt x="241" y="471"/>
                  </a:lnTo>
                  <a:lnTo>
                    <a:pt x="250" y="467"/>
                  </a:lnTo>
                  <a:lnTo>
                    <a:pt x="256" y="465"/>
                  </a:lnTo>
                  <a:lnTo>
                    <a:pt x="260" y="461"/>
                  </a:lnTo>
                  <a:lnTo>
                    <a:pt x="264" y="461"/>
                  </a:lnTo>
                  <a:lnTo>
                    <a:pt x="269" y="459"/>
                  </a:lnTo>
                  <a:lnTo>
                    <a:pt x="275" y="459"/>
                  </a:lnTo>
                  <a:lnTo>
                    <a:pt x="296" y="456"/>
                  </a:lnTo>
                  <a:lnTo>
                    <a:pt x="305" y="459"/>
                  </a:lnTo>
                  <a:lnTo>
                    <a:pt x="307" y="459"/>
                  </a:lnTo>
                  <a:lnTo>
                    <a:pt x="313" y="456"/>
                  </a:lnTo>
                  <a:lnTo>
                    <a:pt x="318" y="456"/>
                  </a:lnTo>
                  <a:lnTo>
                    <a:pt x="324" y="461"/>
                  </a:lnTo>
                  <a:lnTo>
                    <a:pt x="326" y="469"/>
                  </a:lnTo>
                  <a:lnTo>
                    <a:pt x="329" y="471"/>
                  </a:lnTo>
                  <a:lnTo>
                    <a:pt x="333" y="469"/>
                  </a:lnTo>
                  <a:lnTo>
                    <a:pt x="335" y="467"/>
                  </a:lnTo>
                  <a:lnTo>
                    <a:pt x="339" y="469"/>
                  </a:lnTo>
                  <a:lnTo>
                    <a:pt x="339" y="469"/>
                  </a:lnTo>
                  <a:lnTo>
                    <a:pt x="343" y="469"/>
                  </a:lnTo>
                  <a:lnTo>
                    <a:pt x="346" y="474"/>
                  </a:lnTo>
                  <a:lnTo>
                    <a:pt x="350" y="474"/>
                  </a:lnTo>
                  <a:lnTo>
                    <a:pt x="354" y="474"/>
                  </a:lnTo>
                  <a:lnTo>
                    <a:pt x="363" y="480"/>
                  </a:lnTo>
                  <a:lnTo>
                    <a:pt x="360" y="484"/>
                  </a:lnTo>
                  <a:lnTo>
                    <a:pt x="363" y="484"/>
                  </a:lnTo>
                  <a:lnTo>
                    <a:pt x="365" y="486"/>
                  </a:lnTo>
                  <a:lnTo>
                    <a:pt x="365" y="488"/>
                  </a:lnTo>
                  <a:lnTo>
                    <a:pt x="363" y="488"/>
                  </a:lnTo>
                  <a:lnTo>
                    <a:pt x="360" y="491"/>
                  </a:lnTo>
                  <a:lnTo>
                    <a:pt x="363" y="499"/>
                  </a:lnTo>
                  <a:lnTo>
                    <a:pt x="367" y="499"/>
                  </a:lnTo>
                  <a:lnTo>
                    <a:pt x="371" y="503"/>
                  </a:lnTo>
                  <a:lnTo>
                    <a:pt x="373" y="508"/>
                  </a:lnTo>
                  <a:lnTo>
                    <a:pt x="373" y="510"/>
                  </a:lnTo>
                  <a:lnTo>
                    <a:pt x="377" y="520"/>
                  </a:lnTo>
                  <a:lnTo>
                    <a:pt x="375" y="525"/>
                  </a:lnTo>
                  <a:lnTo>
                    <a:pt x="377" y="527"/>
                  </a:lnTo>
                  <a:lnTo>
                    <a:pt x="377" y="529"/>
                  </a:lnTo>
                  <a:lnTo>
                    <a:pt x="375" y="533"/>
                  </a:lnTo>
                  <a:lnTo>
                    <a:pt x="373" y="533"/>
                  </a:lnTo>
                  <a:lnTo>
                    <a:pt x="371" y="533"/>
                  </a:lnTo>
                  <a:lnTo>
                    <a:pt x="375" y="537"/>
                  </a:lnTo>
                  <a:lnTo>
                    <a:pt x="377" y="538"/>
                  </a:lnTo>
                  <a:lnTo>
                    <a:pt x="378" y="542"/>
                  </a:lnTo>
                  <a:lnTo>
                    <a:pt x="382" y="542"/>
                  </a:lnTo>
                  <a:lnTo>
                    <a:pt x="384" y="544"/>
                  </a:lnTo>
                  <a:lnTo>
                    <a:pt x="384" y="542"/>
                  </a:lnTo>
                  <a:lnTo>
                    <a:pt x="384" y="537"/>
                  </a:lnTo>
                  <a:lnTo>
                    <a:pt x="384" y="537"/>
                  </a:lnTo>
                  <a:lnTo>
                    <a:pt x="388" y="533"/>
                  </a:lnTo>
                  <a:lnTo>
                    <a:pt x="388" y="533"/>
                  </a:lnTo>
                  <a:lnTo>
                    <a:pt x="390" y="529"/>
                  </a:lnTo>
                  <a:lnTo>
                    <a:pt x="393" y="527"/>
                  </a:lnTo>
                  <a:lnTo>
                    <a:pt x="395" y="523"/>
                  </a:lnTo>
                  <a:lnTo>
                    <a:pt x="399" y="520"/>
                  </a:lnTo>
                  <a:lnTo>
                    <a:pt x="407" y="516"/>
                  </a:lnTo>
                  <a:lnTo>
                    <a:pt x="409" y="512"/>
                  </a:lnTo>
                  <a:lnTo>
                    <a:pt x="409" y="512"/>
                  </a:lnTo>
                  <a:lnTo>
                    <a:pt x="414" y="510"/>
                  </a:lnTo>
                  <a:lnTo>
                    <a:pt x="418" y="504"/>
                  </a:lnTo>
                  <a:lnTo>
                    <a:pt x="422" y="497"/>
                  </a:lnTo>
                  <a:lnTo>
                    <a:pt x="427" y="497"/>
                  </a:lnTo>
                  <a:lnTo>
                    <a:pt x="429" y="493"/>
                  </a:lnTo>
                  <a:lnTo>
                    <a:pt x="427" y="489"/>
                  </a:lnTo>
                  <a:lnTo>
                    <a:pt x="427" y="484"/>
                  </a:lnTo>
                  <a:lnTo>
                    <a:pt x="431" y="489"/>
                  </a:lnTo>
                  <a:lnTo>
                    <a:pt x="431" y="495"/>
                  </a:lnTo>
                  <a:lnTo>
                    <a:pt x="431" y="501"/>
                  </a:lnTo>
                  <a:lnTo>
                    <a:pt x="429" y="503"/>
                  </a:lnTo>
                  <a:lnTo>
                    <a:pt x="427" y="512"/>
                  </a:lnTo>
                  <a:lnTo>
                    <a:pt x="420" y="516"/>
                  </a:lnTo>
                  <a:lnTo>
                    <a:pt x="418" y="521"/>
                  </a:lnTo>
                  <a:lnTo>
                    <a:pt x="418" y="523"/>
                  </a:lnTo>
                  <a:lnTo>
                    <a:pt x="418" y="529"/>
                  </a:lnTo>
                  <a:lnTo>
                    <a:pt x="412" y="533"/>
                  </a:lnTo>
                  <a:lnTo>
                    <a:pt x="412" y="537"/>
                  </a:lnTo>
                  <a:lnTo>
                    <a:pt x="409" y="544"/>
                  </a:lnTo>
                  <a:lnTo>
                    <a:pt x="401" y="544"/>
                  </a:lnTo>
                  <a:lnTo>
                    <a:pt x="399" y="550"/>
                  </a:lnTo>
                  <a:lnTo>
                    <a:pt x="397" y="553"/>
                  </a:lnTo>
                  <a:lnTo>
                    <a:pt x="397" y="553"/>
                  </a:lnTo>
                  <a:lnTo>
                    <a:pt x="403" y="553"/>
                  </a:lnTo>
                  <a:lnTo>
                    <a:pt x="409" y="550"/>
                  </a:lnTo>
                  <a:lnTo>
                    <a:pt x="414" y="553"/>
                  </a:lnTo>
                  <a:lnTo>
                    <a:pt x="420" y="542"/>
                  </a:lnTo>
                  <a:lnTo>
                    <a:pt x="422" y="533"/>
                  </a:lnTo>
                  <a:lnTo>
                    <a:pt x="427" y="527"/>
                  </a:lnTo>
                  <a:lnTo>
                    <a:pt x="429" y="529"/>
                  </a:lnTo>
                  <a:lnTo>
                    <a:pt x="429" y="537"/>
                  </a:lnTo>
                  <a:lnTo>
                    <a:pt x="431" y="542"/>
                  </a:lnTo>
                  <a:lnTo>
                    <a:pt x="429" y="544"/>
                  </a:lnTo>
                  <a:lnTo>
                    <a:pt x="429" y="553"/>
                  </a:lnTo>
                  <a:lnTo>
                    <a:pt x="425" y="561"/>
                  </a:lnTo>
                  <a:lnTo>
                    <a:pt x="418" y="563"/>
                  </a:lnTo>
                  <a:lnTo>
                    <a:pt x="420" y="567"/>
                  </a:lnTo>
                  <a:lnTo>
                    <a:pt x="424" y="567"/>
                  </a:lnTo>
                  <a:lnTo>
                    <a:pt x="429" y="567"/>
                  </a:lnTo>
                  <a:lnTo>
                    <a:pt x="431" y="563"/>
                  </a:lnTo>
                  <a:lnTo>
                    <a:pt x="435" y="563"/>
                  </a:lnTo>
                  <a:lnTo>
                    <a:pt x="439" y="557"/>
                  </a:lnTo>
                  <a:lnTo>
                    <a:pt x="442" y="561"/>
                  </a:lnTo>
                  <a:lnTo>
                    <a:pt x="442" y="561"/>
                  </a:lnTo>
                  <a:lnTo>
                    <a:pt x="442" y="563"/>
                  </a:lnTo>
                  <a:lnTo>
                    <a:pt x="439" y="567"/>
                  </a:lnTo>
                  <a:lnTo>
                    <a:pt x="437" y="567"/>
                  </a:lnTo>
                  <a:lnTo>
                    <a:pt x="437" y="567"/>
                  </a:lnTo>
                  <a:lnTo>
                    <a:pt x="439" y="572"/>
                  </a:lnTo>
                  <a:lnTo>
                    <a:pt x="439" y="576"/>
                  </a:lnTo>
                  <a:lnTo>
                    <a:pt x="442" y="582"/>
                  </a:lnTo>
                  <a:lnTo>
                    <a:pt x="442" y="587"/>
                  </a:lnTo>
                  <a:lnTo>
                    <a:pt x="442" y="597"/>
                  </a:lnTo>
                  <a:lnTo>
                    <a:pt x="439" y="602"/>
                  </a:lnTo>
                  <a:lnTo>
                    <a:pt x="439" y="604"/>
                  </a:lnTo>
                  <a:lnTo>
                    <a:pt x="439" y="612"/>
                  </a:lnTo>
                  <a:lnTo>
                    <a:pt x="442" y="612"/>
                  </a:lnTo>
                  <a:lnTo>
                    <a:pt x="442" y="617"/>
                  </a:lnTo>
                  <a:lnTo>
                    <a:pt x="444" y="625"/>
                  </a:lnTo>
                  <a:lnTo>
                    <a:pt x="452" y="634"/>
                  </a:lnTo>
                  <a:lnTo>
                    <a:pt x="456" y="634"/>
                  </a:lnTo>
                  <a:lnTo>
                    <a:pt x="459" y="636"/>
                  </a:lnTo>
                  <a:lnTo>
                    <a:pt x="461" y="640"/>
                  </a:lnTo>
                  <a:lnTo>
                    <a:pt x="467" y="640"/>
                  </a:lnTo>
                  <a:lnTo>
                    <a:pt x="467" y="640"/>
                  </a:lnTo>
                  <a:lnTo>
                    <a:pt x="467" y="640"/>
                  </a:lnTo>
                  <a:lnTo>
                    <a:pt x="473" y="640"/>
                  </a:lnTo>
                  <a:lnTo>
                    <a:pt x="476" y="646"/>
                  </a:lnTo>
                  <a:lnTo>
                    <a:pt x="482" y="646"/>
                  </a:lnTo>
                  <a:lnTo>
                    <a:pt x="486" y="650"/>
                  </a:lnTo>
                  <a:lnTo>
                    <a:pt x="488" y="653"/>
                  </a:lnTo>
                  <a:lnTo>
                    <a:pt x="491" y="655"/>
                  </a:lnTo>
                  <a:lnTo>
                    <a:pt x="493" y="661"/>
                  </a:lnTo>
                  <a:lnTo>
                    <a:pt x="497" y="661"/>
                  </a:lnTo>
                  <a:lnTo>
                    <a:pt x="497" y="657"/>
                  </a:lnTo>
                  <a:lnTo>
                    <a:pt x="505" y="653"/>
                  </a:lnTo>
                  <a:lnTo>
                    <a:pt x="506" y="650"/>
                  </a:lnTo>
                  <a:lnTo>
                    <a:pt x="512" y="650"/>
                  </a:lnTo>
                  <a:lnTo>
                    <a:pt x="518" y="646"/>
                  </a:lnTo>
                  <a:lnTo>
                    <a:pt x="518" y="646"/>
                  </a:lnTo>
                  <a:lnTo>
                    <a:pt x="521" y="646"/>
                  </a:lnTo>
                  <a:lnTo>
                    <a:pt x="521" y="642"/>
                  </a:lnTo>
                  <a:lnTo>
                    <a:pt x="518" y="640"/>
                  </a:lnTo>
                  <a:lnTo>
                    <a:pt x="518" y="640"/>
                  </a:lnTo>
                  <a:lnTo>
                    <a:pt x="525" y="634"/>
                  </a:lnTo>
                  <a:lnTo>
                    <a:pt x="531" y="640"/>
                  </a:lnTo>
                  <a:lnTo>
                    <a:pt x="531" y="642"/>
                  </a:lnTo>
                  <a:lnTo>
                    <a:pt x="525" y="646"/>
                  </a:lnTo>
                  <a:lnTo>
                    <a:pt x="525" y="650"/>
                  </a:lnTo>
                  <a:lnTo>
                    <a:pt x="527" y="651"/>
                  </a:lnTo>
                  <a:lnTo>
                    <a:pt x="531" y="648"/>
                  </a:lnTo>
                  <a:lnTo>
                    <a:pt x="533" y="646"/>
                  </a:lnTo>
                  <a:lnTo>
                    <a:pt x="537" y="648"/>
                  </a:lnTo>
                  <a:lnTo>
                    <a:pt x="537" y="651"/>
                  </a:lnTo>
                  <a:lnTo>
                    <a:pt x="535" y="651"/>
                  </a:lnTo>
                  <a:lnTo>
                    <a:pt x="531" y="653"/>
                  </a:lnTo>
                  <a:lnTo>
                    <a:pt x="537" y="661"/>
                  </a:lnTo>
                  <a:lnTo>
                    <a:pt x="537" y="666"/>
                  </a:lnTo>
                  <a:lnTo>
                    <a:pt x="538" y="666"/>
                  </a:lnTo>
                  <a:lnTo>
                    <a:pt x="542" y="666"/>
                  </a:lnTo>
                  <a:lnTo>
                    <a:pt x="542" y="670"/>
                  </a:lnTo>
                  <a:lnTo>
                    <a:pt x="544" y="672"/>
                  </a:lnTo>
                  <a:lnTo>
                    <a:pt x="546" y="670"/>
                  </a:lnTo>
                  <a:lnTo>
                    <a:pt x="546" y="665"/>
                  </a:lnTo>
                  <a:lnTo>
                    <a:pt x="544" y="666"/>
                  </a:lnTo>
                  <a:lnTo>
                    <a:pt x="544" y="665"/>
                  </a:lnTo>
                  <a:lnTo>
                    <a:pt x="546" y="661"/>
                  </a:lnTo>
                  <a:lnTo>
                    <a:pt x="555" y="661"/>
                  </a:lnTo>
                  <a:lnTo>
                    <a:pt x="555" y="665"/>
                  </a:lnTo>
                  <a:lnTo>
                    <a:pt x="557" y="661"/>
                  </a:lnTo>
                  <a:lnTo>
                    <a:pt x="561" y="655"/>
                  </a:lnTo>
                  <a:lnTo>
                    <a:pt x="572" y="650"/>
                  </a:lnTo>
                  <a:lnTo>
                    <a:pt x="576" y="646"/>
                  </a:lnTo>
                  <a:lnTo>
                    <a:pt x="574" y="646"/>
                  </a:lnTo>
                  <a:lnTo>
                    <a:pt x="572" y="646"/>
                  </a:lnTo>
                  <a:lnTo>
                    <a:pt x="572" y="646"/>
                  </a:lnTo>
                  <a:lnTo>
                    <a:pt x="569" y="642"/>
                  </a:lnTo>
                  <a:lnTo>
                    <a:pt x="572" y="642"/>
                  </a:lnTo>
                  <a:lnTo>
                    <a:pt x="576" y="642"/>
                  </a:lnTo>
                  <a:lnTo>
                    <a:pt x="584" y="640"/>
                  </a:lnTo>
                  <a:lnTo>
                    <a:pt x="599" y="636"/>
                  </a:lnTo>
                  <a:lnTo>
                    <a:pt x="610" y="640"/>
                  </a:lnTo>
                  <a:lnTo>
                    <a:pt x="614" y="636"/>
                  </a:lnTo>
                  <a:lnTo>
                    <a:pt x="614" y="634"/>
                  </a:lnTo>
                  <a:lnTo>
                    <a:pt x="617" y="634"/>
                  </a:lnTo>
                  <a:lnTo>
                    <a:pt x="621" y="633"/>
                  </a:lnTo>
                  <a:lnTo>
                    <a:pt x="625" y="625"/>
                  </a:lnTo>
                  <a:lnTo>
                    <a:pt x="623" y="617"/>
                  </a:lnTo>
                  <a:lnTo>
                    <a:pt x="623" y="616"/>
                  </a:lnTo>
                  <a:lnTo>
                    <a:pt x="631" y="608"/>
                  </a:lnTo>
                  <a:lnTo>
                    <a:pt x="631" y="597"/>
                  </a:lnTo>
                  <a:lnTo>
                    <a:pt x="631" y="593"/>
                  </a:lnTo>
                  <a:lnTo>
                    <a:pt x="634" y="587"/>
                  </a:lnTo>
                  <a:lnTo>
                    <a:pt x="638" y="585"/>
                  </a:lnTo>
                  <a:lnTo>
                    <a:pt x="638" y="582"/>
                  </a:lnTo>
                  <a:lnTo>
                    <a:pt x="648" y="567"/>
                  </a:lnTo>
                  <a:lnTo>
                    <a:pt x="651" y="567"/>
                  </a:lnTo>
                  <a:lnTo>
                    <a:pt x="653" y="557"/>
                  </a:lnTo>
                  <a:lnTo>
                    <a:pt x="659" y="553"/>
                  </a:lnTo>
                  <a:lnTo>
                    <a:pt x="659" y="544"/>
                  </a:lnTo>
                  <a:lnTo>
                    <a:pt x="665" y="542"/>
                  </a:lnTo>
                  <a:lnTo>
                    <a:pt x="665" y="537"/>
                  </a:lnTo>
                  <a:lnTo>
                    <a:pt x="668" y="537"/>
                  </a:lnTo>
                  <a:lnTo>
                    <a:pt x="670" y="527"/>
                  </a:lnTo>
                  <a:lnTo>
                    <a:pt x="668" y="525"/>
                  </a:lnTo>
                  <a:lnTo>
                    <a:pt x="674" y="523"/>
                  </a:lnTo>
                  <a:lnTo>
                    <a:pt x="678" y="516"/>
                  </a:lnTo>
                  <a:lnTo>
                    <a:pt x="680" y="514"/>
                  </a:lnTo>
                  <a:lnTo>
                    <a:pt x="683" y="508"/>
                  </a:lnTo>
                  <a:lnTo>
                    <a:pt x="689" y="508"/>
                  </a:lnTo>
                  <a:lnTo>
                    <a:pt x="693" y="504"/>
                  </a:lnTo>
                  <a:lnTo>
                    <a:pt x="687" y="504"/>
                  </a:lnTo>
                  <a:lnTo>
                    <a:pt x="689" y="504"/>
                  </a:lnTo>
                  <a:lnTo>
                    <a:pt x="693" y="503"/>
                  </a:lnTo>
                  <a:lnTo>
                    <a:pt x="700" y="499"/>
                  </a:lnTo>
                  <a:lnTo>
                    <a:pt x="700" y="495"/>
                  </a:lnTo>
                  <a:lnTo>
                    <a:pt x="700" y="491"/>
                  </a:lnTo>
                  <a:lnTo>
                    <a:pt x="700" y="488"/>
                  </a:lnTo>
                  <a:lnTo>
                    <a:pt x="708" y="484"/>
                  </a:lnTo>
                  <a:lnTo>
                    <a:pt x="708" y="480"/>
                  </a:lnTo>
                  <a:lnTo>
                    <a:pt x="712" y="478"/>
                  </a:lnTo>
                  <a:lnTo>
                    <a:pt x="717" y="472"/>
                  </a:lnTo>
                  <a:lnTo>
                    <a:pt x="713" y="469"/>
                  </a:lnTo>
                  <a:lnTo>
                    <a:pt x="717" y="461"/>
                  </a:lnTo>
                  <a:lnTo>
                    <a:pt x="717" y="459"/>
                  </a:lnTo>
                  <a:lnTo>
                    <a:pt x="717" y="459"/>
                  </a:lnTo>
                  <a:lnTo>
                    <a:pt x="723" y="446"/>
                  </a:lnTo>
                  <a:lnTo>
                    <a:pt x="723" y="439"/>
                  </a:lnTo>
                  <a:lnTo>
                    <a:pt x="729" y="425"/>
                  </a:lnTo>
                  <a:lnTo>
                    <a:pt x="729" y="423"/>
                  </a:lnTo>
                  <a:lnTo>
                    <a:pt x="732" y="414"/>
                  </a:lnTo>
                  <a:lnTo>
                    <a:pt x="738" y="410"/>
                  </a:lnTo>
                  <a:lnTo>
                    <a:pt x="740" y="405"/>
                  </a:lnTo>
                  <a:lnTo>
                    <a:pt x="738" y="401"/>
                  </a:lnTo>
                  <a:lnTo>
                    <a:pt x="742" y="397"/>
                  </a:lnTo>
                  <a:lnTo>
                    <a:pt x="738" y="388"/>
                  </a:lnTo>
                  <a:lnTo>
                    <a:pt x="740" y="382"/>
                  </a:lnTo>
                  <a:lnTo>
                    <a:pt x="736" y="376"/>
                  </a:lnTo>
                  <a:lnTo>
                    <a:pt x="736" y="375"/>
                  </a:lnTo>
                  <a:lnTo>
                    <a:pt x="734" y="371"/>
                  </a:lnTo>
                  <a:lnTo>
                    <a:pt x="736" y="367"/>
                  </a:lnTo>
                  <a:lnTo>
                    <a:pt x="736" y="365"/>
                  </a:lnTo>
                  <a:lnTo>
                    <a:pt x="740" y="358"/>
                  </a:lnTo>
                  <a:lnTo>
                    <a:pt x="740" y="356"/>
                  </a:lnTo>
                  <a:lnTo>
                    <a:pt x="740" y="346"/>
                  </a:lnTo>
                  <a:lnTo>
                    <a:pt x="742" y="342"/>
                  </a:lnTo>
                  <a:lnTo>
                    <a:pt x="740" y="341"/>
                  </a:lnTo>
                  <a:lnTo>
                    <a:pt x="740" y="337"/>
                  </a:lnTo>
                  <a:lnTo>
                    <a:pt x="740" y="331"/>
                  </a:lnTo>
                  <a:lnTo>
                    <a:pt x="738" y="331"/>
                  </a:lnTo>
                  <a:lnTo>
                    <a:pt x="740" y="324"/>
                  </a:lnTo>
                  <a:lnTo>
                    <a:pt x="736" y="322"/>
                  </a:lnTo>
                  <a:lnTo>
                    <a:pt x="734" y="318"/>
                  </a:lnTo>
                  <a:lnTo>
                    <a:pt x="734" y="316"/>
                  </a:lnTo>
                  <a:lnTo>
                    <a:pt x="729" y="312"/>
                  </a:lnTo>
                  <a:lnTo>
                    <a:pt x="727" y="307"/>
                  </a:lnTo>
                  <a:lnTo>
                    <a:pt x="725" y="301"/>
                  </a:lnTo>
                  <a:lnTo>
                    <a:pt x="723" y="297"/>
                  </a:lnTo>
                  <a:lnTo>
                    <a:pt x="723" y="297"/>
                  </a:lnTo>
                  <a:lnTo>
                    <a:pt x="717" y="297"/>
                  </a:lnTo>
                  <a:lnTo>
                    <a:pt x="717" y="297"/>
                  </a:lnTo>
                  <a:lnTo>
                    <a:pt x="713" y="292"/>
                  </a:lnTo>
                  <a:lnTo>
                    <a:pt x="713" y="292"/>
                  </a:lnTo>
                  <a:lnTo>
                    <a:pt x="713" y="288"/>
                  </a:lnTo>
                  <a:lnTo>
                    <a:pt x="708" y="284"/>
                  </a:lnTo>
                  <a:lnTo>
                    <a:pt x="706" y="282"/>
                  </a:lnTo>
                  <a:lnTo>
                    <a:pt x="708" y="278"/>
                  </a:lnTo>
                  <a:lnTo>
                    <a:pt x="704" y="275"/>
                  </a:lnTo>
                  <a:lnTo>
                    <a:pt x="708" y="269"/>
                  </a:lnTo>
                  <a:lnTo>
                    <a:pt x="710" y="263"/>
                  </a:lnTo>
                  <a:lnTo>
                    <a:pt x="708" y="261"/>
                  </a:lnTo>
                  <a:lnTo>
                    <a:pt x="710" y="258"/>
                  </a:lnTo>
                  <a:lnTo>
                    <a:pt x="706" y="258"/>
                  </a:lnTo>
                  <a:lnTo>
                    <a:pt x="706" y="260"/>
                  </a:lnTo>
                  <a:lnTo>
                    <a:pt x="706" y="261"/>
                  </a:lnTo>
                  <a:lnTo>
                    <a:pt x="706" y="263"/>
                  </a:lnTo>
                  <a:lnTo>
                    <a:pt x="697" y="254"/>
                  </a:lnTo>
                  <a:lnTo>
                    <a:pt x="695" y="250"/>
                  </a:lnTo>
                  <a:lnTo>
                    <a:pt x="693" y="250"/>
                  </a:lnTo>
                  <a:lnTo>
                    <a:pt x="693" y="254"/>
                  </a:lnTo>
                  <a:lnTo>
                    <a:pt x="693" y="256"/>
                  </a:lnTo>
                  <a:lnTo>
                    <a:pt x="695" y="263"/>
                  </a:lnTo>
                  <a:lnTo>
                    <a:pt x="689" y="258"/>
                  </a:lnTo>
                  <a:lnTo>
                    <a:pt x="689" y="260"/>
                  </a:lnTo>
                  <a:lnTo>
                    <a:pt x="689" y="256"/>
                  </a:lnTo>
                  <a:lnTo>
                    <a:pt x="687" y="254"/>
                  </a:lnTo>
                  <a:lnTo>
                    <a:pt x="687" y="243"/>
                  </a:lnTo>
                  <a:lnTo>
                    <a:pt x="689" y="243"/>
                  </a:lnTo>
                  <a:lnTo>
                    <a:pt x="689" y="239"/>
                  </a:lnTo>
                  <a:lnTo>
                    <a:pt x="685" y="237"/>
                  </a:lnTo>
                  <a:lnTo>
                    <a:pt x="685" y="235"/>
                  </a:lnTo>
                  <a:lnTo>
                    <a:pt x="683" y="231"/>
                  </a:lnTo>
                  <a:lnTo>
                    <a:pt x="683" y="229"/>
                  </a:lnTo>
                  <a:lnTo>
                    <a:pt x="678" y="224"/>
                  </a:lnTo>
                  <a:lnTo>
                    <a:pt x="676" y="220"/>
                  </a:lnTo>
                  <a:lnTo>
                    <a:pt x="676" y="214"/>
                  </a:lnTo>
                  <a:lnTo>
                    <a:pt x="680" y="218"/>
                  </a:lnTo>
                  <a:lnTo>
                    <a:pt x="680" y="214"/>
                  </a:lnTo>
                  <a:lnTo>
                    <a:pt x="676" y="209"/>
                  </a:lnTo>
                  <a:lnTo>
                    <a:pt x="674" y="209"/>
                  </a:lnTo>
                  <a:lnTo>
                    <a:pt x="670" y="209"/>
                  </a:lnTo>
                  <a:lnTo>
                    <a:pt x="668" y="203"/>
                  </a:lnTo>
                  <a:lnTo>
                    <a:pt x="665" y="203"/>
                  </a:lnTo>
                  <a:lnTo>
                    <a:pt x="663" y="199"/>
                  </a:lnTo>
                  <a:lnTo>
                    <a:pt x="659" y="201"/>
                  </a:lnTo>
                  <a:lnTo>
                    <a:pt x="659" y="199"/>
                  </a:lnTo>
                  <a:lnTo>
                    <a:pt x="655" y="197"/>
                  </a:lnTo>
                  <a:lnTo>
                    <a:pt x="651" y="201"/>
                  </a:lnTo>
                  <a:lnTo>
                    <a:pt x="653" y="197"/>
                  </a:lnTo>
                  <a:lnTo>
                    <a:pt x="655" y="196"/>
                  </a:lnTo>
                  <a:lnTo>
                    <a:pt x="659" y="194"/>
                  </a:lnTo>
                  <a:lnTo>
                    <a:pt x="655" y="194"/>
                  </a:lnTo>
                  <a:lnTo>
                    <a:pt x="653" y="194"/>
                  </a:lnTo>
                  <a:lnTo>
                    <a:pt x="649" y="194"/>
                  </a:lnTo>
                  <a:lnTo>
                    <a:pt x="648" y="190"/>
                  </a:lnTo>
                  <a:lnTo>
                    <a:pt x="646" y="190"/>
                  </a:lnTo>
                  <a:lnTo>
                    <a:pt x="638" y="186"/>
                  </a:lnTo>
                  <a:lnTo>
                    <a:pt x="634" y="179"/>
                  </a:lnTo>
                  <a:lnTo>
                    <a:pt x="634" y="171"/>
                  </a:lnTo>
                  <a:lnTo>
                    <a:pt x="631" y="169"/>
                  </a:lnTo>
                  <a:lnTo>
                    <a:pt x="631" y="165"/>
                  </a:lnTo>
                  <a:lnTo>
                    <a:pt x="634" y="162"/>
                  </a:lnTo>
                  <a:lnTo>
                    <a:pt x="634" y="156"/>
                  </a:lnTo>
                  <a:lnTo>
                    <a:pt x="634" y="147"/>
                  </a:lnTo>
                  <a:lnTo>
                    <a:pt x="631" y="141"/>
                  </a:lnTo>
                  <a:lnTo>
                    <a:pt x="634" y="141"/>
                  </a:lnTo>
                  <a:lnTo>
                    <a:pt x="631" y="137"/>
                  </a:lnTo>
                  <a:lnTo>
                    <a:pt x="629" y="137"/>
                  </a:lnTo>
                  <a:lnTo>
                    <a:pt x="625" y="132"/>
                  </a:lnTo>
                  <a:lnTo>
                    <a:pt x="625" y="122"/>
                  </a:lnTo>
                  <a:lnTo>
                    <a:pt x="627" y="122"/>
                  </a:lnTo>
                  <a:lnTo>
                    <a:pt x="627" y="120"/>
                  </a:lnTo>
                  <a:lnTo>
                    <a:pt x="625" y="116"/>
                  </a:lnTo>
                  <a:lnTo>
                    <a:pt x="623" y="107"/>
                  </a:lnTo>
                  <a:lnTo>
                    <a:pt x="625" y="103"/>
                  </a:lnTo>
                  <a:lnTo>
                    <a:pt x="623" y="99"/>
                  </a:lnTo>
                  <a:lnTo>
                    <a:pt x="625" y="98"/>
                  </a:lnTo>
                  <a:lnTo>
                    <a:pt x="625" y="96"/>
                  </a:lnTo>
                  <a:lnTo>
                    <a:pt x="619" y="88"/>
                  </a:lnTo>
                  <a:lnTo>
                    <a:pt x="614" y="86"/>
                  </a:lnTo>
                  <a:lnTo>
                    <a:pt x="616" y="86"/>
                  </a:lnTo>
                  <a:lnTo>
                    <a:pt x="612" y="83"/>
                  </a:lnTo>
                  <a:lnTo>
                    <a:pt x="606" y="83"/>
                  </a:lnTo>
                  <a:lnTo>
                    <a:pt x="606" y="83"/>
                  </a:lnTo>
                  <a:lnTo>
                    <a:pt x="604" y="86"/>
                  </a:lnTo>
                  <a:lnTo>
                    <a:pt x="601" y="86"/>
                  </a:lnTo>
                  <a:lnTo>
                    <a:pt x="597" y="81"/>
                  </a:lnTo>
                  <a:lnTo>
                    <a:pt x="599" y="79"/>
                  </a:lnTo>
                  <a:lnTo>
                    <a:pt x="595" y="73"/>
                  </a:lnTo>
                  <a:lnTo>
                    <a:pt x="597" y="66"/>
                  </a:lnTo>
                  <a:lnTo>
                    <a:pt x="597" y="58"/>
                  </a:lnTo>
                  <a:lnTo>
                    <a:pt x="595" y="58"/>
                  </a:lnTo>
                  <a:lnTo>
                    <a:pt x="593" y="56"/>
                  </a:lnTo>
                  <a:lnTo>
                    <a:pt x="595" y="52"/>
                  </a:lnTo>
                  <a:lnTo>
                    <a:pt x="591" y="49"/>
                  </a:lnTo>
                  <a:lnTo>
                    <a:pt x="591" y="45"/>
                  </a:lnTo>
                  <a:lnTo>
                    <a:pt x="589" y="43"/>
                  </a:lnTo>
                  <a:lnTo>
                    <a:pt x="589" y="39"/>
                  </a:lnTo>
                  <a:lnTo>
                    <a:pt x="591" y="37"/>
                  </a:lnTo>
                  <a:lnTo>
                    <a:pt x="589" y="37"/>
                  </a:lnTo>
                  <a:lnTo>
                    <a:pt x="585" y="37"/>
                  </a:lnTo>
                  <a:lnTo>
                    <a:pt x="584" y="34"/>
                  </a:lnTo>
                  <a:lnTo>
                    <a:pt x="585" y="26"/>
                  </a:lnTo>
                  <a:lnTo>
                    <a:pt x="584" y="24"/>
                  </a:lnTo>
                  <a:lnTo>
                    <a:pt x="582" y="18"/>
                  </a:lnTo>
                  <a:lnTo>
                    <a:pt x="580" y="17"/>
                  </a:lnTo>
                  <a:lnTo>
                    <a:pt x="580" y="15"/>
                  </a:lnTo>
                  <a:lnTo>
                    <a:pt x="576" y="17"/>
                  </a:lnTo>
                  <a:lnTo>
                    <a:pt x="574" y="18"/>
                  </a:lnTo>
                  <a:lnTo>
                    <a:pt x="574" y="26"/>
                  </a:lnTo>
                  <a:lnTo>
                    <a:pt x="572" y="32"/>
                  </a:lnTo>
                  <a:lnTo>
                    <a:pt x="572" y="32"/>
                  </a:lnTo>
                  <a:lnTo>
                    <a:pt x="570" y="37"/>
                  </a:lnTo>
                  <a:lnTo>
                    <a:pt x="569" y="37"/>
                  </a:lnTo>
                  <a:lnTo>
                    <a:pt x="567" y="43"/>
                  </a:lnTo>
                  <a:lnTo>
                    <a:pt x="563" y="47"/>
                  </a:lnTo>
                  <a:lnTo>
                    <a:pt x="565" y="51"/>
                  </a:lnTo>
                  <a:lnTo>
                    <a:pt x="569" y="52"/>
                  </a:lnTo>
                  <a:lnTo>
                    <a:pt x="567" y="52"/>
                  </a:lnTo>
                  <a:lnTo>
                    <a:pt x="565" y="52"/>
                  </a:lnTo>
                  <a:lnTo>
                    <a:pt x="563" y="58"/>
                  </a:lnTo>
                  <a:lnTo>
                    <a:pt x="561" y="62"/>
                  </a:lnTo>
                  <a:lnTo>
                    <a:pt x="563" y="64"/>
                  </a:lnTo>
                  <a:lnTo>
                    <a:pt x="563" y="67"/>
                  </a:lnTo>
                  <a:lnTo>
                    <a:pt x="561" y="67"/>
                  </a:lnTo>
                  <a:lnTo>
                    <a:pt x="559" y="67"/>
                  </a:lnTo>
                  <a:lnTo>
                    <a:pt x="557" y="79"/>
                  </a:lnTo>
                  <a:lnTo>
                    <a:pt x="559" y="83"/>
                  </a:lnTo>
                  <a:lnTo>
                    <a:pt x="557" y="90"/>
                  </a:lnTo>
                  <a:lnTo>
                    <a:pt x="559" y="96"/>
                  </a:lnTo>
                  <a:lnTo>
                    <a:pt x="559" y="101"/>
                  </a:lnTo>
                  <a:lnTo>
                    <a:pt x="555" y="103"/>
                  </a:lnTo>
                  <a:lnTo>
                    <a:pt x="555" y="107"/>
                  </a:lnTo>
                  <a:lnTo>
                    <a:pt x="552" y="113"/>
                  </a:lnTo>
                  <a:lnTo>
                    <a:pt x="552" y="124"/>
                  </a:lnTo>
                  <a:lnTo>
                    <a:pt x="546" y="128"/>
                  </a:lnTo>
                  <a:lnTo>
                    <a:pt x="550" y="132"/>
                  </a:lnTo>
                  <a:lnTo>
                    <a:pt x="546" y="137"/>
                  </a:lnTo>
                  <a:lnTo>
                    <a:pt x="544" y="141"/>
                  </a:lnTo>
                  <a:lnTo>
                    <a:pt x="544" y="147"/>
                  </a:lnTo>
                  <a:lnTo>
                    <a:pt x="538" y="152"/>
                  </a:lnTo>
                  <a:lnTo>
                    <a:pt x="525" y="156"/>
                  </a:lnTo>
                  <a:lnTo>
                    <a:pt x="521" y="154"/>
                  </a:lnTo>
                  <a:lnTo>
                    <a:pt x="516" y="152"/>
                  </a:lnTo>
                  <a:lnTo>
                    <a:pt x="514" y="150"/>
                  </a:lnTo>
                  <a:lnTo>
                    <a:pt x="508" y="147"/>
                  </a:lnTo>
                  <a:lnTo>
                    <a:pt x="508" y="145"/>
                  </a:lnTo>
                  <a:lnTo>
                    <a:pt x="508" y="141"/>
                  </a:lnTo>
                  <a:lnTo>
                    <a:pt x="506" y="137"/>
                  </a:lnTo>
                  <a:lnTo>
                    <a:pt x="503" y="137"/>
                  </a:lnTo>
                  <a:lnTo>
                    <a:pt x="501" y="135"/>
                  </a:lnTo>
                  <a:lnTo>
                    <a:pt x="493" y="135"/>
                  </a:lnTo>
                  <a:lnTo>
                    <a:pt x="488" y="132"/>
                  </a:lnTo>
                  <a:lnTo>
                    <a:pt x="488" y="130"/>
                  </a:lnTo>
                  <a:lnTo>
                    <a:pt x="482" y="124"/>
                  </a:lnTo>
                  <a:lnTo>
                    <a:pt x="478" y="124"/>
                  </a:lnTo>
                  <a:lnTo>
                    <a:pt x="473" y="120"/>
                  </a:lnTo>
                  <a:lnTo>
                    <a:pt x="473" y="120"/>
                  </a:lnTo>
                  <a:lnTo>
                    <a:pt x="473" y="120"/>
                  </a:lnTo>
                  <a:lnTo>
                    <a:pt x="467" y="116"/>
                  </a:lnTo>
                  <a:lnTo>
                    <a:pt x="463" y="116"/>
                  </a:lnTo>
                  <a:lnTo>
                    <a:pt x="461" y="115"/>
                  </a:lnTo>
                  <a:lnTo>
                    <a:pt x="463" y="113"/>
                  </a:lnTo>
                  <a:lnTo>
                    <a:pt x="457" y="111"/>
                  </a:lnTo>
                  <a:lnTo>
                    <a:pt x="457" y="107"/>
                  </a:lnTo>
                  <a:lnTo>
                    <a:pt x="452" y="101"/>
                  </a:lnTo>
                  <a:lnTo>
                    <a:pt x="448" y="101"/>
                  </a:lnTo>
                  <a:lnTo>
                    <a:pt x="444" y="96"/>
                  </a:lnTo>
                  <a:lnTo>
                    <a:pt x="444" y="92"/>
                  </a:lnTo>
                  <a:lnTo>
                    <a:pt x="448" y="86"/>
                  </a:lnTo>
                  <a:lnTo>
                    <a:pt x="448" y="83"/>
                  </a:lnTo>
                  <a:lnTo>
                    <a:pt x="452" y="81"/>
                  </a:lnTo>
                  <a:lnTo>
                    <a:pt x="454" y="75"/>
                  </a:lnTo>
                  <a:lnTo>
                    <a:pt x="456" y="71"/>
                  </a:lnTo>
                  <a:lnTo>
                    <a:pt x="452" y="73"/>
                  </a:lnTo>
                  <a:lnTo>
                    <a:pt x="450" y="67"/>
                  </a:lnTo>
                  <a:lnTo>
                    <a:pt x="454" y="66"/>
                  </a:lnTo>
                  <a:lnTo>
                    <a:pt x="452" y="62"/>
                  </a:lnTo>
                  <a:lnTo>
                    <a:pt x="454" y="62"/>
                  </a:lnTo>
                  <a:lnTo>
                    <a:pt x="457" y="62"/>
                  </a:lnTo>
                  <a:lnTo>
                    <a:pt x="457" y="62"/>
                  </a:lnTo>
                  <a:lnTo>
                    <a:pt x="461" y="62"/>
                  </a:lnTo>
                  <a:lnTo>
                    <a:pt x="467" y="62"/>
                  </a:lnTo>
                  <a:lnTo>
                    <a:pt x="467" y="58"/>
                  </a:lnTo>
                  <a:lnTo>
                    <a:pt x="463" y="52"/>
                  </a:lnTo>
                  <a:lnTo>
                    <a:pt x="467" y="52"/>
                  </a:lnTo>
                  <a:lnTo>
                    <a:pt x="469" y="52"/>
                  </a:lnTo>
                  <a:lnTo>
                    <a:pt x="473" y="47"/>
                  </a:lnTo>
                  <a:lnTo>
                    <a:pt x="473" y="45"/>
                  </a:lnTo>
                  <a:lnTo>
                    <a:pt x="476" y="43"/>
                  </a:lnTo>
                  <a:lnTo>
                    <a:pt x="476" y="41"/>
                  </a:lnTo>
                  <a:lnTo>
                    <a:pt x="473" y="37"/>
                  </a:lnTo>
                  <a:lnTo>
                    <a:pt x="469" y="41"/>
                  </a:lnTo>
                  <a:lnTo>
                    <a:pt x="467" y="41"/>
                  </a:lnTo>
                  <a:lnTo>
                    <a:pt x="467" y="34"/>
                  </a:lnTo>
                  <a:lnTo>
                    <a:pt x="463" y="37"/>
                  </a:lnTo>
                  <a:lnTo>
                    <a:pt x="459" y="41"/>
                  </a:lnTo>
                  <a:lnTo>
                    <a:pt x="463" y="41"/>
                  </a:lnTo>
                  <a:lnTo>
                    <a:pt x="463" y="45"/>
                  </a:lnTo>
                  <a:lnTo>
                    <a:pt x="459" y="47"/>
                  </a:lnTo>
                  <a:lnTo>
                    <a:pt x="456" y="43"/>
                  </a:lnTo>
                  <a:lnTo>
                    <a:pt x="456" y="41"/>
                  </a:lnTo>
                  <a:lnTo>
                    <a:pt x="454" y="39"/>
                  </a:lnTo>
                  <a:lnTo>
                    <a:pt x="452" y="41"/>
                  </a:lnTo>
                  <a:lnTo>
                    <a:pt x="450" y="43"/>
                  </a:lnTo>
                  <a:lnTo>
                    <a:pt x="450" y="39"/>
                  </a:lnTo>
                  <a:lnTo>
                    <a:pt x="452" y="37"/>
                  </a:lnTo>
                  <a:lnTo>
                    <a:pt x="454" y="37"/>
                  </a:lnTo>
                  <a:lnTo>
                    <a:pt x="450" y="37"/>
                  </a:lnTo>
                  <a:lnTo>
                    <a:pt x="448" y="39"/>
                  </a:lnTo>
                  <a:lnTo>
                    <a:pt x="444" y="41"/>
                  </a:lnTo>
                  <a:lnTo>
                    <a:pt x="442" y="43"/>
                  </a:lnTo>
                  <a:lnTo>
                    <a:pt x="442" y="43"/>
                  </a:lnTo>
                  <a:lnTo>
                    <a:pt x="439" y="41"/>
                  </a:lnTo>
                  <a:lnTo>
                    <a:pt x="437" y="41"/>
                  </a:lnTo>
                  <a:lnTo>
                    <a:pt x="437" y="39"/>
                  </a:lnTo>
                  <a:lnTo>
                    <a:pt x="435" y="37"/>
                  </a:lnTo>
                  <a:lnTo>
                    <a:pt x="433" y="37"/>
                  </a:lnTo>
                  <a:lnTo>
                    <a:pt x="427" y="37"/>
                  </a:lnTo>
                  <a:lnTo>
                    <a:pt x="425" y="37"/>
                  </a:lnTo>
                  <a:lnTo>
                    <a:pt x="424" y="37"/>
                  </a:lnTo>
                  <a:lnTo>
                    <a:pt x="422" y="34"/>
                  </a:lnTo>
                  <a:lnTo>
                    <a:pt x="420" y="34"/>
                  </a:lnTo>
                  <a:lnTo>
                    <a:pt x="418" y="32"/>
                  </a:lnTo>
                  <a:lnTo>
                    <a:pt x="412" y="32"/>
                  </a:lnTo>
                  <a:lnTo>
                    <a:pt x="409" y="32"/>
                  </a:lnTo>
                  <a:lnTo>
                    <a:pt x="405" y="28"/>
                  </a:lnTo>
                  <a:lnTo>
                    <a:pt x="407" y="28"/>
                  </a:lnTo>
                  <a:lnTo>
                    <a:pt x="403" y="24"/>
                  </a:lnTo>
                  <a:lnTo>
                    <a:pt x="401" y="24"/>
                  </a:lnTo>
                  <a:lnTo>
                    <a:pt x="401" y="26"/>
                  </a:lnTo>
                  <a:lnTo>
                    <a:pt x="395" y="28"/>
                  </a:lnTo>
                  <a:lnTo>
                    <a:pt x="393" y="24"/>
                  </a:lnTo>
                  <a:lnTo>
                    <a:pt x="392" y="24"/>
                  </a:lnTo>
                  <a:lnTo>
                    <a:pt x="388" y="20"/>
                  </a:lnTo>
                  <a:lnTo>
                    <a:pt x="384" y="22"/>
                  </a:lnTo>
                  <a:lnTo>
                    <a:pt x="384" y="20"/>
                  </a:lnTo>
                  <a:lnTo>
                    <a:pt x="380" y="22"/>
                  </a:lnTo>
                  <a:lnTo>
                    <a:pt x="384" y="26"/>
                  </a:lnTo>
                  <a:lnTo>
                    <a:pt x="384" y="26"/>
                  </a:lnTo>
                  <a:lnTo>
                    <a:pt x="388" y="28"/>
                  </a:lnTo>
                  <a:lnTo>
                    <a:pt x="388" y="26"/>
                  </a:lnTo>
                  <a:lnTo>
                    <a:pt x="393" y="28"/>
                  </a:lnTo>
                  <a:lnTo>
                    <a:pt x="393" y="32"/>
                  </a:lnTo>
                  <a:lnTo>
                    <a:pt x="395" y="37"/>
                  </a:lnTo>
                  <a:lnTo>
                    <a:pt x="392" y="37"/>
                  </a:lnTo>
                  <a:lnTo>
                    <a:pt x="390" y="43"/>
                  </a:lnTo>
                  <a:lnTo>
                    <a:pt x="388" y="39"/>
                  </a:lnTo>
                  <a:lnTo>
                    <a:pt x="388" y="39"/>
                  </a:lnTo>
                  <a:lnTo>
                    <a:pt x="384" y="41"/>
                  </a:lnTo>
                  <a:lnTo>
                    <a:pt x="373" y="41"/>
                  </a:lnTo>
                  <a:lnTo>
                    <a:pt x="369" y="37"/>
                  </a:lnTo>
                  <a:lnTo>
                    <a:pt x="367" y="39"/>
                  </a:lnTo>
                  <a:lnTo>
                    <a:pt x="363" y="41"/>
                  </a:lnTo>
                  <a:lnTo>
                    <a:pt x="363" y="45"/>
                  </a:lnTo>
                  <a:lnTo>
                    <a:pt x="360" y="45"/>
                  </a:lnTo>
                  <a:lnTo>
                    <a:pt x="363" y="49"/>
                  </a:lnTo>
                  <a:lnTo>
                    <a:pt x="360" y="47"/>
                  </a:lnTo>
                  <a:lnTo>
                    <a:pt x="358" y="47"/>
                  </a:lnTo>
                  <a:lnTo>
                    <a:pt x="354" y="49"/>
                  </a:lnTo>
                  <a:lnTo>
                    <a:pt x="358" y="51"/>
                  </a:lnTo>
                  <a:lnTo>
                    <a:pt x="358" y="52"/>
                  </a:lnTo>
                  <a:lnTo>
                    <a:pt x="350" y="51"/>
                  </a:lnTo>
                  <a:lnTo>
                    <a:pt x="350" y="52"/>
                  </a:lnTo>
                  <a:lnTo>
                    <a:pt x="350" y="56"/>
                  </a:lnTo>
                  <a:lnTo>
                    <a:pt x="348" y="56"/>
                  </a:lnTo>
                  <a:lnTo>
                    <a:pt x="346" y="58"/>
                  </a:lnTo>
                  <a:lnTo>
                    <a:pt x="346" y="62"/>
                  </a:lnTo>
                  <a:lnTo>
                    <a:pt x="348" y="62"/>
                  </a:lnTo>
                  <a:lnTo>
                    <a:pt x="350" y="64"/>
                  </a:lnTo>
                  <a:lnTo>
                    <a:pt x="346" y="62"/>
                  </a:lnTo>
                  <a:lnTo>
                    <a:pt x="345" y="66"/>
                  </a:lnTo>
                  <a:lnTo>
                    <a:pt x="341" y="66"/>
                  </a:lnTo>
                  <a:lnTo>
                    <a:pt x="339" y="71"/>
                  </a:lnTo>
                  <a:lnTo>
                    <a:pt x="333" y="77"/>
                  </a:lnTo>
                  <a:lnTo>
                    <a:pt x="331" y="77"/>
                  </a:lnTo>
                  <a:lnTo>
                    <a:pt x="329" y="83"/>
                  </a:lnTo>
                  <a:lnTo>
                    <a:pt x="329" y="83"/>
                  </a:lnTo>
                  <a:lnTo>
                    <a:pt x="329" y="86"/>
                  </a:lnTo>
                  <a:lnTo>
                    <a:pt x="339" y="86"/>
                  </a:lnTo>
                  <a:lnTo>
                    <a:pt x="333" y="88"/>
                  </a:lnTo>
                  <a:lnTo>
                    <a:pt x="331" y="90"/>
                  </a:lnTo>
                  <a:lnTo>
                    <a:pt x="341" y="94"/>
                  </a:lnTo>
                  <a:lnTo>
                    <a:pt x="339" y="94"/>
                  </a:lnTo>
                  <a:lnTo>
                    <a:pt x="331" y="94"/>
                  </a:lnTo>
                  <a:lnTo>
                    <a:pt x="331" y="92"/>
                  </a:lnTo>
                  <a:lnTo>
                    <a:pt x="331" y="94"/>
                  </a:lnTo>
                  <a:lnTo>
                    <a:pt x="333" y="96"/>
                  </a:lnTo>
                  <a:lnTo>
                    <a:pt x="333" y="101"/>
                  </a:lnTo>
                  <a:lnTo>
                    <a:pt x="339" y="105"/>
                  </a:lnTo>
                  <a:lnTo>
                    <a:pt x="331" y="101"/>
                  </a:lnTo>
                  <a:lnTo>
                    <a:pt x="329" y="96"/>
                  </a:lnTo>
                  <a:lnTo>
                    <a:pt x="326" y="96"/>
                  </a:lnTo>
                  <a:lnTo>
                    <a:pt x="326" y="98"/>
                  </a:lnTo>
                  <a:lnTo>
                    <a:pt x="326" y="99"/>
                  </a:lnTo>
                  <a:lnTo>
                    <a:pt x="326" y="98"/>
                  </a:lnTo>
                  <a:lnTo>
                    <a:pt x="316" y="92"/>
                  </a:lnTo>
                  <a:lnTo>
                    <a:pt x="311" y="92"/>
                  </a:lnTo>
                  <a:lnTo>
                    <a:pt x="313" y="96"/>
                  </a:lnTo>
                  <a:lnTo>
                    <a:pt x="311" y="98"/>
                  </a:lnTo>
                  <a:lnTo>
                    <a:pt x="309" y="96"/>
                  </a:lnTo>
                  <a:lnTo>
                    <a:pt x="307" y="96"/>
                  </a:lnTo>
                  <a:lnTo>
                    <a:pt x="305" y="98"/>
                  </a:lnTo>
                  <a:lnTo>
                    <a:pt x="307" y="101"/>
                  </a:lnTo>
                  <a:lnTo>
                    <a:pt x="307" y="103"/>
                  </a:lnTo>
                  <a:lnTo>
                    <a:pt x="307" y="101"/>
                  </a:lnTo>
                  <a:lnTo>
                    <a:pt x="305" y="103"/>
                  </a:lnTo>
                  <a:lnTo>
                    <a:pt x="305" y="105"/>
                  </a:lnTo>
                  <a:lnTo>
                    <a:pt x="301" y="107"/>
                  </a:lnTo>
                  <a:lnTo>
                    <a:pt x="296" y="107"/>
                  </a:lnTo>
                  <a:lnTo>
                    <a:pt x="301" y="105"/>
                  </a:lnTo>
                  <a:lnTo>
                    <a:pt x="305" y="101"/>
                  </a:lnTo>
                  <a:lnTo>
                    <a:pt x="301" y="96"/>
                  </a:lnTo>
                  <a:lnTo>
                    <a:pt x="305" y="92"/>
                  </a:lnTo>
                  <a:lnTo>
                    <a:pt x="305" y="88"/>
                  </a:lnTo>
                  <a:lnTo>
                    <a:pt x="301" y="88"/>
                  </a:lnTo>
                  <a:lnTo>
                    <a:pt x="296" y="81"/>
                  </a:lnTo>
                  <a:lnTo>
                    <a:pt x="294" y="75"/>
                  </a:lnTo>
                  <a:lnTo>
                    <a:pt x="288" y="75"/>
                  </a:lnTo>
                  <a:lnTo>
                    <a:pt x="284" y="71"/>
                  </a:lnTo>
                  <a:lnTo>
                    <a:pt x="282" y="73"/>
                  </a:lnTo>
                  <a:lnTo>
                    <a:pt x="284" y="75"/>
                  </a:lnTo>
                  <a:lnTo>
                    <a:pt x="281" y="77"/>
                  </a:lnTo>
                  <a:lnTo>
                    <a:pt x="279" y="81"/>
                  </a:lnTo>
                  <a:lnTo>
                    <a:pt x="277" y="81"/>
                  </a:lnTo>
                  <a:lnTo>
                    <a:pt x="277" y="77"/>
                  </a:lnTo>
                  <a:lnTo>
                    <a:pt x="275" y="79"/>
                  </a:lnTo>
                  <a:lnTo>
                    <a:pt x="275" y="81"/>
                  </a:lnTo>
                  <a:lnTo>
                    <a:pt x="271" y="75"/>
                  </a:lnTo>
                  <a:lnTo>
                    <a:pt x="269" y="75"/>
                  </a:lnTo>
                  <a:lnTo>
                    <a:pt x="269" y="79"/>
                  </a:lnTo>
                  <a:lnTo>
                    <a:pt x="271" y="79"/>
                  </a:lnTo>
                  <a:lnTo>
                    <a:pt x="267" y="83"/>
                  </a:lnTo>
                  <a:lnTo>
                    <a:pt x="265" y="86"/>
                  </a:lnTo>
                  <a:lnTo>
                    <a:pt x="267" y="86"/>
                  </a:lnTo>
                  <a:lnTo>
                    <a:pt x="264" y="90"/>
                  </a:lnTo>
                  <a:lnTo>
                    <a:pt x="262" y="86"/>
                  </a:lnTo>
                  <a:lnTo>
                    <a:pt x="260" y="86"/>
                  </a:lnTo>
                  <a:lnTo>
                    <a:pt x="260" y="86"/>
                  </a:lnTo>
                  <a:lnTo>
                    <a:pt x="262" y="83"/>
                  </a:lnTo>
                  <a:lnTo>
                    <a:pt x="258" y="83"/>
                  </a:lnTo>
                  <a:lnTo>
                    <a:pt x="258" y="86"/>
                  </a:lnTo>
                  <a:lnTo>
                    <a:pt x="252" y="86"/>
                  </a:lnTo>
                  <a:lnTo>
                    <a:pt x="252" y="88"/>
                  </a:lnTo>
                  <a:lnTo>
                    <a:pt x="250" y="94"/>
                  </a:lnTo>
                  <a:lnTo>
                    <a:pt x="256" y="94"/>
                  </a:lnTo>
                  <a:lnTo>
                    <a:pt x="252" y="99"/>
                  </a:lnTo>
                  <a:lnTo>
                    <a:pt x="250" y="98"/>
                  </a:lnTo>
                  <a:lnTo>
                    <a:pt x="245" y="99"/>
                  </a:lnTo>
                  <a:lnTo>
                    <a:pt x="247" y="103"/>
                  </a:lnTo>
                  <a:lnTo>
                    <a:pt x="250" y="103"/>
                  </a:lnTo>
                  <a:lnTo>
                    <a:pt x="247" y="107"/>
                  </a:lnTo>
                  <a:lnTo>
                    <a:pt x="247" y="107"/>
                  </a:lnTo>
                  <a:lnTo>
                    <a:pt x="243" y="103"/>
                  </a:lnTo>
                  <a:lnTo>
                    <a:pt x="237" y="107"/>
                  </a:lnTo>
                  <a:lnTo>
                    <a:pt x="235" y="107"/>
                  </a:lnTo>
                  <a:lnTo>
                    <a:pt x="237" y="111"/>
                  </a:lnTo>
                  <a:lnTo>
                    <a:pt x="237" y="111"/>
                  </a:lnTo>
                  <a:lnTo>
                    <a:pt x="237" y="113"/>
                  </a:lnTo>
                  <a:lnTo>
                    <a:pt x="237" y="113"/>
                  </a:lnTo>
                  <a:lnTo>
                    <a:pt x="237" y="116"/>
                  </a:lnTo>
                  <a:lnTo>
                    <a:pt x="237" y="120"/>
                  </a:lnTo>
                  <a:lnTo>
                    <a:pt x="235" y="120"/>
                  </a:lnTo>
                  <a:lnTo>
                    <a:pt x="233" y="124"/>
                  </a:lnTo>
                  <a:lnTo>
                    <a:pt x="241" y="124"/>
                  </a:lnTo>
                  <a:lnTo>
                    <a:pt x="235" y="128"/>
                  </a:lnTo>
                  <a:lnTo>
                    <a:pt x="235" y="130"/>
                  </a:lnTo>
                  <a:lnTo>
                    <a:pt x="232" y="128"/>
                  </a:lnTo>
                  <a:lnTo>
                    <a:pt x="230" y="126"/>
                  </a:lnTo>
                  <a:lnTo>
                    <a:pt x="226" y="122"/>
                  </a:lnTo>
                  <a:lnTo>
                    <a:pt x="226" y="126"/>
                  </a:lnTo>
                  <a:lnTo>
                    <a:pt x="222" y="122"/>
                  </a:lnTo>
                  <a:lnTo>
                    <a:pt x="220" y="120"/>
                  </a:lnTo>
                  <a:lnTo>
                    <a:pt x="217" y="122"/>
                  </a:lnTo>
                  <a:lnTo>
                    <a:pt x="220" y="126"/>
                  </a:lnTo>
                  <a:lnTo>
                    <a:pt x="220" y="128"/>
                  </a:lnTo>
                  <a:lnTo>
                    <a:pt x="217" y="132"/>
                  </a:lnTo>
                  <a:lnTo>
                    <a:pt x="220" y="132"/>
                  </a:lnTo>
                  <a:lnTo>
                    <a:pt x="226" y="132"/>
                  </a:lnTo>
                  <a:lnTo>
                    <a:pt x="222" y="135"/>
                  </a:lnTo>
                  <a:lnTo>
                    <a:pt x="222" y="141"/>
                  </a:lnTo>
                  <a:lnTo>
                    <a:pt x="220" y="137"/>
                  </a:lnTo>
                  <a:lnTo>
                    <a:pt x="220" y="137"/>
                  </a:lnTo>
                  <a:lnTo>
                    <a:pt x="220" y="141"/>
                  </a:lnTo>
                  <a:lnTo>
                    <a:pt x="220" y="147"/>
                  </a:lnTo>
                  <a:lnTo>
                    <a:pt x="220" y="150"/>
                  </a:lnTo>
                  <a:lnTo>
                    <a:pt x="213" y="137"/>
                  </a:lnTo>
                  <a:lnTo>
                    <a:pt x="209" y="132"/>
                  </a:lnTo>
                  <a:lnTo>
                    <a:pt x="207" y="128"/>
                  </a:lnTo>
                  <a:lnTo>
                    <a:pt x="207" y="124"/>
                  </a:lnTo>
                  <a:lnTo>
                    <a:pt x="207" y="126"/>
                  </a:lnTo>
                  <a:lnTo>
                    <a:pt x="201" y="130"/>
                  </a:lnTo>
                  <a:lnTo>
                    <a:pt x="201" y="132"/>
                  </a:lnTo>
                  <a:lnTo>
                    <a:pt x="198" y="135"/>
                  </a:lnTo>
                  <a:lnTo>
                    <a:pt x="198" y="135"/>
                  </a:lnTo>
                  <a:lnTo>
                    <a:pt x="196" y="135"/>
                  </a:lnTo>
                  <a:lnTo>
                    <a:pt x="192" y="137"/>
                  </a:lnTo>
                  <a:lnTo>
                    <a:pt x="188" y="141"/>
                  </a:lnTo>
                  <a:lnTo>
                    <a:pt x="188" y="147"/>
                  </a:lnTo>
                  <a:lnTo>
                    <a:pt x="188" y="156"/>
                  </a:lnTo>
                  <a:lnTo>
                    <a:pt x="192" y="156"/>
                  </a:lnTo>
                  <a:lnTo>
                    <a:pt x="192" y="160"/>
                  </a:lnTo>
                  <a:lnTo>
                    <a:pt x="188" y="162"/>
                  </a:lnTo>
                  <a:lnTo>
                    <a:pt x="186" y="165"/>
                  </a:lnTo>
                  <a:lnTo>
                    <a:pt x="181" y="165"/>
                  </a:lnTo>
                  <a:lnTo>
                    <a:pt x="183" y="169"/>
                  </a:lnTo>
                  <a:lnTo>
                    <a:pt x="177" y="171"/>
                  </a:lnTo>
                  <a:lnTo>
                    <a:pt x="177" y="177"/>
                  </a:lnTo>
                  <a:lnTo>
                    <a:pt x="175" y="179"/>
                  </a:lnTo>
                  <a:lnTo>
                    <a:pt x="169" y="188"/>
                  </a:lnTo>
                  <a:lnTo>
                    <a:pt x="158" y="194"/>
                  </a:lnTo>
                  <a:lnTo>
                    <a:pt x="149" y="194"/>
                  </a:lnTo>
                  <a:lnTo>
                    <a:pt x="145" y="196"/>
                  </a:lnTo>
                  <a:lnTo>
                    <a:pt x="139" y="196"/>
                  </a:lnTo>
                  <a:lnTo>
                    <a:pt x="134" y="196"/>
                  </a:lnTo>
                  <a:lnTo>
                    <a:pt x="132" y="196"/>
                  </a:lnTo>
                  <a:lnTo>
                    <a:pt x="124" y="197"/>
                  </a:lnTo>
                  <a:lnTo>
                    <a:pt x="124" y="201"/>
                  </a:lnTo>
                  <a:lnTo>
                    <a:pt x="121" y="203"/>
                  </a:lnTo>
                  <a:lnTo>
                    <a:pt x="109" y="203"/>
                  </a:lnTo>
                  <a:lnTo>
                    <a:pt x="104" y="205"/>
                  </a:lnTo>
                  <a:lnTo>
                    <a:pt x="104" y="209"/>
                  </a:lnTo>
                  <a:lnTo>
                    <a:pt x="98" y="211"/>
                  </a:lnTo>
                  <a:lnTo>
                    <a:pt x="90" y="211"/>
                  </a:lnTo>
                  <a:lnTo>
                    <a:pt x="89" y="211"/>
                  </a:lnTo>
                  <a:lnTo>
                    <a:pt x="85" y="211"/>
                  </a:lnTo>
                  <a:lnTo>
                    <a:pt x="83" y="209"/>
                  </a:lnTo>
                  <a:lnTo>
                    <a:pt x="83" y="211"/>
                  </a:lnTo>
                  <a:lnTo>
                    <a:pt x="79" y="214"/>
                  </a:lnTo>
                  <a:lnTo>
                    <a:pt x="70" y="214"/>
                  </a:lnTo>
                  <a:lnTo>
                    <a:pt x="70" y="218"/>
                  </a:lnTo>
                  <a:lnTo>
                    <a:pt x="68" y="218"/>
                  </a:lnTo>
                  <a:lnTo>
                    <a:pt x="60" y="222"/>
                  </a:lnTo>
                  <a:lnTo>
                    <a:pt x="55" y="226"/>
                  </a:lnTo>
                  <a:lnTo>
                    <a:pt x="43" y="229"/>
                  </a:lnTo>
                  <a:lnTo>
                    <a:pt x="38" y="235"/>
                  </a:lnTo>
                  <a:lnTo>
                    <a:pt x="38" y="243"/>
                  </a:lnTo>
                  <a:lnTo>
                    <a:pt x="34" y="245"/>
                  </a:lnTo>
                  <a:lnTo>
                    <a:pt x="30" y="243"/>
                  </a:lnTo>
                  <a:lnTo>
                    <a:pt x="34" y="243"/>
                  </a:lnTo>
                  <a:lnTo>
                    <a:pt x="34" y="239"/>
                  </a:lnTo>
                  <a:lnTo>
                    <a:pt x="34" y="233"/>
                  </a:lnTo>
                  <a:lnTo>
                    <a:pt x="34" y="229"/>
                  </a:lnTo>
                  <a:lnTo>
                    <a:pt x="26" y="235"/>
                  </a:lnTo>
                  <a:lnTo>
                    <a:pt x="26" y="239"/>
                  </a:lnTo>
                  <a:lnTo>
                    <a:pt x="21" y="248"/>
                  </a:lnTo>
                  <a:lnTo>
                    <a:pt x="25" y="254"/>
                  </a:lnTo>
                  <a:lnTo>
                    <a:pt x="25" y="258"/>
                  </a:lnTo>
                  <a:lnTo>
                    <a:pt x="25" y="267"/>
                  </a:lnTo>
                  <a:lnTo>
                    <a:pt x="17" y="275"/>
                  </a:lnTo>
                  <a:lnTo>
                    <a:pt x="13" y="288"/>
                  </a:lnTo>
                  <a:lnTo>
                    <a:pt x="15" y="294"/>
                  </a:lnTo>
                  <a:lnTo>
                    <a:pt x="15" y="303"/>
                  </a:lnTo>
                  <a:lnTo>
                    <a:pt x="21" y="314"/>
                  </a:lnTo>
                  <a:lnTo>
                    <a:pt x="21" y="318"/>
                  </a:lnTo>
                  <a:lnTo>
                    <a:pt x="25" y="322"/>
                  </a:lnTo>
                  <a:lnTo>
                    <a:pt x="21" y="326"/>
                  </a:lnTo>
                  <a:lnTo>
                    <a:pt x="21" y="331"/>
                  </a:lnTo>
                  <a:lnTo>
                    <a:pt x="19" y="333"/>
                  </a:lnTo>
                  <a:lnTo>
                    <a:pt x="17" y="331"/>
                  </a:lnTo>
                  <a:lnTo>
                    <a:pt x="17" y="322"/>
                  </a:lnTo>
                  <a:lnTo>
                    <a:pt x="15" y="326"/>
                  </a:lnTo>
                  <a:lnTo>
                    <a:pt x="13" y="326"/>
                  </a:lnTo>
                  <a:lnTo>
                    <a:pt x="13" y="318"/>
                  </a:lnTo>
                  <a:lnTo>
                    <a:pt x="9" y="312"/>
                  </a:lnTo>
                  <a:lnTo>
                    <a:pt x="8" y="316"/>
                  </a:lnTo>
                  <a:lnTo>
                    <a:pt x="8" y="324"/>
                  </a:lnTo>
                  <a:lnTo>
                    <a:pt x="13" y="327"/>
                  </a:lnTo>
                  <a:lnTo>
                    <a:pt x="17" y="335"/>
                  </a:lnTo>
                  <a:lnTo>
                    <a:pt x="11" y="337"/>
                  </a:lnTo>
                  <a:lnTo>
                    <a:pt x="8" y="331"/>
                  </a:lnTo>
                  <a:lnTo>
                    <a:pt x="6" y="324"/>
                  </a:lnTo>
                  <a:lnTo>
                    <a:pt x="4" y="327"/>
                  </a:lnTo>
                  <a:lnTo>
                    <a:pt x="2" y="327"/>
                  </a:lnTo>
                  <a:lnTo>
                    <a:pt x="6" y="335"/>
                  </a:lnTo>
                  <a:lnTo>
                    <a:pt x="13" y="342"/>
                  </a:lnTo>
                  <a:lnTo>
                    <a:pt x="17" y="352"/>
                  </a:lnTo>
                  <a:lnTo>
                    <a:pt x="15" y="373"/>
                  </a:lnTo>
                  <a:lnTo>
                    <a:pt x="19" y="376"/>
                  </a:lnTo>
                  <a:lnTo>
                    <a:pt x="21" y="386"/>
                  </a:lnTo>
                  <a:lnTo>
                    <a:pt x="25" y="401"/>
                  </a:lnTo>
                  <a:lnTo>
                    <a:pt x="25" y="405"/>
                  </a:lnTo>
                  <a:lnTo>
                    <a:pt x="25" y="425"/>
                  </a:lnTo>
                  <a:lnTo>
                    <a:pt x="25" y="429"/>
                  </a:lnTo>
                  <a:lnTo>
                    <a:pt x="25" y="435"/>
                  </a:lnTo>
                  <a:lnTo>
                    <a:pt x="25" y="439"/>
                  </a:lnTo>
                  <a:lnTo>
                    <a:pt x="28" y="450"/>
                  </a:lnTo>
                  <a:lnTo>
                    <a:pt x="28" y="454"/>
                  </a:lnTo>
                  <a:lnTo>
                    <a:pt x="25" y="456"/>
                  </a:lnTo>
                  <a:lnTo>
                    <a:pt x="26" y="459"/>
                  </a:lnTo>
                  <a:lnTo>
                    <a:pt x="26" y="461"/>
                  </a:lnTo>
                  <a:lnTo>
                    <a:pt x="25" y="471"/>
                  </a:lnTo>
                  <a:lnTo>
                    <a:pt x="21" y="474"/>
                  </a:lnTo>
                  <a:lnTo>
                    <a:pt x="25" y="474"/>
                  </a:lnTo>
                  <a:lnTo>
                    <a:pt x="21" y="480"/>
                  </a:lnTo>
                  <a:lnTo>
                    <a:pt x="21" y="484"/>
                  </a:lnTo>
                  <a:lnTo>
                    <a:pt x="21" y="488"/>
                  </a:lnTo>
                  <a:lnTo>
                    <a:pt x="15" y="491"/>
                  </a:lnTo>
                  <a:lnTo>
                    <a:pt x="11" y="489"/>
                  </a:lnTo>
                  <a:lnTo>
                    <a:pt x="6" y="497"/>
                  </a:lnTo>
                  <a:lnTo>
                    <a:pt x="8" y="508"/>
                  </a:lnTo>
                  <a:lnTo>
                    <a:pt x="8" y="508"/>
                  </a:lnTo>
                  <a:lnTo>
                    <a:pt x="8" y="508"/>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9" name="Freeform 202">
              <a:extLst>
                <a:ext uri="{FF2B5EF4-FFF2-40B4-BE49-F238E27FC236}">
                  <a16:creationId xmlns:a16="http://schemas.microsoft.com/office/drawing/2014/main" id="{CCD8D783-5EDD-4FA4-99FB-18C3869EACD8}"/>
                </a:ext>
              </a:extLst>
            </p:cNvPr>
            <p:cNvSpPr>
              <a:spLocks noEditPoints="1"/>
            </p:cNvSpPr>
            <p:nvPr/>
          </p:nvSpPr>
          <p:spPr bwMode="auto">
            <a:xfrm>
              <a:off x="5680" y="3881"/>
              <a:ext cx="295" cy="386"/>
            </a:xfrm>
            <a:custGeom>
              <a:avLst/>
              <a:gdLst/>
              <a:ahLst/>
              <a:cxnLst>
                <a:cxn ang="0">
                  <a:pos x="2" y="333"/>
                </a:cxn>
                <a:cxn ang="0">
                  <a:pos x="239" y="81"/>
                </a:cxn>
                <a:cxn ang="0">
                  <a:pos x="246" y="64"/>
                </a:cxn>
                <a:cxn ang="0">
                  <a:pos x="250" y="66"/>
                </a:cxn>
                <a:cxn ang="0">
                  <a:pos x="201" y="219"/>
                </a:cxn>
                <a:cxn ang="0">
                  <a:pos x="235" y="188"/>
                </a:cxn>
                <a:cxn ang="0">
                  <a:pos x="252" y="164"/>
                </a:cxn>
                <a:cxn ang="0">
                  <a:pos x="271" y="151"/>
                </a:cxn>
                <a:cxn ang="0">
                  <a:pos x="280" y="138"/>
                </a:cxn>
                <a:cxn ang="0">
                  <a:pos x="295" y="111"/>
                </a:cxn>
                <a:cxn ang="0">
                  <a:pos x="271" y="115"/>
                </a:cxn>
                <a:cxn ang="0">
                  <a:pos x="250" y="89"/>
                </a:cxn>
                <a:cxn ang="0">
                  <a:pos x="244" y="70"/>
                </a:cxn>
                <a:cxn ang="0">
                  <a:pos x="243" y="90"/>
                </a:cxn>
                <a:cxn ang="0">
                  <a:pos x="235" y="75"/>
                </a:cxn>
                <a:cxn ang="0">
                  <a:pos x="233" y="49"/>
                </a:cxn>
                <a:cxn ang="0">
                  <a:pos x="239" y="30"/>
                </a:cxn>
                <a:cxn ang="0">
                  <a:pos x="229" y="19"/>
                </a:cxn>
                <a:cxn ang="0">
                  <a:pos x="222" y="17"/>
                </a:cxn>
                <a:cxn ang="0">
                  <a:pos x="216" y="0"/>
                </a:cxn>
                <a:cxn ang="0">
                  <a:pos x="212" y="26"/>
                </a:cxn>
                <a:cxn ang="0">
                  <a:pos x="222" y="57"/>
                </a:cxn>
                <a:cxn ang="0">
                  <a:pos x="227" y="64"/>
                </a:cxn>
                <a:cxn ang="0">
                  <a:pos x="222" y="68"/>
                </a:cxn>
                <a:cxn ang="0">
                  <a:pos x="227" y="90"/>
                </a:cxn>
                <a:cxn ang="0">
                  <a:pos x="222" y="109"/>
                </a:cxn>
                <a:cxn ang="0">
                  <a:pos x="212" y="139"/>
                </a:cxn>
                <a:cxn ang="0">
                  <a:pos x="201" y="162"/>
                </a:cxn>
                <a:cxn ang="0">
                  <a:pos x="201" y="198"/>
                </a:cxn>
                <a:cxn ang="0">
                  <a:pos x="177" y="194"/>
                </a:cxn>
                <a:cxn ang="0">
                  <a:pos x="177" y="198"/>
                </a:cxn>
                <a:cxn ang="0">
                  <a:pos x="177" y="203"/>
                </a:cxn>
                <a:cxn ang="0">
                  <a:pos x="22" y="373"/>
                </a:cxn>
                <a:cxn ang="0">
                  <a:pos x="2" y="386"/>
                </a:cxn>
                <a:cxn ang="0">
                  <a:pos x="11" y="365"/>
                </a:cxn>
                <a:cxn ang="0">
                  <a:pos x="15" y="377"/>
                </a:cxn>
                <a:cxn ang="0">
                  <a:pos x="5" y="382"/>
                </a:cxn>
                <a:cxn ang="0">
                  <a:pos x="0" y="343"/>
                </a:cxn>
                <a:cxn ang="0">
                  <a:pos x="11" y="322"/>
                </a:cxn>
                <a:cxn ang="0">
                  <a:pos x="26" y="309"/>
                </a:cxn>
                <a:cxn ang="0">
                  <a:pos x="41" y="294"/>
                </a:cxn>
                <a:cxn ang="0">
                  <a:pos x="69" y="284"/>
                </a:cxn>
                <a:cxn ang="0">
                  <a:pos x="94" y="260"/>
                </a:cxn>
                <a:cxn ang="0">
                  <a:pos x="124" y="230"/>
                </a:cxn>
                <a:cxn ang="0">
                  <a:pos x="147" y="207"/>
                </a:cxn>
                <a:cxn ang="0">
                  <a:pos x="163" y="194"/>
                </a:cxn>
                <a:cxn ang="0">
                  <a:pos x="167" y="207"/>
                </a:cxn>
                <a:cxn ang="0">
                  <a:pos x="180" y="205"/>
                </a:cxn>
                <a:cxn ang="0">
                  <a:pos x="184" y="207"/>
                </a:cxn>
                <a:cxn ang="0">
                  <a:pos x="171" y="237"/>
                </a:cxn>
                <a:cxn ang="0">
                  <a:pos x="147" y="266"/>
                </a:cxn>
                <a:cxn ang="0">
                  <a:pos x="137" y="288"/>
                </a:cxn>
                <a:cxn ang="0">
                  <a:pos x="130" y="284"/>
                </a:cxn>
                <a:cxn ang="0">
                  <a:pos x="118" y="284"/>
                </a:cxn>
                <a:cxn ang="0">
                  <a:pos x="103" y="298"/>
                </a:cxn>
                <a:cxn ang="0">
                  <a:pos x="81" y="335"/>
                </a:cxn>
                <a:cxn ang="0">
                  <a:pos x="67" y="349"/>
                </a:cxn>
                <a:cxn ang="0">
                  <a:pos x="51" y="364"/>
                </a:cxn>
                <a:cxn ang="0">
                  <a:pos x="26" y="365"/>
                </a:cxn>
                <a:cxn ang="0">
                  <a:pos x="11" y="352"/>
                </a:cxn>
              </a:cxnLst>
              <a:rect l="0" t="0" r="r" b="b"/>
              <a:pathLst>
                <a:path w="295" h="386">
                  <a:moveTo>
                    <a:pt x="2" y="333"/>
                  </a:moveTo>
                  <a:lnTo>
                    <a:pt x="2" y="333"/>
                  </a:lnTo>
                  <a:lnTo>
                    <a:pt x="5" y="333"/>
                  </a:lnTo>
                  <a:lnTo>
                    <a:pt x="5" y="332"/>
                  </a:lnTo>
                  <a:lnTo>
                    <a:pt x="2" y="332"/>
                  </a:lnTo>
                  <a:lnTo>
                    <a:pt x="2" y="333"/>
                  </a:lnTo>
                  <a:lnTo>
                    <a:pt x="2" y="333"/>
                  </a:lnTo>
                  <a:lnTo>
                    <a:pt x="2" y="333"/>
                  </a:lnTo>
                  <a:lnTo>
                    <a:pt x="2" y="333"/>
                  </a:lnTo>
                  <a:lnTo>
                    <a:pt x="2" y="333"/>
                  </a:lnTo>
                  <a:close/>
                  <a:moveTo>
                    <a:pt x="239" y="81"/>
                  </a:moveTo>
                  <a:lnTo>
                    <a:pt x="241" y="81"/>
                  </a:lnTo>
                  <a:lnTo>
                    <a:pt x="241" y="83"/>
                  </a:lnTo>
                  <a:lnTo>
                    <a:pt x="239" y="83"/>
                  </a:lnTo>
                  <a:lnTo>
                    <a:pt x="239" y="81"/>
                  </a:lnTo>
                  <a:lnTo>
                    <a:pt x="239" y="81"/>
                  </a:lnTo>
                  <a:lnTo>
                    <a:pt x="239" y="81"/>
                  </a:lnTo>
                  <a:lnTo>
                    <a:pt x="239" y="81"/>
                  </a:lnTo>
                  <a:close/>
                  <a:moveTo>
                    <a:pt x="244" y="64"/>
                  </a:moveTo>
                  <a:lnTo>
                    <a:pt x="243" y="64"/>
                  </a:lnTo>
                  <a:lnTo>
                    <a:pt x="244" y="64"/>
                  </a:lnTo>
                  <a:lnTo>
                    <a:pt x="244" y="64"/>
                  </a:lnTo>
                  <a:lnTo>
                    <a:pt x="244" y="64"/>
                  </a:lnTo>
                  <a:lnTo>
                    <a:pt x="244" y="64"/>
                  </a:lnTo>
                  <a:lnTo>
                    <a:pt x="244" y="64"/>
                  </a:lnTo>
                  <a:close/>
                  <a:moveTo>
                    <a:pt x="250" y="66"/>
                  </a:moveTo>
                  <a:lnTo>
                    <a:pt x="246" y="64"/>
                  </a:lnTo>
                  <a:lnTo>
                    <a:pt x="250" y="60"/>
                  </a:lnTo>
                  <a:lnTo>
                    <a:pt x="250" y="60"/>
                  </a:lnTo>
                  <a:lnTo>
                    <a:pt x="250" y="64"/>
                  </a:lnTo>
                  <a:lnTo>
                    <a:pt x="250" y="64"/>
                  </a:lnTo>
                  <a:lnTo>
                    <a:pt x="250" y="66"/>
                  </a:lnTo>
                  <a:lnTo>
                    <a:pt x="250" y="66"/>
                  </a:lnTo>
                  <a:lnTo>
                    <a:pt x="250" y="66"/>
                  </a:lnTo>
                  <a:lnTo>
                    <a:pt x="250" y="66"/>
                  </a:lnTo>
                  <a:lnTo>
                    <a:pt x="250" y="66"/>
                  </a:lnTo>
                  <a:close/>
                  <a:moveTo>
                    <a:pt x="188" y="213"/>
                  </a:moveTo>
                  <a:lnTo>
                    <a:pt x="192" y="213"/>
                  </a:lnTo>
                  <a:lnTo>
                    <a:pt x="195" y="209"/>
                  </a:lnTo>
                  <a:lnTo>
                    <a:pt x="197" y="209"/>
                  </a:lnTo>
                  <a:lnTo>
                    <a:pt x="197" y="215"/>
                  </a:lnTo>
                  <a:lnTo>
                    <a:pt x="197" y="217"/>
                  </a:lnTo>
                  <a:lnTo>
                    <a:pt x="197" y="217"/>
                  </a:lnTo>
                  <a:lnTo>
                    <a:pt x="197" y="217"/>
                  </a:lnTo>
                  <a:lnTo>
                    <a:pt x="201" y="219"/>
                  </a:lnTo>
                  <a:lnTo>
                    <a:pt x="197" y="219"/>
                  </a:lnTo>
                  <a:lnTo>
                    <a:pt x="201" y="222"/>
                  </a:lnTo>
                  <a:lnTo>
                    <a:pt x="203" y="222"/>
                  </a:lnTo>
                  <a:lnTo>
                    <a:pt x="209" y="217"/>
                  </a:lnTo>
                  <a:lnTo>
                    <a:pt x="216" y="209"/>
                  </a:lnTo>
                  <a:lnTo>
                    <a:pt x="222" y="205"/>
                  </a:lnTo>
                  <a:lnTo>
                    <a:pt x="226" y="200"/>
                  </a:lnTo>
                  <a:lnTo>
                    <a:pt x="231" y="190"/>
                  </a:lnTo>
                  <a:lnTo>
                    <a:pt x="235" y="188"/>
                  </a:lnTo>
                  <a:lnTo>
                    <a:pt x="237" y="188"/>
                  </a:lnTo>
                  <a:lnTo>
                    <a:pt x="239" y="188"/>
                  </a:lnTo>
                  <a:lnTo>
                    <a:pt x="239" y="185"/>
                  </a:lnTo>
                  <a:lnTo>
                    <a:pt x="241" y="183"/>
                  </a:lnTo>
                  <a:lnTo>
                    <a:pt x="244" y="181"/>
                  </a:lnTo>
                  <a:lnTo>
                    <a:pt x="246" y="173"/>
                  </a:lnTo>
                  <a:lnTo>
                    <a:pt x="250" y="168"/>
                  </a:lnTo>
                  <a:lnTo>
                    <a:pt x="250" y="166"/>
                  </a:lnTo>
                  <a:lnTo>
                    <a:pt x="252" y="164"/>
                  </a:lnTo>
                  <a:lnTo>
                    <a:pt x="250" y="160"/>
                  </a:lnTo>
                  <a:lnTo>
                    <a:pt x="246" y="160"/>
                  </a:lnTo>
                  <a:lnTo>
                    <a:pt x="244" y="160"/>
                  </a:lnTo>
                  <a:lnTo>
                    <a:pt x="246" y="158"/>
                  </a:lnTo>
                  <a:lnTo>
                    <a:pt x="250" y="158"/>
                  </a:lnTo>
                  <a:lnTo>
                    <a:pt x="258" y="151"/>
                  </a:lnTo>
                  <a:lnTo>
                    <a:pt x="261" y="149"/>
                  </a:lnTo>
                  <a:lnTo>
                    <a:pt x="267" y="151"/>
                  </a:lnTo>
                  <a:lnTo>
                    <a:pt x="271" y="151"/>
                  </a:lnTo>
                  <a:lnTo>
                    <a:pt x="269" y="153"/>
                  </a:lnTo>
                  <a:lnTo>
                    <a:pt x="271" y="155"/>
                  </a:lnTo>
                  <a:lnTo>
                    <a:pt x="271" y="153"/>
                  </a:lnTo>
                  <a:lnTo>
                    <a:pt x="276" y="151"/>
                  </a:lnTo>
                  <a:lnTo>
                    <a:pt x="271" y="149"/>
                  </a:lnTo>
                  <a:lnTo>
                    <a:pt x="271" y="145"/>
                  </a:lnTo>
                  <a:lnTo>
                    <a:pt x="275" y="139"/>
                  </a:lnTo>
                  <a:lnTo>
                    <a:pt x="276" y="136"/>
                  </a:lnTo>
                  <a:lnTo>
                    <a:pt x="280" y="138"/>
                  </a:lnTo>
                  <a:lnTo>
                    <a:pt x="280" y="138"/>
                  </a:lnTo>
                  <a:lnTo>
                    <a:pt x="280" y="136"/>
                  </a:lnTo>
                  <a:lnTo>
                    <a:pt x="282" y="134"/>
                  </a:lnTo>
                  <a:lnTo>
                    <a:pt x="288" y="124"/>
                  </a:lnTo>
                  <a:lnTo>
                    <a:pt x="288" y="124"/>
                  </a:lnTo>
                  <a:lnTo>
                    <a:pt x="288" y="122"/>
                  </a:lnTo>
                  <a:lnTo>
                    <a:pt x="290" y="115"/>
                  </a:lnTo>
                  <a:lnTo>
                    <a:pt x="291" y="113"/>
                  </a:lnTo>
                  <a:lnTo>
                    <a:pt x="295" y="111"/>
                  </a:lnTo>
                  <a:lnTo>
                    <a:pt x="295" y="111"/>
                  </a:lnTo>
                  <a:lnTo>
                    <a:pt x="290" y="109"/>
                  </a:lnTo>
                  <a:lnTo>
                    <a:pt x="288" y="106"/>
                  </a:lnTo>
                  <a:lnTo>
                    <a:pt x="290" y="106"/>
                  </a:lnTo>
                  <a:lnTo>
                    <a:pt x="290" y="106"/>
                  </a:lnTo>
                  <a:lnTo>
                    <a:pt x="286" y="104"/>
                  </a:lnTo>
                  <a:lnTo>
                    <a:pt x="282" y="107"/>
                  </a:lnTo>
                  <a:lnTo>
                    <a:pt x="276" y="115"/>
                  </a:lnTo>
                  <a:lnTo>
                    <a:pt x="271" y="115"/>
                  </a:lnTo>
                  <a:lnTo>
                    <a:pt x="269" y="115"/>
                  </a:lnTo>
                  <a:lnTo>
                    <a:pt x="265" y="115"/>
                  </a:lnTo>
                  <a:lnTo>
                    <a:pt x="258" y="106"/>
                  </a:lnTo>
                  <a:lnTo>
                    <a:pt x="256" y="107"/>
                  </a:lnTo>
                  <a:lnTo>
                    <a:pt x="252" y="104"/>
                  </a:lnTo>
                  <a:lnTo>
                    <a:pt x="250" y="100"/>
                  </a:lnTo>
                  <a:lnTo>
                    <a:pt x="252" y="98"/>
                  </a:lnTo>
                  <a:lnTo>
                    <a:pt x="254" y="94"/>
                  </a:lnTo>
                  <a:lnTo>
                    <a:pt x="250" y="89"/>
                  </a:lnTo>
                  <a:lnTo>
                    <a:pt x="250" y="85"/>
                  </a:lnTo>
                  <a:lnTo>
                    <a:pt x="250" y="83"/>
                  </a:lnTo>
                  <a:lnTo>
                    <a:pt x="250" y="79"/>
                  </a:lnTo>
                  <a:lnTo>
                    <a:pt x="250" y="77"/>
                  </a:lnTo>
                  <a:lnTo>
                    <a:pt x="250" y="77"/>
                  </a:lnTo>
                  <a:lnTo>
                    <a:pt x="250" y="72"/>
                  </a:lnTo>
                  <a:lnTo>
                    <a:pt x="246" y="70"/>
                  </a:lnTo>
                  <a:lnTo>
                    <a:pt x="246" y="72"/>
                  </a:lnTo>
                  <a:lnTo>
                    <a:pt x="244" y="70"/>
                  </a:lnTo>
                  <a:lnTo>
                    <a:pt x="243" y="70"/>
                  </a:lnTo>
                  <a:lnTo>
                    <a:pt x="246" y="74"/>
                  </a:lnTo>
                  <a:lnTo>
                    <a:pt x="246" y="77"/>
                  </a:lnTo>
                  <a:lnTo>
                    <a:pt x="246" y="79"/>
                  </a:lnTo>
                  <a:lnTo>
                    <a:pt x="244" y="81"/>
                  </a:lnTo>
                  <a:lnTo>
                    <a:pt x="244" y="85"/>
                  </a:lnTo>
                  <a:lnTo>
                    <a:pt x="246" y="85"/>
                  </a:lnTo>
                  <a:lnTo>
                    <a:pt x="246" y="90"/>
                  </a:lnTo>
                  <a:lnTo>
                    <a:pt x="243" y="90"/>
                  </a:lnTo>
                  <a:lnTo>
                    <a:pt x="241" y="89"/>
                  </a:lnTo>
                  <a:lnTo>
                    <a:pt x="241" y="85"/>
                  </a:lnTo>
                  <a:lnTo>
                    <a:pt x="237" y="85"/>
                  </a:lnTo>
                  <a:lnTo>
                    <a:pt x="237" y="83"/>
                  </a:lnTo>
                  <a:lnTo>
                    <a:pt x="233" y="81"/>
                  </a:lnTo>
                  <a:lnTo>
                    <a:pt x="231" y="81"/>
                  </a:lnTo>
                  <a:lnTo>
                    <a:pt x="231" y="79"/>
                  </a:lnTo>
                  <a:lnTo>
                    <a:pt x="233" y="77"/>
                  </a:lnTo>
                  <a:lnTo>
                    <a:pt x="235" y="75"/>
                  </a:lnTo>
                  <a:lnTo>
                    <a:pt x="231" y="72"/>
                  </a:lnTo>
                  <a:lnTo>
                    <a:pt x="235" y="68"/>
                  </a:lnTo>
                  <a:lnTo>
                    <a:pt x="237" y="68"/>
                  </a:lnTo>
                  <a:lnTo>
                    <a:pt x="239" y="64"/>
                  </a:lnTo>
                  <a:lnTo>
                    <a:pt x="237" y="60"/>
                  </a:lnTo>
                  <a:lnTo>
                    <a:pt x="237" y="60"/>
                  </a:lnTo>
                  <a:lnTo>
                    <a:pt x="237" y="57"/>
                  </a:lnTo>
                  <a:lnTo>
                    <a:pt x="237" y="53"/>
                  </a:lnTo>
                  <a:lnTo>
                    <a:pt x="233" y="49"/>
                  </a:lnTo>
                  <a:lnTo>
                    <a:pt x="233" y="47"/>
                  </a:lnTo>
                  <a:lnTo>
                    <a:pt x="235" y="49"/>
                  </a:lnTo>
                  <a:lnTo>
                    <a:pt x="239" y="49"/>
                  </a:lnTo>
                  <a:lnTo>
                    <a:pt x="239" y="43"/>
                  </a:lnTo>
                  <a:lnTo>
                    <a:pt x="241" y="43"/>
                  </a:lnTo>
                  <a:lnTo>
                    <a:pt x="241" y="38"/>
                  </a:lnTo>
                  <a:lnTo>
                    <a:pt x="239" y="34"/>
                  </a:lnTo>
                  <a:lnTo>
                    <a:pt x="241" y="30"/>
                  </a:lnTo>
                  <a:lnTo>
                    <a:pt x="239" y="30"/>
                  </a:lnTo>
                  <a:lnTo>
                    <a:pt x="233" y="34"/>
                  </a:lnTo>
                  <a:lnTo>
                    <a:pt x="229" y="30"/>
                  </a:lnTo>
                  <a:lnTo>
                    <a:pt x="231" y="28"/>
                  </a:lnTo>
                  <a:lnTo>
                    <a:pt x="229" y="26"/>
                  </a:lnTo>
                  <a:lnTo>
                    <a:pt x="227" y="26"/>
                  </a:lnTo>
                  <a:lnTo>
                    <a:pt x="229" y="21"/>
                  </a:lnTo>
                  <a:lnTo>
                    <a:pt x="233" y="21"/>
                  </a:lnTo>
                  <a:lnTo>
                    <a:pt x="233" y="19"/>
                  </a:lnTo>
                  <a:lnTo>
                    <a:pt x="229" y="19"/>
                  </a:lnTo>
                  <a:lnTo>
                    <a:pt x="226" y="17"/>
                  </a:lnTo>
                  <a:lnTo>
                    <a:pt x="226" y="17"/>
                  </a:lnTo>
                  <a:lnTo>
                    <a:pt x="226" y="13"/>
                  </a:lnTo>
                  <a:lnTo>
                    <a:pt x="226" y="13"/>
                  </a:lnTo>
                  <a:lnTo>
                    <a:pt x="226" y="11"/>
                  </a:lnTo>
                  <a:lnTo>
                    <a:pt x="226" y="11"/>
                  </a:lnTo>
                  <a:lnTo>
                    <a:pt x="222" y="13"/>
                  </a:lnTo>
                  <a:lnTo>
                    <a:pt x="222" y="15"/>
                  </a:lnTo>
                  <a:lnTo>
                    <a:pt x="222" y="17"/>
                  </a:lnTo>
                  <a:lnTo>
                    <a:pt x="220" y="17"/>
                  </a:lnTo>
                  <a:lnTo>
                    <a:pt x="220" y="13"/>
                  </a:lnTo>
                  <a:lnTo>
                    <a:pt x="220" y="11"/>
                  </a:lnTo>
                  <a:lnTo>
                    <a:pt x="218" y="6"/>
                  </a:lnTo>
                  <a:lnTo>
                    <a:pt x="218" y="2"/>
                  </a:lnTo>
                  <a:lnTo>
                    <a:pt x="218" y="2"/>
                  </a:lnTo>
                  <a:lnTo>
                    <a:pt x="220" y="0"/>
                  </a:lnTo>
                  <a:lnTo>
                    <a:pt x="218" y="0"/>
                  </a:lnTo>
                  <a:lnTo>
                    <a:pt x="216" y="0"/>
                  </a:lnTo>
                  <a:lnTo>
                    <a:pt x="211" y="0"/>
                  </a:lnTo>
                  <a:lnTo>
                    <a:pt x="211" y="2"/>
                  </a:lnTo>
                  <a:lnTo>
                    <a:pt x="212" y="4"/>
                  </a:lnTo>
                  <a:lnTo>
                    <a:pt x="216" y="13"/>
                  </a:lnTo>
                  <a:lnTo>
                    <a:pt x="218" y="17"/>
                  </a:lnTo>
                  <a:lnTo>
                    <a:pt x="216" y="25"/>
                  </a:lnTo>
                  <a:lnTo>
                    <a:pt x="216" y="26"/>
                  </a:lnTo>
                  <a:lnTo>
                    <a:pt x="214" y="26"/>
                  </a:lnTo>
                  <a:lnTo>
                    <a:pt x="212" y="26"/>
                  </a:lnTo>
                  <a:lnTo>
                    <a:pt x="216" y="34"/>
                  </a:lnTo>
                  <a:lnTo>
                    <a:pt x="216" y="34"/>
                  </a:lnTo>
                  <a:lnTo>
                    <a:pt x="220" y="34"/>
                  </a:lnTo>
                  <a:lnTo>
                    <a:pt x="222" y="34"/>
                  </a:lnTo>
                  <a:lnTo>
                    <a:pt x="222" y="34"/>
                  </a:lnTo>
                  <a:lnTo>
                    <a:pt x="218" y="36"/>
                  </a:lnTo>
                  <a:lnTo>
                    <a:pt x="220" y="41"/>
                  </a:lnTo>
                  <a:lnTo>
                    <a:pt x="222" y="47"/>
                  </a:lnTo>
                  <a:lnTo>
                    <a:pt x="222" y="57"/>
                  </a:lnTo>
                  <a:lnTo>
                    <a:pt x="222" y="60"/>
                  </a:lnTo>
                  <a:lnTo>
                    <a:pt x="222" y="64"/>
                  </a:lnTo>
                  <a:lnTo>
                    <a:pt x="222" y="64"/>
                  </a:lnTo>
                  <a:lnTo>
                    <a:pt x="226" y="60"/>
                  </a:lnTo>
                  <a:lnTo>
                    <a:pt x="222" y="60"/>
                  </a:lnTo>
                  <a:lnTo>
                    <a:pt x="226" y="58"/>
                  </a:lnTo>
                  <a:lnTo>
                    <a:pt x="226" y="60"/>
                  </a:lnTo>
                  <a:lnTo>
                    <a:pt x="226" y="64"/>
                  </a:lnTo>
                  <a:lnTo>
                    <a:pt x="227" y="64"/>
                  </a:lnTo>
                  <a:lnTo>
                    <a:pt x="227" y="60"/>
                  </a:lnTo>
                  <a:lnTo>
                    <a:pt x="227" y="60"/>
                  </a:lnTo>
                  <a:lnTo>
                    <a:pt x="227" y="60"/>
                  </a:lnTo>
                  <a:lnTo>
                    <a:pt x="229" y="64"/>
                  </a:lnTo>
                  <a:lnTo>
                    <a:pt x="226" y="66"/>
                  </a:lnTo>
                  <a:lnTo>
                    <a:pt x="226" y="68"/>
                  </a:lnTo>
                  <a:lnTo>
                    <a:pt x="226" y="70"/>
                  </a:lnTo>
                  <a:lnTo>
                    <a:pt x="226" y="72"/>
                  </a:lnTo>
                  <a:lnTo>
                    <a:pt x="222" y="68"/>
                  </a:lnTo>
                  <a:lnTo>
                    <a:pt x="222" y="68"/>
                  </a:lnTo>
                  <a:lnTo>
                    <a:pt x="222" y="75"/>
                  </a:lnTo>
                  <a:lnTo>
                    <a:pt x="226" y="83"/>
                  </a:lnTo>
                  <a:lnTo>
                    <a:pt x="226" y="83"/>
                  </a:lnTo>
                  <a:lnTo>
                    <a:pt x="227" y="83"/>
                  </a:lnTo>
                  <a:lnTo>
                    <a:pt x="229" y="85"/>
                  </a:lnTo>
                  <a:lnTo>
                    <a:pt x="229" y="85"/>
                  </a:lnTo>
                  <a:lnTo>
                    <a:pt x="231" y="89"/>
                  </a:lnTo>
                  <a:lnTo>
                    <a:pt x="227" y="90"/>
                  </a:lnTo>
                  <a:lnTo>
                    <a:pt x="227" y="90"/>
                  </a:lnTo>
                  <a:lnTo>
                    <a:pt x="227" y="94"/>
                  </a:lnTo>
                  <a:lnTo>
                    <a:pt x="227" y="94"/>
                  </a:lnTo>
                  <a:lnTo>
                    <a:pt x="226" y="104"/>
                  </a:lnTo>
                  <a:lnTo>
                    <a:pt x="226" y="104"/>
                  </a:lnTo>
                  <a:lnTo>
                    <a:pt x="226" y="106"/>
                  </a:lnTo>
                  <a:lnTo>
                    <a:pt x="226" y="107"/>
                  </a:lnTo>
                  <a:lnTo>
                    <a:pt x="226" y="109"/>
                  </a:lnTo>
                  <a:lnTo>
                    <a:pt x="222" y="109"/>
                  </a:lnTo>
                  <a:lnTo>
                    <a:pt x="222" y="113"/>
                  </a:lnTo>
                  <a:lnTo>
                    <a:pt x="222" y="115"/>
                  </a:lnTo>
                  <a:lnTo>
                    <a:pt x="222" y="115"/>
                  </a:lnTo>
                  <a:lnTo>
                    <a:pt x="222" y="115"/>
                  </a:lnTo>
                  <a:lnTo>
                    <a:pt x="220" y="119"/>
                  </a:lnTo>
                  <a:lnTo>
                    <a:pt x="218" y="122"/>
                  </a:lnTo>
                  <a:lnTo>
                    <a:pt x="216" y="134"/>
                  </a:lnTo>
                  <a:lnTo>
                    <a:pt x="214" y="138"/>
                  </a:lnTo>
                  <a:lnTo>
                    <a:pt x="212" y="139"/>
                  </a:lnTo>
                  <a:lnTo>
                    <a:pt x="209" y="139"/>
                  </a:lnTo>
                  <a:lnTo>
                    <a:pt x="207" y="139"/>
                  </a:lnTo>
                  <a:lnTo>
                    <a:pt x="203" y="139"/>
                  </a:lnTo>
                  <a:lnTo>
                    <a:pt x="197" y="143"/>
                  </a:lnTo>
                  <a:lnTo>
                    <a:pt x="192" y="147"/>
                  </a:lnTo>
                  <a:lnTo>
                    <a:pt x="192" y="151"/>
                  </a:lnTo>
                  <a:lnTo>
                    <a:pt x="192" y="155"/>
                  </a:lnTo>
                  <a:lnTo>
                    <a:pt x="197" y="158"/>
                  </a:lnTo>
                  <a:lnTo>
                    <a:pt x="201" y="162"/>
                  </a:lnTo>
                  <a:lnTo>
                    <a:pt x="203" y="166"/>
                  </a:lnTo>
                  <a:lnTo>
                    <a:pt x="209" y="168"/>
                  </a:lnTo>
                  <a:lnTo>
                    <a:pt x="211" y="170"/>
                  </a:lnTo>
                  <a:lnTo>
                    <a:pt x="211" y="179"/>
                  </a:lnTo>
                  <a:lnTo>
                    <a:pt x="212" y="179"/>
                  </a:lnTo>
                  <a:lnTo>
                    <a:pt x="211" y="181"/>
                  </a:lnTo>
                  <a:lnTo>
                    <a:pt x="211" y="185"/>
                  </a:lnTo>
                  <a:lnTo>
                    <a:pt x="209" y="188"/>
                  </a:lnTo>
                  <a:lnTo>
                    <a:pt x="201" y="198"/>
                  </a:lnTo>
                  <a:lnTo>
                    <a:pt x="197" y="203"/>
                  </a:lnTo>
                  <a:lnTo>
                    <a:pt x="192" y="207"/>
                  </a:lnTo>
                  <a:lnTo>
                    <a:pt x="188" y="209"/>
                  </a:lnTo>
                  <a:lnTo>
                    <a:pt x="188" y="213"/>
                  </a:lnTo>
                  <a:lnTo>
                    <a:pt x="188" y="213"/>
                  </a:lnTo>
                  <a:lnTo>
                    <a:pt x="188" y="213"/>
                  </a:lnTo>
                  <a:lnTo>
                    <a:pt x="188" y="213"/>
                  </a:lnTo>
                  <a:close/>
                  <a:moveTo>
                    <a:pt x="177" y="198"/>
                  </a:moveTo>
                  <a:lnTo>
                    <a:pt x="177" y="194"/>
                  </a:lnTo>
                  <a:lnTo>
                    <a:pt x="180" y="192"/>
                  </a:lnTo>
                  <a:lnTo>
                    <a:pt x="182" y="192"/>
                  </a:lnTo>
                  <a:lnTo>
                    <a:pt x="182" y="194"/>
                  </a:lnTo>
                  <a:lnTo>
                    <a:pt x="180" y="198"/>
                  </a:lnTo>
                  <a:lnTo>
                    <a:pt x="179" y="198"/>
                  </a:lnTo>
                  <a:lnTo>
                    <a:pt x="177" y="198"/>
                  </a:lnTo>
                  <a:lnTo>
                    <a:pt x="177" y="198"/>
                  </a:lnTo>
                  <a:lnTo>
                    <a:pt x="177" y="198"/>
                  </a:lnTo>
                  <a:lnTo>
                    <a:pt x="177" y="198"/>
                  </a:lnTo>
                  <a:lnTo>
                    <a:pt x="177" y="198"/>
                  </a:lnTo>
                  <a:close/>
                  <a:moveTo>
                    <a:pt x="177" y="203"/>
                  </a:moveTo>
                  <a:lnTo>
                    <a:pt x="179" y="202"/>
                  </a:lnTo>
                  <a:lnTo>
                    <a:pt x="180" y="200"/>
                  </a:lnTo>
                  <a:lnTo>
                    <a:pt x="179" y="203"/>
                  </a:lnTo>
                  <a:lnTo>
                    <a:pt x="177" y="203"/>
                  </a:lnTo>
                  <a:lnTo>
                    <a:pt x="177" y="203"/>
                  </a:lnTo>
                  <a:lnTo>
                    <a:pt x="177" y="203"/>
                  </a:lnTo>
                  <a:lnTo>
                    <a:pt x="177" y="203"/>
                  </a:lnTo>
                  <a:close/>
                  <a:moveTo>
                    <a:pt x="173" y="202"/>
                  </a:moveTo>
                  <a:lnTo>
                    <a:pt x="177" y="202"/>
                  </a:lnTo>
                  <a:lnTo>
                    <a:pt x="177" y="202"/>
                  </a:lnTo>
                  <a:lnTo>
                    <a:pt x="177" y="200"/>
                  </a:lnTo>
                  <a:lnTo>
                    <a:pt x="173" y="202"/>
                  </a:lnTo>
                  <a:lnTo>
                    <a:pt x="173" y="202"/>
                  </a:lnTo>
                  <a:lnTo>
                    <a:pt x="173" y="202"/>
                  </a:lnTo>
                  <a:lnTo>
                    <a:pt x="173" y="202"/>
                  </a:lnTo>
                  <a:close/>
                  <a:moveTo>
                    <a:pt x="22" y="373"/>
                  </a:moveTo>
                  <a:lnTo>
                    <a:pt x="24" y="373"/>
                  </a:lnTo>
                  <a:lnTo>
                    <a:pt x="24" y="373"/>
                  </a:lnTo>
                  <a:lnTo>
                    <a:pt x="22" y="373"/>
                  </a:lnTo>
                  <a:lnTo>
                    <a:pt x="22" y="373"/>
                  </a:lnTo>
                  <a:lnTo>
                    <a:pt x="22" y="373"/>
                  </a:lnTo>
                  <a:lnTo>
                    <a:pt x="22" y="373"/>
                  </a:lnTo>
                  <a:close/>
                  <a:moveTo>
                    <a:pt x="5" y="382"/>
                  </a:moveTo>
                  <a:lnTo>
                    <a:pt x="2" y="386"/>
                  </a:lnTo>
                  <a:lnTo>
                    <a:pt x="2" y="386"/>
                  </a:lnTo>
                  <a:lnTo>
                    <a:pt x="2" y="382"/>
                  </a:lnTo>
                  <a:lnTo>
                    <a:pt x="5" y="381"/>
                  </a:lnTo>
                  <a:lnTo>
                    <a:pt x="5" y="381"/>
                  </a:lnTo>
                  <a:lnTo>
                    <a:pt x="5" y="377"/>
                  </a:lnTo>
                  <a:lnTo>
                    <a:pt x="9" y="377"/>
                  </a:lnTo>
                  <a:lnTo>
                    <a:pt x="9" y="373"/>
                  </a:lnTo>
                  <a:lnTo>
                    <a:pt x="9" y="369"/>
                  </a:lnTo>
                  <a:lnTo>
                    <a:pt x="9" y="367"/>
                  </a:lnTo>
                  <a:lnTo>
                    <a:pt x="11" y="365"/>
                  </a:lnTo>
                  <a:lnTo>
                    <a:pt x="15" y="369"/>
                  </a:lnTo>
                  <a:lnTo>
                    <a:pt x="17" y="373"/>
                  </a:lnTo>
                  <a:lnTo>
                    <a:pt x="19" y="373"/>
                  </a:lnTo>
                  <a:lnTo>
                    <a:pt x="17" y="373"/>
                  </a:lnTo>
                  <a:lnTo>
                    <a:pt x="15" y="373"/>
                  </a:lnTo>
                  <a:lnTo>
                    <a:pt x="15" y="373"/>
                  </a:lnTo>
                  <a:lnTo>
                    <a:pt x="15" y="373"/>
                  </a:lnTo>
                  <a:lnTo>
                    <a:pt x="15" y="373"/>
                  </a:lnTo>
                  <a:lnTo>
                    <a:pt x="15" y="377"/>
                  </a:lnTo>
                  <a:lnTo>
                    <a:pt x="17" y="377"/>
                  </a:lnTo>
                  <a:lnTo>
                    <a:pt x="17" y="381"/>
                  </a:lnTo>
                  <a:lnTo>
                    <a:pt x="17" y="381"/>
                  </a:lnTo>
                  <a:lnTo>
                    <a:pt x="15" y="381"/>
                  </a:lnTo>
                  <a:lnTo>
                    <a:pt x="11" y="382"/>
                  </a:lnTo>
                  <a:lnTo>
                    <a:pt x="9" y="382"/>
                  </a:lnTo>
                  <a:lnTo>
                    <a:pt x="9" y="382"/>
                  </a:lnTo>
                  <a:lnTo>
                    <a:pt x="5" y="382"/>
                  </a:lnTo>
                  <a:lnTo>
                    <a:pt x="5" y="382"/>
                  </a:lnTo>
                  <a:lnTo>
                    <a:pt x="5" y="382"/>
                  </a:lnTo>
                  <a:lnTo>
                    <a:pt x="5" y="382"/>
                  </a:lnTo>
                  <a:lnTo>
                    <a:pt x="5" y="382"/>
                  </a:lnTo>
                  <a:close/>
                  <a:moveTo>
                    <a:pt x="2" y="352"/>
                  </a:moveTo>
                  <a:lnTo>
                    <a:pt x="0" y="347"/>
                  </a:lnTo>
                  <a:lnTo>
                    <a:pt x="2" y="343"/>
                  </a:lnTo>
                  <a:lnTo>
                    <a:pt x="2" y="343"/>
                  </a:lnTo>
                  <a:lnTo>
                    <a:pt x="2" y="343"/>
                  </a:lnTo>
                  <a:lnTo>
                    <a:pt x="0" y="343"/>
                  </a:lnTo>
                  <a:lnTo>
                    <a:pt x="2" y="337"/>
                  </a:lnTo>
                  <a:lnTo>
                    <a:pt x="5" y="337"/>
                  </a:lnTo>
                  <a:lnTo>
                    <a:pt x="9" y="337"/>
                  </a:lnTo>
                  <a:lnTo>
                    <a:pt x="11" y="335"/>
                  </a:lnTo>
                  <a:lnTo>
                    <a:pt x="9" y="333"/>
                  </a:lnTo>
                  <a:lnTo>
                    <a:pt x="5" y="332"/>
                  </a:lnTo>
                  <a:lnTo>
                    <a:pt x="5" y="330"/>
                  </a:lnTo>
                  <a:lnTo>
                    <a:pt x="9" y="324"/>
                  </a:lnTo>
                  <a:lnTo>
                    <a:pt x="11" y="322"/>
                  </a:lnTo>
                  <a:lnTo>
                    <a:pt x="11" y="322"/>
                  </a:lnTo>
                  <a:lnTo>
                    <a:pt x="15" y="322"/>
                  </a:lnTo>
                  <a:lnTo>
                    <a:pt x="15" y="324"/>
                  </a:lnTo>
                  <a:lnTo>
                    <a:pt x="17" y="322"/>
                  </a:lnTo>
                  <a:lnTo>
                    <a:pt x="17" y="317"/>
                  </a:lnTo>
                  <a:lnTo>
                    <a:pt x="19" y="313"/>
                  </a:lnTo>
                  <a:lnTo>
                    <a:pt x="20" y="313"/>
                  </a:lnTo>
                  <a:lnTo>
                    <a:pt x="26" y="309"/>
                  </a:lnTo>
                  <a:lnTo>
                    <a:pt x="26" y="309"/>
                  </a:lnTo>
                  <a:lnTo>
                    <a:pt x="30" y="307"/>
                  </a:lnTo>
                  <a:lnTo>
                    <a:pt x="30" y="303"/>
                  </a:lnTo>
                  <a:lnTo>
                    <a:pt x="30" y="301"/>
                  </a:lnTo>
                  <a:lnTo>
                    <a:pt x="34" y="300"/>
                  </a:lnTo>
                  <a:lnTo>
                    <a:pt x="35" y="301"/>
                  </a:lnTo>
                  <a:lnTo>
                    <a:pt x="35" y="303"/>
                  </a:lnTo>
                  <a:lnTo>
                    <a:pt x="35" y="298"/>
                  </a:lnTo>
                  <a:lnTo>
                    <a:pt x="39" y="294"/>
                  </a:lnTo>
                  <a:lnTo>
                    <a:pt x="41" y="294"/>
                  </a:lnTo>
                  <a:lnTo>
                    <a:pt x="47" y="292"/>
                  </a:lnTo>
                  <a:lnTo>
                    <a:pt x="49" y="286"/>
                  </a:lnTo>
                  <a:lnTo>
                    <a:pt x="54" y="283"/>
                  </a:lnTo>
                  <a:lnTo>
                    <a:pt x="58" y="283"/>
                  </a:lnTo>
                  <a:lnTo>
                    <a:pt x="60" y="283"/>
                  </a:lnTo>
                  <a:lnTo>
                    <a:pt x="64" y="283"/>
                  </a:lnTo>
                  <a:lnTo>
                    <a:pt x="64" y="283"/>
                  </a:lnTo>
                  <a:lnTo>
                    <a:pt x="66" y="283"/>
                  </a:lnTo>
                  <a:lnTo>
                    <a:pt x="69" y="284"/>
                  </a:lnTo>
                  <a:lnTo>
                    <a:pt x="69" y="283"/>
                  </a:lnTo>
                  <a:lnTo>
                    <a:pt x="67" y="279"/>
                  </a:lnTo>
                  <a:lnTo>
                    <a:pt x="67" y="277"/>
                  </a:lnTo>
                  <a:lnTo>
                    <a:pt x="75" y="273"/>
                  </a:lnTo>
                  <a:lnTo>
                    <a:pt x="79" y="271"/>
                  </a:lnTo>
                  <a:lnTo>
                    <a:pt x="84" y="266"/>
                  </a:lnTo>
                  <a:lnTo>
                    <a:pt x="90" y="262"/>
                  </a:lnTo>
                  <a:lnTo>
                    <a:pt x="94" y="262"/>
                  </a:lnTo>
                  <a:lnTo>
                    <a:pt x="94" y="260"/>
                  </a:lnTo>
                  <a:lnTo>
                    <a:pt x="99" y="258"/>
                  </a:lnTo>
                  <a:lnTo>
                    <a:pt x="103" y="258"/>
                  </a:lnTo>
                  <a:lnTo>
                    <a:pt x="109" y="252"/>
                  </a:lnTo>
                  <a:lnTo>
                    <a:pt x="118" y="243"/>
                  </a:lnTo>
                  <a:lnTo>
                    <a:pt x="118" y="241"/>
                  </a:lnTo>
                  <a:lnTo>
                    <a:pt x="118" y="237"/>
                  </a:lnTo>
                  <a:lnTo>
                    <a:pt x="118" y="234"/>
                  </a:lnTo>
                  <a:lnTo>
                    <a:pt x="122" y="230"/>
                  </a:lnTo>
                  <a:lnTo>
                    <a:pt x="124" y="230"/>
                  </a:lnTo>
                  <a:lnTo>
                    <a:pt x="124" y="228"/>
                  </a:lnTo>
                  <a:lnTo>
                    <a:pt x="126" y="222"/>
                  </a:lnTo>
                  <a:lnTo>
                    <a:pt x="130" y="222"/>
                  </a:lnTo>
                  <a:lnTo>
                    <a:pt x="133" y="222"/>
                  </a:lnTo>
                  <a:lnTo>
                    <a:pt x="137" y="219"/>
                  </a:lnTo>
                  <a:lnTo>
                    <a:pt x="137" y="219"/>
                  </a:lnTo>
                  <a:lnTo>
                    <a:pt x="143" y="213"/>
                  </a:lnTo>
                  <a:lnTo>
                    <a:pt x="143" y="209"/>
                  </a:lnTo>
                  <a:lnTo>
                    <a:pt x="147" y="207"/>
                  </a:lnTo>
                  <a:lnTo>
                    <a:pt x="148" y="198"/>
                  </a:lnTo>
                  <a:lnTo>
                    <a:pt x="150" y="192"/>
                  </a:lnTo>
                  <a:lnTo>
                    <a:pt x="154" y="190"/>
                  </a:lnTo>
                  <a:lnTo>
                    <a:pt x="156" y="188"/>
                  </a:lnTo>
                  <a:lnTo>
                    <a:pt x="162" y="185"/>
                  </a:lnTo>
                  <a:lnTo>
                    <a:pt x="163" y="188"/>
                  </a:lnTo>
                  <a:lnTo>
                    <a:pt x="162" y="188"/>
                  </a:lnTo>
                  <a:lnTo>
                    <a:pt x="162" y="192"/>
                  </a:lnTo>
                  <a:lnTo>
                    <a:pt x="163" y="194"/>
                  </a:lnTo>
                  <a:lnTo>
                    <a:pt x="163" y="194"/>
                  </a:lnTo>
                  <a:lnTo>
                    <a:pt x="167" y="192"/>
                  </a:lnTo>
                  <a:lnTo>
                    <a:pt x="167" y="194"/>
                  </a:lnTo>
                  <a:lnTo>
                    <a:pt x="167" y="198"/>
                  </a:lnTo>
                  <a:lnTo>
                    <a:pt x="167" y="198"/>
                  </a:lnTo>
                  <a:lnTo>
                    <a:pt x="167" y="198"/>
                  </a:lnTo>
                  <a:lnTo>
                    <a:pt x="163" y="200"/>
                  </a:lnTo>
                  <a:lnTo>
                    <a:pt x="163" y="202"/>
                  </a:lnTo>
                  <a:lnTo>
                    <a:pt x="167" y="207"/>
                  </a:lnTo>
                  <a:lnTo>
                    <a:pt x="167" y="209"/>
                  </a:lnTo>
                  <a:lnTo>
                    <a:pt x="171" y="205"/>
                  </a:lnTo>
                  <a:lnTo>
                    <a:pt x="173" y="203"/>
                  </a:lnTo>
                  <a:lnTo>
                    <a:pt x="177" y="203"/>
                  </a:lnTo>
                  <a:lnTo>
                    <a:pt x="177" y="203"/>
                  </a:lnTo>
                  <a:lnTo>
                    <a:pt x="177" y="205"/>
                  </a:lnTo>
                  <a:lnTo>
                    <a:pt x="179" y="209"/>
                  </a:lnTo>
                  <a:lnTo>
                    <a:pt x="180" y="205"/>
                  </a:lnTo>
                  <a:lnTo>
                    <a:pt x="180" y="205"/>
                  </a:lnTo>
                  <a:lnTo>
                    <a:pt x="179" y="203"/>
                  </a:lnTo>
                  <a:lnTo>
                    <a:pt x="180" y="200"/>
                  </a:lnTo>
                  <a:lnTo>
                    <a:pt x="184" y="200"/>
                  </a:lnTo>
                  <a:lnTo>
                    <a:pt x="184" y="203"/>
                  </a:lnTo>
                  <a:lnTo>
                    <a:pt x="186" y="203"/>
                  </a:lnTo>
                  <a:lnTo>
                    <a:pt x="182" y="207"/>
                  </a:lnTo>
                  <a:lnTo>
                    <a:pt x="179" y="209"/>
                  </a:lnTo>
                  <a:lnTo>
                    <a:pt x="182" y="209"/>
                  </a:lnTo>
                  <a:lnTo>
                    <a:pt x="184" y="207"/>
                  </a:lnTo>
                  <a:lnTo>
                    <a:pt x="180" y="213"/>
                  </a:lnTo>
                  <a:lnTo>
                    <a:pt x="180" y="213"/>
                  </a:lnTo>
                  <a:lnTo>
                    <a:pt x="179" y="217"/>
                  </a:lnTo>
                  <a:lnTo>
                    <a:pt x="179" y="219"/>
                  </a:lnTo>
                  <a:lnTo>
                    <a:pt x="180" y="222"/>
                  </a:lnTo>
                  <a:lnTo>
                    <a:pt x="180" y="228"/>
                  </a:lnTo>
                  <a:lnTo>
                    <a:pt x="182" y="228"/>
                  </a:lnTo>
                  <a:lnTo>
                    <a:pt x="179" y="228"/>
                  </a:lnTo>
                  <a:lnTo>
                    <a:pt x="171" y="237"/>
                  </a:lnTo>
                  <a:lnTo>
                    <a:pt x="167" y="239"/>
                  </a:lnTo>
                  <a:lnTo>
                    <a:pt x="163" y="247"/>
                  </a:lnTo>
                  <a:lnTo>
                    <a:pt x="163" y="247"/>
                  </a:lnTo>
                  <a:lnTo>
                    <a:pt x="160" y="247"/>
                  </a:lnTo>
                  <a:lnTo>
                    <a:pt x="156" y="252"/>
                  </a:lnTo>
                  <a:lnTo>
                    <a:pt x="156" y="254"/>
                  </a:lnTo>
                  <a:lnTo>
                    <a:pt x="150" y="258"/>
                  </a:lnTo>
                  <a:lnTo>
                    <a:pt x="150" y="262"/>
                  </a:lnTo>
                  <a:lnTo>
                    <a:pt x="147" y="266"/>
                  </a:lnTo>
                  <a:lnTo>
                    <a:pt x="139" y="266"/>
                  </a:lnTo>
                  <a:lnTo>
                    <a:pt x="139" y="268"/>
                  </a:lnTo>
                  <a:lnTo>
                    <a:pt x="137" y="273"/>
                  </a:lnTo>
                  <a:lnTo>
                    <a:pt x="137" y="279"/>
                  </a:lnTo>
                  <a:lnTo>
                    <a:pt x="135" y="279"/>
                  </a:lnTo>
                  <a:lnTo>
                    <a:pt x="139" y="279"/>
                  </a:lnTo>
                  <a:lnTo>
                    <a:pt x="139" y="283"/>
                  </a:lnTo>
                  <a:lnTo>
                    <a:pt x="139" y="286"/>
                  </a:lnTo>
                  <a:lnTo>
                    <a:pt x="137" y="288"/>
                  </a:lnTo>
                  <a:lnTo>
                    <a:pt x="137" y="286"/>
                  </a:lnTo>
                  <a:lnTo>
                    <a:pt x="137" y="283"/>
                  </a:lnTo>
                  <a:lnTo>
                    <a:pt x="135" y="283"/>
                  </a:lnTo>
                  <a:lnTo>
                    <a:pt x="135" y="283"/>
                  </a:lnTo>
                  <a:lnTo>
                    <a:pt x="135" y="286"/>
                  </a:lnTo>
                  <a:lnTo>
                    <a:pt x="133" y="288"/>
                  </a:lnTo>
                  <a:lnTo>
                    <a:pt x="131" y="286"/>
                  </a:lnTo>
                  <a:lnTo>
                    <a:pt x="128" y="286"/>
                  </a:lnTo>
                  <a:lnTo>
                    <a:pt x="130" y="284"/>
                  </a:lnTo>
                  <a:lnTo>
                    <a:pt x="130" y="284"/>
                  </a:lnTo>
                  <a:lnTo>
                    <a:pt x="128" y="283"/>
                  </a:lnTo>
                  <a:lnTo>
                    <a:pt x="126" y="284"/>
                  </a:lnTo>
                  <a:lnTo>
                    <a:pt x="126" y="286"/>
                  </a:lnTo>
                  <a:lnTo>
                    <a:pt x="122" y="286"/>
                  </a:lnTo>
                  <a:lnTo>
                    <a:pt x="122" y="286"/>
                  </a:lnTo>
                  <a:lnTo>
                    <a:pt x="120" y="283"/>
                  </a:lnTo>
                  <a:lnTo>
                    <a:pt x="118" y="283"/>
                  </a:lnTo>
                  <a:lnTo>
                    <a:pt x="118" y="284"/>
                  </a:lnTo>
                  <a:lnTo>
                    <a:pt x="120" y="286"/>
                  </a:lnTo>
                  <a:lnTo>
                    <a:pt x="118" y="292"/>
                  </a:lnTo>
                  <a:lnTo>
                    <a:pt x="115" y="292"/>
                  </a:lnTo>
                  <a:lnTo>
                    <a:pt x="113" y="292"/>
                  </a:lnTo>
                  <a:lnTo>
                    <a:pt x="113" y="294"/>
                  </a:lnTo>
                  <a:lnTo>
                    <a:pt x="109" y="294"/>
                  </a:lnTo>
                  <a:lnTo>
                    <a:pt x="107" y="292"/>
                  </a:lnTo>
                  <a:lnTo>
                    <a:pt x="107" y="296"/>
                  </a:lnTo>
                  <a:lnTo>
                    <a:pt x="103" y="298"/>
                  </a:lnTo>
                  <a:lnTo>
                    <a:pt x="99" y="301"/>
                  </a:lnTo>
                  <a:lnTo>
                    <a:pt x="99" y="305"/>
                  </a:lnTo>
                  <a:lnTo>
                    <a:pt x="98" y="307"/>
                  </a:lnTo>
                  <a:lnTo>
                    <a:pt x="94" y="313"/>
                  </a:lnTo>
                  <a:lnTo>
                    <a:pt x="94" y="317"/>
                  </a:lnTo>
                  <a:lnTo>
                    <a:pt x="94" y="322"/>
                  </a:lnTo>
                  <a:lnTo>
                    <a:pt x="84" y="326"/>
                  </a:lnTo>
                  <a:lnTo>
                    <a:pt x="83" y="330"/>
                  </a:lnTo>
                  <a:lnTo>
                    <a:pt x="81" y="335"/>
                  </a:lnTo>
                  <a:lnTo>
                    <a:pt x="77" y="341"/>
                  </a:lnTo>
                  <a:lnTo>
                    <a:pt x="73" y="343"/>
                  </a:lnTo>
                  <a:lnTo>
                    <a:pt x="73" y="347"/>
                  </a:lnTo>
                  <a:lnTo>
                    <a:pt x="73" y="347"/>
                  </a:lnTo>
                  <a:lnTo>
                    <a:pt x="71" y="347"/>
                  </a:lnTo>
                  <a:lnTo>
                    <a:pt x="75" y="347"/>
                  </a:lnTo>
                  <a:lnTo>
                    <a:pt x="75" y="347"/>
                  </a:lnTo>
                  <a:lnTo>
                    <a:pt x="73" y="349"/>
                  </a:lnTo>
                  <a:lnTo>
                    <a:pt x="67" y="349"/>
                  </a:lnTo>
                  <a:lnTo>
                    <a:pt x="64" y="352"/>
                  </a:lnTo>
                  <a:lnTo>
                    <a:pt x="60" y="354"/>
                  </a:lnTo>
                  <a:lnTo>
                    <a:pt x="60" y="358"/>
                  </a:lnTo>
                  <a:lnTo>
                    <a:pt x="56" y="360"/>
                  </a:lnTo>
                  <a:lnTo>
                    <a:pt x="56" y="358"/>
                  </a:lnTo>
                  <a:lnTo>
                    <a:pt x="54" y="356"/>
                  </a:lnTo>
                  <a:lnTo>
                    <a:pt x="54" y="360"/>
                  </a:lnTo>
                  <a:lnTo>
                    <a:pt x="54" y="362"/>
                  </a:lnTo>
                  <a:lnTo>
                    <a:pt x="51" y="364"/>
                  </a:lnTo>
                  <a:lnTo>
                    <a:pt x="45" y="367"/>
                  </a:lnTo>
                  <a:lnTo>
                    <a:pt x="39" y="371"/>
                  </a:lnTo>
                  <a:lnTo>
                    <a:pt x="35" y="371"/>
                  </a:lnTo>
                  <a:lnTo>
                    <a:pt x="30" y="371"/>
                  </a:lnTo>
                  <a:lnTo>
                    <a:pt x="30" y="367"/>
                  </a:lnTo>
                  <a:lnTo>
                    <a:pt x="26" y="371"/>
                  </a:lnTo>
                  <a:lnTo>
                    <a:pt x="26" y="371"/>
                  </a:lnTo>
                  <a:lnTo>
                    <a:pt x="30" y="367"/>
                  </a:lnTo>
                  <a:lnTo>
                    <a:pt x="26" y="365"/>
                  </a:lnTo>
                  <a:lnTo>
                    <a:pt x="22" y="364"/>
                  </a:lnTo>
                  <a:lnTo>
                    <a:pt x="22" y="360"/>
                  </a:lnTo>
                  <a:lnTo>
                    <a:pt x="20" y="358"/>
                  </a:lnTo>
                  <a:lnTo>
                    <a:pt x="17" y="358"/>
                  </a:lnTo>
                  <a:lnTo>
                    <a:pt x="15" y="356"/>
                  </a:lnTo>
                  <a:lnTo>
                    <a:pt x="17" y="354"/>
                  </a:lnTo>
                  <a:lnTo>
                    <a:pt x="15" y="352"/>
                  </a:lnTo>
                  <a:lnTo>
                    <a:pt x="15" y="352"/>
                  </a:lnTo>
                  <a:lnTo>
                    <a:pt x="11" y="352"/>
                  </a:lnTo>
                  <a:lnTo>
                    <a:pt x="9" y="352"/>
                  </a:lnTo>
                  <a:lnTo>
                    <a:pt x="9" y="352"/>
                  </a:lnTo>
                  <a:lnTo>
                    <a:pt x="9" y="352"/>
                  </a:lnTo>
                  <a:lnTo>
                    <a:pt x="5" y="352"/>
                  </a:lnTo>
                  <a:lnTo>
                    <a:pt x="2" y="352"/>
                  </a:lnTo>
                  <a:lnTo>
                    <a:pt x="2" y="352"/>
                  </a:lnTo>
                  <a:lnTo>
                    <a:pt x="2" y="352"/>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0" name="Freeform 203">
              <a:extLst>
                <a:ext uri="{FF2B5EF4-FFF2-40B4-BE49-F238E27FC236}">
                  <a16:creationId xmlns:a16="http://schemas.microsoft.com/office/drawing/2014/main" id="{3AC47950-EE60-4DB1-A0A5-73F9CDBAE329}"/>
                </a:ext>
              </a:extLst>
            </p:cNvPr>
            <p:cNvSpPr>
              <a:spLocks/>
            </p:cNvSpPr>
            <p:nvPr/>
          </p:nvSpPr>
          <p:spPr bwMode="auto">
            <a:xfrm>
              <a:off x="3971" y="2357"/>
              <a:ext cx="544" cy="609"/>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142655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40" name="Rectangle 3"/>
          <p:cNvSpPr>
            <a:spLocks noGrp="1" noChangeArrowheads="1"/>
          </p:cNvSpPr>
          <p:nvPr>
            <p:ph type="title"/>
          </p:nvPr>
        </p:nvSpPr>
        <p:spPr/>
        <p:txBody>
          <a:bodyPr/>
          <a:lstStyle/>
          <a:p>
            <a:r>
              <a:rPr lang="en-US" dirty="0"/>
              <a:t>World map</a:t>
            </a:r>
          </a:p>
        </p:txBody>
      </p:sp>
      <p:grpSp>
        <p:nvGrpSpPr>
          <p:cNvPr id="5" name="Groupe 223"/>
          <p:cNvGrpSpPr/>
          <p:nvPr/>
        </p:nvGrpSpPr>
        <p:grpSpPr>
          <a:xfrm flipH="1">
            <a:off x="8275741" y="5866740"/>
            <a:ext cx="283724" cy="423238"/>
            <a:chOff x="1804863" y="2923517"/>
            <a:chExt cx="768351" cy="1146176"/>
          </a:xfrm>
          <a:effectLst>
            <a:outerShdw blurRad="76200" dir="13500000" sy="23000" kx="1200000" algn="br" rotWithShape="0">
              <a:prstClr val="black">
                <a:alpha val="20000"/>
              </a:prstClr>
            </a:outerShdw>
          </a:effectLst>
        </p:grpSpPr>
        <p:sp>
          <p:nvSpPr>
            <p:cNvPr id="222" name="Forme libre 221"/>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chemeClr val="accent3">
                    <a:lumMod val="75000"/>
                  </a:schemeClr>
                </a:gs>
                <a:gs pos="100000">
                  <a:schemeClr val="accent3"/>
                </a:gs>
                <a:gs pos="31000">
                  <a:schemeClr val="accent3"/>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23" name="Ellipse 222"/>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6" name="Groupe 224"/>
          <p:cNvGrpSpPr/>
          <p:nvPr/>
        </p:nvGrpSpPr>
        <p:grpSpPr>
          <a:xfrm flipH="1">
            <a:off x="7695336" y="5866740"/>
            <a:ext cx="283724" cy="423238"/>
            <a:chOff x="1804863" y="2923517"/>
            <a:chExt cx="768351" cy="1146176"/>
          </a:xfrm>
          <a:effectLst>
            <a:outerShdw blurRad="76200" dir="13500000" sy="23000" kx="1200000" algn="br" rotWithShape="0">
              <a:prstClr val="black">
                <a:alpha val="20000"/>
              </a:prstClr>
            </a:outerShdw>
          </a:effectLst>
        </p:grpSpPr>
        <p:sp>
          <p:nvSpPr>
            <p:cNvPr id="226" name="Forme libre 225"/>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chemeClr val="accent4">
                    <a:lumMod val="75000"/>
                  </a:schemeClr>
                </a:gs>
                <a:gs pos="100000">
                  <a:schemeClr val="accent4"/>
                </a:gs>
                <a:gs pos="31000">
                  <a:schemeClr val="accent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27" name="Ellipse 226"/>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7" name="Groupe 227"/>
          <p:cNvGrpSpPr/>
          <p:nvPr/>
        </p:nvGrpSpPr>
        <p:grpSpPr>
          <a:xfrm flipH="1">
            <a:off x="7114936" y="5866740"/>
            <a:ext cx="283724" cy="423238"/>
            <a:chOff x="1804863" y="2923517"/>
            <a:chExt cx="768351" cy="1146176"/>
          </a:xfrm>
          <a:effectLst>
            <a:outerShdw blurRad="76200" dir="13500000" sy="23000" kx="1200000" algn="br" rotWithShape="0">
              <a:prstClr val="black">
                <a:alpha val="20000"/>
              </a:prstClr>
            </a:outerShdw>
          </a:effectLst>
        </p:grpSpPr>
        <p:sp>
          <p:nvSpPr>
            <p:cNvPr id="229" name="Forme libre 228"/>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chemeClr val="accent2"/>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30" name="Ellipse 229"/>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8" name="Groupe 230"/>
          <p:cNvGrpSpPr/>
          <p:nvPr/>
        </p:nvGrpSpPr>
        <p:grpSpPr>
          <a:xfrm flipH="1">
            <a:off x="6534536" y="5866740"/>
            <a:ext cx="283724" cy="423238"/>
            <a:chOff x="1804863" y="2923517"/>
            <a:chExt cx="768351" cy="1146176"/>
          </a:xfrm>
          <a:effectLst>
            <a:outerShdw blurRad="76200" dir="13500000" sy="23000" kx="1200000" algn="br" rotWithShape="0">
              <a:prstClr val="black">
                <a:alpha val="20000"/>
              </a:prstClr>
            </a:outerShdw>
          </a:effectLst>
        </p:grpSpPr>
        <p:sp>
          <p:nvSpPr>
            <p:cNvPr id="232" name="Forme libre 231"/>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chemeClr val="accent1">
                    <a:lumMod val="75000"/>
                  </a:schemeClr>
                </a:gs>
                <a:gs pos="100000">
                  <a:schemeClr val="accent1"/>
                </a:gs>
                <a:gs pos="31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33" name="Ellipse 232"/>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9" name="Groupe 233"/>
          <p:cNvGrpSpPr/>
          <p:nvPr/>
        </p:nvGrpSpPr>
        <p:grpSpPr>
          <a:xfrm flipH="1">
            <a:off x="5954136" y="5866740"/>
            <a:ext cx="283724" cy="423238"/>
            <a:chOff x="1804863" y="2923517"/>
            <a:chExt cx="768351" cy="1146176"/>
          </a:xfrm>
          <a:effectLst>
            <a:outerShdw blurRad="76200" dir="13500000" sy="23000" kx="1200000" algn="br" rotWithShape="0">
              <a:prstClr val="black">
                <a:alpha val="20000"/>
              </a:prstClr>
            </a:outerShdw>
          </a:effectLst>
        </p:grpSpPr>
        <p:sp>
          <p:nvSpPr>
            <p:cNvPr id="235" name="Forme libre 234"/>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chemeClr val="accent5">
                    <a:lumMod val="75000"/>
                  </a:schemeClr>
                </a:gs>
                <a:gs pos="100000">
                  <a:schemeClr val="accent5"/>
                </a:gs>
                <a:gs pos="31000">
                  <a:schemeClr val="accent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36" name="Ellipse 235"/>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10" name="Groupe 236"/>
          <p:cNvGrpSpPr/>
          <p:nvPr/>
        </p:nvGrpSpPr>
        <p:grpSpPr>
          <a:xfrm flipH="1">
            <a:off x="5373736" y="5866740"/>
            <a:ext cx="283724" cy="423238"/>
            <a:chOff x="1804863" y="2923517"/>
            <a:chExt cx="768351" cy="1146176"/>
          </a:xfrm>
          <a:effectLst>
            <a:outerShdw blurRad="76200" dir="13500000" sy="23000" kx="1200000" algn="br" rotWithShape="0">
              <a:prstClr val="black">
                <a:alpha val="20000"/>
              </a:prstClr>
            </a:outerShdw>
          </a:effectLst>
        </p:grpSpPr>
        <p:sp>
          <p:nvSpPr>
            <p:cNvPr id="238" name="Forme libre 237"/>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chemeClr val="accent6">
                    <a:lumMod val="75000"/>
                  </a:schemeClr>
                </a:gs>
                <a:gs pos="100000">
                  <a:schemeClr val="accent6"/>
                </a:gs>
                <a:gs pos="31000">
                  <a:schemeClr val="accent6"/>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39" name="Ellipse 238"/>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11" name="Groupe 239"/>
          <p:cNvGrpSpPr/>
          <p:nvPr/>
        </p:nvGrpSpPr>
        <p:grpSpPr>
          <a:xfrm flipH="1">
            <a:off x="4793336" y="5866740"/>
            <a:ext cx="283724" cy="423238"/>
            <a:chOff x="1804863" y="2923517"/>
            <a:chExt cx="768351" cy="1146176"/>
          </a:xfrm>
          <a:effectLst>
            <a:outerShdw blurRad="76200" dir="13500000" sy="23000" kx="1200000" algn="br" rotWithShape="0">
              <a:prstClr val="black">
                <a:alpha val="20000"/>
              </a:prstClr>
            </a:outerShdw>
          </a:effectLst>
        </p:grpSpPr>
        <p:sp>
          <p:nvSpPr>
            <p:cNvPr id="241" name="Forme libre 240"/>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chemeClr val="tx2">
                    <a:lumMod val="75000"/>
                  </a:schemeClr>
                </a:gs>
                <a:gs pos="100000">
                  <a:schemeClr val="tx2"/>
                </a:gs>
                <a:gs pos="31000">
                  <a:schemeClr val="tx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42" name="Ellipse 241"/>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12" name="Groupe 242"/>
          <p:cNvGrpSpPr/>
          <p:nvPr/>
        </p:nvGrpSpPr>
        <p:grpSpPr>
          <a:xfrm flipH="1">
            <a:off x="4212936" y="5866740"/>
            <a:ext cx="283724" cy="423238"/>
            <a:chOff x="1804863" y="2923517"/>
            <a:chExt cx="768351" cy="1146176"/>
          </a:xfrm>
          <a:effectLst>
            <a:outerShdw blurRad="76200" dir="13500000" sy="23000" kx="1200000" algn="br" rotWithShape="0">
              <a:prstClr val="black">
                <a:alpha val="20000"/>
              </a:prstClr>
            </a:outerShdw>
          </a:effectLst>
        </p:grpSpPr>
        <p:sp>
          <p:nvSpPr>
            <p:cNvPr id="244" name="Forme libre 243"/>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rgbClr val="79A38C"/>
                </a:gs>
                <a:gs pos="100000">
                  <a:srgbClr val="A2BFAF"/>
                </a:gs>
                <a:gs pos="31000">
                  <a:srgbClr val="A2BFA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45" name="Ellipse 244"/>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13" name="Groupe 245"/>
          <p:cNvGrpSpPr/>
          <p:nvPr/>
        </p:nvGrpSpPr>
        <p:grpSpPr>
          <a:xfrm flipH="1">
            <a:off x="3480136" y="5866740"/>
            <a:ext cx="283724" cy="423238"/>
            <a:chOff x="1804863" y="2923517"/>
            <a:chExt cx="768351" cy="1146176"/>
          </a:xfrm>
          <a:effectLst>
            <a:outerShdw blurRad="76200" dir="13500000" sy="23000" kx="1200000" algn="br" rotWithShape="0">
              <a:prstClr val="black">
                <a:alpha val="20000"/>
              </a:prstClr>
            </a:outerShdw>
          </a:effectLst>
        </p:grpSpPr>
        <p:sp>
          <p:nvSpPr>
            <p:cNvPr id="247" name="Forme libre 246"/>
            <p:cNvSpPr/>
            <p:nvPr/>
          </p:nvSpPr>
          <p:spPr>
            <a:xfrm>
              <a:off x="1804863" y="2923517"/>
              <a:ext cx="768351" cy="1146176"/>
            </a:xfrm>
            <a:custGeom>
              <a:avLst/>
              <a:gdLst>
                <a:gd name="connsiteX0" fmla="*/ 0 w 768350"/>
                <a:gd name="connsiteY0" fmla="*/ 384175 h 768350"/>
                <a:gd name="connsiteX1" fmla="*/ 112523 w 768350"/>
                <a:gd name="connsiteY1" fmla="*/ 112522 h 768350"/>
                <a:gd name="connsiteX2" fmla="*/ 384176 w 768350"/>
                <a:gd name="connsiteY2" fmla="*/ 0 h 768350"/>
                <a:gd name="connsiteX3" fmla="*/ 655829 w 768350"/>
                <a:gd name="connsiteY3" fmla="*/ 112523 h 768350"/>
                <a:gd name="connsiteX4" fmla="*/ 768351 w 768350"/>
                <a:gd name="connsiteY4" fmla="*/ 384176 h 768350"/>
                <a:gd name="connsiteX5" fmla="*/ 655829 w 768350"/>
                <a:gd name="connsiteY5" fmla="*/ 655829 h 768350"/>
                <a:gd name="connsiteX6" fmla="*/ 384176 w 768350"/>
                <a:gd name="connsiteY6" fmla="*/ 768351 h 768350"/>
                <a:gd name="connsiteX7" fmla="*/ 112523 w 768350"/>
                <a:gd name="connsiteY7" fmla="*/ 655829 h 768350"/>
                <a:gd name="connsiteX8" fmla="*/ 1 w 768350"/>
                <a:gd name="connsiteY8" fmla="*/ 384176 h 768350"/>
                <a:gd name="connsiteX9" fmla="*/ 0 w 768350"/>
                <a:gd name="connsiteY9" fmla="*/ 384175 h 768350"/>
                <a:gd name="connsiteX0" fmla="*/ 0 w 768351"/>
                <a:gd name="connsiteY0" fmla="*/ 384175 h 784039"/>
                <a:gd name="connsiteX1" fmla="*/ 112523 w 768351"/>
                <a:gd name="connsiteY1" fmla="*/ 112522 h 784039"/>
                <a:gd name="connsiteX2" fmla="*/ 384176 w 768351"/>
                <a:gd name="connsiteY2" fmla="*/ 0 h 784039"/>
                <a:gd name="connsiteX3" fmla="*/ 655829 w 768351"/>
                <a:gd name="connsiteY3" fmla="*/ 112523 h 784039"/>
                <a:gd name="connsiteX4" fmla="*/ 768351 w 768351"/>
                <a:gd name="connsiteY4" fmla="*/ 384176 h 784039"/>
                <a:gd name="connsiteX5" fmla="*/ 655829 w 768351"/>
                <a:gd name="connsiteY5" fmla="*/ 655829 h 784039"/>
                <a:gd name="connsiteX6" fmla="*/ 493837 w 768351"/>
                <a:gd name="connsiteY6" fmla="*/ 749959 h 784039"/>
                <a:gd name="connsiteX7" fmla="*/ 384176 w 768351"/>
                <a:gd name="connsiteY7" fmla="*/ 768351 h 784039"/>
                <a:gd name="connsiteX8" fmla="*/ 112523 w 768351"/>
                <a:gd name="connsiteY8" fmla="*/ 655829 h 784039"/>
                <a:gd name="connsiteX9" fmla="*/ 1 w 768351"/>
                <a:gd name="connsiteY9" fmla="*/ 384176 h 784039"/>
                <a:gd name="connsiteX10" fmla="*/ 0 w 768351"/>
                <a:gd name="connsiteY10" fmla="*/ 384175 h 784039"/>
                <a:gd name="connsiteX0" fmla="*/ 0 w 768351"/>
                <a:gd name="connsiteY0" fmla="*/ 384175 h 770468"/>
                <a:gd name="connsiteX1" fmla="*/ 112523 w 768351"/>
                <a:gd name="connsiteY1" fmla="*/ 112522 h 770468"/>
                <a:gd name="connsiteX2" fmla="*/ 384176 w 768351"/>
                <a:gd name="connsiteY2" fmla="*/ 0 h 770468"/>
                <a:gd name="connsiteX3" fmla="*/ 655829 w 768351"/>
                <a:gd name="connsiteY3" fmla="*/ 112523 h 770468"/>
                <a:gd name="connsiteX4" fmla="*/ 768351 w 768351"/>
                <a:gd name="connsiteY4" fmla="*/ 384176 h 770468"/>
                <a:gd name="connsiteX5" fmla="*/ 655829 w 768351"/>
                <a:gd name="connsiteY5" fmla="*/ 655829 h 770468"/>
                <a:gd name="connsiteX6" fmla="*/ 493837 w 768351"/>
                <a:gd name="connsiteY6" fmla="*/ 749959 h 770468"/>
                <a:gd name="connsiteX7" fmla="*/ 384176 w 768351"/>
                <a:gd name="connsiteY7" fmla="*/ 768351 h 770468"/>
                <a:gd name="connsiteX8" fmla="*/ 258887 w 768351"/>
                <a:gd name="connsiteY8" fmla="*/ 737259 h 770468"/>
                <a:gd name="connsiteX9" fmla="*/ 112523 w 768351"/>
                <a:gd name="connsiteY9" fmla="*/ 655829 h 770468"/>
                <a:gd name="connsiteX10" fmla="*/ 1 w 768351"/>
                <a:gd name="connsiteY10" fmla="*/ 384176 h 770468"/>
                <a:gd name="connsiteX11" fmla="*/ 0 w 768351"/>
                <a:gd name="connsiteY11" fmla="*/ 384175 h 770468"/>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8292"/>
                <a:gd name="connsiteX1" fmla="*/ 112523 w 768351"/>
                <a:gd name="connsiteY1" fmla="*/ 112522 h 1148292"/>
                <a:gd name="connsiteX2" fmla="*/ 384176 w 768351"/>
                <a:gd name="connsiteY2" fmla="*/ 0 h 1148292"/>
                <a:gd name="connsiteX3" fmla="*/ 655829 w 768351"/>
                <a:gd name="connsiteY3" fmla="*/ 112523 h 1148292"/>
                <a:gd name="connsiteX4" fmla="*/ 768351 w 768351"/>
                <a:gd name="connsiteY4" fmla="*/ 384176 h 1148292"/>
                <a:gd name="connsiteX5" fmla="*/ 655829 w 768351"/>
                <a:gd name="connsiteY5" fmla="*/ 655829 h 1148292"/>
                <a:gd name="connsiteX6" fmla="*/ 493837 w 768351"/>
                <a:gd name="connsiteY6" fmla="*/ 749959 h 1148292"/>
                <a:gd name="connsiteX7" fmla="*/ 384175 w 768351"/>
                <a:gd name="connsiteY7" fmla="*/ 1146175 h 1148292"/>
                <a:gd name="connsiteX8" fmla="*/ 258887 w 768351"/>
                <a:gd name="connsiteY8" fmla="*/ 737259 h 1148292"/>
                <a:gd name="connsiteX9" fmla="*/ 112523 w 768351"/>
                <a:gd name="connsiteY9" fmla="*/ 655829 h 1148292"/>
                <a:gd name="connsiteX10" fmla="*/ 1 w 768351"/>
                <a:gd name="connsiteY10" fmla="*/ 384176 h 1148292"/>
                <a:gd name="connsiteX11" fmla="*/ 0 w 768351"/>
                <a:gd name="connsiteY11" fmla="*/ 384175 h 1148292"/>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12523 w 768351"/>
                <a:gd name="connsiteY9" fmla="*/ 655829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 name="connsiteX0" fmla="*/ 0 w 768351"/>
                <a:gd name="connsiteY0" fmla="*/ 384175 h 1146175"/>
                <a:gd name="connsiteX1" fmla="*/ 112523 w 768351"/>
                <a:gd name="connsiteY1" fmla="*/ 112522 h 1146175"/>
                <a:gd name="connsiteX2" fmla="*/ 384176 w 768351"/>
                <a:gd name="connsiteY2" fmla="*/ 0 h 1146175"/>
                <a:gd name="connsiteX3" fmla="*/ 655829 w 768351"/>
                <a:gd name="connsiteY3" fmla="*/ 112523 h 1146175"/>
                <a:gd name="connsiteX4" fmla="*/ 768351 w 768351"/>
                <a:gd name="connsiteY4" fmla="*/ 384176 h 1146175"/>
                <a:gd name="connsiteX5" fmla="*/ 655829 w 768351"/>
                <a:gd name="connsiteY5" fmla="*/ 655829 h 1146175"/>
                <a:gd name="connsiteX6" fmla="*/ 493837 w 768351"/>
                <a:gd name="connsiteY6" fmla="*/ 749959 h 1146175"/>
                <a:gd name="connsiteX7" fmla="*/ 384175 w 768351"/>
                <a:gd name="connsiteY7" fmla="*/ 1146175 h 1146175"/>
                <a:gd name="connsiteX8" fmla="*/ 258887 w 768351"/>
                <a:gd name="connsiteY8" fmla="*/ 737259 h 1146175"/>
                <a:gd name="connsiteX9" fmla="*/ 100616 w 768351"/>
                <a:gd name="connsiteY9" fmla="*/ 628651 h 1146175"/>
                <a:gd name="connsiteX10" fmla="*/ 1 w 768351"/>
                <a:gd name="connsiteY10" fmla="*/ 384176 h 1146175"/>
                <a:gd name="connsiteX11" fmla="*/ 0 w 768351"/>
                <a:gd name="connsiteY11" fmla="*/ 384175 h 114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351" h="1146175">
                  <a:moveTo>
                    <a:pt x="0" y="384175"/>
                  </a:moveTo>
                  <a:cubicBezTo>
                    <a:pt x="0" y="282285"/>
                    <a:pt x="40476" y="184569"/>
                    <a:pt x="112523" y="112522"/>
                  </a:cubicBezTo>
                  <a:cubicBezTo>
                    <a:pt x="184570" y="40475"/>
                    <a:pt x="282286" y="0"/>
                    <a:pt x="384176" y="0"/>
                  </a:cubicBezTo>
                  <a:cubicBezTo>
                    <a:pt x="486066" y="0"/>
                    <a:pt x="583782" y="40476"/>
                    <a:pt x="655829" y="112523"/>
                  </a:cubicBezTo>
                  <a:cubicBezTo>
                    <a:pt x="727876" y="184570"/>
                    <a:pt x="768351" y="282286"/>
                    <a:pt x="768351" y="384176"/>
                  </a:cubicBezTo>
                  <a:cubicBezTo>
                    <a:pt x="768351" y="486066"/>
                    <a:pt x="723137" y="595524"/>
                    <a:pt x="655829" y="655829"/>
                  </a:cubicBezTo>
                  <a:cubicBezTo>
                    <a:pt x="587977" y="711895"/>
                    <a:pt x="552560" y="722988"/>
                    <a:pt x="493837" y="749959"/>
                  </a:cubicBezTo>
                  <a:cubicBezTo>
                    <a:pt x="445510" y="949817"/>
                    <a:pt x="436281" y="965460"/>
                    <a:pt x="384175" y="1146175"/>
                  </a:cubicBezTo>
                  <a:cubicBezTo>
                    <a:pt x="340379" y="989142"/>
                    <a:pt x="306667" y="881554"/>
                    <a:pt x="258887" y="737259"/>
                  </a:cubicBezTo>
                  <a:cubicBezTo>
                    <a:pt x="183699" y="697993"/>
                    <a:pt x="150114" y="673869"/>
                    <a:pt x="100616" y="628651"/>
                  </a:cubicBezTo>
                  <a:cubicBezTo>
                    <a:pt x="57468" y="569804"/>
                    <a:pt x="1" y="486066"/>
                    <a:pt x="1" y="384176"/>
                  </a:cubicBezTo>
                  <a:lnTo>
                    <a:pt x="0" y="384175"/>
                  </a:lnTo>
                  <a:close/>
                </a:path>
              </a:pathLst>
            </a:custGeom>
            <a:gradFill flip="none" rotWithShape="1">
              <a:gsLst>
                <a:gs pos="16000">
                  <a:srgbClr val="3E4107"/>
                </a:gs>
                <a:gs pos="100000">
                  <a:srgbClr val="5C5F0B"/>
                </a:gs>
                <a:gs pos="31000">
                  <a:srgbClr val="5C5F0B"/>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sp>
          <p:nvSpPr>
            <p:cNvPr id="248" name="Ellipse 247"/>
            <p:cNvSpPr/>
            <p:nvPr/>
          </p:nvSpPr>
          <p:spPr>
            <a:xfrm>
              <a:off x="1896564" y="3010296"/>
              <a:ext cx="584948" cy="584952"/>
            </a:xfrm>
            <a:prstGeom prst="ellipse">
              <a:avLst/>
            </a:prstGeom>
            <a:gradFill flip="none" rotWithShape="1">
              <a:gsLst>
                <a:gs pos="0">
                  <a:schemeClr val="tx2">
                    <a:lumMod val="40000"/>
                    <a:lumOff val="60000"/>
                  </a:schemeClr>
                </a:gs>
                <a:gs pos="50000">
                  <a:schemeClr val="tx2">
                    <a:lumMod val="20000"/>
                    <a:lumOff val="80000"/>
                  </a:schemeClr>
                </a:gs>
                <a:gs pos="100000">
                  <a:schemeClr val="bg1"/>
                </a:gs>
              </a:gsLst>
              <a:lin ang="13500000" scaled="1"/>
              <a:tileRect/>
            </a:gradFill>
            <a:ln>
              <a:noFill/>
            </a:ln>
            <a:effectLst>
              <a:innerShdw blurRad="63500" dir="8940000">
                <a:prstClr val="black">
                  <a:alpha val="24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2">
                    <a:lumMod val="50000"/>
                  </a:schemeClr>
                </a:solidFill>
              </a:endParaRPr>
            </a:p>
          </p:txBody>
        </p:sp>
      </p:grpSp>
      <p:grpSp>
        <p:nvGrpSpPr>
          <p:cNvPr id="464" name="Groupe 463"/>
          <p:cNvGrpSpPr/>
          <p:nvPr/>
        </p:nvGrpSpPr>
        <p:grpSpPr>
          <a:xfrm>
            <a:off x="1383723" y="484840"/>
            <a:ext cx="9140825" cy="5238750"/>
            <a:chOff x="-3175" y="811213"/>
            <a:chExt cx="9140825" cy="5238750"/>
          </a:xfrm>
        </p:grpSpPr>
        <p:grpSp>
          <p:nvGrpSpPr>
            <p:cNvPr id="465" name="Groupe 209"/>
            <p:cNvGrpSpPr/>
            <p:nvPr/>
          </p:nvGrpSpPr>
          <p:grpSpPr>
            <a:xfrm>
              <a:off x="4008438" y="3248343"/>
              <a:ext cx="1930400" cy="2001521"/>
              <a:chOff x="4008438" y="3248343"/>
              <a:chExt cx="1930400" cy="2001521"/>
            </a:xfrm>
          </p:grpSpPr>
          <p:grpSp>
            <p:nvGrpSpPr>
              <p:cNvPr id="668" name="Groupe 208"/>
              <p:cNvGrpSpPr/>
              <p:nvPr/>
            </p:nvGrpSpPr>
            <p:grpSpPr>
              <a:xfrm>
                <a:off x="4008438" y="3248343"/>
                <a:ext cx="423863" cy="429896"/>
                <a:chOff x="4008438" y="3248343"/>
                <a:chExt cx="423863" cy="429896"/>
              </a:xfrm>
            </p:grpSpPr>
            <p:sp>
              <p:nvSpPr>
                <p:cNvPr id="671" name="Freeform 31"/>
                <p:cNvSpPr>
                  <a:spLocks/>
                </p:cNvSpPr>
                <p:nvPr/>
              </p:nvSpPr>
              <p:spPr bwMode="auto">
                <a:xfrm>
                  <a:off x="4132263" y="324834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lnTo>
                        <a:pt x="62" y="163"/>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2" name="Freeform 35"/>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 ang="0">
                      <a:pos x="78" y="0"/>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lnTo>
                        <a:pt x="78" y="0"/>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69" name="Freeform 37"/>
              <p:cNvSpPr>
                <a:spLocks/>
              </p:cNvSpPr>
              <p:nvPr/>
            </p:nvSpPr>
            <p:spPr bwMode="auto">
              <a:xfrm>
                <a:off x="5375275" y="3352801"/>
                <a:ext cx="563563" cy="471488"/>
              </a:xfrm>
              <a:custGeom>
                <a:avLst/>
                <a:gdLst/>
                <a:ahLst/>
                <a:cxnLst>
                  <a:cxn ang="0">
                    <a:pos x="216" y="63"/>
                  </a:cxn>
                  <a:cxn ang="0">
                    <a:pos x="86" y="4"/>
                  </a:cxn>
                  <a:cxn ang="0">
                    <a:pos x="39" y="14"/>
                  </a:cxn>
                  <a:cxn ang="0">
                    <a:pos x="51" y="49"/>
                  </a:cxn>
                  <a:cxn ang="0">
                    <a:pos x="7" y="57"/>
                  </a:cxn>
                  <a:cxn ang="0">
                    <a:pos x="0" y="71"/>
                  </a:cxn>
                  <a:cxn ang="0">
                    <a:pos x="2" y="77"/>
                  </a:cxn>
                  <a:cxn ang="0">
                    <a:pos x="9" y="78"/>
                  </a:cxn>
                  <a:cxn ang="0">
                    <a:pos x="16" y="91"/>
                  </a:cxn>
                  <a:cxn ang="0">
                    <a:pos x="23" y="97"/>
                  </a:cxn>
                  <a:cxn ang="0">
                    <a:pos x="30" y="110"/>
                  </a:cxn>
                  <a:cxn ang="0">
                    <a:pos x="33" y="117"/>
                  </a:cxn>
                  <a:cxn ang="0">
                    <a:pos x="44" y="129"/>
                  </a:cxn>
                  <a:cxn ang="0">
                    <a:pos x="46" y="139"/>
                  </a:cxn>
                  <a:cxn ang="0">
                    <a:pos x="51" y="148"/>
                  </a:cxn>
                  <a:cxn ang="0">
                    <a:pos x="58" y="148"/>
                  </a:cxn>
                  <a:cxn ang="0">
                    <a:pos x="70" y="158"/>
                  </a:cxn>
                  <a:cxn ang="0">
                    <a:pos x="73" y="165"/>
                  </a:cxn>
                  <a:cxn ang="0">
                    <a:pos x="79" y="179"/>
                  </a:cxn>
                  <a:cxn ang="0">
                    <a:pos x="75" y="188"/>
                  </a:cxn>
                  <a:cxn ang="0">
                    <a:pos x="80" y="204"/>
                  </a:cxn>
                  <a:cxn ang="0">
                    <a:pos x="93" y="217"/>
                  </a:cxn>
                  <a:cxn ang="0">
                    <a:pos x="101" y="223"/>
                  </a:cxn>
                  <a:cxn ang="0">
                    <a:pos x="110" y="230"/>
                  </a:cxn>
                  <a:cxn ang="0">
                    <a:pos x="113" y="233"/>
                  </a:cxn>
                  <a:cxn ang="0">
                    <a:pos x="120" y="254"/>
                  </a:cxn>
                  <a:cxn ang="0">
                    <a:pos x="138" y="275"/>
                  </a:cxn>
                  <a:cxn ang="0">
                    <a:pos x="150" y="284"/>
                  </a:cxn>
                  <a:cxn ang="0">
                    <a:pos x="157" y="280"/>
                  </a:cxn>
                  <a:cxn ang="0">
                    <a:pos x="162" y="264"/>
                  </a:cxn>
                  <a:cxn ang="0">
                    <a:pos x="192" y="275"/>
                  </a:cxn>
                  <a:cxn ang="0">
                    <a:pos x="238" y="256"/>
                  </a:cxn>
                  <a:cxn ang="0">
                    <a:pos x="351" y="171"/>
                  </a:cxn>
                  <a:cxn ang="0">
                    <a:pos x="294" y="171"/>
                  </a:cxn>
                  <a:cxn ang="0">
                    <a:pos x="287" y="144"/>
                  </a:cxn>
                  <a:cxn ang="0">
                    <a:pos x="284" y="143"/>
                  </a:cxn>
                  <a:cxn ang="0">
                    <a:pos x="284" y="139"/>
                  </a:cxn>
                  <a:cxn ang="0">
                    <a:pos x="275" y="136"/>
                  </a:cxn>
                  <a:cxn ang="0">
                    <a:pos x="270" y="131"/>
                  </a:cxn>
                  <a:cxn ang="0">
                    <a:pos x="259" y="111"/>
                  </a:cxn>
                  <a:cxn ang="0">
                    <a:pos x="258" y="103"/>
                  </a:cxn>
                  <a:cxn ang="0">
                    <a:pos x="252" y="97"/>
                  </a:cxn>
                  <a:cxn ang="0">
                    <a:pos x="244" y="85"/>
                  </a:cxn>
                  <a:cxn ang="0">
                    <a:pos x="247" y="85"/>
                  </a:cxn>
                  <a:cxn ang="0">
                    <a:pos x="237" y="82"/>
                  </a:cxn>
                  <a:cxn ang="0">
                    <a:pos x="230" y="68"/>
                  </a:cxn>
                  <a:cxn ang="0">
                    <a:pos x="228" y="64"/>
                  </a:cxn>
                </a:cxnLst>
                <a:rect l="0" t="0" r="r" b="b"/>
                <a:pathLst>
                  <a:path w="355" h="297">
                    <a:moveTo>
                      <a:pt x="228" y="64"/>
                    </a:moveTo>
                    <a:lnTo>
                      <a:pt x="216" y="68"/>
                    </a:lnTo>
                    <a:lnTo>
                      <a:pt x="216" y="63"/>
                    </a:lnTo>
                    <a:lnTo>
                      <a:pt x="200" y="57"/>
                    </a:lnTo>
                    <a:lnTo>
                      <a:pt x="166" y="56"/>
                    </a:lnTo>
                    <a:lnTo>
                      <a:pt x="86" y="4"/>
                    </a:lnTo>
                    <a:lnTo>
                      <a:pt x="70" y="0"/>
                    </a:lnTo>
                    <a:lnTo>
                      <a:pt x="63" y="5"/>
                    </a:lnTo>
                    <a:lnTo>
                      <a:pt x="39" y="14"/>
                    </a:lnTo>
                    <a:lnTo>
                      <a:pt x="58" y="35"/>
                    </a:lnTo>
                    <a:lnTo>
                      <a:pt x="51" y="44"/>
                    </a:lnTo>
                    <a:lnTo>
                      <a:pt x="51" y="49"/>
                    </a:lnTo>
                    <a:lnTo>
                      <a:pt x="37" y="49"/>
                    </a:lnTo>
                    <a:lnTo>
                      <a:pt x="25" y="63"/>
                    </a:lnTo>
                    <a:lnTo>
                      <a:pt x="7" y="57"/>
                    </a:lnTo>
                    <a:lnTo>
                      <a:pt x="0" y="57"/>
                    </a:lnTo>
                    <a:lnTo>
                      <a:pt x="0" y="64"/>
                    </a:lnTo>
                    <a:lnTo>
                      <a:pt x="0" y="71"/>
                    </a:lnTo>
                    <a:lnTo>
                      <a:pt x="0" y="75"/>
                    </a:lnTo>
                    <a:lnTo>
                      <a:pt x="0" y="77"/>
                    </a:lnTo>
                    <a:lnTo>
                      <a:pt x="2" y="77"/>
                    </a:lnTo>
                    <a:lnTo>
                      <a:pt x="2" y="78"/>
                    </a:lnTo>
                    <a:lnTo>
                      <a:pt x="6" y="77"/>
                    </a:lnTo>
                    <a:lnTo>
                      <a:pt x="9" y="78"/>
                    </a:lnTo>
                    <a:lnTo>
                      <a:pt x="9" y="78"/>
                    </a:lnTo>
                    <a:lnTo>
                      <a:pt x="16" y="89"/>
                    </a:lnTo>
                    <a:lnTo>
                      <a:pt x="16" y="91"/>
                    </a:lnTo>
                    <a:lnTo>
                      <a:pt x="20" y="91"/>
                    </a:lnTo>
                    <a:lnTo>
                      <a:pt x="20" y="94"/>
                    </a:lnTo>
                    <a:lnTo>
                      <a:pt x="23" y="97"/>
                    </a:lnTo>
                    <a:lnTo>
                      <a:pt x="25" y="97"/>
                    </a:lnTo>
                    <a:lnTo>
                      <a:pt x="28" y="108"/>
                    </a:lnTo>
                    <a:lnTo>
                      <a:pt x="30" y="110"/>
                    </a:lnTo>
                    <a:lnTo>
                      <a:pt x="30" y="113"/>
                    </a:lnTo>
                    <a:lnTo>
                      <a:pt x="33" y="113"/>
                    </a:lnTo>
                    <a:lnTo>
                      <a:pt x="33" y="117"/>
                    </a:lnTo>
                    <a:lnTo>
                      <a:pt x="37" y="120"/>
                    </a:lnTo>
                    <a:lnTo>
                      <a:pt x="40" y="120"/>
                    </a:lnTo>
                    <a:lnTo>
                      <a:pt x="44" y="129"/>
                    </a:lnTo>
                    <a:lnTo>
                      <a:pt x="46" y="132"/>
                    </a:lnTo>
                    <a:lnTo>
                      <a:pt x="47" y="137"/>
                    </a:lnTo>
                    <a:lnTo>
                      <a:pt x="46" y="139"/>
                    </a:lnTo>
                    <a:lnTo>
                      <a:pt x="46" y="143"/>
                    </a:lnTo>
                    <a:lnTo>
                      <a:pt x="47" y="143"/>
                    </a:lnTo>
                    <a:lnTo>
                      <a:pt x="51" y="148"/>
                    </a:lnTo>
                    <a:lnTo>
                      <a:pt x="51" y="148"/>
                    </a:lnTo>
                    <a:lnTo>
                      <a:pt x="54" y="144"/>
                    </a:lnTo>
                    <a:lnTo>
                      <a:pt x="58" y="148"/>
                    </a:lnTo>
                    <a:lnTo>
                      <a:pt x="63" y="150"/>
                    </a:lnTo>
                    <a:lnTo>
                      <a:pt x="68" y="155"/>
                    </a:lnTo>
                    <a:lnTo>
                      <a:pt x="70" y="158"/>
                    </a:lnTo>
                    <a:lnTo>
                      <a:pt x="70" y="160"/>
                    </a:lnTo>
                    <a:lnTo>
                      <a:pt x="70" y="162"/>
                    </a:lnTo>
                    <a:lnTo>
                      <a:pt x="73" y="165"/>
                    </a:lnTo>
                    <a:lnTo>
                      <a:pt x="75" y="171"/>
                    </a:lnTo>
                    <a:lnTo>
                      <a:pt x="79" y="172"/>
                    </a:lnTo>
                    <a:lnTo>
                      <a:pt x="79" y="179"/>
                    </a:lnTo>
                    <a:lnTo>
                      <a:pt x="79" y="181"/>
                    </a:lnTo>
                    <a:lnTo>
                      <a:pt x="79" y="188"/>
                    </a:lnTo>
                    <a:lnTo>
                      <a:pt x="75" y="188"/>
                    </a:lnTo>
                    <a:lnTo>
                      <a:pt x="79" y="190"/>
                    </a:lnTo>
                    <a:lnTo>
                      <a:pt x="79" y="197"/>
                    </a:lnTo>
                    <a:lnTo>
                      <a:pt x="80" y="204"/>
                    </a:lnTo>
                    <a:lnTo>
                      <a:pt x="82" y="207"/>
                    </a:lnTo>
                    <a:lnTo>
                      <a:pt x="84" y="207"/>
                    </a:lnTo>
                    <a:lnTo>
                      <a:pt x="93" y="217"/>
                    </a:lnTo>
                    <a:lnTo>
                      <a:pt x="96" y="217"/>
                    </a:lnTo>
                    <a:lnTo>
                      <a:pt x="98" y="219"/>
                    </a:lnTo>
                    <a:lnTo>
                      <a:pt x="101" y="223"/>
                    </a:lnTo>
                    <a:lnTo>
                      <a:pt x="101" y="223"/>
                    </a:lnTo>
                    <a:lnTo>
                      <a:pt x="110" y="226"/>
                    </a:lnTo>
                    <a:lnTo>
                      <a:pt x="110" y="230"/>
                    </a:lnTo>
                    <a:lnTo>
                      <a:pt x="112" y="230"/>
                    </a:lnTo>
                    <a:lnTo>
                      <a:pt x="112" y="233"/>
                    </a:lnTo>
                    <a:lnTo>
                      <a:pt x="113" y="233"/>
                    </a:lnTo>
                    <a:lnTo>
                      <a:pt x="119" y="247"/>
                    </a:lnTo>
                    <a:lnTo>
                      <a:pt x="120" y="250"/>
                    </a:lnTo>
                    <a:lnTo>
                      <a:pt x="120" y="254"/>
                    </a:lnTo>
                    <a:lnTo>
                      <a:pt x="134" y="266"/>
                    </a:lnTo>
                    <a:lnTo>
                      <a:pt x="136" y="266"/>
                    </a:lnTo>
                    <a:lnTo>
                      <a:pt x="138" y="275"/>
                    </a:lnTo>
                    <a:lnTo>
                      <a:pt x="143" y="277"/>
                    </a:lnTo>
                    <a:lnTo>
                      <a:pt x="146" y="284"/>
                    </a:lnTo>
                    <a:lnTo>
                      <a:pt x="150" y="284"/>
                    </a:lnTo>
                    <a:lnTo>
                      <a:pt x="152" y="287"/>
                    </a:lnTo>
                    <a:lnTo>
                      <a:pt x="155" y="284"/>
                    </a:lnTo>
                    <a:lnTo>
                      <a:pt x="157" y="280"/>
                    </a:lnTo>
                    <a:lnTo>
                      <a:pt x="157" y="275"/>
                    </a:lnTo>
                    <a:lnTo>
                      <a:pt x="157" y="266"/>
                    </a:lnTo>
                    <a:lnTo>
                      <a:pt x="162" y="264"/>
                    </a:lnTo>
                    <a:lnTo>
                      <a:pt x="167" y="268"/>
                    </a:lnTo>
                    <a:lnTo>
                      <a:pt x="178" y="268"/>
                    </a:lnTo>
                    <a:lnTo>
                      <a:pt x="192" y="275"/>
                    </a:lnTo>
                    <a:lnTo>
                      <a:pt x="207" y="280"/>
                    </a:lnTo>
                    <a:lnTo>
                      <a:pt x="207" y="297"/>
                    </a:lnTo>
                    <a:lnTo>
                      <a:pt x="238" y="256"/>
                    </a:lnTo>
                    <a:lnTo>
                      <a:pt x="353" y="221"/>
                    </a:lnTo>
                    <a:lnTo>
                      <a:pt x="355" y="184"/>
                    </a:lnTo>
                    <a:lnTo>
                      <a:pt x="351" y="171"/>
                    </a:lnTo>
                    <a:lnTo>
                      <a:pt x="351" y="171"/>
                    </a:lnTo>
                    <a:lnTo>
                      <a:pt x="346" y="176"/>
                    </a:lnTo>
                    <a:lnTo>
                      <a:pt x="294" y="171"/>
                    </a:lnTo>
                    <a:lnTo>
                      <a:pt x="292" y="157"/>
                    </a:lnTo>
                    <a:lnTo>
                      <a:pt x="287" y="151"/>
                    </a:lnTo>
                    <a:lnTo>
                      <a:pt x="287" y="144"/>
                    </a:lnTo>
                    <a:lnTo>
                      <a:pt x="287" y="144"/>
                    </a:lnTo>
                    <a:lnTo>
                      <a:pt x="287" y="144"/>
                    </a:lnTo>
                    <a:lnTo>
                      <a:pt x="284" y="143"/>
                    </a:lnTo>
                    <a:lnTo>
                      <a:pt x="284" y="139"/>
                    </a:lnTo>
                    <a:lnTo>
                      <a:pt x="287" y="139"/>
                    </a:lnTo>
                    <a:lnTo>
                      <a:pt x="284" y="139"/>
                    </a:lnTo>
                    <a:lnTo>
                      <a:pt x="284" y="139"/>
                    </a:lnTo>
                    <a:lnTo>
                      <a:pt x="280" y="139"/>
                    </a:lnTo>
                    <a:lnTo>
                      <a:pt x="275" y="136"/>
                    </a:lnTo>
                    <a:lnTo>
                      <a:pt x="275" y="134"/>
                    </a:lnTo>
                    <a:lnTo>
                      <a:pt x="273" y="134"/>
                    </a:lnTo>
                    <a:lnTo>
                      <a:pt x="270" y="131"/>
                    </a:lnTo>
                    <a:lnTo>
                      <a:pt x="270" y="125"/>
                    </a:lnTo>
                    <a:lnTo>
                      <a:pt x="261" y="117"/>
                    </a:lnTo>
                    <a:lnTo>
                      <a:pt x="259" y="111"/>
                    </a:lnTo>
                    <a:lnTo>
                      <a:pt x="261" y="111"/>
                    </a:lnTo>
                    <a:lnTo>
                      <a:pt x="261" y="110"/>
                    </a:lnTo>
                    <a:lnTo>
                      <a:pt x="258" y="103"/>
                    </a:lnTo>
                    <a:lnTo>
                      <a:pt x="258" y="99"/>
                    </a:lnTo>
                    <a:lnTo>
                      <a:pt x="256" y="97"/>
                    </a:lnTo>
                    <a:lnTo>
                      <a:pt x="252" y="97"/>
                    </a:lnTo>
                    <a:lnTo>
                      <a:pt x="249" y="89"/>
                    </a:lnTo>
                    <a:lnTo>
                      <a:pt x="247" y="89"/>
                    </a:lnTo>
                    <a:lnTo>
                      <a:pt x="244" y="85"/>
                    </a:lnTo>
                    <a:lnTo>
                      <a:pt x="244" y="85"/>
                    </a:lnTo>
                    <a:lnTo>
                      <a:pt x="245" y="84"/>
                    </a:lnTo>
                    <a:lnTo>
                      <a:pt x="247" y="85"/>
                    </a:lnTo>
                    <a:lnTo>
                      <a:pt x="245" y="84"/>
                    </a:lnTo>
                    <a:lnTo>
                      <a:pt x="242" y="82"/>
                    </a:lnTo>
                    <a:lnTo>
                      <a:pt x="237" y="82"/>
                    </a:lnTo>
                    <a:lnTo>
                      <a:pt x="233" y="71"/>
                    </a:lnTo>
                    <a:lnTo>
                      <a:pt x="230" y="68"/>
                    </a:lnTo>
                    <a:lnTo>
                      <a:pt x="230" y="68"/>
                    </a:lnTo>
                    <a:lnTo>
                      <a:pt x="230" y="64"/>
                    </a:lnTo>
                    <a:lnTo>
                      <a:pt x="228" y="66"/>
                    </a:lnTo>
                    <a:lnTo>
                      <a:pt x="228" y="64"/>
                    </a:lnTo>
                    <a:lnTo>
                      <a:pt x="228" y="64"/>
                    </a:lnTo>
                    <a:lnTo>
                      <a:pt x="228" y="64"/>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0" name="Freeform 38"/>
              <p:cNvSpPr>
                <a:spLocks noEditPoints="1"/>
              </p:cNvSpPr>
              <p:nvPr/>
            </p:nvSpPr>
            <p:spPr bwMode="auto">
              <a:xfrm>
                <a:off x="4879975" y="4879976"/>
                <a:ext cx="441325" cy="369888"/>
              </a:xfrm>
              <a:custGeom>
                <a:avLst/>
                <a:gdLst/>
                <a:ahLst/>
                <a:cxnLst>
                  <a:cxn ang="0">
                    <a:pos x="7" y="111"/>
                  </a:cxn>
                  <a:cxn ang="0">
                    <a:pos x="15" y="113"/>
                  </a:cxn>
                  <a:cxn ang="0">
                    <a:pos x="33" y="121"/>
                  </a:cxn>
                  <a:cxn ang="0">
                    <a:pos x="43" y="123"/>
                  </a:cxn>
                  <a:cxn ang="0">
                    <a:pos x="50" y="113"/>
                  </a:cxn>
                  <a:cxn ang="0">
                    <a:pos x="71" y="54"/>
                  </a:cxn>
                  <a:cxn ang="0">
                    <a:pos x="74" y="83"/>
                  </a:cxn>
                  <a:cxn ang="0">
                    <a:pos x="92" y="80"/>
                  </a:cxn>
                  <a:cxn ang="0">
                    <a:pos x="109" y="69"/>
                  </a:cxn>
                  <a:cxn ang="0">
                    <a:pos x="128" y="61"/>
                  </a:cxn>
                  <a:cxn ang="0">
                    <a:pos x="146" y="66"/>
                  </a:cxn>
                  <a:cxn ang="0">
                    <a:pos x="160" y="62"/>
                  </a:cxn>
                  <a:cxn ang="0">
                    <a:pos x="160" y="52"/>
                  </a:cxn>
                  <a:cxn ang="0">
                    <a:pos x="172" y="43"/>
                  </a:cxn>
                  <a:cxn ang="0">
                    <a:pos x="179" y="38"/>
                  </a:cxn>
                  <a:cxn ang="0">
                    <a:pos x="186" y="22"/>
                  </a:cxn>
                  <a:cxn ang="0">
                    <a:pos x="194" y="17"/>
                  </a:cxn>
                  <a:cxn ang="0">
                    <a:pos x="206" y="12"/>
                  </a:cxn>
                  <a:cxn ang="0">
                    <a:pos x="215" y="3"/>
                  </a:cxn>
                  <a:cxn ang="0">
                    <a:pos x="231" y="0"/>
                  </a:cxn>
                  <a:cxn ang="0">
                    <a:pos x="241" y="3"/>
                  </a:cxn>
                  <a:cxn ang="0">
                    <a:pos x="260" y="12"/>
                  </a:cxn>
                  <a:cxn ang="0">
                    <a:pos x="264" y="31"/>
                  </a:cxn>
                  <a:cxn ang="0">
                    <a:pos x="264" y="62"/>
                  </a:cxn>
                  <a:cxn ang="0">
                    <a:pos x="250" y="66"/>
                  </a:cxn>
                  <a:cxn ang="0">
                    <a:pos x="246" y="85"/>
                  </a:cxn>
                  <a:cxn ang="0">
                    <a:pos x="264" y="85"/>
                  </a:cxn>
                  <a:cxn ang="0">
                    <a:pos x="278" y="83"/>
                  </a:cxn>
                  <a:cxn ang="0">
                    <a:pos x="274" y="99"/>
                  </a:cxn>
                  <a:cxn ang="0">
                    <a:pos x="264" y="121"/>
                  </a:cxn>
                  <a:cxn ang="0">
                    <a:pos x="250" y="130"/>
                  </a:cxn>
                  <a:cxn ang="0">
                    <a:pos x="241" y="142"/>
                  </a:cxn>
                  <a:cxn ang="0">
                    <a:pos x="220" y="170"/>
                  </a:cxn>
                  <a:cxn ang="0">
                    <a:pos x="194" y="193"/>
                  </a:cxn>
                  <a:cxn ang="0">
                    <a:pos x="175" y="210"/>
                  </a:cxn>
                  <a:cxn ang="0">
                    <a:pos x="160" y="212"/>
                  </a:cxn>
                  <a:cxn ang="0">
                    <a:pos x="149" y="221"/>
                  </a:cxn>
                  <a:cxn ang="0">
                    <a:pos x="137" y="224"/>
                  </a:cxn>
                  <a:cxn ang="0">
                    <a:pos x="111" y="221"/>
                  </a:cxn>
                  <a:cxn ang="0">
                    <a:pos x="92" y="221"/>
                  </a:cxn>
                  <a:cxn ang="0">
                    <a:pos x="87" y="226"/>
                  </a:cxn>
                  <a:cxn ang="0">
                    <a:pos x="67" y="226"/>
                  </a:cxn>
                  <a:cxn ang="0">
                    <a:pos x="55" y="233"/>
                  </a:cxn>
                  <a:cxn ang="0">
                    <a:pos x="40" y="226"/>
                  </a:cxn>
                  <a:cxn ang="0">
                    <a:pos x="31" y="221"/>
                  </a:cxn>
                  <a:cxn ang="0">
                    <a:pos x="27" y="219"/>
                  </a:cxn>
                  <a:cxn ang="0">
                    <a:pos x="19" y="198"/>
                  </a:cxn>
                  <a:cxn ang="0">
                    <a:pos x="27" y="191"/>
                  </a:cxn>
                  <a:cxn ang="0">
                    <a:pos x="22" y="165"/>
                  </a:cxn>
                  <a:cxn ang="0">
                    <a:pos x="8" y="125"/>
                  </a:cxn>
                  <a:cxn ang="0">
                    <a:pos x="0" y="114"/>
                  </a:cxn>
                  <a:cxn ang="0">
                    <a:pos x="191" y="156"/>
                  </a:cxn>
                  <a:cxn ang="0">
                    <a:pos x="201" y="146"/>
                  </a:cxn>
                  <a:cxn ang="0">
                    <a:pos x="213" y="141"/>
                  </a:cxn>
                  <a:cxn ang="0">
                    <a:pos x="219" y="128"/>
                  </a:cxn>
                  <a:cxn ang="0">
                    <a:pos x="205" y="120"/>
                  </a:cxn>
                  <a:cxn ang="0">
                    <a:pos x="196" y="121"/>
                  </a:cxn>
                  <a:cxn ang="0">
                    <a:pos x="179" y="135"/>
                  </a:cxn>
                  <a:cxn ang="0">
                    <a:pos x="182" y="149"/>
                  </a:cxn>
                </a:cxnLst>
                <a:rect l="0" t="0" r="r" b="b"/>
                <a:pathLst>
                  <a:path w="278" h="233">
                    <a:moveTo>
                      <a:pt x="0" y="114"/>
                    </a:moveTo>
                    <a:lnTo>
                      <a:pt x="5" y="114"/>
                    </a:lnTo>
                    <a:lnTo>
                      <a:pt x="7" y="113"/>
                    </a:lnTo>
                    <a:lnTo>
                      <a:pt x="7" y="111"/>
                    </a:lnTo>
                    <a:lnTo>
                      <a:pt x="7" y="111"/>
                    </a:lnTo>
                    <a:lnTo>
                      <a:pt x="8" y="107"/>
                    </a:lnTo>
                    <a:lnTo>
                      <a:pt x="12" y="106"/>
                    </a:lnTo>
                    <a:lnTo>
                      <a:pt x="14" y="111"/>
                    </a:lnTo>
                    <a:lnTo>
                      <a:pt x="17" y="111"/>
                    </a:lnTo>
                    <a:lnTo>
                      <a:pt x="15" y="113"/>
                    </a:lnTo>
                    <a:lnTo>
                      <a:pt x="19" y="118"/>
                    </a:lnTo>
                    <a:lnTo>
                      <a:pt x="24" y="120"/>
                    </a:lnTo>
                    <a:lnTo>
                      <a:pt x="27" y="121"/>
                    </a:lnTo>
                    <a:lnTo>
                      <a:pt x="29" y="121"/>
                    </a:lnTo>
                    <a:lnTo>
                      <a:pt x="33" y="121"/>
                    </a:lnTo>
                    <a:lnTo>
                      <a:pt x="34" y="121"/>
                    </a:lnTo>
                    <a:lnTo>
                      <a:pt x="36" y="120"/>
                    </a:lnTo>
                    <a:lnTo>
                      <a:pt x="40" y="120"/>
                    </a:lnTo>
                    <a:lnTo>
                      <a:pt x="41" y="123"/>
                    </a:lnTo>
                    <a:lnTo>
                      <a:pt x="43" y="123"/>
                    </a:lnTo>
                    <a:lnTo>
                      <a:pt x="45" y="123"/>
                    </a:lnTo>
                    <a:lnTo>
                      <a:pt x="45" y="120"/>
                    </a:lnTo>
                    <a:lnTo>
                      <a:pt x="47" y="118"/>
                    </a:lnTo>
                    <a:lnTo>
                      <a:pt x="50" y="116"/>
                    </a:lnTo>
                    <a:lnTo>
                      <a:pt x="50" y="113"/>
                    </a:lnTo>
                    <a:lnTo>
                      <a:pt x="55" y="111"/>
                    </a:lnTo>
                    <a:lnTo>
                      <a:pt x="61" y="111"/>
                    </a:lnTo>
                    <a:lnTo>
                      <a:pt x="62" y="111"/>
                    </a:lnTo>
                    <a:lnTo>
                      <a:pt x="64" y="50"/>
                    </a:lnTo>
                    <a:lnTo>
                      <a:pt x="71" y="54"/>
                    </a:lnTo>
                    <a:lnTo>
                      <a:pt x="73" y="61"/>
                    </a:lnTo>
                    <a:lnTo>
                      <a:pt x="76" y="69"/>
                    </a:lnTo>
                    <a:lnTo>
                      <a:pt x="76" y="73"/>
                    </a:lnTo>
                    <a:lnTo>
                      <a:pt x="74" y="80"/>
                    </a:lnTo>
                    <a:lnTo>
                      <a:pt x="74" y="83"/>
                    </a:lnTo>
                    <a:lnTo>
                      <a:pt x="78" y="80"/>
                    </a:lnTo>
                    <a:lnTo>
                      <a:pt x="81" y="83"/>
                    </a:lnTo>
                    <a:lnTo>
                      <a:pt x="87" y="80"/>
                    </a:lnTo>
                    <a:lnTo>
                      <a:pt x="88" y="83"/>
                    </a:lnTo>
                    <a:lnTo>
                      <a:pt x="92" y="80"/>
                    </a:lnTo>
                    <a:lnTo>
                      <a:pt x="95" y="80"/>
                    </a:lnTo>
                    <a:lnTo>
                      <a:pt x="99" y="76"/>
                    </a:lnTo>
                    <a:lnTo>
                      <a:pt x="100" y="74"/>
                    </a:lnTo>
                    <a:lnTo>
                      <a:pt x="106" y="73"/>
                    </a:lnTo>
                    <a:lnTo>
                      <a:pt x="109" y="69"/>
                    </a:lnTo>
                    <a:lnTo>
                      <a:pt x="111" y="61"/>
                    </a:lnTo>
                    <a:lnTo>
                      <a:pt x="116" y="57"/>
                    </a:lnTo>
                    <a:lnTo>
                      <a:pt x="120" y="57"/>
                    </a:lnTo>
                    <a:lnTo>
                      <a:pt x="127" y="57"/>
                    </a:lnTo>
                    <a:lnTo>
                      <a:pt x="128" y="61"/>
                    </a:lnTo>
                    <a:lnTo>
                      <a:pt x="128" y="61"/>
                    </a:lnTo>
                    <a:lnTo>
                      <a:pt x="137" y="66"/>
                    </a:lnTo>
                    <a:lnTo>
                      <a:pt x="140" y="66"/>
                    </a:lnTo>
                    <a:lnTo>
                      <a:pt x="142" y="66"/>
                    </a:lnTo>
                    <a:lnTo>
                      <a:pt x="146" y="66"/>
                    </a:lnTo>
                    <a:lnTo>
                      <a:pt x="149" y="66"/>
                    </a:lnTo>
                    <a:lnTo>
                      <a:pt x="153" y="62"/>
                    </a:lnTo>
                    <a:lnTo>
                      <a:pt x="154" y="66"/>
                    </a:lnTo>
                    <a:lnTo>
                      <a:pt x="156" y="66"/>
                    </a:lnTo>
                    <a:lnTo>
                      <a:pt x="160" y="62"/>
                    </a:lnTo>
                    <a:lnTo>
                      <a:pt x="160" y="62"/>
                    </a:lnTo>
                    <a:lnTo>
                      <a:pt x="160" y="61"/>
                    </a:lnTo>
                    <a:lnTo>
                      <a:pt x="160" y="57"/>
                    </a:lnTo>
                    <a:lnTo>
                      <a:pt x="160" y="54"/>
                    </a:lnTo>
                    <a:lnTo>
                      <a:pt x="160" y="52"/>
                    </a:lnTo>
                    <a:lnTo>
                      <a:pt x="163" y="48"/>
                    </a:lnTo>
                    <a:lnTo>
                      <a:pt x="165" y="47"/>
                    </a:lnTo>
                    <a:lnTo>
                      <a:pt x="168" y="47"/>
                    </a:lnTo>
                    <a:lnTo>
                      <a:pt x="170" y="45"/>
                    </a:lnTo>
                    <a:lnTo>
                      <a:pt x="172" y="43"/>
                    </a:lnTo>
                    <a:lnTo>
                      <a:pt x="172" y="43"/>
                    </a:lnTo>
                    <a:lnTo>
                      <a:pt x="173" y="41"/>
                    </a:lnTo>
                    <a:lnTo>
                      <a:pt x="175" y="38"/>
                    </a:lnTo>
                    <a:lnTo>
                      <a:pt x="179" y="38"/>
                    </a:lnTo>
                    <a:lnTo>
                      <a:pt x="179" y="38"/>
                    </a:lnTo>
                    <a:lnTo>
                      <a:pt x="182" y="38"/>
                    </a:lnTo>
                    <a:lnTo>
                      <a:pt x="182" y="34"/>
                    </a:lnTo>
                    <a:lnTo>
                      <a:pt x="179" y="31"/>
                    </a:lnTo>
                    <a:lnTo>
                      <a:pt x="182" y="29"/>
                    </a:lnTo>
                    <a:lnTo>
                      <a:pt x="186" y="22"/>
                    </a:lnTo>
                    <a:lnTo>
                      <a:pt x="187" y="21"/>
                    </a:lnTo>
                    <a:lnTo>
                      <a:pt x="191" y="21"/>
                    </a:lnTo>
                    <a:lnTo>
                      <a:pt x="191" y="19"/>
                    </a:lnTo>
                    <a:lnTo>
                      <a:pt x="193" y="19"/>
                    </a:lnTo>
                    <a:lnTo>
                      <a:pt x="194" y="17"/>
                    </a:lnTo>
                    <a:lnTo>
                      <a:pt x="196" y="15"/>
                    </a:lnTo>
                    <a:lnTo>
                      <a:pt x="198" y="14"/>
                    </a:lnTo>
                    <a:lnTo>
                      <a:pt x="201" y="12"/>
                    </a:lnTo>
                    <a:lnTo>
                      <a:pt x="205" y="12"/>
                    </a:lnTo>
                    <a:lnTo>
                      <a:pt x="206" y="12"/>
                    </a:lnTo>
                    <a:lnTo>
                      <a:pt x="208" y="12"/>
                    </a:lnTo>
                    <a:lnTo>
                      <a:pt x="210" y="12"/>
                    </a:lnTo>
                    <a:lnTo>
                      <a:pt x="213" y="8"/>
                    </a:lnTo>
                    <a:lnTo>
                      <a:pt x="215" y="8"/>
                    </a:lnTo>
                    <a:lnTo>
                      <a:pt x="215" y="3"/>
                    </a:lnTo>
                    <a:lnTo>
                      <a:pt x="215" y="3"/>
                    </a:lnTo>
                    <a:lnTo>
                      <a:pt x="219" y="1"/>
                    </a:lnTo>
                    <a:lnTo>
                      <a:pt x="220" y="1"/>
                    </a:lnTo>
                    <a:lnTo>
                      <a:pt x="222" y="1"/>
                    </a:lnTo>
                    <a:lnTo>
                      <a:pt x="231" y="0"/>
                    </a:lnTo>
                    <a:lnTo>
                      <a:pt x="234" y="0"/>
                    </a:lnTo>
                    <a:lnTo>
                      <a:pt x="236" y="3"/>
                    </a:lnTo>
                    <a:lnTo>
                      <a:pt x="238" y="3"/>
                    </a:lnTo>
                    <a:lnTo>
                      <a:pt x="241" y="3"/>
                    </a:lnTo>
                    <a:lnTo>
                      <a:pt x="241" y="3"/>
                    </a:lnTo>
                    <a:lnTo>
                      <a:pt x="245" y="3"/>
                    </a:lnTo>
                    <a:lnTo>
                      <a:pt x="250" y="3"/>
                    </a:lnTo>
                    <a:lnTo>
                      <a:pt x="255" y="3"/>
                    </a:lnTo>
                    <a:lnTo>
                      <a:pt x="259" y="8"/>
                    </a:lnTo>
                    <a:lnTo>
                      <a:pt x="260" y="12"/>
                    </a:lnTo>
                    <a:lnTo>
                      <a:pt x="260" y="15"/>
                    </a:lnTo>
                    <a:lnTo>
                      <a:pt x="264" y="21"/>
                    </a:lnTo>
                    <a:lnTo>
                      <a:pt x="264" y="29"/>
                    </a:lnTo>
                    <a:lnTo>
                      <a:pt x="264" y="29"/>
                    </a:lnTo>
                    <a:lnTo>
                      <a:pt x="264" y="31"/>
                    </a:lnTo>
                    <a:lnTo>
                      <a:pt x="264" y="34"/>
                    </a:lnTo>
                    <a:lnTo>
                      <a:pt x="264" y="40"/>
                    </a:lnTo>
                    <a:lnTo>
                      <a:pt x="264" y="54"/>
                    </a:lnTo>
                    <a:lnTo>
                      <a:pt x="264" y="57"/>
                    </a:lnTo>
                    <a:lnTo>
                      <a:pt x="264" y="62"/>
                    </a:lnTo>
                    <a:lnTo>
                      <a:pt x="264" y="69"/>
                    </a:lnTo>
                    <a:lnTo>
                      <a:pt x="260" y="67"/>
                    </a:lnTo>
                    <a:lnTo>
                      <a:pt x="259" y="66"/>
                    </a:lnTo>
                    <a:lnTo>
                      <a:pt x="253" y="62"/>
                    </a:lnTo>
                    <a:lnTo>
                      <a:pt x="250" y="66"/>
                    </a:lnTo>
                    <a:lnTo>
                      <a:pt x="250" y="67"/>
                    </a:lnTo>
                    <a:lnTo>
                      <a:pt x="245" y="76"/>
                    </a:lnTo>
                    <a:lnTo>
                      <a:pt x="243" y="80"/>
                    </a:lnTo>
                    <a:lnTo>
                      <a:pt x="245" y="80"/>
                    </a:lnTo>
                    <a:lnTo>
                      <a:pt x="246" y="85"/>
                    </a:lnTo>
                    <a:lnTo>
                      <a:pt x="250" y="88"/>
                    </a:lnTo>
                    <a:lnTo>
                      <a:pt x="255" y="90"/>
                    </a:lnTo>
                    <a:lnTo>
                      <a:pt x="260" y="90"/>
                    </a:lnTo>
                    <a:lnTo>
                      <a:pt x="264" y="88"/>
                    </a:lnTo>
                    <a:lnTo>
                      <a:pt x="264" y="85"/>
                    </a:lnTo>
                    <a:lnTo>
                      <a:pt x="264" y="85"/>
                    </a:lnTo>
                    <a:lnTo>
                      <a:pt x="266" y="83"/>
                    </a:lnTo>
                    <a:lnTo>
                      <a:pt x="269" y="83"/>
                    </a:lnTo>
                    <a:lnTo>
                      <a:pt x="274" y="83"/>
                    </a:lnTo>
                    <a:lnTo>
                      <a:pt x="278" y="83"/>
                    </a:lnTo>
                    <a:lnTo>
                      <a:pt x="278" y="85"/>
                    </a:lnTo>
                    <a:lnTo>
                      <a:pt x="276" y="88"/>
                    </a:lnTo>
                    <a:lnTo>
                      <a:pt x="278" y="88"/>
                    </a:lnTo>
                    <a:lnTo>
                      <a:pt x="274" y="94"/>
                    </a:lnTo>
                    <a:lnTo>
                      <a:pt x="274" y="99"/>
                    </a:lnTo>
                    <a:lnTo>
                      <a:pt x="272" y="104"/>
                    </a:lnTo>
                    <a:lnTo>
                      <a:pt x="269" y="111"/>
                    </a:lnTo>
                    <a:lnTo>
                      <a:pt x="269" y="113"/>
                    </a:lnTo>
                    <a:lnTo>
                      <a:pt x="266" y="116"/>
                    </a:lnTo>
                    <a:lnTo>
                      <a:pt x="264" y="121"/>
                    </a:lnTo>
                    <a:lnTo>
                      <a:pt x="260" y="121"/>
                    </a:lnTo>
                    <a:lnTo>
                      <a:pt x="260" y="123"/>
                    </a:lnTo>
                    <a:lnTo>
                      <a:pt x="257" y="125"/>
                    </a:lnTo>
                    <a:lnTo>
                      <a:pt x="255" y="127"/>
                    </a:lnTo>
                    <a:lnTo>
                      <a:pt x="250" y="130"/>
                    </a:lnTo>
                    <a:lnTo>
                      <a:pt x="250" y="134"/>
                    </a:lnTo>
                    <a:lnTo>
                      <a:pt x="245" y="137"/>
                    </a:lnTo>
                    <a:lnTo>
                      <a:pt x="245" y="139"/>
                    </a:lnTo>
                    <a:lnTo>
                      <a:pt x="243" y="142"/>
                    </a:lnTo>
                    <a:lnTo>
                      <a:pt x="241" y="142"/>
                    </a:lnTo>
                    <a:lnTo>
                      <a:pt x="238" y="147"/>
                    </a:lnTo>
                    <a:lnTo>
                      <a:pt x="231" y="158"/>
                    </a:lnTo>
                    <a:lnTo>
                      <a:pt x="226" y="165"/>
                    </a:lnTo>
                    <a:lnTo>
                      <a:pt x="224" y="168"/>
                    </a:lnTo>
                    <a:lnTo>
                      <a:pt x="220" y="170"/>
                    </a:lnTo>
                    <a:lnTo>
                      <a:pt x="219" y="175"/>
                    </a:lnTo>
                    <a:lnTo>
                      <a:pt x="215" y="175"/>
                    </a:lnTo>
                    <a:lnTo>
                      <a:pt x="215" y="175"/>
                    </a:lnTo>
                    <a:lnTo>
                      <a:pt x="198" y="193"/>
                    </a:lnTo>
                    <a:lnTo>
                      <a:pt x="194" y="193"/>
                    </a:lnTo>
                    <a:lnTo>
                      <a:pt x="196" y="194"/>
                    </a:lnTo>
                    <a:lnTo>
                      <a:pt x="193" y="198"/>
                    </a:lnTo>
                    <a:lnTo>
                      <a:pt x="182" y="207"/>
                    </a:lnTo>
                    <a:lnTo>
                      <a:pt x="179" y="207"/>
                    </a:lnTo>
                    <a:lnTo>
                      <a:pt x="175" y="210"/>
                    </a:lnTo>
                    <a:lnTo>
                      <a:pt x="175" y="210"/>
                    </a:lnTo>
                    <a:lnTo>
                      <a:pt x="168" y="212"/>
                    </a:lnTo>
                    <a:lnTo>
                      <a:pt x="163" y="214"/>
                    </a:lnTo>
                    <a:lnTo>
                      <a:pt x="160" y="214"/>
                    </a:lnTo>
                    <a:lnTo>
                      <a:pt x="160" y="212"/>
                    </a:lnTo>
                    <a:lnTo>
                      <a:pt x="154" y="214"/>
                    </a:lnTo>
                    <a:lnTo>
                      <a:pt x="149" y="214"/>
                    </a:lnTo>
                    <a:lnTo>
                      <a:pt x="147" y="217"/>
                    </a:lnTo>
                    <a:lnTo>
                      <a:pt x="149" y="221"/>
                    </a:lnTo>
                    <a:lnTo>
                      <a:pt x="149" y="221"/>
                    </a:lnTo>
                    <a:lnTo>
                      <a:pt x="144" y="221"/>
                    </a:lnTo>
                    <a:lnTo>
                      <a:pt x="140" y="219"/>
                    </a:lnTo>
                    <a:lnTo>
                      <a:pt x="137" y="219"/>
                    </a:lnTo>
                    <a:lnTo>
                      <a:pt x="133" y="222"/>
                    </a:lnTo>
                    <a:lnTo>
                      <a:pt x="137" y="224"/>
                    </a:lnTo>
                    <a:lnTo>
                      <a:pt x="133" y="224"/>
                    </a:lnTo>
                    <a:lnTo>
                      <a:pt x="127" y="222"/>
                    </a:lnTo>
                    <a:lnTo>
                      <a:pt x="125" y="221"/>
                    </a:lnTo>
                    <a:lnTo>
                      <a:pt x="116" y="219"/>
                    </a:lnTo>
                    <a:lnTo>
                      <a:pt x="111" y="221"/>
                    </a:lnTo>
                    <a:lnTo>
                      <a:pt x="111" y="221"/>
                    </a:lnTo>
                    <a:lnTo>
                      <a:pt x="109" y="222"/>
                    </a:lnTo>
                    <a:lnTo>
                      <a:pt x="106" y="221"/>
                    </a:lnTo>
                    <a:lnTo>
                      <a:pt x="95" y="221"/>
                    </a:lnTo>
                    <a:lnTo>
                      <a:pt x="92" y="221"/>
                    </a:lnTo>
                    <a:lnTo>
                      <a:pt x="92" y="224"/>
                    </a:lnTo>
                    <a:lnTo>
                      <a:pt x="90" y="224"/>
                    </a:lnTo>
                    <a:lnTo>
                      <a:pt x="87" y="224"/>
                    </a:lnTo>
                    <a:lnTo>
                      <a:pt x="87" y="226"/>
                    </a:lnTo>
                    <a:lnTo>
                      <a:pt x="87" y="226"/>
                    </a:lnTo>
                    <a:lnTo>
                      <a:pt x="81" y="226"/>
                    </a:lnTo>
                    <a:lnTo>
                      <a:pt x="78" y="229"/>
                    </a:lnTo>
                    <a:lnTo>
                      <a:pt x="73" y="226"/>
                    </a:lnTo>
                    <a:lnTo>
                      <a:pt x="69" y="226"/>
                    </a:lnTo>
                    <a:lnTo>
                      <a:pt x="67" y="226"/>
                    </a:lnTo>
                    <a:lnTo>
                      <a:pt x="64" y="226"/>
                    </a:lnTo>
                    <a:lnTo>
                      <a:pt x="61" y="233"/>
                    </a:lnTo>
                    <a:lnTo>
                      <a:pt x="59" y="233"/>
                    </a:lnTo>
                    <a:lnTo>
                      <a:pt x="55" y="233"/>
                    </a:lnTo>
                    <a:lnTo>
                      <a:pt x="55" y="233"/>
                    </a:lnTo>
                    <a:lnTo>
                      <a:pt x="54" y="233"/>
                    </a:lnTo>
                    <a:lnTo>
                      <a:pt x="45" y="229"/>
                    </a:lnTo>
                    <a:lnTo>
                      <a:pt x="43" y="233"/>
                    </a:lnTo>
                    <a:lnTo>
                      <a:pt x="43" y="226"/>
                    </a:lnTo>
                    <a:lnTo>
                      <a:pt x="40" y="226"/>
                    </a:lnTo>
                    <a:lnTo>
                      <a:pt x="36" y="226"/>
                    </a:lnTo>
                    <a:lnTo>
                      <a:pt x="34" y="226"/>
                    </a:lnTo>
                    <a:lnTo>
                      <a:pt x="36" y="226"/>
                    </a:lnTo>
                    <a:lnTo>
                      <a:pt x="34" y="222"/>
                    </a:lnTo>
                    <a:lnTo>
                      <a:pt x="31" y="221"/>
                    </a:lnTo>
                    <a:lnTo>
                      <a:pt x="27" y="224"/>
                    </a:lnTo>
                    <a:lnTo>
                      <a:pt x="27" y="226"/>
                    </a:lnTo>
                    <a:lnTo>
                      <a:pt x="27" y="226"/>
                    </a:lnTo>
                    <a:lnTo>
                      <a:pt x="27" y="221"/>
                    </a:lnTo>
                    <a:lnTo>
                      <a:pt x="27" y="219"/>
                    </a:lnTo>
                    <a:lnTo>
                      <a:pt x="27" y="214"/>
                    </a:lnTo>
                    <a:lnTo>
                      <a:pt x="29" y="210"/>
                    </a:lnTo>
                    <a:lnTo>
                      <a:pt x="27" y="203"/>
                    </a:lnTo>
                    <a:lnTo>
                      <a:pt x="24" y="203"/>
                    </a:lnTo>
                    <a:lnTo>
                      <a:pt x="19" y="198"/>
                    </a:lnTo>
                    <a:lnTo>
                      <a:pt x="19" y="193"/>
                    </a:lnTo>
                    <a:lnTo>
                      <a:pt x="22" y="191"/>
                    </a:lnTo>
                    <a:lnTo>
                      <a:pt x="24" y="193"/>
                    </a:lnTo>
                    <a:lnTo>
                      <a:pt x="24" y="193"/>
                    </a:lnTo>
                    <a:lnTo>
                      <a:pt x="27" y="191"/>
                    </a:lnTo>
                    <a:lnTo>
                      <a:pt x="27" y="186"/>
                    </a:lnTo>
                    <a:lnTo>
                      <a:pt x="27" y="181"/>
                    </a:lnTo>
                    <a:lnTo>
                      <a:pt x="27" y="179"/>
                    </a:lnTo>
                    <a:lnTo>
                      <a:pt x="22" y="170"/>
                    </a:lnTo>
                    <a:lnTo>
                      <a:pt x="22" y="165"/>
                    </a:lnTo>
                    <a:lnTo>
                      <a:pt x="17" y="161"/>
                    </a:lnTo>
                    <a:lnTo>
                      <a:pt x="15" y="149"/>
                    </a:lnTo>
                    <a:lnTo>
                      <a:pt x="12" y="141"/>
                    </a:lnTo>
                    <a:lnTo>
                      <a:pt x="12" y="135"/>
                    </a:lnTo>
                    <a:lnTo>
                      <a:pt x="8" y="125"/>
                    </a:lnTo>
                    <a:lnTo>
                      <a:pt x="1" y="121"/>
                    </a:lnTo>
                    <a:lnTo>
                      <a:pt x="1" y="114"/>
                    </a:lnTo>
                    <a:lnTo>
                      <a:pt x="0" y="114"/>
                    </a:lnTo>
                    <a:lnTo>
                      <a:pt x="0" y="114"/>
                    </a:lnTo>
                    <a:lnTo>
                      <a:pt x="0" y="114"/>
                    </a:lnTo>
                    <a:lnTo>
                      <a:pt x="0" y="114"/>
                    </a:lnTo>
                    <a:close/>
                    <a:moveTo>
                      <a:pt x="182" y="149"/>
                    </a:moveTo>
                    <a:lnTo>
                      <a:pt x="187" y="151"/>
                    </a:lnTo>
                    <a:lnTo>
                      <a:pt x="187" y="153"/>
                    </a:lnTo>
                    <a:lnTo>
                      <a:pt x="191" y="156"/>
                    </a:lnTo>
                    <a:lnTo>
                      <a:pt x="194" y="153"/>
                    </a:lnTo>
                    <a:lnTo>
                      <a:pt x="196" y="153"/>
                    </a:lnTo>
                    <a:lnTo>
                      <a:pt x="196" y="151"/>
                    </a:lnTo>
                    <a:lnTo>
                      <a:pt x="198" y="147"/>
                    </a:lnTo>
                    <a:lnTo>
                      <a:pt x="201" y="146"/>
                    </a:lnTo>
                    <a:lnTo>
                      <a:pt x="205" y="146"/>
                    </a:lnTo>
                    <a:lnTo>
                      <a:pt x="206" y="144"/>
                    </a:lnTo>
                    <a:lnTo>
                      <a:pt x="210" y="146"/>
                    </a:lnTo>
                    <a:lnTo>
                      <a:pt x="213" y="142"/>
                    </a:lnTo>
                    <a:lnTo>
                      <a:pt x="213" y="141"/>
                    </a:lnTo>
                    <a:lnTo>
                      <a:pt x="210" y="139"/>
                    </a:lnTo>
                    <a:lnTo>
                      <a:pt x="210" y="137"/>
                    </a:lnTo>
                    <a:lnTo>
                      <a:pt x="213" y="135"/>
                    </a:lnTo>
                    <a:lnTo>
                      <a:pt x="219" y="134"/>
                    </a:lnTo>
                    <a:lnTo>
                      <a:pt x="219" y="128"/>
                    </a:lnTo>
                    <a:lnTo>
                      <a:pt x="213" y="121"/>
                    </a:lnTo>
                    <a:lnTo>
                      <a:pt x="210" y="120"/>
                    </a:lnTo>
                    <a:lnTo>
                      <a:pt x="208" y="120"/>
                    </a:lnTo>
                    <a:lnTo>
                      <a:pt x="206" y="118"/>
                    </a:lnTo>
                    <a:lnTo>
                      <a:pt x="205" y="120"/>
                    </a:lnTo>
                    <a:lnTo>
                      <a:pt x="203" y="118"/>
                    </a:lnTo>
                    <a:lnTo>
                      <a:pt x="200" y="118"/>
                    </a:lnTo>
                    <a:lnTo>
                      <a:pt x="200" y="120"/>
                    </a:lnTo>
                    <a:lnTo>
                      <a:pt x="198" y="120"/>
                    </a:lnTo>
                    <a:lnTo>
                      <a:pt x="196" y="121"/>
                    </a:lnTo>
                    <a:lnTo>
                      <a:pt x="191" y="123"/>
                    </a:lnTo>
                    <a:lnTo>
                      <a:pt x="187" y="127"/>
                    </a:lnTo>
                    <a:lnTo>
                      <a:pt x="186" y="130"/>
                    </a:lnTo>
                    <a:lnTo>
                      <a:pt x="179" y="134"/>
                    </a:lnTo>
                    <a:lnTo>
                      <a:pt x="179" y="135"/>
                    </a:lnTo>
                    <a:lnTo>
                      <a:pt x="179" y="139"/>
                    </a:lnTo>
                    <a:lnTo>
                      <a:pt x="182" y="141"/>
                    </a:lnTo>
                    <a:lnTo>
                      <a:pt x="182" y="142"/>
                    </a:lnTo>
                    <a:lnTo>
                      <a:pt x="182" y="146"/>
                    </a:lnTo>
                    <a:lnTo>
                      <a:pt x="182" y="149"/>
                    </a:lnTo>
                    <a:lnTo>
                      <a:pt x="182" y="149"/>
                    </a:lnTo>
                    <a:lnTo>
                      <a:pt x="182" y="149"/>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66" name="Groupe 210"/>
            <p:cNvGrpSpPr/>
            <p:nvPr/>
          </p:nvGrpSpPr>
          <p:grpSpPr>
            <a:xfrm>
              <a:off x="-3175" y="811213"/>
              <a:ext cx="3492501" cy="2743200"/>
              <a:chOff x="-3175" y="811213"/>
              <a:chExt cx="3492501" cy="2743200"/>
            </a:xfrm>
          </p:grpSpPr>
          <p:sp>
            <p:nvSpPr>
              <p:cNvPr id="665" name="Freeform 39"/>
              <p:cNvSpPr>
                <a:spLocks noEditPoints="1"/>
              </p:cNvSpPr>
              <p:nvPr/>
            </p:nvSpPr>
            <p:spPr bwMode="auto">
              <a:xfrm>
                <a:off x="1141413" y="811213"/>
                <a:ext cx="2347913" cy="2190750"/>
              </a:xfrm>
              <a:custGeom>
                <a:avLst/>
                <a:gdLst/>
                <a:ahLst/>
                <a:cxnLst>
                  <a:cxn ang="0">
                    <a:pos x="1067" y="99"/>
                  </a:cxn>
                  <a:cxn ang="0">
                    <a:pos x="1128" y="201"/>
                  </a:cxn>
                  <a:cxn ang="0">
                    <a:pos x="1093" y="269"/>
                  </a:cxn>
                  <a:cxn ang="0">
                    <a:pos x="1185" y="146"/>
                  </a:cxn>
                  <a:cxn ang="0">
                    <a:pos x="1170" y="90"/>
                  </a:cxn>
                  <a:cxn ang="0">
                    <a:pos x="1284" y="3"/>
                  </a:cxn>
                  <a:cxn ang="0">
                    <a:pos x="1425" y="121"/>
                  </a:cxn>
                  <a:cxn ang="0">
                    <a:pos x="1258" y="236"/>
                  </a:cxn>
                  <a:cxn ang="0">
                    <a:pos x="1123" y="349"/>
                  </a:cxn>
                  <a:cxn ang="0">
                    <a:pos x="1128" y="368"/>
                  </a:cxn>
                  <a:cxn ang="0">
                    <a:pos x="973" y="241"/>
                  </a:cxn>
                  <a:cxn ang="0">
                    <a:pos x="914" y="189"/>
                  </a:cxn>
                  <a:cxn ang="0">
                    <a:pos x="1079" y="422"/>
                  </a:cxn>
                  <a:cxn ang="0">
                    <a:pos x="984" y="293"/>
                  </a:cxn>
                  <a:cxn ang="0">
                    <a:pos x="939" y="283"/>
                  </a:cxn>
                  <a:cxn ang="0">
                    <a:pos x="628" y="231"/>
                  </a:cxn>
                  <a:cxn ang="0">
                    <a:pos x="919" y="340"/>
                  </a:cxn>
                  <a:cxn ang="0">
                    <a:pos x="888" y="320"/>
                  </a:cxn>
                  <a:cxn ang="0">
                    <a:pos x="650" y="255"/>
                  </a:cxn>
                  <a:cxn ang="0">
                    <a:pos x="765" y="292"/>
                  </a:cxn>
                  <a:cxn ang="0">
                    <a:pos x="539" y="299"/>
                  </a:cxn>
                  <a:cxn ang="0">
                    <a:pos x="784" y="424"/>
                  </a:cxn>
                  <a:cxn ang="0">
                    <a:pos x="855" y="445"/>
                  </a:cxn>
                  <a:cxn ang="0">
                    <a:pos x="867" y="492"/>
                  </a:cxn>
                  <a:cxn ang="0">
                    <a:pos x="1018" y="662"/>
                  </a:cxn>
                  <a:cxn ang="0">
                    <a:pos x="1071" y="686"/>
                  </a:cxn>
                  <a:cxn ang="0">
                    <a:pos x="758" y="533"/>
                  </a:cxn>
                  <a:cxn ang="0">
                    <a:pos x="683" y="440"/>
                  </a:cxn>
                  <a:cxn ang="0">
                    <a:pos x="553" y="478"/>
                  </a:cxn>
                  <a:cxn ang="0">
                    <a:pos x="685" y="584"/>
                  </a:cxn>
                  <a:cxn ang="0">
                    <a:pos x="767" y="582"/>
                  </a:cxn>
                  <a:cxn ang="0">
                    <a:pos x="1020" y="775"/>
                  </a:cxn>
                  <a:cxn ang="0">
                    <a:pos x="1039" y="608"/>
                  </a:cxn>
                  <a:cxn ang="0">
                    <a:pos x="992" y="467"/>
                  </a:cxn>
                  <a:cxn ang="0">
                    <a:pos x="1048" y="525"/>
                  </a:cxn>
                  <a:cxn ang="0">
                    <a:pos x="1156" y="573"/>
                  </a:cxn>
                  <a:cxn ang="0">
                    <a:pos x="1187" y="662"/>
                  </a:cxn>
                  <a:cxn ang="0">
                    <a:pos x="1220" y="746"/>
                  </a:cxn>
                  <a:cxn ang="0">
                    <a:pos x="1185" y="766"/>
                  </a:cxn>
                  <a:cxn ang="0">
                    <a:pos x="1156" y="876"/>
                  </a:cxn>
                  <a:cxn ang="0">
                    <a:pos x="928" y="796"/>
                  </a:cxn>
                  <a:cxn ang="0">
                    <a:pos x="1060" y="965"/>
                  </a:cxn>
                  <a:cxn ang="0">
                    <a:pos x="883" y="1031"/>
                  </a:cxn>
                  <a:cxn ang="0">
                    <a:pos x="1201" y="1199"/>
                  </a:cxn>
                  <a:cxn ang="0">
                    <a:pos x="1234" y="1290"/>
                  </a:cxn>
                  <a:cxn ang="0">
                    <a:pos x="1224" y="1219"/>
                  </a:cxn>
                  <a:cxn ang="0">
                    <a:pos x="1140" y="1309"/>
                  </a:cxn>
                  <a:cxn ang="0">
                    <a:pos x="94" y="1062"/>
                  </a:cxn>
                  <a:cxn ang="0">
                    <a:pos x="42" y="1027"/>
                  </a:cxn>
                  <a:cxn ang="0">
                    <a:pos x="136" y="1102"/>
                  </a:cxn>
                  <a:cxn ang="0">
                    <a:pos x="112" y="961"/>
                  </a:cxn>
                  <a:cxn ang="0">
                    <a:pos x="301" y="471"/>
                  </a:cxn>
                  <a:cxn ang="0">
                    <a:pos x="548" y="603"/>
                  </a:cxn>
                  <a:cxn ang="0">
                    <a:pos x="713" y="634"/>
                  </a:cxn>
                  <a:cxn ang="0">
                    <a:pos x="808" y="577"/>
                  </a:cxn>
                  <a:cxn ang="0">
                    <a:pos x="899" y="674"/>
                  </a:cxn>
                  <a:cxn ang="0">
                    <a:pos x="883" y="720"/>
                  </a:cxn>
                  <a:cxn ang="0">
                    <a:pos x="704" y="883"/>
                  </a:cxn>
                  <a:cxn ang="0">
                    <a:pos x="921" y="1052"/>
                  </a:cxn>
                  <a:cxn ang="0">
                    <a:pos x="1093" y="991"/>
                  </a:cxn>
                  <a:cxn ang="0">
                    <a:pos x="1187" y="1090"/>
                  </a:cxn>
                  <a:cxn ang="0">
                    <a:pos x="1074" y="1199"/>
                  </a:cxn>
                  <a:cxn ang="0">
                    <a:pos x="1065" y="1312"/>
                  </a:cxn>
                </a:cxnLst>
                <a:rect l="0" t="0" r="r" b="b"/>
                <a:pathLst>
                  <a:path w="1479" h="1380">
                    <a:moveTo>
                      <a:pt x="1071" y="241"/>
                    </a:moveTo>
                    <a:lnTo>
                      <a:pt x="1071" y="240"/>
                    </a:lnTo>
                    <a:lnTo>
                      <a:pt x="1074" y="236"/>
                    </a:lnTo>
                    <a:lnTo>
                      <a:pt x="1079" y="231"/>
                    </a:lnTo>
                    <a:lnTo>
                      <a:pt x="1083" y="222"/>
                    </a:lnTo>
                    <a:lnTo>
                      <a:pt x="1085" y="219"/>
                    </a:lnTo>
                    <a:lnTo>
                      <a:pt x="1085" y="224"/>
                    </a:lnTo>
                    <a:lnTo>
                      <a:pt x="1083" y="227"/>
                    </a:lnTo>
                    <a:lnTo>
                      <a:pt x="1083" y="231"/>
                    </a:lnTo>
                    <a:lnTo>
                      <a:pt x="1086" y="231"/>
                    </a:lnTo>
                    <a:lnTo>
                      <a:pt x="1090" y="227"/>
                    </a:lnTo>
                    <a:lnTo>
                      <a:pt x="1093" y="224"/>
                    </a:lnTo>
                    <a:lnTo>
                      <a:pt x="1091" y="222"/>
                    </a:lnTo>
                    <a:lnTo>
                      <a:pt x="1088" y="219"/>
                    </a:lnTo>
                    <a:lnTo>
                      <a:pt x="1088" y="219"/>
                    </a:lnTo>
                    <a:lnTo>
                      <a:pt x="1093" y="219"/>
                    </a:lnTo>
                    <a:lnTo>
                      <a:pt x="1093" y="214"/>
                    </a:lnTo>
                    <a:lnTo>
                      <a:pt x="1091" y="212"/>
                    </a:lnTo>
                    <a:lnTo>
                      <a:pt x="1091" y="208"/>
                    </a:lnTo>
                    <a:lnTo>
                      <a:pt x="1097" y="205"/>
                    </a:lnTo>
                    <a:lnTo>
                      <a:pt x="1097" y="200"/>
                    </a:lnTo>
                    <a:lnTo>
                      <a:pt x="1102" y="200"/>
                    </a:lnTo>
                    <a:lnTo>
                      <a:pt x="1102" y="196"/>
                    </a:lnTo>
                    <a:lnTo>
                      <a:pt x="1102" y="200"/>
                    </a:lnTo>
                    <a:lnTo>
                      <a:pt x="1102" y="200"/>
                    </a:lnTo>
                    <a:lnTo>
                      <a:pt x="1100" y="200"/>
                    </a:lnTo>
                    <a:lnTo>
                      <a:pt x="1097" y="208"/>
                    </a:lnTo>
                    <a:lnTo>
                      <a:pt x="1093" y="210"/>
                    </a:lnTo>
                    <a:lnTo>
                      <a:pt x="1093" y="215"/>
                    </a:lnTo>
                    <a:lnTo>
                      <a:pt x="1097" y="219"/>
                    </a:lnTo>
                    <a:lnTo>
                      <a:pt x="1097" y="222"/>
                    </a:lnTo>
                    <a:lnTo>
                      <a:pt x="1097" y="219"/>
                    </a:lnTo>
                    <a:lnTo>
                      <a:pt x="1102" y="215"/>
                    </a:lnTo>
                    <a:lnTo>
                      <a:pt x="1107" y="210"/>
                    </a:lnTo>
                    <a:lnTo>
                      <a:pt x="1109" y="205"/>
                    </a:lnTo>
                    <a:lnTo>
                      <a:pt x="1109" y="201"/>
                    </a:lnTo>
                    <a:lnTo>
                      <a:pt x="1112" y="196"/>
                    </a:lnTo>
                    <a:lnTo>
                      <a:pt x="1114" y="196"/>
                    </a:lnTo>
                    <a:lnTo>
                      <a:pt x="1114" y="200"/>
                    </a:lnTo>
                    <a:lnTo>
                      <a:pt x="1114" y="200"/>
                    </a:lnTo>
                    <a:lnTo>
                      <a:pt x="1114" y="203"/>
                    </a:lnTo>
                    <a:lnTo>
                      <a:pt x="1116" y="203"/>
                    </a:lnTo>
                    <a:lnTo>
                      <a:pt x="1119" y="200"/>
                    </a:lnTo>
                    <a:lnTo>
                      <a:pt x="1123" y="200"/>
                    </a:lnTo>
                    <a:lnTo>
                      <a:pt x="1128" y="200"/>
                    </a:lnTo>
                    <a:lnTo>
                      <a:pt x="1133" y="196"/>
                    </a:lnTo>
                    <a:lnTo>
                      <a:pt x="1137" y="196"/>
                    </a:lnTo>
                    <a:lnTo>
                      <a:pt x="1138" y="194"/>
                    </a:lnTo>
                    <a:lnTo>
                      <a:pt x="1142" y="194"/>
                    </a:lnTo>
                    <a:lnTo>
                      <a:pt x="1144" y="191"/>
                    </a:lnTo>
                    <a:lnTo>
                      <a:pt x="1144" y="187"/>
                    </a:lnTo>
                    <a:lnTo>
                      <a:pt x="1144" y="186"/>
                    </a:lnTo>
                    <a:lnTo>
                      <a:pt x="1142" y="182"/>
                    </a:lnTo>
                    <a:lnTo>
                      <a:pt x="1144" y="179"/>
                    </a:lnTo>
                    <a:lnTo>
                      <a:pt x="1144" y="172"/>
                    </a:lnTo>
                    <a:lnTo>
                      <a:pt x="1142" y="172"/>
                    </a:lnTo>
                    <a:lnTo>
                      <a:pt x="1140" y="177"/>
                    </a:lnTo>
                    <a:lnTo>
                      <a:pt x="1135" y="180"/>
                    </a:lnTo>
                    <a:lnTo>
                      <a:pt x="1133" y="180"/>
                    </a:lnTo>
                    <a:lnTo>
                      <a:pt x="1133" y="177"/>
                    </a:lnTo>
                    <a:lnTo>
                      <a:pt x="1137" y="174"/>
                    </a:lnTo>
                    <a:lnTo>
                      <a:pt x="1140" y="172"/>
                    </a:lnTo>
                    <a:lnTo>
                      <a:pt x="1140" y="168"/>
                    </a:lnTo>
                    <a:lnTo>
                      <a:pt x="1137" y="167"/>
                    </a:lnTo>
                    <a:lnTo>
                      <a:pt x="1135" y="165"/>
                    </a:lnTo>
                    <a:lnTo>
                      <a:pt x="1133" y="165"/>
                    </a:lnTo>
                    <a:lnTo>
                      <a:pt x="1131" y="165"/>
                    </a:lnTo>
                    <a:lnTo>
                      <a:pt x="1131" y="168"/>
                    </a:lnTo>
                    <a:lnTo>
                      <a:pt x="1128" y="167"/>
                    </a:lnTo>
                    <a:lnTo>
                      <a:pt x="1124" y="167"/>
                    </a:lnTo>
                    <a:lnTo>
                      <a:pt x="1124" y="168"/>
                    </a:lnTo>
                    <a:lnTo>
                      <a:pt x="1121" y="168"/>
                    </a:lnTo>
                    <a:lnTo>
                      <a:pt x="1123" y="167"/>
                    </a:lnTo>
                    <a:lnTo>
                      <a:pt x="1130" y="163"/>
                    </a:lnTo>
                    <a:lnTo>
                      <a:pt x="1133" y="160"/>
                    </a:lnTo>
                    <a:lnTo>
                      <a:pt x="1138" y="154"/>
                    </a:lnTo>
                    <a:lnTo>
                      <a:pt x="1140" y="154"/>
                    </a:lnTo>
                    <a:lnTo>
                      <a:pt x="1145" y="146"/>
                    </a:lnTo>
                    <a:lnTo>
                      <a:pt x="1147" y="140"/>
                    </a:lnTo>
                    <a:lnTo>
                      <a:pt x="1145" y="140"/>
                    </a:lnTo>
                    <a:lnTo>
                      <a:pt x="1142" y="140"/>
                    </a:lnTo>
                    <a:lnTo>
                      <a:pt x="1140" y="144"/>
                    </a:lnTo>
                    <a:lnTo>
                      <a:pt x="1138" y="140"/>
                    </a:lnTo>
                    <a:lnTo>
                      <a:pt x="1140" y="137"/>
                    </a:lnTo>
                    <a:lnTo>
                      <a:pt x="1142" y="137"/>
                    </a:lnTo>
                    <a:lnTo>
                      <a:pt x="1145" y="137"/>
                    </a:lnTo>
                    <a:lnTo>
                      <a:pt x="1147" y="137"/>
                    </a:lnTo>
                    <a:lnTo>
                      <a:pt x="1147" y="132"/>
                    </a:lnTo>
                    <a:lnTo>
                      <a:pt x="1151" y="128"/>
                    </a:lnTo>
                    <a:lnTo>
                      <a:pt x="1151" y="125"/>
                    </a:lnTo>
                    <a:lnTo>
                      <a:pt x="1147" y="123"/>
                    </a:lnTo>
                    <a:lnTo>
                      <a:pt x="1147" y="121"/>
                    </a:lnTo>
                    <a:lnTo>
                      <a:pt x="1145" y="121"/>
                    </a:lnTo>
                    <a:lnTo>
                      <a:pt x="1142" y="121"/>
                    </a:lnTo>
                    <a:lnTo>
                      <a:pt x="1138" y="128"/>
                    </a:lnTo>
                    <a:lnTo>
                      <a:pt x="1138" y="134"/>
                    </a:lnTo>
                    <a:lnTo>
                      <a:pt x="1140" y="135"/>
                    </a:lnTo>
                    <a:lnTo>
                      <a:pt x="1137" y="137"/>
                    </a:lnTo>
                    <a:lnTo>
                      <a:pt x="1135" y="137"/>
                    </a:lnTo>
                    <a:lnTo>
                      <a:pt x="1135" y="137"/>
                    </a:lnTo>
                    <a:lnTo>
                      <a:pt x="1135" y="137"/>
                    </a:lnTo>
                    <a:lnTo>
                      <a:pt x="1133" y="135"/>
                    </a:lnTo>
                    <a:lnTo>
                      <a:pt x="1133" y="132"/>
                    </a:lnTo>
                    <a:lnTo>
                      <a:pt x="1137" y="127"/>
                    </a:lnTo>
                    <a:lnTo>
                      <a:pt x="1135" y="123"/>
                    </a:lnTo>
                    <a:lnTo>
                      <a:pt x="1137" y="121"/>
                    </a:lnTo>
                    <a:lnTo>
                      <a:pt x="1138" y="121"/>
                    </a:lnTo>
                    <a:lnTo>
                      <a:pt x="1140" y="121"/>
                    </a:lnTo>
                    <a:lnTo>
                      <a:pt x="1138" y="118"/>
                    </a:lnTo>
                    <a:lnTo>
                      <a:pt x="1137" y="113"/>
                    </a:lnTo>
                    <a:lnTo>
                      <a:pt x="1133" y="113"/>
                    </a:lnTo>
                    <a:lnTo>
                      <a:pt x="1130" y="113"/>
                    </a:lnTo>
                    <a:lnTo>
                      <a:pt x="1128" y="118"/>
                    </a:lnTo>
                    <a:lnTo>
                      <a:pt x="1128" y="114"/>
                    </a:lnTo>
                    <a:lnTo>
                      <a:pt x="1128" y="113"/>
                    </a:lnTo>
                    <a:lnTo>
                      <a:pt x="1128" y="109"/>
                    </a:lnTo>
                    <a:lnTo>
                      <a:pt x="1124" y="106"/>
                    </a:lnTo>
                    <a:lnTo>
                      <a:pt x="1124" y="97"/>
                    </a:lnTo>
                    <a:lnTo>
                      <a:pt x="1124" y="92"/>
                    </a:lnTo>
                    <a:lnTo>
                      <a:pt x="1128" y="87"/>
                    </a:lnTo>
                    <a:lnTo>
                      <a:pt x="1128" y="81"/>
                    </a:lnTo>
                    <a:lnTo>
                      <a:pt x="1128" y="80"/>
                    </a:lnTo>
                    <a:lnTo>
                      <a:pt x="1130" y="73"/>
                    </a:lnTo>
                    <a:lnTo>
                      <a:pt x="1130" y="67"/>
                    </a:lnTo>
                    <a:lnTo>
                      <a:pt x="1128" y="64"/>
                    </a:lnTo>
                    <a:lnTo>
                      <a:pt x="1128" y="62"/>
                    </a:lnTo>
                    <a:lnTo>
                      <a:pt x="1123" y="59"/>
                    </a:lnTo>
                    <a:lnTo>
                      <a:pt x="1121" y="55"/>
                    </a:lnTo>
                    <a:lnTo>
                      <a:pt x="1116" y="54"/>
                    </a:lnTo>
                    <a:lnTo>
                      <a:pt x="1114" y="54"/>
                    </a:lnTo>
                    <a:lnTo>
                      <a:pt x="1114" y="57"/>
                    </a:lnTo>
                    <a:lnTo>
                      <a:pt x="1114" y="57"/>
                    </a:lnTo>
                    <a:lnTo>
                      <a:pt x="1109" y="54"/>
                    </a:lnTo>
                    <a:lnTo>
                      <a:pt x="1105" y="54"/>
                    </a:lnTo>
                    <a:lnTo>
                      <a:pt x="1105" y="57"/>
                    </a:lnTo>
                    <a:lnTo>
                      <a:pt x="1102" y="62"/>
                    </a:lnTo>
                    <a:lnTo>
                      <a:pt x="1105" y="62"/>
                    </a:lnTo>
                    <a:lnTo>
                      <a:pt x="1109" y="62"/>
                    </a:lnTo>
                    <a:lnTo>
                      <a:pt x="1111" y="62"/>
                    </a:lnTo>
                    <a:lnTo>
                      <a:pt x="1116" y="64"/>
                    </a:lnTo>
                    <a:lnTo>
                      <a:pt x="1118" y="66"/>
                    </a:lnTo>
                    <a:lnTo>
                      <a:pt x="1119" y="67"/>
                    </a:lnTo>
                    <a:lnTo>
                      <a:pt x="1119" y="69"/>
                    </a:lnTo>
                    <a:lnTo>
                      <a:pt x="1114" y="74"/>
                    </a:lnTo>
                    <a:lnTo>
                      <a:pt x="1112" y="74"/>
                    </a:lnTo>
                    <a:lnTo>
                      <a:pt x="1109" y="73"/>
                    </a:lnTo>
                    <a:lnTo>
                      <a:pt x="1105" y="73"/>
                    </a:lnTo>
                    <a:lnTo>
                      <a:pt x="1102" y="71"/>
                    </a:lnTo>
                    <a:lnTo>
                      <a:pt x="1105" y="74"/>
                    </a:lnTo>
                    <a:lnTo>
                      <a:pt x="1105" y="74"/>
                    </a:lnTo>
                    <a:lnTo>
                      <a:pt x="1102" y="78"/>
                    </a:lnTo>
                    <a:lnTo>
                      <a:pt x="1102" y="80"/>
                    </a:lnTo>
                    <a:lnTo>
                      <a:pt x="1097" y="74"/>
                    </a:lnTo>
                    <a:lnTo>
                      <a:pt x="1091" y="76"/>
                    </a:lnTo>
                    <a:lnTo>
                      <a:pt x="1090" y="81"/>
                    </a:lnTo>
                    <a:lnTo>
                      <a:pt x="1086" y="81"/>
                    </a:lnTo>
                    <a:lnTo>
                      <a:pt x="1088" y="87"/>
                    </a:lnTo>
                    <a:lnTo>
                      <a:pt x="1090" y="87"/>
                    </a:lnTo>
                    <a:lnTo>
                      <a:pt x="1091" y="90"/>
                    </a:lnTo>
                    <a:lnTo>
                      <a:pt x="1093" y="92"/>
                    </a:lnTo>
                    <a:lnTo>
                      <a:pt x="1093" y="94"/>
                    </a:lnTo>
                    <a:lnTo>
                      <a:pt x="1093" y="94"/>
                    </a:lnTo>
                    <a:lnTo>
                      <a:pt x="1091" y="95"/>
                    </a:lnTo>
                    <a:lnTo>
                      <a:pt x="1093" y="99"/>
                    </a:lnTo>
                    <a:lnTo>
                      <a:pt x="1093" y="100"/>
                    </a:lnTo>
                    <a:lnTo>
                      <a:pt x="1091" y="100"/>
                    </a:lnTo>
                    <a:lnTo>
                      <a:pt x="1088" y="99"/>
                    </a:lnTo>
                    <a:lnTo>
                      <a:pt x="1085" y="97"/>
                    </a:lnTo>
                    <a:lnTo>
                      <a:pt x="1083" y="95"/>
                    </a:lnTo>
                    <a:lnTo>
                      <a:pt x="1079" y="95"/>
                    </a:lnTo>
                    <a:lnTo>
                      <a:pt x="1078" y="97"/>
                    </a:lnTo>
                    <a:lnTo>
                      <a:pt x="1078" y="99"/>
                    </a:lnTo>
                    <a:lnTo>
                      <a:pt x="1078" y="102"/>
                    </a:lnTo>
                    <a:lnTo>
                      <a:pt x="1078" y="106"/>
                    </a:lnTo>
                    <a:lnTo>
                      <a:pt x="1074" y="104"/>
                    </a:lnTo>
                    <a:lnTo>
                      <a:pt x="1074" y="102"/>
                    </a:lnTo>
                    <a:lnTo>
                      <a:pt x="1071" y="100"/>
                    </a:lnTo>
                    <a:lnTo>
                      <a:pt x="1069" y="99"/>
                    </a:lnTo>
                    <a:lnTo>
                      <a:pt x="1067" y="99"/>
                    </a:lnTo>
                    <a:lnTo>
                      <a:pt x="1065" y="97"/>
                    </a:lnTo>
                    <a:lnTo>
                      <a:pt x="1064" y="95"/>
                    </a:lnTo>
                    <a:lnTo>
                      <a:pt x="1062" y="99"/>
                    </a:lnTo>
                    <a:lnTo>
                      <a:pt x="1064" y="102"/>
                    </a:lnTo>
                    <a:lnTo>
                      <a:pt x="1064" y="106"/>
                    </a:lnTo>
                    <a:lnTo>
                      <a:pt x="1065" y="109"/>
                    </a:lnTo>
                    <a:lnTo>
                      <a:pt x="1067" y="113"/>
                    </a:lnTo>
                    <a:lnTo>
                      <a:pt x="1071" y="113"/>
                    </a:lnTo>
                    <a:lnTo>
                      <a:pt x="1074" y="114"/>
                    </a:lnTo>
                    <a:lnTo>
                      <a:pt x="1071" y="114"/>
                    </a:lnTo>
                    <a:lnTo>
                      <a:pt x="1069" y="114"/>
                    </a:lnTo>
                    <a:lnTo>
                      <a:pt x="1071" y="118"/>
                    </a:lnTo>
                    <a:lnTo>
                      <a:pt x="1074" y="121"/>
                    </a:lnTo>
                    <a:lnTo>
                      <a:pt x="1078" y="123"/>
                    </a:lnTo>
                    <a:lnTo>
                      <a:pt x="1083" y="121"/>
                    </a:lnTo>
                    <a:lnTo>
                      <a:pt x="1083" y="121"/>
                    </a:lnTo>
                    <a:lnTo>
                      <a:pt x="1085" y="121"/>
                    </a:lnTo>
                    <a:lnTo>
                      <a:pt x="1085" y="123"/>
                    </a:lnTo>
                    <a:lnTo>
                      <a:pt x="1083" y="125"/>
                    </a:lnTo>
                    <a:lnTo>
                      <a:pt x="1079" y="130"/>
                    </a:lnTo>
                    <a:lnTo>
                      <a:pt x="1078" y="130"/>
                    </a:lnTo>
                    <a:lnTo>
                      <a:pt x="1074" y="127"/>
                    </a:lnTo>
                    <a:lnTo>
                      <a:pt x="1065" y="125"/>
                    </a:lnTo>
                    <a:lnTo>
                      <a:pt x="1062" y="121"/>
                    </a:lnTo>
                    <a:lnTo>
                      <a:pt x="1058" y="118"/>
                    </a:lnTo>
                    <a:lnTo>
                      <a:pt x="1058" y="118"/>
                    </a:lnTo>
                    <a:lnTo>
                      <a:pt x="1057" y="118"/>
                    </a:lnTo>
                    <a:lnTo>
                      <a:pt x="1055" y="121"/>
                    </a:lnTo>
                    <a:lnTo>
                      <a:pt x="1055" y="123"/>
                    </a:lnTo>
                    <a:lnTo>
                      <a:pt x="1055" y="125"/>
                    </a:lnTo>
                    <a:lnTo>
                      <a:pt x="1055" y="130"/>
                    </a:lnTo>
                    <a:lnTo>
                      <a:pt x="1055" y="132"/>
                    </a:lnTo>
                    <a:lnTo>
                      <a:pt x="1052" y="130"/>
                    </a:lnTo>
                    <a:lnTo>
                      <a:pt x="1052" y="135"/>
                    </a:lnTo>
                    <a:lnTo>
                      <a:pt x="1048" y="137"/>
                    </a:lnTo>
                    <a:lnTo>
                      <a:pt x="1048" y="144"/>
                    </a:lnTo>
                    <a:lnTo>
                      <a:pt x="1052" y="144"/>
                    </a:lnTo>
                    <a:lnTo>
                      <a:pt x="1057" y="144"/>
                    </a:lnTo>
                    <a:lnTo>
                      <a:pt x="1060" y="146"/>
                    </a:lnTo>
                    <a:lnTo>
                      <a:pt x="1064" y="146"/>
                    </a:lnTo>
                    <a:lnTo>
                      <a:pt x="1064" y="149"/>
                    </a:lnTo>
                    <a:lnTo>
                      <a:pt x="1060" y="149"/>
                    </a:lnTo>
                    <a:lnTo>
                      <a:pt x="1057" y="149"/>
                    </a:lnTo>
                    <a:lnTo>
                      <a:pt x="1052" y="149"/>
                    </a:lnTo>
                    <a:lnTo>
                      <a:pt x="1052" y="146"/>
                    </a:lnTo>
                    <a:lnTo>
                      <a:pt x="1048" y="149"/>
                    </a:lnTo>
                    <a:lnTo>
                      <a:pt x="1043" y="153"/>
                    </a:lnTo>
                    <a:lnTo>
                      <a:pt x="1043" y="156"/>
                    </a:lnTo>
                    <a:lnTo>
                      <a:pt x="1043" y="158"/>
                    </a:lnTo>
                    <a:lnTo>
                      <a:pt x="1043" y="160"/>
                    </a:lnTo>
                    <a:lnTo>
                      <a:pt x="1041" y="160"/>
                    </a:lnTo>
                    <a:lnTo>
                      <a:pt x="1041" y="163"/>
                    </a:lnTo>
                    <a:lnTo>
                      <a:pt x="1043" y="167"/>
                    </a:lnTo>
                    <a:lnTo>
                      <a:pt x="1046" y="165"/>
                    </a:lnTo>
                    <a:lnTo>
                      <a:pt x="1048" y="165"/>
                    </a:lnTo>
                    <a:lnTo>
                      <a:pt x="1052" y="160"/>
                    </a:lnTo>
                    <a:lnTo>
                      <a:pt x="1055" y="163"/>
                    </a:lnTo>
                    <a:lnTo>
                      <a:pt x="1055" y="167"/>
                    </a:lnTo>
                    <a:lnTo>
                      <a:pt x="1052" y="167"/>
                    </a:lnTo>
                    <a:lnTo>
                      <a:pt x="1048" y="168"/>
                    </a:lnTo>
                    <a:lnTo>
                      <a:pt x="1048" y="172"/>
                    </a:lnTo>
                    <a:lnTo>
                      <a:pt x="1052" y="172"/>
                    </a:lnTo>
                    <a:lnTo>
                      <a:pt x="1055" y="168"/>
                    </a:lnTo>
                    <a:lnTo>
                      <a:pt x="1057" y="168"/>
                    </a:lnTo>
                    <a:lnTo>
                      <a:pt x="1060" y="167"/>
                    </a:lnTo>
                    <a:lnTo>
                      <a:pt x="1060" y="168"/>
                    </a:lnTo>
                    <a:lnTo>
                      <a:pt x="1058" y="168"/>
                    </a:lnTo>
                    <a:lnTo>
                      <a:pt x="1060" y="172"/>
                    </a:lnTo>
                    <a:lnTo>
                      <a:pt x="1065" y="172"/>
                    </a:lnTo>
                    <a:lnTo>
                      <a:pt x="1067" y="172"/>
                    </a:lnTo>
                    <a:lnTo>
                      <a:pt x="1064" y="172"/>
                    </a:lnTo>
                    <a:lnTo>
                      <a:pt x="1064" y="177"/>
                    </a:lnTo>
                    <a:lnTo>
                      <a:pt x="1067" y="177"/>
                    </a:lnTo>
                    <a:lnTo>
                      <a:pt x="1071" y="177"/>
                    </a:lnTo>
                    <a:lnTo>
                      <a:pt x="1074" y="177"/>
                    </a:lnTo>
                    <a:lnTo>
                      <a:pt x="1083" y="180"/>
                    </a:lnTo>
                    <a:lnTo>
                      <a:pt x="1083" y="180"/>
                    </a:lnTo>
                    <a:lnTo>
                      <a:pt x="1074" y="180"/>
                    </a:lnTo>
                    <a:lnTo>
                      <a:pt x="1071" y="182"/>
                    </a:lnTo>
                    <a:lnTo>
                      <a:pt x="1069" y="179"/>
                    </a:lnTo>
                    <a:lnTo>
                      <a:pt x="1064" y="180"/>
                    </a:lnTo>
                    <a:lnTo>
                      <a:pt x="1064" y="182"/>
                    </a:lnTo>
                    <a:lnTo>
                      <a:pt x="1069" y="184"/>
                    </a:lnTo>
                    <a:lnTo>
                      <a:pt x="1074" y="186"/>
                    </a:lnTo>
                    <a:lnTo>
                      <a:pt x="1083" y="186"/>
                    </a:lnTo>
                    <a:lnTo>
                      <a:pt x="1083" y="187"/>
                    </a:lnTo>
                    <a:lnTo>
                      <a:pt x="1078" y="187"/>
                    </a:lnTo>
                    <a:lnTo>
                      <a:pt x="1074" y="187"/>
                    </a:lnTo>
                    <a:lnTo>
                      <a:pt x="1067" y="186"/>
                    </a:lnTo>
                    <a:lnTo>
                      <a:pt x="1064" y="186"/>
                    </a:lnTo>
                    <a:lnTo>
                      <a:pt x="1060" y="184"/>
                    </a:lnTo>
                    <a:lnTo>
                      <a:pt x="1057" y="182"/>
                    </a:lnTo>
                    <a:lnTo>
                      <a:pt x="1052" y="177"/>
                    </a:lnTo>
                    <a:lnTo>
                      <a:pt x="1052" y="179"/>
                    </a:lnTo>
                    <a:lnTo>
                      <a:pt x="1048" y="182"/>
                    </a:lnTo>
                    <a:lnTo>
                      <a:pt x="1043" y="182"/>
                    </a:lnTo>
                    <a:lnTo>
                      <a:pt x="1041" y="184"/>
                    </a:lnTo>
                    <a:lnTo>
                      <a:pt x="1041" y="191"/>
                    </a:lnTo>
                    <a:lnTo>
                      <a:pt x="1043" y="194"/>
                    </a:lnTo>
                    <a:lnTo>
                      <a:pt x="1043" y="196"/>
                    </a:lnTo>
                    <a:lnTo>
                      <a:pt x="1043" y="200"/>
                    </a:lnTo>
                    <a:lnTo>
                      <a:pt x="1041" y="194"/>
                    </a:lnTo>
                    <a:lnTo>
                      <a:pt x="1039" y="194"/>
                    </a:lnTo>
                    <a:lnTo>
                      <a:pt x="1036" y="200"/>
                    </a:lnTo>
                    <a:lnTo>
                      <a:pt x="1038" y="205"/>
                    </a:lnTo>
                    <a:lnTo>
                      <a:pt x="1039" y="205"/>
                    </a:lnTo>
                    <a:lnTo>
                      <a:pt x="1041" y="205"/>
                    </a:lnTo>
                    <a:lnTo>
                      <a:pt x="1043" y="205"/>
                    </a:lnTo>
                    <a:lnTo>
                      <a:pt x="1043" y="208"/>
                    </a:lnTo>
                    <a:lnTo>
                      <a:pt x="1048" y="210"/>
                    </a:lnTo>
                    <a:lnTo>
                      <a:pt x="1043" y="210"/>
                    </a:lnTo>
                    <a:lnTo>
                      <a:pt x="1043" y="212"/>
                    </a:lnTo>
                    <a:lnTo>
                      <a:pt x="1039" y="208"/>
                    </a:lnTo>
                    <a:lnTo>
                      <a:pt x="1036" y="208"/>
                    </a:lnTo>
                    <a:lnTo>
                      <a:pt x="1034" y="215"/>
                    </a:lnTo>
                    <a:lnTo>
                      <a:pt x="1036" y="217"/>
                    </a:lnTo>
                    <a:lnTo>
                      <a:pt x="1039" y="215"/>
                    </a:lnTo>
                    <a:lnTo>
                      <a:pt x="1038" y="219"/>
                    </a:lnTo>
                    <a:lnTo>
                      <a:pt x="1038" y="227"/>
                    </a:lnTo>
                    <a:lnTo>
                      <a:pt x="1039" y="224"/>
                    </a:lnTo>
                    <a:lnTo>
                      <a:pt x="1043" y="224"/>
                    </a:lnTo>
                    <a:lnTo>
                      <a:pt x="1043" y="231"/>
                    </a:lnTo>
                    <a:lnTo>
                      <a:pt x="1048" y="231"/>
                    </a:lnTo>
                    <a:lnTo>
                      <a:pt x="1055" y="236"/>
                    </a:lnTo>
                    <a:lnTo>
                      <a:pt x="1057" y="234"/>
                    </a:lnTo>
                    <a:lnTo>
                      <a:pt x="1057" y="231"/>
                    </a:lnTo>
                    <a:lnTo>
                      <a:pt x="1057" y="227"/>
                    </a:lnTo>
                    <a:lnTo>
                      <a:pt x="1062" y="231"/>
                    </a:lnTo>
                    <a:lnTo>
                      <a:pt x="1062" y="231"/>
                    </a:lnTo>
                    <a:lnTo>
                      <a:pt x="1062" y="234"/>
                    </a:lnTo>
                    <a:lnTo>
                      <a:pt x="1062" y="238"/>
                    </a:lnTo>
                    <a:lnTo>
                      <a:pt x="1064" y="238"/>
                    </a:lnTo>
                    <a:lnTo>
                      <a:pt x="1067" y="231"/>
                    </a:lnTo>
                    <a:lnTo>
                      <a:pt x="1067" y="224"/>
                    </a:lnTo>
                    <a:lnTo>
                      <a:pt x="1069" y="219"/>
                    </a:lnTo>
                    <a:lnTo>
                      <a:pt x="1071" y="214"/>
                    </a:lnTo>
                    <a:lnTo>
                      <a:pt x="1074" y="210"/>
                    </a:lnTo>
                    <a:lnTo>
                      <a:pt x="1074" y="215"/>
                    </a:lnTo>
                    <a:lnTo>
                      <a:pt x="1069" y="222"/>
                    </a:lnTo>
                    <a:lnTo>
                      <a:pt x="1069" y="227"/>
                    </a:lnTo>
                    <a:lnTo>
                      <a:pt x="1071" y="227"/>
                    </a:lnTo>
                    <a:lnTo>
                      <a:pt x="1069" y="234"/>
                    </a:lnTo>
                    <a:lnTo>
                      <a:pt x="1071" y="238"/>
                    </a:lnTo>
                    <a:lnTo>
                      <a:pt x="1069" y="241"/>
                    </a:lnTo>
                    <a:lnTo>
                      <a:pt x="1071" y="241"/>
                    </a:lnTo>
                    <a:lnTo>
                      <a:pt x="1071" y="241"/>
                    </a:lnTo>
                    <a:lnTo>
                      <a:pt x="1071" y="241"/>
                    </a:lnTo>
                    <a:lnTo>
                      <a:pt x="1071" y="241"/>
                    </a:lnTo>
                    <a:close/>
                    <a:moveTo>
                      <a:pt x="1078" y="90"/>
                    </a:moveTo>
                    <a:lnTo>
                      <a:pt x="1079" y="90"/>
                    </a:lnTo>
                    <a:lnTo>
                      <a:pt x="1083" y="90"/>
                    </a:lnTo>
                    <a:lnTo>
                      <a:pt x="1083" y="90"/>
                    </a:lnTo>
                    <a:lnTo>
                      <a:pt x="1086" y="90"/>
                    </a:lnTo>
                    <a:lnTo>
                      <a:pt x="1086" y="94"/>
                    </a:lnTo>
                    <a:lnTo>
                      <a:pt x="1085" y="94"/>
                    </a:lnTo>
                    <a:lnTo>
                      <a:pt x="1083" y="92"/>
                    </a:lnTo>
                    <a:lnTo>
                      <a:pt x="1079" y="92"/>
                    </a:lnTo>
                    <a:lnTo>
                      <a:pt x="1078" y="90"/>
                    </a:lnTo>
                    <a:lnTo>
                      <a:pt x="1078" y="90"/>
                    </a:lnTo>
                    <a:lnTo>
                      <a:pt x="1078" y="90"/>
                    </a:lnTo>
                    <a:lnTo>
                      <a:pt x="1078" y="90"/>
                    </a:lnTo>
                    <a:close/>
                    <a:moveTo>
                      <a:pt x="1083" y="240"/>
                    </a:moveTo>
                    <a:lnTo>
                      <a:pt x="1083" y="238"/>
                    </a:lnTo>
                    <a:lnTo>
                      <a:pt x="1083" y="234"/>
                    </a:lnTo>
                    <a:lnTo>
                      <a:pt x="1083" y="233"/>
                    </a:lnTo>
                    <a:lnTo>
                      <a:pt x="1086" y="231"/>
                    </a:lnTo>
                    <a:lnTo>
                      <a:pt x="1086" y="233"/>
                    </a:lnTo>
                    <a:lnTo>
                      <a:pt x="1086" y="234"/>
                    </a:lnTo>
                    <a:lnTo>
                      <a:pt x="1085" y="236"/>
                    </a:lnTo>
                    <a:lnTo>
                      <a:pt x="1083" y="240"/>
                    </a:lnTo>
                    <a:lnTo>
                      <a:pt x="1083" y="240"/>
                    </a:lnTo>
                    <a:lnTo>
                      <a:pt x="1083" y="240"/>
                    </a:lnTo>
                    <a:lnTo>
                      <a:pt x="1083" y="240"/>
                    </a:lnTo>
                    <a:lnTo>
                      <a:pt x="1083" y="240"/>
                    </a:lnTo>
                    <a:close/>
                    <a:moveTo>
                      <a:pt x="1116" y="208"/>
                    </a:moveTo>
                    <a:lnTo>
                      <a:pt x="1121" y="201"/>
                    </a:lnTo>
                    <a:lnTo>
                      <a:pt x="1123" y="201"/>
                    </a:lnTo>
                    <a:lnTo>
                      <a:pt x="1124" y="200"/>
                    </a:lnTo>
                    <a:lnTo>
                      <a:pt x="1128" y="201"/>
                    </a:lnTo>
                    <a:lnTo>
                      <a:pt x="1131" y="205"/>
                    </a:lnTo>
                    <a:lnTo>
                      <a:pt x="1130" y="208"/>
                    </a:lnTo>
                    <a:lnTo>
                      <a:pt x="1128" y="208"/>
                    </a:lnTo>
                    <a:lnTo>
                      <a:pt x="1124" y="210"/>
                    </a:lnTo>
                    <a:lnTo>
                      <a:pt x="1119" y="210"/>
                    </a:lnTo>
                    <a:lnTo>
                      <a:pt x="1118" y="210"/>
                    </a:lnTo>
                    <a:lnTo>
                      <a:pt x="1116" y="208"/>
                    </a:lnTo>
                    <a:lnTo>
                      <a:pt x="1116" y="208"/>
                    </a:lnTo>
                    <a:lnTo>
                      <a:pt x="1116" y="208"/>
                    </a:lnTo>
                    <a:lnTo>
                      <a:pt x="1116" y="208"/>
                    </a:lnTo>
                    <a:close/>
                    <a:moveTo>
                      <a:pt x="1373" y="5"/>
                    </a:moveTo>
                    <a:lnTo>
                      <a:pt x="1375" y="3"/>
                    </a:lnTo>
                    <a:lnTo>
                      <a:pt x="1376" y="3"/>
                    </a:lnTo>
                    <a:lnTo>
                      <a:pt x="1378" y="5"/>
                    </a:lnTo>
                    <a:lnTo>
                      <a:pt x="1375" y="8"/>
                    </a:lnTo>
                    <a:lnTo>
                      <a:pt x="1373" y="5"/>
                    </a:lnTo>
                    <a:lnTo>
                      <a:pt x="1373" y="5"/>
                    </a:lnTo>
                    <a:lnTo>
                      <a:pt x="1373" y="5"/>
                    </a:lnTo>
                    <a:lnTo>
                      <a:pt x="1373" y="5"/>
                    </a:lnTo>
                    <a:close/>
                    <a:moveTo>
                      <a:pt x="1250" y="248"/>
                    </a:moveTo>
                    <a:lnTo>
                      <a:pt x="1248" y="250"/>
                    </a:lnTo>
                    <a:lnTo>
                      <a:pt x="1250" y="250"/>
                    </a:lnTo>
                    <a:lnTo>
                      <a:pt x="1251" y="250"/>
                    </a:lnTo>
                    <a:lnTo>
                      <a:pt x="1251" y="250"/>
                    </a:lnTo>
                    <a:lnTo>
                      <a:pt x="1251" y="248"/>
                    </a:lnTo>
                    <a:lnTo>
                      <a:pt x="1251" y="248"/>
                    </a:lnTo>
                    <a:lnTo>
                      <a:pt x="1250" y="248"/>
                    </a:lnTo>
                    <a:lnTo>
                      <a:pt x="1250" y="248"/>
                    </a:lnTo>
                    <a:lnTo>
                      <a:pt x="1250" y="248"/>
                    </a:lnTo>
                    <a:lnTo>
                      <a:pt x="1250" y="248"/>
                    </a:lnTo>
                    <a:close/>
                    <a:moveTo>
                      <a:pt x="1187" y="287"/>
                    </a:moveTo>
                    <a:lnTo>
                      <a:pt x="1189" y="287"/>
                    </a:lnTo>
                    <a:lnTo>
                      <a:pt x="1192" y="287"/>
                    </a:lnTo>
                    <a:lnTo>
                      <a:pt x="1191" y="287"/>
                    </a:lnTo>
                    <a:lnTo>
                      <a:pt x="1187" y="287"/>
                    </a:lnTo>
                    <a:lnTo>
                      <a:pt x="1187" y="287"/>
                    </a:lnTo>
                    <a:lnTo>
                      <a:pt x="1187" y="287"/>
                    </a:lnTo>
                    <a:lnTo>
                      <a:pt x="1187" y="287"/>
                    </a:lnTo>
                    <a:close/>
                    <a:moveTo>
                      <a:pt x="1102" y="283"/>
                    </a:moveTo>
                    <a:lnTo>
                      <a:pt x="1100" y="281"/>
                    </a:lnTo>
                    <a:lnTo>
                      <a:pt x="1100" y="278"/>
                    </a:lnTo>
                    <a:lnTo>
                      <a:pt x="1102" y="278"/>
                    </a:lnTo>
                    <a:lnTo>
                      <a:pt x="1105" y="278"/>
                    </a:lnTo>
                    <a:lnTo>
                      <a:pt x="1105" y="281"/>
                    </a:lnTo>
                    <a:lnTo>
                      <a:pt x="1102" y="283"/>
                    </a:lnTo>
                    <a:lnTo>
                      <a:pt x="1102" y="283"/>
                    </a:lnTo>
                    <a:lnTo>
                      <a:pt x="1102" y="283"/>
                    </a:lnTo>
                    <a:lnTo>
                      <a:pt x="1102" y="283"/>
                    </a:lnTo>
                    <a:lnTo>
                      <a:pt x="1102" y="283"/>
                    </a:lnTo>
                    <a:close/>
                    <a:moveTo>
                      <a:pt x="1078" y="337"/>
                    </a:moveTo>
                    <a:lnTo>
                      <a:pt x="1078" y="335"/>
                    </a:lnTo>
                    <a:lnTo>
                      <a:pt x="1078" y="332"/>
                    </a:lnTo>
                    <a:lnTo>
                      <a:pt x="1074" y="327"/>
                    </a:lnTo>
                    <a:lnTo>
                      <a:pt x="1074" y="327"/>
                    </a:lnTo>
                    <a:lnTo>
                      <a:pt x="1074" y="327"/>
                    </a:lnTo>
                    <a:lnTo>
                      <a:pt x="1071" y="332"/>
                    </a:lnTo>
                    <a:lnTo>
                      <a:pt x="1074" y="337"/>
                    </a:lnTo>
                    <a:lnTo>
                      <a:pt x="1074" y="340"/>
                    </a:lnTo>
                    <a:lnTo>
                      <a:pt x="1074" y="342"/>
                    </a:lnTo>
                    <a:lnTo>
                      <a:pt x="1074" y="342"/>
                    </a:lnTo>
                    <a:lnTo>
                      <a:pt x="1071" y="340"/>
                    </a:lnTo>
                    <a:lnTo>
                      <a:pt x="1064" y="340"/>
                    </a:lnTo>
                    <a:lnTo>
                      <a:pt x="1064" y="340"/>
                    </a:lnTo>
                    <a:lnTo>
                      <a:pt x="1062" y="337"/>
                    </a:lnTo>
                    <a:lnTo>
                      <a:pt x="1057" y="335"/>
                    </a:lnTo>
                    <a:lnTo>
                      <a:pt x="1055" y="337"/>
                    </a:lnTo>
                    <a:lnTo>
                      <a:pt x="1055" y="335"/>
                    </a:lnTo>
                    <a:lnTo>
                      <a:pt x="1055" y="333"/>
                    </a:lnTo>
                    <a:lnTo>
                      <a:pt x="1052" y="333"/>
                    </a:lnTo>
                    <a:lnTo>
                      <a:pt x="1052" y="332"/>
                    </a:lnTo>
                    <a:lnTo>
                      <a:pt x="1052" y="328"/>
                    </a:lnTo>
                    <a:lnTo>
                      <a:pt x="1055" y="328"/>
                    </a:lnTo>
                    <a:lnTo>
                      <a:pt x="1055" y="327"/>
                    </a:lnTo>
                    <a:lnTo>
                      <a:pt x="1055" y="323"/>
                    </a:lnTo>
                    <a:lnTo>
                      <a:pt x="1055" y="318"/>
                    </a:lnTo>
                    <a:lnTo>
                      <a:pt x="1052" y="318"/>
                    </a:lnTo>
                    <a:lnTo>
                      <a:pt x="1052" y="320"/>
                    </a:lnTo>
                    <a:lnTo>
                      <a:pt x="1055" y="321"/>
                    </a:lnTo>
                    <a:lnTo>
                      <a:pt x="1055" y="325"/>
                    </a:lnTo>
                    <a:lnTo>
                      <a:pt x="1052" y="327"/>
                    </a:lnTo>
                    <a:lnTo>
                      <a:pt x="1052" y="327"/>
                    </a:lnTo>
                    <a:lnTo>
                      <a:pt x="1048" y="327"/>
                    </a:lnTo>
                    <a:lnTo>
                      <a:pt x="1048" y="328"/>
                    </a:lnTo>
                    <a:lnTo>
                      <a:pt x="1052" y="328"/>
                    </a:lnTo>
                    <a:lnTo>
                      <a:pt x="1048" y="333"/>
                    </a:lnTo>
                    <a:lnTo>
                      <a:pt x="1046" y="332"/>
                    </a:lnTo>
                    <a:lnTo>
                      <a:pt x="1043" y="328"/>
                    </a:lnTo>
                    <a:lnTo>
                      <a:pt x="1043" y="327"/>
                    </a:lnTo>
                    <a:lnTo>
                      <a:pt x="1043" y="325"/>
                    </a:lnTo>
                    <a:lnTo>
                      <a:pt x="1046" y="320"/>
                    </a:lnTo>
                    <a:lnTo>
                      <a:pt x="1043" y="318"/>
                    </a:lnTo>
                    <a:lnTo>
                      <a:pt x="1046" y="318"/>
                    </a:lnTo>
                    <a:lnTo>
                      <a:pt x="1043" y="318"/>
                    </a:lnTo>
                    <a:lnTo>
                      <a:pt x="1043" y="321"/>
                    </a:lnTo>
                    <a:lnTo>
                      <a:pt x="1041" y="323"/>
                    </a:lnTo>
                    <a:lnTo>
                      <a:pt x="1041" y="325"/>
                    </a:lnTo>
                    <a:lnTo>
                      <a:pt x="1041" y="328"/>
                    </a:lnTo>
                    <a:lnTo>
                      <a:pt x="1038" y="328"/>
                    </a:lnTo>
                    <a:lnTo>
                      <a:pt x="1036" y="327"/>
                    </a:lnTo>
                    <a:lnTo>
                      <a:pt x="1034" y="327"/>
                    </a:lnTo>
                    <a:lnTo>
                      <a:pt x="1032" y="325"/>
                    </a:lnTo>
                    <a:lnTo>
                      <a:pt x="1034" y="321"/>
                    </a:lnTo>
                    <a:lnTo>
                      <a:pt x="1034" y="318"/>
                    </a:lnTo>
                    <a:lnTo>
                      <a:pt x="1036" y="318"/>
                    </a:lnTo>
                    <a:lnTo>
                      <a:pt x="1036" y="313"/>
                    </a:lnTo>
                    <a:lnTo>
                      <a:pt x="1039" y="306"/>
                    </a:lnTo>
                    <a:lnTo>
                      <a:pt x="1038" y="309"/>
                    </a:lnTo>
                    <a:lnTo>
                      <a:pt x="1034" y="309"/>
                    </a:lnTo>
                    <a:lnTo>
                      <a:pt x="1032" y="314"/>
                    </a:lnTo>
                    <a:lnTo>
                      <a:pt x="1032" y="320"/>
                    </a:lnTo>
                    <a:lnTo>
                      <a:pt x="1032" y="323"/>
                    </a:lnTo>
                    <a:lnTo>
                      <a:pt x="1029" y="321"/>
                    </a:lnTo>
                    <a:lnTo>
                      <a:pt x="1032" y="318"/>
                    </a:lnTo>
                    <a:lnTo>
                      <a:pt x="1032" y="318"/>
                    </a:lnTo>
                    <a:lnTo>
                      <a:pt x="1032" y="318"/>
                    </a:lnTo>
                    <a:lnTo>
                      <a:pt x="1029" y="321"/>
                    </a:lnTo>
                    <a:lnTo>
                      <a:pt x="1024" y="321"/>
                    </a:lnTo>
                    <a:lnTo>
                      <a:pt x="1024" y="320"/>
                    </a:lnTo>
                    <a:lnTo>
                      <a:pt x="1024" y="314"/>
                    </a:lnTo>
                    <a:lnTo>
                      <a:pt x="1024" y="313"/>
                    </a:lnTo>
                    <a:lnTo>
                      <a:pt x="1024" y="311"/>
                    </a:lnTo>
                    <a:lnTo>
                      <a:pt x="1029" y="309"/>
                    </a:lnTo>
                    <a:lnTo>
                      <a:pt x="1029" y="306"/>
                    </a:lnTo>
                    <a:lnTo>
                      <a:pt x="1029" y="306"/>
                    </a:lnTo>
                    <a:lnTo>
                      <a:pt x="1029" y="302"/>
                    </a:lnTo>
                    <a:lnTo>
                      <a:pt x="1032" y="300"/>
                    </a:lnTo>
                    <a:lnTo>
                      <a:pt x="1034" y="299"/>
                    </a:lnTo>
                    <a:lnTo>
                      <a:pt x="1036" y="299"/>
                    </a:lnTo>
                    <a:lnTo>
                      <a:pt x="1041" y="297"/>
                    </a:lnTo>
                    <a:lnTo>
                      <a:pt x="1043" y="295"/>
                    </a:lnTo>
                    <a:lnTo>
                      <a:pt x="1043" y="293"/>
                    </a:lnTo>
                    <a:lnTo>
                      <a:pt x="1048" y="293"/>
                    </a:lnTo>
                    <a:lnTo>
                      <a:pt x="1048" y="292"/>
                    </a:lnTo>
                    <a:lnTo>
                      <a:pt x="1048" y="290"/>
                    </a:lnTo>
                    <a:lnTo>
                      <a:pt x="1052" y="290"/>
                    </a:lnTo>
                    <a:lnTo>
                      <a:pt x="1055" y="292"/>
                    </a:lnTo>
                    <a:lnTo>
                      <a:pt x="1062" y="292"/>
                    </a:lnTo>
                    <a:lnTo>
                      <a:pt x="1064" y="290"/>
                    </a:lnTo>
                    <a:lnTo>
                      <a:pt x="1067" y="292"/>
                    </a:lnTo>
                    <a:lnTo>
                      <a:pt x="1067" y="295"/>
                    </a:lnTo>
                    <a:lnTo>
                      <a:pt x="1071" y="295"/>
                    </a:lnTo>
                    <a:lnTo>
                      <a:pt x="1071" y="292"/>
                    </a:lnTo>
                    <a:lnTo>
                      <a:pt x="1071" y="292"/>
                    </a:lnTo>
                    <a:lnTo>
                      <a:pt x="1074" y="295"/>
                    </a:lnTo>
                    <a:lnTo>
                      <a:pt x="1078" y="293"/>
                    </a:lnTo>
                    <a:lnTo>
                      <a:pt x="1079" y="295"/>
                    </a:lnTo>
                    <a:lnTo>
                      <a:pt x="1083" y="293"/>
                    </a:lnTo>
                    <a:lnTo>
                      <a:pt x="1079" y="292"/>
                    </a:lnTo>
                    <a:lnTo>
                      <a:pt x="1078" y="292"/>
                    </a:lnTo>
                    <a:lnTo>
                      <a:pt x="1074" y="290"/>
                    </a:lnTo>
                    <a:lnTo>
                      <a:pt x="1074" y="290"/>
                    </a:lnTo>
                    <a:lnTo>
                      <a:pt x="1074" y="288"/>
                    </a:lnTo>
                    <a:lnTo>
                      <a:pt x="1078" y="287"/>
                    </a:lnTo>
                    <a:lnTo>
                      <a:pt x="1078" y="287"/>
                    </a:lnTo>
                    <a:lnTo>
                      <a:pt x="1074" y="283"/>
                    </a:lnTo>
                    <a:lnTo>
                      <a:pt x="1074" y="283"/>
                    </a:lnTo>
                    <a:lnTo>
                      <a:pt x="1078" y="283"/>
                    </a:lnTo>
                    <a:lnTo>
                      <a:pt x="1078" y="281"/>
                    </a:lnTo>
                    <a:lnTo>
                      <a:pt x="1074" y="281"/>
                    </a:lnTo>
                    <a:lnTo>
                      <a:pt x="1074" y="281"/>
                    </a:lnTo>
                    <a:lnTo>
                      <a:pt x="1071" y="281"/>
                    </a:lnTo>
                    <a:lnTo>
                      <a:pt x="1071" y="281"/>
                    </a:lnTo>
                    <a:lnTo>
                      <a:pt x="1071" y="278"/>
                    </a:lnTo>
                    <a:lnTo>
                      <a:pt x="1074" y="276"/>
                    </a:lnTo>
                    <a:lnTo>
                      <a:pt x="1074" y="274"/>
                    </a:lnTo>
                    <a:lnTo>
                      <a:pt x="1071" y="274"/>
                    </a:lnTo>
                    <a:lnTo>
                      <a:pt x="1071" y="271"/>
                    </a:lnTo>
                    <a:lnTo>
                      <a:pt x="1071" y="266"/>
                    </a:lnTo>
                    <a:lnTo>
                      <a:pt x="1071" y="264"/>
                    </a:lnTo>
                    <a:lnTo>
                      <a:pt x="1071" y="260"/>
                    </a:lnTo>
                    <a:lnTo>
                      <a:pt x="1071" y="259"/>
                    </a:lnTo>
                    <a:lnTo>
                      <a:pt x="1074" y="259"/>
                    </a:lnTo>
                    <a:lnTo>
                      <a:pt x="1078" y="259"/>
                    </a:lnTo>
                    <a:lnTo>
                      <a:pt x="1079" y="259"/>
                    </a:lnTo>
                    <a:lnTo>
                      <a:pt x="1083" y="255"/>
                    </a:lnTo>
                    <a:lnTo>
                      <a:pt x="1086" y="259"/>
                    </a:lnTo>
                    <a:lnTo>
                      <a:pt x="1090" y="259"/>
                    </a:lnTo>
                    <a:lnTo>
                      <a:pt x="1093" y="262"/>
                    </a:lnTo>
                    <a:lnTo>
                      <a:pt x="1093" y="269"/>
                    </a:lnTo>
                    <a:lnTo>
                      <a:pt x="1093" y="278"/>
                    </a:lnTo>
                    <a:lnTo>
                      <a:pt x="1093" y="283"/>
                    </a:lnTo>
                    <a:lnTo>
                      <a:pt x="1093" y="283"/>
                    </a:lnTo>
                    <a:lnTo>
                      <a:pt x="1097" y="283"/>
                    </a:lnTo>
                    <a:lnTo>
                      <a:pt x="1102" y="287"/>
                    </a:lnTo>
                    <a:lnTo>
                      <a:pt x="1105" y="290"/>
                    </a:lnTo>
                    <a:lnTo>
                      <a:pt x="1107" y="292"/>
                    </a:lnTo>
                    <a:lnTo>
                      <a:pt x="1107" y="288"/>
                    </a:lnTo>
                    <a:lnTo>
                      <a:pt x="1114" y="288"/>
                    </a:lnTo>
                    <a:lnTo>
                      <a:pt x="1119" y="293"/>
                    </a:lnTo>
                    <a:lnTo>
                      <a:pt x="1121" y="292"/>
                    </a:lnTo>
                    <a:lnTo>
                      <a:pt x="1118" y="290"/>
                    </a:lnTo>
                    <a:lnTo>
                      <a:pt x="1121" y="287"/>
                    </a:lnTo>
                    <a:lnTo>
                      <a:pt x="1124" y="287"/>
                    </a:lnTo>
                    <a:lnTo>
                      <a:pt x="1128" y="281"/>
                    </a:lnTo>
                    <a:lnTo>
                      <a:pt x="1135" y="276"/>
                    </a:lnTo>
                    <a:lnTo>
                      <a:pt x="1142" y="271"/>
                    </a:lnTo>
                    <a:lnTo>
                      <a:pt x="1142" y="267"/>
                    </a:lnTo>
                    <a:lnTo>
                      <a:pt x="1144" y="266"/>
                    </a:lnTo>
                    <a:lnTo>
                      <a:pt x="1142" y="266"/>
                    </a:lnTo>
                    <a:lnTo>
                      <a:pt x="1138" y="267"/>
                    </a:lnTo>
                    <a:lnTo>
                      <a:pt x="1138" y="269"/>
                    </a:lnTo>
                    <a:lnTo>
                      <a:pt x="1133" y="276"/>
                    </a:lnTo>
                    <a:lnTo>
                      <a:pt x="1128" y="278"/>
                    </a:lnTo>
                    <a:lnTo>
                      <a:pt x="1128" y="278"/>
                    </a:lnTo>
                    <a:lnTo>
                      <a:pt x="1124" y="283"/>
                    </a:lnTo>
                    <a:lnTo>
                      <a:pt x="1119" y="287"/>
                    </a:lnTo>
                    <a:lnTo>
                      <a:pt x="1118" y="283"/>
                    </a:lnTo>
                    <a:lnTo>
                      <a:pt x="1116" y="283"/>
                    </a:lnTo>
                    <a:lnTo>
                      <a:pt x="1114" y="287"/>
                    </a:lnTo>
                    <a:lnTo>
                      <a:pt x="1111" y="287"/>
                    </a:lnTo>
                    <a:lnTo>
                      <a:pt x="1105" y="281"/>
                    </a:lnTo>
                    <a:lnTo>
                      <a:pt x="1105" y="281"/>
                    </a:lnTo>
                    <a:lnTo>
                      <a:pt x="1109" y="278"/>
                    </a:lnTo>
                    <a:lnTo>
                      <a:pt x="1112" y="276"/>
                    </a:lnTo>
                    <a:lnTo>
                      <a:pt x="1112" y="273"/>
                    </a:lnTo>
                    <a:lnTo>
                      <a:pt x="1109" y="276"/>
                    </a:lnTo>
                    <a:lnTo>
                      <a:pt x="1107" y="278"/>
                    </a:lnTo>
                    <a:lnTo>
                      <a:pt x="1105" y="278"/>
                    </a:lnTo>
                    <a:lnTo>
                      <a:pt x="1102" y="274"/>
                    </a:lnTo>
                    <a:lnTo>
                      <a:pt x="1102" y="273"/>
                    </a:lnTo>
                    <a:lnTo>
                      <a:pt x="1105" y="273"/>
                    </a:lnTo>
                    <a:lnTo>
                      <a:pt x="1107" y="271"/>
                    </a:lnTo>
                    <a:lnTo>
                      <a:pt x="1107" y="269"/>
                    </a:lnTo>
                    <a:lnTo>
                      <a:pt x="1105" y="269"/>
                    </a:lnTo>
                    <a:lnTo>
                      <a:pt x="1105" y="267"/>
                    </a:lnTo>
                    <a:lnTo>
                      <a:pt x="1107" y="266"/>
                    </a:lnTo>
                    <a:lnTo>
                      <a:pt x="1109" y="267"/>
                    </a:lnTo>
                    <a:lnTo>
                      <a:pt x="1112" y="267"/>
                    </a:lnTo>
                    <a:lnTo>
                      <a:pt x="1112" y="266"/>
                    </a:lnTo>
                    <a:lnTo>
                      <a:pt x="1109" y="266"/>
                    </a:lnTo>
                    <a:lnTo>
                      <a:pt x="1107" y="264"/>
                    </a:lnTo>
                    <a:lnTo>
                      <a:pt x="1105" y="266"/>
                    </a:lnTo>
                    <a:lnTo>
                      <a:pt x="1102" y="266"/>
                    </a:lnTo>
                    <a:lnTo>
                      <a:pt x="1102" y="262"/>
                    </a:lnTo>
                    <a:lnTo>
                      <a:pt x="1102" y="260"/>
                    </a:lnTo>
                    <a:lnTo>
                      <a:pt x="1105" y="260"/>
                    </a:lnTo>
                    <a:lnTo>
                      <a:pt x="1107" y="259"/>
                    </a:lnTo>
                    <a:lnTo>
                      <a:pt x="1112" y="259"/>
                    </a:lnTo>
                    <a:lnTo>
                      <a:pt x="1116" y="260"/>
                    </a:lnTo>
                    <a:lnTo>
                      <a:pt x="1118" y="259"/>
                    </a:lnTo>
                    <a:lnTo>
                      <a:pt x="1114" y="259"/>
                    </a:lnTo>
                    <a:lnTo>
                      <a:pt x="1112" y="259"/>
                    </a:lnTo>
                    <a:lnTo>
                      <a:pt x="1116" y="255"/>
                    </a:lnTo>
                    <a:lnTo>
                      <a:pt x="1119" y="255"/>
                    </a:lnTo>
                    <a:lnTo>
                      <a:pt x="1119" y="254"/>
                    </a:lnTo>
                    <a:lnTo>
                      <a:pt x="1118" y="254"/>
                    </a:lnTo>
                    <a:lnTo>
                      <a:pt x="1118" y="250"/>
                    </a:lnTo>
                    <a:lnTo>
                      <a:pt x="1119" y="248"/>
                    </a:lnTo>
                    <a:lnTo>
                      <a:pt x="1123" y="247"/>
                    </a:lnTo>
                    <a:lnTo>
                      <a:pt x="1121" y="245"/>
                    </a:lnTo>
                    <a:lnTo>
                      <a:pt x="1124" y="238"/>
                    </a:lnTo>
                    <a:lnTo>
                      <a:pt x="1128" y="236"/>
                    </a:lnTo>
                    <a:lnTo>
                      <a:pt x="1128" y="233"/>
                    </a:lnTo>
                    <a:lnTo>
                      <a:pt x="1124" y="234"/>
                    </a:lnTo>
                    <a:lnTo>
                      <a:pt x="1121" y="240"/>
                    </a:lnTo>
                    <a:lnTo>
                      <a:pt x="1118" y="248"/>
                    </a:lnTo>
                    <a:lnTo>
                      <a:pt x="1112" y="250"/>
                    </a:lnTo>
                    <a:lnTo>
                      <a:pt x="1107" y="255"/>
                    </a:lnTo>
                    <a:lnTo>
                      <a:pt x="1105" y="255"/>
                    </a:lnTo>
                    <a:lnTo>
                      <a:pt x="1102" y="255"/>
                    </a:lnTo>
                    <a:lnTo>
                      <a:pt x="1102" y="254"/>
                    </a:lnTo>
                    <a:lnTo>
                      <a:pt x="1102" y="250"/>
                    </a:lnTo>
                    <a:lnTo>
                      <a:pt x="1105" y="248"/>
                    </a:lnTo>
                    <a:lnTo>
                      <a:pt x="1105" y="245"/>
                    </a:lnTo>
                    <a:lnTo>
                      <a:pt x="1102" y="248"/>
                    </a:lnTo>
                    <a:lnTo>
                      <a:pt x="1097" y="248"/>
                    </a:lnTo>
                    <a:lnTo>
                      <a:pt x="1097" y="250"/>
                    </a:lnTo>
                    <a:lnTo>
                      <a:pt x="1093" y="250"/>
                    </a:lnTo>
                    <a:lnTo>
                      <a:pt x="1090" y="250"/>
                    </a:lnTo>
                    <a:lnTo>
                      <a:pt x="1085" y="248"/>
                    </a:lnTo>
                    <a:lnTo>
                      <a:pt x="1088" y="247"/>
                    </a:lnTo>
                    <a:lnTo>
                      <a:pt x="1091" y="245"/>
                    </a:lnTo>
                    <a:lnTo>
                      <a:pt x="1090" y="243"/>
                    </a:lnTo>
                    <a:lnTo>
                      <a:pt x="1088" y="243"/>
                    </a:lnTo>
                    <a:lnTo>
                      <a:pt x="1088" y="240"/>
                    </a:lnTo>
                    <a:lnTo>
                      <a:pt x="1093" y="236"/>
                    </a:lnTo>
                    <a:lnTo>
                      <a:pt x="1093" y="233"/>
                    </a:lnTo>
                    <a:lnTo>
                      <a:pt x="1097" y="231"/>
                    </a:lnTo>
                    <a:lnTo>
                      <a:pt x="1100" y="231"/>
                    </a:lnTo>
                    <a:lnTo>
                      <a:pt x="1102" y="231"/>
                    </a:lnTo>
                    <a:lnTo>
                      <a:pt x="1102" y="224"/>
                    </a:lnTo>
                    <a:lnTo>
                      <a:pt x="1105" y="222"/>
                    </a:lnTo>
                    <a:lnTo>
                      <a:pt x="1111" y="215"/>
                    </a:lnTo>
                    <a:lnTo>
                      <a:pt x="1112" y="217"/>
                    </a:lnTo>
                    <a:lnTo>
                      <a:pt x="1119" y="215"/>
                    </a:lnTo>
                    <a:lnTo>
                      <a:pt x="1124" y="217"/>
                    </a:lnTo>
                    <a:lnTo>
                      <a:pt x="1128" y="215"/>
                    </a:lnTo>
                    <a:lnTo>
                      <a:pt x="1130" y="215"/>
                    </a:lnTo>
                    <a:lnTo>
                      <a:pt x="1133" y="212"/>
                    </a:lnTo>
                    <a:lnTo>
                      <a:pt x="1135" y="212"/>
                    </a:lnTo>
                    <a:lnTo>
                      <a:pt x="1137" y="214"/>
                    </a:lnTo>
                    <a:lnTo>
                      <a:pt x="1140" y="217"/>
                    </a:lnTo>
                    <a:lnTo>
                      <a:pt x="1144" y="219"/>
                    </a:lnTo>
                    <a:lnTo>
                      <a:pt x="1151" y="224"/>
                    </a:lnTo>
                    <a:lnTo>
                      <a:pt x="1151" y="224"/>
                    </a:lnTo>
                    <a:lnTo>
                      <a:pt x="1152" y="227"/>
                    </a:lnTo>
                    <a:lnTo>
                      <a:pt x="1156" y="227"/>
                    </a:lnTo>
                    <a:lnTo>
                      <a:pt x="1159" y="234"/>
                    </a:lnTo>
                    <a:lnTo>
                      <a:pt x="1159" y="231"/>
                    </a:lnTo>
                    <a:lnTo>
                      <a:pt x="1163" y="231"/>
                    </a:lnTo>
                    <a:lnTo>
                      <a:pt x="1163" y="227"/>
                    </a:lnTo>
                    <a:lnTo>
                      <a:pt x="1158" y="227"/>
                    </a:lnTo>
                    <a:lnTo>
                      <a:pt x="1156" y="227"/>
                    </a:lnTo>
                    <a:lnTo>
                      <a:pt x="1156" y="224"/>
                    </a:lnTo>
                    <a:lnTo>
                      <a:pt x="1159" y="224"/>
                    </a:lnTo>
                    <a:lnTo>
                      <a:pt x="1166" y="224"/>
                    </a:lnTo>
                    <a:lnTo>
                      <a:pt x="1170" y="224"/>
                    </a:lnTo>
                    <a:lnTo>
                      <a:pt x="1170" y="224"/>
                    </a:lnTo>
                    <a:lnTo>
                      <a:pt x="1170" y="219"/>
                    </a:lnTo>
                    <a:lnTo>
                      <a:pt x="1173" y="215"/>
                    </a:lnTo>
                    <a:lnTo>
                      <a:pt x="1173" y="214"/>
                    </a:lnTo>
                    <a:lnTo>
                      <a:pt x="1170" y="215"/>
                    </a:lnTo>
                    <a:lnTo>
                      <a:pt x="1170" y="217"/>
                    </a:lnTo>
                    <a:lnTo>
                      <a:pt x="1168" y="219"/>
                    </a:lnTo>
                    <a:lnTo>
                      <a:pt x="1164" y="222"/>
                    </a:lnTo>
                    <a:lnTo>
                      <a:pt x="1158" y="219"/>
                    </a:lnTo>
                    <a:lnTo>
                      <a:pt x="1152" y="219"/>
                    </a:lnTo>
                    <a:lnTo>
                      <a:pt x="1151" y="217"/>
                    </a:lnTo>
                    <a:lnTo>
                      <a:pt x="1147" y="215"/>
                    </a:lnTo>
                    <a:lnTo>
                      <a:pt x="1144" y="215"/>
                    </a:lnTo>
                    <a:lnTo>
                      <a:pt x="1140" y="208"/>
                    </a:lnTo>
                    <a:lnTo>
                      <a:pt x="1140" y="201"/>
                    </a:lnTo>
                    <a:lnTo>
                      <a:pt x="1142" y="200"/>
                    </a:lnTo>
                    <a:lnTo>
                      <a:pt x="1145" y="201"/>
                    </a:lnTo>
                    <a:lnTo>
                      <a:pt x="1145" y="205"/>
                    </a:lnTo>
                    <a:lnTo>
                      <a:pt x="1147" y="208"/>
                    </a:lnTo>
                    <a:lnTo>
                      <a:pt x="1151" y="203"/>
                    </a:lnTo>
                    <a:lnTo>
                      <a:pt x="1151" y="200"/>
                    </a:lnTo>
                    <a:lnTo>
                      <a:pt x="1147" y="200"/>
                    </a:lnTo>
                    <a:lnTo>
                      <a:pt x="1147" y="200"/>
                    </a:lnTo>
                    <a:lnTo>
                      <a:pt x="1147" y="196"/>
                    </a:lnTo>
                    <a:lnTo>
                      <a:pt x="1151" y="191"/>
                    </a:lnTo>
                    <a:lnTo>
                      <a:pt x="1151" y="186"/>
                    </a:lnTo>
                    <a:lnTo>
                      <a:pt x="1151" y="180"/>
                    </a:lnTo>
                    <a:lnTo>
                      <a:pt x="1151" y="172"/>
                    </a:lnTo>
                    <a:lnTo>
                      <a:pt x="1147" y="167"/>
                    </a:lnTo>
                    <a:lnTo>
                      <a:pt x="1147" y="165"/>
                    </a:lnTo>
                    <a:lnTo>
                      <a:pt x="1145" y="160"/>
                    </a:lnTo>
                    <a:lnTo>
                      <a:pt x="1147" y="160"/>
                    </a:lnTo>
                    <a:lnTo>
                      <a:pt x="1147" y="158"/>
                    </a:lnTo>
                    <a:lnTo>
                      <a:pt x="1151" y="158"/>
                    </a:lnTo>
                    <a:lnTo>
                      <a:pt x="1151" y="160"/>
                    </a:lnTo>
                    <a:lnTo>
                      <a:pt x="1156" y="160"/>
                    </a:lnTo>
                    <a:lnTo>
                      <a:pt x="1156" y="165"/>
                    </a:lnTo>
                    <a:lnTo>
                      <a:pt x="1158" y="163"/>
                    </a:lnTo>
                    <a:lnTo>
                      <a:pt x="1158" y="160"/>
                    </a:lnTo>
                    <a:lnTo>
                      <a:pt x="1156" y="156"/>
                    </a:lnTo>
                    <a:lnTo>
                      <a:pt x="1152" y="156"/>
                    </a:lnTo>
                    <a:lnTo>
                      <a:pt x="1151" y="153"/>
                    </a:lnTo>
                    <a:lnTo>
                      <a:pt x="1151" y="151"/>
                    </a:lnTo>
                    <a:lnTo>
                      <a:pt x="1151" y="146"/>
                    </a:lnTo>
                    <a:lnTo>
                      <a:pt x="1161" y="135"/>
                    </a:lnTo>
                    <a:lnTo>
                      <a:pt x="1166" y="134"/>
                    </a:lnTo>
                    <a:lnTo>
                      <a:pt x="1170" y="135"/>
                    </a:lnTo>
                    <a:lnTo>
                      <a:pt x="1170" y="137"/>
                    </a:lnTo>
                    <a:lnTo>
                      <a:pt x="1175" y="140"/>
                    </a:lnTo>
                    <a:lnTo>
                      <a:pt x="1178" y="140"/>
                    </a:lnTo>
                    <a:lnTo>
                      <a:pt x="1185" y="146"/>
                    </a:lnTo>
                    <a:lnTo>
                      <a:pt x="1185" y="149"/>
                    </a:lnTo>
                    <a:lnTo>
                      <a:pt x="1189" y="154"/>
                    </a:lnTo>
                    <a:lnTo>
                      <a:pt x="1191" y="163"/>
                    </a:lnTo>
                    <a:lnTo>
                      <a:pt x="1191" y="168"/>
                    </a:lnTo>
                    <a:lnTo>
                      <a:pt x="1192" y="174"/>
                    </a:lnTo>
                    <a:lnTo>
                      <a:pt x="1194" y="177"/>
                    </a:lnTo>
                    <a:lnTo>
                      <a:pt x="1196" y="177"/>
                    </a:lnTo>
                    <a:lnTo>
                      <a:pt x="1197" y="177"/>
                    </a:lnTo>
                    <a:lnTo>
                      <a:pt x="1201" y="179"/>
                    </a:lnTo>
                    <a:lnTo>
                      <a:pt x="1201" y="182"/>
                    </a:lnTo>
                    <a:lnTo>
                      <a:pt x="1201" y="180"/>
                    </a:lnTo>
                    <a:lnTo>
                      <a:pt x="1204" y="179"/>
                    </a:lnTo>
                    <a:lnTo>
                      <a:pt x="1206" y="179"/>
                    </a:lnTo>
                    <a:lnTo>
                      <a:pt x="1204" y="177"/>
                    </a:lnTo>
                    <a:lnTo>
                      <a:pt x="1201" y="177"/>
                    </a:lnTo>
                    <a:lnTo>
                      <a:pt x="1197" y="174"/>
                    </a:lnTo>
                    <a:lnTo>
                      <a:pt x="1196" y="172"/>
                    </a:lnTo>
                    <a:lnTo>
                      <a:pt x="1196" y="168"/>
                    </a:lnTo>
                    <a:lnTo>
                      <a:pt x="1197" y="167"/>
                    </a:lnTo>
                    <a:lnTo>
                      <a:pt x="1197" y="165"/>
                    </a:lnTo>
                    <a:lnTo>
                      <a:pt x="1197" y="151"/>
                    </a:lnTo>
                    <a:lnTo>
                      <a:pt x="1197" y="149"/>
                    </a:lnTo>
                    <a:lnTo>
                      <a:pt x="1197" y="144"/>
                    </a:lnTo>
                    <a:lnTo>
                      <a:pt x="1204" y="144"/>
                    </a:lnTo>
                    <a:lnTo>
                      <a:pt x="1206" y="146"/>
                    </a:lnTo>
                    <a:lnTo>
                      <a:pt x="1211" y="149"/>
                    </a:lnTo>
                    <a:lnTo>
                      <a:pt x="1217" y="149"/>
                    </a:lnTo>
                    <a:lnTo>
                      <a:pt x="1220" y="149"/>
                    </a:lnTo>
                    <a:lnTo>
                      <a:pt x="1229" y="149"/>
                    </a:lnTo>
                    <a:lnTo>
                      <a:pt x="1232" y="146"/>
                    </a:lnTo>
                    <a:lnTo>
                      <a:pt x="1236" y="149"/>
                    </a:lnTo>
                    <a:lnTo>
                      <a:pt x="1239" y="149"/>
                    </a:lnTo>
                    <a:lnTo>
                      <a:pt x="1246" y="151"/>
                    </a:lnTo>
                    <a:lnTo>
                      <a:pt x="1250" y="153"/>
                    </a:lnTo>
                    <a:lnTo>
                      <a:pt x="1251" y="151"/>
                    </a:lnTo>
                    <a:lnTo>
                      <a:pt x="1251" y="149"/>
                    </a:lnTo>
                    <a:lnTo>
                      <a:pt x="1250" y="149"/>
                    </a:lnTo>
                    <a:lnTo>
                      <a:pt x="1246" y="149"/>
                    </a:lnTo>
                    <a:lnTo>
                      <a:pt x="1239" y="146"/>
                    </a:lnTo>
                    <a:lnTo>
                      <a:pt x="1239" y="144"/>
                    </a:lnTo>
                    <a:lnTo>
                      <a:pt x="1239" y="144"/>
                    </a:lnTo>
                    <a:lnTo>
                      <a:pt x="1241" y="144"/>
                    </a:lnTo>
                    <a:lnTo>
                      <a:pt x="1246" y="140"/>
                    </a:lnTo>
                    <a:lnTo>
                      <a:pt x="1258" y="140"/>
                    </a:lnTo>
                    <a:lnTo>
                      <a:pt x="1265" y="140"/>
                    </a:lnTo>
                    <a:lnTo>
                      <a:pt x="1272" y="140"/>
                    </a:lnTo>
                    <a:lnTo>
                      <a:pt x="1277" y="144"/>
                    </a:lnTo>
                    <a:lnTo>
                      <a:pt x="1279" y="144"/>
                    </a:lnTo>
                    <a:lnTo>
                      <a:pt x="1283" y="144"/>
                    </a:lnTo>
                    <a:lnTo>
                      <a:pt x="1283" y="140"/>
                    </a:lnTo>
                    <a:lnTo>
                      <a:pt x="1279" y="140"/>
                    </a:lnTo>
                    <a:lnTo>
                      <a:pt x="1277" y="140"/>
                    </a:lnTo>
                    <a:lnTo>
                      <a:pt x="1277" y="137"/>
                    </a:lnTo>
                    <a:lnTo>
                      <a:pt x="1274" y="137"/>
                    </a:lnTo>
                    <a:lnTo>
                      <a:pt x="1269" y="137"/>
                    </a:lnTo>
                    <a:lnTo>
                      <a:pt x="1267" y="135"/>
                    </a:lnTo>
                    <a:lnTo>
                      <a:pt x="1257" y="135"/>
                    </a:lnTo>
                    <a:lnTo>
                      <a:pt x="1257" y="134"/>
                    </a:lnTo>
                    <a:lnTo>
                      <a:pt x="1258" y="132"/>
                    </a:lnTo>
                    <a:lnTo>
                      <a:pt x="1262" y="128"/>
                    </a:lnTo>
                    <a:lnTo>
                      <a:pt x="1265" y="127"/>
                    </a:lnTo>
                    <a:lnTo>
                      <a:pt x="1269" y="123"/>
                    </a:lnTo>
                    <a:lnTo>
                      <a:pt x="1270" y="121"/>
                    </a:lnTo>
                    <a:lnTo>
                      <a:pt x="1279" y="113"/>
                    </a:lnTo>
                    <a:lnTo>
                      <a:pt x="1284" y="113"/>
                    </a:lnTo>
                    <a:lnTo>
                      <a:pt x="1293" y="109"/>
                    </a:lnTo>
                    <a:lnTo>
                      <a:pt x="1293" y="107"/>
                    </a:lnTo>
                    <a:lnTo>
                      <a:pt x="1283" y="113"/>
                    </a:lnTo>
                    <a:lnTo>
                      <a:pt x="1277" y="113"/>
                    </a:lnTo>
                    <a:lnTo>
                      <a:pt x="1267" y="118"/>
                    </a:lnTo>
                    <a:lnTo>
                      <a:pt x="1267" y="123"/>
                    </a:lnTo>
                    <a:lnTo>
                      <a:pt x="1265" y="123"/>
                    </a:lnTo>
                    <a:lnTo>
                      <a:pt x="1265" y="118"/>
                    </a:lnTo>
                    <a:lnTo>
                      <a:pt x="1263" y="118"/>
                    </a:lnTo>
                    <a:lnTo>
                      <a:pt x="1260" y="121"/>
                    </a:lnTo>
                    <a:lnTo>
                      <a:pt x="1257" y="123"/>
                    </a:lnTo>
                    <a:lnTo>
                      <a:pt x="1255" y="128"/>
                    </a:lnTo>
                    <a:lnTo>
                      <a:pt x="1255" y="128"/>
                    </a:lnTo>
                    <a:lnTo>
                      <a:pt x="1255" y="130"/>
                    </a:lnTo>
                    <a:lnTo>
                      <a:pt x="1251" y="135"/>
                    </a:lnTo>
                    <a:lnTo>
                      <a:pt x="1246" y="135"/>
                    </a:lnTo>
                    <a:lnTo>
                      <a:pt x="1234" y="140"/>
                    </a:lnTo>
                    <a:lnTo>
                      <a:pt x="1232" y="140"/>
                    </a:lnTo>
                    <a:lnTo>
                      <a:pt x="1229" y="140"/>
                    </a:lnTo>
                    <a:lnTo>
                      <a:pt x="1218" y="140"/>
                    </a:lnTo>
                    <a:lnTo>
                      <a:pt x="1213" y="137"/>
                    </a:lnTo>
                    <a:lnTo>
                      <a:pt x="1210" y="137"/>
                    </a:lnTo>
                    <a:lnTo>
                      <a:pt x="1204" y="137"/>
                    </a:lnTo>
                    <a:lnTo>
                      <a:pt x="1204" y="134"/>
                    </a:lnTo>
                    <a:lnTo>
                      <a:pt x="1210" y="128"/>
                    </a:lnTo>
                    <a:lnTo>
                      <a:pt x="1213" y="128"/>
                    </a:lnTo>
                    <a:lnTo>
                      <a:pt x="1217" y="128"/>
                    </a:lnTo>
                    <a:lnTo>
                      <a:pt x="1224" y="127"/>
                    </a:lnTo>
                    <a:lnTo>
                      <a:pt x="1227" y="123"/>
                    </a:lnTo>
                    <a:lnTo>
                      <a:pt x="1224" y="123"/>
                    </a:lnTo>
                    <a:lnTo>
                      <a:pt x="1220" y="125"/>
                    </a:lnTo>
                    <a:lnTo>
                      <a:pt x="1215" y="125"/>
                    </a:lnTo>
                    <a:lnTo>
                      <a:pt x="1211" y="127"/>
                    </a:lnTo>
                    <a:lnTo>
                      <a:pt x="1210" y="125"/>
                    </a:lnTo>
                    <a:lnTo>
                      <a:pt x="1210" y="123"/>
                    </a:lnTo>
                    <a:lnTo>
                      <a:pt x="1211" y="121"/>
                    </a:lnTo>
                    <a:lnTo>
                      <a:pt x="1210" y="121"/>
                    </a:lnTo>
                    <a:lnTo>
                      <a:pt x="1204" y="121"/>
                    </a:lnTo>
                    <a:lnTo>
                      <a:pt x="1204" y="127"/>
                    </a:lnTo>
                    <a:lnTo>
                      <a:pt x="1197" y="132"/>
                    </a:lnTo>
                    <a:lnTo>
                      <a:pt x="1194" y="132"/>
                    </a:lnTo>
                    <a:lnTo>
                      <a:pt x="1185" y="130"/>
                    </a:lnTo>
                    <a:lnTo>
                      <a:pt x="1178" y="130"/>
                    </a:lnTo>
                    <a:lnTo>
                      <a:pt x="1175" y="127"/>
                    </a:lnTo>
                    <a:lnTo>
                      <a:pt x="1175" y="123"/>
                    </a:lnTo>
                    <a:lnTo>
                      <a:pt x="1173" y="123"/>
                    </a:lnTo>
                    <a:lnTo>
                      <a:pt x="1170" y="121"/>
                    </a:lnTo>
                    <a:lnTo>
                      <a:pt x="1170" y="118"/>
                    </a:lnTo>
                    <a:lnTo>
                      <a:pt x="1170" y="118"/>
                    </a:lnTo>
                    <a:lnTo>
                      <a:pt x="1175" y="113"/>
                    </a:lnTo>
                    <a:lnTo>
                      <a:pt x="1178" y="109"/>
                    </a:lnTo>
                    <a:lnTo>
                      <a:pt x="1182" y="106"/>
                    </a:lnTo>
                    <a:lnTo>
                      <a:pt x="1187" y="104"/>
                    </a:lnTo>
                    <a:lnTo>
                      <a:pt x="1189" y="100"/>
                    </a:lnTo>
                    <a:lnTo>
                      <a:pt x="1192" y="102"/>
                    </a:lnTo>
                    <a:lnTo>
                      <a:pt x="1197" y="102"/>
                    </a:lnTo>
                    <a:lnTo>
                      <a:pt x="1201" y="100"/>
                    </a:lnTo>
                    <a:lnTo>
                      <a:pt x="1204" y="102"/>
                    </a:lnTo>
                    <a:lnTo>
                      <a:pt x="1211" y="106"/>
                    </a:lnTo>
                    <a:lnTo>
                      <a:pt x="1217" y="106"/>
                    </a:lnTo>
                    <a:lnTo>
                      <a:pt x="1220" y="107"/>
                    </a:lnTo>
                    <a:lnTo>
                      <a:pt x="1224" y="106"/>
                    </a:lnTo>
                    <a:lnTo>
                      <a:pt x="1227" y="104"/>
                    </a:lnTo>
                    <a:lnTo>
                      <a:pt x="1224" y="102"/>
                    </a:lnTo>
                    <a:lnTo>
                      <a:pt x="1217" y="104"/>
                    </a:lnTo>
                    <a:lnTo>
                      <a:pt x="1210" y="102"/>
                    </a:lnTo>
                    <a:lnTo>
                      <a:pt x="1204" y="99"/>
                    </a:lnTo>
                    <a:lnTo>
                      <a:pt x="1201" y="99"/>
                    </a:lnTo>
                    <a:lnTo>
                      <a:pt x="1194" y="100"/>
                    </a:lnTo>
                    <a:lnTo>
                      <a:pt x="1187" y="99"/>
                    </a:lnTo>
                    <a:lnTo>
                      <a:pt x="1185" y="99"/>
                    </a:lnTo>
                    <a:lnTo>
                      <a:pt x="1184" y="100"/>
                    </a:lnTo>
                    <a:lnTo>
                      <a:pt x="1182" y="104"/>
                    </a:lnTo>
                    <a:lnTo>
                      <a:pt x="1175" y="109"/>
                    </a:lnTo>
                    <a:lnTo>
                      <a:pt x="1168" y="109"/>
                    </a:lnTo>
                    <a:lnTo>
                      <a:pt x="1164" y="118"/>
                    </a:lnTo>
                    <a:lnTo>
                      <a:pt x="1163" y="118"/>
                    </a:lnTo>
                    <a:lnTo>
                      <a:pt x="1159" y="114"/>
                    </a:lnTo>
                    <a:lnTo>
                      <a:pt x="1156" y="109"/>
                    </a:lnTo>
                    <a:lnTo>
                      <a:pt x="1152" y="109"/>
                    </a:lnTo>
                    <a:lnTo>
                      <a:pt x="1151" y="107"/>
                    </a:lnTo>
                    <a:lnTo>
                      <a:pt x="1151" y="102"/>
                    </a:lnTo>
                    <a:lnTo>
                      <a:pt x="1151" y="97"/>
                    </a:lnTo>
                    <a:lnTo>
                      <a:pt x="1147" y="95"/>
                    </a:lnTo>
                    <a:lnTo>
                      <a:pt x="1147" y="92"/>
                    </a:lnTo>
                    <a:lnTo>
                      <a:pt x="1151" y="90"/>
                    </a:lnTo>
                    <a:lnTo>
                      <a:pt x="1152" y="90"/>
                    </a:lnTo>
                    <a:lnTo>
                      <a:pt x="1156" y="90"/>
                    </a:lnTo>
                    <a:lnTo>
                      <a:pt x="1158" y="92"/>
                    </a:lnTo>
                    <a:lnTo>
                      <a:pt x="1168" y="90"/>
                    </a:lnTo>
                    <a:lnTo>
                      <a:pt x="1173" y="95"/>
                    </a:lnTo>
                    <a:lnTo>
                      <a:pt x="1175" y="95"/>
                    </a:lnTo>
                    <a:lnTo>
                      <a:pt x="1178" y="95"/>
                    </a:lnTo>
                    <a:lnTo>
                      <a:pt x="1182" y="95"/>
                    </a:lnTo>
                    <a:lnTo>
                      <a:pt x="1185" y="94"/>
                    </a:lnTo>
                    <a:lnTo>
                      <a:pt x="1189" y="95"/>
                    </a:lnTo>
                    <a:lnTo>
                      <a:pt x="1191" y="94"/>
                    </a:lnTo>
                    <a:lnTo>
                      <a:pt x="1194" y="94"/>
                    </a:lnTo>
                    <a:lnTo>
                      <a:pt x="1196" y="92"/>
                    </a:lnTo>
                    <a:lnTo>
                      <a:pt x="1201" y="90"/>
                    </a:lnTo>
                    <a:lnTo>
                      <a:pt x="1210" y="90"/>
                    </a:lnTo>
                    <a:lnTo>
                      <a:pt x="1210" y="87"/>
                    </a:lnTo>
                    <a:lnTo>
                      <a:pt x="1210" y="87"/>
                    </a:lnTo>
                    <a:lnTo>
                      <a:pt x="1206" y="87"/>
                    </a:lnTo>
                    <a:lnTo>
                      <a:pt x="1204" y="87"/>
                    </a:lnTo>
                    <a:lnTo>
                      <a:pt x="1204" y="90"/>
                    </a:lnTo>
                    <a:lnTo>
                      <a:pt x="1197" y="90"/>
                    </a:lnTo>
                    <a:lnTo>
                      <a:pt x="1192" y="90"/>
                    </a:lnTo>
                    <a:lnTo>
                      <a:pt x="1187" y="92"/>
                    </a:lnTo>
                    <a:lnTo>
                      <a:pt x="1184" y="92"/>
                    </a:lnTo>
                    <a:lnTo>
                      <a:pt x="1178" y="92"/>
                    </a:lnTo>
                    <a:lnTo>
                      <a:pt x="1178" y="92"/>
                    </a:lnTo>
                    <a:lnTo>
                      <a:pt x="1175" y="92"/>
                    </a:lnTo>
                    <a:lnTo>
                      <a:pt x="1170" y="90"/>
                    </a:lnTo>
                    <a:lnTo>
                      <a:pt x="1170" y="90"/>
                    </a:lnTo>
                    <a:lnTo>
                      <a:pt x="1168" y="87"/>
                    </a:lnTo>
                    <a:lnTo>
                      <a:pt x="1163" y="87"/>
                    </a:lnTo>
                    <a:lnTo>
                      <a:pt x="1158" y="87"/>
                    </a:lnTo>
                    <a:lnTo>
                      <a:pt x="1156" y="87"/>
                    </a:lnTo>
                    <a:lnTo>
                      <a:pt x="1151" y="87"/>
                    </a:lnTo>
                    <a:lnTo>
                      <a:pt x="1151" y="81"/>
                    </a:lnTo>
                    <a:lnTo>
                      <a:pt x="1151" y="81"/>
                    </a:lnTo>
                    <a:lnTo>
                      <a:pt x="1151" y="76"/>
                    </a:lnTo>
                    <a:lnTo>
                      <a:pt x="1152" y="74"/>
                    </a:lnTo>
                    <a:lnTo>
                      <a:pt x="1156" y="74"/>
                    </a:lnTo>
                    <a:lnTo>
                      <a:pt x="1158" y="78"/>
                    </a:lnTo>
                    <a:lnTo>
                      <a:pt x="1163" y="78"/>
                    </a:lnTo>
                    <a:lnTo>
                      <a:pt x="1164" y="76"/>
                    </a:lnTo>
                    <a:lnTo>
                      <a:pt x="1163" y="74"/>
                    </a:lnTo>
                    <a:lnTo>
                      <a:pt x="1159" y="74"/>
                    </a:lnTo>
                    <a:lnTo>
                      <a:pt x="1156" y="71"/>
                    </a:lnTo>
                    <a:lnTo>
                      <a:pt x="1158" y="69"/>
                    </a:lnTo>
                    <a:lnTo>
                      <a:pt x="1163" y="69"/>
                    </a:lnTo>
                    <a:lnTo>
                      <a:pt x="1168" y="66"/>
                    </a:lnTo>
                    <a:lnTo>
                      <a:pt x="1173" y="66"/>
                    </a:lnTo>
                    <a:lnTo>
                      <a:pt x="1175" y="64"/>
                    </a:lnTo>
                    <a:lnTo>
                      <a:pt x="1178" y="64"/>
                    </a:lnTo>
                    <a:lnTo>
                      <a:pt x="1182" y="64"/>
                    </a:lnTo>
                    <a:lnTo>
                      <a:pt x="1184" y="64"/>
                    </a:lnTo>
                    <a:lnTo>
                      <a:pt x="1184" y="62"/>
                    </a:lnTo>
                    <a:lnTo>
                      <a:pt x="1182" y="62"/>
                    </a:lnTo>
                    <a:lnTo>
                      <a:pt x="1175" y="62"/>
                    </a:lnTo>
                    <a:lnTo>
                      <a:pt x="1170" y="62"/>
                    </a:lnTo>
                    <a:lnTo>
                      <a:pt x="1164" y="64"/>
                    </a:lnTo>
                    <a:lnTo>
                      <a:pt x="1161" y="64"/>
                    </a:lnTo>
                    <a:lnTo>
                      <a:pt x="1159" y="66"/>
                    </a:lnTo>
                    <a:lnTo>
                      <a:pt x="1156" y="66"/>
                    </a:lnTo>
                    <a:lnTo>
                      <a:pt x="1156" y="64"/>
                    </a:lnTo>
                    <a:lnTo>
                      <a:pt x="1156" y="62"/>
                    </a:lnTo>
                    <a:lnTo>
                      <a:pt x="1159" y="59"/>
                    </a:lnTo>
                    <a:lnTo>
                      <a:pt x="1164" y="57"/>
                    </a:lnTo>
                    <a:lnTo>
                      <a:pt x="1170" y="55"/>
                    </a:lnTo>
                    <a:lnTo>
                      <a:pt x="1173" y="54"/>
                    </a:lnTo>
                    <a:lnTo>
                      <a:pt x="1168" y="54"/>
                    </a:lnTo>
                    <a:lnTo>
                      <a:pt x="1168" y="50"/>
                    </a:lnTo>
                    <a:lnTo>
                      <a:pt x="1168" y="47"/>
                    </a:lnTo>
                    <a:lnTo>
                      <a:pt x="1166" y="48"/>
                    </a:lnTo>
                    <a:lnTo>
                      <a:pt x="1164" y="50"/>
                    </a:lnTo>
                    <a:lnTo>
                      <a:pt x="1163" y="54"/>
                    </a:lnTo>
                    <a:lnTo>
                      <a:pt x="1163" y="50"/>
                    </a:lnTo>
                    <a:lnTo>
                      <a:pt x="1161" y="50"/>
                    </a:lnTo>
                    <a:lnTo>
                      <a:pt x="1159" y="50"/>
                    </a:lnTo>
                    <a:lnTo>
                      <a:pt x="1156" y="50"/>
                    </a:lnTo>
                    <a:lnTo>
                      <a:pt x="1156" y="55"/>
                    </a:lnTo>
                    <a:lnTo>
                      <a:pt x="1156" y="57"/>
                    </a:lnTo>
                    <a:lnTo>
                      <a:pt x="1151" y="59"/>
                    </a:lnTo>
                    <a:lnTo>
                      <a:pt x="1151" y="55"/>
                    </a:lnTo>
                    <a:lnTo>
                      <a:pt x="1151" y="50"/>
                    </a:lnTo>
                    <a:lnTo>
                      <a:pt x="1147" y="50"/>
                    </a:lnTo>
                    <a:lnTo>
                      <a:pt x="1147" y="48"/>
                    </a:lnTo>
                    <a:lnTo>
                      <a:pt x="1147" y="47"/>
                    </a:lnTo>
                    <a:lnTo>
                      <a:pt x="1151" y="48"/>
                    </a:lnTo>
                    <a:lnTo>
                      <a:pt x="1151" y="43"/>
                    </a:lnTo>
                    <a:lnTo>
                      <a:pt x="1156" y="43"/>
                    </a:lnTo>
                    <a:lnTo>
                      <a:pt x="1158" y="43"/>
                    </a:lnTo>
                    <a:lnTo>
                      <a:pt x="1159" y="40"/>
                    </a:lnTo>
                    <a:lnTo>
                      <a:pt x="1164" y="36"/>
                    </a:lnTo>
                    <a:lnTo>
                      <a:pt x="1166" y="40"/>
                    </a:lnTo>
                    <a:lnTo>
                      <a:pt x="1170" y="34"/>
                    </a:lnTo>
                    <a:lnTo>
                      <a:pt x="1178" y="34"/>
                    </a:lnTo>
                    <a:lnTo>
                      <a:pt x="1182" y="34"/>
                    </a:lnTo>
                    <a:lnTo>
                      <a:pt x="1182" y="34"/>
                    </a:lnTo>
                    <a:lnTo>
                      <a:pt x="1184" y="36"/>
                    </a:lnTo>
                    <a:lnTo>
                      <a:pt x="1182" y="40"/>
                    </a:lnTo>
                    <a:lnTo>
                      <a:pt x="1182" y="47"/>
                    </a:lnTo>
                    <a:lnTo>
                      <a:pt x="1184" y="47"/>
                    </a:lnTo>
                    <a:lnTo>
                      <a:pt x="1185" y="40"/>
                    </a:lnTo>
                    <a:lnTo>
                      <a:pt x="1189" y="40"/>
                    </a:lnTo>
                    <a:lnTo>
                      <a:pt x="1189" y="40"/>
                    </a:lnTo>
                    <a:lnTo>
                      <a:pt x="1189" y="41"/>
                    </a:lnTo>
                    <a:lnTo>
                      <a:pt x="1189" y="45"/>
                    </a:lnTo>
                    <a:lnTo>
                      <a:pt x="1191" y="43"/>
                    </a:lnTo>
                    <a:lnTo>
                      <a:pt x="1191" y="40"/>
                    </a:lnTo>
                    <a:lnTo>
                      <a:pt x="1192" y="40"/>
                    </a:lnTo>
                    <a:lnTo>
                      <a:pt x="1191" y="36"/>
                    </a:lnTo>
                    <a:lnTo>
                      <a:pt x="1192" y="31"/>
                    </a:lnTo>
                    <a:lnTo>
                      <a:pt x="1194" y="31"/>
                    </a:lnTo>
                    <a:lnTo>
                      <a:pt x="1197" y="27"/>
                    </a:lnTo>
                    <a:lnTo>
                      <a:pt x="1201" y="27"/>
                    </a:lnTo>
                    <a:lnTo>
                      <a:pt x="1201" y="31"/>
                    </a:lnTo>
                    <a:lnTo>
                      <a:pt x="1201" y="34"/>
                    </a:lnTo>
                    <a:lnTo>
                      <a:pt x="1204" y="36"/>
                    </a:lnTo>
                    <a:lnTo>
                      <a:pt x="1204" y="41"/>
                    </a:lnTo>
                    <a:lnTo>
                      <a:pt x="1204" y="43"/>
                    </a:lnTo>
                    <a:lnTo>
                      <a:pt x="1204" y="47"/>
                    </a:lnTo>
                    <a:lnTo>
                      <a:pt x="1204" y="50"/>
                    </a:lnTo>
                    <a:lnTo>
                      <a:pt x="1206" y="50"/>
                    </a:lnTo>
                    <a:lnTo>
                      <a:pt x="1210" y="50"/>
                    </a:lnTo>
                    <a:lnTo>
                      <a:pt x="1206" y="47"/>
                    </a:lnTo>
                    <a:lnTo>
                      <a:pt x="1206" y="43"/>
                    </a:lnTo>
                    <a:lnTo>
                      <a:pt x="1210" y="41"/>
                    </a:lnTo>
                    <a:lnTo>
                      <a:pt x="1211" y="36"/>
                    </a:lnTo>
                    <a:lnTo>
                      <a:pt x="1213" y="36"/>
                    </a:lnTo>
                    <a:lnTo>
                      <a:pt x="1217" y="41"/>
                    </a:lnTo>
                    <a:lnTo>
                      <a:pt x="1217" y="45"/>
                    </a:lnTo>
                    <a:lnTo>
                      <a:pt x="1215" y="50"/>
                    </a:lnTo>
                    <a:lnTo>
                      <a:pt x="1218" y="50"/>
                    </a:lnTo>
                    <a:lnTo>
                      <a:pt x="1218" y="54"/>
                    </a:lnTo>
                    <a:lnTo>
                      <a:pt x="1220" y="50"/>
                    </a:lnTo>
                    <a:lnTo>
                      <a:pt x="1220" y="47"/>
                    </a:lnTo>
                    <a:lnTo>
                      <a:pt x="1220" y="47"/>
                    </a:lnTo>
                    <a:lnTo>
                      <a:pt x="1224" y="45"/>
                    </a:lnTo>
                    <a:lnTo>
                      <a:pt x="1224" y="47"/>
                    </a:lnTo>
                    <a:lnTo>
                      <a:pt x="1224" y="48"/>
                    </a:lnTo>
                    <a:lnTo>
                      <a:pt x="1224" y="50"/>
                    </a:lnTo>
                    <a:lnTo>
                      <a:pt x="1224" y="54"/>
                    </a:lnTo>
                    <a:lnTo>
                      <a:pt x="1229" y="50"/>
                    </a:lnTo>
                    <a:lnTo>
                      <a:pt x="1229" y="50"/>
                    </a:lnTo>
                    <a:lnTo>
                      <a:pt x="1229" y="54"/>
                    </a:lnTo>
                    <a:lnTo>
                      <a:pt x="1232" y="50"/>
                    </a:lnTo>
                    <a:lnTo>
                      <a:pt x="1232" y="48"/>
                    </a:lnTo>
                    <a:lnTo>
                      <a:pt x="1229" y="43"/>
                    </a:lnTo>
                    <a:lnTo>
                      <a:pt x="1227" y="43"/>
                    </a:lnTo>
                    <a:lnTo>
                      <a:pt x="1224" y="40"/>
                    </a:lnTo>
                    <a:lnTo>
                      <a:pt x="1224" y="36"/>
                    </a:lnTo>
                    <a:lnTo>
                      <a:pt x="1220" y="34"/>
                    </a:lnTo>
                    <a:lnTo>
                      <a:pt x="1220" y="31"/>
                    </a:lnTo>
                    <a:lnTo>
                      <a:pt x="1218" y="31"/>
                    </a:lnTo>
                    <a:lnTo>
                      <a:pt x="1220" y="26"/>
                    </a:lnTo>
                    <a:lnTo>
                      <a:pt x="1224" y="26"/>
                    </a:lnTo>
                    <a:lnTo>
                      <a:pt x="1224" y="27"/>
                    </a:lnTo>
                    <a:lnTo>
                      <a:pt x="1229" y="27"/>
                    </a:lnTo>
                    <a:lnTo>
                      <a:pt x="1232" y="27"/>
                    </a:lnTo>
                    <a:lnTo>
                      <a:pt x="1232" y="27"/>
                    </a:lnTo>
                    <a:lnTo>
                      <a:pt x="1232" y="20"/>
                    </a:lnTo>
                    <a:lnTo>
                      <a:pt x="1232" y="17"/>
                    </a:lnTo>
                    <a:lnTo>
                      <a:pt x="1232" y="14"/>
                    </a:lnTo>
                    <a:lnTo>
                      <a:pt x="1236" y="14"/>
                    </a:lnTo>
                    <a:lnTo>
                      <a:pt x="1237" y="14"/>
                    </a:lnTo>
                    <a:lnTo>
                      <a:pt x="1244" y="15"/>
                    </a:lnTo>
                    <a:lnTo>
                      <a:pt x="1246" y="17"/>
                    </a:lnTo>
                    <a:lnTo>
                      <a:pt x="1246" y="19"/>
                    </a:lnTo>
                    <a:lnTo>
                      <a:pt x="1244" y="22"/>
                    </a:lnTo>
                    <a:lnTo>
                      <a:pt x="1244" y="24"/>
                    </a:lnTo>
                    <a:lnTo>
                      <a:pt x="1251" y="26"/>
                    </a:lnTo>
                    <a:lnTo>
                      <a:pt x="1251" y="27"/>
                    </a:lnTo>
                    <a:lnTo>
                      <a:pt x="1250" y="34"/>
                    </a:lnTo>
                    <a:lnTo>
                      <a:pt x="1251" y="40"/>
                    </a:lnTo>
                    <a:lnTo>
                      <a:pt x="1251" y="40"/>
                    </a:lnTo>
                    <a:lnTo>
                      <a:pt x="1255" y="34"/>
                    </a:lnTo>
                    <a:lnTo>
                      <a:pt x="1255" y="34"/>
                    </a:lnTo>
                    <a:lnTo>
                      <a:pt x="1257" y="40"/>
                    </a:lnTo>
                    <a:lnTo>
                      <a:pt x="1257" y="40"/>
                    </a:lnTo>
                    <a:lnTo>
                      <a:pt x="1260" y="40"/>
                    </a:lnTo>
                    <a:lnTo>
                      <a:pt x="1262" y="36"/>
                    </a:lnTo>
                    <a:lnTo>
                      <a:pt x="1265" y="34"/>
                    </a:lnTo>
                    <a:lnTo>
                      <a:pt x="1267" y="31"/>
                    </a:lnTo>
                    <a:lnTo>
                      <a:pt x="1263" y="27"/>
                    </a:lnTo>
                    <a:lnTo>
                      <a:pt x="1267" y="24"/>
                    </a:lnTo>
                    <a:lnTo>
                      <a:pt x="1269" y="24"/>
                    </a:lnTo>
                    <a:lnTo>
                      <a:pt x="1270" y="26"/>
                    </a:lnTo>
                    <a:lnTo>
                      <a:pt x="1277" y="26"/>
                    </a:lnTo>
                    <a:lnTo>
                      <a:pt x="1274" y="22"/>
                    </a:lnTo>
                    <a:lnTo>
                      <a:pt x="1270" y="19"/>
                    </a:lnTo>
                    <a:lnTo>
                      <a:pt x="1270" y="14"/>
                    </a:lnTo>
                    <a:lnTo>
                      <a:pt x="1270" y="12"/>
                    </a:lnTo>
                    <a:lnTo>
                      <a:pt x="1272" y="8"/>
                    </a:lnTo>
                    <a:lnTo>
                      <a:pt x="1274" y="8"/>
                    </a:lnTo>
                    <a:lnTo>
                      <a:pt x="1279" y="12"/>
                    </a:lnTo>
                    <a:lnTo>
                      <a:pt x="1279" y="17"/>
                    </a:lnTo>
                    <a:lnTo>
                      <a:pt x="1283" y="22"/>
                    </a:lnTo>
                    <a:lnTo>
                      <a:pt x="1283" y="26"/>
                    </a:lnTo>
                    <a:lnTo>
                      <a:pt x="1283" y="27"/>
                    </a:lnTo>
                    <a:lnTo>
                      <a:pt x="1283" y="31"/>
                    </a:lnTo>
                    <a:lnTo>
                      <a:pt x="1284" y="34"/>
                    </a:lnTo>
                    <a:lnTo>
                      <a:pt x="1286" y="34"/>
                    </a:lnTo>
                    <a:lnTo>
                      <a:pt x="1286" y="31"/>
                    </a:lnTo>
                    <a:lnTo>
                      <a:pt x="1286" y="27"/>
                    </a:lnTo>
                    <a:lnTo>
                      <a:pt x="1286" y="24"/>
                    </a:lnTo>
                    <a:lnTo>
                      <a:pt x="1284" y="19"/>
                    </a:lnTo>
                    <a:lnTo>
                      <a:pt x="1284" y="12"/>
                    </a:lnTo>
                    <a:lnTo>
                      <a:pt x="1284" y="5"/>
                    </a:lnTo>
                    <a:lnTo>
                      <a:pt x="1284" y="3"/>
                    </a:lnTo>
                    <a:lnTo>
                      <a:pt x="1288" y="3"/>
                    </a:lnTo>
                    <a:lnTo>
                      <a:pt x="1291" y="5"/>
                    </a:lnTo>
                    <a:lnTo>
                      <a:pt x="1293" y="5"/>
                    </a:lnTo>
                    <a:lnTo>
                      <a:pt x="1295" y="8"/>
                    </a:lnTo>
                    <a:lnTo>
                      <a:pt x="1295" y="12"/>
                    </a:lnTo>
                    <a:lnTo>
                      <a:pt x="1297" y="15"/>
                    </a:lnTo>
                    <a:lnTo>
                      <a:pt x="1297" y="19"/>
                    </a:lnTo>
                    <a:lnTo>
                      <a:pt x="1297" y="26"/>
                    </a:lnTo>
                    <a:lnTo>
                      <a:pt x="1298" y="26"/>
                    </a:lnTo>
                    <a:lnTo>
                      <a:pt x="1298" y="22"/>
                    </a:lnTo>
                    <a:lnTo>
                      <a:pt x="1300" y="20"/>
                    </a:lnTo>
                    <a:lnTo>
                      <a:pt x="1302" y="20"/>
                    </a:lnTo>
                    <a:lnTo>
                      <a:pt x="1305" y="27"/>
                    </a:lnTo>
                    <a:lnTo>
                      <a:pt x="1307" y="26"/>
                    </a:lnTo>
                    <a:lnTo>
                      <a:pt x="1309" y="26"/>
                    </a:lnTo>
                    <a:lnTo>
                      <a:pt x="1309" y="24"/>
                    </a:lnTo>
                    <a:lnTo>
                      <a:pt x="1307" y="22"/>
                    </a:lnTo>
                    <a:lnTo>
                      <a:pt x="1305" y="19"/>
                    </a:lnTo>
                    <a:lnTo>
                      <a:pt x="1305" y="17"/>
                    </a:lnTo>
                    <a:lnTo>
                      <a:pt x="1305" y="15"/>
                    </a:lnTo>
                    <a:lnTo>
                      <a:pt x="1302" y="12"/>
                    </a:lnTo>
                    <a:lnTo>
                      <a:pt x="1302" y="12"/>
                    </a:lnTo>
                    <a:lnTo>
                      <a:pt x="1302" y="8"/>
                    </a:lnTo>
                    <a:lnTo>
                      <a:pt x="1305" y="8"/>
                    </a:lnTo>
                    <a:lnTo>
                      <a:pt x="1305" y="8"/>
                    </a:lnTo>
                    <a:lnTo>
                      <a:pt x="1302" y="5"/>
                    </a:lnTo>
                    <a:lnTo>
                      <a:pt x="1300" y="3"/>
                    </a:lnTo>
                    <a:lnTo>
                      <a:pt x="1302" y="3"/>
                    </a:lnTo>
                    <a:lnTo>
                      <a:pt x="1305" y="3"/>
                    </a:lnTo>
                    <a:lnTo>
                      <a:pt x="1307" y="0"/>
                    </a:lnTo>
                    <a:lnTo>
                      <a:pt x="1316" y="0"/>
                    </a:lnTo>
                    <a:lnTo>
                      <a:pt x="1316" y="3"/>
                    </a:lnTo>
                    <a:lnTo>
                      <a:pt x="1316" y="5"/>
                    </a:lnTo>
                    <a:lnTo>
                      <a:pt x="1314" y="8"/>
                    </a:lnTo>
                    <a:lnTo>
                      <a:pt x="1316" y="12"/>
                    </a:lnTo>
                    <a:lnTo>
                      <a:pt x="1317" y="12"/>
                    </a:lnTo>
                    <a:lnTo>
                      <a:pt x="1319" y="5"/>
                    </a:lnTo>
                    <a:lnTo>
                      <a:pt x="1321" y="5"/>
                    </a:lnTo>
                    <a:lnTo>
                      <a:pt x="1323" y="8"/>
                    </a:lnTo>
                    <a:lnTo>
                      <a:pt x="1321" y="12"/>
                    </a:lnTo>
                    <a:lnTo>
                      <a:pt x="1323" y="12"/>
                    </a:lnTo>
                    <a:lnTo>
                      <a:pt x="1324" y="12"/>
                    </a:lnTo>
                    <a:lnTo>
                      <a:pt x="1324" y="12"/>
                    </a:lnTo>
                    <a:lnTo>
                      <a:pt x="1330" y="8"/>
                    </a:lnTo>
                    <a:lnTo>
                      <a:pt x="1330" y="8"/>
                    </a:lnTo>
                    <a:lnTo>
                      <a:pt x="1330" y="12"/>
                    </a:lnTo>
                    <a:lnTo>
                      <a:pt x="1328" y="15"/>
                    </a:lnTo>
                    <a:lnTo>
                      <a:pt x="1330" y="20"/>
                    </a:lnTo>
                    <a:lnTo>
                      <a:pt x="1328" y="24"/>
                    </a:lnTo>
                    <a:lnTo>
                      <a:pt x="1330" y="26"/>
                    </a:lnTo>
                    <a:lnTo>
                      <a:pt x="1333" y="24"/>
                    </a:lnTo>
                    <a:lnTo>
                      <a:pt x="1336" y="26"/>
                    </a:lnTo>
                    <a:lnTo>
                      <a:pt x="1336" y="24"/>
                    </a:lnTo>
                    <a:lnTo>
                      <a:pt x="1336" y="19"/>
                    </a:lnTo>
                    <a:lnTo>
                      <a:pt x="1340" y="12"/>
                    </a:lnTo>
                    <a:lnTo>
                      <a:pt x="1336" y="5"/>
                    </a:lnTo>
                    <a:lnTo>
                      <a:pt x="1338" y="0"/>
                    </a:lnTo>
                    <a:lnTo>
                      <a:pt x="1340" y="0"/>
                    </a:lnTo>
                    <a:lnTo>
                      <a:pt x="1342" y="0"/>
                    </a:lnTo>
                    <a:lnTo>
                      <a:pt x="1345" y="0"/>
                    </a:lnTo>
                    <a:lnTo>
                      <a:pt x="1347" y="3"/>
                    </a:lnTo>
                    <a:lnTo>
                      <a:pt x="1352" y="0"/>
                    </a:lnTo>
                    <a:lnTo>
                      <a:pt x="1356" y="0"/>
                    </a:lnTo>
                    <a:lnTo>
                      <a:pt x="1359" y="3"/>
                    </a:lnTo>
                    <a:lnTo>
                      <a:pt x="1361" y="5"/>
                    </a:lnTo>
                    <a:lnTo>
                      <a:pt x="1366" y="3"/>
                    </a:lnTo>
                    <a:lnTo>
                      <a:pt x="1369" y="8"/>
                    </a:lnTo>
                    <a:lnTo>
                      <a:pt x="1371" y="12"/>
                    </a:lnTo>
                    <a:lnTo>
                      <a:pt x="1373" y="12"/>
                    </a:lnTo>
                    <a:lnTo>
                      <a:pt x="1373" y="15"/>
                    </a:lnTo>
                    <a:lnTo>
                      <a:pt x="1371" y="20"/>
                    </a:lnTo>
                    <a:lnTo>
                      <a:pt x="1371" y="22"/>
                    </a:lnTo>
                    <a:lnTo>
                      <a:pt x="1375" y="20"/>
                    </a:lnTo>
                    <a:lnTo>
                      <a:pt x="1378" y="17"/>
                    </a:lnTo>
                    <a:lnTo>
                      <a:pt x="1382" y="14"/>
                    </a:lnTo>
                    <a:lnTo>
                      <a:pt x="1387" y="12"/>
                    </a:lnTo>
                    <a:lnTo>
                      <a:pt x="1389" y="12"/>
                    </a:lnTo>
                    <a:lnTo>
                      <a:pt x="1392" y="12"/>
                    </a:lnTo>
                    <a:lnTo>
                      <a:pt x="1397" y="12"/>
                    </a:lnTo>
                    <a:lnTo>
                      <a:pt x="1397" y="15"/>
                    </a:lnTo>
                    <a:lnTo>
                      <a:pt x="1392" y="19"/>
                    </a:lnTo>
                    <a:lnTo>
                      <a:pt x="1396" y="22"/>
                    </a:lnTo>
                    <a:lnTo>
                      <a:pt x="1397" y="20"/>
                    </a:lnTo>
                    <a:lnTo>
                      <a:pt x="1397" y="17"/>
                    </a:lnTo>
                    <a:lnTo>
                      <a:pt x="1401" y="15"/>
                    </a:lnTo>
                    <a:lnTo>
                      <a:pt x="1404" y="14"/>
                    </a:lnTo>
                    <a:lnTo>
                      <a:pt x="1409" y="15"/>
                    </a:lnTo>
                    <a:lnTo>
                      <a:pt x="1416" y="17"/>
                    </a:lnTo>
                    <a:lnTo>
                      <a:pt x="1418" y="19"/>
                    </a:lnTo>
                    <a:lnTo>
                      <a:pt x="1416" y="22"/>
                    </a:lnTo>
                    <a:lnTo>
                      <a:pt x="1415" y="22"/>
                    </a:lnTo>
                    <a:lnTo>
                      <a:pt x="1415" y="24"/>
                    </a:lnTo>
                    <a:lnTo>
                      <a:pt x="1413" y="27"/>
                    </a:lnTo>
                    <a:lnTo>
                      <a:pt x="1415" y="27"/>
                    </a:lnTo>
                    <a:lnTo>
                      <a:pt x="1416" y="27"/>
                    </a:lnTo>
                    <a:lnTo>
                      <a:pt x="1420" y="26"/>
                    </a:lnTo>
                    <a:lnTo>
                      <a:pt x="1420" y="27"/>
                    </a:lnTo>
                    <a:lnTo>
                      <a:pt x="1423" y="31"/>
                    </a:lnTo>
                    <a:lnTo>
                      <a:pt x="1425" y="27"/>
                    </a:lnTo>
                    <a:lnTo>
                      <a:pt x="1429" y="27"/>
                    </a:lnTo>
                    <a:lnTo>
                      <a:pt x="1429" y="27"/>
                    </a:lnTo>
                    <a:lnTo>
                      <a:pt x="1429" y="31"/>
                    </a:lnTo>
                    <a:lnTo>
                      <a:pt x="1429" y="34"/>
                    </a:lnTo>
                    <a:lnTo>
                      <a:pt x="1432" y="34"/>
                    </a:lnTo>
                    <a:lnTo>
                      <a:pt x="1432" y="31"/>
                    </a:lnTo>
                    <a:lnTo>
                      <a:pt x="1436" y="31"/>
                    </a:lnTo>
                    <a:lnTo>
                      <a:pt x="1437" y="31"/>
                    </a:lnTo>
                    <a:lnTo>
                      <a:pt x="1437" y="34"/>
                    </a:lnTo>
                    <a:lnTo>
                      <a:pt x="1444" y="36"/>
                    </a:lnTo>
                    <a:lnTo>
                      <a:pt x="1448" y="36"/>
                    </a:lnTo>
                    <a:lnTo>
                      <a:pt x="1449" y="40"/>
                    </a:lnTo>
                    <a:lnTo>
                      <a:pt x="1448" y="40"/>
                    </a:lnTo>
                    <a:lnTo>
                      <a:pt x="1441" y="43"/>
                    </a:lnTo>
                    <a:lnTo>
                      <a:pt x="1437" y="47"/>
                    </a:lnTo>
                    <a:lnTo>
                      <a:pt x="1432" y="48"/>
                    </a:lnTo>
                    <a:lnTo>
                      <a:pt x="1429" y="50"/>
                    </a:lnTo>
                    <a:lnTo>
                      <a:pt x="1427" y="50"/>
                    </a:lnTo>
                    <a:lnTo>
                      <a:pt x="1423" y="50"/>
                    </a:lnTo>
                    <a:lnTo>
                      <a:pt x="1422" y="50"/>
                    </a:lnTo>
                    <a:lnTo>
                      <a:pt x="1416" y="54"/>
                    </a:lnTo>
                    <a:lnTo>
                      <a:pt x="1425" y="54"/>
                    </a:lnTo>
                    <a:lnTo>
                      <a:pt x="1432" y="54"/>
                    </a:lnTo>
                    <a:lnTo>
                      <a:pt x="1432" y="55"/>
                    </a:lnTo>
                    <a:lnTo>
                      <a:pt x="1436" y="55"/>
                    </a:lnTo>
                    <a:lnTo>
                      <a:pt x="1437" y="50"/>
                    </a:lnTo>
                    <a:lnTo>
                      <a:pt x="1441" y="50"/>
                    </a:lnTo>
                    <a:lnTo>
                      <a:pt x="1442" y="50"/>
                    </a:lnTo>
                    <a:lnTo>
                      <a:pt x="1444" y="47"/>
                    </a:lnTo>
                    <a:lnTo>
                      <a:pt x="1449" y="45"/>
                    </a:lnTo>
                    <a:lnTo>
                      <a:pt x="1451" y="45"/>
                    </a:lnTo>
                    <a:lnTo>
                      <a:pt x="1455" y="47"/>
                    </a:lnTo>
                    <a:lnTo>
                      <a:pt x="1451" y="50"/>
                    </a:lnTo>
                    <a:lnTo>
                      <a:pt x="1455" y="54"/>
                    </a:lnTo>
                    <a:lnTo>
                      <a:pt x="1455" y="50"/>
                    </a:lnTo>
                    <a:lnTo>
                      <a:pt x="1456" y="48"/>
                    </a:lnTo>
                    <a:lnTo>
                      <a:pt x="1460" y="45"/>
                    </a:lnTo>
                    <a:lnTo>
                      <a:pt x="1463" y="47"/>
                    </a:lnTo>
                    <a:lnTo>
                      <a:pt x="1460" y="50"/>
                    </a:lnTo>
                    <a:lnTo>
                      <a:pt x="1460" y="50"/>
                    </a:lnTo>
                    <a:lnTo>
                      <a:pt x="1460" y="55"/>
                    </a:lnTo>
                    <a:lnTo>
                      <a:pt x="1460" y="57"/>
                    </a:lnTo>
                    <a:lnTo>
                      <a:pt x="1463" y="55"/>
                    </a:lnTo>
                    <a:lnTo>
                      <a:pt x="1463" y="54"/>
                    </a:lnTo>
                    <a:lnTo>
                      <a:pt x="1463" y="50"/>
                    </a:lnTo>
                    <a:lnTo>
                      <a:pt x="1469" y="50"/>
                    </a:lnTo>
                    <a:lnTo>
                      <a:pt x="1470" y="50"/>
                    </a:lnTo>
                    <a:lnTo>
                      <a:pt x="1469" y="59"/>
                    </a:lnTo>
                    <a:lnTo>
                      <a:pt x="1467" y="59"/>
                    </a:lnTo>
                    <a:lnTo>
                      <a:pt x="1469" y="59"/>
                    </a:lnTo>
                    <a:lnTo>
                      <a:pt x="1470" y="62"/>
                    </a:lnTo>
                    <a:lnTo>
                      <a:pt x="1469" y="67"/>
                    </a:lnTo>
                    <a:lnTo>
                      <a:pt x="1465" y="69"/>
                    </a:lnTo>
                    <a:lnTo>
                      <a:pt x="1465" y="73"/>
                    </a:lnTo>
                    <a:lnTo>
                      <a:pt x="1460" y="78"/>
                    </a:lnTo>
                    <a:lnTo>
                      <a:pt x="1463" y="80"/>
                    </a:lnTo>
                    <a:lnTo>
                      <a:pt x="1465" y="78"/>
                    </a:lnTo>
                    <a:lnTo>
                      <a:pt x="1467" y="74"/>
                    </a:lnTo>
                    <a:lnTo>
                      <a:pt x="1470" y="74"/>
                    </a:lnTo>
                    <a:lnTo>
                      <a:pt x="1470" y="73"/>
                    </a:lnTo>
                    <a:lnTo>
                      <a:pt x="1474" y="73"/>
                    </a:lnTo>
                    <a:lnTo>
                      <a:pt x="1477" y="76"/>
                    </a:lnTo>
                    <a:lnTo>
                      <a:pt x="1479" y="81"/>
                    </a:lnTo>
                    <a:lnTo>
                      <a:pt x="1479" y="87"/>
                    </a:lnTo>
                    <a:lnTo>
                      <a:pt x="1479" y="94"/>
                    </a:lnTo>
                    <a:lnTo>
                      <a:pt x="1474" y="100"/>
                    </a:lnTo>
                    <a:lnTo>
                      <a:pt x="1467" y="104"/>
                    </a:lnTo>
                    <a:lnTo>
                      <a:pt x="1465" y="106"/>
                    </a:lnTo>
                    <a:lnTo>
                      <a:pt x="1463" y="106"/>
                    </a:lnTo>
                    <a:lnTo>
                      <a:pt x="1460" y="107"/>
                    </a:lnTo>
                    <a:lnTo>
                      <a:pt x="1460" y="109"/>
                    </a:lnTo>
                    <a:lnTo>
                      <a:pt x="1456" y="109"/>
                    </a:lnTo>
                    <a:lnTo>
                      <a:pt x="1448" y="114"/>
                    </a:lnTo>
                    <a:lnTo>
                      <a:pt x="1444" y="118"/>
                    </a:lnTo>
                    <a:lnTo>
                      <a:pt x="1441" y="118"/>
                    </a:lnTo>
                    <a:lnTo>
                      <a:pt x="1436" y="121"/>
                    </a:lnTo>
                    <a:lnTo>
                      <a:pt x="1432" y="121"/>
                    </a:lnTo>
                    <a:lnTo>
                      <a:pt x="1429" y="118"/>
                    </a:lnTo>
                    <a:lnTo>
                      <a:pt x="1427" y="121"/>
                    </a:lnTo>
                    <a:lnTo>
                      <a:pt x="1425" y="121"/>
                    </a:lnTo>
                    <a:lnTo>
                      <a:pt x="1422" y="121"/>
                    </a:lnTo>
                    <a:lnTo>
                      <a:pt x="1416" y="118"/>
                    </a:lnTo>
                    <a:lnTo>
                      <a:pt x="1411" y="118"/>
                    </a:lnTo>
                    <a:lnTo>
                      <a:pt x="1411" y="121"/>
                    </a:lnTo>
                    <a:lnTo>
                      <a:pt x="1416" y="121"/>
                    </a:lnTo>
                    <a:lnTo>
                      <a:pt x="1418" y="121"/>
                    </a:lnTo>
                    <a:lnTo>
                      <a:pt x="1415" y="123"/>
                    </a:lnTo>
                    <a:lnTo>
                      <a:pt x="1411" y="121"/>
                    </a:lnTo>
                    <a:lnTo>
                      <a:pt x="1409" y="121"/>
                    </a:lnTo>
                    <a:lnTo>
                      <a:pt x="1406" y="121"/>
                    </a:lnTo>
                    <a:lnTo>
                      <a:pt x="1401" y="121"/>
                    </a:lnTo>
                    <a:lnTo>
                      <a:pt x="1399" y="118"/>
                    </a:lnTo>
                    <a:lnTo>
                      <a:pt x="1397" y="118"/>
                    </a:lnTo>
                    <a:lnTo>
                      <a:pt x="1396" y="118"/>
                    </a:lnTo>
                    <a:lnTo>
                      <a:pt x="1389" y="113"/>
                    </a:lnTo>
                    <a:lnTo>
                      <a:pt x="1387" y="109"/>
                    </a:lnTo>
                    <a:lnTo>
                      <a:pt x="1387" y="113"/>
                    </a:lnTo>
                    <a:lnTo>
                      <a:pt x="1390" y="118"/>
                    </a:lnTo>
                    <a:lnTo>
                      <a:pt x="1390" y="118"/>
                    </a:lnTo>
                    <a:lnTo>
                      <a:pt x="1389" y="118"/>
                    </a:lnTo>
                    <a:lnTo>
                      <a:pt x="1383" y="118"/>
                    </a:lnTo>
                    <a:lnTo>
                      <a:pt x="1387" y="121"/>
                    </a:lnTo>
                    <a:lnTo>
                      <a:pt x="1397" y="121"/>
                    </a:lnTo>
                    <a:lnTo>
                      <a:pt x="1404" y="123"/>
                    </a:lnTo>
                    <a:lnTo>
                      <a:pt x="1406" y="125"/>
                    </a:lnTo>
                    <a:lnTo>
                      <a:pt x="1401" y="127"/>
                    </a:lnTo>
                    <a:lnTo>
                      <a:pt x="1387" y="134"/>
                    </a:lnTo>
                    <a:lnTo>
                      <a:pt x="1378" y="135"/>
                    </a:lnTo>
                    <a:lnTo>
                      <a:pt x="1375" y="135"/>
                    </a:lnTo>
                    <a:lnTo>
                      <a:pt x="1369" y="137"/>
                    </a:lnTo>
                    <a:lnTo>
                      <a:pt x="1364" y="135"/>
                    </a:lnTo>
                    <a:lnTo>
                      <a:pt x="1364" y="134"/>
                    </a:lnTo>
                    <a:lnTo>
                      <a:pt x="1361" y="135"/>
                    </a:lnTo>
                    <a:lnTo>
                      <a:pt x="1359" y="134"/>
                    </a:lnTo>
                    <a:lnTo>
                      <a:pt x="1356" y="135"/>
                    </a:lnTo>
                    <a:lnTo>
                      <a:pt x="1354" y="137"/>
                    </a:lnTo>
                    <a:lnTo>
                      <a:pt x="1356" y="137"/>
                    </a:lnTo>
                    <a:lnTo>
                      <a:pt x="1359" y="140"/>
                    </a:lnTo>
                    <a:lnTo>
                      <a:pt x="1361" y="137"/>
                    </a:lnTo>
                    <a:lnTo>
                      <a:pt x="1371" y="137"/>
                    </a:lnTo>
                    <a:lnTo>
                      <a:pt x="1376" y="137"/>
                    </a:lnTo>
                    <a:lnTo>
                      <a:pt x="1389" y="137"/>
                    </a:lnTo>
                    <a:lnTo>
                      <a:pt x="1397" y="137"/>
                    </a:lnTo>
                    <a:lnTo>
                      <a:pt x="1401" y="132"/>
                    </a:lnTo>
                    <a:lnTo>
                      <a:pt x="1406" y="130"/>
                    </a:lnTo>
                    <a:lnTo>
                      <a:pt x="1409" y="132"/>
                    </a:lnTo>
                    <a:lnTo>
                      <a:pt x="1413" y="132"/>
                    </a:lnTo>
                    <a:lnTo>
                      <a:pt x="1418" y="132"/>
                    </a:lnTo>
                    <a:lnTo>
                      <a:pt x="1416" y="137"/>
                    </a:lnTo>
                    <a:lnTo>
                      <a:pt x="1413" y="140"/>
                    </a:lnTo>
                    <a:lnTo>
                      <a:pt x="1409" y="144"/>
                    </a:lnTo>
                    <a:lnTo>
                      <a:pt x="1406" y="144"/>
                    </a:lnTo>
                    <a:lnTo>
                      <a:pt x="1399" y="146"/>
                    </a:lnTo>
                    <a:lnTo>
                      <a:pt x="1397" y="149"/>
                    </a:lnTo>
                    <a:lnTo>
                      <a:pt x="1394" y="149"/>
                    </a:lnTo>
                    <a:lnTo>
                      <a:pt x="1390" y="154"/>
                    </a:lnTo>
                    <a:lnTo>
                      <a:pt x="1387" y="156"/>
                    </a:lnTo>
                    <a:lnTo>
                      <a:pt x="1382" y="156"/>
                    </a:lnTo>
                    <a:lnTo>
                      <a:pt x="1378" y="158"/>
                    </a:lnTo>
                    <a:lnTo>
                      <a:pt x="1376" y="158"/>
                    </a:lnTo>
                    <a:lnTo>
                      <a:pt x="1373" y="160"/>
                    </a:lnTo>
                    <a:lnTo>
                      <a:pt x="1366" y="160"/>
                    </a:lnTo>
                    <a:lnTo>
                      <a:pt x="1364" y="165"/>
                    </a:lnTo>
                    <a:lnTo>
                      <a:pt x="1359" y="167"/>
                    </a:lnTo>
                    <a:lnTo>
                      <a:pt x="1356" y="168"/>
                    </a:lnTo>
                    <a:lnTo>
                      <a:pt x="1352" y="168"/>
                    </a:lnTo>
                    <a:lnTo>
                      <a:pt x="1347" y="168"/>
                    </a:lnTo>
                    <a:lnTo>
                      <a:pt x="1347" y="168"/>
                    </a:lnTo>
                    <a:lnTo>
                      <a:pt x="1345" y="172"/>
                    </a:lnTo>
                    <a:lnTo>
                      <a:pt x="1345" y="174"/>
                    </a:lnTo>
                    <a:lnTo>
                      <a:pt x="1342" y="177"/>
                    </a:lnTo>
                    <a:lnTo>
                      <a:pt x="1340" y="180"/>
                    </a:lnTo>
                    <a:lnTo>
                      <a:pt x="1333" y="180"/>
                    </a:lnTo>
                    <a:lnTo>
                      <a:pt x="1328" y="182"/>
                    </a:lnTo>
                    <a:lnTo>
                      <a:pt x="1328" y="180"/>
                    </a:lnTo>
                    <a:lnTo>
                      <a:pt x="1324" y="179"/>
                    </a:lnTo>
                    <a:lnTo>
                      <a:pt x="1328" y="177"/>
                    </a:lnTo>
                    <a:lnTo>
                      <a:pt x="1328" y="174"/>
                    </a:lnTo>
                    <a:lnTo>
                      <a:pt x="1324" y="172"/>
                    </a:lnTo>
                    <a:lnTo>
                      <a:pt x="1324" y="177"/>
                    </a:lnTo>
                    <a:lnTo>
                      <a:pt x="1324" y="179"/>
                    </a:lnTo>
                    <a:lnTo>
                      <a:pt x="1324" y="180"/>
                    </a:lnTo>
                    <a:lnTo>
                      <a:pt x="1328" y="184"/>
                    </a:lnTo>
                    <a:lnTo>
                      <a:pt x="1328" y="187"/>
                    </a:lnTo>
                    <a:lnTo>
                      <a:pt x="1324" y="191"/>
                    </a:lnTo>
                    <a:lnTo>
                      <a:pt x="1323" y="191"/>
                    </a:lnTo>
                    <a:lnTo>
                      <a:pt x="1319" y="187"/>
                    </a:lnTo>
                    <a:lnTo>
                      <a:pt x="1317" y="189"/>
                    </a:lnTo>
                    <a:lnTo>
                      <a:pt x="1310" y="187"/>
                    </a:lnTo>
                    <a:lnTo>
                      <a:pt x="1309" y="189"/>
                    </a:lnTo>
                    <a:lnTo>
                      <a:pt x="1307" y="189"/>
                    </a:lnTo>
                    <a:lnTo>
                      <a:pt x="1307" y="186"/>
                    </a:lnTo>
                    <a:lnTo>
                      <a:pt x="1305" y="184"/>
                    </a:lnTo>
                    <a:lnTo>
                      <a:pt x="1305" y="187"/>
                    </a:lnTo>
                    <a:lnTo>
                      <a:pt x="1302" y="187"/>
                    </a:lnTo>
                    <a:lnTo>
                      <a:pt x="1302" y="191"/>
                    </a:lnTo>
                    <a:lnTo>
                      <a:pt x="1307" y="191"/>
                    </a:lnTo>
                    <a:lnTo>
                      <a:pt x="1316" y="191"/>
                    </a:lnTo>
                    <a:lnTo>
                      <a:pt x="1319" y="194"/>
                    </a:lnTo>
                    <a:lnTo>
                      <a:pt x="1317" y="196"/>
                    </a:lnTo>
                    <a:lnTo>
                      <a:pt x="1314" y="200"/>
                    </a:lnTo>
                    <a:lnTo>
                      <a:pt x="1309" y="200"/>
                    </a:lnTo>
                    <a:lnTo>
                      <a:pt x="1305" y="200"/>
                    </a:lnTo>
                    <a:lnTo>
                      <a:pt x="1305" y="200"/>
                    </a:lnTo>
                    <a:lnTo>
                      <a:pt x="1305" y="201"/>
                    </a:lnTo>
                    <a:lnTo>
                      <a:pt x="1307" y="200"/>
                    </a:lnTo>
                    <a:lnTo>
                      <a:pt x="1309" y="201"/>
                    </a:lnTo>
                    <a:lnTo>
                      <a:pt x="1309" y="205"/>
                    </a:lnTo>
                    <a:lnTo>
                      <a:pt x="1305" y="210"/>
                    </a:lnTo>
                    <a:lnTo>
                      <a:pt x="1300" y="210"/>
                    </a:lnTo>
                    <a:lnTo>
                      <a:pt x="1290" y="210"/>
                    </a:lnTo>
                    <a:lnTo>
                      <a:pt x="1290" y="208"/>
                    </a:lnTo>
                    <a:lnTo>
                      <a:pt x="1286" y="208"/>
                    </a:lnTo>
                    <a:lnTo>
                      <a:pt x="1284" y="208"/>
                    </a:lnTo>
                    <a:lnTo>
                      <a:pt x="1284" y="200"/>
                    </a:lnTo>
                    <a:lnTo>
                      <a:pt x="1279" y="200"/>
                    </a:lnTo>
                    <a:lnTo>
                      <a:pt x="1279" y="200"/>
                    </a:lnTo>
                    <a:lnTo>
                      <a:pt x="1279" y="196"/>
                    </a:lnTo>
                    <a:lnTo>
                      <a:pt x="1277" y="194"/>
                    </a:lnTo>
                    <a:lnTo>
                      <a:pt x="1274" y="194"/>
                    </a:lnTo>
                    <a:lnTo>
                      <a:pt x="1272" y="194"/>
                    </a:lnTo>
                    <a:lnTo>
                      <a:pt x="1267" y="194"/>
                    </a:lnTo>
                    <a:lnTo>
                      <a:pt x="1265" y="196"/>
                    </a:lnTo>
                    <a:lnTo>
                      <a:pt x="1269" y="196"/>
                    </a:lnTo>
                    <a:lnTo>
                      <a:pt x="1270" y="196"/>
                    </a:lnTo>
                    <a:lnTo>
                      <a:pt x="1272" y="196"/>
                    </a:lnTo>
                    <a:lnTo>
                      <a:pt x="1279" y="203"/>
                    </a:lnTo>
                    <a:lnTo>
                      <a:pt x="1279" y="214"/>
                    </a:lnTo>
                    <a:lnTo>
                      <a:pt x="1279" y="215"/>
                    </a:lnTo>
                    <a:lnTo>
                      <a:pt x="1274" y="214"/>
                    </a:lnTo>
                    <a:lnTo>
                      <a:pt x="1272" y="212"/>
                    </a:lnTo>
                    <a:lnTo>
                      <a:pt x="1270" y="212"/>
                    </a:lnTo>
                    <a:lnTo>
                      <a:pt x="1270" y="215"/>
                    </a:lnTo>
                    <a:lnTo>
                      <a:pt x="1269" y="215"/>
                    </a:lnTo>
                    <a:lnTo>
                      <a:pt x="1265" y="212"/>
                    </a:lnTo>
                    <a:lnTo>
                      <a:pt x="1262" y="212"/>
                    </a:lnTo>
                    <a:lnTo>
                      <a:pt x="1260" y="215"/>
                    </a:lnTo>
                    <a:lnTo>
                      <a:pt x="1258" y="215"/>
                    </a:lnTo>
                    <a:lnTo>
                      <a:pt x="1257" y="212"/>
                    </a:lnTo>
                    <a:lnTo>
                      <a:pt x="1255" y="212"/>
                    </a:lnTo>
                    <a:lnTo>
                      <a:pt x="1251" y="208"/>
                    </a:lnTo>
                    <a:lnTo>
                      <a:pt x="1250" y="208"/>
                    </a:lnTo>
                    <a:lnTo>
                      <a:pt x="1250" y="205"/>
                    </a:lnTo>
                    <a:lnTo>
                      <a:pt x="1246" y="203"/>
                    </a:lnTo>
                    <a:lnTo>
                      <a:pt x="1241" y="203"/>
                    </a:lnTo>
                    <a:lnTo>
                      <a:pt x="1239" y="200"/>
                    </a:lnTo>
                    <a:lnTo>
                      <a:pt x="1237" y="201"/>
                    </a:lnTo>
                    <a:lnTo>
                      <a:pt x="1239" y="205"/>
                    </a:lnTo>
                    <a:lnTo>
                      <a:pt x="1243" y="208"/>
                    </a:lnTo>
                    <a:lnTo>
                      <a:pt x="1246" y="208"/>
                    </a:lnTo>
                    <a:lnTo>
                      <a:pt x="1251" y="214"/>
                    </a:lnTo>
                    <a:lnTo>
                      <a:pt x="1250" y="217"/>
                    </a:lnTo>
                    <a:lnTo>
                      <a:pt x="1239" y="214"/>
                    </a:lnTo>
                    <a:lnTo>
                      <a:pt x="1236" y="212"/>
                    </a:lnTo>
                    <a:lnTo>
                      <a:pt x="1236" y="208"/>
                    </a:lnTo>
                    <a:lnTo>
                      <a:pt x="1234" y="205"/>
                    </a:lnTo>
                    <a:lnTo>
                      <a:pt x="1232" y="208"/>
                    </a:lnTo>
                    <a:lnTo>
                      <a:pt x="1234" y="208"/>
                    </a:lnTo>
                    <a:lnTo>
                      <a:pt x="1232" y="212"/>
                    </a:lnTo>
                    <a:lnTo>
                      <a:pt x="1229" y="210"/>
                    </a:lnTo>
                    <a:lnTo>
                      <a:pt x="1229" y="208"/>
                    </a:lnTo>
                    <a:lnTo>
                      <a:pt x="1224" y="210"/>
                    </a:lnTo>
                    <a:lnTo>
                      <a:pt x="1224" y="212"/>
                    </a:lnTo>
                    <a:lnTo>
                      <a:pt x="1229" y="214"/>
                    </a:lnTo>
                    <a:lnTo>
                      <a:pt x="1229" y="217"/>
                    </a:lnTo>
                    <a:lnTo>
                      <a:pt x="1232" y="217"/>
                    </a:lnTo>
                    <a:lnTo>
                      <a:pt x="1232" y="215"/>
                    </a:lnTo>
                    <a:lnTo>
                      <a:pt x="1236" y="215"/>
                    </a:lnTo>
                    <a:lnTo>
                      <a:pt x="1237" y="219"/>
                    </a:lnTo>
                    <a:lnTo>
                      <a:pt x="1243" y="219"/>
                    </a:lnTo>
                    <a:lnTo>
                      <a:pt x="1244" y="222"/>
                    </a:lnTo>
                    <a:lnTo>
                      <a:pt x="1248" y="222"/>
                    </a:lnTo>
                    <a:lnTo>
                      <a:pt x="1250" y="222"/>
                    </a:lnTo>
                    <a:lnTo>
                      <a:pt x="1258" y="224"/>
                    </a:lnTo>
                    <a:lnTo>
                      <a:pt x="1260" y="224"/>
                    </a:lnTo>
                    <a:lnTo>
                      <a:pt x="1257" y="227"/>
                    </a:lnTo>
                    <a:lnTo>
                      <a:pt x="1258" y="231"/>
                    </a:lnTo>
                    <a:lnTo>
                      <a:pt x="1258" y="233"/>
                    </a:lnTo>
                    <a:lnTo>
                      <a:pt x="1258" y="236"/>
                    </a:lnTo>
                    <a:lnTo>
                      <a:pt x="1257" y="238"/>
                    </a:lnTo>
                    <a:lnTo>
                      <a:pt x="1255" y="238"/>
                    </a:lnTo>
                    <a:lnTo>
                      <a:pt x="1255" y="234"/>
                    </a:lnTo>
                    <a:lnTo>
                      <a:pt x="1250" y="234"/>
                    </a:lnTo>
                    <a:lnTo>
                      <a:pt x="1244" y="231"/>
                    </a:lnTo>
                    <a:lnTo>
                      <a:pt x="1243" y="227"/>
                    </a:lnTo>
                    <a:lnTo>
                      <a:pt x="1244" y="224"/>
                    </a:lnTo>
                    <a:lnTo>
                      <a:pt x="1243" y="222"/>
                    </a:lnTo>
                    <a:lnTo>
                      <a:pt x="1236" y="222"/>
                    </a:lnTo>
                    <a:lnTo>
                      <a:pt x="1229" y="219"/>
                    </a:lnTo>
                    <a:lnTo>
                      <a:pt x="1227" y="219"/>
                    </a:lnTo>
                    <a:lnTo>
                      <a:pt x="1224" y="219"/>
                    </a:lnTo>
                    <a:lnTo>
                      <a:pt x="1224" y="219"/>
                    </a:lnTo>
                    <a:lnTo>
                      <a:pt x="1227" y="222"/>
                    </a:lnTo>
                    <a:lnTo>
                      <a:pt x="1234" y="222"/>
                    </a:lnTo>
                    <a:lnTo>
                      <a:pt x="1241" y="224"/>
                    </a:lnTo>
                    <a:lnTo>
                      <a:pt x="1241" y="227"/>
                    </a:lnTo>
                    <a:lnTo>
                      <a:pt x="1239" y="227"/>
                    </a:lnTo>
                    <a:lnTo>
                      <a:pt x="1236" y="227"/>
                    </a:lnTo>
                    <a:lnTo>
                      <a:pt x="1229" y="227"/>
                    </a:lnTo>
                    <a:lnTo>
                      <a:pt x="1224" y="227"/>
                    </a:lnTo>
                    <a:lnTo>
                      <a:pt x="1224" y="224"/>
                    </a:lnTo>
                    <a:lnTo>
                      <a:pt x="1224" y="224"/>
                    </a:lnTo>
                    <a:lnTo>
                      <a:pt x="1217" y="224"/>
                    </a:lnTo>
                    <a:lnTo>
                      <a:pt x="1215" y="222"/>
                    </a:lnTo>
                    <a:lnTo>
                      <a:pt x="1215" y="224"/>
                    </a:lnTo>
                    <a:lnTo>
                      <a:pt x="1220" y="227"/>
                    </a:lnTo>
                    <a:lnTo>
                      <a:pt x="1220" y="227"/>
                    </a:lnTo>
                    <a:lnTo>
                      <a:pt x="1220" y="231"/>
                    </a:lnTo>
                    <a:lnTo>
                      <a:pt x="1224" y="231"/>
                    </a:lnTo>
                    <a:lnTo>
                      <a:pt x="1224" y="231"/>
                    </a:lnTo>
                    <a:lnTo>
                      <a:pt x="1224" y="231"/>
                    </a:lnTo>
                    <a:lnTo>
                      <a:pt x="1229" y="231"/>
                    </a:lnTo>
                    <a:lnTo>
                      <a:pt x="1229" y="227"/>
                    </a:lnTo>
                    <a:lnTo>
                      <a:pt x="1229" y="231"/>
                    </a:lnTo>
                    <a:lnTo>
                      <a:pt x="1232" y="227"/>
                    </a:lnTo>
                    <a:lnTo>
                      <a:pt x="1236" y="231"/>
                    </a:lnTo>
                    <a:lnTo>
                      <a:pt x="1241" y="234"/>
                    </a:lnTo>
                    <a:lnTo>
                      <a:pt x="1241" y="236"/>
                    </a:lnTo>
                    <a:lnTo>
                      <a:pt x="1236" y="236"/>
                    </a:lnTo>
                    <a:lnTo>
                      <a:pt x="1232" y="238"/>
                    </a:lnTo>
                    <a:lnTo>
                      <a:pt x="1232" y="240"/>
                    </a:lnTo>
                    <a:lnTo>
                      <a:pt x="1236" y="238"/>
                    </a:lnTo>
                    <a:lnTo>
                      <a:pt x="1239" y="238"/>
                    </a:lnTo>
                    <a:lnTo>
                      <a:pt x="1241" y="238"/>
                    </a:lnTo>
                    <a:lnTo>
                      <a:pt x="1244" y="241"/>
                    </a:lnTo>
                    <a:lnTo>
                      <a:pt x="1248" y="243"/>
                    </a:lnTo>
                    <a:lnTo>
                      <a:pt x="1248" y="247"/>
                    </a:lnTo>
                    <a:lnTo>
                      <a:pt x="1244" y="254"/>
                    </a:lnTo>
                    <a:lnTo>
                      <a:pt x="1243" y="259"/>
                    </a:lnTo>
                    <a:lnTo>
                      <a:pt x="1241" y="259"/>
                    </a:lnTo>
                    <a:lnTo>
                      <a:pt x="1236" y="260"/>
                    </a:lnTo>
                    <a:lnTo>
                      <a:pt x="1234" y="260"/>
                    </a:lnTo>
                    <a:lnTo>
                      <a:pt x="1232" y="260"/>
                    </a:lnTo>
                    <a:lnTo>
                      <a:pt x="1229" y="259"/>
                    </a:lnTo>
                    <a:lnTo>
                      <a:pt x="1229" y="259"/>
                    </a:lnTo>
                    <a:lnTo>
                      <a:pt x="1224" y="255"/>
                    </a:lnTo>
                    <a:lnTo>
                      <a:pt x="1220" y="255"/>
                    </a:lnTo>
                    <a:lnTo>
                      <a:pt x="1220" y="259"/>
                    </a:lnTo>
                    <a:lnTo>
                      <a:pt x="1227" y="259"/>
                    </a:lnTo>
                    <a:lnTo>
                      <a:pt x="1227" y="260"/>
                    </a:lnTo>
                    <a:lnTo>
                      <a:pt x="1229" y="260"/>
                    </a:lnTo>
                    <a:lnTo>
                      <a:pt x="1232" y="264"/>
                    </a:lnTo>
                    <a:lnTo>
                      <a:pt x="1232" y="269"/>
                    </a:lnTo>
                    <a:lnTo>
                      <a:pt x="1232" y="271"/>
                    </a:lnTo>
                    <a:lnTo>
                      <a:pt x="1229" y="271"/>
                    </a:lnTo>
                    <a:lnTo>
                      <a:pt x="1227" y="274"/>
                    </a:lnTo>
                    <a:lnTo>
                      <a:pt x="1224" y="274"/>
                    </a:lnTo>
                    <a:lnTo>
                      <a:pt x="1218" y="271"/>
                    </a:lnTo>
                    <a:lnTo>
                      <a:pt x="1215" y="271"/>
                    </a:lnTo>
                    <a:lnTo>
                      <a:pt x="1213" y="269"/>
                    </a:lnTo>
                    <a:lnTo>
                      <a:pt x="1210" y="269"/>
                    </a:lnTo>
                    <a:lnTo>
                      <a:pt x="1210" y="271"/>
                    </a:lnTo>
                    <a:lnTo>
                      <a:pt x="1210" y="273"/>
                    </a:lnTo>
                    <a:lnTo>
                      <a:pt x="1218" y="278"/>
                    </a:lnTo>
                    <a:lnTo>
                      <a:pt x="1224" y="278"/>
                    </a:lnTo>
                    <a:lnTo>
                      <a:pt x="1224" y="281"/>
                    </a:lnTo>
                    <a:lnTo>
                      <a:pt x="1220" y="281"/>
                    </a:lnTo>
                    <a:lnTo>
                      <a:pt x="1217" y="287"/>
                    </a:lnTo>
                    <a:lnTo>
                      <a:pt x="1215" y="287"/>
                    </a:lnTo>
                    <a:lnTo>
                      <a:pt x="1211" y="281"/>
                    </a:lnTo>
                    <a:lnTo>
                      <a:pt x="1210" y="281"/>
                    </a:lnTo>
                    <a:lnTo>
                      <a:pt x="1204" y="287"/>
                    </a:lnTo>
                    <a:lnTo>
                      <a:pt x="1201" y="287"/>
                    </a:lnTo>
                    <a:lnTo>
                      <a:pt x="1197" y="281"/>
                    </a:lnTo>
                    <a:lnTo>
                      <a:pt x="1192" y="281"/>
                    </a:lnTo>
                    <a:lnTo>
                      <a:pt x="1187" y="281"/>
                    </a:lnTo>
                    <a:lnTo>
                      <a:pt x="1185" y="288"/>
                    </a:lnTo>
                    <a:lnTo>
                      <a:pt x="1182" y="292"/>
                    </a:lnTo>
                    <a:lnTo>
                      <a:pt x="1185" y="290"/>
                    </a:lnTo>
                    <a:lnTo>
                      <a:pt x="1187" y="292"/>
                    </a:lnTo>
                    <a:lnTo>
                      <a:pt x="1187" y="295"/>
                    </a:lnTo>
                    <a:lnTo>
                      <a:pt x="1182" y="299"/>
                    </a:lnTo>
                    <a:lnTo>
                      <a:pt x="1182" y="302"/>
                    </a:lnTo>
                    <a:lnTo>
                      <a:pt x="1178" y="304"/>
                    </a:lnTo>
                    <a:lnTo>
                      <a:pt x="1178" y="302"/>
                    </a:lnTo>
                    <a:lnTo>
                      <a:pt x="1175" y="304"/>
                    </a:lnTo>
                    <a:lnTo>
                      <a:pt x="1175" y="306"/>
                    </a:lnTo>
                    <a:lnTo>
                      <a:pt x="1173" y="306"/>
                    </a:lnTo>
                    <a:lnTo>
                      <a:pt x="1170" y="306"/>
                    </a:lnTo>
                    <a:lnTo>
                      <a:pt x="1170" y="306"/>
                    </a:lnTo>
                    <a:lnTo>
                      <a:pt x="1170" y="306"/>
                    </a:lnTo>
                    <a:lnTo>
                      <a:pt x="1168" y="306"/>
                    </a:lnTo>
                    <a:lnTo>
                      <a:pt x="1166" y="311"/>
                    </a:lnTo>
                    <a:lnTo>
                      <a:pt x="1163" y="313"/>
                    </a:lnTo>
                    <a:lnTo>
                      <a:pt x="1156" y="309"/>
                    </a:lnTo>
                    <a:lnTo>
                      <a:pt x="1151" y="309"/>
                    </a:lnTo>
                    <a:lnTo>
                      <a:pt x="1151" y="309"/>
                    </a:lnTo>
                    <a:lnTo>
                      <a:pt x="1147" y="309"/>
                    </a:lnTo>
                    <a:lnTo>
                      <a:pt x="1138" y="300"/>
                    </a:lnTo>
                    <a:lnTo>
                      <a:pt x="1137" y="292"/>
                    </a:lnTo>
                    <a:lnTo>
                      <a:pt x="1140" y="290"/>
                    </a:lnTo>
                    <a:lnTo>
                      <a:pt x="1140" y="288"/>
                    </a:lnTo>
                    <a:lnTo>
                      <a:pt x="1138" y="287"/>
                    </a:lnTo>
                    <a:lnTo>
                      <a:pt x="1140" y="283"/>
                    </a:lnTo>
                    <a:lnTo>
                      <a:pt x="1137" y="287"/>
                    </a:lnTo>
                    <a:lnTo>
                      <a:pt x="1137" y="290"/>
                    </a:lnTo>
                    <a:lnTo>
                      <a:pt x="1135" y="295"/>
                    </a:lnTo>
                    <a:lnTo>
                      <a:pt x="1133" y="297"/>
                    </a:lnTo>
                    <a:lnTo>
                      <a:pt x="1137" y="302"/>
                    </a:lnTo>
                    <a:lnTo>
                      <a:pt x="1135" y="304"/>
                    </a:lnTo>
                    <a:lnTo>
                      <a:pt x="1133" y="304"/>
                    </a:lnTo>
                    <a:lnTo>
                      <a:pt x="1128" y="304"/>
                    </a:lnTo>
                    <a:lnTo>
                      <a:pt x="1128" y="304"/>
                    </a:lnTo>
                    <a:lnTo>
                      <a:pt x="1124" y="304"/>
                    </a:lnTo>
                    <a:lnTo>
                      <a:pt x="1128" y="306"/>
                    </a:lnTo>
                    <a:lnTo>
                      <a:pt x="1128" y="311"/>
                    </a:lnTo>
                    <a:lnTo>
                      <a:pt x="1128" y="311"/>
                    </a:lnTo>
                    <a:lnTo>
                      <a:pt x="1131" y="306"/>
                    </a:lnTo>
                    <a:lnTo>
                      <a:pt x="1135" y="306"/>
                    </a:lnTo>
                    <a:lnTo>
                      <a:pt x="1135" y="306"/>
                    </a:lnTo>
                    <a:lnTo>
                      <a:pt x="1138" y="306"/>
                    </a:lnTo>
                    <a:lnTo>
                      <a:pt x="1142" y="306"/>
                    </a:lnTo>
                    <a:lnTo>
                      <a:pt x="1145" y="311"/>
                    </a:lnTo>
                    <a:lnTo>
                      <a:pt x="1144" y="314"/>
                    </a:lnTo>
                    <a:lnTo>
                      <a:pt x="1147" y="311"/>
                    </a:lnTo>
                    <a:lnTo>
                      <a:pt x="1152" y="309"/>
                    </a:lnTo>
                    <a:lnTo>
                      <a:pt x="1158" y="311"/>
                    </a:lnTo>
                    <a:lnTo>
                      <a:pt x="1158" y="314"/>
                    </a:lnTo>
                    <a:lnTo>
                      <a:pt x="1156" y="318"/>
                    </a:lnTo>
                    <a:lnTo>
                      <a:pt x="1156" y="323"/>
                    </a:lnTo>
                    <a:lnTo>
                      <a:pt x="1152" y="323"/>
                    </a:lnTo>
                    <a:lnTo>
                      <a:pt x="1151" y="327"/>
                    </a:lnTo>
                    <a:lnTo>
                      <a:pt x="1152" y="327"/>
                    </a:lnTo>
                    <a:lnTo>
                      <a:pt x="1156" y="327"/>
                    </a:lnTo>
                    <a:lnTo>
                      <a:pt x="1156" y="328"/>
                    </a:lnTo>
                    <a:lnTo>
                      <a:pt x="1151" y="332"/>
                    </a:lnTo>
                    <a:lnTo>
                      <a:pt x="1156" y="332"/>
                    </a:lnTo>
                    <a:lnTo>
                      <a:pt x="1156" y="328"/>
                    </a:lnTo>
                    <a:lnTo>
                      <a:pt x="1161" y="327"/>
                    </a:lnTo>
                    <a:lnTo>
                      <a:pt x="1163" y="327"/>
                    </a:lnTo>
                    <a:lnTo>
                      <a:pt x="1164" y="327"/>
                    </a:lnTo>
                    <a:lnTo>
                      <a:pt x="1166" y="327"/>
                    </a:lnTo>
                    <a:lnTo>
                      <a:pt x="1166" y="328"/>
                    </a:lnTo>
                    <a:lnTo>
                      <a:pt x="1166" y="333"/>
                    </a:lnTo>
                    <a:lnTo>
                      <a:pt x="1166" y="337"/>
                    </a:lnTo>
                    <a:lnTo>
                      <a:pt x="1161" y="344"/>
                    </a:lnTo>
                    <a:lnTo>
                      <a:pt x="1158" y="344"/>
                    </a:lnTo>
                    <a:lnTo>
                      <a:pt x="1156" y="347"/>
                    </a:lnTo>
                    <a:lnTo>
                      <a:pt x="1152" y="351"/>
                    </a:lnTo>
                    <a:lnTo>
                      <a:pt x="1151" y="354"/>
                    </a:lnTo>
                    <a:lnTo>
                      <a:pt x="1147" y="353"/>
                    </a:lnTo>
                    <a:lnTo>
                      <a:pt x="1151" y="347"/>
                    </a:lnTo>
                    <a:lnTo>
                      <a:pt x="1151" y="344"/>
                    </a:lnTo>
                    <a:lnTo>
                      <a:pt x="1151" y="344"/>
                    </a:lnTo>
                    <a:lnTo>
                      <a:pt x="1147" y="344"/>
                    </a:lnTo>
                    <a:lnTo>
                      <a:pt x="1145" y="349"/>
                    </a:lnTo>
                    <a:lnTo>
                      <a:pt x="1142" y="351"/>
                    </a:lnTo>
                    <a:lnTo>
                      <a:pt x="1137" y="354"/>
                    </a:lnTo>
                    <a:lnTo>
                      <a:pt x="1137" y="354"/>
                    </a:lnTo>
                    <a:lnTo>
                      <a:pt x="1133" y="354"/>
                    </a:lnTo>
                    <a:lnTo>
                      <a:pt x="1128" y="358"/>
                    </a:lnTo>
                    <a:lnTo>
                      <a:pt x="1124" y="358"/>
                    </a:lnTo>
                    <a:lnTo>
                      <a:pt x="1123" y="360"/>
                    </a:lnTo>
                    <a:lnTo>
                      <a:pt x="1119" y="360"/>
                    </a:lnTo>
                    <a:lnTo>
                      <a:pt x="1119" y="356"/>
                    </a:lnTo>
                    <a:lnTo>
                      <a:pt x="1118" y="354"/>
                    </a:lnTo>
                    <a:lnTo>
                      <a:pt x="1121" y="353"/>
                    </a:lnTo>
                    <a:lnTo>
                      <a:pt x="1123" y="349"/>
                    </a:lnTo>
                    <a:lnTo>
                      <a:pt x="1123" y="346"/>
                    </a:lnTo>
                    <a:lnTo>
                      <a:pt x="1119" y="340"/>
                    </a:lnTo>
                    <a:lnTo>
                      <a:pt x="1116" y="344"/>
                    </a:lnTo>
                    <a:lnTo>
                      <a:pt x="1112" y="342"/>
                    </a:lnTo>
                    <a:lnTo>
                      <a:pt x="1111" y="340"/>
                    </a:lnTo>
                    <a:lnTo>
                      <a:pt x="1112" y="337"/>
                    </a:lnTo>
                    <a:lnTo>
                      <a:pt x="1116" y="335"/>
                    </a:lnTo>
                    <a:lnTo>
                      <a:pt x="1114" y="335"/>
                    </a:lnTo>
                    <a:lnTo>
                      <a:pt x="1111" y="333"/>
                    </a:lnTo>
                    <a:lnTo>
                      <a:pt x="1109" y="328"/>
                    </a:lnTo>
                    <a:lnTo>
                      <a:pt x="1111" y="327"/>
                    </a:lnTo>
                    <a:lnTo>
                      <a:pt x="1111" y="323"/>
                    </a:lnTo>
                    <a:lnTo>
                      <a:pt x="1109" y="320"/>
                    </a:lnTo>
                    <a:lnTo>
                      <a:pt x="1109" y="323"/>
                    </a:lnTo>
                    <a:lnTo>
                      <a:pt x="1105" y="328"/>
                    </a:lnTo>
                    <a:lnTo>
                      <a:pt x="1109" y="335"/>
                    </a:lnTo>
                    <a:lnTo>
                      <a:pt x="1109" y="337"/>
                    </a:lnTo>
                    <a:lnTo>
                      <a:pt x="1107" y="337"/>
                    </a:lnTo>
                    <a:lnTo>
                      <a:pt x="1107" y="342"/>
                    </a:lnTo>
                    <a:lnTo>
                      <a:pt x="1105" y="344"/>
                    </a:lnTo>
                    <a:lnTo>
                      <a:pt x="1102" y="342"/>
                    </a:lnTo>
                    <a:lnTo>
                      <a:pt x="1100" y="342"/>
                    </a:lnTo>
                    <a:lnTo>
                      <a:pt x="1097" y="340"/>
                    </a:lnTo>
                    <a:lnTo>
                      <a:pt x="1097" y="340"/>
                    </a:lnTo>
                    <a:lnTo>
                      <a:pt x="1100" y="333"/>
                    </a:lnTo>
                    <a:lnTo>
                      <a:pt x="1097" y="328"/>
                    </a:lnTo>
                    <a:lnTo>
                      <a:pt x="1100" y="327"/>
                    </a:lnTo>
                    <a:lnTo>
                      <a:pt x="1102" y="323"/>
                    </a:lnTo>
                    <a:lnTo>
                      <a:pt x="1097" y="323"/>
                    </a:lnTo>
                    <a:lnTo>
                      <a:pt x="1097" y="327"/>
                    </a:lnTo>
                    <a:lnTo>
                      <a:pt x="1097" y="332"/>
                    </a:lnTo>
                    <a:lnTo>
                      <a:pt x="1097" y="335"/>
                    </a:lnTo>
                    <a:lnTo>
                      <a:pt x="1093" y="340"/>
                    </a:lnTo>
                    <a:lnTo>
                      <a:pt x="1091" y="340"/>
                    </a:lnTo>
                    <a:lnTo>
                      <a:pt x="1088" y="337"/>
                    </a:lnTo>
                    <a:lnTo>
                      <a:pt x="1088" y="335"/>
                    </a:lnTo>
                    <a:lnTo>
                      <a:pt x="1086" y="335"/>
                    </a:lnTo>
                    <a:lnTo>
                      <a:pt x="1086" y="332"/>
                    </a:lnTo>
                    <a:lnTo>
                      <a:pt x="1088" y="328"/>
                    </a:lnTo>
                    <a:lnTo>
                      <a:pt x="1090" y="327"/>
                    </a:lnTo>
                    <a:lnTo>
                      <a:pt x="1088" y="323"/>
                    </a:lnTo>
                    <a:lnTo>
                      <a:pt x="1086" y="323"/>
                    </a:lnTo>
                    <a:lnTo>
                      <a:pt x="1086" y="325"/>
                    </a:lnTo>
                    <a:lnTo>
                      <a:pt x="1086" y="328"/>
                    </a:lnTo>
                    <a:lnTo>
                      <a:pt x="1085" y="328"/>
                    </a:lnTo>
                    <a:lnTo>
                      <a:pt x="1083" y="333"/>
                    </a:lnTo>
                    <a:lnTo>
                      <a:pt x="1083" y="335"/>
                    </a:lnTo>
                    <a:lnTo>
                      <a:pt x="1079" y="335"/>
                    </a:lnTo>
                    <a:lnTo>
                      <a:pt x="1079" y="335"/>
                    </a:lnTo>
                    <a:lnTo>
                      <a:pt x="1078" y="337"/>
                    </a:lnTo>
                    <a:lnTo>
                      <a:pt x="1078" y="337"/>
                    </a:lnTo>
                    <a:lnTo>
                      <a:pt x="1078" y="337"/>
                    </a:lnTo>
                    <a:lnTo>
                      <a:pt x="1078" y="337"/>
                    </a:lnTo>
                    <a:close/>
                    <a:moveTo>
                      <a:pt x="1170" y="843"/>
                    </a:moveTo>
                    <a:lnTo>
                      <a:pt x="1170" y="850"/>
                    </a:lnTo>
                    <a:lnTo>
                      <a:pt x="1168" y="853"/>
                    </a:lnTo>
                    <a:lnTo>
                      <a:pt x="1170" y="857"/>
                    </a:lnTo>
                    <a:lnTo>
                      <a:pt x="1170" y="855"/>
                    </a:lnTo>
                    <a:lnTo>
                      <a:pt x="1170" y="852"/>
                    </a:lnTo>
                    <a:lnTo>
                      <a:pt x="1170" y="848"/>
                    </a:lnTo>
                    <a:lnTo>
                      <a:pt x="1170" y="845"/>
                    </a:lnTo>
                    <a:lnTo>
                      <a:pt x="1170" y="843"/>
                    </a:lnTo>
                    <a:lnTo>
                      <a:pt x="1170" y="843"/>
                    </a:lnTo>
                    <a:lnTo>
                      <a:pt x="1170" y="843"/>
                    </a:lnTo>
                    <a:lnTo>
                      <a:pt x="1170" y="843"/>
                    </a:lnTo>
                    <a:close/>
                    <a:moveTo>
                      <a:pt x="1166" y="826"/>
                    </a:moveTo>
                    <a:lnTo>
                      <a:pt x="1164" y="824"/>
                    </a:lnTo>
                    <a:lnTo>
                      <a:pt x="1166" y="822"/>
                    </a:lnTo>
                    <a:lnTo>
                      <a:pt x="1168" y="824"/>
                    </a:lnTo>
                    <a:lnTo>
                      <a:pt x="1168" y="826"/>
                    </a:lnTo>
                    <a:lnTo>
                      <a:pt x="1166" y="826"/>
                    </a:lnTo>
                    <a:lnTo>
                      <a:pt x="1166" y="826"/>
                    </a:lnTo>
                    <a:lnTo>
                      <a:pt x="1166" y="826"/>
                    </a:lnTo>
                    <a:lnTo>
                      <a:pt x="1166" y="826"/>
                    </a:lnTo>
                    <a:close/>
                    <a:moveTo>
                      <a:pt x="1161" y="815"/>
                    </a:moveTo>
                    <a:lnTo>
                      <a:pt x="1163" y="812"/>
                    </a:lnTo>
                    <a:lnTo>
                      <a:pt x="1166" y="812"/>
                    </a:lnTo>
                    <a:lnTo>
                      <a:pt x="1166" y="812"/>
                    </a:lnTo>
                    <a:lnTo>
                      <a:pt x="1164" y="815"/>
                    </a:lnTo>
                    <a:lnTo>
                      <a:pt x="1163" y="815"/>
                    </a:lnTo>
                    <a:lnTo>
                      <a:pt x="1161" y="815"/>
                    </a:lnTo>
                    <a:lnTo>
                      <a:pt x="1161" y="815"/>
                    </a:lnTo>
                    <a:lnTo>
                      <a:pt x="1161" y="815"/>
                    </a:lnTo>
                    <a:lnTo>
                      <a:pt x="1161" y="815"/>
                    </a:lnTo>
                    <a:close/>
                    <a:moveTo>
                      <a:pt x="1133" y="560"/>
                    </a:moveTo>
                    <a:lnTo>
                      <a:pt x="1133" y="556"/>
                    </a:lnTo>
                    <a:lnTo>
                      <a:pt x="1135" y="556"/>
                    </a:lnTo>
                    <a:lnTo>
                      <a:pt x="1135" y="560"/>
                    </a:lnTo>
                    <a:lnTo>
                      <a:pt x="1133" y="560"/>
                    </a:lnTo>
                    <a:lnTo>
                      <a:pt x="1133" y="560"/>
                    </a:lnTo>
                    <a:lnTo>
                      <a:pt x="1133" y="560"/>
                    </a:lnTo>
                    <a:lnTo>
                      <a:pt x="1133" y="560"/>
                    </a:lnTo>
                    <a:close/>
                    <a:moveTo>
                      <a:pt x="1138" y="561"/>
                    </a:moveTo>
                    <a:lnTo>
                      <a:pt x="1138" y="560"/>
                    </a:lnTo>
                    <a:lnTo>
                      <a:pt x="1138" y="556"/>
                    </a:lnTo>
                    <a:lnTo>
                      <a:pt x="1140" y="556"/>
                    </a:lnTo>
                    <a:lnTo>
                      <a:pt x="1142" y="560"/>
                    </a:lnTo>
                    <a:lnTo>
                      <a:pt x="1140" y="561"/>
                    </a:lnTo>
                    <a:lnTo>
                      <a:pt x="1138" y="561"/>
                    </a:lnTo>
                    <a:lnTo>
                      <a:pt x="1138" y="561"/>
                    </a:lnTo>
                    <a:lnTo>
                      <a:pt x="1138" y="561"/>
                    </a:lnTo>
                    <a:lnTo>
                      <a:pt x="1138" y="561"/>
                    </a:lnTo>
                    <a:close/>
                    <a:moveTo>
                      <a:pt x="1133" y="570"/>
                    </a:moveTo>
                    <a:lnTo>
                      <a:pt x="1131" y="568"/>
                    </a:lnTo>
                    <a:lnTo>
                      <a:pt x="1131" y="566"/>
                    </a:lnTo>
                    <a:lnTo>
                      <a:pt x="1131" y="565"/>
                    </a:lnTo>
                    <a:lnTo>
                      <a:pt x="1133" y="561"/>
                    </a:lnTo>
                    <a:lnTo>
                      <a:pt x="1135" y="565"/>
                    </a:lnTo>
                    <a:lnTo>
                      <a:pt x="1137" y="565"/>
                    </a:lnTo>
                    <a:lnTo>
                      <a:pt x="1138" y="565"/>
                    </a:lnTo>
                    <a:lnTo>
                      <a:pt x="1135" y="566"/>
                    </a:lnTo>
                    <a:lnTo>
                      <a:pt x="1133" y="570"/>
                    </a:lnTo>
                    <a:lnTo>
                      <a:pt x="1133" y="570"/>
                    </a:lnTo>
                    <a:lnTo>
                      <a:pt x="1133" y="570"/>
                    </a:lnTo>
                    <a:lnTo>
                      <a:pt x="1133" y="570"/>
                    </a:lnTo>
                    <a:lnTo>
                      <a:pt x="1133" y="570"/>
                    </a:lnTo>
                    <a:close/>
                    <a:moveTo>
                      <a:pt x="1184" y="646"/>
                    </a:moveTo>
                    <a:lnTo>
                      <a:pt x="1185" y="646"/>
                    </a:lnTo>
                    <a:lnTo>
                      <a:pt x="1189" y="646"/>
                    </a:lnTo>
                    <a:lnTo>
                      <a:pt x="1187" y="646"/>
                    </a:lnTo>
                    <a:lnTo>
                      <a:pt x="1185" y="646"/>
                    </a:lnTo>
                    <a:lnTo>
                      <a:pt x="1184" y="646"/>
                    </a:lnTo>
                    <a:lnTo>
                      <a:pt x="1184" y="646"/>
                    </a:lnTo>
                    <a:lnTo>
                      <a:pt x="1184" y="646"/>
                    </a:lnTo>
                    <a:lnTo>
                      <a:pt x="1184" y="646"/>
                    </a:lnTo>
                    <a:close/>
                    <a:moveTo>
                      <a:pt x="1178" y="646"/>
                    </a:moveTo>
                    <a:lnTo>
                      <a:pt x="1178" y="643"/>
                    </a:lnTo>
                    <a:lnTo>
                      <a:pt x="1182" y="643"/>
                    </a:lnTo>
                    <a:lnTo>
                      <a:pt x="1182" y="643"/>
                    </a:lnTo>
                    <a:lnTo>
                      <a:pt x="1184" y="643"/>
                    </a:lnTo>
                    <a:lnTo>
                      <a:pt x="1182" y="646"/>
                    </a:lnTo>
                    <a:lnTo>
                      <a:pt x="1178" y="646"/>
                    </a:lnTo>
                    <a:lnTo>
                      <a:pt x="1178" y="646"/>
                    </a:lnTo>
                    <a:lnTo>
                      <a:pt x="1178" y="646"/>
                    </a:lnTo>
                    <a:lnTo>
                      <a:pt x="1178" y="646"/>
                    </a:lnTo>
                    <a:lnTo>
                      <a:pt x="1178" y="646"/>
                    </a:lnTo>
                    <a:close/>
                    <a:moveTo>
                      <a:pt x="1168" y="681"/>
                    </a:moveTo>
                    <a:lnTo>
                      <a:pt x="1170" y="683"/>
                    </a:lnTo>
                    <a:lnTo>
                      <a:pt x="1173" y="681"/>
                    </a:lnTo>
                    <a:lnTo>
                      <a:pt x="1170" y="681"/>
                    </a:lnTo>
                    <a:lnTo>
                      <a:pt x="1168" y="681"/>
                    </a:lnTo>
                    <a:lnTo>
                      <a:pt x="1168" y="681"/>
                    </a:lnTo>
                    <a:lnTo>
                      <a:pt x="1168" y="681"/>
                    </a:lnTo>
                    <a:lnTo>
                      <a:pt x="1168" y="681"/>
                    </a:lnTo>
                    <a:close/>
                    <a:moveTo>
                      <a:pt x="1182" y="697"/>
                    </a:moveTo>
                    <a:lnTo>
                      <a:pt x="1185" y="699"/>
                    </a:lnTo>
                    <a:lnTo>
                      <a:pt x="1187" y="697"/>
                    </a:lnTo>
                    <a:lnTo>
                      <a:pt x="1185" y="697"/>
                    </a:lnTo>
                    <a:lnTo>
                      <a:pt x="1184" y="697"/>
                    </a:lnTo>
                    <a:lnTo>
                      <a:pt x="1184" y="697"/>
                    </a:lnTo>
                    <a:lnTo>
                      <a:pt x="1182" y="697"/>
                    </a:lnTo>
                    <a:lnTo>
                      <a:pt x="1182" y="697"/>
                    </a:lnTo>
                    <a:lnTo>
                      <a:pt x="1182" y="697"/>
                    </a:lnTo>
                    <a:lnTo>
                      <a:pt x="1182" y="697"/>
                    </a:lnTo>
                    <a:close/>
                    <a:moveTo>
                      <a:pt x="1210" y="721"/>
                    </a:moveTo>
                    <a:lnTo>
                      <a:pt x="1210" y="720"/>
                    </a:lnTo>
                    <a:lnTo>
                      <a:pt x="1210" y="718"/>
                    </a:lnTo>
                    <a:lnTo>
                      <a:pt x="1211" y="720"/>
                    </a:lnTo>
                    <a:lnTo>
                      <a:pt x="1211" y="721"/>
                    </a:lnTo>
                    <a:lnTo>
                      <a:pt x="1210" y="721"/>
                    </a:lnTo>
                    <a:lnTo>
                      <a:pt x="1210" y="721"/>
                    </a:lnTo>
                    <a:lnTo>
                      <a:pt x="1210" y="721"/>
                    </a:lnTo>
                    <a:lnTo>
                      <a:pt x="1210" y="721"/>
                    </a:lnTo>
                    <a:lnTo>
                      <a:pt x="1210" y="721"/>
                    </a:lnTo>
                    <a:close/>
                    <a:moveTo>
                      <a:pt x="1220" y="739"/>
                    </a:moveTo>
                    <a:lnTo>
                      <a:pt x="1220" y="735"/>
                    </a:lnTo>
                    <a:lnTo>
                      <a:pt x="1224" y="733"/>
                    </a:lnTo>
                    <a:lnTo>
                      <a:pt x="1227" y="733"/>
                    </a:lnTo>
                    <a:lnTo>
                      <a:pt x="1229" y="733"/>
                    </a:lnTo>
                    <a:lnTo>
                      <a:pt x="1224" y="737"/>
                    </a:lnTo>
                    <a:lnTo>
                      <a:pt x="1224" y="739"/>
                    </a:lnTo>
                    <a:lnTo>
                      <a:pt x="1224" y="739"/>
                    </a:lnTo>
                    <a:lnTo>
                      <a:pt x="1220" y="739"/>
                    </a:lnTo>
                    <a:lnTo>
                      <a:pt x="1220" y="739"/>
                    </a:lnTo>
                    <a:lnTo>
                      <a:pt x="1220" y="739"/>
                    </a:lnTo>
                    <a:lnTo>
                      <a:pt x="1220" y="739"/>
                    </a:lnTo>
                    <a:close/>
                    <a:moveTo>
                      <a:pt x="1128" y="373"/>
                    </a:moveTo>
                    <a:lnTo>
                      <a:pt x="1128" y="368"/>
                    </a:lnTo>
                    <a:lnTo>
                      <a:pt x="1128" y="368"/>
                    </a:lnTo>
                    <a:lnTo>
                      <a:pt x="1131" y="365"/>
                    </a:lnTo>
                    <a:lnTo>
                      <a:pt x="1138" y="360"/>
                    </a:lnTo>
                    <a:lnTo>
                      <a:pt x="1142" y="360"/>
                    </a:lnTo>
                    <a:lnTo>
                      <a:pt x="1140" y="365"/>
                    </a:lnTo>
                    <a:lnTo>
                      <a:pt x="1135" y="368"/>
                    </a:lnTo>
                    <a:lnTo>
                      <a:pt x="1133" y="370"/>
                    </a:lnTo>
                    <a:lnTo>
                      <a:pt x="1135" y="372"/>
                    </a:lnTo>
                    <a:lnTo>
                      <a:pt x="1135" y="373"/>
                    </a:lnTo>
                    <a:lnTo>
                      <a:pt x="1133" y="373"/>
                    </a:lnTo>
                    <a:lnTo>
                      <a:pt x="1131" y="370"/>
                    </a:lnTo>
                    <a:lnTo>
                      <a:pt x="1130" y="372"/>
                    </a:lnTo>
                    <a:lnTo>
                      <a:pt x="1128" y="373"/>
                    </a:lnTo>
                    <a:lnTo>
                      <a:pt x="1128" y="373"/>
                    </a:lnTo>
                    <a:lnTo>
                      <a:pt x="1128" y="373"/>
                    </a:lnTo>
                    <a:lnTo>
                      <a:pt x="1128" y="373"/>
                    </a:lnTo>
                    <a:lnTo>
                      <a:pt x="1128" y="373"/>
                    </a:lnTo>
                    <a:close/>
                    <a:moveTo>
                      <a:pt x="1111" y="358"/>
                    </a:moveTo>
                    <a:lnTo>
                      <a:pt x="1111" y="358"/>
                    </a:lnTo>
                    <a:lnTo>
                      <a:pt x="1112" y="360"/>
                    </a:lnTo>
                    <a:lnTo>
                      <a:pt x="1114" y="360"/>
                    </a:lnTo>
                    <a:lnTo>
                      <a:pt x="1116" y="358"/>
                    </a:lnTo>
                    <a:lnTo>
                      <a:pt x="1114" y="356"/>
                    </a:lnTo>
                    <a:lnTo>
                      <a:pt x="1111" y="358"/>
                    </a:lnTo>
                    <a:lnTo>
                      <a:pt x="1111" y="358"/>
                    </a:lnTo>
                    <a:lnTo>
                      <a:pt x="1111" y="358"/>
                    </a:lnTo>
                    <a:lnTo>
                      <a:pt x="1111" y="358"/>
                    </a:lnTo>
                    <a:close/>
                    <a:moveTo>
                      <a:pt x="1020" y="318"/>
                    </a:moveTo>
                    <a:lnTo>
                      <a:pt x="1015" y="314"/>
                    </a:lnTo>
                    <a:lnTo>
                      <a:pt x="1015" y="311"/>
                    </a:lnTo>
                    <a:lnTo>
                      <a:pt x="1015" y="306"/>
                    </a:lnTo>
                    <a:lnTo>
                      <a:pt x="1013" y="304"/>
                    </a:lnTo>
                    <a:lnTo>
                      <a:pt x="1013" y="300"/>
                    </a:lnTo>
                    <a:lnTo>
                      <a:pt x="1013" y="299"/>
                    </a:lnTo>
                    <a:lnTo>
                      <a:pt x="1017" y="297"/>
                    </a:lnTo>
                    <a:lnTo>
                      <a:pt x="1020" y="300"/>
                    </a:lnTo>
                    <a:lnTo>
                      <a:pt x="1024" y="304"/>
                    </a:lnTo>
                    <a:lnTo>
                      <a:pt x="1020" y="309"/>
                    </a:lnTo>
                    <a:lnTo>
                      <a:pt x="1020" y="311"/>
                    </a:lnTo>
                    <a:lnTo>
                      <a:pt x="1020" y="313"/>
                    </a:lnTo>
                    <a:lnTo>
                      <a:pt x="1020" y="318"/>
                    </a:lnTo>
                    <a:lnTo>
                      <a:pt x="1020" y="318"/>
                    </a:lnTo>
                    <a:lnTo>
                      <a:pt x="1020" y="318"/>
                    </a:lnTo>
                    <a:lnTo>
                      <a:pt x="1020" y="318"/>
                    </a:lnTo>
                    <a:lnTo>
                      <a:pt x="1020" y="318"/>
                    </a:lnTo>
                    <a:close/>
                    <a:moveTo>
                      <a:pt x="1018" y="127"/>
                    </a:moveTo>
                    <a:lnTo>
                      <a:pt x="1020" y="123"/>
                    </a:lnTo>
                    <a:lnTo>
                      <a:pt x="1024" y="118"/>
                    </a:lnTo>
                    <a:lnTo>
                      <a:pt x="1024" y="114"/>
                    </a:lnTo>
                    <a:lnTo>
                      <a:pt x="1029" y="113"/>
                    </a:lnTo>
                    <a:lnTo>
                      <a:pt x="1032" y="109"/>
                    </a:lnTo>
                    <a:lnTo>
                      <a:pt x="1029" y="106"/>
                    </a:lnTo>
                    <a:lnTo>
                      <a:pt x="1025" y="106"/>
                    </a:lnTo>
                    <a:lnTo>
                      <a:pt x="1024" y="106"/>
                    </a:lnTo>
                    <a:lnTo>
                      <a:pt x="1024" y="102"/>
                    </a:lnTo>
                    <a:lnTo>
                      <a:pt x="1024" y="102"/>
                    </a:lnTo>
                    <a:lnTo>
                      <a:pt x="1020" y="106"/>
                    </a:lnTo>
                    <a:lnTo>
                      <a:pt x="1015" y="107"/>
                    </a:lnTo>
                    <a:lnTo>
                      <a:pt x="1013" y="109"/>
                    </a:lnTo>
                    <a:lnTo>
                      <a:pt x="1012" y="113"/>
                    </a:lnTo>
                    <a:lnTo>
                      <a:pt x="1012" y="113"/>
                    </a:lnTo>
                    <a:lnTo>
                      <a:pt x="1015" y="114"/>
                    </a:lnTo>
                    <a:lnTo>
                      <a:pt x="1018" y="113"/>
                    </a:lnTo>
                    <a:lnTo>
                      <a:pt x="1018" y="118"/>
                    </a:lnTo>
                    <a:lnTo>
                      <a:pt x="1015" y="121"/>
                    </a:lnTo>
                    <a:lnTo>
                      <a:pt x="1015" y="123"/>
                    </a:lnTo>
                    <a:lnTo>
                      <a:pt x="1017" y="123"/>
                    </a:lnTo>
                    <a:lnTo>
                      <a:pt x="1018" y="127"/>
                    </a:lnTo>
                    <a:lnTo>
                      <a:pt x="1018" y="127"/>
                    </a:lnTo>
                    <a:lnTo>
                      <a:pt x="1018" y="127"/>
                    </a:lnTo>
                    <a:lnTo>
                      <a:pt x="1018" y="127"/>
                    </a:lnTo>
                    <a:close/>
                    <a:moveTo>
                      <a:pt x="975" y="231"/>
                    </a:moveTo>
                    <a:lnTo>
                      <a:pt x="975" y="227"/>
                    </a:lnTo>
                    <a:lnTo>
                      <a:pt x="975" y="224"/>
                    </a:lnTo>
                    <a:lnTo>
                      <a:pt x="975" y="222"/>
                    </a:lnTo>
                    <a:lnTo>
                      <a:pt x="975" y="217"/>
                    </a:lnTo>
                    <a:lnTo>
                      <a:pt x="970" y="215"/>
                    </a:lnTo>
                    <a:lnTo>
                      <a:pt x="973" y="214"/>
                    </a:lnTo>
                    <a:lnTo>
                      <a:pt x="973" y="210"/>
                    </a:lnTo>
                    <a:lnTo>
                      <a:pt x="979" y="212"/>
                    </a:lnTo>
                    <a:lnTo>
                      <a:pt x="980" y="214"/>
                    </a:lnTo>
                    <a:lnTo>
                      <a:pt x="982" y="215"/>
                    </a:lnTo>
                    <a:lnTo>
                      <a:pt x="982" y="212"/>
                    </a:lnTo>
                    <a:lnTo>
                      <a:pt x="979" y="208"/>
                    </a:lnTo>
                    <a:lnTo>
                      <a:pt x="975" y="203"/>
                    </a:lnTo>
                    <a:lnTo>
                      <a:pt x="975" y="201"/>
                    </a:lnTo>
                    <a:lnTo>
                      <a:pt x="979" y="201"/>
                    </a:lnTo>
                    <a:lnTo>
                      <a:pt x="975" y="200"/>
                    </a:lnTo>
                    <a:lnTo>
                      <a:pt x="979" y="196"/>
                    </a:lnTo>
                    <a:lnTo>
                      <a:pt x="979" y="191"/>
                    </a:lnTo>
                    <a:lnTo>
                      <a:pt x="980" y="186"/>
                    </a:lnTo>
                    <a:lnTo>
                      <a:pt x="982" y="186"/>
                    </a:lnTo>
                    <a:lnTo>
                      <a:pt x="985" y="184"/>
                    </a:lnTo>
                    <a:lnTo>
                      <a:pt x="985" y="179"/>
                    </a:lnTo>
                    <a:lnTo>
                      <a:pt x="987" y="177"/>
                    </a:lnTo>
                    <a:lnTo>
                      <a:pt x="992" y="174"/>
                    </a:lnTo>
                    <a:lnTo>
                      <a:pt x="996" y="174"/>
                    </a:lnTo>
                    <a:lnTo>
                      <a:pt x="998" y="179"/>
                    </a:lnTo>
                    <a:lnTo>
                      <a:pt x="1001" y="182"/>
                    </a:lnTo>
                    <a:lnTo>
                      <a:pt x="1001" y="186"/>
                    </a:lnTo>
                    <a:lnTo>
                      <a:pt x="1001" y="187"/>
                    </a:lnTo>
                    <a:lnTo>
                      <a:pt x="1003" y="189"/>
                    </a:lnTo>
                    <a:lnTo>
                      <a:pt x="1003" y="193"/>
                    </a:lnTo>
                    <a:lnTo>
                      <a:pt x="1005" y="194"/>
                    </a:lnTo>
                    <a:lnTo>
                      <a:pt x="1005" y="196"/>
                    </a:lnTo>
                    <a:lnTo>
                      <a:pt x="1006" y="200"/>
                    </a:lnTo>
                    <a:lnTo>
                      <a:pt x="1010" y="200"/>
                    </a:lnTo>
                    <a:lnTo>
                      <a:pt x="1010" y="200"/>
                    </a:lnTo>
                    <a:lnTo>
                      <a:pt x="1012" y="203"/>
                    </a:lnTo>
                    <a:lnTo>
                      <a:pt x="1013" y="210"/>
                    </a:lnTo>
                    <a:lnTo>
                      <a:pt x="1010" y="214"/>
                    </a:lnTo>
                    <a:lnTo>
                      <a:pt x="1008" y="215"/>
                    </a:lnTo>
                    <a:lnTo>
                      <a:pt x="1005" y="215"/>
                    </a:lnTo>
                    <a:lnTo>
                      <a:pt x="1003" y="215"/>
                    </a:lnTo>
                    <a:lnTo>
                      <a:pt x="1005" y="217"/>
                    </a:lnTo>
                    <a:lnTo>
                      <a:pt x="1006" y="217"/>
                    </a:lnTo>
                    <a:lnTo>
                      <a:pt x="1006" y="224"/>
                    </a:lnTo>
                    <a:lnTo>
                      <a:pt x="1006" y="227"/>
                    </a:lnTo>
                    <a:lnTo>
                      <a:pt x="1001" y="231"/>
                    </a:lnTo>
                    <a:lnTo>
                      <a:pt x="998" y="231"/>
                    </a:lnTo>
                    <a:lnTo>
                      <a:pt x="998" y="231"/>
                    </a:lnTo>
                    <a:lnTo>
                      <a:pt x="998" y="227"/>
                    </a:lnTo>
                    <a:lnTo>
                      <a:pt x="996" y="227"/>
                    </a:lnTo>
                    <a:lnTo>
                      <a:pt x="992" y="231"/>
                    </a:lnTo>
                    <a:lnTo>
                      <a:pt x="989" y="227"/>
                    </a:lnTo>
                    <a:lnTo>
                      <a:pt x="984" y="231"/>
                    </a:lnTo>
                    <a:lnTo>
                      <a:pt x="980" y="231"/>
                    </a:lnTo>
                    <a:lnTo>
                      <a:pt x="980" y="227"/>
                    </a:lnTo>
                    <a:lnTo>
                      <a:pt x="979" y="227"/>
                    </a:lnTo>
                    <a:lnTo>
                      <a:pt x="979" y="227"/>
                    </a:lnTo>
                    <a:lnTo>
                      <a:pt x="975" y="231"/>
                    </a:lnTo>
                    <a:lnTo>
                      <a:pt x="975" y="231"/>
                    </a:lnTo>
                    <a:lnTo>
                      <a:pt x="975" y="231"/>
                    </a:lnTo>
                    <a:lnTo>
                      <a:pt x="975" y="231"/>
                    </a:lnTo>
                    <a:close/>
                    <a:moveTo>
                      <a:pt x="1013" y="224"/>
                    </a:moveTo>
                    <a:lnTo>
                      <a:pt x="1015" y="224"/>
                    </a:lnTo>
                    <a:lnTo>
                      <a:pt x="1015" y="222"/>
                    </a:lnTo>
                    <a:lnTo>
                      <a:pt x="1015" y="215"/>
                    </a:lnTo>
                    <a:lnTo>
                      <a:pt x="1013" y="215"/>
                    </a:lnTo>
                    <a:lnTo>
                      <a:pt x="1012" y="219"/>
                    </a:lnTo>
                    <a:lnTo>
                      <a:pt x="1012" y="222"/>
                    </a:lnTo>
                    <a:lnTo>
                      <a:pt x="1013" y="224"/>
                    </a:lnTo>
                    <a:lnTo>
                      <a:pt x="1013" y="224"/>
                    </a:lnTo>
                    <a:lnTo>
                      <a:pt x="1013" y="224"/>
                    </a:lnTo>
                    <a:lnTo>
                      <a:pt x="1013" y="224"/>
                    </a:lnTo>
                    <a:close/>
                    <a:moveTo>
                      <a:pt x="1025" y="276"/>
                    </a:moveTo>
                    <a:lnTo>
                      <a:pt x="1025" y="278"/>
                    </a:lnTo>
                    <a:lnTo>
                      <a:pt x="1029" y="281"/>
                    </a:lnTo>
                    <a:lnTo>
                      <a:pt x="1032" y="281"/>
                    </a:lnTo>
                    <a:lnTo>
                      <a:pt x="1036" y="281"/>
                    </a:lnTo>
                    <a:lnTo>
                      <a:pt x="1039" y="274"/>
                    </a:lnTo>
                    <a:lnTo>
                      <a:pt x="1039" y="273"/>
                    </a:lnTo>
                    <a:lnTo>
                      <a:pt x="1038" y="271"/>
                    </a:lnTo>
                    <a:lnTo>
                      <a:pt x="1039" y="269"/>
                    </a:lnTo>
                    <a:lnTo>
                      <a:pt x="1038" y="267"/>
                    </a:lnTo>
                    <a:lnTo>
                      <a:pt x="1034" y="267"/>
                    </a:lnTo>
                    <a:lnTo>
                      <a:pt x="1032" y="262"/>
                    </a:lnTo>
                    <a:lnTo>
                      <a:pt x="1029" y="262"/>
                    </a:lnTo>
                    <a:lnTo>
                      <a:pt x="1025" y="266"/>
                    </a:lnTo>
                    <a:lnTo>
                      <a:pt x="1025" y="269"/>
                    </a:lnTo>
                    <a:lnTo>
                      <a:pt x="1024" y="273"/>
                    </a:lnTo>
                    <a:lnTo>
                      <a:pt x="1025" y="276"/>
                    </a:lnTo>
                    <a:lnTo>
                      <a:pt x="1025" y="276"/>
                    </a:lnTo>
                    <a:lnTo>
                      <a:pt x="1025" y="276"/>
                    </a:lnTo>
                    <a:lnTo>
                      <a:pt x="1025" y="276"/>
                    </a:lnTo>
                    <a:close/>
                    <a:moveTo>
                      <a:pt x="1020" y="278"/>
                    </a:moveTo>
                    <a:lnTo>
                      <a:pt x="1020" y="278"/>
                    </a:lnTo>
                    <a:lnTo>
                      <a:pt x="1020" y="281"/>
                    </a:lnTo>
                    <a:lnTo>
                      <a:pt x="1024" y="283"/>
                    </a:lnTo>
                    <a:lnTo>
                      <a:pt x="1024" y="281"/>
                    </a:lnTo>
                    <a:lnTo>
                      <a:pt x="1024" y="281"/>
                    </a:lnTo>
                    <a:lnTo>
                      <a:pt x="1024" y="278"/>
                    </a:lnTo>
                    <a:lnTo>
                      <a:pt x="1024" y="278"/>
                    </a:lnTo>
                    <a:lnTo>
                      <a:pt x="1020" y="278"/>
                    </a:lnTo>
                    <a:lnTo>
                      <a:pt x="1020" y="278"/>
                    </a:lnTo>
                    <a:lnTo>
                      <a:pt x="1020" y="278"/>
                    </a:lnTo>
                    <a:lnTo>
                      <a:pt x="1020" y="278"/>
                    </a:lnTo>
                    <a:close/>
                    <a:moveTo>
                      <a:pt x="970" y="250"/>
                    </a:moveTo>
                    <a:lnTo>
                      <a:pt x="970" y="247"/>
                    </a:lnTo>
                    <a:lnTo>
                      <a:pt x="973" y="241"/>
                    </a:lnTo>
                    <a:lnTo>
                      <a:pt x="975" y="238"/>
                    </a:lnTo>
                    <a:lnTo>
                      <a:pt x="979" y="238"/>
                    </a:lnTo>
                    <a:lnTo>
                      <a:pt x="980" y="238"/>
                    </a:lnTo>
                    <a:lnTo>
                      <a:pt x="984" y="238"/>
                    </a:lnTo>
                    <a:lnTo>
                      <a:pt x="985" y="238"/>
                    </a:lnTo>
                    <a:lnTo>
                      <a:pt x="989" y="238"/>
                    </a:lnTo>
                    <a:lnTo>
                      <a:pt x="989" y="240"/>
                    </a:lnTo>
                    <a:lnTo>
                      <a:pt x="992" y="241"/>
                    </a:lnTo>
                    <a:lnTo>
                      <a:pt x="992" y="240"/>
                    </a:lnTo>
                    <a:lnTo>
                      <a:pt x="996" y="241"/>
                    </a:lnTo>
                    <a:lnTo>
                      <a:pt x="998" y="241"/>
                    </a:lnTo>
                    <a:lnTo>
                      <a:pt x="1001" y="247"/>
                    </a:lnTo>
                    <a:lnTo>
                      <a:pt x="1003" y="247"/>
                    </a:lnTo>
                    <a:lnTo>
                      <a:pt x="1001" y="248"/>
                    </a:lnTo>
                    <a:lnTo>
                      <a:pt x="1003" y="250"/>
                    </a:lnTo>
                    <a:lnTo>
                      <a:pt x="1005" y="250"/>
                    </a:lnTo>
                    <a:lnTo>
                      <a:pt x="1008" y="248"/>
                    </a:lnTo>
                    <a:lnTo>
                      <a:pt x="1010" y="250"/>
                    </a:lnTo>
                    <a:lnTo>
                      <a:pt x="1012" y="254"/>
                    </a:lnTo>
                    <a:lnTo>
                      <a:pt x="1012" y="255"/>
                    </a:lnTo>
                    <a:lnTo>
                      <a:pt x="1013" y="255"/>
                    </a:lnTo>
                    <a:lnTo>
                      <a:pt x="1012" y="259"/>
                    </a:lnTo>
                    <a:lnTo>
                      <a:pt x="1006" y="259"/>
                    </a:lnTo>
                    <a:lnTo>
                      <a:pt x="1003" y="260"/>
                    </a:lnTo>
                    <a:lnTo>
                      <a:pt x="1001" y="262"/>
                    </a:lnTo>
                    <a:lnTo>
                      <a:pt x="996" y="259"/>
                    </a:lnTo>
                    <a:lnTo>
                      <a:pt x="991" y="259"/>
                    </a:lnTo>
                    <a:lnTo>
                      <a:pt x="985" y="255"/>
                    </a:lnTo>
                    <a:lnTo>
                      <a:pt x="982" y="255"/>
                    </a:lnTo>
                    <a:lnTo>
                      <a:pt x="979" y="255"/>
                    </a:lnTo>
                    <a:lnTo>
                      <a:pt x="979" y="250"/>
                    </a:lnTo>
                    <a:lnTo>
                      <a:pt x="975" y="250"/>
                    </a:lnTo>
                    <a:lnTo>
                      <a:pt x="970" y="250"/>
                    </a:lnTo>
                    <a:lnTo>
                      <a:pt x="970" y="250"/>
                    </a:lnTo>
                    <a:lnTo>
                      <a:pt x="970" y="250"/>
                    </a:lnTo>
                    <a:lnTo>
                      <a:pt x="970" y="250"/>
                    </a:lnTo>
                    <a:close/>
                    <a:moveTo>
                      <a:pt x="930" y="194"/>
                    </a:moveTo>
                    <a:lnTo>
                      <a:pt x="930" y="193"/>
                    </a:lnTo>
                    <a:lnTo>
                      <a:pt x="932" y="193"/>
                    </a:lnTo>
                    <a:lnTo>
                      <a:pt x="933" y="193"/>
                    </a:lnTo>
                    <a:lnTo>
                      <a:pt x="932" y="196"/>
                    </a:lnTo>
                    <a:lnTo>
                      <a:pt x="930" y="196"/>
                    </a:lnTo>
                    <a:lnTo>
                      <a:pt x="930" y="194"/>
                    </a:lnTo>
                    <a:lnTo>
                      <a:pt x="930" y="194"/>
                    </a:lnTo>
                    <a:lnTo>
                      <a:pt x="930" y="194"/>
                    </a:lnTo>
                    <a:lnTo>
                      <a:pt x="930" y="194"/>
                    </a:lnTo>
                    <a:close/>
                    <a:moveTo>
                      <a:pt x="932" y="214"/>
                    </a:moveTo>
                    <a:lnTo>
                      <a:pt x="933" y="219"/>
                    </a:lnTo>
                    <a:lnTo>
                      <a:pt x="937" y="222"/>
                    </a:lnTo>
                    <a:lnTo>
                      <a:pt x="939" y="222"/>
                    </a:lnTo>
                    <a:lnTo>
                      <a:pt x="942" y="222"/>
                    </a:lnTo>
                    <a:lnTo>
                      <a:pt x="944" y="224"/>
                    </a:lnTo>
                    <a:lnTo>
                      <a:pt x="946" y="224"/>
                    </a:lnTo>
                    <a:lnTo>
                      <a:pt x="951" y="219"/>
                    </a:lnTo>
                    <a:lnTo>
                      <a:pt x="951" y="219"/>
                    </a:lnTo>
                    <a:lnTo>
                      <a:pt x="952" y="217"/>
                    </a:lnTo>
                    <a:lnTo>
                      <a:pt x="956" y="212"/>
                    </a:lnTo>
                    <a:lnTo>
                      <a:pt x="956" y="208"/>
                    </a:lnTo>
                    <a:lnTo>
                      <a:pt x="958" y="201"/>
                    </a:lnTo>
                    <a:lnTo>
                      <a:pt x="959" y="200"/>
                    </a:lnTo>
                    <a:lnTo>
                      <a:pt x="958" y="196"/>
                    </a:lnTo>
                    <a:lnTo>
                      <a:pt x="958" y="196"/>
                    </a:lnTo>
                    <a:lnTo>
                      <a:pt x="959" y="194"/>
                    </a:lnTo>
                    <a:lnTo>
                      <a:pt x="963" y="189"/>
                    </a:lnTo>
                    <a:lnTo>
                      <a:pt x="965" y="189"/>
                    </a:lnTo>
                    <a:lnTo>
                      <a:pt x="968" y="186"/>
                    </a:lnTo>
                    <a:lnTo>
                      <a:pt x="970" y="182"/>
                    </a:lnTo>
                    <a:lnTo>
                      <a:pt x="970" y="179"/>
                    </a:lnTo>
                    <a:lnTo>
                      <a:pt x="970" y="177"/>
                    </a:lnTo>
                    <a:lnTo>
                      <a:pt x="975" y="174"/>
                    </a:lnTo>
                    <a:lnTo>
                      <a:pt x="975" y="172"/>
                    </a:lnTo>
                    <a:lnTo>
                      <a:pt x="973" y="168"/>
                    </a:lnTo>
                    <a:lnTo>
                      <a:pt x="973" y="165"/>
                    </a:lnTo>
                    <a:lnTo>
                      <a:pt x="970" y="165"/>
                    </a:lnTo>
                    <a:lnTo>
                      <a:pt x="968" y="163"/>
                    </a:lnTo>
                    <a:lnTo>
                      <a:pt x="965" y="163"/>
                    </a:lnTo>
                    <a:lnTo>
                      <a:pt x="963" y="160"/>
                    </a:lnTo>
                    <a:lnTo>
                      <a:pt x="965" y="158"/>
                    </a:lnTo>
                    <a:lnTo>
                      <a:pt x="970" y="156"/>
                    </a:lnTo>
                    <a:lnTo>
                      <a:pt x="970" y="154"/>
                    </a:lnTo>
                    <a:lnTo>
                      <a:pt x="968" y="151"/>
                    </a:lnTo>
                    <a:lnTo>
                      <a:pt x="968" y="149"/>
                    </a:lnTo>
                    <a:lnTo>
                      <a:pt x="968" y="144"/>
                    </a:lnTo>
                    <a:lnTo>
                      <a:pt x="965" y="140"/>
                    </a:lnTo>
                    <a:lnTo>
                      <a:pt x="963" y="140"/>
                    </a:lnTo>
                    <a:lnTo>
                      <a:pt x="959" y="144"/>
                    </a:lnTo>
                    <a:lnTo>
                      <a:pt x="954" y="144"/>
                    </a:lnTo>
                    <a:lnTo>
                      <a:pt x="952" y="149"/>
                    </a:lnTo>
                    <a:lnTo>
                      <a:pt x="951" y="149"/>
                    </a:lnTo>
                    <a:lnTo>
                      <a:pt x="947" y="149"/>
                    </a:lnTo>
                    <a:lnTo>
                      <a:pt x="947" y="146"/>
                    </a:lnTo>
                    <a:lnTo>
                      <a:pt x="951" y="144"/>
                    </a:lnTo>
                    <a:lnTo>
                      <a:pt x="952" y="144"/>
                    </a:lnTo>
                    <a:lnTo>
                      <a:pt x="952" y="137"/>
                    </a:lnTo>
                    <a:lnTo>
                      <a:pt x="954" y="132"/>
                    </a:lnTo>
                    <a:lnTo>
                      <a:pt x="952" y="128"/>
                    </a:lnTo>
                    <a:lnTo>
                      <a:pt x="951" y="127"/>
                    </a:lnTo>
                    <a:lnTo>
                      <a:pt x="951" y="123"/>
                    </a:lnTo>
                    <a:lnTo>
                      <a:pt x="947" y="121"/>
                    </a:lnTo>
                    <a:lnTo>
                      <a:pt x="944" y="121"/>
                    </a:lnTo>
                    <a:lnTo>
                      <a:pt x="939" y="121"/>
                    </a:lnTo>
                    <a:lnTo>
                      <a:pt x="935" y="125"/>
                    </a:lnTo>
                    <a:lnTo>
                      <a:pt x="932" y="123"/>
                    </a:lnTo>
                    <a:lnTo>
                      <a:pt x="932" y="118"/>
                    </a:lnTo>
                    <a:lnTo>
                      <a:pt x="932" y="118"/>
                    </a:lnTo>
                    <a:lnTo>
                      <a:pt x="928" y="121"/>
                    </a:lnTo>
                    <a:lnTo>
                      <a:pt x="928" y="123"/>
                    </a:lnTo>
                    <a:lnTo>
                      <a:pt x="925" y="125"/>
                    </a:lnTo>
                    <a:lnTo>
                      <a:pt x="921" y="128"/>
                    </a:lnTo>
                    <a:lnTo>
                      <a:pt x="919" y="134"/>
                    </a:lnTo>
                    <a:lnTo>
                      <a:pt x="919" y="137"/>
                    </a:lnTo>
                    <a:lnTo>
                      <a:pt x="921" y="137"/>
                    </a:lnTo>
                    <a:lnTo>
                      <a:pt x="925" y="137"/>
                    </a:lnTo>
                    <a:lnTo>
                      <a:pt x="928" y="135"/>
                    </a:lnTo>
                    <a:lnTo>
                      <a:pt x="928" y="137"/>
                    </a:lnTo>
                    <a:lnTo>
                      <a:pt x="925" y="140"/>
                    </a:lnTo>
                    <a:lnTo>
                      <a:pt x="921" y="144"/>
                    </a:lnTo>
                    <a:lnTo>
                      <a:pt x="916" y="149"/>
                    </a:lnTo>
                    <a:lnTo>
                      <a:pt x="916" y="149"/>
                    </a:lnTo>
                    <a:lnTo>
                      <a:pt x="921" y="146"/>
                    </a:lnTo>
                    <a:lnTo>
                      <a:pt x="928" y="144"/>
                    </a:lnTo>
                    <a:lnTo>
                      <a:pt x="928" y="144"/>
                    </a:lnTo>
                    <a:lnTo>
                      <a:pt x="932" y="140"/>
                    </a:lnTo>
                    <a:lnTo>
                      <a:pt x="933" y="144"/>
                    </a:lnTo>
                    <a:lnTo>
                      <a:pt x="932" y="149"/>
                    </a:lnTo>
                    <a:lnTo>
                      <a:pt x="930" y="149"/>
                    </a:lnTo>
                    <a:lnTo>
                      <a:pt x="925" y="151"/>
                    </a:lnTo>
                    <a:lnTo>
                      <a:pt x="925" y="154"/>
                    </a:lnTo>
                    <a:lnTo>
                      <a:pt x="925" y="156"/>
                    </a:lnTo>
                    <a:lnTo>
                      <a:pt x="930" y="154"/>
                    </a:lnTo>
                    <a:lnTo>
                      <a:pt x="933" y="156"/>
                    </a:lnTo>
                    <a:lnTo>
                      <a:pt x="930" y="160"/>
                    </a:lnTo>
                    <a:lnTo>
                      <a:pt x="925" y="160"/>
                    </a:lnTo>
                    <a:lnTo>
                      <a:pt x="921" y="160"/>
                    </a:lnTo>
                    <a:lnTo>
                      <a:pt x="921" y="163"/>
                    </a:lnTo>
                    <a:lnTo>
                      <a:pt x="925" y="163"/>
                    </a:lnTo>
                    <a:lnTo>
                      <a:pt x="925" y="167"/>
                    </a:lnTo>
                    <a:lnTo>
                      <a:pt x="921" y="172"/>
                    </a:lnTo>
                    <a:lnTo>
                      <a:pt x="919" y="172"/>
                    </a:lnTo>
                    <a:lnTo>
                      <a:pt x="916" y="167"/>
                    </a:lnTo>
                    <a:lnTo>
                      <a:pt x="914" y="165"/>
                    </a:lnTo>
                    <a:lnTo>
                      <a:pt x="913" y="160"/>
                    </a:lnTo>
                    <a:lnTo>
                      <a:pt x="906" y="165"/>
                    </a:lnTo>
                    <a:lnTo>
                      <a:pt x="906" y="167"/>
                    </a:lnTo>
                    <a:lnTo>
                      <a:pt x="900" y="172"/>
                    </a:lnTo>
                    <a:lnTo>
                      <a:pt x="906" y="177"/>
                    </a:lnTo>
                    <a:lnTo>
                      <a:pt x="906" y="179"/>
                    </a:lnTo>
                    <a:lnTo>
                      <a:pt x="907" y="180"/>
                    </a:lnTo>
                    <a:lnTo>
                      <a:pt x="909" y="177"/>
                    </a:lnTo>
                    <a:lnTo>
                      <a:pt x="913" y="177"/>
                    </a:lnTo>
                    <a:lnTo>
                      <a:pt x="916" y="179"/>
                    </a:lnTo>
                    <a:lnTo>
                      <a:pt x="921" y="179"/>
                    </a:lnTo>
                    <a:lnTo>
                      <a:pt x="925" y="180"/>
                    </a:lnTo>
                    <a:lnTo>
                      <a:pt x="928" y="179"/>
                    </a:lnTo>
                    <a:lnTo>
                      <a:pt x="928" y="182"/>
                    </a:lnTo>
                    <a:lnTo>
                      <a:pt x="925" y="182"/>
                    </a:lnTo>
                    <a:lnTo>
                      <a:pt x="925" y="184"/>
                    </a:lnTo>
                    <a:lnTo>
                      <a:pt x="925" y="187"/>
                    </a:lnTo>
                    <a:lnTo>
                      <a:pt x="930" y="187"/>
                    </a:lnTo>
                    <a:lnTo>
                      <a:pt x="933" y="191"/>
                    </a:lnTo>
                    <a:lnTo>
                      <a:pt x="935" y="196"/>
                    </a:lnTo>
                    <a:lnTo>
                      <a:pt x="939" y="196"/>
                    </a:lnTo>
                    <a:lnTo>
                      <a:pt x="940" y="196"/>
                    </a:lnTo>
                    <a:lnTo>
                      <a:pt x="939" y="200"/>
                    </a:lnTo>
                    <a:lnTo>
                      <a:pt x="939" y="203"/>
                    </a:lnTo>
                    <a:lnTo>
                      <a:pt x="932" y="214"/>
                    </a:lnTo>
                    <a:lnTo>
                      <a:pt x="932" y="214"/>
                    </a:lnTo>
                    <a:lnTo>
                      <a:pt x="932" y="214"/>
                    </a:lnTo>
                    <a:lnTo>
                      <a:pt x="932" y="214"/>
                    </a:lnTo>
                    <a:close/>
                    <a:moveTo>
                      <a:pt x="914" y="189"/>
                    </a:moveTo>
                    <a:lnTo>
                      <a:pt x="916" y="186"/>
                    </a:lnTo>
                    <a:lnTo>
                      <a:pt x="919" y="184"/>
                    </a:lnTo>
                    <a:lnTo>
                      <a:pt x="921" y="184"/>
                    </a:lnTo>
                    <a:lnTo>
                      <a:pt x="921" y="184"/>
                    </a:lnTo>
                    <a:lnTo>
                      <a:pt x="921" y="187"/>
                    </a:lnTo>
                    <a:lnTo>
                      <a:pt x="916" y="189"/>
                    </a:lnTo>
                    <a:lnTo>
                      <a:pt x="914" y="189"/>
                    </a:lnTo>
                    <a:lnTo>
                      <a:pt x="914" y="189"/>
                    </a:lnTo>
                    <a:lnTo>
                      <a:pt x="914" y="189"/>
                    </a:lnTo>
                    <a:lnTo>
                      <a:pt x="914" y="189"/>
                    </a:lnTo>
                    <a:close/>
                    <a:moveTo>
                      <a:pt x="907" y="208"/>
                    </a:moveTo>
                    <a:lnTo>
                      <a:pt x="909" y="203"/>
                    </a:lnTo>
                    <a:lnTo>
                      <a:pt x="916" y="203"/>
                    </a:lnTo>
                    <a:lnTo>
                      <a:pt x="919" y="205"/>
                    </a:lnTo>
                    <a:lnTo>
                      <a:pt x="925" y="210"/>
                    </a:lnTo>
                    <a:lnTo>
                      <a:pt x="925" y="214"/>
                    </a:lnTo>
                    <a:lnTo>
                      <a:pt x="925" y="219"/>
                    </a:lnTo>
                    <a:lnTo>
                      <a:pt x="921" y="219"/>
                    </a:lnTo>
                    <a:lnTo>
                      <a:pt x="919" y="219"/>
                    </a:lnTo>
                    <a:lnTo>
                      <a:pt x="916" y="219"/>
                    </a:lnTo>
                    <a:lnTo>
                      <a:pt x="914" y="219"/>
                    </a:lnTo>
                    <a:lnTo>
                      <a:pt x="911" y="215"/>
                    </a:lnTo>
                    <a:lnTo>
                      <a:pt x="907" y="212"/>
                    </a:lnTo>
                    <a:lnTo>
                      <a:pt x="907" y="208"/>
                    </a:lnTo>
                    <a:lnTo>
                      <a:pt x="907" y="208"/>
                    </a:lnTo>
                    <a:lnTo>
                      <a:pt x="907" y="208"/>
                    </a:lnTo>
                    <a:lnTo>
                      <a:pt x="907" y="208"/>
                    </a:lnTo>
                    <a:close/>
                    <a:moveTo>
                      <a:pt x="866" y="236"/>
                    </a:moveTo>
                    <a:lnTo>
                      <a:pt x="867" y="234"/>
                    </a:lnTo>
                    <a:lnTo>
                      <a:pt x="871" y="234"/>
                    </a:lnTo>
                    <a:lnTo>
                      <a:pt x="871" y="236"/>
                    </a:lnTo>
                    <a:lnTo>
                      <a:pt x="867" y="238"/>
                    </a:lnTo>
                    <a:lnTo>
                      <a:pt x="866" y="236"/>
                    </a:lnTo>
                    <a:lnTo>
                      <a:pt x="866" y="236"/>
                    </a:lnTo>
                    <a:lnTo>
                      <a:pt x="866" y="236"/>
                    </a:lnTo>
                    <a:lnTo>
                      <a:pt x="866" y="236"/>
                    </a:lnTo>
                    <a:close/>
                    <a:moveTo>
                      <a:pt x="862" y="231"/>
                    </a:moveTo>
                    <a:lnTo>
                      <a:pt x="860" y="227"/>
                    </a:lnTo>
                    <a:lnTo>
                      <a:pt x="862" y="224"/>
                    </a:lnTo>
                    <a:lnTo>
                      <a:pt x="864" y="219"/>
                    </a:lnTo>
                    <a:lnTo>
                      <a:pt x="864" y="217"/>
                    </a:lnTo>
                    <a:lnTo>
                      <a:pt x="867" y="214"/>
                    </a:lnTo>
                    <a:lnTo>
                      <a:pt x="867" y="212"/>
                    </a:lnTo>
                    <a:lnTo>
                      <a:pt x="869" y="210"/>
                    </a:lnTo>
                    <a:lnTo>
                      <a:pt x="869" y="208"/>
                    </a:lnTo>
                    <a:lnTo>
                      <a:pt x="871" y="203"/>
                    </a:lnTo>
                    <a:lnTo>
                      <a:pt x="871" y="200"/>
                    </a:lnTo>
                    <a:lnTo>
                      <a:pt x="871" y="200"/>
                    </a:lnTo>
                    <a:lnTo>
                      <a:pt x="874" y="200"/>
                    </a:lnTo>
                    <a:lnTo>
                      <a:pt x="874" y="205"/>
                    </a:lnTo>
                    <a:lnTo>
                      <a:pt x="876" y="208"/>
                    </a:lnTo>
                    <a:lnTo>
                      <a:pt x="874" y="214"/>
                    </a:lnTo>
                    <a:lnTo>
                      <a:pt x="874" y="217"/>
                    </a:lnTo>
                    <a:lnTo>
                      <a:pt x="871" y="219"/>
                    </a:lnTo>
                    <a:lnTo>
                      <a:pt x="874" y="222"/>
                    </a:lnTo>
                    <a:lnTo>
                      <a:pt x="871" y="231"/>
                    </a:lnTo>
                    <a:lnTo>
                      <a:pt x="867" y="233"/>
                    </a:lnTo>
                    <a:lnTo>
                      <a:pt x="862" y="231"/>
                    </a:lnTo>
                    <a:lnTo>
                      <a:pt x="862" y="231"/>
                    </a:lnTo>
                    <a:lnTo>
                      <a:pt x="862" y="231"/>
                    </a:lnTo>
                    <a:lnTo>
                      <a:pt x="862" y="231"/>
                    </a:lnTo>
                    <a:close/>
                    <a:moveTo>
                      <a:pt x="824" y="153"/>
                    </a:moveTo>
                    <a:lnTo>
                      <a:pt x="820" y="149"/>
                    </a:lnTo>
                    <a:lnTo>
                      <a:pt x="820" y="146"/>
                    </a:lnTo>
                    <a:lnTo>
                      <a:pt x="824" y="144"/>
                    </a:lnTo>
                    <a:lnTo>
                      <a:pt x="820" y="144"/>
                    </a:lnTo>
                    <a:lnTo>
                      <a:pt x="817" y="144"/>
                    </a:lnTo>
                    <a:lnTo>
                      <a:pt x="815" y="140"/>
                    </a:lnTo>
                    <a:lnTo>
                      <a:pt x="813" y="144"/>
                    </a:lnTo>
                    <a:lnTo>
                      <a:pt x="808" y="144"/>
                    </a:lnTo>
                    <a:lnTo>
                      <a:pt x="805" y="144"/>
                    </a:lnTo>
                    <a:lnTo>
                      <a:pt x="805" y="140"/>
                    </a:lnTo>
                    <a:lnTo>
                      <a:pt x="808" y="137"/>
                    </a:lnTo>
                    <a:lnTo>
                      <a:pt x="810" y="135"/>
                    </a:lnTo>
                    <a:lnTo>
                      <a:pt x="813" y="135"/>
                    </a:lnTo>
                    <a:lnTo>
                      <a:pt x="817" y="135"/>
                    </a:lnTo>
                    <a:lnTo>
                      <a:pt x="826" y="132"/>
                    </a:lnTo>
                    <a:lnTo>
                      <a:pt x="829" y="134"/>
                    </a:lnTo>
                    <a:lnTo>
                      <a:pt x="833" y="135"/>
                    </a:lnTo>
                    <a:lnTo>
                      <a:pt x="834" y="135"/>
                    </a:lnTo>
                    <a:lnTo>
                      <a:pt x="838" y="135"/>
                    </a:lnTo>
                    <a:lnTo>
                      <a:pt x="843" y="132"/>
                    </a:lnTo>
                    <a:lnTo>
                      <a:pt x="846" y="132"/>
                    </a:lnTo>
                    <a:lnTo>
                      <a:pt x="848" y="132"/>
                    </a:lnTo>
                    <a:lnTo>
                      <a:pt x="852" y="130"/>
                    </a:lnTo>
                    <a:lnTo>
                      <a:pt x="853" y="132"/>
                    </a:lnTo>
                    <a:lnTo>
                      <a:pt x="853" y="134"/>
                    </a:lnTo>
                    <a:lnTo>
                      <a:pt x="855" y="137"/>
                    </a:lnTo>
                    <a:lnTo>
                      <a:pt x="855" y="140"/>
                    </a:lnTo>
                    <a:lnTo>
                      <a:pt x="852" y="144"/>
                    </a:lnTo>
                    <a:lnTo>
                      <a:pt x="855" y="149"/>
                    </a:lnTo>
                    <a:lnTo>
                      <a:pt x="852" y="156"/>
                    </a:lnTo>
                    <a:lnTo>
                      <a:pt x="848" y="158"/>
                    </a:lnTo>
                    <a:lnTo>
                      <a:pt x="846" y="160"/>
                    </a:lnTo>
                    <a:lnTo>
                      <a:pt x="843" y="160"/>
                    </a:lnTo>
                    <a:lnTo>
                      <a:pt x="840" y="160"/>
                    </a:lnTo>
                    <a:lnTo>
                      <a:pt x="838" y="158"/>
                    </a:lnTo>
                    <a:lnTo>
                      <a:pt x="834" y="160"/>
                    </a:lnTo>
                    <a:lnTo>
                      <a:pt x="831" y="154"/>
                    </a:lnTo>
                    <a:lnTo>
                      <a:pt x="831" y="149"/>
                    </a:lnTo>
                    <a:lnTo>
                      <a:pt x="827" y="146"/>
                    </a:lnTo>
                    <a:lnTo>
                      <a:pt x="826" y="149"/>
                    </a:lnTo>
                    <a:lnTo>
                      <a:pt x="826" y="151"/>
                    </a:lnTo>
                    <a:lnTo>
                      <a:pt x="824" y="153"/>
                    </a:lnTo>
                    <a:lnTo>
                      <a:pt x="824" y="153"/>
                    </a:lnTo>
                    <a:lnTo>
                      <a:pt x="824" y="153"/>
                    </a:lnTo>
                    <a:lnTo>
                      <a:pt x="824" y="153"/>
                    </a:lnTo>
                    <a:close/>
                    <a:moveTo>
                      <a:pt x="775" y="180"/>
                    </a:moveTo>
                    <a:lnTo>
                      <a:pt x="779" y="177"/>
                    </a:lnTo>
                    <a:lnTo>
                      <a:pt x="779" y="174"/>
                    </a:lnTo>
                    <a:lnTo>
                      <a:pt x="784" y="172"/>
                    </a:lnTo>
                    <a:lnTo>
                      <a:pt x="784" y="168"/>
                    </a:lnTo>
                    <a:lnTo>
                      <a:pt x="787" y="167"/>
                    </a:lnTo>
                    <a:lnTo>
                      <a:pt x="789" y="163"/>
                    </a:lnTo>
                    <a:lnTo>
                      <a:pt x="793" y="163"/>
                    </a:lnTo>
                    <a:lnTo>
                      <a:pt x="801" y="160"/>
                    </a:lnTo>
                    <a:lnTo>
                      <a:pt x="801" y="163"/>
                    </a:lnTo>
                    <a:lnTo>
                      <a:pt x="805" y="163"/>
                    </a:lnTo>
                    <a:lnTo>
                      <a:pt x="808" y="165"/>
                    </a:lnTo>
                    <a:lnTo>
                      <a:pt x="812" y="165"/>
                    </a:lnTo>
                    <a:lnTo>
                      <a:pt x="813" y="163"/>
                    </a:lnTo>
                    <a:lnTo>
                      <a:pt x="820" y="165"/>
                    </a:lnTo>
                    <a:lnTo>
                      <a:pt x="820" y="167"/>
                    </a:lnTo>
                    <a:lnTo>
                      <a:pt x="824" y="167"/>
                    </a:lnTo>
                    <a:lnTo>
                      <a:pt x="827" y="167"/>
                    </a:lnTo>
                    <a:lnTo>
                      <a:pt x="829" y="168"/>
                    </a:lnTo>
                    <a:lnTo>
                      <a:pt x="833" y="168"/>
                    </a:lnTo>
                    <a:lnTo>
                      <a:pt x="834" y="168"/>
                    </a:lnTo>
                    <a:lnTo>
                      <a:pt x="831" y="177"/>
                    </a:lnTo>
                    <a:lnTo>
                      <a:pt x="827" y="174"/>
                    </a:lnTo>
                    <a:lnTo>
                      <a:pt x="820" y="177"/>
                    </a:lnTo>
                    <a:lnTo>
                      <a:pt x="817" y="177"/>
                    </a:lnTo>
                    <a:lnTo>
                      <a:pt x="813" y="182"/>
                    </a:lnTo>
                    <a:lnTo>
                      <a:pt x="813" y="184"/>
                    </a:lnTo>
                    <a:lnTo>
                      <a:pt x="817" y="184"/>
                    </a:lnTo>
                    <a:lnTo>
                      <a:pt x="819" y="184"/>
                    </a:lnTo>
                    <a:lnTo>
                      <a:pt x="819" y="186"/>
                    </a:lnTo>
                    <a:lnTo>
                      <a:pt x="815" y="191"/>
                    </a:lnTo>
                    <a:lnTo>
                      <a:pt x="813" y="194"/>
                    </a:lnTo>
                    <a:lnTo>
                      <a:pt x="810" y="194"/>
                    </a:lnTo>
                    <a:lnTo>
                      <a:pt x="810" y="196"/>
                    </a:lnTo>
                    <a:lnTo>
                      <a:pt x="808" y="200"/>
                    </a:lnTo>
                    <a:lnTo>
                      <a:pt x="805" y="200"/>
                    </a:lnTo>
                    <a:lnTo>
                      <a:pt x="801" y="200"/>
                    </a:lnTo>
                    <a:lnTo>
                      <a:pt x="798" y="200"/>
                    </a:lnTo>
                    <a:lnTo>
                      <a:pt x="793" y="196"/>
                    </a:lnTo>
                    <a:lnTo>
                      <a:pt x="793" y="200"/>
                    </a:lnTo>
                    <a:lnTo>
                      <a:pt x="789" y="200"/>
                    </a:lnTo>
                    <a:lnTo>
                      <a:pt x="786" y="200"/>
                    </a:lnTo>
                    <a:lnTo>
                      <a:pt x="784" y="196"/>
                    </a:lnTo>
                    <a:lnTo>
                      <a:pt x="786" y="196"/>
                    </a:lnTo>
                    <a:lnTo>
                      <a:pt x="784" y="191"/>
                    </a:lnTo>
                    <a:lnTo>
                      <a:pt x="780" y="189"/>
                    </a:lnTo>
                    <a:lnTo>
                      <a:pt x="779" y="187"/>
                    </a:lnTo>
                    <a:lnTo>
                      <a:pt x="779" y="184"/>
                    </a:lnTo>
                    <a:lnTo>
                      <a:pt x="775" y="180"/>
                    </a:lnTo>
                    <a:lnTo>
                      <a:pt x="775" y="180"/>
                    </a:lnTo>
                    <a:lnTo>
                      <a:pt x="775" y="180"/>
                    </a:lnTo>
                    <a:lnTo>
                      <a:pt x="775" y="180"/>
                    </a:lnTo>
                    <a:close/>
                    <a:moveTo>
                      <a:pt x="772" y="168"/>
                    </a:moveTo>
                    <a:lnTo>
                      <a:pt x="773" y="168"/>
                    </a:lnTo>
                    <a:lnTo>
                      <a:pt x="779" y="168"/>
                    </a:lnTo>
                    <a:lnTo>
                      <a:pt x="782" y="165"/>
                    </a:lnTo>
                    <a:lnTo>
                      <a:pt x="782" y="160"/>
                    </a:lnTo>
                    <a:lnTo>
                      <a:pt x="782" y="158"/>
                    </a:lnTo>
                    <a:lnTo>
                      <a:pt x="782" y="154"/>
                    </a:lnTo>
                    <a:lnTo>
                      <a:pt x="784" y="151"/>
                    </a:lnTo>
                    <a:lnTo>
                      <a:pt x="780" y="151"/>
                    </a:lnTo>
                    <a:lnTo>
                      <a:pt x="779" y="151"/>
                    </a:lnTo>
                    <a:lnTo>
                      <a:pt x="775" y="149"/>
                    </a:lnTo>
                    <a:lnTo>
                      <a:pt x="773" y="153"/>
                    </a:lnTo>
                    <a:lnTo>
                      <a:pt x="770" y="153"/>
                    </a:lnTo>
                    <a:lnTo>
                      <a:pt x="770" y="156"/>
                    </a:lnTo>
                    <a:lnTo>
                      <a:pt x="770" y="160"/>
                    </a:lnTo>
                    <a:lnTo>
                      <a:pt x="770" y="163"/>
                    </a:lnTo>
                    <a:lnTo>
                      <a:pt x="772" y="168"/>
                    </a:lnTo>
                    <a:lnTo>
                      <a:pt x="772" y="168"/>
                    </a:lnTo>
                    <a:lnTo>
                      <a:pt x="772" y="168"/>
                    </a:lnTo>
                    <a:lnTo>
                      <a:pt x="772" y="168"/>
                    </a:lnTo>
                    <a:close/>
                    <a:moveTo>
                      <a:pt x="1058" y="419"/>
                    </a:moveTo>
                    <a:lnTo>
                      <a:pt x="1058" y="419"/>
                    </a:lnTo>
                    <a:lnTo>
                      <a:pt x="1064" y="422"/>
                    </a:lnTo>
                    <a:lnTo>
                      <a:pt x="1067" y="419"/>
                    </a:lnTo>
                    <a:lnTo>
                      <a:pt x="1067" y="424"/>
                    </a:lnTo>
                    <a:lnTo>
                      <a:pt x="1071" y="424"/>
                    </a:lnTo>
                    <a:lnTo>
                      <a:pt x="1071" y="424"/>
                    </a:lnTo>
                    <a:lnTo>
                      <a:pt x="1074" y="424"/>
                    </a:lnTo>
                    <a:lnTo>
                      <a:pt x="1079" y="422"/>
                    </a:lnTo>
                    <a:lnTo>
                      <a:pt x="1083" y="422"/>
                    </a:lnTo>
                    <a:lnTo>
                      <a:pt x="1088" y="424"/>
                    </a:lnTo>
                    <a:lnTo>
                      <a:pt x="1091" y="424"/>
                    </a:lnTo>
                    <a:lnTo>
                      <a:pt x="1093" y="424"/>
                    </a:lnTo>
                    <a:lnTo>
                      <a:pt x="1093" y="424"/>
                    </a:lnTo>
                    <a:lnTo>
                      <a:pt x="1093" y="419"/>
                    </a:lnTo>
                    <a:lnTo>
                      <a:pt x="1097" y="415"/>
                    </a:lnTo>
                    <a:lnTo>
                      <a:pt x="1100" y="415"/>
                    </a:lnTo>
                    <a:lnTo>
                      <a:pt x="1100" y="415"/>
                    </a:lnTo>
                    <a:lnTo>
                      <a:pt x="1097" y="410"/>
                    </a:lnTo>
                    <a:lnTo>
                      <a:pt x="1097" y="407"/>
                    </a:lnTo>
                    <a:lnTo>
                      <a:pt x="1100" y="408"/>
                    </a:lnTo>
                    <a:lnTo>
                      <a:pt x="1100" y="412"/>
                    </a:lnTo>
                    <a:lnTo>
                      <a:pt x="1102" y="415"/>
                    </a:lnTo>
                    <a:lnTo>
                      <a:pt x="1102" y="413"/>
                    </a:lnTo>
                    <a:lnTo>
                      <a:pt x="1105" y="413"/>
                    </a:lnTo>
                    <a:lnTo>
                      <a:pt x="1107" y="412"/>
                    </a:lnTo>
                    <a:lnTo>
                      <a:pt x="1109" y="413"/>
                    </a:lnTo>
                    <a:lnTo>
                      <a:pt x="1109" y="412"/>
                    </a:lnTo>
                    <a:lnTo>
                      <a:pt x="1109" y="408"/>
                    </a:lnTo>
                    <a:lnTo>
                      <a:pt x="1109" y="405"/>
                    </a:lnTo>
                    <a:lnTo>
                      <a:pt x="1107" y="403"/>
                    </a:lnTo>
                    <a:lnTo>
                      <a:pt x="1102" y="405"/>
                    </a:lnTo>
                    <a:lnTo>
                      <a:pt x="1100" y="405"/>
                    </a:lnTo>
                    <a:lnTo>
                      <a:pt x="1100" y="401"/>
                    </a:lnTo>
                    <a:lnTo>
                      <a:pt x="1102" y="401"/>
                    </a:lnTo>
                    <a:lnTo>
                      <a:pt x="1102" y="401"/>
                    </a:lnTo>
                    <a:lnTo>
                      <a:pt x="1105" y="401"/>
                    </a:lnTo>
                    <a:lnTo>
                      <a:pt x="1107" y="398"/>
                    </a:lnTo>
                    <a:lnTo>
                      <a:pt x="1109" y="400"/>
                    </a:lnTo>
                    <a:lnTo>
                      <a:pt x="1112" y="400"/>
                    </a:lnTo>
                    <a:lnTo>
                      <a:pt x="1114" y="396"/>
                    </a:lnTo>
                    <a:lnTo>
                      <a:pt x="1112" y="393"/>
                    </a:lnTo>
                    <a:lnTo>
                      <a:pt x="1114" y="391"/>
                    </a:lnTo>
                    <a:lnTo>
                      <a:pt x="1114" y="387"/>
                    </a:lnTo>
                    <a:lnTo>
                      <a:pt x="1116" y="387"/>
                    </a:lnTo>
                    <a:lnTo>
                      <a:pt x="1118" y="387"/>
                    </a:lnTo>
                    <a:lnTo>
                      <a:pt x="1112" y="386"/>
                    </a:lnTo>
                    <a:lnTo>
                      <a:pt x="1109" y="387"/>
                    </a:lnTo>
                    <a:lnTo>
                      <a:pt x="1111" y="384"/>
                    </a:lnTo>
                    <a:lnTo>
                      <a:pt x="1112" y="384"/>
                    </a:lnTo>
                    <a:lnTo>
                      <a:pt x="1112" y="380"/>
                    </a:lnTo>
                    <a:lnTo>
                      <a:pt x="1109" y="377"/>
                    </a:lnTo>
                    <a:lnTo>
                      <a:pt x="1102" y="377"/>
                    </a:lnTo>
                    <a:lnTo>
                      <a:pt x="1102" y="375"/>
                    </a:lnTo>
                    <a:lnTo>
                      <a:pt x="1102" y="373"/>
                    </a:lnTo>
                    <a:lnTo>
                      <a:pt x="1105" y="373"/>
                    </a:lnTo>
                    <a:lnTo>
                      <a:pt x="1102" y="370"/>
                    </a:lnTo>
                    <a:lnTo>
                      <a:pt x="1097" y="365"/>
                    </a:lnTo>
                    <a:lnTo>
                      <a:pt x="1093" y="365"/>
                    </a:lnTo>
                    <a:lnTo>
                      <a:pt x="1093" y="368"/>
                    </a:lnTo>
                    <a:lnTo>
                      <a:pt x="1088" y="368"/>
                    </a:lnTo>
                    <a:lnTo>
                      <a:pt x="1083" y="368"/>
                    </a:lnTo>
                    <a:lnTo>
                      <a:pt x="1078" y="365"/>
                    </a:lnTo>
                    <a:lnTo>
                      <a:pt x="1078" y="363"/>
                    </a:lnTo>
                    <a:lnTo>
                      <a:pt x="1074" y="360"/>
                    </a:lnTo>
                    <a:lnTo>
                      <a:pt x="1071" y="363"/>
                    </a:lnTo>
                    <a:lnTo>
                      <a:pt x="1069" y="363"/>
                    </a:lnTo>
                    <a:lnTo>
                      <a:pt x="1067" y="365"/>
                    </a:lnTo>
                    <a:lnTo>
                      <a:pt x="1064" y="365"/>
                    </a:lnTo>
                    <a:lnTo>
                      <a:pt x="1062" y="368"/>
                    </a:lnTo>
                    <a:lnTo>
                      <a:pt x="1060" y="365"/>
                    </a:lnTo>
                    <a:lnTo>
                      <a:pt x="1057" y="363"/>
                    </a:lnTo>
                    <a:lnTo>
                      <a:pt x="1055" y="365"/>
                    </a:lnTo>
                    <a:lnTo>
                      <a:pt x="1052" y="365"/>
                    </a:lnTo>
                    <a:lnTo>
                      <a:pt x="1052" y="368"/>
                    </a:lnTo>
                    <a:lnTo>
                      <a:pt x="1048" y="368"/>
                    </a:lnTo>
                    <a:lnTo>
                      <a:pt x="1048" y="365"/>
                    </a:lnTo>
                    <a:lnTo>
                      <a:pt x="1048" y="365"/>
                    </a:lnTo>
                    <a:lnTo>
                      <a:pt x="1043" y="365"/>
                    </a:lnTo>
                    <a:lnTo>
                      <a:pt x="1038" y="365"/>
                    </a:lnTo>
                    <a:lnTo>
                      <a:pt x="1036" y="365"/>
                    </a:lnTo>
                    <a:lnTo>
                      <a:pt x="1038" y="368"/>
                    </a:lnTo>
                    <a:lnTo>
                      <a:pt x="1038" y="370"/>
                    </a:lnTo>
                    <a:lnTo>
                      <a:pt x="1041" y="372"/>
                    </a:lnTo>
                    <a:lnTo>
                      <a:pt x="1038" y="372"/>
                    </a:lnTo>
                    <a:lnTo>
                      <a:pt x="1036" y="368"/>
                    </a:lnTo>
                    <a:lnTo>
                      <a:pt x="1034" y="368"/>
                    </a:lnTo>
                    <a:lnTo>
                      <a:pt x="1029" y="370"/>
                    </a:lnTo>
                    <a:lnTo>
                      <a:pt x="1029" y="368"/>
                    </a:lnTo>
                    <a:lnTo>
                      <a:pt x="1032" y="368"/>
                    </a:lnTo>
                    <a:lnTo>
                      <a:pt x="1032" y="365"/>
                    </a:lnTo>
                    <a:lnTo>
                      <a:pt x="1029" y="360"/>
                    </a:lnTo>
                    <a:lnTo>
                      <a:pt x="1029" y="360"/>
                    </a:lnTo>
                    <a:lnTo>
                      <a:pt x="1025" y="358"/>
                    </a:lnTo>
                    <a:lnTo>
                      <a:pt x="1024" y="360"/>
                    </a:lnTo>
                    <a:lnTo>
                      <a:pt x="1024" y="363"/>
                    </a:lnTo>
                    <a:lnTo>
                      <a:pt x="1024" y="365"/>
                    </a:lnTo>
                    <a:lnTo>
                      <a:pt x="1020" y="363"/>
                    </a:lnTo>
                    <a:lnTo>
                      <a:pt x="1020" y="360"/>
                    </a:lnTo>
                    <a:lnTo>
                      <a:pt x="1020" y="360"/>
                    </a:lnTo>
                    <a:lnTo>
                      <a:pt x="1018" y="358"/>
                    </a:lnTo>
                    <a:lnTo>
                      <a:pt x="1015" y="360"/>
                    </a:lnTo>
                    <a:lnTo>
                      <a:pt x="1013" y="360"/>
                    </a:lnTo>
                    <a:lnTo>
                      <a:pt x="1013" y="356"/>
                    </a:lnTo>
                    <a:lnTo>
                      <a:pt x="1013" y="354"/>
                    </a:lnTo>
                    <a:lnTo>
                      <a:pt x="1013" y="351"/>
                    </a:lnTo>
                    <a:lnTo>
                      <a:pt x="1010" y="353"/>
                    </a:lnTo>
                    <a:lnTo>
                      <a:pt x="1006" y="356"/>
                    </a:lnTo>
                    <a:lnTo>
                      <a:pt x="1006" y="360"/>
                    </a:lnTo>
                    <a:lnTo>
                      <a:pt x="1005" y="360"/>
                    </a:lnTo>
                    <a:lnTo>
                      <a:pt x="1003" y="358"/>
                    </a:lnTo>
                    <a:lnTo>
                      <a:pt x="1005" y="354"/>
                    </a:lnTo>
                    <a:lnTo>
                      <a:pt x="1005" y="353"/>
                    </a:lnTo>
                    <a:lnTo>
                      <a:pt x="1006" y="347"/>
                    </a:lnTo>
                    <a:lnTo>
                      <a:pt x="1003" y="344"/>
                    </a:lnTo>
                    <a:lnTo>
                      <a:pt x="1001" y="346"/>
                    </a:lnTo>
                    <a:lnTo>
                      <a:pt x="1001" y="344"/>
                    </a:lnTo>
                    <a:lnTo>
                      <a:pt x="1003" y="342"/>
                    </a:lnTo>
                    <a:lnTo>
                      <a:pt x="1005" y="340"/>
                    </a:lnTo>
                    <a:lnTo>
                      <a:pt x="1003" y="337"/>
                    </a:lnTo>
                    <a:lnTo>
                      <a:pt x="1001" y="337"/>
                    </a:lnTo>
                    <a:lnTo>
                      <a:pt x="998" y="337"/>
                    </a:lnTo>
                    <a:lnTo>
                      <a:pt x="998" y="337"/>
                    </a:lnTo>
                    <a:lnTo>
                      <a:pt x="996" y="337"/>
                    </a:lnTo>
                    <a:lnTo>
                      <a:pt x="998" y="337"/>
                    </a:lnTo>
                    <a:lnTo>
                      <a:pt x="996" y="335"/>
                    </a:lnTo>
                    <a:lnTo>
                      <a:pt x="994" y="335"/>
                    </a:lnTo>
                    <a:lnTo>
                      <a:pt x="992" y="337"/>
                    </a:lnTo>
                    <a:lnTo>
                      <a:pt x="987" y="337"/>
                    </a:lnTo>
                    <a:lnTo>
                      <a:pt x="987" y="337"/>
                    </a:lnTo>
                    <a:lnTo>
                      <a:pt x="989" y="335"/>
                    </a:lnTo>
                    <a:lnTo>
                      <a:pt x="991" y="332"/>
                    </a:lnTo>
                    <a:lnTo>
                      <a:pt x="992" y="328"/>
                    </a:lnTo>
                    <a:lnTo>
                      <a:pt x="994" y="328"/>
                    </a:lnTo>
                    <a:lnTo>
                      <a:pt x="998" y="333"/>
                    </a:lnTo>
                    <a:lnTo>
                      <a:pt x="1001" y="333"/>
                    </a:lnTo>
                    <a:lnTo>
                      <a:pt x="1001" y="332"/>
                    </a:lnTo>
                    <a:lnTo>
                      <a:pt x="998" y="328"/>
                    </a:lnTo>
                    <a:lnTo>
                      <a:pt x="996" y="327"/>
                    </a:lnTo>
                    <a:lnTo>
                      <a:pt x="998" y="327"/>
                    </a:lnTo>
                    <a:lnTo>
                      <a:pt x="992" y="321"/>
                    </a:lnTo>
                    <a:lnTo>
                      <a:pt x="989" y="320"/>
                    </a:lnTo>
                    <a:lnTo>
                      <a:pt x="991" y="320"/>
                    </a:lnTo>
                    <a:lnTo>
                      <a:pt x="992" y="318"/>
                    </a:lnTo>
                    <a:lnTo>
                      <a:pt x="994" y="318"/>
                    </a:lnTo>
                    <a:lnTo>
                      <a:pt x="996" y="320"/>
                    </a:lnTo>
                    <a:lnTo>
                      <a:pt x="998" y="323"/>
                    </a:lnTo>
                    <a:lnTo>
                      <a:pt x="1001" y="325"/>
                    </a:lnTo>
                    <a:lnTo>
                      <a:pt x="1005" y="328"/>
                    </a:lnTo>
                    <a:lnTo>
                      <a:pt x="1006" y="327"/>
                    </a:lnTo>
                    <a:lnTo>
                      <a:pt x="1008" y="328"/>
                    </a:lnTo>
                    <a:lnTo>
                      <a:pt x="1013" y="328"/>
                    </a:lnTo>
                    <a:lnTo>
                      <a:pt x="1018" y="328"/>
                    </a:lnTo>
                    <a:lnTo>
                      <a:pt x="1018" y="327"/>
                    </a:lnTo>
                    <a:lnTo>
                      <a:pt x="1018" y="323"/>
                    </a:lnTo>
                    <a:lnTo>
                      <a:pt x="1010" y="318"/>
                    </a:lnTo>
                    <a:lnTo>
                      <a:pt x="1008" y="314"/>
                    </a:lnTo>
                    <a:lnTo>
                      <a:pt x="1005" y="314"/>
                    </a:lnTo>
                    <a:lnTo>
                      <a:pt x="1005" y="311"/>
                    </a:lnTo>
                    <a:lnTo>
                      <a:pt x="1001" y="309"/>
                    </a:lnTo>
                    <a:lnTo>
                      <a:pt x="1001" y="309"/>
                    </a:lnTo>
                    <a:lnTo>
                      <a:pt x="998" y="306"/>
                    </a:lnTo>
                    <a:lnTo>
                      <a:pt x="1001" y="306"/>
                    </a:lnTo>
                    <a:lnTo>
                      <a:pt x="1001" y="306"/>
                    </a:lnTo>
                    <a:lnTo>
                      <a:pt x="1005" y="309"/>
                    </a:lnTo>
                    <a:lnTo>
                      <a:pt x="1006" y="309"/>
                    </a:lnTo>
                    <a:lnTo>
                      <a:pt x="1008" y="311"/>
                    </a:lnTo>
                    <a:lnTo>
                      <a:pt x="1010" y="311"/>
                    </a:lnTo>
                    <a:lnTo>
                      <a:pt x="1012" y="309"/>
                    </a:lnTo>
                    <a:lnTo>
                      <a:pt x="1010" y="304"/>
                    </a:lnTo>
                    <a:lnTo>
                      <a:pt x="1005" y="299"/>
                    </a:lnTo>
                    <a:lnTo>
                      <a:pt x="1003" y="299"/>
                    </a:lnTo>
                    <a:lnTo>
                      <a:pt x="1001" y="299"/>
                    </a:lnTo>
                    <a:lnTo>
                      <a:pt x="998" y="299"/>
                    </a:lnTo>
                    <a:lnTo>
                      <a:pt x="996" y="300"/>
                    </a:lnTo>
                    <a:lnTo>
                      <a:pt x="992" y="300"/>
                    </a:lnTo>
                    <a:lnTo>
                      <a:pt x="989" y="299"/>
                    </a:lnTo>
                    <a:lnTo>
                      <a:pt x="987" y="299"/>
                    </a:lnTo>
                    <a:lnTo>
                      <a:pt x="984" y="297"/>
                    </a:lnTo>
                    <a:lnTo>
                      <a:pt x="980" y="302"/>
                    </a:lnTo>
                    <a:lnTo>
                      <a:pt x="975" y="304"/>
                    </a:lnTo>
                    <a:lnTo>
                      <a:pt x="975" y="306"/>
                    </a:lnTo>
                    <a:lnTo>
                      <a:pt x="973" y="309"/>
                    </a:lnTo>
                    <a:lnTo>
                      <a:pt x="973" y="306"/>
                    </a:lnTo>
                    <a:lnTo>
                      <a:pt x="975" y="302"/>
                    </a:lnTo>
                    <a:lnTo>
                      <a:pt x="979" y="302"/>
                    </a:lnTo>
                    <a:lnTo>
                      <a:pt x="984" y="295"/>
                    </a:lnTo>
                    <a:lnTo>
                      <a:pt x="984" y="293"/>
                    </a:lnTo>
                    <a:lnTo>
                      <a:pt x="982" y="290"/>
                    </a:lnTo>
                    <a:lnTo>
                      <a:pt x="984" y="281"/>
                    </a:lnTo>
                    <a:lnTo>
                      <a:pt x="984" y="281"/>
                    </a:lnTo>
                    <a:lnTo>
                      <a:pt x="982" y="278"/>
                    </a:lnTo>
                    <a:lnTo>
                      <a:pt x="980" y="281"/>
                    </a:lnTo>
                    <a:lnTo>
                      <a:pt x="975" y="281"/>
                    </a:lnTo>
                    <a:lnTo>
                      <a:pt x="975" y="278"/>
                    </a:lnTo>
                    <a:lnTo>
                      <a:pt x="975" y="276"/>
                    </a:lnTo>
                    <a:lnTo>
                      <a:pt x="975" y="273"/>
                    </a:lnTo>
                    <a:lnTo>
                      <a:pt x="970" y="271"/>
                    </a:lnTo>
                    <a:lnTo>
                      <a:pt x="966" y="267"/>
                    </a:lnTo>
                    <a:lnTo>
                      <a:pt x="963" y="267"/>
                    </a:lnTo>
                    <a:lnTo>
                      <a:pt x="959" y="266"/>
                    </a:lnTo>
                    <a:lnTo>
                      <a:pt x="958" y="267"/>
                    </a:lnTo>
                    <a:lnTo>
                      <a:pt x="951" y="269"/>
                    </a:lnTo>
                    <a:lnTo>
                      <a:pt x="951" y="269"/>
                    </a:lnTo>
                    <a:lnTo>
                      <a:pt x="947" y="269"/>
                    </a:lnTo>
                    <a:lnTo>
                      <a:pt x="947" y="273"/>
                    </a:lnTo>
                    <a:lnTo>
                      <a:pt x="951" y="276"/>
                    </a:lnTo>
                    <a:lnTo>
                      <a:pt x="951" y="278"/>
                    </a:lnTo>
                    <a:lnTo>
                      <a:pt x="947" y="278"/>
                    </a:lnTo>
                    <a:lnTo>
                      <a:pt x="946" y="274"/>
                    </a:lnTo>
                    <a:lnTo>
                      <a:pt x="946" y="278"/>
                    </a:lnTo>
                    <a:lnTo>
                      <a:pt x="946" y="281"/>
                    </a:lnTo>
                    <a:lnTo>
                      <a:pt x="947" y="281"/>
                    </a:lnTo>
                    <a:lnTo>
                      <a:pt x="951" y="287"/>
                    </a:lnTo>
                    <a:lnTo>
                      <a:pt x="954" y="287"/>
                    </a:lnTo>
                    <a:lnTo>
                      <a:pt x="952" y="288"/>
                    </a:lnTo>
                    <a:lnTo>
                      <a:pt x="951" y="288"/>
                    </a:lnTo>
                    <a:lnTo>
                      <a:pt x="951" y="292"/>
                    </a:lnTo>
                    <a:lnTo>
                      <a:pt x="954" y="299"/>
                    </a:lnTo>
                    <a:lnTo>
                      <a:pt x="958" y="300"/>
                    </a:lnTo>
                    <a:lnTo>
                      <a:pt x="958" y="302"/>
                    </a:lnTo>
                    <a:lnTo>
                      <a:pt x="956" y="300"/>
                    </a:lnTo>
                    <a:lnTo>
                      <a:pt x="951" y="300"/>
                    </a:lnTo>
                    <a:lnTo>
                      <a:pt x="951" y="302"/>
                    </a:lnTo>
                    <a:lnTo>
                      <a:pt x="947" y="304"/>
                    </a:lnTo>
                    <a:lnTo>
                      <a:pt x="947" y="306"/>
                    </a:lnTo>
                    <a:lnTo>
                      <a:pt x="952" y="304"/>
                    </a:lnTo>
                    <a:lnTo>
                      <a:pt x="954" y="306"/>
                    </a:lnTo>
                    <a:lnTo>
                      <a:pt x="959" y="304"/>
                    </a:lnTo>
                    <a:lnTo>
                      <a:pt x="961" y="306"/>
                    </a:lnTo>
                    <a:lnTo>
                      <a:pt x="965" y="306"/>
                    </a:lnTo>
                    <a:lnTo>
                      <a:pt x="965" y="309"/>
                    </a:lnTo>
                    <a:lnTo>
                      <a:pt x="970" y="313"/>
                    </a:lnTo>
                    <a:lnTo>
                      <a:pt x="970" y="313"/>
                    </a:lnTo>
                    <a:lnTo>
                      <a:pt x="970" y="309"/>
                    </a:lnTo>
                    <a:lnTo>
                      <a:pt x="973" y="311"/>
                    </a:lnTo>
                    <a:lnTo>
                      <a:pt x="975" y="309"/>
                    </a:lnTo>
                    <a:lnTo>
                      <a:pt x="979" y="309"/>
                    </a:lnTo>
                    <a:lnTo>
                      <a:pt x="979" y="313"/>
                    </a:lnTo>
                    <a:lnTo>
                      <a:pt x="979" y="318"/>
                    </a:lnTo>
                    <a:lnTo>
                      <a:pt x="979" y="321"/>
                    </a:lnTo>
                    <a:lnTo>
                      <a:pt x="975" y="327"/>
                    </a:lnTo>
                    <a:lnTo>
                      <a:pt x="975" y="328"/>
                    </a:lnTo>
                    <a:lnTo>
                      <a:pt x="979" y="333"/>
                    </a:lnTo>
                    <a:lnTo>
                      <a:pt x="979" y="337"/>
                    </a:lnTo>
                    <a:lnTo>
                      <a:pt x="979" y="340"/>
                    </a:lnTo>
                    <a:lnTo>
                      <a:pt x="975" y="342"/>
                    </a:lnTo>
                    <a:lnTo>
                      <a:pt x="970" y="346"/>
                    </a:lnTo>
                    <a:lnTo>
                      <a:pt x="968" y="347"/>
                    </a:lnTo>
                    <a:lnTo>
                      <a:pt x="966" y="349"/>
                    </a:lnTo>
                    <a:lnTo>
                      <a:pt x="963" y="354"/>
                    </a:lnTo>
                    <a:lnTo>
                      <a:pt x="963" y="356"/>
                    </a:lnTo>
                    <a:lnTo>
                      <a:pt x="959" y="360"/>
                    </a:lnTo>
                    <a:lnTo>
                      <a:pt x="958" y="360"/>
                    </a:lnTo>
                    <a:lnTo>
                      <a:pt x="958" y="365"/>
                    </a:lnTo>
                    <a:lnTo>
                      <a:pt x="961" y="365"/>
                    </a:lnTo>
                    <a:lnTo>
                      <a:pt x="961" y="368"/>
                    </a:lnTo>
                    <a:lnTo>
                      <a:pt x="958" y="368"/>
                    </a:lnTo>
                    <a:lnTo>
                      <a:pt x="956" y="372"/>
                    </a:lnTo>
                    <a:lnTo>
                      <a:pt x="958" y="373"/>
                    </a:lnTo>
                    <a:lnTo>
                      <a:pt x="956" y="377"/>
                    </a:lnTo>
                    <a:lnTo>
                      <a:pt x="954" y="380"/>
                    </a:lnTo>
                    <a:lnTo>
                      <a:pt x="956" y="384"/>
                    </a:lnTo>
                    <a:lnTo>
                      <a:pt x="959" y="384"/>
                    </a:lnTo>
                    <a:lnTo>
                      <a:pt x="959" y="387"/>
                    </a:lnTo>
                    <a:lnTo>
                      <a:pt x="961" y="387"/>
                    </a:lnTo>
                    <a:lnTo>
                      <a:pt x="963" y="387"/>
                    </a:lnTo>
                    <a:lnTo>
                      <a:pt x="965" y="386"/>
                    </a:lnTo>
                    <a:lnTo>
                      <a:pt x="965" y="384"/>
                    </a:lnTo>
                    <a:lnTo>
                      <a:pt x="966" y="386"/>
                    </a:lnTo>
                    <a:lnTo>
                      <a:pt x="968" y="386"/>
                    </a:lnTo>
                    <a:lnTo>
                      <a:pt x="970" y="380"/>
                    </a:lnTo>
                    <a:lnTo>
                      <a:pt x="973" y="382"/>
                    </a:lnTo>
                    <a:lnTo>
                      <a:pt x="970" y="387"/>
                    </a:lnTo>
                    <a:lnTo>
                      <a:pt x="968" y="387"/>
                    </a:lnTo>
                    <a:lnTo>
                      <a:pt x="968" y="387"/>
                    </a:lnTo>
                    <a:lnTo>
                      <a:pt x="968" y="391"/>
                    </a:lnTo>
                    <a:lnTo>
                      <a:pt x="970" y="393"/>
                    </a:lnTo>
                    <a:lnTo>
                      <a:pt x="970" y="396"/>
                    </a:lnTo>
                    <a:lnTo>
                      <a:pt x="975" y="396"/>
                    </a:lnTo>
                    <a:lnTo>
                      <a:pt x="975" y="396"/>
                    </a:lnTo>
                    <a:lnTo>
                      <a:pt x="980" y="396"/>
                    </a:lnTo>
                    <a:lnTo>
                      <a:pt x="982" y="396"/>
                    </a:lnTo>
                    <a:lnTo>
                      <a:pt x="985" y="393"/>
                    </a:lnTo>
                    <a:lnTo>
                      <a:pt x="985" y="391"/>
                    </a:lnTo>
                    <a:lnTo>
                      <a:pt x="987" y="391"/>
                    </a:lnTo>
                    <a:lnTo>
                      <a:pt x="989" y="387"/>
                    </a:lnTo>
                    <a:lnTo>
                      <a:pt x="989" y="391"/>
                    </a:lnTo>
                    <a:lnTo>
                      <a:pt x="989" y="393"/>
                    </a:lnTo>
                    <a:lnTo>
                      <a:pt x="989" y="393"/>
                    </a:lnTo>
                    <a:lnTo>
                      <a:pt x="991" y="393"/>
                    </a:lnTo>
                    <a:lnTo>
                      <a:pt x="992" y="387"/>
                    </a:lnTo>
                    <a:lnTo>
                      <a:pt x="996" y="387"/>
                    </a:lnTo>
                    <a:lnTo>
                      <a:pt x="996" y="387"/>
                    </a:lnTo>
                    <a:lnTo>
                      <a:pt x="996" y="393"/>
                    </a:lnTo>
                    <a:lnTo>
                      <a:pt x="991" y="398"/>
                    </a:lnTo>
                    <a:lnTo>
                      <a:pt x="989" y="400"/>
                    </a:lnTo>
                    <a:lnTo>
                      <a:pt x="989" y="403"/>
                    </a:lnTo>
                    <a:lnTo>
                      <a:pt x="992" y="405"/>
                    </a:lnTo>
                    <a:lnTo>
                      <a:pt x="996" y="407"/>
                    </a:lnTo>
                    <a:lnTo>
                      <a:pt x="998" y="407"/>
                    </a:lnTo>
                    <a:lnTo>
                      <a:pt x="998" y="408"/>
                    </a:lnTo>
                    <a:lnTo>
                      <a:pt x="1001" y="408"/>
                    </a:lnTo>
                    <a:lnTo>
                      <a:pt x="1003" y="405"/>
                    </a:lnTo>
                    <a:lnTo>
                      <a:pt x="1006" y="405"/>
                    </a:lnTo>
                    <a:lnTo>
                      <a:pt x="1005" y="407"/>
                    </a:lnTo>
                    <a:lnTo>
                      <a:pt x="1006" y="410"/>
                    </a:lnTo>
                    <a:lnTo>
                      <a:pt x="1008" y="410"/>
                    </a:lnTo>
                    <a:lnTo>
                      <a:pt x="1012" y="412"/>
                    </a:lnTo>
                    <a:lnTo>
                      <a:pt x="1013" y="410"/>
                    </a:lnTo>
                    <a:lnTo>
                      <a:pt x="1012" y="408"/>
                    </a:lnTo>
                    <a:lnTo>
                      <a:pt x="1012" y="405"/>
                    </a:lnTo>
                    <a:lnTo>
                      <a:pt x="1015" y="403"/>
                    </a:lnTo>
                    <a:lnTo>
                      <a:pt x="1015" y="405"/>
                    </a:lnTo>
                    <a:lnTo>
                      <a:pt x="1015" y="408"/>
                    </a:lnTo>
                    <a:lnTo>
                      <a:pt x="1015" y="412"/>
                    </a:lnTo>
                    <a:lnTo>
                      <a:pt x="1017" y="412"/>
                    </a:lnTo>
                    <a:lnTo>
                      <a:pt x="1018" y="408"/>
                    </a:lnTo>
                    <a:lnTo>
                      <a:pt x="1020" y="407"/>
                    </a:lnTo>
                    <a:lnTo>
                      <a:pt x="1020" y="407"/>
                    </a:lnTo>
                    <a:lnTo>
                      <a:pt x="1020" y="408"/>
                    </a:lnTo>
                    <a:lnTo>
                      <a:pt x="1020" y="410"/>
                    </a:lnTo>
                    <a:lnTo>
                      <a:pt x="1020" y="412"/>
                    </a:lnTo>
                    <a:lnTo>
                      <a:pt x="1024" y="412"/>
                    </a:lnTo>
                    <a:lnTo>
                      <a:pt x="1025" y="410"/>
                    </a:lnTo>
                    <a:lnTo>
                      <a:pt x="1029" y="405"/>
                    </a:lnTo>
                    <a:lnTo>
                      <a:pt x="1029" y="408"/>
                    </a:lnTo>
                    <a:lnTo>
                      <a:pt x="1029" y="410"/>
                    </a:lnTo>
                    <a:lnTo>
                      <a:pt x="1029" y="412"/>
                    </a:lnTo>
                    <a:lnTo>
                      <a:pt x="1032" y="412"/>
                    </a:lnTo>
                    <a:lnTo>
                      <a:pt x="1034" y="407"/>
                    </a:lnTo>
                    <a:lnTo>
                      <a:pt x="1034" y="405"/>
                    </a:lnTo>
                    <a:lnTo>
                      <a:pt x="1034" y="412"/>
                    </a:lnTo>
                    <a:lnTo>
                      <a:pt x="1034" y="415"/>
                    </a:lnTo>
                    <a:lnTo>
                      <a:pt x="1038" y="415"/>
                    </a:lnTo>
                    <a:lnTo>
                      <a:pt x="1043" y="415"/>
                    </a:lnTo>
                    <a:lnTo>
                      <a:pt x="1046" y="415"/>
                    </a:lnTo>
                    <a:lnTo>
                      <a:pt x="1048" y="415"/>
                    </a:lnTo>
                    <a:lnTo>
                      <a:pt x="1048" y="419"/>
                    </a:lnTo>
                    <a:lnTo>
                      <a:pt x="1052" y="415"/>
                    </a:lnTo>
                    <a:lnTo>
                      <a:pt x="1055" y="415"/>
                    </a:lnTo>
                    <a:lnTo>
                      <a:pt x="1055" y="412"/>
                    </a:lnTo>
                    <a:lnTo>
                      <a:pt x="1058" y="408"/>
                    </a:lnTo>
                    <a:lnTo>
                      <a:pt x="1058" y="407"/>
                    </a:lnTo>
                    <a:lnTo>
                      <a:pt x="1057" y="403"/>
                    </a:lnTo>
                    <a:lnTo>
                      <a:pt x="1058" y="400"/>
                    </a:lnTo>
                    <a:lnTo>
                      <a:pt x="1060" y="400"/>
                    </a:lnTo>
                    <a:lnTo>
                      <a:pt x="1060" y="405"/>
                    </a:lnTo>
                    <a:lnTo>
                      <a:pt x="1062" y="405"/>
                    </a:lnTo>
                    <a:lnTo>
                      <a:pt x="1064" y="407"/>
                    </a:lnTo>
                    <a:lnTo>
                      <a:pt x="1060" y="408"/>
                    </a:lnTo>
                    <a:lnTo>
                      <a:pt x="1058" y="413"/>
                    </a:lnTo>
                    <a:lnTo>
                      <a:pt x="1058" y="419"/>
                    </a:lnTo>
                    <a:lnTo>
                      <a:pt x="1058" y="419"/>
                    </a:lnTo>
                    <a:lnTo>
                      <a:pt x="1058" y="419"/>
                    </a:lnTo>
                    <a:lnTo>
                      <a:pt x="1058" y="419"/>
                    </a:lnTo>
                    <a:close/>
                    <a:moveTo>
                      <a:pt x="944" y="266"/>
                    </a:moveTo>
                    <a:lnTo>
                      <a:pt x="946" y="264"/>
                    </a:lnTo>
                    <a:lnTo>
                      <a:pt x="946" y="262"/>
                    </a:lnTo>
                    <a:lnTo>
                      <a:pt x="944" y="262"/>
                    </a:lnTo>
                    <a:lnTo>
                      <a:pt x="942" y="264"/>
                    </a:lnTo>
                    <a:lnTo>
                      <a:pt x="944" y="266"/>
                    </a:lnTo>
                    <a:lnTo>
                      <a:pt x="944" y="266"/>
                    </a:lnTo>
                    <a:lnTo>
                      <a:pt x="944" y="266"/>
                    </a:lnTo>
                    <a:lnTo>
                      <a:pt x="944" y="266"/>
                    </a:lnTo>
                    <a:close/>
                    <a:moveTo>
                      <a:pt x="937" y="287"/>
                    </a:moveTo>
                    <a:lnTo>
                      <a:pt x="939" y="283"/>
                    </a:lnTo>
                    <a:lnTo>
                      <a:pt x="940" y="281"/>
                    </a:lnTo>
                    <a:lnTo>
                      <a:pt x="940" y="283"/>
                    </a:lnTo>
                    <a:lnTo>
                      <a:pt x="939" y="287"/>
                    </a:lnTo>
                    <a:lnTo>
                      <a:pt x="937" y="287"/>
                    </a:lnTo>
                    <a:lnTo>
                      <a:pt x="937" y="287"/>
                    </a:lnTo>
                    <a:lnTo>
                      <a:pt x="937" y="287"/>
                    </a:lnTo>
                    <a:lnTo>
                      <a:pt x="937" y="287"/>
                    </a:lnTo>
                    <a:close/>
                    <a:moveTo>
                      <a:pt x="855" y="318"/>
                    </a:moveTo>
                    <a:lnTo>
                      <a:pt x="853" y="318"/>
                    </a:lnTo>
                    <a:lnTo>
                      <a:pt x="855" y="318"/>
                    </a:lnTo>
                    <a:lnTo>
                      <a:pt x="855" y="318"/>
                    </a:lnTo>
                    <a:lnTo>
                      <a:pt x="855" y="318"/>
                    </a:lnTo>
                    <a:lnTo>
                      <a:pt x="855" y="318"/>
                    </a:lnTo>
                    <a:lnTo>
                      <a:pt x="855" y="318"/>
                    </a:lnTo>
                    <a:lnTo>
                      <a:pt x="855" y="318"/>
                    </a:lnTo>
                    <a:close/>
                    <a:moveTo>
                      <a:pt x="907" y="264"/>
                    </a:moveTo>
                    <a:lnTo>
                      <a:pt x="907" y="266"/>
                    </a:lnTo>
                    <a:lnTo>
                      <a:pt x="909" y="269"/>
                    </a:lnTo>
                    <a:lnTo>
                      <a:pt x="911" y="271"/>
                    </a:lnTo>
                    <a:lnTo>
                      <a:pt x="913" y="269"/>
                    </a:lnTo>
                    <a:lnTo>
                      <a:pt x="911" y="266"/>
                    </a:lnTo>
                    <a:lnTo>
                      <a:pt x="909" y="264"/>
                    </a:lnTo>
                    <a:lnTo>
                      <a:pt x="907" y="264"/>
                    </a:lnTo>
                    <a:lnTo>
                      <a:pt x="907" y="264"/>
                    </a:lnTo>
                    <a:lnTo>
                      <a:pt x="907" y="264"/>
                    </a:lnTo>
                    <a:lnTo>
                      <a:pt x="907" y="264"/>
                    </a:lnTo>
                    <a:close/>
                    <a:moveTo>
                      <a:pt x="883" y="266"/>
                    </a:moveTo>
                    <a:lnTo>
                      <a:pt x="883" y="267"/>
                    </a:lnTo>
                    <a:lnTo>
                      <a:pt x="885" y="269"/>
                    </a:lnTo>
                    <a:lnTo>
                      <a:pt x="886" y="267"/>
                    </a:lnTo>
                    <a:lnTo>
                      <a:pt x="890" y="266"/>
                    </a:lnTo>
                    <a:lnTo>
                      <a:pt x="893" y="267"/>
                    </a:lnTo>
                    <a:lnTo>
                      <a:pt x="897" y="264"/>
                    </a:lnTo>
                    <a:lnTo>
                      <a:pt x="899" y="264"/>
                    </a:lnTo>
                    <a:lnTo>
                      <a:pt x="902" y="262"/>
                    </a:lnTo>
                    <a:lnTo>
                      <a:pt x="900" y="260"/>
                    </a:lnTo>
                    <a:lnTo>
                      <a:pt x="897" y="260"/>
                    </a:lnTo>
                    <a:lnTo>
                      <a:pt x="893" y="262"/>
                    </a:lnTo>
                    <a:lnTo>
                      <a:pt x="893" y="262"/>
                    </a:lnTo>
                    <a:lnTo>
                      <a:pt x="890" y="264"/>
                    </a:lnTo>
                    <a:lnTo>
                      <a:pt x="890" y="264"/>
                    </a:lnTo>
                    <a:lnTo>
                      <a:pt x="888" y="262"/>
                    </a:lnTo>
                    <a:lnTo>
                      <a:pt x="885" y="264"/>
                    </a:lnTo>
                    <a:lnTo>
                      <a:pt x="883" y="266"/>
                    </a:lnTo>
                    <a:lnTo>
                      <a:pt x="883" y="266"/>
                    </a:lnTo>
                    <a:lnTo>
                      <a:pt x="883" y="266"/>
                    </a:lnTo>
                    <a:lnTo>
                      <a:pt x="883" y="266"/>
                    </a:lnTo>
                    <a:close/>
                    <a:moveTo>
                      <a:pt x="855" y="274"/>
                    </a:moveTo>
                    <a:lnTo>
                      <a:pt x="853" y="273"/>
                    </a:lnTo>
                    <a:lnTo>
                      <a:pt x="848" y="273"/>
                    </a:lnTo>
                    <a:lnTo>
                      <a:pt x="846" y="271"/>
                    </a:lnTo>
                    <a:lnTo>
                      <a:pt x="846" y="266"/>
                    </a:lnTo>
                    <a:lnTo>
                      <a:pt x="846" y="264"/>
                    </a:lnTo>
                    <a:lnTo>
                      <a:pt x="848" y="260"/>
                    </a:lnTo>
                    <a:lnTo>
                      <a:pt x="846" y="259"/>
                    </a:lnTo>
                    <a:lnTo>
                      <a:pt x="848" y="255"/>
                    </a:lnTo>
                    <a:lnTo>
                      <a:pt x="852" y="255"/>
                    </a:lnTo>
                    <a:lnTo>
                      <a:pt x="855" y="255"/>
                    </a:lnTo>
                    <a:lnTo>
                      <a:pt x="855" y="255"/>
                    </a:lnTo>
                    <a:lnTo>
                      <a:pt x="857" y="255"/>
                    </a:lnTo>
                    <a:lnTo>
                      <a:pt x="859" y="259"/>
                    </a:lnTo>
                    <a:lnTo>
                      <a:pt x="855" y="259"/>
                    </a:lnTo>
                    <a:lnTo>
                      <a:pt x="855" y="260"/>
                    </a:lnTo>
                    <a:lnTo>
                      <a:pt x="857" y="260"/>
                    </a:lnTo>
                    <a:lnTo>
                      <a:pt x="860" y="260"/>
                    </a:lnTo>
                    <a:lnTo>
                      <a:pt x="859" y="262"/>
                    </a:lnTo>
                    <a:lnTo>
                      <a:pt x="859" y="264"/>
                    </a:lnTo>
                    <a:lnTo>
                      <a:pt x="859" y="267"/>
                    </a:lnTo>
                    <a:lnTo>
                      <a:pt x="860" y="271"/>
                    </a:lnTo>
                    <a:lnTo>
                      <a:pt x="859" y="274"/>
                    </a:lnTo>
                    <a:lnTo>
                      <a:pt x="855" y="274"/>
                    </a:lnTo>
                    <a:lnTo>
                      <a:pt x="855" y="274"/>
                    </a:lnTo>
                    <a:lnTo>
                      <a:pt x="855" y="274"/>
                    </a:lnTo>
                    <a:lnTo>
                      <a:pt x="855" y="274"/>
                    </a:lnTo>
                    <a:close/>
                    <a:moveTo>
                      <a:pt x="852" y="287"/>
                    </a:moveTo>
                    <a:lnTo>
                      <a:pt x="859" y="287"/>
                    </a:lnTo>
                    <a:lnTo>
                      <a:pt x="860" y="287"/>
                    </a:lnTo>
                    <a:lnTo>
                      <a:pt x="864" y="281"/>
                    </a:lnTo>
                    <a:lnTo>
                      <a:pt x="860" y="278"/>
                    </a:lnTo>
                    <a:lnTo>
                      <a:pt x="857" y="278"/>
                    </a:lnTo>
                    <a:lnTo>
                      <a:pt x="853" y="276"/>
                    </a:lnTo>
                    <a:lnTo>
                      <a:pt x="848" y="276"/>
                    </a:lnTo>
                    <a:lnTo>
                      <a:pt x="846" y="276"/>
                    </a:lnTo>
                    <a:lnTo>
                      <a:pt x="843" y="276"/>
                    </a:lnTo>
                    <a:lnTo>
                      <a:pt x="843" y="278"/>
                    </a:lnTo>
                    <a:lnTo>
                      <a:pt x="841" y="278"/>
                    </a:lnTo>
                    <a:lnTo>
                      <a:pt x="840" y="281"/>
                    </a:lnTo>
                    <a:lnTo>
                      <a:pt x="841" y="281"/>
                    </a:lnTo>
                    <a:lnTo>
                      <a:pt x="841" y="281"/>
                    </a:lnTo>
                    <a:lnTo>
                      <a:pt x="843" y="283"/>
                    </a:lnTo>
                    <a:lnTo>
                      <a:pt x="846" y="287"/>
                    </a:lnTo>
                    <a:lnTo>
                      <a:pt x="846" y="287"/>
                    </a:lnTo>
                    <a:lnTo>
                      <a:pt x="852" y="287"/>
                    </a:lnTo>
                    <a:lnTo>
                      <a:pt x="852" y="287"/>
                    </a:lnTo>
                    <a:lnTo>
                      <a:pt x="852" y="287"/>
                    </a:lnTo>
                    <a:lnTo>
                      <a:pt x="852" y="287"/>
                    </a:lnTo>
                    <a:close/>
                    <a:moveTo>
                      <a:pt x="840" y="292"/>
                    </a:moveTo>
                    <a:lnTo>
                      <a:pt x="846" y="293"/>
                    </a:lnTo>
                    <a:lnTo>
                      <a:pt x="852" y="292"/>
                    </a:lnTo>
                    <a:lnTo>
                      <a:pt x="853" y="292"/>
                    </a:lnTo>
                    <a:lnTo>
                      <a:pt x="853" y="293"/>
                    </a:lnTo>
                    <a:lnTo>
                      <a:pt x="857" y="292"/>
                    </a:lnTo>
                    <a:lnTo>
                      <a:pt x="860" y="292"/>
                    </a:lnTo>
                    <a:lnTo>
                      <a:pt x="860" y="290"/>
                    </a:lnTo>
                    <a:lnTo>
                      <a:pt x="857" y="288"/>
                    </a:lnTo>
                    <a:lnTo>
                      <a:pt x="852" y="290"/>
                    </a:lnTo>
                    <a:lnTo>
                      <a:pt x="846" y="290"/>
                    </a:lnTo>
                    <a:lnTo>
                      <a:pt x="846" y="288"/>
                    </a:lnTo>
                    <a:lnTo>
                      <a:pt x="841" y="288"/>
                    </a:lnTo>
                    <a:lnTo>
                      <a:pt x="840" y="290"/>
                    </a:lnTo>
                    <a:lnTo>
                      <a:pt x="840" y="292"/>
                    </a:lnTo>
                    <a:lnTo>
                      <a:pt x="840" y="292"/>
                    </a:lnTo>
                    <a:lnTo>
                      <a:pt x="840" y="292"/>
                    </a:lnTo>
                    <a:lnTo>
                      <a:pt x="840" y="292"/>
                    </a:lnTo>
                    <a:close/>
                    <a:moveTo>
                      <a:pt x="838" y="300"/>
                    </a:moveTo>
                    <a:lnTo>
                      <a:pt x="841" y="300"/>
                    </a:lnTo>
                    <a:lnTo>
                      <a:pt x="843" y="299"/>
                    </a:lnTo>
                    <a:lnTo>
                      <a:pt x="846" y="297"/>
                    </a:lnTo>
                    <a:lnTo>
                      <a:pt x="853" y="295"/>
                    </a:lnTo>
                    <a:lnTo>
                      <a:pt x="855" y="295"/>
                    </a:lnTo>
                    <a:lnTo>
                      <a:pt x="857" y="295"/>
                    </a:lnTo>
                    <a:lnTo>
                      <a:pt x="860" y="295"/>
                    </a:lnTo>
                    <a:lnTo>
                      <a:pt x="860" y="297"/>
                    </a:lnTo>
                    <a:lnTo>
                      <a:pt x="857" y="299"/>
                    </a:lnTo>
                    <a:lnTo>
                      <a:pt x="855" y="299"/>
                    </a:lnTo>
                    <a:lnTo>
                      <a:pt x="852" y="300"/>
                    </a:lnTo>
                    <a:lnTo>
                      <a:pt x="852" y="302"/>
                    </a:lnTo>
                    <a:lnTo>
                      <a:pt x="846" y="304"/>
                    </a:lnTo>
                    <a:lnTo>
                      <a:pt x="843" y="302"/>
                    </a:lnTo>
                    <a:lnTo>
                      <a:pt x="841" y="302"/>
                    </a:lnTo>
                    <a:lnTo>
                      <a:pt x="840" y="302"/>
                    </a:lnTo>
                    <a:lnTo>
                      <a:pt x="838" y="302"/>
                    </a:lnTo>
                    <a:lnTo>
                      <a:pt x="838" y="300"/>
                    </a:lnTo>
                    <a:lnTo>
                      <a:pt x="838" y="300"/>
                    </a:lnTo>
                    <a:lnTo>
                      <a:pt x="838" y="300"/>
                    </a:lnTo>
                    <a:lnTo>
                      <a:pt x="838" y="300"/>
                    </a:lnTo>
                    <a:close/>
                    <a:moveTo>
                      <a:pt x="758" y="196"/>
                    </a:moveTo>
                    <a:lnTo>
                      <a:pt x="756" y="196"/>
                    </a:lnTo>
                    <a:lnTo>
                      <a:pt x="758" y="194"/>
                    </a:lnTo>
                    <a:lnTo>
                      <a:pt x="761" y="194"/>
                    </a:lnTo>
                    <a:lnTo>
                      <a:pt x="760" y="196"/>
                    </a:lnTo>
                    <a:lnTo>
                      <a:pt x="758" y="196"/>
                    </a:lnTo>
                    <a:lnTo>
                      <a:pt x="758" y="196"/>
                    </a:lnTo>
                    <a:lnTo>
                      <a:pt x="758" y="196"/>
                    </a:lnTo>
                    <a:lnTo>
                      <a:pt x="758" y="196"/>
                    </a:lnTo>
                    <a:close/>
                    <a:moveTo>
                      <a:pt x="735" y="208"/>
                    </a:moveTo>
                    <a:lnTo>
                      <a:pt x="739" y="208"/>
                    </a:lnTo>
                    <a:lnTo>
                      <a:pt x="739" y="205"/>
                    </a:lnTo>
                    <a:lnTo>
                      <a:pt x="744" y="208"/>
                    </a:lnTo>
                    <a:lnTo>
                      <a:pt x="747" y="208"/>
                    </a:lnTo>
                    <a:lnTo>
                      <a:pt x="749" y="208"/>
                    </a:lnTo>
                    <a:lnTo>
                      <a:pt x="749" y="210"/>
                    </a:lnTo>
                    <a:lnTo>
                      <a:pt x="751" y="212"/>
                    </a:lnTo>
                    <a:lnTo>
                      <a:pt x="749" y="215"/>
                    </a:lnTo>
                    <a:lnTo>
                      <a:pt x="747" y="217"/>
                    </a:lnTo>
                    <a:lnTo>
                      <a:pt x="744" y="215"/>
                    </a:lnTo>
                    <a:lnTo>
                      <a:pt x="742" y="215"/>
                    </a:lnTo>
                    <a:lnTo>
                      <a:pt x="739" y="212"/>
                    </a:lnTo>
                    <a:lnTo>
                      <a:pt x="739" y="208"/>
                    </a:lnTo>
                    <a:lnTo>
                      <a:pt x="735" y="208"/>
                    </a:lnTo>
                    <a:lnTo>
                      <a:pt x="735" y="208"/>
                    </a:lnTo>
                    <a:lnTo>
                      <a:pt x="735" y="208"/>
                    </a:lnTo>
                    <a:lnTo>
                      <a:pt x="735" y="208"/>
                    </a:lnTo>
                    <a:lnTo>
                      <a:pt x="735" y="208"/>
                    </a:lnTo>
                    <a:lnTo>
                      <a:pt x="735" y="208"/>
                    </a:lnTo>
                    <a:close/>
                    <a:moveTo>
                      <a:pt x="617" y="214"/>
                    </a:moveTo>
                    <a:lnTo>
                      <a:pt x="612" y="214"/>
                    </a:lnTo>
                    <a:lnTo>
                      <a:pt x="612" y="212"/>
                    </a:lnTo>
                    <a:lnTo>
                      <a:pt x="612" y="210"/>
                    </a:lnTo>
                    <a:lnTo>
                      <a:pt x="617" y="212"/>
                    </a:lnTo>
                    <a:lnTo>
                      <a:pt x="617" y="214"/>
                    </a:lnTo>
                    <a:lnTo>
                      <a:pt x="617" y="214"/>
                    </a:lnTo>
                    <a:lnTo>
                      <a:pt x="617" y="214"/>
                    </a:lnTo>
                    <a:lnTo>
                      <a:pt x="617" y="214"/>
                    </a:lnTo>
                    <a:lnTo>
                      <a:pt x="617" y="214"/>
                    </a:lnTo>
                    <a:close/>
                    <a:moveTo>
                      <a:pt x="628" y="231"/>
                    </a:moveTo>
                    <a:lnTo>
                      <a:pt x="633" y="227"/>
                    </a:lnTo>
                    <a:lnTo>
                      <a:pt x="633" y="231"/>
                    </a:lnTo>
                    <a:lnTo>
                      <a:pt x="628" y="231"/>
                    </a:lnTo>
                    <a:lnTo>
                      <a:pt x="628" y="231"/>
                    </a:lnTo>
                    <a:lnTo>
                      <a:pt x="628" y="231"/>
                    </a:lnTo>
                    <a:lnTo>
                      <a:pt x="628" y="231"/>
                    </a:lnTo>
                    <a:lnTo>
                      <a:pt x="628" y="231"/>
                    </a:lnTo>
                    <a:lnTo>
                      <a:pt x="628" y="231"/>
                    </a:lnTo>
                    <a:close/>
                    <a:moveTo>
                      <a:pt x="634" y="227"/>
                    </a:moveTo>
                    <a:lnTo>
                      <a:pt x="636" y="224"/>
                    </a:lnTo>
                    <a:lnTo>
                      <a:pt x="636" y="222"/>
                    </a:lnTo>
                    <a:lnTo>
                      <a:pt x="638" y="219"/>
                    </a:lnTo>
                    <a:lnTo>
                      <a:pt x="640" y="217"/>
                    </a:lnTo>
                    <a:lnTo>
                      <a:pt x="640" y="215"/>
                    </a:lnTo>
                    <a:lnTo>
                      <a:pt x="643" y="214"/>
                    </a:lnTo>
                    <a:lnTo>
                      <a:pt x="647" y="215"/>
                    </a:lnTo>
                    <a:lnTo>
                      <a:pt x="647" y="217"/>
                    </a:lnTo>
                    <a:lnTo>
                      <a:pt x="643" y="219"/>
                    </a:lnTo>
                    <a:lnTo>
                      <a:pt x="640" y="224"/>
                    </a:lnTo>
                    <a:lnTo>
                      <a:pt x="643" y="227"/>
                    </a:lnTo>
                    <a:lnTo>
                      <a:pt x="640" y="227"/>
                    </a:lnTo>
                    <a:lnTo>
                      <a:pt x="640" y="231"/>
                    </a:lnTo>
                    <a:lnTo>
                      <a:pt x="640" y="233"/>
                    </a:lnTo>
                    <a:lnTo>
                      <a:pt x="643" y="231"/>
                    </a:lnTo>
                    <a:lnTo>
                      <a:pt x="643" y="231"/>
                    </a:lnTo>
                    <a:lnTo>
                      <a:pt x="643" y="233"/>
                    </a:lnTo>
                    <a:lnTo>
                      <a:pt x="647" y="234"/>
                    </a:lnTo>
                    <a:lnTo>
                      <a:pt x="650" y="231"/>
                    </a:lnTo>
                    <a:lnTo>
                      <a:pt x="654" y="227"/>
                    </a:lnTo>
                    <a:lnTo>
                      <a:pt x="655" y="227"/>
                    </a:lnTo>
                    <a:lnTo>
                      <a:pt x="657" y="224"/>
                    </a:lnTo>
                    <a:lnTo>
                      <a:pt x="657" y="222"/>
                    </a:lnTo>
                    <a:lnTo>
                      <a:pt x="659" y="222"/>
                    </a:lnTo>
                    <a:lnTo>
                      <a:pt x="662" y="219"/>
                    </a:lnTo>
                    <a:lnTo>
                      <a:pt x="662" y="214"/>
                    </a:lnTo>
                    <a:lnTo>
                      <a:pt x="662" y="214"/>
                    </a:lnTo>
                    <a:lnTo>
                      <a:pt x="662" y="214"/>
                    </a:lnTo>
                    <a:lnTo>
                      <a:pt x="662" y="217"/>
                    </a:lnTo>
                    <a:lnTo>
                      <a:pt x="662" y="219"/>
                    </a:lnTo>
                    <a:lnTo>
                      <a:pt x="662" y="224"/>
                    </a:lnTo>
                    <a:lnTo>
                      <a:pt x="666" y="227"/>
                    </a:lnTo>
                    <a:lnTo>
                      <a:pt x="666" y="227"/>
                    </a:lnTo>
                    <a:lnTo>
                      <a:pt x="669" y="224"/>
                    </a:lnTo>
                    <a:lnTo>
                      <a:pt x="669" y="219"/>
                    </a:lnTo>
                    <a:lnTo>
                      <a:pt x="671" y="219"/>
                    </a:lnTo>
                    <a:lnTo>
                      <a:pt x="674" y="217"/>
                    </a:lnTo>
                    <a:lnTo>
                      <a:pt x="676" y="212"/>
                    </a:lnTo>
                    <a:lnTo>
                      <a:pt x="676" y="208"/>
                    </a:lnTo>
                    <a:lnTo>
                      <a:pt x="676" y="205"/>
                    </a:lnTo>
                    <a:lnTo>
                      <a:pt x="678" y="201"/>
                    </a:lnTo>
                    <a:lnTo>
                      <a:pt x="680" y="205"/>
                    </a:lnTo>
                    <a:lnTo>
                      <a:pt x="685" y="201"/>
                    </a:lnTo>
                    <a:lnTo>
                      <a:pt x="688" y="196"/>
                    </a:lnTo>
                    <a:lnTo>
                      <a:pt x="688" y="194"/>
                    </a:lnTo>
                    <a:lnTo>
                      <a:pt x="692" y="194"/>
                    </a:lnTo>
                    <a:lnTo>
                      <a:pt x="694" y="193"/>
                    </a:lnTo>
                    <a:lnTo>
                      <a:pt x="694" y="194"/>
                    </a:lnTo>
                    <a:lnTo>
                      <a:pt x="697" y="193"/>
                    </a:lnTo>
                    <a:lnTo>
                      <a:pt x="699" y="193"/>
                    </a:lnTo>
                    <a:lnTo>
                      <a:pt x="697" y="200"/>
                    </a:lnTo>
                    <a:lnTo>
                      <a:pt x="694" y="203"/>
                    </a:lnTo>
                    <a:lnTo>
                      <a:pt x="694" y="208"/>
                    </a:lnTo>
                    <a:lnTo>
                      <a:pt x="692" y="208"/>
                    </a:lnTo>
                    <a:lnTo>
                      <a:pt x="690" y="210"/>
                    </a:lnTo>
                    <a:lnTo>
                      <a:pt x="688" y="212"/>
                    </a:lnTo>
                    <a:lnTo>
                      <a:pt x="683" y="219"/>
                    </a:lnTo>
                    <a:lnTo>
                      <a:pt x="683" y="222"/>
                    </a:lnTo>
                    <a:lnTo>
                      <a:pt x="685" y="224"/>
                    </a:lnTo>
                    <a:lnTo>
                      <a:pt x="685" y="227"/>
                    </a:lnTo>
                    <a:lnTo>
                      <a:pt x="685" y="227"/>
                    </a:lnTo>
                    <a:lnTo>
                      <a:pt x="690" y="227"/>
                    </a:lnTo>
                    <a:lnTo>
                      <a:pt x="692" y="227"/>
                    </a:lnTo>
                    <a:lnTo>
                      <a:pt x="694" y="224"/>
                    </a:lnTo>
                    <a:lnTo>
                      <a:pt x="697" y="222"/>
                    </a:lnTo>
                    <a:lnTo>
                      <a:pt x="697" y="219"/>
                    </a:lnTo>
                    <a:lnTo>
                      <a:pt x="697" y="217"/>
                    </a:lnTo>
                    <a:lnTo>
                      <a:pt x="699" y="214"/>
                    </a:lnTo>
                    <a:lnTo>
                      <a:pt x="702" y="214"/>
                    </a:lnTo>
                    <a:lnTo>
                      <a:pt x="704" y="214"/>
                    </a:lnTo>
                    <a:lnTo>
                      <a:pt x="706" y="215"/>
                    </a:lnTo>
                    <a:lnTo>
                      <a:pt x="709" y="215"/>
                    </a:lnTo>
                    <a:lnTo>
                      <a:pt x="711" y="214"/>
                    </a:lnTo>
                    <a:lnTo>
                      <a:pt x="716" y="212"/>
                    </a:lnTo>
                    <a:lnTo>
                      <a:pt x="716" y="210"/>
                    </a:lnTo>
                    <a:lnTo>
                      <a:pt x="720" y="203"/>
                    </a:lnTo>
                    <a:lnTo>
                      <a:pt x="721" y="200"/>
                    </a:lnTo>
                    <a:lnTo>
                      <a:pt x="721" y="196"/>
                    </a:lnTo>
                    <a:lnTo>
                      <a:pt x="725" y="194"/>
                    </a:lnTo>
                    <a:lnTo>
                      <a:pt x="727" y="200"/>
                    </a:lnTo>
                    <a:lnTo>
                      <a:pt x="728" y="200"/>
                    </a:lnTo>
                    <a:lnTo>
                      <a:pt x="730" y="196"/>
                    </a:lnTo>
                    <a:lnTo>
                      <a:pt x="730" y="196"/>
                    </a:lnTo>
                    <a:lnTo>
                      <a:pt x="727" y="191"/>
                    </a:lnTo>
                    <a:lnTo>
                      <a:pt x="727" y="187"/>
                    </a:lnTo>
                    <a:lnTo>
                      <a:pt x="730" y="184"/>
                    </a:lnTo>
                    <a:lnTo>
                      <a:pt x="734" y="184"/>
                    </a:lnTo>
                    <a:lnTo>
                      <a:pt x="737" y="182"/>
                    </a:lnTo>
                    <a:lnTo>
                      <a:pt x="739" y="184"/>
                    </a:lnTo>
                    <a:lnTo>
                      <a:pt x="742" y="182"/>
                    </a:lnTo>
                    <a:lnTo>
                      <a:pt x="744" y="179"/>
                    </a:lnTo>
                    <a:lnTo>
                      <a:pt x="744" y="177"/>
                    </a:lnTo>
                    <a:lnTo>
                      <a:pt x="744" y="168"/>
                    </a:lnTo>
                    <a:lnTo>
                      <a:pt x="744" y="168"/>
                    </a:lnTo>
                    <a:lnTo>
                      <a:pt x="744" y="167"/>
                    </a:lnTo>
                    <a:lnTo>
                      <a:pt x="744" y="163"/>
                    </a:lnTo>
                    <a:lnTo>
                      <a:pt x="739" y="160"/>
                    </a:lnTo>
                    <a:lnTo>
                      <a:pt x="739" y="163"/>
                    </a:lnTo>
                    <a:lnTo>
                      <a:pt x="734" y="165"/>
                    </a:lnTo>
                    <a:lnTo>
                      <a:pt x="734" y="168"/>
                    </a:lnTo>
                    <a:lnTo>
                      <a:pt x="734" y="172"/>
                    </a:lnTo>
                    <a:lnTo>
                      <a:pt x="734" y="174"/>
                    </a:lnTo>
                    <a:lnTo>
                      <a:pt x="732" y="174"/>
                    </a:lnTo>
                    <a:lnTo>
                      <a:pt x="730" y="172"/>
                    </a:lnTo>
                    <a:lnTo>
                      <a:pt x="728" y="172"/>
                    </a:lnTo>
                    <a:lnTo>
                      <a:pt x="728" y="172"/>
                    </a:lnTo>
                    <a:lnTo>
                      <a:pt x="727" y="174"/>
                    </a:lnTo>
                    <a:lnTo>
                      <a:pt x="725" y="172"/>
                    </a:lnTo>
                    <a:lnTo>
                      <a:pt x="725" y="168"/>
                    </a:lnTo>
                    <a:lnTo>
                      <a:pt x="721" y="165"/>
                    </a:lnTo>
                    <a:lnTo>
                      <a:pt x="720" y="165"/>
                    </a:lnTo>
                    <a:lnTo>
                      <a:pt x="720" y="167"/>
                    </a:lnTo>
                    <a:lnTo>
                      <a:pt x="716" y="165"/>
                    </a:lnTo>
                    <a:lnTo>
                      <a:pt x="713" y="165"/>
                    </a:lnTo>
                    <a:lnTo>
                      <a:pt x="709" y="165"/>
                    </a:lnTo>
                    <a:lnTo>
                      <a:pt x="702" y="163"/>
                    </a:lnTo>
                    <a:lnTo>
                      <a:pt x="699" y="167"/>
                    </a:lnTo>
                    <a:lnTo>
                      <a:pt x="697" y="168"/>
                    </a:lnTo>
                    <a:lnTo>
                      <a:pt x="697" y="172"/>
                    </a:lnTo>
                    <a:lnTo>
                      <a:pt x="694" y="168"/>
                    </a:lnTo>
                    <a:lnTo>
                      <a:pt x="694" y="168"/>
                    </a:lnTo>
                    <a:lnTo>
                      <a:pt x="685" y="177"/>
                    </a:lnTo>
                    <a:lnTo>
                      <a:pt x="681" y="179"/>
                    </a:lnTo>
                    <a:lnTo>
                      <a:pt x="680" y="179"/>
                    </a:lnTo>
                    <a:lnTo>
                      <a:pt x="674" y="182"/>
                    </a:lnTo>
                    <a:lnTo>
                      <a:pt x="671" y="182"/>
                    </a:lnTo>
                    <a:lnTo>
                      <a:pt x="671" y="184"/>
                    </a:lnTo>
                    <a:lnTo>
                      <a:pt x="669" y="187"/>
                    </a:lnTo>
                    <a:lnTo>
                      <a:pt x="662" y="187"/>
                    </a:lnTo>
                    <a:lnTo>
                      <a:pt x="662" y="187"/>
                    </a:lnTo>
                    <a:lnTo>
                      <a:pt x="659" y="187"/>
                    </a:lnTo>
                    <a:lnTo>
                      <a:pt x="657" y="189"/>
                    </a:lnTo>
                    <a:lnTo>
                      <a:pt x="654" y="189"/>
                    </a:lnTo>
                    <a:lnTo>
                      <a:pt x="648" y="194"/>
                    </a:lnTo>
                    <a:lnTo>
                      <a:pt x="647" y="196"/>
                    </a:lnTo>
                    <a:lnTo>
                      <a:pt x="640" y="194"/>
                    </a:lnTo>
                    <a:lnTo>
                      <a:pt x="638" y="196"/>
                    </a:lnTo>
                    <a:lnTo>
                      <a:pt x="629" y="196"/>
                    </a:lnTo>
                    <a:lnTo>
                      <a:pt x="626" y="201"/>
                    </a:lnTo>
                    <a:lnTo>
                      <a:pt x="624" y="201"/>
                    </a:lnTo>
                    <a:lnTo>
                      <a:pt x="621" y="203"/>
                    </a:lnTo>
                    <a:lnTo>
                      <a:pt x="617" y="208"/>
                    </a:lnTo>
                    <a:lnTo>
                      <a:pt x="621" y="208"/>
                    </a:lnTo>
                    <a:lnTo>
                      <a:pt x="621" y="208"/>
                    </a:lnTo>
                    <a:lnTo>
                      <a:pt x="621" y="208"/>
                    </a:lnTo>
                    <a:lnTo>
                      <a:pt x="617" y="210"/>
                    </a:lnTo>
                    <a:lnTo>
                      <a:pt x="621" y="212"/>
                    </a:lnTo>
                    <a:lnTo>
                      <a:pt x="621" y="215"/>
                    </a:lnTo>
                    <a:lnTo>
                      <a:pt x="615" y="217"/>
                    </a:lnTo>
                    <a:lnTo>
                      <a:pt x="615" y="219"/>
                    </a:lnTo>
                    <a:lnTo>
                      <a:pt x="617" y="219"/>
                    </a:lnTo>
                    <a:lnTo>
                      <a:pt x="621" y="219"/>
                    </a:lnTo>
                    <a:lnTo>
                      <a:pt x="624" y="215"/>
                    </a:lnTo>
                    <a:lnTo>
                      <a:pt x="626" y="215"/>
                    </a:lnTo>
                    <a:lnTo>
                      <a:pt x="629" y="217"/>
                    </a:lnTo>
                    <a:lnTo>
                      <a:pt x="631" y="219"/>
                    </a:lnTo>
                    <a:lnTo>
                      <a:pt x="631" y="224"/>
                    </a:lnTo>
                    <a:lnTo>
                      <a:pt x="634" y="227"/>
                    </a:lnTo>
                    <a:lnTo>
                      <a:pt x="634" y="227"/>
                    </a:lnTo>
                    <a:lnTo>
                      <a:pt x="634" y="227"/>
                    </a:lnTo>
                    <a:lnTo>
                      <a:pt x="634" y="227"/>
                    </a:lnTo>
                    <a:close/>
                    <a:moveTo>
                      <a:pt x="959" y="419"/>
                    </a:moveTo>
                    <a:lnTo>
                      <a:pt x="959" y="415"/>
                    </a:lnTo>
                    <a:lnTo>
                      <a:pt x="965" y="419"/>
                    </a:lnTo>
                    <a:lnTo>
                      <a:pt x="965" y="419"/>
                    </a:lnTo>
                    <a:lnTo>
                      <a:pt x="963" y="422"/>
                    </a:lnTo>
                    <a:lnTo>
                      <a:pt x="961" y="419"/>
                    </a:lnTo>
                    <a:lnTo>
                      <a:pt x="959" y="419"/>
                    </a:lnTo>
                    <a:lnTo>
                      <a:pt x="959" y="419"/>
                    </a:lnTo>
                    <a:lnTo>
                      <a:pt x="959" y="419"/>
                    </a:lnTo>
                    <a:lnTo>
                      <a:pt x="959" y="419"/>
                    </a:lnTo>
                    <a:close/>
                    <a:moveTo>
                      <a:pt x="921" y="342"/>
                    </a:moveTo>
                    <a:lnTo>
                      <a:pt x="919" y="340"/>
                    </a:lnTo>
                    <a:lnTo>
                      <a:pt x="916" y="340"/>
                    </a:lnTo>
                    <a:lnTo>
                      <a:pt x="914" y="342"/>
                    </a:lnTo>
                    <a:lnTo>
                      <a:pt x="916" y="342"/>
                    </a:lnTo>
                    <a:lnTo>
                      <a:pt x="919" y="344"/>
                    </a:lnTo>
                    <a:lnTo>
                      <a:pt x="919" y="344"/>
                    </a:lnTo>
                    <a:lnTo>
                      <a:pt x="914" y="346"/>
                    </a:lnTo>
                    <a:lnTo>
                      <a:pt x="913" y="346"/>
                    </a:lnTo>
                    <a:lnTo>
                      <a:pt x="914" y="349"/>
                    </a:lnTo>
                    <a:lnTo>
                      <a:pt x="916" y="351"/>
                    </a:lnTo>
                    <a:lnTo>
                      <a:pt x="916" y="351"/>
                    </a:lnTo>
                    <a:lnTo>
                      <a:pt x="911" y="351"/>
                    </a:lnTo>
                    <a:lnTo>
                      <a:pt x="907" y="351"/>
                    </a:lnTo>
                    <a:lnTo>
                      <a:pt x="906" y="354"/>
                    </a:lnTo>
                    <a:lnTo>
                      <a:pt x="906" y="358"/>
                    </a:lnTo>
                    <a:lnTo>
                      <a:pt x="902" y="358"/>
                    </a:lnTo>
                    <a:lnTo>
                      <a:pt x="902" y="360"/>
                    </a:lnTo>
                    <a:lnTo>
                      <a:pt x="906" y="360"/>
                    </a:lnTo>
                    <a:lnTo>
                      <a:pt x="906" y="360"/>
                    </a:lnTo>
                    <a:lnTo>
                      <a:pt x="906" y="363"/>
                    </a:lnTo>
                    <a:lnTo>
                      <a:pt x="906" y="365"/>
                    </a:lnTo>
                    <a:lnTo>
                      <a:pt x="906" y="360"/>
                    </a:lnTo>
                    <a:lnTo>
                      <a:pt x="907" y="360"/>
                    </a:lnTo>
                    <a:lnTo>
                      <a:pt x="906" y="365"/>
                    </a:lnTo>
                    <a:lnTo>
                      <a:pt x="906" y="365"/>
                    </a:lnTo>
                    <a:lnTo>
                      <a:pt x="909" y="368"/>
                    </a:lnTo>
                    <a:lnTo>
                      <a:pt x="911" y="368"/>
                    </a:lnTo>
                    <a:lnTo>
                      <a:pt x="911" y="368"/>
                    </a:lnTo>
                    <a:lnTo>
                      <a:pt x="913" y="370"/>
                    </a:lnTo>
                    <a:lnTo>
                      <a:pt x="913" y="370"/>
                    </a:lnTo>
                    <a:lnTo>
                      <a:pt x="914" y="368"/>
                    </a:lnTo>
                    <a:lnTo>
                      <a:pt x="916" y="368"/>
                    </a:lnTo>
                    <a:lnTo>
                      <a:pt x="916" y="373"/>
                    </a:lnTo>
                    <a:lnTo>
                      <a:pt x="916" y="375"/>
                    </a:lnTo>
                    <a:lnTo>
                      <a:pt x="921" y="375"/>
                    </a:lnTo>
                    <a:lnTo>
                      <a:pt x="921" y="379"/>
                    </a:lnTo>
                    <a:lnTo>
                      <a:pt x="925" y="379"/>
                    </a:lnTo>
                    <a:lnTo>
                      <a:pt x="928" y="380"/>
                    </a:lnTo>
                    <a:lnTo>
                      <a:pt x="930" y="380"/>
                    </a:lnTo>
                    <a:lnTo>
                      <a:pt x="932" y="382"/>
                    </a:lnTo>
                    <a:lnTo>
                      <a:pt x="933" y="380"/>
                    </a:lnTo>
                    <a:lnTo>
                      <a:pt x="932" y="379"/>
                    </a:lnTo>
                    <a:lnTo>
                      <a:pt x="935" y="377"/>
                    </a:lnTo>
                    <a:lnTo>
                      <a:pt x="937" y="372"/>
                    </a:lnTo>
                    <a:lnTo>
                      <a:pt x="935" y="368"/>
                    </a:lnTo>
                    <a:lnTo>
                      <a:pt x="939" y="365"/>
                    </a:lnTo>
                    <a:lnTo>
                      <a:pt x="940" y="365"/>
                    </a:lnTo>
                    <a:lnTo>
                      <a:pt x="942" y="358"/>
                    </a:lnTo>
                    <a:lnTo>
                      <a:pt x="942" y="353"/>
                    </a:lnTo>
                    <a:lnTo>
                      <a:pt x="942" y="353"/>
                    </a:lnTo>
                    <a:lnTo>
                      <a:pt x="942" y="349"/>
                    </a:lnTo>
                    <a:lnTo>
                      <a:pt x="939" y="346"/>
                    </a:lnTo>
                    <a:lnTo>
                      <a:pt x="939" y="342"/>
                    </a:lnTo>
                    <a:lnTo>
                      <a:pt x="937" y="340"/>
                    </a:lnTo>
                    <a:lnTo>
                      <a:pt x="937" y="337"/>
                    </a:lnTo>
                    <a:lnTo>
                      <a:pt x="932" y="337"/>
                    </a:lnTo>
                    <a:lnTo>
                      <a:pt x="928" y="337"/>
                    </a:lnTo>
                    <a:lnTo>
                      <a:pt x="925" y="337"/>
                    </a:lnTo>
                    <a:lnTo>
                      <a:pt x="921" y="337"/>
                    </a:lnTo>
                    <a:lnTo>
                      <a:pt x="921" y="340"/>
                    </a:lnTo>
                    <a:lnTo>
                      <a:pt x="921" y="340"/>
                    </a:lnTo>
                    <a:lnTo>
                      <a:pt x="921" y="342"/>
                    </a:lnTo>
                    <a:lnTo>
                      <a:pt x="921" y="342"/>
                    </a:lnTo>
                    <a:lnTo>
                      <a:pt x="921" y="342"/>
                    </a:lnTo>
                    <a:lnTo>
                      <a:pt x="921" y="342"/>
                    </a:lnTo>
                    <a:lnTo>
                      <a:pt x="921" y="342"/>
                    </a:lnTo>
                    <a:close/>
                    <a:moveTo>
                      <a:pt x="944" y="318"/>
                    </a:moveTo>
                    <a:lnTo>
                      <a:pt x="942" y="314"/>
                    </a:lnTo>
                    <a:lnTo>
                      <a:pt x="942" y="313"/>
                    </a:lnTo>
                    <a:lnTo>
                      <a:pt x="946" y="313"/>
                    </a:lnTo>
                    <a:lnTo>
                      <a:pt x="946" y="313"/>
                    </a:lnTo>
                    <a:lnTo>
                      <a:pt x="944" y="318"/>
                    </a:lnTo>
                    <a:lnTo>
                      <a:pt x="944" y="318"/>
                    </a:lnTo>
                    <a:lnTo>
                      <a:pt x="944" y="318"/>
                    </a:lnTo>
                    <a:lnTo>
                      <a:pt x="944" y="318"/>
                    </a:lnTo>
                    <a:close/>
                    <a:moveTo>
                      <a:pt x="940" y="333"/>
                    </a:moveTo>
                    <a:lnTo>
                      <a:pt x="939" y="332"/>
                    </a:lnTo>
                    <a:lnTo>
                      <a:pt x="937" y="328"/>
                    </a:lnTo>
                    <a:lnTo>
                      <a:pt x="939" y="328"/>
                    </a:lnTo>
                    <a:lnTo>
                      <a:pt x="939" y="327"/>
                    </a:lnTo>
                    <a:lnTo>
                      <a:pt x="939" y="323"/>
                    </a:lnTo>
                    <a:lnTo>
                      <a:pt x="940" y="321"/>
                    </a:lnTo>
                    <a:lnTo>
                      <a:pt x="946" y="321"/>
                    </a:lnTo>
                    <a:lnTo>
                      <a:pt x="942" y="328"/>
                    </a:lnTo>
                    <a:lnTo>
                      <a:pt x="940" y="333"/>
                    </a:lnTo>
                    <a:lnTo>
                      <a:pt x="940" y="333"/>
                    </a:lnTo>
                    <a:lnTo>
                      <a:pt x="940" y="333"/>
                    </a:lnTo>
                    <a:lnTo>
                      <a:pt x="940" y="333"/>
                    </a:lnTo>
                    <a:lnTo>
                      <a:pt x="940" y="333"/>
                    </a:lnTo>
                    <a:lnTo>
                      <a:pt x="940" y="333"/>
                    </a:lnTo>
                    <a:close/>
                    <a:moveTo>
                      <a:pt x="916" y="327"/>
                    </a:moveTo>
                    <a:lnTo>
                      <a:pt x="914" y="325"/>
                    </a:lnTo>
                    <a:lnTo>
                      <a:pt x="916" y="323"/>
                    </a:lnTo>
                    <a:lnTo>
                      <a:pt x="919" y="321"/>
                    </a:lnTo>
                    <a:lnTo>
                      <a:pt x="921" y="323"/>
                    </a:lnTo>
                    <a:lnTo>
                      <a:pt x="919" y="325"/>
                    </a:lnTo>
                    <a:lnTo>
                      <a:pt x="916" y="325"/>
                    </a:lnTo>
                    <a:lnTo>
                      <a:pt x="916" y="327"/>
                    </a:lnTo>
                    <a:lnTo>
                      <a:pt x="916" y="327"/>
                    </a:lnTo>
                    <a:lnTo>
                      <a:pt x="916" y="327"/>
                    </a:lnTo>
                    <a:lnTo>
                      <a:pt x="916" y="327"/>
                    </a:lnTo>
                    <a:close/>
                    <a:moveTo>
                      <a:pt x="909" y="328"/>
                    </a:moveTo>
                    <a:lnTo>
                      <a:pt x="909" y="328"/>
                    </a:lnTo>
                    <a:lnTo>
                      <a:pt x="911" y="328"/>
                    </a:lnTo>
                    <a:lnTo>
                      <a:pt x="913" y="328"/>
                    </a:lnTo>
                    <a:lnTo>
                      <a:pt x="911" y="328"/>
                    </a:lnTo>
                    <a:lnTo>
                      <a:pt x="909" y="328"/>
                    </a:lnTo>
                    <a:lnTo>
                      <a:pt x="909" y="328"/>
                    </a:lnTo>
                    <a:lnTo>
                      <a:pt x="909" y="328"/>
                    </a:lnTo>
                    <a:lnTo>
                      <a:pt x="909" y="328"/>
                    </a:lnTo>
                    <a:close/>
                    <a:moveTo>
                      <a:pt x="914" y="337"/>
                    </a:moveTo>
                    <a:lnTo>
                      <a:pt x="916" y="337"/>
                    </a:lnTo>
                    <a:lnTo>
                      <a:pt x="914" y="335"/>
                    </a:lnTo>
                    <a:lnTo>
                      <a:pt x="914" y="332"/>
                    </a:lnTo>
                    <a:lnTo>
                      <a:pt x="916" y="332"/>
                    </a:lnTo>
                    <a:lnTo>
                      <a:pt x="916" y="333"/>
                    </a:lnTo>
                    <a:lnTo>
                      <a:pt x="919" y="335"/>
                    </a:lnTo>
                    <a:lnTo>
                      <a:pt x="916" y="337"/>
                    </a:lnTo>
                    <a:lnTo>
                      <a:pt x="914" y="337"/>
                    </a:lnTo>
                    <a:lnTo>
                      <a:pt x="914" y="337"/>
                    </a:lnTo>
                    <a:lnTo>
                      <a:pt x="914" y="337"/>
                    </a:lnTo>
                    <a:lnTo>
                      <a:pt x="914" y="337"/>
                    </a:lnTo>
                    <a:close/>
                    <a:moveTo>
                      <a:pt x="907" y="340"/>
                    </a:moveTo>
                    <a:lnTo>
                      <a:pt x="906" y="340"/>
                    </a:lnTo>
                    <a:lnTo>
                      <a:pt x="906" y="335"/>
                    </a:lnTo>
                    <a:lnTo>
                      <a:pt x="906" y="335"/>
                    </a:lnTo>
                    <a:lnTo>
                      <a:pt x="907" y="333"/>
                    </a:lnTo>
                    <a:lnTo>
                      <a:pt x="909" y="333"/>
                    </a:lnTo>
                    <a:lnTo>
                      <a:pt x="913" y="335"/>
                    </a:lnTo>
                    <a:lnTo>
                      <a:pt x="913" y="335"/>
                    </a:lnTo>
                    <a:lnTo>
                      <a:pt x="913" y="337"/>
                    </a:lnTo>
                    <a:lnTo>
                      <a:pt x="913" y="337"/>
                    </a:lnTo>
                    <a:lnTo>
                      <a:pt x="909" y="340"/>
                    </a:lnTo>
                    <a:lnTo>
                      <a:pt x="909" y="340"/>
                    </a:lnTo>
                    <a:lnTo>
                      <a:pt x="907" y="340"/>
                    </a:lnTo>
                    <a:lnTo>
                      <a:pt x="907" y="340"/>
                    </a:lnTo>
                    <a:lnTo>
                      <a:pt x="907" y="340"/>
                    </a:lnTo>
                    <a:lnTo>
                      <a:pt x="907" y="340"/>
                    </a:lnTo>
                    <a:close/>
                    <a:moveTo>
                      <a:pt x="899" y="342"/>
                    </a:moveTo>
                    <a:lnTo>
                      <a:pt x="897" y="340"/>
                    </a:lnTo>
                    <a:lnTo>
                      <a:pt x="899" y="340"/>
                    </a:lnTo>
                    <a:lnTo>
                      <a:pt x="900" y="340"/>
                    </a:lnTo>
                    <a:lnTo>
                      <a:pt x="899" y="342"/>
                    </a:lnTo>
                    <a:lnTo>
                      <a:pt x="899" y="342"/>
                    </a:lnTo>
                    <a:lnTo>
                      <a:pt x="899" y="342"/>
                    </a:lnTo>
                    <a:lnTo>
                      <a:pt x="899" y="342"/>
                    </a:lnTo>
                    <a:lnTo>
                      <a:pt x="899" y="342"/>
                    </a:lnTo>
                    <a:close/>
                    <a:moveTo>
                      <a:pt x="864" y="347"/>
                    </a:moveTo>
                    <a:lnTo>
                      <a:pt x="862" y="346"/>
                    </a:lnTo>
                    <a:lnTo>
                      <a:pt x="859" y="346"/>
                    </a:lnTo>
                    <a:lnTo>
                      <a:pt x="857" y="344"/>
                    </a:lnTo>
                    <a:lnTo>
                      <a:pt x="857" y="340"/>
                    </a:lnTo>
                    <a:lnTo>
                      <a:pt x="859" y="340"/>
                    </a:lnTo>
                    <a:lnTo>
                      <a:pt x="857" y="337"/>
                    </a:lnTo>
                    <a:lnTo>
                      <a:pt x="859" y="335"/>
                    </a:lnTo>
                    <a:lnTo>
                      <a:pt x="860" y="335"/>
                    </a:lnTo>
                    <a:lnTo>
                      <a:pt x="862" y="337"/>
                    </a:lnTo>
                    <a:lnTo>
                      <a:pt x="864" y="337"/>
                    </a:lnTo>
                    <a:lnTo>
                      <a:pt x="862" y="335"/>
                    </a:lnTo>
                    <a:lnTo>
                      <a:pt x="862" y="332"/>
                    </a:lnTo>
                    <a:lnTo>
                      <a:pt x="860" y="332"/>
                    </a:lnTo>
                    <a:lnTo>
                      <a:pt x="859" y="328"/>
                    </a:lnTo>
                    <a:lnTo>
                      <a:pt x="859" y="328"/>
                    </a:lnTo>
                    <a:lnTo>
                      <a:pt x="857" y="327"/>
                    </a:lnTo>
                    <a:lnTo>
                      <a:pt x="859" y="327"/>
                    </a:lnTo>
                    <a:lnTo>
                      <a:pt x="860" y="328"/>
                    </a:lnTo>
                    <a:lnTo>
                      <a:pt x="862" y="327"/>
                    </a:lnTo>
                    <a:lnTo>
                      <a:pt x="860" y="325"/>
                    </a:lnTo>
                    <a:lnTo>
                      <a:pt x="864" y="325"/>
                    </a:lnTo>
                    <a:lnTo>
                      <a:pt x="866" y="325"/>
                    </a:lnTo>
                    <a:lnTo>
                      <a:pt x="871" y="327"/>
                    </a:lnTo>
                    <a:lnTo>
                      <a:pt x="871" y="325"/>
                    </a:lnTo>
                    <a:lnTo>
                      <a:pt x="871" y="323"/>
                    </a:lnTo>
                    <a:lnTo>
                      <a:pt x="869" y="323"/>
                    </a:lnTo>
                    <a:lnTo>
                      <a:pt x="871" y="323"/>
                    </a:lnTo>
                    <a:lnTo>
                      <a:pt x="874" y="323"/>
                    </a:lnTo>
                    <a:lnTo>
                      <a:pt x="878" y="320"/>
                    </a:lnTo>
                    <a:lnTo>
                      <a:pt x="881" y="320"/>
                    </a:lnTo>
                    <a:lnTo>
                      <a:pt x="886" y="321"/>
                    </a:lnTo>
                    <a:lnTo>
                      <a:pt x="888" y="320"/>
                    </a:lnTo>
                    <a:lnTo>
                      <a:pt x="886" y="318"/>
                    </a:lnTo>
                    <a:lnTo>
                      <a:pt x="874" y="314"/>
                    </a:lnTo>
                    <a:lnTo>
                      <a:pt x="871" y="314"/>
                    </a:lnTo>
                    <a:lnTo>
                      <a:pt x="867" y="314"/>
                    </a:lnTo>
                    <a:lnTo>
                      <a:pt x="862" y="314"/>
                    </a:lnTo>
                    <a:lnTo>
                      <a:pt x="859" y="313"/>
                    </a:lnTo>
                    <a:lnTo>
                      <a:pt x="857" y="313"/>
                    </a:lnTo>
                    <a:lnTo>
                      <a:pt x="853" y="313"/>
                    </a:lnTo>
                    <a:lnTo>
                      <a:pt x="852" y="313"/>
                    </a:lnTo>
                    <a:lnTo>
                      <a:pt x="852" y="313"/>
                    </a:lnTo>
                    <a:lnTo>
                      <a:pt x="848" y="313"/>
                    </a:lnTo>
                    <a:lnTo>
                      <a:pt x="846" y="313"/>
                    </a:lnTo>
                    <a:lnTo>
                      <a:pt x="843" y="311"/>
                    </a:lnTo>
                    <a:lnTo>
                      <a:pt x="843" y="309"/>
                    </a:lnTo>
                    <a:lnTo>
                      <a:pt x="846" y="309"/>
                    </a:lnTo>
                    <a:lnTo>
                      <a:pt x="848" y="306"/>
                    </a:lnTo>
                    <a:lnTo>
                      <a:pt x="852" y="309"/>
                    </a:lnTo>
                    <a:lnTo>
                      <a:pt x="853" y="306"/>
                    </a:lnTo>
                    <a:lnTo>
                      <a:pt x="852" y="306"/>
                    </a:lnTo>
                    <a:lnTo>
                      <a:pt x="852" y="304"/>
                    </a:lnTo>
                    <a:lnTo>
                      <a:pt x="855" y="302"/>
                    </a:lnTo>
                    <a:lnTo>
                      <a:pt x="859" y="302"/>
                    </a:lnTo>
                    <a:lnTo>
                      <a:pt x="860" y="300"/>
                    </a:lnTo>
                    <a:lnTo>
                      <a:pt x="860" y="304"/>
                    </a:lnTo>
                    <a:lnTo>
                      <a:pt x="862" y="306"/>
                    </a:lnTo>
                    <a:lnTo>
                      <a:pt x="862" y="309"/>
                    </a:lnTo>
                    <a:lnTo>
                      <a:pt x="864" y="309"/>
                    </a:lnTo>
                    <a:lnTo>
                      <a:pt x="866" y="309"/>
                    </a:lnTo>
                    <a:lnTo>
                      <a:pt x="864" y="306"/>
                    </a:lnTo>
                    <a:lnTo>
                      <a:pt x="862" y="302"/>
                    </a:lnTo>
                    <a:lnTo>
                      <a:pt x="864" y="300"/>
                    </a:lnTo>
                    <a:lnTo>
                      <a:pt x="867" y="299"/>
                    </a:lnTo>
                    <a:lnTo>
                      <a:pt x="867" y="297"/>
                    </a:lnTo>
                    <a:lnTo>
                      <a:pt x="866" y="295"/>
                    </a:lnTo>
                    <a:lnTo>
                      <a:pt x="866" y="290"/>
                    </a:lnTo>
                    <a:lnTo>
                      <a:pt x="869" y="290"/>
                    </a:lnTo>
                    <a:lnTo>
                      <a:pt x="871" y="287"/>
                    </a:lnTo>
                    <a:lnTo>
                      <a:pt x="874" y="287"/>
                    </a:lnTo>
                    <a:lnTo>
                      <a:pt x="871" y="283"/>
                    </a:lnTo>
                    <a:lnTo>
                      <a:pt x="871" y="283"/>
                    </a:lnTo>
                    <a:lnTo>
                      <a:pt x="869" y="283"/>
                    </a:lnTo>
                    <a:lnTo>
                      <a:pt x="869" y="281"/>
                    </a:lnTo>
                    <a:lnTo>
                      <a:pt x="871" y="278"/>
                    </a:lnTo>
                    <a:lnTo>
                      <a:pt x="871" y="278"/>
                    </a:lnTo>
                    <a:lnTo>
                      <a:pt x="874" y="276"/>
                    </a:lnTo>
                    <a:lnTo>
                      <a:pt x="876" y="278"/>
                    </a:lnTo>
                    <a:lnTo>
                      <a:pt x="878" y="281"/>
                    </a:lnTo>
                    <a:lnTo>
                      <a:pt x="879" y="281"/>
                    </a:lnTo>
                    <a:lnTo>
                      <a:pt x="879" y="287"/>
                    </a:lnTo>
                    <a:lnTo>
                      <a:pt x="878" y="287"/>
                    </a:lnTo>
                    <a:lnTo>
                      <a:pt x="879" y="288"/>
                    </a:lnTo>
                    <a:lnTo>
                      <a:pt x="881" y="290"/>
                    </a:lnTo>
                    <a:lnTo>
                      <a:pt x="883" y="300"/>
                    </a:lnTo>
                    <a:lnTo>
                      <a:pt x="881" y="304"/>
                    </a:lnTo>
                    <a:lnTo>
                      <a:pt x="881" y="306"/>
                    </a:lnTo>
                    <a:lnTo>
                      <a:pt x="885" y="306"/>
                    </a:lnTo>
                    <a:lnTo>
                      <a:pt x="888" y="304"/>
                    </a:lnTo>
                    <a:lnTo>
                      <a:pt x="886" y="302"/>
                    </a:lnTo>
                    <a:lnTo>
                      <a:pt x="888" y="297"/>
                    </a:lnTo>
                    <a:lnTo>
                      <a:pt x="890" y="297"/>
                    </a:lnTo>
                    <a:lnTo>
                      <a:pt x="890" y="293"/>
                    </a:lnTo>
                    <a:lnTo>
                      <a:pt x="885" y="290"/>
                    </a:lnTo>
                    <a:lnTo>
                      <a:pt x="886" y="288"/>
                    </a:lnTo>
                    <a:lnTo>
                      <a:pt x="888" y="288"/>
                    </a:lnTo>
                    <a:lnTo>
                      <a:pt x="892" y="290"/>
                    </a:lnTo>
                    <a:lnTo>
                      <a:pt x="892" y="287"/>
                    </a:lnTo>
                    <a:lnTo>
                      <a:pt x="888" y="283"/>
                    </a:lnTo>
                    <a:lnTo>
                      <a:pt x="886" y="281"/>
                    </a:lnTo>
                    <a:lnTo>
                      <a:pt x="888" y="278"/>
                    </a:lnTo>
                    <a:lnTo>
                      <a:pt x="888" y="274"/>
                    </a:lnTo>
                    <a:lnTo>
                      <a:pt x="890" y="273"/>
                    </a:lnTo>
                    <a:lnTo>
                      <a:pt x="893" y="273"/>
                    </a:lnTo>
                    <a:lnTo>
                      <a:pt x="893" y="271"/>
                    </a:lnTo>
                    <a:lnTo>
                      <a:pt x="897" y="271"/>
                    </a:lnTo>
                    <a:lnTo>
                      <a:pt x="897" y="271"/>
                    </a:lnTo>
                    <a:lnTo>
                      <a:pt x="900" y="269"/>
                    </a:lnTo>
                    <a:lnTo>
                      <a:pt x="900" y="269"/>
                    </a:lnTo>
                    <a:lnTo>
                      <a:pt x="902" y="269"/>
                    </a:lnTo>
                    <a:lnTo>
                      <a:pt x="906" y="271"/>
                    </a:lnTo>
                    <a:lnTo>
                      <a:pt x="906" y="273"/>
                    </a:lnTo>
                    <a:lnTo>
                      <a:pt x="909" y="273"/>
                    </a:lnTo>
                    <a:lnTo>
                      <a:pt x="911" y="274"/>
                    </a:lnTo>
                    <a:lnTo>
                      <a:pt x="909" y="281"/>
                    </a:lnTo>
                    <a:lnTo>
                      <a:pt x="907" y="281"/>
                    </a:lnTo>
                    <a:lnTo>
                      <a:pt x="907" y="287"/>
                    </a:lnTo>
                    <a:lnTo>
                      <a:pt x="909" y="287"/>
                    </a:lnTo>
                    <a:lnTo>
                      <a:pt x="911" y="283"/>
                    </a:lnTo>
                    <a:lnTo>
                      <a:pt x="913" y="283"/>
                    </a:lnTo>
                    <a:lnTo>
                      <a:pt x="914" y="281"/>
                    </a:lnTo>
                    <a:lnTo>
                      <a:pt x="914" y="278"/>
                    </a:lnTo>
                    <a:lnTo>
                      <a:pt x="916" y="276"/>
                    </a:lnTo>
                    <a:lnTo>
                      <a:pt x="919" y="278"/>
                    </a:lnTo>
                    <a:lnTo>
                      <a:pt x="921" y="276"/>
                    </a:lnTo>
                    <a:lnTo>
                      <a:pt x="921" y="274"/>
                    </a:lnTo>
                    <a:lnTo>
                      <a:pt x="921" y="273"/>
                    </a:lnTo>
                    <a:lnTo>
                      <a:pt x="921" y="273"/>
                    </a:lnTo>
                    <a:lnTo>
                      <a:pt x="925" y="274"/>
                    </a:lnTo>
                    <a:lnTo>
                      <a:pt x="925" y="278"/>
                    </a:lnTo>
                    <a:lnTo>
                      <a:pt x="925" y="278"/>
                    </a:lnTo>
                    <a:lnTo>
                      <a:pt x="925" y="281"/>
                    </a:lnTo>
                    <a:lnTo>
                      <a:pt x="921" y="278"/>
                    </a:lnTo>
                    <a:lnTo>
                      <a:pt x="925" y="281"/>
                    </a:lnTo>
                    <a:lnTo>
                      <a:pt x="925" y="283"/>
                    </a:lnTo>
                    <a:lnTo>
                      <a:pt x="928" y="287"/>
                    </a:lnTo>
                    <a:lnTo>
                      <a:pt x="928" y="290"/>
                    </a:lnTo>
                    <a:lnTo>
                      <a:pt x="925" y="292"/>
                    </a:lnTo>
                    <a:lnTo>
                      <a:pt x="921" y="297"/>
                    </a:lnTo>
                    <a:lnTo>
                      <a:pt x="921" y="302"/>
                    </a:lnTo>
                    <a:lnTo>
                      <a:pt x="921" y="304"/>
                    </a:lnTo>
                    <a:lnTo>
                      <a:pt x="916" y="306"/>
                    </a:lnTo>
                    <a:lnTo>
                      <a:pt x="914" y="309"/>
                    </a:lnTo>
                    <a:lnTo>
                      <a:pt x="913" y="311"/>
                    </a:lnTo>
                    <a:lnTo>
                      <a:pt x="909" y="314"/>
                    </a:lnTo>
                    <a:lnTo>
                      <a:pt x="909" y="318"/>
                    </a:lnTo>
                    <a:lnTo>
                      <a:pt x="907" y="320"/>
                    </a:lnTo>
                    <a:lnTo>
                      <a:pt x="906" y="320"/>
                    </a:lnTo>
                    <a:lnTo>
                      <a:pt x="906" y="320"/>
                    </a:lnTo>
                    <a:lnTo>
                      <a:pt x="902" y="320"/>
                    </a:lnTo>
                    <a:lnTo>
                      <a:pt x="902" y="321"/>
                    </a:lnTo>
                    <a:lnTo>
                      <a:pt x="906" y="325"/>
                    </a:lnTo>
                    <a:lnTo>
                      <a:pt x="906" y="327"/>
                    </a:lnTo>
                    <a:lnTo>
                      <a:pt x="902" y="332"/>
                    </a:lnTo>
                    <a:lnTo>
                      <a:pt x="900" y="333"/>
                    </a:lnTo>
                    <a:lnTo>
                      <a:pt x="900" y="332"/>
                    </a:lnTo>
                    <a:lnTo>
                      <a:pt x="900" y="328"/>
                    </a:lnTo>
                    <a:lnTo>
                      <a:pt x="897" y="328"/>
                    </a:lnTo>
                    <a:lnTo>
                      <a:pt x="897" y="328"/>
                    </a:lnTo>
                    <a:lnTo>
                      <a:pt x="897" y="332"/>
                    </a:lnTo>
                    <a:lnTo>
                      <a:pt x="893" y="333"/>
                    </a:lnTo>
                    <a:lnTo>
                      <a:pt x="893" y="335"/>
                    </a:lnTo>
                    <a:lnTo>
                      <a:pt x="890" y="337"/>
                    </a:lnTo>
                    <a:lnTo>
                      <a:pt x="888" y="340"/>
                    </a:lnTo>
                    <a:lnTo>
                      <a:pt x="890" y="340"/>
                    </a:lnTo>
                    <a:lnTo>
                      <a:pt x="893" y="340"/>
                    </a:lnTo>
                    <a:lnTo>
                      <a:pt x="893" y="340"/>
                    </a:lnTo>
                    <a:lnTo>
                      <a:pt x="892" y="342"/>
                    </a:lnTo>
                    <a:lnTo>
                      <a:pt x="892" y="344"/>
                    </a:lnTo>
                    <a:lnTo>
                      <a:pt x="892" y="347"/>
                    </a:lnTo>
                    <a:lnTo>
                      <a:pt x="890" y="349"/>
                    </a:lnTo>
                    <a:lnTo>
                      <a:pt x="888" y="346"/>
                    </a:lnTo>
                    <a:lnTo>
                      <a:pt x="888" y="342"/>
                    </a:lnTo>
                    <a:lnTo>
                      <a:pt x="886" y="340"/>
                    </a:lnTo>
                    <a:lnTo>
                      <a:pt x="886" y="342"/>
                    </a:lnTo>
                    <a:lnTo>
                      <a:pt x="885" y="344"/>
                    </a:lnTo>
                    <a:lnTo>
                      <a:pt x="886" y="347"/>
                    </a:lnTo>
                    <a:lnTo>
                      <a:pt x="883" y="351"/>
                    </a:lnTo>
                    <a:lnTo>
                      <a:pt x="874" y="349"/>
                    </a:lnTo>
                    <a:lnTo>
                      <a:pt x="874" y="347"/>
                    </a:lnTo>
                    <a:lnTo>
                      <a:pt x="874" y="346"/>
                    </a:lnTo>
                    <a:lnTo>
                      <a:pt x="871" y="347"/>
                    </a:lnTo>
                    <a:lnTo>
                      <a:pt x="869" y="347"/>
                    </a:lnTo>
                    <a:lnTo>
                      <a:pt x="869" y="346"/>
                    </a:lnTo>
                    <a:lnTo>
                      <a:pt x="871" y="342"/>
                    </a:lnTo>
                    <a:lnTo>
                      <a:pt x="867" y="344"/>
                    </a:lnTo>
                    <a:lnTo>
                      <a:pt x="866" y="346"/>
                    </a:lnTo>
                    <a:lnTo>
                      <a:pt x="864" y="347"/>
                    </a:lnTo>
                    <a:lnTo>
                      <a:pt x="864" y="347"/>
                    </a:lnTo>
                    <a:lnTo>
                      <a:pt x="864" y="347"/>
                    </a:lnTo>
                    <a:lnTo>
                      <a:pt x="864" y="347"/>
                    </a:lnTo>
                    <a:close/>
                    <a:moveTo>
                      <a:pt x="643" y="254"/>
                    </a:moveTo>
                    <a:lnTo>
                      <a:pt x="640" y="254"/>
                    </a:lnTo>
                    <a:lnTo>
                      <a:pt x="643" y="248"/>
                    </a:lnTo>
                    <a:lnTo>
                      <a:pt x="648" y="243"/>
                    </a:lnTo>
                    <a:lnTo>
                      <a:pt x="654" y="241"/>
                    </a:lnTo>
                    <a:lnTo>
                      <a:pt x="657" y="240"/>
                    </a:lnTo>
                    <a:lnTo>
                      <a:pt x="659" y="238"/>
                    </a:lnTo>
                    <a:lnTo>
                      <a:pt x="662" y="234"/>
                    </a:lnTo>
                    <a:lnTo>
                      <a:pt x="669" y="234"/>
                    </a:lnTo>
                    <a:lnTo>
                      <a:pt x="671" y="233"/>
                    </a:lnTo>
                    <a:lnTo>
                      <a:pt x="674" y="233"/>
                    </a:lnTo>
                    <a:lnTo>
                      <a:pt x="678" y="231"/>
                    </a:lnTo>
                    <a:lnTo>
                      <a:pt x="680" y="233"/>
                    </a:lnTo>
                    <a:lnTo>
                      <a:pt x="680" y="234"/>
                    </a:lnTo>
                    <a:lnTo>
                      <a:pt x="674" y="238"/>
                    </a:lnTo>
                    <a:lnTo>
                      <a:pt x="669" y="241"/>
                    </a:lnTo>
                    <a:lnTo>
                      <a:pt x="659" y="250"/>
                    </a:lnTo>
                    <a:lnTo>
                      <a:pt x="655" y="255"/>
                    </a:lnTo>
                    <a:lnTo>
                      <a:pt x="652" y="255"/>
                    </a:lnTo>
                    <a:lnTo>
                      <a:pt x="650" y="255"/>
                    </a:lnTo>
                    <a:lnTo>
                      <a:pt x="648" y="259"/>
                    </a:lnTo>
                    <a:lnTo>
                      <a:pt x="647" y="259"/>
                    </a:lnTo>
                    <a:lnTo>
                      <a:pt x="647" y="254"/>
                    </a:lnTo>
                    <a:lnTo>
                      <a:pt x="643" y="254"/>
                    </a:lnTo>
                    <a:lnTo>
                      <a:pt x="643" y="254"/>
                    </a:lnTo>
                    <a:lnTo>
                      <a:pt x="643" y="254"/>
                    </a:lnTo>
                    <a:lnTo>
                      <a:pt x="643" y="254"/>
                    </a:lnTo>
                    <a:lnTo>
                      <a:pt x="643" y="254"/>
                    </a:lnTo>
                    <a:close/>
                    <a:moveTo>
                      <a:pt x="807" y="323"/>
                    </a:moveTo>
                    <a:lnTo>
                      <a:pt x="805" y="321"/>
                    </a:lnTo>
                    <a:lnTo>
                      <a:pt x="807" y="321"/>
                    </a:lnTo>
                    <a:lnTo>
                      <a:pt x="810" y="320"/>
                    </a:lnTo>
                    <a:lnTo>
                      <a:pt x="812" y="318"/>
                    </a:lnTo>
                    <a:lnTo>
                      <a:pt x="812" y="314"/>
                    </a:lnTo>
                    <a:lnTo>
                      <a:pt x="817" y="313"/>
                    </a:lnTo>
                    <a:lnTo>
                      <a:pt x="817" y="311"/>
                    </a:lnTo>
                    <a:lnTo>
                      <a:pt x="820" y="311"/>
                    </a:lnTo>
                    <a:lnTo>
                      <a:pt x="820" y="314"/>
                    </a:lnTo>
                    <a:lnTo>
                      <a:pt x="820" y="318"/>
                    </a:lnTo>
                    <a:lnTo>
                      <a:pt x="820" y="321"/>
                    </a:lnTo>
                    <a:lnTo>
                      <a:pt x="820" y="325"/>
                    </a:lnTo>
                    <a:lnTo>
                      <a:pt x="817" y="327"/>
                    </a:lnTo>
                    <a:lnTo>
                      <a:pt x="815" y="327"/>
                    </a:lnTo>
                    <a:lnTo>
                      <a:pt x="813" y="328"/>
                    </a:lnTo>
                    <a:lnTo>
                      <a:pt x="810" y="328"/>
                    </a:lnTo>
                    <a:lnTo>
                      <a:pt x="808" y="325"/>
                    </a:lnTo>
                    <a:lnTo>
                      <a:pt x="807" y="323"/>
                    </a:lnTo>
                    <a:lnTo>
                      <a:pt x="807" y="323"/>
                    </a:lnTo>
                    <a:lnTo>
                      <a:pt x="807" y="323"/>
                    </a:lnTo>
                    <a:lnTo>
                      <a:pt x="807" y="323"/>
                    </a:lnTo>
                    <a:close/>
                    <a:moveTo>
                      <a:pt x="674" y="318"/>
                    </a:moveTo>
                    <a:lnTo>
                      <a:pt x="676" y="314"/>
                    </a:lnTo>
                    <a:lnTo>
                      <a:pt x="674" y="311"/>
                    </a:lnTo>
                    <a:lnTo>
                      <a:pt x="676" y="306"/>
                    </a:lnTo>
                    <a:lnTo>
                      <a:pt x="681" y="306"/>
                    </a:lnTo>
                    <a:lnTo>
                      <a:pt x="685" y="306"/>
                    </a:lnTo>
                    <a:lnTo>
                      <a:pt x="690" y="306"/>
                    </a:lnTo>
                    <a:lnTo>
                      <a:pt x="694" y="306"/>
                    </a:lnTo>
                    <a:lnTo>
                      <a:pt x="697" y="306"/>
                    </a:lnTo>
                    <a:lnTo>
                      <a:pt x="701" y="304"/>
                    </a:lnTo>
                    <a:lnTo>
                      <a:pt x="706" y="304"/>
                    </a:lnTo>
                    <a:lnTo>
                      <a:pt x="711" y="306"/>
                    </a:lnTo>
                    <a:lnTo>
                      <a:pt x="716" y="306"/>
                    </a:lnTo>
                    <a:lnTo>
                      <a:pt x="716" y="306"/>
                    </a:lnTo>
                    <a:lnTo>
                      <a:pt x="720" y="304"/>
                    </a:lnTo>
                    <a:lnTo>
                      <a:pt x="728" y="304"/>
                    </a:lnTo>
                    <a:lnTo>
                      <a:pt x="728" y="302"/>
                    </a:lnTo>
                    <a:lnTo>
                      <a:pt x="732" y="300"/>
                    </a:lnTo>
                    <a:lnTo>
                      <a:pt x="730" y="299"/>
                    </a:lnTo>
                    <a:lnTo>
                      <a:pt x="727" y="300"/>
                    </a:lnTo>
                    <a:lnTo>
                      <a:pt x="725" y="300"/>
                    </a:lnTo>
                    <a:lnTo>
                      <a:pt x="721" y="299"/>
                    </a:lnTo>
                    <a:lnTo>
                      <a:pt x="716" y="300"/>
                    </a:lnTo>
                    <a:lnTo>
                      <a:pt x="714" y="300"/>
                    </a:lnTo>
                    <a:lnTo>
                      <a:pt x="714" y="299"/>
                    </a:lnTo>
                    <a:lnTo>
                      <a:pt x="713" y="297"/>
                    </a:lnTo>
                    <a:lnTo>
                      <a:pt x="709" y="299"/>
                    </a:lnTo>
                    <a:lnTo>
                      <a:pt x="706" y="299"/>
                    </a:lnTo>
                    <a:lnTo>
                      <a:pt x="702" y="300"/>
                    </a:lnTo>
                    <a:lnTo>
                      <a:pt x="701" y="299"/>
                    </a:lnTo>
                    <a:lnTo>
                      <a:pt x="697" y="299"/>
                    </a:lnTo>
                    <a:lnTo>
                      <a:pt x="694" y="299"/>
                    </a:lnTo>
                    <a:lnTo>
                      <a:pt x="694" y="295"/>
                    </a:lnTo>
                    <a:lnTo>
                      <a:pt x="697" y="292"/>
                    </a:lnTo>
                    <a:lnTo>
                      <a:pt x="701" y="288"/>
                    </a:lnTo>
                    <a:lnTo>
                      <a:pt x="699" y="288"/>
                    </a:lnTo>
                    <a:lnTo>
                      <a:pt x="697" y="290"/>
                    </a:lnTo>
                    <a:lnTo>
                      <a:pt x="694" y="292"/>
                    </a:lnTo>
                    <a:lnTo>
                      <a:pt x="692" y="288"/>
                    </a:lnTo>
                    <a:lnTo>
                      <a:pt x="690" y="290"/>
                    </a:lnTo>
                    <a:lnTo>
                      <a:pt x="690" y="293"/>
                    </a:lnTo>
                    <a:lnTo>
                      <a:pt x="685" y="297"/>
                    </a:lnTo>
                    <a:lnTo>
                      <a:pt x="683" y="299"/>
                    </a:lnTo>
                    <a:lnTo>
                      <a:pt x="680" y="299"/>
                    </a:lnTo>
                    <a:lnTo>
                      <a:pt x="676" y="297"/>
                    </a:lnTo>
                    <a:lnTo>
                      <a:pt x="676" y="293"/>
                    </a:lnTo>
                    <a:lnTo>
                      <a:pt x="678" y="292"/>
                    </a:lnTo>
                    <a:lnTo>
                      <a:pt x="674" y="292"/>
                    </a:lnTo>
                    <a:lnTo>
                      <a:pt x="674" y="290"/>
                    </a:lnTo>
                    <a:lnTo>
                      <a:pt x="674" y="295"/>
                    </a:lnTo>
                    <a:lnTo>
                      <a:pt x="671" y="297"/>
                    </a:lnTo>
                    <a:lnTo>
                      <a:pt x="669" y="295"/>
                    </a:lnTo>
                    <a:lnTo>
                      <a:pt x="669" y="290"/>
                    </a:lnTo>
                    <a:lnTo>
                      <a:pt x="662" y="288"/>
                    </a:lnTo>
                    <a:lnTo>
                      <a:pt x="666" y="287"/>
                    </a:lnTo>
                    <a:lnTo>
                      <a:pt x="662" y="287"/>
                    </a:lnTo>
                    <a:lnTo>
                      <a:pt x="662" y="288"/>
                    </a:lnTo>
                    <a:lnTo>
                      <a:pt x="661" y="288"/>
                    </a:lnTo>
                    <a:lnTo>
                      <a:pt x="657" y="283"/>
                    </a:lnTo>
                    <a:lnTo>
                      <a:pt x="652" y="278"/>
                    </a:lnTo>
                    <a:lnTo>
                      <a:pt x="652" y="278"/>
                    </a:lnTo>
                    <a:lnTo>
                      <a:pt x="655" y="278"/>
                    </a:lnTo>
                    <a:lnTo>
                      <a:pt x="655" y="274"/>
                    </a:lnTo>
                    <a:lnTo>
                      <a:pt x="654" y="273"/>
                    </a:lnTo>
                    <a:lnTo>
                      <a:pt x="661" y="267"/>
                    </a:lnTo>
                    <a:lnTo>
                      <a:pt x="662" y="267"/>
                    </a:lnTo>
                    <a:lnTo>
                      <a:pt x="666" y="267"/>
                    </a:lnTo>
                    <a:lnTo>
                      <a:pt x="671" y="267"/>
                    </a:lnTo>
                    <a:lnTo>
                      <a:pt x="676" y="271"/>
                    </a:lnTo>
                    <a:lnTo>
                      <a:pt x="680" y="271"/>
                    </a:lnTo>
                    <a:lnTo>
                      <a:pt x="683" y="269"/>
                    </a:lnTo>
                    <a:lnTo>
                      <a:pt x="688" y="269"/>
                    </a:lnTo>
                    <a:lnTo>
                      <a:pt x="692" y="266"/>
                    </a:lnTo>
                    <a:lnTo>
                      <a:pt x="688" y="264"/>
                    </a:lnTo>
                    <a:lnTo>
                      <a:pt x="685" y="262"/>
                    </a:lnTo>
                    <a:lnTo>
                      <a:pt x="683" y="262"/>
                    </a:lnTo>
                    <a:lnTo>
                      <a:pt x="680" y="264"/>
                    </a:lnTo>
                    <a:lnTo>
                      <a:pt x="674" y="260"/>
                    </a:lnTo>
                    <a:lnTo>
                      <a:pt x="671" y="260"/>
                    </a:lnTo>
                    <a:lnTo>
                      <a:pt x="671" y="260"/>
                    </a:lnTo>
                    <a:lnTo>
                      <a:pt x="674" y="255"/>
                    </a:lnTo>
                    <a:lnTo>
                      <a:pt x="678" y="250"/>
                    </a:lnTo>
                    <a:lnTo>
                      <a:pt x="681" y="250"/>
                    </a:lnTo>
                    <a:lnTo>
                      <a:pt x="685" y="250"/>
                    </a:lnTo>
                    <a:lnTo>
                      <a:pt x="692" y="250"/>
                    </a:lnTo>
                    <a:lnTo>
                      <a:pt x="697" y="250"/>
                    </a:lnTo>
                    <a:lnTo>
                      <a:pt x="702" y="250"/>
                    </a:lnTo>
                    <a:lnTo>
                      <a:pt x="704" y="250"/>
                    </a:lnTo>
                    <a:lnTo>
                      <a:pt x="702" y="250"/>
                    </a:lnTo>
                    <a:lnTo>
                      <a:pt x="701" y="250"/>
                    </a:lnTo>
                    <a:lnTo>
                      <a:pt x="697" y="248"/>
                    </a:lnTo>
                    <a:lnTo>
                      <a:pt x="694" y="248"/>
                    </a:lnTo>
                    <a:lnTo>
                      <a:pt x="685" y="245"/>
                    </a:lnTo>
                    <a:lnTo>
                      <a:pt x="685" y="243"/>
                    </a:lnTo>
                    <a:lnTo>
                      <a:pt x="688" y="240"/>
                    </a:lnTo>
                    <a:lnTo>
                      <a:pt x="692" y="236"/>
                    </a:lnTo>
                    <a:lnTo>
                      <a:pt x="694" y="234"/>
                    </a:lnTo>
                    <a:lnTo>
                      <a:pt x="694" y="234"/>
                    </a:lnTo>
                    <a:lnTo>
                      <a:pt x="699" y="233"/>
                    </a:lnTo>
                    <a:lnTo>
                      <a:pt x="702" y="233"/>
                    </a:lnTo>
                    <a:lnTo>
                      <a:pt x="702" y="234"/>
                    </a:lnTo>
                    <a:lnTo>
                      <a:pt x="706" y="234"/>
                    </a:lnTo>
                    <a:lnTo>
                      <a:pt x="709" y="238"/>
                    </a:lnTo>
                    <a:lnTo>
                      <a:pt x="713" y="238"/>
                    </a:lnTo>
                    <a:lnTo>
                      <a:pt x="711" y="234"/>
                    </a:lnTo>
                    <a:lnTo>
                      <a:pt x="707" y="233"/>
                    </a:lnTo>
                    <a:lnTo>
                      <a:pt x="706" y="231"/>
                    </a:lnTo>
                    <a:lnTo>
                      <a:pt x="704" y="227"/>
                    </a:lnTo>
                    <a:lnTo>
                      <a:pt x="707" y="227"/>
                    </a:lnTo>
                    <a:lnTo>
                      <a:pt x="716" y="224"/>
                    </a:lnTo>
                    <a:lnTo>
                      <a:pt x="720" y="224"/>
                    </a:lnTo>
                    <a:lnTo>
                      <a:pt x="725" y="224"/>
                    </a:lnTo>
                    <a:lnTo>
                      <a:pt x="727" y="227"/>
                    </a:lnTo>
                    <a:lnTo>
                      <a:pt x="728" y="233"/>
                    </a:lnTo>
                    <a:lnTo>
                      <a:pt x="727" y="234"/>
                    </a:lnTo>
                    <a:lnTo>
                      <a:pt x="725" y="240"/>
                    </a:lnTo>
                    <a:lnTo>
                      <a:pt x="725" y="241"/>
                    </a:lnTo>
                    <a:lnTo>
                      <a:pt x="732" y="241"/>
                    </a:lnTo>
                    <a:lnTo>
                      <a:pt x="734" y="240"/>
                    </a:lnTo>
                    <a:lnTo>
                      <a:pt x="735" y="241"/>
                    </a:lnTo>
                    <a:lnTo>
                      <a:pt x="739" y="241"/>
                    </a:lnTo>
                    <a:lnTo>
                      <a:pt x="739" y="243"/>
                    </a:lnTo>
                    <a:lnTo>
                      <a:pt x="739" y="247"/>
                    </a:lnTo>
                    <a:lnTo>
                      <a:pt x="742" y="248"/>
                    </a:lnTo>
                    <a:lnTo>
                      <a:pt x="742" y="250"/>
                    </a:lnTo>
                    <a:lnTo>
                      <a:pt x="739" y="250"/>
                    </a:lnTo>
                    <a:lnTo>
                      <a:pt x="739" y="254"/>
                    </a:lnTo>
                    <a:lnTo>
                      <a:pt x="739" y="259"/>
                    </a:lnTo>
                    <a:lnTo>
                      <a:pt x="742" y="264"/>
                    </a:lnTo>
                    <a:lnTo>
                      <a:pt x="739" y="267"/>
                    </a:lnTo>
                    <a:lnTo>
                      <a:pt x="737" y="266"/>
                    </a:lnTo>
                    <a:lnTo>
                      <a:pt x="734" y="267"/>
                    </a:lnTo>
                    <a:lnTo>
                      <a:pt x="734" y="269"/>
                    </a:lnTo>
                    <a:lnTo>
                      <a:pt x="737" y="267"/>
                    </a:lnTo>
                    <a:lnTo>
                      <a:pt x="742" y="269"/>
                    </a:lnTo>
                    <a:lnTo>
                      <a:pt x="744" y="269"/>
                    </a:lnTo>
                    <a:lnTo>
                      <a:pt x="742" y="278"/>
                    </a:lnTo>
                    <a:lnTo>
                      <a:pt x="739" y="278"/>
                    </a:lnTo>
                    <a:lnTo>
                      <a:pt x="739" y="287"/>
                    </a:lnTo>
                    <a:lnTo>
                      <a:pt x="739" y="287"/>
                    </a:lnTo>
                    <a:lnTo>
                      <a:pt x="744" y="287"/>
                    </a:lnTo>
                    <a:lnTo>
                      <a:pt x="747" y="281"/>
                    </a:lnTo>
                    <a:lnTo>
                      <a:pt x="747" y="283"/>
                    </a:lnTo>
                    <a:lnTo>
                      <a:pt x="747" y="287"/>
                    </a:lnTo>
                    <a:lnTo>
                      <a:pt x="751" y="287"/>
                    </a:lnTo>
                    <a:lnTo>
                      <a:pt x="753" y="287"/>
                    </a:lnTo>
                    <a:lnTo>
                      <a:pt x="760" y="288"/>
                    </a:lnTo>
                    <a:lnTo>
                      <a:pt x="763" y="292"/>
                    </a:lnTo>
                    <a:lnTo>
                      <a:pt x="765" y="292"/>
                    </a:lnTo>
                    <a:lnTo>
                      <a:pt x="765" y="288"/>
                    </a:lnTo>
                    <a:lnTo>
                      <a:pt x="763" y="288"/>
                    </a:lnTo>
                    <a:lnTo>
                      <a:pt x="767" y="287"/>
                    </a:lnTo>
                    <a:lnTo>
                      <a:pt x="767" y="281"/>
                    </a:lnTo>
                    <a:lnTo>
                      <a:pt x="765" y="278"/>
                    </a:lnTo>
                    <a:lnTo>
                      <a:pt x="765" y="274"/>
                    </a:lnTo>
                    <a:lnTo>
                      <a:pt x="763" y="271"/>
                    </a:lnTo>
                    <a:lnTo>
                      <a:pt x="763" y="269"/>
                    </a:lnTo>
                    <a:lnTo>
                      <a:pt x="767" y="269"/>
                    </a:lnTo>
                    <a:lnTo>
                      <a:pt x="770" y="267"/>
                    </a:lnTo>
                    <a:lnTo>
                      <a:pt x="773" y="267"/>
                    </a:lnTo>
                    <a:lnTo>
                      <a:pt x="775" y="262"/>
                    </a:lnTo>
                    <a:lnTo>
                      <a:pt x="773" y="259"/>
                    </a:lnTo>
                    <a:lnTo>
                      <a:pt x="772" y="255"/>
                    </a:lnTo>
                    <a:lnTo>
                      <a:pt x="772" y="254"/>
                    </a:lnTo>
                    <a:lnTo>
                      <a:pt x="770" y="248"/>
                    </a:lnTo>
                    <a:lnTo>
                      <a:pt x="773" y="245"/>
                    </a:lnTo>
                    <a:lnTo>
                      <a:pt x="775" y="243"/>
                    </a:lnTo>
                    <a:lnTo>
                      <a:pt x="779" y="243"/>
                    </a:lnTo>
                    <a:lnTo>
                      <a:pt x="782" y="243"/>
                    </a:lnTo>
                    <a:lnTo>
                      <a:pt x="780" y="241"/>
                    </a:lnTo>
                    <a:lnTo>
                      <a:pt x="782" y="238"/>
                    </a:lnTo>
                    <a:lnTo>
                      <a:pt x="786" y="236"/>
                    </a:lnTo>
                    <a:lnTo>
                      <a:pt x="793" y="231"/>
                    </a:lnTo>
                    <a:lnTo>
                      <a:pt x="796" y="231"/>
                    </a:lnTo>
                    <a:lnTo>
                      <a:pt x="801" y="233"/>
                    </a:lnTo>
                    <a:lnTo>
                      <a:pt x="801" y="234"/>
                    </a:lnTo>
                    <a:lnTo>
                      <a:pt x="801" y="236"/>
                    </a:lnTo>
                    <a:lnTo>
                      <a:pt x="801" y="240"/>
                    </a:lnTo>
                    <a:lnTo>
                      <a:pt x="798" y="240"/>
                    </a:lnTo>
                    <a:lnTo>
                      <a:pt x="796" y="241"/>
                    </a:lnTo>
                    <a:lnTo>
                      <a:pt x="796" y="245"/>
                    </a:lnTo>
                    <a:lnTo>
                      <a:pt x="793" y="248"/>
                    </a:lnTo>
                    <a:lnTo>
                      <a:pt x="793" y="250"/>
                    </a:lnTo>
                    <a:lnTo>
                      <a:pt x="796" y="254"/>
                    </a:lnTo>
                    <a:lnTo>
                      <a:pt x="796" y="260"/>
                    </a:lnTo>
                    <a:lnTo>
                      <a:pt x="793" y="262"/>
                    </a:lnTo>
                    <a:lnTo>
                      <a:pt x="793" y="262"/>
                    </a:lnTo>
                    <a:lnTo>
                      <a:pt x="787" y="267"/>
                    </a:lnTo>
                    <a:lnTo>
                      <a:pt x="784" y="269"/>
                    </a:lnTo>
                    <a:lnTo>
                      <a:pt x="784" y="271"/>
                    </a:lnTo>
                    <a:lnTo>
                      <a:pt x="786" y="271"/>
                    </a:lnTo>
                    <a:lnTo>
                      <a:pt x="789" y="269"/>
                    </a:lnTo>
                    <a:lnTo>
                      <a:pt x="793" y="269"/>
                    </a:lnTo>
                    <a:lnTo>
                      <a:pt x="796" y="271"/>
                    </a:lnTo>
                    <a:lnTo>
                      <a:pt x="793" y="276"/>
                    </a:lnTo>
                    <a:lnTo>
                      <a:pt x="787" y="278"/>
                    </a:lnTo>
                    <a:lnTo>
                      <a:pt x="782" y="281"/>
                    </a:lnTo>
                    <a:lnTo>
                      <a:pt x="780" y="287"/>
                    </a:lnTo>
                    <a:lnTo>
                      <a:pt x="782" y="287"/>
                    </a:lnTo>
                    <a:lnTo>
                      <a:pt x="784" y="283"/>
                    </a:lnTo>
                    <a:lnTo>
                      <a:pt x="789" y="281"/>
                    </a:lnTo>
                    <a:lnTo>
                      <a:pt x="793" y="278"/>
                    </a:lnTo>
                    <a:lnTo>
                      <a:pt x="796" y="278"/>
                    </a:lnTo>
                    <a:lnTo>
                      <a:pt x="798" y="281"/>
                    </a:lnTo>
                    <a:lnTo>
                      <a:pt x="798" y="287"/>
                    </a:lnTo>
                    <a:lnTo>
                      <a:pt x="796" y="290"/>
                    </a:lnTo>
                    <a:lnTo>
                      <a:pt x="798" y="292"/>
                    </a:lnTo>
                    <a:lnTo>
                      <a:pt x="801" y="288"/>
                    </a:lnTo>
                    <a:lnTo>
                      <a:pt x="801" y="288"/>
                    </a:lnTo>
                    <a:lnTo>
                      <a:pt x="803" y="287"/>
                    </a:lnTo>
                    <a:lnTo>
                      <a:pt x="801" y="287"/>
                    </a:lnTo>
                    <a:lnTo>
                      <a:pt x="805" y="281"/>
                    </a:lnTo>
                    <a:lnTo>
                      <a:pt x="805" y="278"/>
                    </a:lnTo>
                    <a:lnTo>
                      <a:pt x="810" y="276"/>
                    </a:lnTo>
                    <a:lnTo>
                      <a:pt x="812" y="276"/>
                    </a:lnTo>
                    <a:lnTo>
                      <a:pt x="817" y="278"/>
                    </a:lnTo>
                    <a:lnTo>
                      <a:pt x="819" y="283"/>
                    </a:lnTo>
                    <a:lnTo>
                      <a:pt x="820" y="287"/>
                    </a:lnTo>
                    <a:lnTo>
                      <a:pt x="820" y="290"/>
                    </a:lnTo>
                    <a:lnTo>
                      <a:pt x="815" y="299"/>
                    </a:lnTo>
                    <a:lnTo>
                      <a:pt x="810" y="302"/>
                    </a:lnTo>
                    <a:lnTo>
                      <a:pt x="807" y="304"/>
                    </a:lnTo>
                    <a:lnTo>
                      <a:pt x="805" y="304"/>
                    </a:lnTo>
                    <a:lnTo>
                      <a:pt x="805" y="306"/>
                    </a:lnTo>
                    <a:lnTo>
                      <a:pt x="805" y="309"/>
                    </a:lnTo>
                    <a:lnTo>
                      <a:pt x="801" y="313"/>
                    </a:lnTo>
                    <a:lnTo>
                      <a:pt x="798" y="313"/>
                    </a:lnTo>
                    <a:lnTo>
                      <a:pt x="796" y="314"/>
                    </a:lnTo>
                    <a:lnTo>
                      <a:pt x="796" y="318"/>
                    </a:lnTo>
                    <a:lnTo>
                      <a:pt x="793" y="320"/>
                    </a:lnTo>
                    <a:lnTo>
                      <a:pt x="793" y="320"/>
                    </a:lnTo>
                    <a:lnTo>
                      <a:pt x="789" y="321"/>
                    </a:lnTo>
                    <a:lnTo>
                      <a:pt x="789" y="323"/>
                    </a:lnTo>
                    <a:lnTo>
                      <a:pt x="789" y="323"/>
                    </a:lnTo>
                    <a:lnTo>
                      <a:pt x="787" y="321"/>
                    </a:lnTo>
                    <a:lnTo>
                      <a:pt x="784" y="323"/>
                    </a:lnTo>
                    <a:lnTo>
                      <a:pt x="780" y="321"/>
                    </a:lnTo>
                    <a:lnTo>
                      <a:pt x="775" y="325"/>
                    </a:lnTo>
                    <a:lnTo>
                      <a:pt x="770" y="327"/>
                    </a:lnTo>
                    <a:lnTo>
                      <a:pt x="767" y="325"/>
                    </a:lnTo>
                    <a:lnTo>
                      <a:pt x="767" y="321"/>
                    </a:lnTo>
                    <a:lnTo>
                      <a:pt x="767" y="318"/>
                    </a:lnTo>
                    <a:lnTo>
                      <a:pt x="767" y="318"/>
                    </a:lnTo>
                    <a:lnTo>
                      <a:pt x="767" y="318"/>
                    </a:lnTo>
                    <a:lnTo>
                      <a:pt x="763" y="318"/>
                    </a:lnTo>
                    <a:lnTo>
                      <a:pt x="763" y="320"/>
                    </a:lnTo>
                    <a:lnTo>
                      <a:pt x="760" y="321"/>
                    </a:lnTo>
                    <a:lnTo>
                      <a:pt x="754" y="320"/>
                    </a:lnTo>
                    <a:lnTo>
                      <a:pt x="754" y="318"/>
                    </a:lnTo>
                    <a:lnTo>
                      <a:pt x="756" y="318"/>
                    </a:lnTo>
                    <a:lnTo>
                      <a:pt x="756" y="313"/>
                    </a:lnTo>
                    <a:lnTo>
                      <a:pt x="753" y="313"/>
                    </a:lnTo>
                    <a:lnTo>
                      <a:pt x="753" y="314"/>
                    </a:lnTo>
                    <a:lnTo>
                      <a:pt x="751" y="318"/>
                    </a:lnTo>
                    <a:lnTo>
                      <a:pt x="747" y="318"/>
                    </a:lnTo>
                    <a:lnTo>
                      <a:pt x="744" y="318"/>
                    </a:lnTo>
                    <a:lnTo>
                      <a:pt x="742" y="320"/>
                    </a:lnTo>
                    <a:lnTo>
                      <a:pt x="739" y="320"/>
                    </a:lnTo>
                    <a:lnTo>
                      <a:pt x="737" y="318"/>
                    </a:lnTo>
                    <a:lnTo>
                      <a:pt x="734" y="320"/>
                    </a:lnTo>
                    <a:lnTo>
                      <a:pt x="730" y="318"/>
                    </a:lnTo>
                    <a:lnTo>
                      <a:pt x="728" y="320"/>
                    </a:lnTo>
                    <a:lnTo>
                      <a:pt x="727" y="320"/>
                    </a:lnTo>
                    <a:lnTo>
                      <a:pt x="725" y="321"/>
                    </a:lnTo>
                    <a:lnTo>
                      <a:pt x="725" y="323"/>
                    </a:lnTo>
                    <a:lnTo>
                      <a:pt x="721" y="325"/>
                    </a:lnTo>
                    <a:lnTo>
                      <a:pt x="720" y="325"/>
                    </a:lnTo>
                    <a:lnTo>
                      <a:pt x="716" y="327"/>
                    </a:lnTo>
                    <a:lnTo>
                      <a:pt x="714" y="328"/>
                    </a:lnTo>
                    <a:lnTo>
                      <a:pt x="713" y="328"/>
                    </a:lnTo>
                    <a:lnTo>
                      <a:pt x="709" y="328"/>
                    </a:lnTo>
                    <a:lnTo>
                      <a:pt x="706" y="328"/>
                    </a:lnTo>
                    <a:lnTo>
                      <a:pt x="704" y="327"/>
                    </a:lnTo>
                    <a:lnTo>
                      <a:pt x="699" y="328"/>
                    </a:lnTo>
                    <a:lnTo>
                      <a:pt x="694" y="328"/>
                    </a:lnTo>
                    <a:lnTo>
                      <a:pt x="690" y="328"/>
                    </a:lnTo>
                    <a:lnTo>
                      <a:pt x="685" y="327"/>
                    </a:lnTo>
                    <a:lnTo>
                      <a:pt x="681" y="325"/>
                    </a:lnTo>
                    <a:lnTo>
                      <a:pt x="678" y="321"/>
                    </a:lnTo>
                    <a:lnTo>
                      <a:pt x="674" y="318"/>
                    </a:lnTo>
                    <a:lnTo>
                      <a:pt x="674" y="318"/>
                    </a:lnTo>
                    <a:lnTo>
                      <a:pt x="674" y="318"/>
                    </a:lnTo>
                    <a:lnTo>
                      <a:pt x="674" y="318"/>
                    </a:lnTo>
                    <a:close/>
                    <a:moveTo>
                      <a:pt x="475" y="427"/>
                    </a:moveTo>
                    <a:lnTo>
                      <a:pt x="475" y="419"/>
                    </a:lnTo>
                    <a:lnTo>
                      <a:pt x="475" y="413"/>
                    </a:lnTo>
                    <a:lnTo>
                      <a:pt x="475" y="410"/>
                    </a:lnTo>
                    <a:lnTo>
                      <a:pt x="475" y="405"/>
                    </a:lnTo>
                    <a:lnTo>
                      <a:pt x="475" y="400"/>
                    </a:lnTo>
                    <a:lnTo>
                      <a:pt x="475" y="398"/>
                    </a:lnTo>
                    <a:lnTo>
                      <a:pt x="469" y="391"/>
                    </a:lnTo>
                    <a:lnTo>
                      <a:pt x="475" y="391"/>
                    </a:lnTo>
                    <a:lnTo>
                      <a:pt x="475" y="387"/>
                    </a:lnTo>
                    <a:lnTo>
                      <a:pt x="468" y="387"/>
                    </a:lnTo>
                    <a:lnTo>
                      <a:pt x="462" y="386"/>
                    </a:lnTo>
                    <a:lnTo>
                      <a:pt x="462" y="384"/>
                    </a:lnTo>
                    <a:lnTo>
                      <a:pt x="466" y="384"/>
                    </a:lnTo>
                    <a:lnTo>
                      <a:pt x="468" y="382"/>
                    </a:lnTo>
                    <a:lnTo>
                      <a:pt x="475" y="379"/>
                    </a:lnTo>
                    <a:lnTo>
                      <a:pt x="475" y="377"/>
                    </a:lnTo>
                    <a:lnTo>
                      <a:pt x="476" y="377"/>
                    </a:lnTo>
                    <a:lnTo>
                      <a:pt x="478" y="373"/>
                    </a:lnTo>
                    <a:lnTo>
                      <a:pt x="482" y="372"/>
                    </a:lnTo>
                    <a:lnTo>
                      <a:pt x="483" y="368"/>
                    </a:lnTo>
                    <a:lnTo>
                      <a:pt x="489" y="365"/>
                    </a:lnTo>
                    <a:lnTo>
                      <a:pt x="489" y="365"/>
                    </a:lnTo>
                    <a:lnTo>
                      <a:pt x="494" y="365"/>
                    </a:lnTo>
                    <a:lnTo>
                      <a:pt x="497" y="360"/>
                    </a:lnTo>
                    <a:lnTo>
                      <a:pt x="497" y="354"/>
                    </a:lnTo>
                    <a:lnTo>
                      <a:pt x="497" y="356"/>
                    </a:lnTo>
                    <a:lnTo>
                      <a:pt x="506" y="358"/>
                    </a:lnTo>
                    <a:lnTo>
                      <a:pt x="506" y="353"/>
                    </a:lnTo>
                    <a:lnTo>
                      <a:pt x="504" y="347"/>
                    </a:lnTo>
                    <a:lnTo>
                      <a:pt x="504" y="344"/>
                    </a:lnTo>
                    <a:lnTo>
                      <a:pt x="508" y="342"/>
                    </a:lnTo>
                    <a:lnTo>
                      <a:pt x="516" y="337"/>
                    </a:lnTo>
                    <a:lnTo>
                      <a:pt x="520" y="333"/>
                    </a:lnTo>
                    <a:lnTo>
                      <a:pt x="525" y="332"/>
                    </a:lnTo>
                    <a:lnTo>
                      <a:pt x="527" y="328"/>
                    </a:lnTo>
                    <a:lnTo>
                      <a:pt x="532" y="323"/>
                    </a:lnTo>
                    <a:lnTo>
                      <a:pt x="535" y="323"/>
                    </a:lnTo>
                    <a:lnTo>
                      <a:pt x="539" y="320"/>
                    </a:lnTo>
                    <a:lnTo>
                      <a:pt x="535" y="318"/>
                    </a:lnTo>
                    <a:lnTo>
                      <a:pt x="537" y="309"/>
                    </a:lnTo>
                    <a:lnTo>
                      <a:pt x="537" y="306"/>
                    </a:lnTo>
                    <a:lnTo>
                      <a:pt x="539" y="302"/>
                    </a:lnTo>
                    <a:lnTo>
                      <a:pt x="537" y="300"/>
                    </a:lnTo>
                    <a:lnTo>
                      <a:pt x="539" y="299"/>
                    </a:lnTo>
                    <a:lnTo>
                      <a:pt x="542" y="297"/>
                    </a:lnTo>
                    <a:lnTo>
                      <a:pt x="548" y="297"/>
                    </a:lnTo>
                    <a:lnTo>
                      <a:pt x="556" y="297"/>
                    </a:lnTo>
                    <a:lnTo>
                      <a:pt x="558" y="297"/>
                    </a:lnTo>
                    <a:lnTo>
                      <a:pt x="570" y="297"/>
                    </a:lnTo>
                    <a:lnTo>
                      <a:pt x="577" y="293"/>
                    </a:lnTo>
                    <a:lnTo>
                      <a:pt x="588" y="297"/>
                    </a:lnTo>
                    <a:lnTo>
                      <a:pt x="586" y="300"/>
                    </a:lnTo>
                    <a:lnTo>
                      <a:pt x="589" y="302"/>
                    </a:lnTo>
                    <a:lnTo>
                      <a:pt x="589" y="306"/>
                    </a:lnTo>
                    <a:lnTo>
                      <a:pt x="598" y="311"/>
                    </a:lnTo>
                    <a:lnTo>
                      <a:pt x="600" y="313"/>
                    </a:lnTo>
                    <a:lnTo>
                      <a:pt x="596" y="318"/>
                    </a:lnTo>
                    <a:lnTo>
                      <a:pt x="600" y="314"/>
                    </a:lnTo>
                    <a:lnTo>
                      <a:pt x="603" y="313"/>
                    </a:lnTo>
                    <a:lnTo>
                      <a:pt x="607" y="318"/>
                    </a:lnTo>
                    <a:lnTo>
                      <a:pt x="605" y="320"/>
                    </a:lnTo>
                    <a:lnTo>
                      <a:pt x="600" y="325"/>
                    </a:lnTo>
                    <a:lnTo>
                      <a:pt x="601" y="327"/>
                    </a:lnTo>
                    <a:lnTo>
                      <a:pt x="608" y="323"/>
                    </a:lnTo>
                    <a:lnTo>
                      <a:pt x="608" y="320"/>
                    </a:lnTo>
                    <a:lnTo>
                      <a:pt x="610" y="318"/>
                    </a:lnTo>
                    <a:lnTo>
                      <a:pt x="615" y="318"/>
                    </a:lnTo>
                    <a:lnTo>
                      <a:pt x="621" y="318"/>
                    </a:lnTo>
                    <a:lnTo>
                      <a:pt x="621" y="318"/>
                    </a:lnTo>
                    <a:lnTo>
                      <a:pt x="624" y="320"/>
                    </a:lnTo>
                    <a:lnTo>
                      <a:pt x="628" y="327"/>
                    </a:lnTo>
                    <a:lnTo>
                      <a:pt x="629" y="335"/>
                    </a:lnTo>
                    <a:lnTo>
                      <a:pt x="628" y="337"/>
                    </a:lnTo>
                    <a:lnTo>
                      <a:pt x="631" y="344"/>
                    </a:lnTo>
                    <a:lnTo>
                      <a:pt x="629" y="349"/>
                    </a:lnTo>
                    <a:lnTo>
                      <a:pt x="629" y="351"/>
                    </a:lnTo>
                    <a:lnTo>
                      <a:pt x="631" y="353"/>
                    </a:lnTo>
                    <a:lnTo>
                      <a:pt x="631" y="356"/>
                    </a:lnTo>
                    <a:lnTo>
                      <a:pt x="631" y="360"/>
                    </a:lnTo>
                    <a:lnTo>
                      <a:pt x="628" y="365"/>
                    </a:lnTo>
                    <a:lnTo>
                      <a:pt x="621" y="365"/>
                    </a:lnTo>
                    <a:lnTo>
                      <a:pt x="621" y="368"/>
                    </a:lnTo>
                    <a:lnTo>
                      <a:pt x="612" y="368"/>
                    </a:lnTo>
                    <a:lnTo>
                      <a:pt x="607" y="368"/>
                    </a:lnTo>
                    <a:lnTo>
                      <a:pt x="598" y="370"/>
                    </a:lnTo>
                    <a:lnTo>
                      <a:pt x="593" y="372"/>
                    </a:lnTo>
                    <a:lnTo>
                      <a:pt x="584" y="375"/>
                    </a:lnTo>
                    <a:lnTo>
                      <a:pt x="582" y="375"/>
                    </a:lnTo>
                    <a:lnTo>
                      <a:pt x="577" y="377"/>
                    </a:lnTo>
                    <a:lnTo>
                      <a:pt x="572" y="377"/>
                    </a:lnTo>
                    <a:lnTo>
                      <a:pt x="570" y="379"/>
                    </a:lnTo>
                    <a:lnTo>
                      <a:pt x="567" y="377"/>
                    </a:lnTo>
                    <a:lnTo>
                      <a:pt x="567" y="379"/>
                    </a:lnTo>
                    <a:lnTo>
                      <a:pt x="560" y="380"/>
                    </a:lnTo>
                    <a:lnTo>
                      <a:pt x="558" y="384"/>
                    </a:lnTo>
                    <a:lnTo>
                      <a:pt x="555" y="387"/>
                    </a:lnTo>
                    <a:lnTo>
                      <a:pt x="553" y="387"/>
                    </a:lnTo>
                    <a:lnTo>
                      <a:pt x="551" y="393"/>
                    </a:lnTo>
                    <a:lnTo>
                      <a:pt x="548" y="393"/>
                    </a:lnTo>
                    <a:lnTo>
                      <a:pt x="542" y="396"/>
                    </a:lnTo>
                    <a:lnTo>
                      <a:pt x="539" y="396"/>
                    </a:lnTo>
                    <a:lnTo>
                      <a:pt x="537" y="393"/>
                    </a:lnTo>
                    <a:lnTo>
                      <a:pt x="535" y="396"/>
                    </a:lnTo>
                    <a:lnTo>
                      <a:pt x="534" y="400"/>
                    </a:lnTo>
                    <a:lnTo>
                      <a:pt x="530" y="401"/>
                    </a:lnTo>
                    <a:lnTo>
                      <a:pt x="525" y="407"/>
                    </a:lnTo>
                    <a:lnTo>
                      <a:pt x="525" y="408"/>
                    </a:lnTo>
                    <a:lnTo>
                      <a:pt x="520" y="413"/>
                    </a:lnTo>
                    <a:lnTo>
                      <a:pt x="522" y="415"/>
                    </a:lnTo>
                    <a:lnTo>
                      <a:pt x="516" y="419"/>
                    </a:lnTo>
                    <a:lnTo>
                      <a:pt x="513" y="424"/>
                    </a:lnTo>
                    <a:lnTo>
                      <a:pt x="509" y="424"/>
                    </a:lnTo>
                    <a:lnTo>
                      <a:pt x="504" y="424"/>
                    </a:lnTo>
                    <a:lnTo>
                      <a:pt x="501" y="424"/>
                    </a:lnTo>
                    <a:lnTo>
                      <a:pt x="499" y="424"/>
                    </a:lnTo>
                    <a:lnTo>
                      <a:pt x="502" y="419"/>
                    </a:lnTo>
                    <a:lnTo>
                      <a:pt x="501" y="415"/>
                    </a:lnTo>
                    <a:lnTo>
                      <a:pt x="499" y="415"/>
                    </a:lnTo>
                    <a:lnTo>
                      <a:pt x="497" y="415"/>
                    </a:lnTo>
                    <a:lnTo>
                      <a:pt x="497" y="419"/>
                    </a:lnTo>
                    <a:lnTo>
                      <a:pt x="494" y="419"/>
                    </a:lnTo>
                    <a:lnTo>
                      <a:pt x="489" y="424"/>
                    </a:lnTo>
                    <a:lnTo>
                      <a:pt x="485" y="424"/>
                    </a:lnTo>
                    <a:lnTo>
                      <a:pt x="483" y="424"/>
                    </a:lnTo>
                    <a:lnTo>
                      <a:pt x="480" y="424"/>
                    </a:lnTo>
                    <a:lnTo>
                      <a:pt x="476" y="427"/>
                    </a:lnTo>
                    <a:lnTo>
                      <a:pt x="475" y="427"/>
                    </a:lnTo>
                    <a:lnTo>
                      <a:pt x="471" y="427"/>
                    </a:lnTo>
                    <a:lnTo>
                      <a:pt x="475" y="427"/>
                    </a:lnTo>
                    <a:lnTo>
                      <a:pt x="475" y="427"/>
                    </a:lnTo>
                    <a:lnTo>
                      <a:pt x="475" y="427"/>
                    </a:lnTo>
                    <a:lnTo>
                      <a:pt x="475" y="427"/>
                    </a:lnTo>
                    <a:close/>
                    <a:moveTo>
                      <a:pt x="906" y="373"/>
                    </a:moveTo>
                    <a:lnTo>
                      <a:pt x="907" y="375"/>
                    </a:lnTo>
                    <a:lnTo>
                      <a:pt x="907" y="377"/>
                    </a:lnTo>
                    <a:lnTo>
                      <a:pt x="907" y="380"/>
                    </a:lnTo>
                    <a:lnTo>
                      <a:pt x="906" y="382"/>
                    </a:lnTo>
                    <a:lnTo>
                      <a:pt x="906" y="380"/>
                    </a:lnTo>
                    <a:lnTo>
                      <a:pt x="906" y="375"/>
                    </a:lnTo>
                    <a:lnTo>
                      <a:pt x="906" y="373"/>
                    </a:lnTo>
                    <a:lnTo>
                      <a:pt x="906" y="373"/>
                    </a:lnTo>
                    <a:lnTo>
                      <a:pt x="906" y="373"/>
                    </a:lnTo>
                    <a:lnTo>
                      <a:pt x="906" y="373"/>
                    </a:lnTo>
                    <a:close/>
                    <a:moveTo>
                      <a:pt x="871" y="375"/>
                    </a:moveTo>
                    <a:lnTo>
                      <a:pt x="874" y="370"/>
                    </a:lnTo>
                    <a:lnTo>
                      <a:pt x="878" y="368"/>
                    </a:lnTo>
                    <a:lnTo>
                      <a:pt x="879" y="370"/>
                    </a:lnTo>
                    <a:lnTo>
                      <a:pt x="879" y="373"/>
                    </a:lnTo>
                    <a:lnTo>
                      <a:pt x="876" y="373"/>
                    </a:lnTo>
                    <a:lnTo>
                      <a:pt x="874" y="375"/>
                    </a:lnTo>
                    <a:lnTo>
                      <a:pt x="871" y="375"/>
                    </a:lnTo>
                    <a:lnTo>
                      <a:pt x="871" y="375"/>
                    </a:lnTo>
                    <a:lnTo>
                      <a:pt x="871" y="375"/>
                    </a:lnTo>
                    <a:lnTo>
                      <a:pt x="871" y="375"/>
                    </a:lnTo>
                    <a:close/>
                    <a:moveTo>
                      <a:pt x="840" y="393"/>
                    </a:moveTo>
                    <a:lnTo>
                      <a:pt x="841" y="396"/>
                    </a:lnTo>
                    <a:lnTo>
                      <a:pt x="846" y="396"/>
                    </a:lnTo>
                    <a:lnTo>
                      <a:pt x="852" y="400"/>
                    </a:lnTo>
                    <a:lnTo>
                      <a:pt x="852" y="398"/>
                    </a:lnTo>
                    <a:lnTo>
                      <a:pt x="853" y="400"/>
                    </a:lnTo>
                    <a:lnTo>
                      <a:pt x="859" y="396"/>
                    </a:lnTo>
                    <a:lnTo>
                      <a:pt x="860" y="398"/>
                    </a:lnTo>
                    <a:lnTo>
                      <a:pt x="864" y="398"/>
                    </a:lnTo>
                    <a:lnTo>
                      <a:pt x="866" y="396"/>
                    </a:lnTo>
                    <a:lnTo>
                      <a:pt x="871" y="396"/>
                    </a:lnTo>
                    <a:lnTo>
                      <a:pt x="871" y="393"/>
                    </a:lnTo>
                    <a:lnTo>
                      <a:pt x="866" y="391"/>
                    </a:lnTo>
                    <a:lnTo>
                      <a:pt x="862" y="393"/>
                    </a:lnTo>
                    <a:lnTo>
                      <a:pt x="859" y="393"/>
                    </a:lnTo>
                    <a:lnTo>
                      <a:pt x="857" y="393"/>
                    </a:lnTo>
                    <a:lnTo>
                      <a:pt x="852" y="393"/>
                    </a:lnTo>
                    <a:lnTo>
                      <a:pt x="848" y="391"/>
                    </a:lnTo>
                    <a:lnTo>
                      <a:pt x="846" y="393"/>
                    </a:lnTo>
                    <a:lnTo>
                      <a:pt x="841" y="393"/>
                    </a:lnTo>
                    <a:lnTo>
                      <a:pt x="840" y="393"/>
                    </a:lnTo>
                    <a:lnTo>
                      <a:pt x="840" y="393"/>
                    </a:lnTo>
                    <a:lnTo>
                      <a:pt x="840" y="393"/>
                    </a:lnTo>
                    <a:lnTo>
                      <a:pt x="840" y="393"/>
                    </a:lnTo>
                    <a:close/>
                    <a:moveTo>
                      <a:pt x="820" y="513"/>
                    </a:moveTo>
                    <a:lnTo>
                      <a:pt x="820" y="511"/>
                    </a:lnTo>
                    <a:lnTo>
                      <a:pt x="820" y="509"/>
                    </a:lnTo>
                    <a:lnTo>
                      <a:pt x="820" y="509"/>
                    </a:lnTo>
                    <a:lnTo>
                      <a:pt x="820" y="513"/>
                    </a:lnTo>
                    <a:lnTo>
                      <a:pt x="820" y="513"/>
                    </a:lnTo>
                    <a:lnTo>
                      <a:pt x="820" y="513"/>
                    </a:lnTo>
                    <a:lnTo>
                      <a:pt x="820" y="513"/>
                    </a:lnTo>
                    <a:lnTo>
                      <a:pt x="820" y="513"/>
                    </a:lnTo>
                    <a:close/>
                    <a:moveTo>
                      <a:pt x="801" y="509"/>
                    </a:moveTo>
                    <a:lnTo>
                      <a:pt x="798" y="509"/>
                    </a:lnTo>
                    <a:lnTo>
                      <a:pt x="798" y="506"/>
                    </a:lnTo>
                    <a:lnTo>
                      <a:pt x="798" y="502"/>
                    </a:lnTo>
                    <a:lnTo>
                      <a:pt x="796" y="506"/>
                    </a:lnTo>
                    <a:lnTo>
                      <a:pt x="793" y="502"/>
                    </a:lnTo>
                    <a:lnTo>
                      <a:pt x="796" y="500"/>
                    </a:lnTo>
                    <a:lnTo>
                      <a:pt x="793" y="495"/>
                    </a:lnTo>
                    <a:lnTo>
                      <a:pt x="793" y="493"/>
                    </a:lnTo>
                    <a:lnTo>
                      <a:pt x="793" y="490"/>
                    </a:lnTo>
                    <a:lnTo>
                      <a:pt x="793" y="485"/>
                    </a:lnTo>
                    <a:lnTo>
                      <a:pt x="793" y="481"/>
                    </a:lnTo>
                    <a:lnTo>
                      <a:pt x="793" y="481"/>
                    </a:lnTo>
                    <a:lnTo>
                      <a:pt x="789" y="478"/>
                    </a:lnTo>
                    <a:lnTo>
                      <a:pt x="789" y="474"/>
                    </a:lnTo>
                    <a:lnTo>
                      <a:pt x="787" y="473"/>
                    </a:lnTo>
                    <a:lnTo>
                      <a:pt x="787" y="467"/>
                    </a:lnTo>
                    <a:lnTo>
                      <a:pt x="786" y="462"/>
                    </a:lnTo>
                    <a:lnTo>
                      <a:pt x="784" y="462"/>
                    </a:lnTo>
                    <a:lnTo>
                      <a:pt x="782" y="460"/>
                    </a:lnTo>
                    <a:lnTo>
                      <a:pt x="782" y="457"/>
                    </a:lnTo>
                    <a:lnTo>
                      <a:pt x="780" y="455"/>
                    </a:lnTo>
                    <a:lnTo>
                      <a:pt x="779" y="457"/>
                    </a:lnTo>
                    <a:lnTo>
                      <a:pt x="779" y="455"/>
                    </a:lnTo>
                    <a:lnTo>
                      <a:pt x="773" y="457"/>
                    </a:lnTo>
                    <a:lnTo>
                      <a:pt x="772" y="455"/>
                    </a:lnTo>
                    <a:lnTo>
                      <a:pt x="772" y="450"/>
                    </a:lnTo>
                    <a:lnTo>
                      <a:pt x="775" y="450"/>
                    </a:lnTo>
                    <a:lnTo>
                      <a:pt x="779" y="445"/>
                    </a:lnTo>
                    <a:lnTo>
                      <a:pt x="775" y="443"/>
                    </a:lnTo>
                    <a:lnTo>
                      <a:pt x="775" y="441"/>
                    </a:lnTo>
                    <a:lnTo>
                      <a:pt x="775" y="434"/>
                    </a:lnTo>
                    <a:lnTo>
                      <a:pt x="775" y="433"/>
                    </a:lnTo>
                    <a:lnTo>
                      <a:pt x="779" y="427"/>
                    </a:lnTo>
                    <a:lnTo>
                      <a:pt x="782" y="427"/>
                    </a:lnTo>
                    <a:lnTo>
                      <a:pt x="784" y="424"/>
                    </a:lnTo>
                    <a:lnTo>
                      <a:pt x="786" y="424"/>
                    </a:lnTo>
                    <a:lnTo>
                      <a:pt x="787" y="424"/>
                    </a:lnTo>
                    <a:lnTo>
                      <a:pt x="793" y="424"/>
                    </a:lnTo>
                    <a:lnTo>
                      <a:pt x="796" y="424"/>
                    </a:lnTo>
                    <a:lnTo>
                      <a:pt x="796" y="427"/>
                    </a:lnTo>
                    <a:lnTo>
                      <a:pt x="796" y="427"/>
                    </a:lnTo>
                    <a:lnTo>
                      <a:pt x="793" y="427"/>
                    </a:lnTo>
                    <a:lnTo>
                      <a:pt x="793" y="429"/>
                    </a:lnTo>
                    <a:lnTo>
                      <a:pt x="796" y="431"/>
                    </a:lnTo>
                    <a:lnTo>
                      <a:pt x="798" y="433"/>
                    </a:lnTo>
                    <a:lnTo>
                      <a:pt x="796" y="436"/>
                    </a:lnTo>
                    <a:lnTo>
                      <a:pt x="801" y="440"/>
                    </a:lnTo>
                    <a:lnTo>
                      <a:pt x="801" y="443"/>
                    </a:lnTo>
                    <a:lnTo>
                      <a:pt x="801" y="447"/>
                    </a:lnTo>
                    <a:lnTo>
                      <a:pt x="805" y="447"/>
                    </a:lnTo>
                    <a:lnTo>
                      <a:pt x="807" y="447"/>
                    </a:lnTo>
                    <a:lnTo>
                      <a:pt x="807" y="443"/>
                    </a:lnTo>
                    <a:lnTo>
                      <a:pt x="808" y="441"/>
                    </a:lnTo>
                    <a:lnTo>
                      <a:pt x="810" y="438"/>
                    </a:lnTo>
                    <a:lnTo>
                      <a:pt x="810" y="434"/>
                    </a:lnTo>
                    <a:lnTo>
                      <a:pt x="812" y="433"/>
                    </a:lnTo>
                    <a:lnTo>
                      <a:pt x="813" y="431"/>
                    </a:lnTo>
                    <a:lnTo>
                      <a:pt x="812" y="427"/>
                    </a:lnTo>
                    <a:lnTo>
                      <a:pt x="813" y="427"/>
                    </a:lnTo>
                    <a:lnTo>
                      <a:pt x="817" y="424"/>
                    </a:lnTo>
                    <a:lnTo>
                      <a:pt x="819" y="427"/>
                    </a:lnTo>
                    <a:lnTo>
                      <a:pt x="820" y="429"/>
                    </a:lnTo>
                    <a:lnTo>
                      <a:pt x="820" y="429"/>
                    </a:lnTo>
                    <a:lnTo>
                      <a:pt x="820" y="427"/>
                    </a:lnTo>
                    <a:lnTo>
                      <a:pt x="820" y="424"/>
                    </a:lnTo>
                    <a:lnTo>
                      <a:pt x="819" y="419"/>
                    </a:lnTo>
                    <a:lnTo>
                      <a:pt x="819" y="419"/>
                    </a:lnTo>
                    <a:lnTo>
                      <a:pt x="817" y="424"/>
                    </a:lnTo>
                    <a:lnTo>
                      <a:pt x="812" y="424"/>
                    </a:lnTo>
                    <a:lnTo>
                      <a:pt x="808" y="419"/>
                    </a:lnTo>
                    <a:lnTo>
                      <a:pt x="808" y="415"/>
                    </a:lnTo>
                    <a:lnTo>
                      <a:pt x="807" y="413"/>
                    </a:lnTo>
                    <a:lnTo>
                      <a:pt x="807" y="410"/>
                    </a:lnTo>
                    <a:lnTo>
                      <a:pt x="808" y="408"/>
                    </a:lnTo>
                    <a:lnTo>
                      <a:pt x="812" y="408"/>
                    </a:lnTo>
                    <a:lnTo>
                      <a:pt x="812" y="405"/>
                    </a:lnTo>
                    <a:lnTo>
                      <a:pt x="815" y="407"/>
                    </a:lnTo>
                    <a:lnTo>
                      <a:pt x="817" y="410"/>
                    </a:lnTo>
                    <a:lnTo>
                      <a:pt x="817" y="415"/>
                    </a:lnTo>
                    <a:lnTo>
                      <a:pt x="819" y="415"/>
                    </a:lnTo>
                    <a:lnTo>
                      <a:pt x="819" y="413"/>
                    </a:lnTo>
                    <a:lnTo>
                      <a:pt x="820" y="412"/>
                    </a:lnTo>
                    <a:lnTo>
                      <a:pt x="820" y="408"/>
                    </a:lnTo>
                    <a:lnTo>
                      <a:pt x="817" y="407"/>
                    </a:lnTo>
                    <a:lnTo>
                      <a:pt x="817" y="403"/>
                    </a:lnTo>
                    <a:lnTo>
                      <a:pt x="817" y="400"/>
                    </a:lnTo>
                    <a:lnTo>
                      <a:pt x="819" y="398"/>
                    </a:lnTo>
                    <a:lnTo>
                      <a:pt x="819" y="396"/>
                    </a:lnTo>
                    <a:lnTo>
                      <a:pt x="820" y="393"/>
                    </a:lnTo>
                    <a:lnTo>
                      <a:pt x="824" y="396"/>
                    </a:lnTo>
                    <a:lnTo>
                      <a:pt x="824" y="396"/>
                    </a:lnTo>
                    <a:lnTo>
                      <a:pt x="827" y="398"/>
                    </a:lnTo>
                    <a:lnTo>
                      <a:pt x="831" y="400"/>
                    </a:lnTo>
                    <a:lnTo>
                      <a:pt x="833" y="396"/>
                    </a:lnTo>
                    <a:lnTo>
                      <a:pt x="829" y="396"/>
                    </a:lnTo>
                    <a:lnTo>
                      <a:pt x="827" y="396"/>
                    </a:lnTo>
                    <a:lnTo>
                      <a:pt x="829" y="393"/>
                    </a:lnTo>
                    <a:lnTo>
                      <a:pt x="833" y="393"/>
                    </a:lnTo>
                    <a:lnTo>
                      <a:pt x="836" y="393"/>
                    </a:lnTo>
                    <a:lnTo>
                      <a:pt x="838" y="393"/>
                    </a:lnTo>
                    <a:lnTo>
                      <a:pt x="836" y="396"/>
                    </a:lnTo>
                    <a:lnTo>
                      <a:pt x="836" y="396"/>
                    </a:lnTo>
                    <a:lnTo>
                      <a:pt x="840" y="398"/>
                    </a:lnTo>
                    <a:lnTo>
                      <a:pt x="841" y="401"/>
                    </a:lnTo>
                    <a:lnTo>
                      <a:pt x="843" y="401"/>
                    </a:lnTo>
                    <a:lnTo>
                      <a:pt x="846" y="403"/>
                    </a:lnTo>
                    <a:lnTo>
                      <a:pt x="852" y="403"/>
                    </a:lnTo>
                    <a:lnTo>
                      <a:pt x="852" y="401"/>
                    </a:lnTo>
                    <a:lnTo>
                      <a:pt x="855" y="401"/>
                    </a:lnTo>
                    <a:lnTo>
                      <a:pt x="864" y="401"/>
                    </a:lnTo>
                    <a:lnTo>
                      <a:pt x="867" y="405"/>
                    </a:lnTo>
                    <a:lnTo>
                      <a:pt x="869" y="405"/>
                    </a:lnTo>
                    <a:lnTo>
                      <a:pt x="869" y="407"/>
                    </a:lnTo>
                    <a:lnTo>
                      <a:pt x="869" y="408"/>
                    </a:lnTo>
                    <a:lnTo>
                      <a:pt x="869" y="412"/>
                    </a:lnTo>
                    <a:lnTo>
                      <a:pt x="867" y="413"/>
                    </a:lnTo>
                    <a:lnTo>
                      <a:pt x="864" y="415"/>
                    </a:lnTo>
                    <a:lnTo>
                      <a:pt x="860" y="415"/>
                    </a:lnTo>
                    <a:lnTo>
                      <a:pt x="860" y="413"/>
                    </a:lnTo>
                    <a:lnTo>
                      <a:pt x="859" y="415"/>
                    </a:lnTo>
                    <a:lnTo>
                      <a:pt x="857" y="415"/>
                    </a:lnTo>
                    <a:lnTo>
                      <a:pt x="857" y="419"/>
                    </a:lnTo>
                    <a:lnTo>
                      <a:pt x="860" y="419"/>
                    </a:lnTo>
                    <a:lnTo>
                      <a:pt x="859" y="424"/>
                    </a:lnTo>
                    <a:lnTo>
                      <a:pt x="859" y="427"/>
                    </a:lnTo>
                    <a:lnTo>
                      <a:pt x="857" y="427"/>
                    </a:lnTo>
                    <a:lnTo>
                      <a:pt x="855" y="427"/>
                    </a:lnTo>
                    <a:lnTo>
                      <a:pt x="853" y="427"/>
                    </a:lnTo>
                    <a:lnTo>
                      <a:pt x="852" y="427"/>
                    </a:lnTo>
                    <a:lnTo>
                      <a:pt x="848" y="429"/>
                    </a:lnTo>
                    <a:lnTo>
                      <a:pt x="843" y="431"/>
                    </a:lnTo>
                    <a:lnTo>
                      <a:pt x="838" y="434"/>
                    </a:lnTo>
                    <a:lnTo>
                      <a:pt x="836" y="434"/>
                    </a:lnTo>
                    <a:lnTo>
                      <a:pt x="834" y="438"/>
                    </a:lnTo>
                    <a:lnTo>
                      <a:pt x="834" y="441"/>
                    </a:lnTo>
                    <a:lnTo>
                      <a:pt x="836" y="440"/>
                    </a:lnTo>
                    <a:lnTo>
                      <a:pt x="838" y="440"/>
                    </a:lnTo>
                    <a:lnTo>
                      <a:pt x="843" y="438"/>
                    </a:lnTo>
                    <a:lnTo>
                      <a:pt x="843" y="436"/>
                    </a:lnTo>
                    <a:lnTo>
                      <a:pt x="848" y="440"/>
                    </a:lnTo>
                    <a:lnTo>
                      <a:pt x="852" y="443"/>
                    </a:lnTo>
                    <a:lnTo>
                      <a:pt x="848" y="445"/>
                    </a:lnTo>
                    <a:lnTo>
                      <a:pt x="846" y="445"/>
                    </a:lnTo>
                    <a:lnTo>
                      <a:pt x="848" y="447"/>
                    </a:lnTo>
                    <a:lnTo>
                      <a:pt x="848" y="450"/>
                    </a:lnTo>
                    <a:lnTo>
                      <a:pt x="848" y="452"/>
                    </a:lnTo>
                    <a:lnTo>
                      <a:pt x="846" y="455"/>
                    </a:lnTo>
                    <a:lnTo>
                      <a:pt x="846" y="457"/>
                    </a:lnTo>
                    <a:lnTo>
                      <a:pt x="846" y="459"/>
                    </a:lnTo>
                    <a:lnTo>
                      <a:pt x="848" y="455"/>
                    </a:lnTo>
                    <a:lnTo>
                      <a:pt x="852" y="455"/>
                    </a:lnTo>
                    <a:lnTo>
                      <a:pt x="853" y="452"/>
                    </a:lnTo>
                    <a:lnTo>
                      <a:pt x="855" y="452"/>
                    </a:lnTo>
                    <a:lnTo>
                      <a:pt x="853" y="455"/>
                    </a:lnTo>
                    <a:lnTo>
                      <a:pt x="853" y="459"/>
                    </a:lnTo>
                    <a:lnTo>
                      <a:pt x="852" y="464"/>
                    </a:lnTo>
                    <a:lnTo>
                      <a:pt x="852" y="467"/>
                    </a:lnTo>
                    <a:lnTo>
                      <a:pt x="846" y="471"/>
                    </a:lnTo>
                    <a:lnTo>
                      <a:pt x="843" y="471"/>
                    </a:lnTo>
                    <a:lnTo>
                      <a:pt x="843" y="473"/>
                    </a:lnTo>
                    <a:lnTo>
                      <a:pt x="843" y="474"/>
                    </a:lnTo>
                    <a:lnTo>
                      <a:pt x="843" y="478"/>
                    </a:lnTo>
                    <a:lnTo>
                      <a:pt x="841" y="478"/>
                    </a:lnTo>
                    <a:lnTo>
                      <a:pt x="841" y="478"/>
                    </a:lnTo>
                    <a:lnTo>
                      <a:pt x="838" y="478"/>
                    </a:lnTo>
                    <a:lnTo>
                      <a:pt x="838" y="480"/>
                    </a:lnTo>
                    <a:lnTo>
                      <a:pt x="843" y="483"/>
                    </a:lnTo>
                    <a:lnTo>
                      <a:pt x="841" y="485"/>
                    </a:lnTo>
                    <a:lnTo>
                      <a:pt x="838" y="485"/>
                    </a:lnTo>
                    <a:lnTo>
                      <a:pt x="841" y="488"/>
                    </a:lnTo>
                    <a:lnTo>
                      <a:pt x="836" y="492"/>
                    </a:lnTo>
                    <a:lnTo>
                      <a:pt x="834" y="490"/>
                    </a:lnTo>
                    <a:lnTo>
                      <a:pt x="833" y="492"/>
                    </a:lnTo>
                    <a:lnTo>
                      <a:pt x="829" y="492"/>
                    </a:lnTo>
                    <a:lnTo>
                      <a:pt x="826" y="493"/>
                    </a:lnTo>
                    <a:lnTo>
                      <a:pt x="826" y="497"/>
                    </a:lnTo>
                    <a:lnTo>
                      <a:pt x="820" y="497"/>
                    </a:lnTo>
                    <a:lnTo>
                      <a:pt x="817" y="495"/>
                    </a:lnTo>
                    <a:lnTo>
                      <a:pt x="813" y="497"/>
                    </a:lnTo>
                    <a:lnTo>
                      <a:pt x="812" y="495"/>
                    </a:lnTo>
                    <a:lnTo>
                      <a:pt x="810" y="488"/>
                    </a:lnTo>
                    <a:lnTo>
                      <a:pt x="813" y="485"/>
                    </a:lnTo>
                    <a:lnTo>
                      <a:pt x="813" y="481"/>
                    </a:lnTo>
                    <a:lnTo>
                      <a:pt x="808" y="488"/>
                    </a:lnTo>
                    <a:lnTo>
                      <a:pt x="807" y="492"/>
                    </a:lnTo>
                    <a:lnTo>
                      <a:pt x="810" y="497"/>
                    </a:lnTo>
                    <a:lnTo>
                      <a:pt x="812" y="500"/>
                    </a:lnTo>
                    <a:lnTo>
                      <a:pt x="810" y="502"/>
                    </a:lnTo>
                    <a:lnTo>
                      <a:pt x="807" y="506"/>
                    </a:lnTo>
                    <a:lnTo>
                      <a:pt x="805" y="509"/>
                    </a:lnTo>
                    <a:lnTo>
                      <a:pt x="805" y="509"/>
                    </a:lnTo>
                    <a:lnTo>
                      <a:pt x="801" y="509"/>
                    </a:lnTo>
                    <a:lnTo>
                      <a:pt x="801" y="509"/>
                    </a:lnTo>
                    <a:lnTo>
                      <a:pt x="801" y="509"/>
                    </a:lnTo>
                    <a:lnTo>
                      <a:pt x="801" y="509"/>
                    </a:lnTo>
                    <a:close/>
                    <a:moveTo>
                      <a:pt x="857" y="429"/>
                    </a:moveTo>
                    <a:lnTo>
                      <a:pt x="857" y="431"/>
                    </a:lnTo>
                    <a:lnTo>
                      <a:pt x="859" y="431"/>
                    </a:lnTo>
                    <a:lnTo>
                      <a:pt x="860" y="429"/>
                    </a:lnTo>
                    <a:lnTo>
                      <a:pt x="857" y="429"/>
                    </a:lnTo>
                    <a:lnTo>
                      <a:pt x="857" y="429"/>
                    </a:lnTo>
                    <a:lnTo>
                      <a:pt x="857" y="429"/>
                    </a:lnTo>
                    <a:lnTo>
                      <a:pt x="857" y="429"/>
                    </a:lnTo>
                    <a:close/>
                    <a:moveTo>
                      <a:pt x="855" y="445"/>
                    </a:moveTo>
                    <a:lnTo>
                      <a:pt x="857" y="445"/>
                    </a:lnTo>
                    <a:lnTo>
                      <a:pt x="860" y="440"/>
                    </a:lnTo>
                    <a:lnTo>
                      <a:pt x="860" y="438"/>
                    </a:lnTo>
                    <a:lnTo>
                      <a:pt x="859" y="436"/>
                    </a:lnTo>
                    <a:lnTo>
                      <a:pt x="859" y="433"/>
                    </a:lnTo>
                    <a:lnTo>
                      <a:pt x="855" y="434"/>
                    </a:lnTo>
                    <a:lnTo>
                      <a:pt x="855" y="438"/>
                    </a:lnTo>
                    <a:lnTo>
                      <a:pt x="853" y="438"/>
                    </a:lnTo>
                    <a:lnTo>
                      <a:pt x="853" y="443"/>
                    </a:lnTo>
                    <a:lnTo>
                      <a:pt x="855" y="445"/>
                    </a:lnTo>
                    <a:lnTo>
                      <a:pt x="855" y="445"/>
                    </a:lnTo>
                    <a:lnTo>
                      <a:pt x="855" y="445"/>
                    </a:lnTo>
                    <a:lnTo>
                      <a:pt x="855" y="445"/>
                    </a:lnTo>
                    <a:close/>
                    <a:moveTo>
                      <a:pt x="853" y="450"/>
                    </a:moveTo>
                    <a:lnTo>
                      <a:pt x="855" y="450"/>
                    </a:lnTo>
                    <a:lnTo>
                      <a:pt x="855" y="447"/>
                    </a:lnTo>
                    <a:lnTo>
                      <a:pt x="853" y="447"/>
                    </a:lnTo>
                    <a:lnTo>
                      <a:pt x="852" y="447"/>
                    </a:lnTo>
                    <a:lnTo>
                      <a:pt x="852" y="450"/>
                    </a:lnTo>
                    <a:lnTo>
                      <a:pt x="853" y="450"/>
                    </a:lnTo>
                    <a:lnTo>
                      <a:pt x="853" y="450"/>
                    </a:lnTo>
                    <a:lnTo>
                      <a:pt x="853" y="450"/>
                    </a:lnTo>
                    <a:lnTo>
                      <a:pt x="853" y="450"/>
                    </a:lnTo>
                    <a:close/>
                    <a:moveTo>
                      <a:pt x="725" y="379"/>
                    </a:moveTo>
                    <a:lnTo>
                      <a:pt x="725" y="380"/>
                    </a:lnTo>
                    <a:lnTo>
                      <a:pt x="725" y="380"/>
                    </a:lnTo>
                    <a:lnTo>
                      <a:pt x="727" y="380"/>
                    </a:lnTo>
                    <a:lnTo>
                      <a:pt x="728" y="382"/>
                    </a:lnTo>
                    <a:lnTo>
                      <a:pt x="730" y="380"/>
                    </a:lnTo>
                    <a:lnTo>
                      <a:pt x="728" y="379"/>
                    </a:lnTo>
                    <a:lnTo>
                      <a:pt x="725" y="377"/>
                    </a:lnTo>
                    <a:lnTo>
                      <a:pt x="725" y="379"/>
                    </a:lnTo>
                    <a:lnTo>
                      <a:pt x="725" y="379"/>
                    </a:lnTo>
                    <a:lnTo>
                      <a:pt x="725" y="379"/>
                    </a:lnTo>
                    <a:lnTo>
                      <a:pt x="725" y="379"/>
                    </a:lnTo>
                    <a:close/>
                    <a:moveTo>
                      <a:pt x="744" y="422"/>
                    </a:moveTo>
                    <a:lnTo>
                      <a:pt x="744" y="419"/>
                    </a:lnTo>
                    <a:lnTo>
                      <a:pt x="742" y="412"/>
                    </a:lnTo>
                    <a:lnTo>
                      <a:pt x="739" y="407"/>
                    </a:lnTo>
                    <a:lnTo>
                      <a:pt x="739" y="405"/>
                    </a:lnTo>
                    <a:lnTo>
                      <a:pt x="742" y="403"/>
                    </a:lnTo>
                    <a:lnTo>
                      <a:pt x="739" y="398"/>
                    </a:lnTo>
                    <a:lnTo>
                      <a:pt x="739" y="396"/>
                    </a:lnTo>
                    <a:lnTo>
                      <a:pt x="737" y="391"/>
                    </a:lnTo>
                    <a:lnTo>
                      <a:pt x="734" y="387"/>
                    </a:lnTo>
                    <a:lnTo>
                      <a:pt x="735" y="387"/>
                    </a:lnTo>
                    <a:lnTo>
                      <a:pt x="739" y="382"/>
                    </a:lnTo>
                    <a:lnTo>
                      <a:pt x="742" y="380"/>
                    </a:lnTo>
                    <a:lnTo>
                      <a:pt x="744" y="379"/>
                    </a:lnTo>
                    <a:lnTo>
                      <a:pt x="749" y="377"/>
                    </a:lnTo>
                    <a:lnTo>
                      <a:pt x="753" y="380"/>
                    </a:lnTo>
                    <a:lnTo>
                      <a:pt x="754" y="380"/>
                    </a:lnTo>
                    <a:lnTo>
                      <a:pt x="758" y="382"/>
                    </a:lnTo>
                    <a:lnTo>
                      <a:pt x="760" y="380"/>
                    </a:lnTo>
                    <a:lnTo>
                      <a:pt x="763" y="382"/>
                    </a:lnTo>
                    <a:lnTo>
                      <a:pt x="765" y="382"/>
                    </a:lnTo>
                    <a:lnTo>
                      <a:pt x="767" y="382"/>
                    </a:lnTo>
                    <a:lnTo>
                      <a:pt x="770" y="387"/>
                    </a:lnTo>
                    <a:lnTo>
                      <a:pt x="770" y="387"/>
                    </a:lnTo>
                    <a:lnTo>
                      <a:pt x="770" y="391"/>
                    </a:lnTo>
                    <a:lnTo>
                      <a:pt x="770" y="393"/>
                    </a:lnTo>
                    <a:lnTo>
                      <a:pt x="770" y="396"/>
                    </a:lnTo>
                    <a:lnTo>
                      <a:pt x="770" y="396"/>
                    </a:lnTo>
                    <a:lnTo>
                      <a:pt x="770" y="400"/>
                    </a:lnTo>
                    <a:lnTo>
                      <a:pt x="767" y="403"/>
                    </a:lnTo>
                    <a:lnTo>
                      <a:pt x="765" y="403"/>
                    </a:lnTo>
                    <a:lnTo>
                      <a:pt x="760" y="408"/>
                    </a:lnTo>
                    <a:lnTo>
                      <a:pt x="754" y="412"/>
                    </a:lnTo>
                    <a:lnTo>
                      <a:pt x="751" y="415"/>
                    </a:lnTo>
                    <a:lnTo>
                      <a:pt x="747" y="415"/>
                    </a:lnTo>
                    <a:lnTo>
                      <a:pt x="747" y="419"/>
                    </a:lnTo>
                    <a:lnTo>
                      <a:pt x="747" y="419"/>
                    </a:lnTo>
                    <a:lnTo>
                      <a:pt x="744" y="422"/>
                    </a:lnTo>
                    <a:lnTo>
                      <a:pt x="744" y="422"/>
                    </a:lnTo>
                    <a:lnTo>
                      <a:pt x="744" y="422"/>
                    </a:lnTo>
                    <a:lnTo>
                      <a:pt x="744" y="422"/>
                    </a:lnTo>
                    <a:close/>
                    <a:moveTo>
                      <a:pt x="867" y="492"/>
                    </a:moveTo>
                    <a:lnTo>
                      <a:pt x="862" y="487"/>
                    </a:lnTo>
                    <a:lnTo>
                      <a:pt x="860" y="488"/>
                    </a:lnTo>
                    <a:lnTo>
                      <a:pt x="853" y="487"/>
                    </a:lnTo>
                    <a:lnTo>
                      <a:pt x="855" y="483"/>
                    </a:lnTo>
                    <a:lnTo>
                      <a:pt x="859" y="481"/>
                    </a:lnTo>
                    <a:lnTo>
                      <a:pt x="860" y="483"/>
                    </a:lnTo>
                    <a:lnTo>
                      <a:pt x="862" y="481"/>
                    </a:lnTo>
                    <a:lnTo>
                      <a:pt x="862" y="480"/>
                    </a:lnTo>
                    <a:lnTo>
                      <a:pt x="859" y="480"/>
                    </a:lnTo>
                    <a:lnTo>
                      <a:pt x="857" y="478"/>
                    </a:lnTo>
                    <a:lnTo>
                      <a:pt x="862" y="474"/>
                    </a:lnTo>
                    <a:lnTo>
                      <a:pt x="864" y="467"/>
                    </a:lnTo>
                    <a:lnTo>
                      <a:pt x="864" y="466"/>
                    </a:lnTo>
                    <a:lnTo>
                      <a:pt x="866" y="464"/>
                    </a:lnTo>
                    <a:lnTo>
                      <a:pt x="866" y="462"/>
                    </a:lnTo>
                    <a:lnTo>
                      <a:pt x="862" y="459"/>
                    </a:lnTo>
                    <a:lnTo>
                      <a:pt x="864" y="457"/>
                    </a:lnTo>
                    <a:lnTo>
                      <a:pt x="864" y="455"/>
                    </a:lnTo>
                    <a:lnTo>
                      <a:pt x="867" y="447"/>
                    </a:lnTo>
                    <a:lnTo>
                      <a:pt x="871" y="445"/>
                    </a:lnTo>
                    <a:lnTo>
                      <a:pt x="871" y="443"/>
                    </a:lnTo>
                    <a:lnTo>
                      <a:pt x="871" y="440"/>
                    </a:lnTo>
                    <a:lnTo>
                      <a:pt x="874" y="436"/>
                    </a:lnTo>
                    <a:lnTo>
                      <a:pt x="874" y="434"/>
                    </a:lnTo>
                    <a:lnTo>
                      <a:pt x="874" y="429"/>
                    </a:lnTo>
                    <a:lnTo>
                      <a:pt x="879" y="427"/>
                    </a:lnTo>
                    <a:lnTo>
                      <a:pt x="881" y="422"/>
                    </a:lnTo>
                    <a:lnTo>
                      <a:pt x="883" y="419"/>
                    </a:lnTo>
                    <a:lnTo>
                      <a:pt x="885" y="419"/>
                    </a:lnTo>
                    <a:lnTo>
                      <a:pt x="883" y="415"/>
                    </a:lnTo>
                    <a:lnTo>
                      <a:pt x="886" y="413"/>
                    </a:lnTo>
                    <a:lnTo>
                      <a:pt x="888" y="413"/>
                    </a:lnTo>
                    <a:lnTo>
                      <a:pt x="892" y="419"/>
                    </a:lnTo>
                    <a:lnTo>
                      <a:pt x="892" y="422"/>
                    </a:lnTo>
                    <a:lnTo>
                      <a:pt x="893" y="422"/>
                    </a:lnTo>
                    <a:lnTo>
                      <a:pt x="893" y="419"/>
                    </a:lnTo>
                    <a:lnTo>
                      <a:pt x="892" y="415"/>
                    </a:lnTo>
                    <a:lnTo>
                      <a:pt x="893" y="413"/>
                    </a:lnTo>
                    <a:lnTo>
                      <a:pt x="893" y="412"/>
                    </a:lnTo>
                    <a:lnTo>
                      <a:pt x="892" y="408"/>
                    </a:lnTo>
                    <a:lnTo>
                      <a:pt x="893" y="403"/>
                    </a:lnTo>
                    <a:lnTo>
                      <a:pt x="902" y="401"/>
                    </a:lnTo>
                    <a:lnTo>
                      <a:pt x="907" y="401"/>
                    </a:lnTo>
                    <a:lnTo>
                      <a:pt x="911" y="401"/>
                    </a:lnTo>
                    <a:lnTo>
                      <a:pt x="913" y="403"/>
                    </a:lnTo>
                    <a:lnTo>
                      <a:pt x="916" y="401"/>
                    </a:lnTo>
                    <a:lnTo>
                      <a:pt x="916" y="405"/>
                    </a:lnTo>
                    <a:lnTo>
                      <a:pt x="919" y="403"/>
                    </a:lnTo>
                    <a:lnTo>
                      <a:pt x="921" y="403"/>
                    </a:lnTo>
                    <a:lnTo>
                      <a:pt x="925" y="407"/>
                    </a:lnTo>
                    <a:lnTo>
                      <a:pt x="928" y="408"/>
                    </a:lnTo>
                    <a:lnTo>
                      <a:pt x="928" y="408"/>
                    </a:lnTo>
                    <a:lnTo>
                      <a:pt x="930" y="408"/>
                    </a:lnTo>
                    <a:lnTo>
                      <a:pt x="932" y="412"/>
                    </a:lnTo>
                    <a:lnTo>
                      <a:pt x="932" y="415"/>
                    </a:lnTo>
                    <a:lnTo>
                      <a:pt x="933" y="415"/>
                    </a:lnTo>
                    <a:lnTo>
                      <a:pt x="935" y="415"/>
                    </a:lnTo>
                    <a:lnTo>
                      <a:pt x="940" y="415"/>
                    </a:lnTo>
                    <a:lnTo>
                      <a:pt x="947" y="415"/>
                    </a:lnTo>
                    <a:lnTo>
                      <a:pt x="952" y="419"/>
                    </a:lnTo>
                    <a:lnTo>
                      <a:pt x="952" y="422"/>
                    </a:lnTo>
                    <a:lnTo>
                      <a:pt x="954" y="424"/>
                    </a:lnTo>
                    <a:lnTo>
                      <a:pt x="956" y="427"/>
                    </a:lnTo>
                    <a:lnTo>
                      <a:pt x="954" y="424"/>
                    </a:lnTo>
                    <a:lnTo>
                      <a:pt x="952" y="424"/>
                    </a:lnTo>
                    <a:lnTo>
                      <a:pt x="951" y="429"/>
                    </a:lnTo>
                    <a:lnTo>
                      <a:pt x="947" y="433"/>
                    </a:lnTo>
                    <a:lnTo>
                      <a:pt x="944" y="438"/>
                    </a:lnTo>
                    <a:lnTo>
                      <a:pt x="940" y="438"/>
                    </a:lnTo>
                    <a:lnTo>
                      <a:pt x="940" y="440"/>
                    </a:lnTo>
                    <a:lnTo>
                      <a:pt x="933" y="445"/>
                    </a:lnTo>
                    <a:lnTo>
                      <a:pt x="930" y="450"/>
                    </a:lnTo>
                    <a:lnTo>
                      <a:pt x="928" y="450"/>
                    </a:lnTo>
                    <a:lnTo>
                      <a:pt x="925" y="450"/>
                    </a:lnTo>
                    <a:lnTo>
                      <a:pt x="928" y="452"/>
                    </a:lnTo>
                    <a:lnTo>
                      <a:pt x="925" y="455"/>
                    </a:lnTo>
                    <a:lnTo>
                      <a:pt x="921" y="459"/>
                    </a:lnTo>
                    <a:lnTo>
                      <a:pt x="916" y="462"/>
                    </a:lnTo>
                    <a:lnTo>
                      <a:pt x="909" y="467"/>
                    </a:lnTo>
                    <a:lnTo>
                      <a:pt x="906" y="469"/>
                    </a:lnTo>
                    <a:lnTo>
                      <a:pt x="906" y="467"/>
                    </a:lnTo>
                    <a:lnTo>
                      <a:pt x="902" y="467"/>
                    </a:lnTo>
                    <a:lnTo>
                      <a:pt x="900" y="467"/>
                    </a:lnTo>
                    <a:lnTo>
                      <a:pt x="897" y="462"/>
                    </a:lnTo>
                    <a:lnTo>
                      <a:pt x="897" y="460"/>
                    </a:lnTo>
                    <a:lnTo>
                      <a:pt x="893" y="459"/>
                    </a:lnTo>
                    <a:lnTo>
                      <a:pt x="892" y="460"/>
                    </a:lnTo>
                    <a:lnTo>
                      <a:pt x="888" y="459"/>
                    </a:lnTo>
                    <a:lnTo>
                      <a:pt x="885" y="459"/>
                    </a:lnTo>
                    <a:lnTo>
                      <a:pt x="883" y="459"/>
                    </a:lnTo>
                    <a:lnTo>
                      <a:pt x="879" y="459"/>
                    </a:lnTo>
                    <a:lnTo>
                      <a:pt x="879" y="460"/>
                    </a:lnTo>
                    <a:lnTo>
                      <a:pt x="881" y="462"/>
                    </a:lnTo>
                    <a:lnTo>
                      <a:pt x="888" y="462"/>
                    </a:lnTo>
                    <a:lnTo>
                      <a:pt x="886" y="464"/>
                    </a:lnTo>
                    <a:lnTo>
                      <a:pt x="885" y="467"/>
                    </a:lnTo>
                    <a:lnTo>
                      <a:pt x="886" y="469"/>
                    </a:lnTo>
                    <a:lnTo>
                      <a:pt x="886" y="473"/>
                    </a:lnTo>
                    <a:lnTo>
                      <a:pt x="885" y="474"/>
                    </a:lnTo>
                    <a:lnTo>
                      <a:pt x="883" y="478"/>
                    </a:lnTo>
                    <a:lnTo>
                      <a:pt x="879" y="480"/>
                    </a:lnTo>
                    <a:lnTo>
                      <a:pt x="876" y="478"/>
                    </a:lnTo>
                    <a:lnTo>
                      <a:pt x="874" y="481"/>
                    </a:lnTo>
                    <a:lnTo>
                      <a:pt x="874" y="485"/>
                    </a:lnTo>
                    <a:lnTo>
                      <a:pt x="871" y="487"/>
                    </a:lnTo>
                    <a:lnTo>
                      <a:pt x="869" y="487"/>
                    </a:lnTo>
                    <a:lnTo>
                      <a:pt x="869" y="490"/>
                    </a:lnTo>
                    <a:lnTo>
                      <a:pt x="869" y="490"/>
                    </a:lnTo>
                    <a:lnTo>
                      <a:pt x="867" y="492"/>
                    </a:lnTo>
                    <a:lnTo>
                      <a:pt x="867" y="492"/>
                    </a:lnTo>
                    <a:lnTo>
                      <a:pt x="867" y="492"/>
                    </a:lnTo>
                    <a:lnTo>
                      <a:pt x="867" y="492"/>
                    </a:lnTo>
                    <a:close/>
                    <a:moveTo>
                      <a:pt x="1078" y="506"/>
                    </a:moveTo>
                    <a:lnTo>
                      <a:pt x="1071" y="502"/>
                    </a:lnTo>
                    <a:lnTo>
                      <a:pt x="1069" y="502"/>
                    </a:lnTo>
                    <a:lnTo>
                      <a:pt x="1067" y="497"/>
                    </a:lnTo>
                    <a:lnTo>
                      <a:pt x="1065" y="497"/>
                    </a:lnTo>
                    <a:lnTo>
                      <a:pt x="1064" y="493"/>
                    </a:lnTo>
                    <a:lnTo>
                      <a:pt x="1065" y="490"/>
                    </a:lnTo>
                    <a:lnTo>
                      <a:pt x="1069" y="487"/>
                    </a:lnTo>
                    <a:lnTo>
                      <a:pt x="1069" y="485"/>
                    </a:lnTo>
                    <a:lnTo>
                      <a:pt x="1071" y="481"/>
                    </a:lnTo>
                    <a:lnTo>
                      <a:pt x="1069" y="480"/>
                    </a:lnTo>
                    <a:lnTo>
                      <a:pt x="1065" y="478"/>
                    </a:lnTo>
                    <a:lnTo>
                      <a:pt x="1064" y="478"/>
                    </a:lnTo>
                    <a:lnTo>
                      <a:pt x="1065" y="469"/>
                    </a:lnTo>
                    <a:lnTo>
                      <a:pt x="1069" y="471"/>
                    </a:lnTo>
                    <a:lnTo>
                      <a:pt x="1069" y="467"/>
                    </a:lnTo>
                    <a:lnTo>
                      <a:pt x="1069" y="464"/>
                    </a:lnTo>
                    <a:lnTo>
                      <a:pt x="1071" y="462"/>
                    </a:lnTo>
                    <a:lnTo>
                      <a:pt x="1071" y="457"/>
                    </a:lnTo>
                    <a:lnTo>
                      <a:pt x="1074" y="455"/>
                    </a:lnTo>
                    <a:lnTo>
                      <a:pt x="1078" y="459"/>
                    </a:lnTo>
                    <a:lnTo>
                      <a:pt x="1078" y="460"/>
                    </a:lnTo>
                    <a:lnTo>
                      <a:pt x="1085" y="464"/>
                    </a:lnTo>
                    <a:lnTo>
                      <a:pt x="1086" y="466"/>
                    </a:lnTo>
                    <a:lnTo>
                      <a:pt x="1090" y="467"/>
                    </a:lnTo>
                    <a:lnTo>
                      <a:pt x="1091" y="466"/>
                    </a:lnTo>
                    <a:lnTo>
                      <a:pt x="1097" y="467"/>
                    </a:lnTo>
                    <a:lnTo>
                      <a:pt x="1102" y="467"/>
                    </a:lnTo>
                    <a:lnTo>
                      <a:pt x="1105" y="469"/>
                    </a:lnTo>
                    <a:lnTo>
                      <a:pt x="1105" y="473"/>
                    </a:lnTo>
                    <a:lnTo>
                      <a:pt x="1111" y="474"/>
                    </a:lnTo>
                    <a:lnTo>
                      <a:pt x="1112" y="478"/>
                    </a:lnTo>
                    <a:lnTo>
                      <a:pt x="1111" y="481"/>
                    </a:lnTo>
                    <a:lnTo>
                      <a:pt x="1111" y="485"/>
                    </a:lnTo>
                    <a:lnTo>
                      <a:pt x="1114" y="487"/>
                    </a:lnTo>
                    <a:lnTo>
                      <a:pt x="1112" y="488"/>
                    </a:lnTo>
                    <a:lnTo>
                      <a:pt x="1114" y="492"/>
                    </a:lnTo>
                    <a:lnTo>
                      <a:pt x="1114" y="493"/>
                    </a:lnTo>
                    <a:lnTo>
                      <a:pt x="1116" y="497"/>
                    </a:lnTo>
                    <a:lnTo>
                      <a:pt x="1114" y="500"/>
                    </a:lnTo>
                    <a:lnTo>
                      <a:pt x="1112" y="502"/>
                    </a:lnTo>
                    <a:lnTo>
                      <a:pt x="1118" y="502"/>
                    </a:lnTo>
                    <a:lnTo>
                      <a:pt x="1118" y="506"/>
                    </a:lnTo>
                    <a:lnTo>
                      <a:pt x="1116" y="506"/>
                    </a:lnTo>
                    <a:lnTo>
                      <a:pt x="1114" y="509"/>
                    </a:lnTo>
                    <a:lnTo>
                      <a:pt x="1107" y="506"/>
                    </a:lnTo>
                    <a:lnTo>
                      <a:pt x="1105" y="506"/>
                    </a:lnTo>
                    <a:lnTo>
                      <a:pt x="1102" y="506"/>
                    </a:lnTo>
                    <a:lnTo>
                      <a:pt x="1097" y="502"/>
                    </a:lnTo>
                    <a:lnTo>
                      <a:pt x="1093" y="502"/>
                    </a:lnTo>
                    <a:lnTo>
                      <a:pt x="1093" y="502"/>
                    </a:lnTo>
                    <a:lnTo>
                      <a:pt x="1090" y="500"/>
                    </a:lnTo>
                    <a:lnTo>
                      <a:pt x="1085" y="502"/>
                    </a:lnTo>
                    <a:lnTo>
                      <a:pt x="1083" y="502"/>
                    </a:lnTo>
                    <a:lnTo>
                      <a:pt x="1078" y="506"/>
                    </a:lnTo>
                    <a:lnTo>
                      <a:pt x="1078" y="506"/>
                    </a:lnTo>
                    <a:lnTo>
                      <a:pt x="1078" y="506"/>
                    </a:lnTo>
                    <a:lnTo>
                      <a:pt x="1078" y="506"/>
                    </a:lnTo>
                    <a:lnTo>
                      <a:pt x="1078" y="506"/>
                    </a:lnTo>
                    <a:close/>
                    <a:moveTo>
                      <a:pt x="1057" y="511"/>
                    </a:moveTo>
                    <a:lnTo>
                      <a:pt x="1057" y="509"/>
                    </a:lnTo>
                    <a:lnTo>
                      <a:pt x="1058" y="506"/>
                    </a:lnTo>
                    <a:lnTo>
                      <a:pt x="1058" y="506"/>
                    </a:lnTo>
                    <a:lnTo>
                      <a:pt x="1058" y="509"/>
                    </a:lnTo>
                    <a:lnTo>
                      <a:pt x="1057" y="511"/>
                    </a:lnTo>
                    <a:lnTo>
                      <a:pt x="1057" y="511"/>
                    </a:lnTo>
                    <a:lnTo>
                      <a:pt x="1057" y="511"/>
                    </a:lnTo>
                    <a:lnTo>
                      <a:pt x="1057" y="511"/>
                    </a:lnTo>
                    <a:close/>
                    <a:moveTo>
                      <a:pt x="1062" y="514"/>
                    </a:moveTo>
                    <a:lnTo>
                      <a:pt x="1060" y="511"/>
                    </a:lnTo>
                    <a:lnTo>
                      <a:pt x="1062" y="509"/>
                    </a:lnTo>
                    <a:lnTo>
                      <a:pt x="1064" y="511"/>
                    </a:lnTo>
                    <a:lnTo>
                      <a:pt x="1064" y="513"/>
                    </a:lnTo>
                    <a:lnTo>
                      <a:pt x="1062" y="514"/>
                    </a:lnTo>
                    <a:lnTo>
                      <a:pt x="1062" y="514"/>
                    </a:lnTo>
                    <a:lnTo>
                      <a:pt x="1062" y="514"/>
                    </a:lnTo>
                    <a:lnTo>
                      <a:pt x="1062" y="514"/>
                    </a:lnTo>
                    <a:close/>
                    <a:moveTo>
                      <a:pt x="1071" y="514"/>
                    </a:moveTo>
                    <a:lnTo>
                      <a:pt x="1069" y="513"/>
                    </a:lnTo>
                    <a:lnTo>
                      <a:pt x="1069" y="511"/>
                    </a:lnTo>
                    <a:lnTo>
                      <a:pt x="1071" y="511"/>
                    </a:lnTo>
                    <a:lnTo>
                      <a:pt x="1071" y="513"/>
                    </a:lnTo>
                    <a:lnTo>
                      <a:pt x="1071" y="514"/>
                    </a:lnTo>
                    <a:lnTo>
                      <a:pt x="1071" y="514"/>
                    </a:lnTo>
                    <a:lnTo>
                      <a:pt x="1071" y="514"/>
                    </a:lnTo>
                    <a:lnTo>
                      <a:pt x="1071" y="514"/>
                    </a:lnTo>
                    <a:close/>
                    <a:moveTo>
                      <a:pt x="860" y="587"/>
                    </a:moveTo>
                    <a:lnTo>
                      <a:pt x="859" y="584"/>
                    </a:lnTo>
                    <a:lnTo>
                      <a:pt x="860" y="584"/>
                    </a:lnTo>
                    <a:lnTo>
                      <a:pt x="862" y="584"/>
                    </a:lnTo>
                    <a:lnTo>
                      <a:pt x="864" y="584"/>
                    </a:lnTo>
                    <a:lnTo>
                      <a:pt x="864" y="584"/>
                    </a:lnTo>
                    <a:lnTo>
                      <a:pt x="862" y="587"/>
                    </a:lnTo>
                    <a:lnTo>
                      <a:pt x="860" y="587"/>
                    </a:lnTo>
                    <a:lnTo>
                      <a:pt x="860" y="587"/>
                    </a:lnTo>
                    <a:lnTo>
                      <a:pt x="860" y="587"/>
                    </a:lnTo>
                    <a:lnTo>
                      <a:pt x="860" y="587"/>
                    </a:lnTo>
                    <a:close/>
                    <a:moveTo>
                      <a:pt x="871" y="603"/>
                    </a:moveTo>
                    <a:lnTo>
                      <a:pt x="871" y="608"/>
                    </a:lnTo>
                    <a:lnTo>
                      <a:pt x="871" y="606"/>
                    </a:lnTo>
                    <a:lnTo>
                      <a:pt x="874" y="606"/>
                    </a:lnTo>
                    <a:lnTo>
                      <a:pt x="874" y="603"/>
                    </a:lnTo>
                    <a:lnTo>
                      <a:pt x="871" y="601"/>
                    </a:lnTo>
                    <a:lnTo>
                      <a:pt x="871" y="603"/>
                    </a:lnTo>
                    <a:lnTo>
                      <a:pt x="871" y="603"/>
                    </a:lnTo>
                    <a:lnTo>
                      <a:pt x="871" y="603"/>
                    </a:lnTo>
                    <a:lnTo>
                      <a:pt x="871" y="603"/>
                    </a:lnTo>
                    <a:close/>
                    <a:moveTo>
                      <a:pt x="867" y="605"/>
                    </a:moveTo>
                    <a:lnTo>
                      <a:pt x="866" y="606"/>
                    </a:lnTo>
                    <a:lnTo>
                      <a:pt x="867" y="608"/>
                    </a:lnTo>
                    <a:lnTo>
                      <a:pt x="867" y="610"/>
                    </a:lnTo>
                    <a:lnTo>
                      <a:pt x="869" y="612"/>
                    </a:lnTo>
                    <a:lnTo>
                      <a:pt x="869" y="610"/>
                    </a:lnTo>
                    <a:lnTo>
                      <a:pt x="869" y="605"/>
                    </a:lnTo>
                    <a:lnTo>
                      <a:pt x="869" y="603"/>
                    </a:lnTo>
                    <a:lnTo>
                      <a:pt x="867" y="605"/>
                    </a:lnTo>
                    <a:lnTo>
                      <a:pt x="867" y="605"/>
                    </a:lnTo>
                    <a:lnTo>
                      <a:pt x="867" y="605"/>
                    </a:lnTo>
                    <a:lnTo>
                      <a:pt x="867" y="605"/>
                    </a:lnTo>
                    <a:close/>
                    <a:moveTo>
                      <a:pt x="932" y="591"/>
                    </a:moveTo>
                    <a:lnTo>
                      <a:pt x="932" y="589"/>
                    </a:lnTo>
                    <a:lnTo>
                      <a:pt x="928" y="589"/>
                    </a:lnTo>
                    <a:lnTo>
                      <a:pt x="928" y="587"/>
                    </a:lnTo>
                    <a:lnTo>
                      <a:pt x="928" y="589"/>
                    </a:lnTo>
                    <a:lnTo>
                      <a:pt x="925" y="589"/>
                    </a:lnTo>
                    <a:lnTo>
                      <a:pt x="925" y="587"/>
                    </a:lnTo>
                    <a:lnTo>
                      <a:pt x="921" y="584"/>
                    </a:lnTo>
                    <a:lnTo>
                      <a:pt x="928" y="584"/>
                    </a:lnTo>
                    <a:lnTo>
                      <a:pt x="928" y="584"/>
                    </a:lnTo>
                    <a:lnTo>
                      <a:pt x="930" y="584"/>
                    </a:lnTo>
                    <a:lnTo>
                      <a:pt x="932" y="587"/>
                    </a:lnTo>
                    <a:lnTo>
                      <a:pt x="935" y="587"/>
                    </a:lnTo>
                    <a:lnTo>
                      <a:pt x="935" y="589"/>
                    </a:lnTo>
                    <a:lnTo>
                      <a:pt x="935" y="591"/>
                    </a:lnTo>
                    <a:lnTo>
                      <a:pt x="935" y="591"/>
                    </a:lnTo>
                    <a:lnTo>
                      <a:pt x="932" y="591"/>
                    </a:lnTo>
                    <a:lnTo>
                      <a:pt x="932" y="591"/>
                    </a:lnTo>
                    <a:lnTo>
                      <a:pt x="932" y="591"/>
                    </a:lnTo>
                    <a:lnTo>
                      <a:pt x="932" y="591"/>
                    </a:lnTo>
                    <a:close/>
                    <a:moveTo>
                      <a:pt x="970" y="606"/>
                    </a:moveTo>
                    <a:lnTo>
                      <a:pt x="968" y="606"/>
                    </a:lnTo>
                    <a:lnTo>
                      <a:pt x="966" y="603"/>
                    </a:lnTo>
                    <a:lnTo>
                      <a:pt x="968" y="605"/>
                    </a:lnTo>
                    <a:lnTo>
                      <a:pt x="970" y="605"/>
                    </a:lnTo>
                    <a:lnTo>
                      <a:pt x="970" y="606"/>
                    </a:lnTo>
                    <a:lnTo>
                      <a:pt x="970" y="606"/>
                    </a:lnTo>
                    <a:lnTo>
                      <a:pt x="970" y="606"/>
                    </a:lnTo>
                    <a:lnTo>
                      <a:pt x="970" y="606"/>
                    </a:lnTo>
                    <a:lnTo>
                      <a:pt x="970" y="606"/>
                    </a:lnTo>
                    <a:close/>
                    <a:moveTo>
                      <a:pt x="975" y="608"/>
                    </a:moveTo>
                    <a:lnTo>
                      <a:pt x="975" y="608"/>
                    </a:lnTo>
                    <a:lnTo>
                      <a:pt x="975" y="606"/>
                    </a:lnTo>
                    <a:lnTo>
                      <a:pt x="975" y="608"/>
                    </a:lnTo>
                    <a:lnTo>
                      <a:pt x="975" y="608"/>
                    </a:lnTo>
                    <a:lnTo>
                      <a:pt x="975" y="608"/>
                    </a:lnTo>
                    <a:lnTo>
                      <a:pt x="975" y="608"/>
                    </a:lnTo>
                    <a:close/>
                    <a:moveTo>
                      <a:pt x="979" y="610"/>
                    </a:moveTo>
                    <a:lnTo>
                      <a:pt x="980" y="610"/>
                    </a:lnTo>
                    <a:lnTo>
                      <a:pt x="982" y="612"/>
                    </a:lnTo>
                    <a:lnTo>
                      <a:pt x="984" y="612"/>
                    </a:lnTo>
                    <a:lnTo>
                      <a:pt x="984" y="610"/>
                    </a:lnTo>
                    <a:lnTo>
                      <a:pt x="982" y="608"/>
                    </a:lnTo>
                    <a:lnTo>
                      <a:pt x="980" y="606"/>
                    </a:lnTo>
                    <a:lnTo>
                      <a:pt x="979" y="606"/>
                    </a:lnTo>
                    <a:lnTo>
                      <a:pt x="979" y="608"/>
                    </a:lnTo>
                    <a:lnTo>
                      <a:pt x="979" y="610"/>
                    </a:lnTo>
                    <a:lnTo>
                      <a:pt x="979" y="610"/>
                    </a:lnTo>
                    <a:lnTo>
                      <a:pt x="979" y="610"/>
                    </a:lnTo>
                    <a:lnTo>
                      <a:pt x="979" y="610"/>
                    </a:lnTo>
                    <a:close/>
                    <a:moveTo>
                      <a:pt x="1018" y="662"/>
                    </a:moveTo>
                    <a:lnTo>
                      <a:pt x="1018" y="660"/>
                    </a:lnTo>
                    <a:lnTo>
                      <a:pt x="1020" y="659"/>
                    </a:lnTo>
                    <a:lnTo>
                      <a:pt x="1018" y="655"/>
                    </a:lnTo>
                    <a:lnTo>
                      <a:pt x="1020" y="657"/>
                    </a:lnTo>
                    <a:lnTo>
                      <a:pt x="1020" y="659"/>
                    </a:lnTo>
                    <a:lnTo>
                      <a:pt x="1020" y="660"/>
                    </a:lnTo>
                    <a:lnTo>
                      <a:pt x="1020" y="662"/>
                    </a:lnTo>
                    <a:lnTo>
                      <a:pt x="1018" y="662"/>
                    </a:lnTo>
                    <a:lnTo>
                      <a:pt x="1018" y="662"/>
                    </a:lnTo>
                    <a:lnTo>
                      <a:pt x="1018" y="662"/>
                    </a:lnTo>
                    <a:lnTo>
                      <a:pt x="1018" y="662"/>
                    </a:lnTo>
                    <a:close/>
                    <a:moveTo>
                      <a:pt x="1015" y="674"/>
                    </a:moveTo>
                    <a:lnTo>
                      <a:pt x="1013" y="669"/>
                    </a:lnTo>
                    <a:lnTo>
                      <a:pt x="1015" y="666"/>
                    </a:lnTo>
                    <a:lnTo>
                      <a:pt x="1017" y="666"/>
                    </a:lnTo>
                    <a:lnTo>
                      <a:pt x="1020" y="666"/>
                    </a:lnTo>
                    <a:lnTo>
                      <a:pt x="1020" y="671"/>
                    </a:lnTo>
                    <a:lnTo>
                      <a:pt x="1017" y="671"/>
                    </a:lnTo>
                    <a:lnTo>
                      <a:pt x="1017" y="671"/>
                    </a:lnTo>
                    <a:lnTo>
                      <a:pt x="1015" y="674"/>
                    </a:lnTo>
                    <a:lnTo>
                      <a:pt x="1015" y="674"/>
                    </a:lnTo>
                    <a:lnTo>
                      <a:pt x="1015" y="674"/>
                    </a:lnTo>
                    <a:lnTo>
                      <a:pt x="1015" y="674"/>
                    </a:lnTo>
                    <a:close/>
                    <a:moveTo>
                      <a:pt x="992" y="620"/>
                    </a:moveTo>
                    <a:lnTo>
                      <a:pt x="991" y="619"/>
                    </a:lnTo>
                    <a:lnTo>
                      <a:pt x="992" y="619"/>
                    </a:lnTo>
                    <a:lnTo>
                      <a:pt x="992" y="620"/>
                    </a:lnTo>
                    <a:lnTo>
                      <a:pt x="992" y="620"/>
                    </a:lnTo>
                    <a:lnTo>
                      <a:pt x="992" y="620"/>
                    </a:lnTo>
                    <a:lnTo>
                      <a:pt x="992" y="620"/>
                    </a:lnTo>
                    <a:close/>
                    <a:moveTo>
                      <a:pt x="987" y="624"/>
                    </a:moveTo>
                    <a:lnTo>
                      <a:pt x="985" y="619"/>
                    </a:lnTo>
                    <a:lnTo>
                      <a:pt x="987" y="619"/>
                    </a:lnTo>
                    <a:lnTo>
                      <a:pt x="987" y="620"/>
                    </a:lnTo>
                    <a:lnTo>
                      <a:pt x="987" y="624"/>
                    </a:lnTo>
                    <a:lnTo>
                      <a:pt x="987" y="624"/>
                    </a:lnTo>
                    <a:lnTo>
                      <a:pt x="987" y="624"/>
                    </a:lnTo>
                    <a:lnTo>
                      <a:pt x="987" y="624"/>
                    </a:lnTo>
                    <a:close/>
                    <a:moveTo>
                      <a:pt x="987" y="624"/>
                    </a:moveTo>
                    <a:lnTo>
                      <a:pt x="989" y="626"/>
                    </a:lnTo>
                    <a:lnTo>
                      <a:pt x="991" y="626"/>
                    </a:lnTo>
                    <a:lnTo>
                      <a:pt x="992" y="626"/>
                    </a:lnTo>
                    <a:lnTo>
                      <a:pt x="994" y="624"/>
                    </a:lnTo>
                    <a:lnTo>
                      <a:pt x="991" y="624"/>
                    </a:lnTo>
                    <a:lnTo>
                      <a:pt x="989" y="624"/>
                    </a:lnTo>
                    <a:lnTo>
                      <a:pt x="987" y="624"/>
                    </a:lnTo>
                    <a:lnTo>
                      <a:pt x="987" y="624"/>
                    </a:lnTo>
                    <a:lnTo>
                      <a:pt x="987" y="624"/>
                    </a:lnTo>
                    <a:lnTo>
                      <a:pt x="987" y="624"/>
                    </a:lnTo>
                    <a:close/>
                    <a:moveTo>
                      <a:pt x="1010" y="615"/>
                    </a:moveTo>
                    <a:lnTo>
                      <a:pt x="1012" y="615"/>
                    </a:lnTo>
                    <a:lnTo>
                      <a:pt x="1013" y="619"/>
                    </a:lnTo>
                    <a:lnTo>
                      <a:pt x="1013" y="619"/>
                    </a:lnTo>
                    <a:lnTo>
                      <a:pt x="1013" y="619"/>
                    </a:lnTo>
                    <a:lnTo>
                      <a:pt x="1015" y="620"/>
                    </a:lnTo>
                    <a:lnTo>
                      <a:pt x="1017" y="620"/>
                    </a:lnTo>
                    <a:lnTo>
                      <a:pt x="1017" y="619"/>
                    </a:lnTo>
                    <a:lnTo>
                      <a:pt x="1018" y="619"/>
                    </a:lnTo>
                    <a:lnTo>
                      <a:pt x="1020" y="619"/>
                    </a:lnTo>
                    <a:lnTo>
                      <a:pt x="1020" y="619"/>
                    </a:lnTo>
                    <a:lnTo>
                      <a:pt x="1024" y="619"/>
                    </a:lnTo>
                    <a:lnTo>
                      <a:pt x="1024" y="615"/>
                    </a:lnTo>
                    <a:lnTo>
                      <a:pt x="1018" y="615"/>
                    </a:lnTo>
                    <a:lnTo>
                      <a:pt x="1017" y="612"/>
                    </a:lnTo>
                    <a:lnTo>
                      <a:pt x="1013" y="612"/>
                    </a:lnTo>
                    <a:lnTo>
                      <a:pt x="1012" y="612"/>
                    </a:lnTo>
                    <a:lnTo>
                      <a:pt x="1012" y="612"/>
                    </a:lnTo>
                    <a:lnTo>
                      <a:pt x="1010" y="615"/>
                    </a:lnTo>
                    <a:lnTo>
                      <a:pt x="1010" y="615"/>
                    </a:lnTo>
                    <a:lnTo>
                      <a:pt x="1010" y="615"/>
                    </a:lnTo>
                    <a:lnTo>
                      <a:pt x="1010" y="615"/>
                    </a:lnTo>
                    <a:close/>
                    <a:moveTo>
                      <a:pt x="1048" y="612"/>
                    </a:moveTo>
                    <a:lnTo>
                      <a:pt x="1048" y="610"/>
                    </a:lnTo>
                    <a:lnTo>
                      <a:pt x="1052" y="610"/>
                    </a:lnTo>
                    <a:lnTo>
                      <a:pt x="1048" y="612"/>
                    </a:lnTo>
                    <a:lnTo>
                      <a:pt x="1048" y="612"/>
                    </a:lnTo>
                    <a:lnTo>
                      <a:pt x="1048" y="612"/>
                    </a:lnTo>
                    <a:lnTo>
                      <a:pt x="1048" y="612"/>
                    </a:lnTo>
                    <a:lnTo>
                      <a:pt x="1048" y="612"/>
                    </a:lnTo>
                    <a:close/>
                    <a:moveTo>
                      <a:pt x="1034" y="627"/>
                    </a:moveTo>
                    <a:lnTo>
                      <a:pt x="1038" y="626"/>
                    </a:lnTo>
                    <a:lnTo>
                      <a:pt x="1039" y="624"/>
                    </a:lnTo>
                    <a:lnTo>
                      <a:pt x="1041" y="624"/>
                    </a:lnTo>
                    <a:lnTo>
                      <a:pt x="1043" y="620"/>
                    </a:lnTo>
                    <a:lnTo>
                      <a:pt x="1043" y="620"/>
                    </a:lnTo>
                    <a:lnTo>
                      <a:pt x="1046" y="624"/>
                    </a:lnTo>
                    <a:lnTo>
                      <a:pt x="1043" y="624"/>
                    </a:lnTo>
                    <a:lnTo>
                      <a:pt x="1041" y="626"/>
                    </a:lnTo>
                    <a:lnTo>
                      <a:pt x="1039" y="627"/>
                    </a:lnTo>
                    <a:lnTo>
                      <a:pt x="1036" y="627"/>
                    </a:lnTo>
                    <a:lnTo>
                      <a:pt x="1034" y="627"/>
                    </a:lnTo>
                    <a:lnTo>
                      <a:pt x="1034" y="627"/>
                    </a:lnTo>
                    <a:lnTo>
                      <a:pt x="1034" y="627"/>
                    </a:lnTo>
                    <a:lnTo>
                      <a:pt x="1034" y="627"/>
                    </a:lnTo>
                    <a:close/>
                    <a:moveTo>
                      <a:pt x="1024" y="648"/>
                    </a:moveTo>
                    <a:lnTo>
                      <a:pt x="1029" y="643"/>
                    </a:lnTo>
                    <a:lnTo>
                      <a:pt x="1029" y="643"/>
                    </a:lnTo>
                    <a:lnTo>
                      <a:pt x="1032" y="643"/>
                    </a:lnTo>
                    <a:lnTo>
                      <a:pt x="1034" y="640"/>
                    </a:lnTo>
                    <a:lnTo>
                      <a:pt x="1038" y="634"/>
                    </a:lnTo>
                    <a:lnTo>
                      <a:pt x="1038" y="633"/>
                    </a:lnTo>
                    <a:lnTo>
                      <a:pt x="1036" y="633"/>
                    </a:lnTo>
                    <a:lnTo>
                      <a:pt x="1032" y="633"/>
                    </a:lnTo>
                    <a:lnTo>
                      <a:pt x="1032" y="634"/>
                    </a:lnTo>
                    <a:lnTo>
                      <a:pt x="1032" y="634"/>
                    </a:lnTo>
                    <a:lnTo>
                      <a:pt x="1029" y="640"/>
                    </a:lnTo>
                    <a:lnTo>
                      <a:pt x="1024" y="641"/>
                    </a:lnTo>
                    <a:lnTo>
                      <a:pt x="1020" y="641"/>
                    </a:lnTo>
                    <a:lnTo>
                      <a:pt x="1018" y="641"/>
                    </a:lnTo>
                    <a:lnTo>
                      <a:pt x="1017" y="643"/>
                    </a:lnTo>
                    <a:lnTo>
                      <a:pt x="1015" y="646"/>
                    </a:lnTo>
                    <a:lnTo>
                      <a:pt x="1015" y="648"/>
                    </a:lnTo>
                    <a:lnTo>
                      <a:pt x="1017" y="648"/>
                    </a:lnTo>
                    <a:lnTo>
                      <a:pt x="1020" y="648"/>
                    </a:lnTo>
                    <a:lnTo>
                      <a:pt x="1024" y="648"/>
                    </a:lnTo>
                    <a:lnTo>
                      <a:pt x="1024" y="648"/>
                    </a:lnTo>
                    <a:lnTo>
                      <a:pt x="1024" y="648"/>
                    </a:lnTo>
                    <a:lnTo>
                      <a:pt x="1024" y="648"/>
                    </a:lnTo>
                    <a:close/>
                    <a:moveTo>
                      <a:pt x="1048" y="646"/>
                    </a:moveTo>
                    <a:lnTo>
                      <a:pt x="1048" y="641"/>
                    </a:lnTo>
                    <a:lnTo>
                      <a:pt x="1052" y="640"/>
                    </a:lnTo>
                    <a:lnTo>
                      <a:pt x="1052" y="634"/>
                    </a:lnTo>
                    <a:lnTo>
                      <a:pt x="1055" y="634"/>
                    </a:lnTo>
                    <a:lnTo>
                      <a:pt x="1057" y="638"/>
                    </a:lnTo>
                    <a:lnTo>
                      <a:pt x="1057" y="641"/>
                    </a:lnTo>
                    <a:lnTo>
                      <a:pt x="1057" y="643"/>
                    </a:lnTo>
                    <a:lnTo>
                      <a:pt x="1055" y="643"/>
                    </a:lnTo>
                    <a:lnTo>
                      <a:pt x="1052" y="646"/>
                    </a:lnTo>
                    <a:lnTo>
                      <a:pt x="1048" y="646"/>
                    </a:lnTo>
                    <a:lnTo>
                      <a:pt x="1048" y="646"/>
                    </a:lnTo>
                    <a:lnTo>
                      <a:pt x="1048" y="646"/>
                    </a:lnTo>
                    <a:lnTo>
                      <a:pt x="1048" y="646"/>
                    </a:lnTo>
                    <a:close/>
                    <a:moveTo>
                      <a:pt x="1071" y="674"/>
                    </a:moveTo>
                    <a:lnTo>
                      <a:pt x="1071" y="669"/>
                    </a:lnTo>
                    <a:lnTo>
                      <a:pt x="1071" y="666"/>
                    </a:lnTo>
                    <a:lnTo>
                      <a:pt x="1071" y="662"/>
                    </a:lnTo>
                    <a:lnTo>
                      <a:pt x="1069" y="662"/>
                    </a:lnTo>
                    <a:lnTo>
                      <a:pt x="1069" y="666"/>
                    </a:lnTo>
                    <a:lnTo>
                      <a:pt x="1067" y="669"/>
                    </a:lnTo>
                    <a:lnTo>
                      <a:pt x="1067" y="671"/>
                    </a:lnTo>
                    <a:lnTo>
                      <a:pt x="1069" y="674"/>
                    </a:lnTo>
                    <a:lnTo>
                      <a:pt x="1069" y="676"/>
                    </a:lnTo>
                    <a:lnTo>
                      <a:pt x="1071" y="674"/>
                    </a:lnTo>
                    <a:lnTo>
                      <a:pt x="1071" y="674"/>
                    </a:lnTo>
                    <a:lnTo>
                      <a:pt x="1071" y="674"/>
                    </a:lnTo>
                    <a:lnTo>
                      <a:pt x="1071" y="674"/>
                    </a:lnTo>
                    <a:lnTo>
                      <a:pt x="1071" y="674"/>
                    </a:lnTo>
                    <a:close/>
                    <a:moveTo>
                      <a:pt x="1074" y="671"/>
                    </a:moveTo>
                    <a:lnTo>
                      <a:pt x="1074" y="669"/>
                    </a:lnTo>
                    <a:lnTo>
                      <a:pt x="1074" y="666"/>
                    </a:lnTo>
                    <a:lnTo>
                      <a:pt x="1074" y="669"/>
                    </a:lnTo>
                    <a:lnTo>
                      <a:pt x="1078" y="671"/>
                    </a:lnTo>
                    <a:lnTo>
                      <a:pt x="1074" y="671"/>
                    </a:lnTo>
                    <a:lnTo>
                      <a:pt x="1074" y="671"/>
                    </a:lnTo>
                    <a:lnTo>
                      <a:pt x="1074" y="671"/>
                    </a:lnTo>
                    <a:lnTo>
                      <a:pt x="1074" y="671"/>
                    </a:lnTo>
                    <a:lnTo>
                      <a:pt x="1074" y="671"/>
                    </a:lnTo>
                    <a:close/>
                    <a:moveTo>
                      <a:pt x="1079" y="678"/>
                    </a:moveTo>
                    <a:lnTo>
                      <a:pt x="1078" y="676"/>
                    </a:lnTo>
                    <a:lnTo>
                      <a:pt x="1078" y="674"/>
                    </a:lnTo>
                    <a:lnTo>
                      <a:pt x="1079" y="674"/>
                    </a:lnTo>
                    <a:lnTo>
                      <a:pt x="1079" y="678"/>
                    </a:lnTo>
                    <a:lnTo>
                      <a:pt x="1079" y="678"/>
                    </a:lnTo>
                    <a:lnTo>
                      <a:pt x="1079" y="678"/>
                    </a:lnTo>
                    <a:lnTo>
                      <a:pt x="1079" y="678"/>
                    </a:lnTo>
                    <a:lnTo>
                      <a:pt x="1079" y="678"/>
                    </a:lnTo>
                    <a:close/>
                    <a:moveTo>
                      <a:pt x="1069" y="685"/>
                    </a:moveTo>
                    <a:lnTo>
                      <a:pt x="1067" y="686"/>
                    </a:lnTo>
                    <a:lnTo>
                      <a:pt x="1069" y="690"/>
                    </a:lnTo>
                    <a:lnTo>
                      <a:pt x="1069" y="693"/>
                    </a:lnTo>
                    <a:lnTo>
                      <a:pt x="1071" y="693"/>
                    </a:lnTo>
                    <a:lnTo>
                      <a:pt x="1071" y="693"/>
                    </a:lnTo>
                    <a:lnTo>
                      <a:pt x="1074" y="693"/>
                    </a:lnTo>
                    <a:lnTo>
                      <a:pt x="1078" y="697"/>
                    </a:lnTo>
                    <a:lnTo>
                      <a:pt x="1079" y="697"/>
                    </a:lnTo>
                    <a:lnTo>
                      <a:pt x="1083" y="697"/>
                    </a:lnTo>
                    <a:lnTo>
                      <a:pt x="1083" y="693"/>
                    </a:lnTo>
                    <a:lnTo>
                      <a:pt x="1083" y="693"/>
                    </a:lnTo>
                    <a:lnTo>
                      <a:pt x="1083" y="688"/>
                    </a:lnTo>
                    <a:lnTo>
                      <a:pt x="1079" y="688"/>
                    </a:lnTo>
                    <a:lnTo>
                      <a:pt x="1078" y="686"/>
                    </a:lnTo>
                    <a:lnTo>
                      <a:pt x="1074" y="686"/>
                    </a:lnTo>
                    <a:lnTo>
                      <a:pt x="1074" y="686"/>
                    </a:lnTo>
                    <a:lnTo>
                      <a:pt x="1074" y="685"/>
                    </a:lnTo>
                    <a:lnTo>
                      <a:pt x="1074" y="683"/>
                    </a:lnTo>
                    <a:lnTo>
                      <a:pt x="1074" y="683"/>
                    </a:lnTo>
                    <a:lnTo>
                      <a:pt x="1071" y="685"/>
                    </a:lnTo>
                    <a:lnTo>
                      <a:pt x="1071" y="686"/>
                    </a:lnTo>
                    <a:lnTo>
                      <a:pt x="1069" y="685"/>
                    </a:lnTo>
                    <a:lnTo>
                      <a:pt x="1069" y="685"/>
                    </a:lnTo>
                    <a:lnTo>
                      <a:pt x="1069" y="685"/>
                    </a:lnTo>
                    <a:lnTo>
                      <a:pt x="1069" y="685"/>
                    </a:lnTo>
                    <a:close/>
                    <a:moveTo>
                      <a:pt x="979" y="812"/>
                    </a:moveTo>
                    <a:lnTo>
                      <a:pt x="982" y="812"/>
                    </a:lnTo>
                    <a:lnTo>
                      <a:pt x="984" y="812"/>
                    </a:lnTo>
                    <a:lnTo>
                      <a:pt x="982" y="808"/>
                    </a:lnTo>
                    <a:lnTo>
                      <a:pt x="979" y="808"/>
                    </a:lnTo>
                    <a:lnTo>
                      <a:pt x="979" y="812"/>
                    </a:lnTo>
                    <a:lnTo>
                      <a:pt x="979" y="812"/>
                    </a:lnTo>
                    <a:lnTo>
                      <a:pt x="979" y="812"/>
                    </a:lnTo>
                    <a:lnTo>
                      <a:pt x="979" y="812"/>
                    </a:lnTo>
                    <a:close/>
                    <a:moveTo>
                      <a:pt x="928" y="728"/>
                    </a:moveTo>
                    <a:lnTo>
                      <a:pt x="932" y="730"/>
                    </a:lnTo>
                    <a:lnTo>
                      <a:pt x="933" y="730"/>
                    </a:lnTo>
                    <a:lnTo>
                      <a:pt x="933" y="728"/>
                    </a:lnTo>
                    <a:lnTo>
                      <a:pt x="932" y="728"/>
                    </a:lnTo>
                    <a:lnTo>
                      <a:pt x="930" y="728"/>
                    </a:lnTo>
                    <a:lnTo>
                      <a:pt x="928" y="728"/>
                    </a:lnTo>
                    <a:lnTo>
                      <a:pt x="928" y="728"/>
                    </a:lnTo>
                    <a:lnTo>
                      <a:pt x="928" y="728"/>
                    </a:lnTo>
                    <a:lnTo>
                      <a:pt x="928" y="728"/>
                    </a:lnTo>
                    <a:close/>
                    <a:moveTo>
                      <a:pt x="916" y="747"/>
                    </a:moveTo>
                    <a:lnTo>
                      <a:pt x="916" y="746"/>
                    </a:lnTo>
                    <a:lnTo>
                      <a:pt x="916" y="742"/>
                    </a:lnTo>
                    <a:lnTo>
                      <a:pt x="913" y="740"/>
                    </a:lnTo>
                    <a:lnTo>
                      <a:pt x="914" y="739"/>
                    </a:lnTo>
                    <a:lnTo>
                      <a:pt x="913" y="735"/>
                    </a:lnTo>
                    <a:lnTo>
                      <a:pt x="911" y="733"/>
                    </a:lnTo>
                    <a:lnTo>
                      <a:pt x="911" y="728"/>
                    </a:lnTo>
                    <a:lnTo>
                      <a:pt x="911" y="728"/>
                    </a:lnTo>
                    <a:lnTo>
                      <a:pt x="913" y="733"/>
                    </a:lnTo>
                    <a:lnTo>
                      <a:pt x="916" y="733"/>
                    </a:lnTo>
                    <a:lnTo>
                      <a:pt x="916" y="735"/>
                    </a:lnTo>
                    <a:lnTo>
                      <a:pt x="919" y="737"/>
                    </a:lnTo>
                    <a:lnTo>
                      <a:pt x="919" y="742"/>
                    </a:lnTo>
                    <a:lnTo>
                      <a:pt x="921" y="744"/>
                    </a:lnTo>
                    <a:lnTo>
                      <a:pt x="925" y="744"/>
                    </a:lnTo>
                    <a:lnTo>
                      <a:pt x="925" y="747"/>
                    </a:lnTo>
                    <a:lnTo>
                      <a:pt x="921" y="747"/>
                    </a:lnTo>
                    <a:lnTo>
                      <a:pt x="916" y="747"/>
                    </a:lnTo>
                    <a:lnTo>
                      <a:pt x="916" y="747"/>
                    </a:lnTo>
                    <a:lnTo>
                      <a:pt x="916" y="747"/>
                    </a:lnTo>
                    <a:lnTo>
                      <a:pt x="916" y="747"/>
                    </a:lnTo>
                    <a:close/>
                    <a:moveTo>
                      <a:pt x="897" y="746"/>
                    </a:moveTo>
                    <a:lnTo>
                      <a:pt x="897" y="742"/>
                    </a:lnTo>
                    <a:lnTo>
                      <a:pt x="897" y="740"/>
                    </a:lnTo>
                    <a:lnTo>
                      <a:pt x="897" y="739"/>
                    </a:lnTo>
                    <a:lnTo>
                      <a:pt x="897" y="733"/>
                    </a:lnTo>
                    <a:lnTo>
                      <a:pt x="899" y="730"/>
                    </a:lnTo>
                    <a:lnTo>
                      <a:pt x="900" y="733"/>
                    </a:lnTo>
                    <a:lnTo>
                      <a:pt x="902" y="733"/>
                    </a:lnTo>
                    <a:lnTo>
                      <a:pt x="900" y="735"/>
                    </a:lnTo>
                    <a:lnTo>
                      <a:pt x="900" y="737"/>
                    </a:lnTo>
                    <a:lnTo>
                      <a:pt x="902" y="740"/>
                    </a:lnTo>
                    <a:lnTo>
                      <a:pt x="899" y="746"/>
                    </a:lnTo>
                    <a:lnTo>
                      <a:pt x="897" y="746"/>
                    </a:lnTo>
                    <a:lnTo>
                      <a:pt x="897" y="746"/>
                    </a:lnTo>
                    <a:lnTo>
                      <a:pt x="897" y="746"/>
                    </a:lnTo>
                    <a:lnTo>
                      <a:pt x="897" y="746"/>
                    </a:lnTo>
                    <a:close/>
                    <a:moveTo>
                      <a:pt x="897" y="666"/>
                    </a:moveTo>
                    <a:lnTo>
                      <a:pt x="897" y="669"/>
                    </a:lnTo>
                    <a:lnTo>
                      <a:pt x="897" y="669"/>
                    </a:lnTo>
                    <a:lnTo>
                      <a:pt x="900" y="669"/>
                    </a:lnTo>
                    <a:lnTo>
                      <a:pt x="902" y="666"/>
                    </a:lnTo>
                    <a:lnTo>
                      <a:pt x="902" y="666"/>
                    </a:lnTo>
                    <a:lnTo>
                      <a:pt x="899" y="666"/>
                    </a:lnTo>
                    <a:lnTo>
                      <a:pt x="897" y="666"/>
                    </a:lnTo>
                    <a:lnTo>
                      <a:pt x="897" y="666"/>
                    </a:lnTo>
                    <a:lnTo>
                      <a:pt x="897" y="666"/>
                    </a:lnTo>
                    <a:lnTo>
                      <a:pt x="897" y="666"/>
                    </a:lnTo>
                    <a:close/>
                    <a:moveTo>
                      <a:pt x="897" y="664"/>
                    </a:moveTo>
                    <a:lnTo>
                      <a:pt x="899" y="660"/>
                    </a:lnTo>
                    <a:lnTo>
                      <a:pt x="899" y="657"/>
                    </a:lnTo>
                    <a:lnTo>
                      <a:pt x="902" y="653"/>
                    </a:lnTo>
                    <a:lnTo>
                      <a:pt x="906" y="652"/>
                    </a:lnTo>
                    <a:lnTo>
                      <a:pt x="906" y="652"/>
                    </a:lnTo>
                    <a:lnTo>
                      <a:pt x="906" y="655"/>
                    </a:lnTo>
                    <a:lnTo>
                      <a:pt x="906" y="660"/>
                    </a:lnTo>
                    <a:lnTo>
                      <a:pt x="906" y="662"/>
                    </a:lnTo>
                    <a:lnTo>
                      <a:pt x="900" y="664"/>
                    </a:lnTo>
                    <a:lnTo>
                      <a:pt x="897" y="664"/>
                    </a:lnTo>
                    <a:lnTo>
                      <a:pt x="897" y="664"/>
                    </a:lnTo>
                    <a:lnTo>
                      <a:pt x="897" y="664"/>
                    </a:lnTo>
                    <a:lnTo>
                      <a:pt x="897" y="664"/>
                    </a:lnTo>
                    <a:close/>
                    <a:moveTo>
                      <a:pt x="734" y="629"/>
                    </a:moveTo>
                    <a:lnTo>
                      <a:pt x="735" y="627"/>
                    </a:lnTo>
                    <a:lnTo>
                      <a:pt x="735" y="626"/>
                    </a:lnTo>
                    <a:lnTo>
                      <a:pt x="732" y="626"/>
                    </a:lnTo>
                    <a:lnTo>
                      <a:pt x="732" y="627"/>
                    </a:lnTo>
                    <a:lnTo>
                      <a:pt x="734" y="629"/>
                    </a:lnTo>
                    <a:lnTo>
                      <a:pt x="734" y="629"/>
                    </a:lnTo>
                    <a:lnTo>
                      <a:pt x="734" y="629"/>
                    </a:lnTo>
                    <a:lnTo>
                      <a:pt x="734" y="629"/>
                    </a:lnTo>
                    <a:close/>
                    <a:moveTo>
                      <a:pt x="595" y="589"/>
                    </a:moveTo>
                    <a:lnTo>
                      <a:pt x="595" y="587"/>
                    </a:lnTo>
                    <a:lnTo>
                      <a:pt x="598" y="587"/>
                    </a:lnTo>
                    <a:lnTo>
                      <a:pt x="596" y="589"/>
                    </a:lnTo>
                    <a:lnTo>
                      <a:pt x="596" y="589"/>
                    </a:lnTo>
                    <a:lnTo>
                      <a:pt x="595" y="589"/>
                    </a:lnTo>
                    <a:lnTo>
                      <a:pt x="595" y="589"/>
                    </a:lnTo>
                    <a:lnTo>
                      <a:pt x="595" y="589"/>
                    </a:lnTo>
                    <a:lnTo>
                      <a:pt x="595" y="589"/>
                    </a:lnTo>
                    <a:close/>
                    <a:moveTo>
                      <a:pt x="584" y="596"/>
                    </a:moveTo>
                    <a:lnTo>
                      <a:pt x="588" y="596"/>
                    </a:lnTo>
                    <a:lnTo>
                      <a:pt x="588" y="593"/>
                    </a:lnTo>
                    <a:lnTo>
                      <a:pt x="584" y="593"/>
                    </a:lnTo>
                    <a:lnTo>
                      <a:pt x="584" y="596"/>
                    </a:lnTo>
                    <a:lnTo>
                      <a:pt x="584" y="596"/>
                    </a:lnTo>
                    <a:lnTo>
                      <a:pt x="584" y="596"/>
                    </a:lnTo>
                    <a:lnTo>
                      <a:pt x="584" y="596"/>
                    </a:lnTo>
                    <a:close/>
                    <a:moveTo>
                      <a:pt x="589" y="608"/>
                    </a:moveTo>
                    <a:lnTo>
                      <a:pt x="588" y="606"/>
                    </a:lnTo>
                    <a:lnTo>
                      <a:pt x="589" y="605"/>
                    </a:lnTo>
                    <a:lnTo>
                      <a:pt x="589" y="608"/>
                    </a:lnTo>
                    <a:lnTo>
                      <a:pt x="589" y="608"/>
                    </a:lnTo>
                    <a:lnTo>
                      <a:pt x="589" y="608"/>
                    </a:lnTo>
                    <a:lnTo>
                      <a:pt x="589" y="608"/>
                    </a:lnTo>
                    <a:lnTo>
                      <a:pt x="589" y="608"/>
                    </a:lnTo>
                    <a:close/>
                    <a:moveTo>
                      <a:pt x="589" y="610"/>
                    </a:moveTo>
                    <a:lnTo>
                      <a:pt x="586" y="605"/>
                    </a:lnTo>
                    <a:lnTo>
                      <a:pt x="586" y="606"/>
                    </a:lnTo>
                    <a:lnTo>
                      <a:pt x="588" y="608"/>
                    </a:lnTo>
                    <a:lnTo>
                      <a:pt x="589" y="610"/>
                    </a:lnTo>
                    <a:lnTo>
                      <a:pt x="589" y="610"/>
                    </a:lnTo>
                    <a:lnTo>
                      <a:pt x="589" y="610"/>
                    </a:lnTo>
                    <a:lnTo>
                      <a:pt x="589" y="610"/>
                    </a:lnTo>
                    <a:close/>
                    <a:moveTo>
                      <a:pt x="593" y="615"/>
                    </a:moveTo>
                    <a:lnTo>
                      <a:pt x="595" y="620"/>
                    </a:lnTo>
                    <a:lnTo>
                      <a:pt x="596" y="620"/>
                    </a:lnTo>
                    <a:lnTo>
                      <a:pt x="598" y="619"/>
                    </a:lnTo>
                    <a:lnTo>
                      <a:pt x="598" y="619"/>
                    </a:lnTo>
                    <a:lnTo>
                      <a:pt x="600" y="615"/>
                    </a:lnTo>
                    <a:lnTo>
                      <a:pt x="596" y="615"/>
                    </a:lnTo>
                    <a:lnTo>
                      <a:pt x="596" y="619"/>
                    </a:lnTo>
                    <a:lnTo>
                      <a:pt x="595" y="615"/>
                    </a:lnTo>
                    <a:lnTo>
                      <a:pt x="593" y="615"/>
                    </a:lnTo>
                    <a:lnTo>
                      <a:pt x="593" y="615"/>
                    </a:lnTo>
                    <a:lnTo>
                      <a:pt x="593" y="615"/>
                    </a:lnTo>
                    <a:lnTo>
                      <a:pt x="593" y="615"/>
                    </a:lnTo>
                    <a:close/>
                    <a:moveTo>
                      <a:pt x="589" y="638"/>
                    </a:moveTo>
                    <a:lnTo>
                      <a:pt x="589" y="633"/>
                    </a:lnTo>
                    <a:lnTo>
                      <a:pt x="589" y="631"/>
                    </a:lnTo>
                    <a:lnTo>
                      <a:pt x="589" y="627"/>
                    </a:lnTo>
                    <a:lnTo>
                      <a:pt x="593" y="624"/>
                    </a:lnTo>
                    <a:lnTo>
                      <a:pt x="593" y="626"/>
                    </a:lnTo>
                    <a:lnTo>
                      <a:pt x="593" y="627"/>
                    </a:lnTo>
                    <a:lnTo>
                      <a:pt x="593" y="629"/>
                    </a:lnTo>
                    <a:lnTo>
                      <a:pt x="593" y="631"/>
                    </a:lnTo>
                    <a:lnTo>
                      <a:pt x="593" y="633"/>
                    </a:lnTo>
                    <a:lnTo>
                      <a:pt x="593" y="634"/>
                    </a:lnTo>
                    <a:lnTo>
                      <a:pt x="589" y="634"/>
                    </a:lnTo>
                    <a:lnTo>
                      <a:pt x="589" y="638"/>
                    </a:lnTo>
                    <a:lnTo>
                      <a:pt x="589" y="638"/>
                    </a:lnTo>
                    <a:lnTo>
                      <a:pt x="589" y="638"/>
                    </a:lnTo>
                    <a:lnTo>
                      <a:pt x="589" y="638"/>
                    </a:lnTo>
                    <a:close/>
                    <a:moveTo>
                      <a:pt x="716" y="560"/>
                    </a:moveTo>
                    <a:lnTo>
                      <a:pt x="716" y="556"/>
                    </a:lnTo>
                    <a:lnTo>
                      <a:pt x="716" y="556"/>
                    </a:lnTo>
                    <a:lnTo>
                      <a:pt x="716" y="556"/>
                    </a:lnTo>
                    <a:lnTo>
                      <a:pt x="716" y="560"/>
                    </a:lnTo>
                    <a:lnTo>
                      <a:pt x="716" y="560"/>
                    </a:lnTo>
                    <a:lnTo>
                      <a:pt x="716" y="560"/>
                    </a:lnTo>
                    <a:lnTo>
                      <a:pt x="716" y="560"/>
                    </a:lnTo>
                    <a:lnTo>
                      <a:pt x="716" y="560"/>
                    </a:lnTo>
                    <a:close/>
                    <a:moveTo>
                      <a:pt x="758" y="533"/>
                    </a:moveTo>
                    <a:lnTo>
                      <a:pt x="756" y="528"/>
                    </a:lnTo>
                    <a:lnTo>
                      <a:pt x="756" y="528"/>
                    </a:lnTo>
                    <a:lnTo>
                      <a:pt x="756" y="525"/>
                    </a:lnTo>
                    <a:lnTo>
                      <a:pt x="758" y="523"/>
                    </a:lnTo>
                    <a:lnTo>
                      <a:pt x="760" y="525"/>
                    </a:lnTo>
                    <a:lnTo>
                      <a:pt x="760" y="525"/>
                    </a:lnTo>
                    <a:lnTo>
                      <a:pt x="761" y="528"/>
                    </a:lnTo>
                    <a:lnTo>
                      <a:pt x="760" y="528"/>
                    </a:lnTo>
                    <a:lnTo>
                      <a:pt x="760" y="533"/>
                    </a:lnTo>
                    <a:lnTo>
                      <a:pt x="758" y="533"/>
                    </a:lnTo>
                    <a:lnTo>
                      <a:pt x="758" y="533"/>
                    </a:lnTo>
                    <a:lnTo>
                      <a:pt x="758" y="533"/>
                    </a:lnTo>
                    <a:lnTo>
                      <a:pt x="758" y="533"/>
                    </a:lnTo>
                    <a:close/>
                    <a:moveTo>
                      <a:pt x="711" y="584"/>
                    </a:moveTo>
                    <a:lnTo>
                      <a:pt x="711" y="584"/>
                    </a:lnTo>
                    <a:lnTo>
                      <a:pt x="711" y="582"/>
                    </a:lnTo>
                    <a:lnTo>
                      <a:pt x="713" y="580"/>
                    </a:lnTo>
                    <a:lnTo>
                      <a:pt x="713" y="579"/>
                    </a:lnTo>
                    <a:lnTo>
                      <a:pt x="714" y="577"/>
                    </a:lnTo>
                    <a:lnTo>
                      <a:pt x="714" y="573"/>
                    </a:lnTo>
                    <a:lnTo>
                      <a:pt x="711" y="573"/>
                    </a:lnTo>
                    <a:lnTo>
                      <a:pt x="711" y="572"/>
                    </a:lnTo>
                    <a:lnTo>
                      <a:pt x="711" y="568"/>
                    </a:lnTo>
                    <a:lnTo>
                      <a:pt x="714" y="568"/>
                    </a:lnTo>
                    <a:lnTo>
                      <a:pt x="714" y="565"/>
                    </a:lnTo>
                    <a:lnTo>
                      <a:pt x="711" y="565"/>
                    </a:lnTo>
                    <a:lnTo>
                      <a:pt x="709" y="565"/>
                    </a:lnTo>
                    <a:lnTo>
                      <a:pt x="709" y="565"/>
                    </a:lnTo>
                    <a:lnTo>
                      <a:pt x="707" y="566"/>
                    </a:lnTo>
                    <a:lnTo>
                      <a:pt x="706" y="565"/>
                    </a:lnTo>
                    <a:lnTo>
                      <a:pt x="701" y="565"/>
                    </a:lnTo>
                    <a:lnTo>
                      <a:pt x="697" y="570"/>
                    </a:lnTo>
                    <a:lnTo>
                      <a:pt x="694" y="572"/>
                    </a:lnTo>
                    <a:lnTo>
                      <a:pt x="694" y="570"/>
                    </a:lnTo>
                    <a:lnTo>
                      <a:pt x="697" y="568"/>
                    </a:lnTo>
                    <a:lnTo>
                      <a:pt x="699" y="565"/>
                    </a:lnTo>
                    <a:lnTo>
                      <a:pt x="699" y="561"/>
                    </a:lnTo>
                    <a:lnTo>
                      <a:pt x="697" y="565"/>
                    </a:lnTo>
                    <a:lnTo>
                      <a:pt x="697" y="565"/>
                    </a:lnTo>
                    <a:lnTo>
                      <a:pt x="697" y="560"/>
                    </a:lnTo>
                    <a:lnTo>
                      <a:pt x="699" y="560"/>
                    </a:lnTo>
                    <a:lnTo>
                      <a:pt x="697" y="556"/>
                    </a:lnTo>
                    <a:lnTo>
                      <a:pt x="699" y="553"/>
                    </a:lnTo>
                    <a:lnTo>
                      <a:pt x="701" y="553"/>
                    </a:lnTo>
                    <a:lnTo>
                      <a:pt x="701" y="554"/>
                    </a:lnTo>
                    <a:lnTo>
                      <a:pt x="702" y="560"/>
                    </a:lnTo>
                    <a:lnTo>
                      <a:pt x="704" y="560"/>
                    </a:lnTo>
                    <a:lnTo>
                      <a:pt x="706" y="560"/>
                    </a:lnTo>
                    <a:lnTo>
                      <a:pt x="709" y="560"/>
                    </a:lnTo>
                    <a:lnTo>
                      <a:pt x="711" y="556"/>
                    </a:lnTo>
                    <a:lnTo>
                      <a:pt x="709" y="556"/>
                    </a:lnTo>
                    <a:lnTo>
                      <a:pt x="709" y="554"/>
                    </a:lnTo>
                    <a:lnTo>
                      <a:pt x="713" y="554"/>
                    </a:lnTo>
                    <a:lnTo>
                      <a:pt x="713" y="554"/>
                    </a:lnTo>
                    <a:lnTo>
                      <a:pt x="714" y="554"/>
                    </a:lnTo>
                    <a:lnTo>
                      <a:pt x="716" y="551"/>
                    </a:lnTo>
                    <a:lnTo>
                      <a:pt x="720" y="547"/>
                    </a:lnTo>
                    <a:lnTo>
                      <a:pt x="720" y="551"/>
                    </a:lnTo>
                    <a:lnTo>
                      <a:pt x="720" y="551"/>
                    </a:lnTo>
                    <a:lnTo>
                      <a:pt x="725" y="549"/>
                    </a:lnTo>
                    <a:lnTo>
                      <a:pt x="720" y="554"/>
                    </a:lnTo>
                    <a:lnTo>
                      <a:pt x="720" y="560"/>
                    </a:lnTo>
                    <a:lnTo>
                      <a:pt x="721" y="556"/>
                    </a:lnTo>
                    <a:lnTo>
                      <a:pt x="725" y="560"/>
                    </a:lnTo>
                    <a:lnTo>
                      <a:pt x="721" y="560"/>
                    </a:lnTo>
                    <a:lnTo>
                      <a:pt x="725" y="560"/>
                    </a:lnTo>
                    <a:lnTo>
                      <a:pt x="725" y="556"/>
                    </a:lnTo>
                    <a:lnTo>
                      <a:pt x="727" y="556"/>
                    </a:lnTo>
                    <a:lnTo>
                      <a:pt x="730" y="551"/>
                    </a:lnTo>
                    <a:lnTo>
                      <a:pt x="732" y="551"/>
                    </a:lnTo>
                    <a:lnTo>
                      <a:pt x="732" y="554"/>
                    </a:lnTo>
                    <a:lnTo>
                      <a:pt x="728" y="556"/>
                    </a:lnTo>
                    <a:lnTo>
                      <a:pt x="728" y="561"/>
                    </a:lnTo>
                    <a:lnTo>
                      <a:pt x="732" y="561"/>
                    </a:lnTo>
                    <a:lnTo>
                      <a:pt x="734" y="565"/>
                    </a:lnTo>
                    <a:lnTo>
                      <a:pt x="735" y="561"/>
                    </a:lnTo>
                    <a:lnTo>
                      <a:pt x="739" y="556"/>
                    </a:lnTo>
                    <a:lnTo>
                      <a:pt x="739" y="553"/>
                    </a:lnTo>
                    <a:lnTo>
                      <a:pt x="742" y="549"/>
                    </a:lnTo>
                    <a:lnTo>
                      <a:pt x="742" y="546"/>
                    </a:lnTo>
                    <a:lnTo>
                      <a:pt x="742" y="544"/>
                    </a:lnTo>
                    <a:lnTo>
                      <a:pt x="742" y="542"/>
                    </a:lnTo>
                    <a:lnTo>
                      <a:pt x="739" y="542"/>
                    </a:lnTo>
                    <a:lnTo>
                      <a:pt x="739" y="542"/>
                    </a:lnTo>
                    <a:lnTo>
                      <a:pt x="737" y="544"/>
                    </a:lnTo>
                    <a:lnTo>
                      <a:pt x="737" y="539"/>
                    </a:lnTo>
                    <a:lnTo>
                      <a:pt x="739" y="539"/>
                    </a:lnTo>
                    <a:lnTo>
                      <a:pt x="737" y="537"/>
                    </a:lnTo>
                    <a:lnTo>
                      <a:pt x="734" y="537"/>
                    </a:lnTo>
                    <a:lnTo>
                      <a:pt x="734" y="537"/>
                    </a:lnTo>
                    <a:lnTo>
                      <a:pt x="730" y="533"/>
                    </a:lnTo>
                    <a:lnTo>
                      <a:pt x="730" y="532"/>
                    </a:lnTo>
                    <a:lnTo>
                      <a:pt x="727" y="525"/>
                    </a:lnTo>
                    <a:lnTo>
                      <a:pt x="727" y="521"/>
                    </a:lnTo>
                    <a:lnTo>
                      <a:pt x="728" y="518"/>
                    </a:lnTo>
                    <a:lnTo>
                      <a:pt x="727" y="513"/>
                    </a:lnTo>
                    <a:lnTo>
                      <a:pt x="725" y="516"/>
                    </a:lnTo>
                    <a:lnTo>
                      <a:pt x="725" y="520"/>
                    </a:lnTo>
                    <a:lnTo>
                      <a:pt x="721" y="516"/>
                    </a:lnTo>
                    <a:lnTo>
                      <a:pt x="720" y="514"/>
                    </a:lnTo>
                    <a:lnTo>
                      <a:pt x="720" y="509"/>
                    </a:lnTo>
                    <a:lnTo>
                      <a:pt x="716" y="506"/>
                    </a:lnTo>
                    <a:lnTo>
                      <a:pt x="716" y="500"/>
                    </a:lnTo>
                    <a:lnTo>
                      <a:pt x="714" y="497"/>
                    </a:lnTo>
                    <a:lnTo>
                      <a:pt x="713" y="495"/>
                    </a:lnTo>
                    <a:lnTo>
                      <a:pt x="713" y="492"/>
                    </a:lnTo>
                    <a:lnTo>
                      <a:pt x="713" y="490"/>
                    </a:lnTo>
                    <a:lnTo>
                      <a:pt x="716" y="490"/>
                    </a:lnTo>
                    <a:lnTo>
                      <a:pt x="716" y="485"/>
                    </a:lnTo>
                    <a:lnTo>
                      <a:pt x="720" y="485"/>
                    </a:lnTo>
                    <a:lnTo>
                      <a:pt x="720" y="487"/>
                    </a:lnTo>
                    <a:lnTo>
                      <a:pt x="721" y="485"/>
                    </a:lnTo>
                    <a:lnTo>
                      <a:pt x="721" y="481"/>
                    </a:lnTo>
                    <a:lnTo>
                      <a:pt x="725" y="474"/>
                    </a:lnTo>
                    <a:lnTo>
                      <a:pt x="725" y="471"/>
                    </a:lnTo>
                    <a:lnTo>
                      <a:pt x="725" y="469"/>
                    </a:lnTo>
                    <a:lnTo>
                      <a:pt x="721" y="464"/>
                    </a:lnTo>
                    <a:lnTo>
                      <a:pt x="725" y="460"/>
                    </a:lnTo>
                    <a:lnTo>
                      <a:pt x="727" y="459"/>
                    </a:lnTo>
                    <a:lnTo>
                      <a:pt x="727" y="455"/>
                    </a:lnTo>
                    <a:lnTo>
                      <a:pt x="730" y="450"/>
                    </a:lnTo>
                    <a:lnTo>
                      <a:pt x="730" y="447"/>
                    </a:lnTo>
                    <a:lnTo>
                      <a:pt x="732" y="445"/>
                    </a:lnTo>
                    <a:lnTo>
                      <a:pt x="732" y="438"/>
                    </a:lnTo>
                    <a:lnTo>
                      <a:pt x="734" y="438"/>
                    </a:lnTo>
                    <a:lnTo>
                      <a:pt x="734" y="434"/>
                    </a:lnTo>
                    <a:lnTo>
                      <a:pt x="739" y="429"/>
                    </a:lnTo>
                    <a:lnTo>
                      <a:pt x="737" y="427"/>
                    </a:lnTo>
                    <a:lnTo>
                      <a:pt x="739" y="424"/>
                    </a:lnTo>
                    <a:lnTo>
                      <a:pt x="739" y="424"/>
                    </a:lnTo>
                    <a:lnTo>
                      <a:pt x="739" y="419"/>
                    </a:lnTo>
                    <a:lnTo>
                      <a:pt x="739" y="415"/>
                    </a:lnTo>
                    <a:lnTo>
                      <a:pt x="739" y="415"/>
                    </a:lnTo>
                    <a:lnTo>
                      <a:pt x="739" y="412"/>
                    </a:lnTo>
                    <a:lnTo>
                      <a:pt x="737" y="410"/>
                    </a:lnTo>
                    <a:lnTo>
                      <a:pt x="735" y="405"/>
                    </a:lnTo>
                    <a:lnTo>
                      <a:pt x="735" y="403"/>
                    </a:lnTo>
                    <a:lnTo>
                      <a:pt x="734" y="398"/>
                    </a:lnTo>
                    <a:lnTo>
                      <a:pt x="730" y="396"/>
                    </a:lnTo>
                    <a:lnTo>
                      <a:pt x="728" y="396"/>
                    </a:lnTo>
                    <a:lnTo>
                      <a:pt x="727" y="396"/>
                    </a:lnTo>
                    <a:lnTo>
                      <a:pt x="727" y="400"/>
                    </a:lnTo>
                    <a:lnTo>
                      <a:pt x="725" y="400"/>
                    </a:lnTo>
                    <a:lnTo>
                      <a:pt x="721" y="393"/>
                    </a:lnTo>
                    <a:lnTo>
                      <a:pt x="720" y="393"/>
                    </a:lnTo>
                    <a:lnTo>
                      <a:pt x="716" y="391"/>
                    </a:lnTo>
                    <a:lnTo>
                      <a:pt x="716" y="393"/>
                    </a:lnTo>
                    <a:lnTo>
                      <a:pt x="716" y="396"/>
                    </a:lnTo>
                    <a:lnTo>
                      <a:pt x="714" y="396"/>
                    </a:lnTo>
                    <a:lnTo>
                      <a:pt x="713" y="396"/>
                    </a:lnTo>
                    <a:lnTo>
                      <a:pt x="711" y="400"/>
                    </a:lnTo>
                    <a:lnTo>
                      <a:pt x="711" y="403"/>
                    </a:lnTo>
                    <a:lnTo>
                      <a:pt x="709" y="403"/>
                    </a:lnTo>
                    <a:lnTo>
                      <a:pt x="706" y="412"/>
                    </a:lnTo>
                    <a:lnTo>
                      <a:pt x="706" y="415"/>
                    </a:lnTo>
                    <a:lnTo>
                      <a:pt x="704" y="419"/>
                    </a:lnTo>
                    <a:lnTo>
                      <a:pt x="704" y="424"/>
                    </a:lnTo>
                    <a:lnTo>
                      <a:pt x="702" y="424"/>
                    </a:lnTo>
                    <a:lnTo>
                      <a:pt x="702" y="427"/>
                    </a:lnTo>
                    <a:lnTo>
                      <a:pt x="699" y="427"/>
                    </a:lnTo>
                    <a:lnTo>
                      <a:pt x="699" y="434"/>
                    </a:lnTo>
                    <a:lnTo>
                      <a:pt x="697" y="436"/>
                    </a:lnTo>
                    <a:lnTo>
                      <a:pt x="697" y="436"/>
                    </a:lnTo>
                    <a:lnTo>
                      <a:pt x="694" y="441"/>
                    </a:lnTo>
                    <a:lnTo>
                      <a:pt x="694" y="443"/>
                    </a:lnTo>
                    <a:lnTo>
                      <a:pt x="694" y="447"/>
                    </a:lnTo>
                    <a:lnTo>
                      <a:pt x="694" y="450"/>
                    </a:lnTo>
                    <a:lnTo>
                      <a:pt x="690" y="452"/>
                    </a:lnTo>
                    <a:lnTo>
                      <a:pt x="694" y="455"/>
                    </a:lnTo>
                    <a:lnTo>
                      <a:pt x="692" y="459"/>
                    </a:lnTo>
                    <a:lnTo>
                      <a:pt x="688" y="459"/>
                    </a:lnTo>
                    <a:lnTo>
                      <a:pt x="690" y="460"/>
                    </a:lnTo>
                    <a:lnTo>
                      <a:pt x="694" y="460"/>
                    </a:lnTo>
                    <a:lnTo>
                      <a:pt x="694" y="464"/>
                    </a:lnTo>
                    <a:lnTo>
                      <a:pt x="690" y="464"/>
                    </a:lnTo>
                    <a:lnTo>
                      <a:pt x="688" y="464"/>
                    </a:lnTo>
                    <a:lnTo>
                      <a:pt x="685" y="466"/>
                    </a:lnTo>
                    <a:lnTo>
                      <a:pt x="683" y="466"/>
                    </a:lnTo>
                    <a:lnTo>
                      <a:pt x="681" y="467"/>
                    </a:lnTo>
                    <a:lnTo>
                      <a:pt x="681" y="471"/>
                    </a:lnTo>
                    <a:lnTo>
                      <a:pt x="680" y="471"/>
                    </a:lnTo>
                    <a:lnTo>
                      <a:pt x="678" y="471"/>
                    </a:lnTo>
                    <a:lnTo>
                      <a:pt x="678" y="467"/>
                    </a:lnTo>
                    <a:lnTo>
                      <a:pt x="678" y="464"/>
                    </a:lnTo>
                    <a:lnTo>
                      <a:pt x="676" y="462"/>
                    </a:lnTo>
                    <a:lnTo>
                      <a:pt x="676" y="455"/>
                    </a:lnTo>
                    <a:lnTo>
                      <a:pt x="680" y="450"/>
                    </a:lnTo>
                    <a:lnTo>
                      <a:pt x="680" y="447"/>
                    </a:lnTo>
                    <a:lnTo>
                      <a:pt x="683" y="447"/>
                    </a:lnTo>
                    <a:lnTo>
                      <a:pt x="683" y="443"/>
                    </a:lnTo>
                    <a:lnTo>
                      <a:pt x="683" y="440"/>
                    </a:lnTo>
                    <a:lnTo>
                      <a:pt x="685" y="433"/>
                    </a:lnTo>
                    <a:lnTo>
                      <a:pt x="690" y="431"/>
                    </a:lnTo>
                    <a:lnTo>
                      <a:pt x="690" y="427"/>
                    </a:lnTo>
                    <a:lnTo>
                      <a:pt x="688" y="427"/>
                    </a:lnTo>
                    <a:lnTo>
                      <a:pt x="685" y="427"/>
                    </a:lnTo>
                    <a:lnTo>
                      <a:pt x="685" y="424"/>
                    </a:lnTo>
                    <a:lnTo>
                      <a:pt x="688" y="422"/>
                    </a:lnTo>
                    <a:lnTo>
                      <a:pt x="688" y="415"/>
                    </a:lnTo>
                    <a:lnTo>
                      <a:pt x="685" y="413"/>
                    </a:lnTo>
                    <a:lnTo>
                      <a:pt x="685" y="410"/>
                    </a:lnTo>
                    <a:lnTo>
                      <a:pt x="685" y="408"/>
                    </a:lnTo>
                    <a:lnTo>
                      <a:pt x="685" y="403"/>
                    </a:lnTo>
                    <a:lnTo>
                      <a:pt x="685" y="403"/>
                    </a:lnTo>
                    <a:lnTo>
                      <a:pt x="681" y="400"/>
                    </a:lnTo>
                    <a:lnTo>
                      <a:pt x="676" y="401"/>
                    </a:lnTo>
                    <a:lnTo>
                      <a:pt x="674" y="405"/>
                    </a:lnTo>
                    <a:lnTo>
                      <a:pt x="678" y="407"/>
                    </a:lnTo>
                    <a:lnTo>
                      <a:pt x="678" y="410"/>
                    </a:lnTo>
                    <a:lnTo>
                      <a:pt x="680" y="412"/>
                    </a:lnTo>
                    <a:lnTo>
                      <a:pt x="680" y="415"/>
                    </a:lnTo>
                    <a:lnTo>
                      <a:pt x="678" y="415"/>
                    </a:lnTo>
                    <a:lnTo>
                      <a:pt x="676" y="412"/>
                    </a:lnTo>
                    <a:lnTo>
                      <a:pt x="674" y="412"/>
                    </a:lnTo>
                    <a:lnTo>
                      <a:pt x="674" y="415"/>
                    </a:lnTo>
                    <a:lnTo>
                      <a:pt x="674" y="415"/>
                    </a:lnTo>
                    <a:lnTo>
                      <a:pt x="676" y="419"/>
                    </a:lnTo>
                    <a:lnTo>
                      <a:pt x="676" y="424"/>
                    </a:lnTo>
                    <a:lnTo>
                      <a:pt x="674" y="424"/>
                    </a:lnTo>
                    <a:lnTo>
                      <a:pt x="674" y="424"/>
                    </a:lnTo>
                    <a:lnTo>
                      <a:pt x="674" y="422"/>
                    </a:lnTo>
                    <a:lnTo>
                      <a:pt x="674" y="427"/>
                    </a:lnTo>
                    <a:lnTo>
                      <a:pt x="671" y="424"/>
                    </a:lnTo>
                    <a:lnTo>
                      <a:pt x="671" y="419"/>
                    </a:lnTo>
                    <a:lnTo>
                      <a:pt x="669" y="422"/>
                    </a:lnTo>
                    <a:lnTo>
                      <a:pt x="666" y="424"/>
                    </a:lnTo>
                    <a:lnTo>
                      <a:pt x="666" y="424"/>
                    </a:lnTo>
                    <a:lnTo>
                      <a:pt x="666" y="419"/>
                    </a:lnTo>
                    <a:lnTo>
                      <a:pt x="666" y="419"/>
                    </a:lnTo>
                    <a:lnTo>
                      <a:pt x="666" y="415"/>
                    </a:lnTo>
                    <a:lnTo>
                      <a:pt x="662" y="419"/>
                    </a:lnTo>
                    <a:lnTo>
                      <a:pt x="657" y="424"/>
                    </a:lnTo>
                    <a:lnTo>
                      <a:pt x="655" y="419"/>
                    </a:lnTo>
                    <a:lnTo>
                      <a:pt x="652" y="419"/>
                    </a:lnTo>
                    <a:lnTo>
                      <a:pt x="650" y="422"/>
                    </a:lnTo>
                    <a:lnTo>
                      <a:pt x="647" y="422"/>
                    </a:lnTo>
                    <a:lnTo>
                      <a:pt x="647" y="419"/>
                    </a:lnTo>
                    <a:lnTo>
                      <a:pt x="643" y="419"/>
                    </a:lnTo>
                    <a:lnTo>
                      <a:pt x="640" y="419"/>
                    </a:lnTo>
                    <a:lnTo>
                      <a:pt x="643" y="415"/>
                    </a:lnTo>
                    <a:lnTo>
                      <a:pt x="647" y="415"/>
                    </a:lnTo>
                    <a:lnTo>
                      <a:pt x="650" y="415"/>
                    </a:lnTo>
                    <a:lnTo>
                      <a:pt x="654" y="415"/>
                    </a:lnTo>
                    <a:lnTo>
                      <a:pt x="654" y="413"/>
                    </a:lnTo>
                    <a:lnTo>
                      <a:pt x="655" y="412"/>
                    </a:lnTo>
                    <a:lnTo>
                      <a:pt x="659" y="413"/>
                    </a:lnTo>
                    <a:lnTo>
                      <a:pt x="662" y="410"/>
                    </a:lnTo>
                    <a:lnTo>
                      <a:pt x="662" y="407"/>
                    </a:lnTo>
                    <a:lnTo>
                      <a:pt x="662" y="405"/>
                    </a:lnTo>
                    <a:lnTo>
                      <a:pt x="661" y="403"/>
                    </a:lnTo>
                    <a:lnTo>
                      <a:pt x="657" y="396"/>
                    </a:lnTo>
                    <a:lnTo>
                      <a:pt x="654" y="396"/>
                    </a:lnTo>
                    <a:lnTo>
                      <a:pt x="654" y="393"/>
                    </a:lnTo>
                    <a:lnTo>
                      <a:pt x="647" y="387"/>
                    </a:lnTo>
                    <a:lnTo>
                      <a:pt x="647" y="387"/>
                    </a:lnTo>
                    <a:lnTo>
                      <a:pt x="643" y="387"/>
                    </a:lnTo>
                    <a:lnTo>
                      <a:pt x="640" y="391"/>
                    </a:lnTo>
                    <a:lnTo>
                      <a:pt x="640" y="391"/>
                    </a:lnTo>
                    <a:lnTo>
                      <a:pt x="633" y="396"/>
                    </a:lnTo>
                    <a:lnTo>
                      <a:pt x="634" y="396"/>
                    </a:lnTo>
                    <a:lnTo>
                      <a:pt x="634" y="400"/>
                    </a:lnTo>
                    <a:lnTo>
                      <a:pt x="633" y="400"/>
                    </a:lnTo>
                    <a:lnTo>
                      <a:pt x="629" y="401"/>
                    </a:lnTo>
                    <a:lnTo>
                      <a:pt x="629" y="400"/>
                    </a:lnTo>
                    <a:lnTo>
                      <a:pt x="628" y="400"/>
                    </a:lnTo>
                    <a:lnTo>
                      <a:pt x="624" y="398"/>
                    </a:lnTo>
                    <a:lnTo>
                      <a:pt x="621" y="398"/>
                    </a:lnTo>
                    <a:lnTo>
                      <a:pt x="621" y="400"/>
                    </a:lnTo>
                    <a:lnTo>
                      <a:pt x="617" y="400"/>
                    </a:lnTo>
                    <a:lnTo>
                      <a:pt x="615" y="398"/>
                    </a:lnTo>
                    <a:lnTo>
                      <a:pt x="617" y="396"/>
                    </a:lnTo>
                    <a:lnTo>
                      <a:pt x="621" y="396"/>
                    </a:lnTo>
                    <a:lnTo>
                      <a:pt x="624" y="393"/>
                    </a:lnTo>
                    <a:lnTo>
                      <a:pt x="626" y="393"/>
                    </a:lnTo>
                    <a:lnTo>
                      <a:pt x="628" y="393"/>
                    </a:lnTo>
                    <a:lnTo>
                      <a:pt x="629" y="387"/>
                    </a:lnTo>
                    <a:lnTo>
                      <a:pt x="631" y="386"/>
                    </a:lnTo>
                    <a:lnTo>
                      <a:pt x="631" y="384"/>
                    </a:lnTo>
                    <a:lnTo>
                      <a:pt x="634" y="384"/>
                    </a:lnTo>
                    <a:lnTo>
                      <a:pt x="638" y="379"/>
                    </a:lnTo>
                    <a:lnTo>
                      <a:pt x="636" y="373"/>
                    </a:lnTo>
                    <a:lnTo>
                      <a:pt x="638" y="370"/>
                    </a:lnTo>
                    <a:lnTo>
                      <a:pt x="636" y="368"/>
                    </a:lnTo>
                    <a:lnTo>
                      <a:pt x="633" y="368"/>
                    </a:lnTo>
                    <a:lnTo>
                      <a:pt x="628" y="368"/>
                    </a:lnTo>
                    <a:lnTo>
                      <a:pt x="621" y="370"/>
                    </a:lnTo>
                    <a:lnTo>
                      <a:pt x="615" y="373"/>
                    </a:lnTo>
                    <a:lnTo>
                      <a:pt x="603" y="375"/>
                    </a:lnTo>
                    <a:lnTo>
                      <a:pt x="589" y="380"/>
                    </a:lnTo>
                    <a:lnTo>
                      <a:pt x="584" y="386"/>
                    </a:lnTo>
                    <a:lnTo>
                      <a:pt x="574" y="387"/>
                    </a:lnTo>
                    <a:lnTo>
                      <a:pt x="563" y="393"/>
                    </a:lnTo>
                    <a:lnTo>
                      <a:pt x="558" y="396"/>
                    </a:lnTo>
                    <a:lnTo>
                      <a:pt x="558" y="400"/>
                    </a:lnTo>
                    <a:lnTo>
                      <a:pt x="562" y="400"/>
                    </a:lnTo>
                    <a:lnTo>
                      <a:pt x="563" y="400"/>
                    </a:lnTo>
                    <a:lnTo>
                      <a:pt x="560" y="403"/>
                    </a:lnTo>
                    <a:lnTo>
                      <a:pt x="556" y="403"/>
                    </a:lnTo>
                    <a:lnTo>
                      <a:pt x="549" y="408"/>
                    </a:lnTo>
                    <a:lnTo>
                      <a:pt x="544" y="408"/>
                    </a:lnTo>
                    <a:lnTo>
                      <a:pt x="542" y="410"/>
                    </a:lnTo>
                    <a:lnTo>
                      <a:pt x="542" y="413"/>
                    </a:lnTo>
                    <a:lnTo>
                      <a:pt x="539" y="415"/>
                    </a:lnTo>
                    <a:lnTo>
                      <a:pt x="535" y="419"/>
                    </a:lnTo>
                    <a:lnTo>
                      <a:pt x="535" y="424"/>
                    </a:lnTo>
                    <a:lnTo>
                      <a:pt x="539" y="424"/>
                    </a:lnTo>
                    <a:lnTo>
                      <a:pt x="539" y="424"/>
                    </a:lnTo>
                    <a:lnTo>
                      <a:pt x="539" y="427"/>
                    </a:lnTo>
                    <a:lnTo>
                      <a:pt x="539" y="427"/>
                    </a:lnTo>
                    <a:lnTo>
                      <a:pt x="542" y="427"/>
                    </a:lnTo>
                    <a:lnTo>
                      <a:pt x="544" y="424"/>
                    </a:lnTo>
                    <a:lnTo>
                      <a:pt x="548" y="427"/>
                    </a:lnTo>
                    <a:lnTo>
                      <a:pt x="551" y="427"/>
                    </a:lnTo>
                    <a:lnTo>
                      <a:pt x="549" y="429"/>
                    </a:lnTo>
                    <a:lnTo>
                      <a:pt x="548" y="431"/>
                    </a:lnTo>
                    <a:lnTo>
                      <a:pt x="542" y="429"/>
                    </a:lnTo>
                    <a:lnTo>
                      <a:pt x="539" y="431"/>
                    </a:lnTo>
                    <a:lnTo>
                      <a:pt x="539" y="434"/>
                    </a:lnTo>
                    <a:lnTo>
                      <a:pt x="548" y="438"/>
                    </a:lnTo>
                    <a:lnTo>
                      <a:pt x="548" y="436"/>
                    </a:lnTo>
                    <a:lnTo>
                      <a:pt x="548" y="433"/>
                    </a:lnTo>
                    <a:lnTo>
                      <a:pt x="551" y="433"/>
                    </a:lnTo>
                    <a:lnTo>
                      <a:pt x="551" y="434"/>
                    </a:lnTo>
                    <a:lnTo>
                      <a:pt x="551" y="438"/>
                    </a:lnTo>
                    <a:lnTo>
                      <a:pt x="553" y="438"/>
                    </a:lnTo>
                    <a:lnTo>
                      <a:pt x="560" y="438"/>
                    </a:lnTo>
                    <a:lnTo>
                      <a:pt x="565" y="436"/>
                    </a:lnTo>
                    <a:lnTo>
                      <a:pt x="567" y="436"/>
                    </a:lnTo>
                    <a:lnTo>
                      <a:pt x="572" y="440"/>
                    </a:lnTo>
                    <a:lnTo>
                      <a:pt x="575" y="438"/>
                    </a:lnTo>
                    <a:lnTo>
                      <a:pt x="579" y="440"/>
                    </a:lnTo>
                    <a:lnTo>
                      <a:pt x="581" y="443"/>
                    </a:lnTo>
                    <a:lnTo>
                      <a:pt x="584" y="443"/>
                    </a:lnTo>
                    <a:lnTo>
                      <a:pt x="582" y="445"/>
                    </a:lnTo>
                    <a:lnTo>
                      <a:pt x="581" y="445"/>
                    </a:lnTo>
                    <a:lnTo>
                      <a:pt x="575" y="441"/>
                    </a:lnTo>
                    <a:lnTo>
                      <a:pt x="570" y="441"/>
                    </a:lnTo>
                    <a:lnTo>
                      <a:pt x="567" y="443"/>
                    </a:lnTo>
                    <a:lnTo>
                      <a:pt x="572" y="445"/>
                    </a:lnTo>
                    <a:lnTo>
                      <a:pt x="572" y="447"/>
                    </a:lnTo>
                    <a:lnTo>
                      <a:pt x="567" y="447"/>
                    </a:lnTo>
                    <a:lnTo>
                      <a:pt x="565" y="445"/>
                    </a:lnTo>
                    <a:lnTo>
                      <a:pt x="558" y="445"/>
                    </a:lnTo>
                    <a:lnTo>
                      <a:pt x="556" y="447"/>
                    </a:lnTo>
                    <a:lnTo>
                      <a:pt x="553" y="445"/>
                    </a:lnTo>
                    <a:lnTo>
                      <a:pt x="551" y="445"/>
                    </a:lnTo>
                    <a:lnTo>
                      <a:pt x="548" y="447"/>
                    </a:lnTo>
                    <a:lnTo>
                      <a:pt x="548" y="447"/>
                    </a:lnTo>
                    <a:lnTo>
                      <a:pt x="539" y="447"/>
                    </a:lnTo>
                    <a:lnTo>
                      <a:pt x="537" y="447"/>
                    </a:lnTo>
                    <a:lnTo>
                      <a:pt x="530" y="447"/>
                    </a:lnTo>
                    <a:lnTo>
                      <a:pt x="529" y="452"/>
                    </a:lnTo>
                    <a:lnTo>
                      <a:pt x="530" y="460"/>
                    </a:lnTo>
                    <a:lnTo>
                      <a:pt x="532" y="462"/>
                    </a:lnTo>
                    <a:lnTo>
                      <a:pt x="530" y="467"/>
                    </a:lnTo>
                    <a:lnTo>
                      <a:pt x="530" y="467"/>
                    </a:lnTo>
                    <a:lnTo>
                      <a:pt x="530" y="471"/>
                    </a:lnTo>
                    <a:lnTo>
                      <a:pt x="532" y="473"/>
                    </a:lnTo>
                    <a:lnTo>
                      <a:pt x="535" y="471"/>
                    </a:lnTo>
                    <a:lnTo>
                      <a:pt x="537" y="471"/>
                    </a:lnTo>
                    <a:lnTo>
                      <a:pt x="539" y="473"/>
                    </a:lnTo>
                    <a:lnTo>
                      <a:pt x="542" y="473"/>
                    </a:lnTo>
                    <a:lnTo>
                      <a:pt x="542" y="471"/>
                    </a:lnTo>
                    <a:lnTo>
                      <a:pt x="542" y="471"/>
                    </a:lnTo>
                    <a:lnTo>
                      <a:pt x="544" y="473"/>
                    </a:lnTo>
                    <a:lnTo>
                      <a:pt x="548" y="474"/>
                    </a:lnTo>
                    <a:lnTo>
                      <a:pt x="548" y="473"/>
                    </a:lnTo>
                    <a:lnTo>
                      <a:pt x="549" y="474"/>
                    </a:lnTo>
                    <a:lnTo>
                      <a:pt x="549" y="474"/>
                    </a:lnTo>
                    <a:lnTo>
                      <a:pt x="553" y="478"/>
                    </a:lnTo>
                    <a:lnTo>
                      <a:pt x="555" y="474"/>
                    </a:lnTo>
                    <a:lnTo>
                      <a:pt x="556" y="474"/>
                    </a:lnTo>
                    <a:lnTo>
                      <a:pt x="558" y="478"/>
                    </a:lnTo>
                    <a:lnTo>
                      <a:pt x="563" y="478"/>
                    </a:lnTo>
                    <a:lnTo>
                      <a:pt x="565" y="478"/>
                    </a:lnTo>
                    <a:lnTo>
                      <a:pt x="567" y="478"/>
                    </a:lnTo>
                    <a:lnTo>
                      <a:pt x="570" y="478"/>
                    </a:lnTo>
                    <a:lnTo>
                      <a:pt x="572" y="478"/>
                    </a:lnTo>
                    <a:lnTo>
                      <a:pt x="575" y="478"/>
                    </a:lnTo>
                    <a:lnTo>
                      <a:pt x="579" y="478"/>
                    </a:lnTo>
                    <a:lnTo>
                      <a:pt x="582" y="478"/>
                    </a:lnTo>
                    <a:lnTo>
                      <a:pt x="584" y="480"/>
                    </a:lnTo>
                    <a:lnTo>
                      <a:pt x="586" y="480"/>
                    </a:lnTo>
                    <a:lnTo>
                      <a:pt x="586" y="481"/>
                    </a:lnTo>
                    <a:lnTo>
                      <a:pt x="589" y="485"/>
                    </a:lnTo>
                    <a:lnTo>
                      <a:pt x="589" y="487"/>
                    </a:lnTo>
                    <a:lnTo>
                      <a:pt x="589" y="488"/>
                    </a:lnTo>
                    <a:lnTo>
                      <a:pt x="593" y="488"/>
                    </a:lnTo>
                    <a:lnTo>
                      <a:pt x="595" y="488"/>
                    </a:lnTo>
                    <a:lnTo>
                      <a:pt x="596" y="492"/>
                    </a:lnTo>
                    <a:lnTo>
                      <a:pt x="598" y="492"/>
                    </a:lnTo>
                    <a:lnTo>
                      <a:pt x="600" y="493"/>
                    </a:lnTo>
                    <a:lnTo>
                      <a:pt x="600" y="495"/>
                    </a:lnTo>
                    <a:lnTo>
                      <a:pt x="598" y="497"/>
                    </a:lnTo>
                    <a:lnTo>
                      <a:pt x="601" y="500"/>
                    </a:lnTo>
                    <a:lnTo>
                      <a:pt x="607" y="502"/>
                    </a:lnTo>
                    <a:lnTo>
                      <a:pt x="607" y="506"/>
                    </a:lnTo>
                    <a:lnTo>
                      <a:pt x="605" y="506"/>
                    </a:lnTo>
                    <a:lnTo>
                      <a:pt x="607" y="509"/>
                    </a:lnTo>
                    <a:lnTo>
                      <a:pt x="605" y="506"/>
                    </a:lnTo>
                    <a:lnTo>
                      <a:pt x="598" y="506"/>
                    </a:lnTo>
                    <a:lnTo>
                      <a:pt x="593" y="506"/>
                    </a:lnTo>
                    <a:lnTo>
                      <a:pt x="593" y="506"/>
                    </a:lnTo>
                    <a:lnTo>
                      <a:pt x="589" y="506"/>
                    </a:lnTo>
                    <a:lnTo>
                      <a:pt x="589" y="506"/>
                    </a:lnTo>
                    <a:lnTo>
                      <a:pt x="586" y="506"/>
                    </a:lnTo>
                    <a:lnTo>
                      <a:pt x="584" y="502"/>
                    </a:lnTo>
                    <a:lnTo>
                      <a:pt x="581" y="502"/>
                    </a:lnTo>
                    <a:lnTo>
                      <a:pt x="579" y="500"/>
                    </a:lnTo>
                    <a:lnTo>
                      <a:pt x="577" y="497"/>
                    </a:lnTo>
                    <a:lnTo>
                      <a:pt x="574" y="500"/>
                    </a:lnTo>
                    <a:lnTo>
                      <a:pt x="572" y="497"/>
                    </a:lnTo>
                    <a:lnTo>
                      <a:pt x="570" y="497"/>
                    </a:lnTo>
                    <a:lnTo>
                      <a:pt x="567" y="495"/>
                    </a:lnTo>
                    <a:lnTo>
                      <a:pt x="567" y="493"/>
                    </a:lnTo>
                    <a:lnTo>
                      <a:pt x="567" y="493"/>
                    </a:lnTo>
                    <a:lnTo>
                      <a:pt x="563" y="492"/>
                    </a:lnTo>
                    <a:lnTo>
                      <a:pt x="560" y="493"/>
                    </a:lnTo>
                    <a:lnTo>
                      <a:pt x="558" y="492"/>
                    </a:lnTo>
                    <a:lnTo>
                      <a:pt x="551" y="492"/>
                    </a:lnTo>
                    <a:lnTo>
                      <a:pt x="548" y="492"/>
                    </a:lnTo>
                    <a:lnTo>
                      <a:pt x="542" y="490"/>
                    </a:lnTo>
                    <a:lnTo>
                      <a:pt x="530" y="490"/>
                    </a:lnTo>
                    <a:lnTo>
                      <a:pt x="527" y="492"/>
                    </a:lnTo>
                    <a:lnTo>
                      <a:pt x="523" y="492"/>
                    </a:lnTo>
                    <a:lnTo>
                      <a:pt x="522" y="495"/>
                    </a:lnTo>
                    <a:lnTo>
                      <a:pt x="520" y="500"/>
                    </a:lnTo>
                    <a:lnTo>
                      <a:pt x="520" y="506"/>
                    </a:lnTo>
                    <a:lnTo>
                      <a:pt x="520" y="509"/>
                    </a:lnTo>
                    <a:lnTo>
                      <a:pt x="520" y="511"/>
                    </a:lnTo>
                    <a:lnTo>
                      <a:pt x="520" y="514"/>
                    </a:lnTo>
                    <a:lnTo>
                      <a:pt x="520" y="514"/>
                    </a:lnTo>
                    <a:lnTo>
                      <a:pt x="520" y="516"/>
                    </a:lnTo>
                    <a:lnTo>
                      <a:pt x="520" y="518"/>
                    </a:lnTo>
                    <a:lnTo>
                      <a:pt x="522" y="525"/>
                    </a:lnTo>
                    <a:lnTo>
                      <a:pt x="523" y="525"/>
                    </a:lnTo>
                    <a:lnTo>
                      <a:pt x="525" y="528"/>
                    </a:lnTo>
                    <a:lnTo>
                      <a:pt x="530" y="532"/>
                    </a:lnTo>
                    <a:lnTo>
                      <a:pt x="532" y="533"/>
                    </a:lnTo>
                    <a:lnTo>
                      <a:pt x="534" y="533"/>
                    </a:lnTo>
                    <a:lnTo>
                      <a:pt x="535" y="533"/>
                    </a:lnTo>
                    <a:lnTo>
                      <a:pt x="539" y="533"/>
                    </a:lnTo>
                    <a:lnTo>
                      <a:pt x="542" y="533"/>
                    </a:lnTo>
                    <a:lnTo>
                      <a:pt x="542" y="533"/>
                    </a:lnTo>
                    <a:lnTo>
                      <a:pt x="548" y="537"/>
                    </a:lnTo>
                    <a:lnTo>
                      <a:pt x="549" y="537"/>
                    </a:lnTo>
                    <a:lnTo>
                      <a:pt x="551" y="539"/>
                    </a:lnTo>
                    <a:lnTo>
                      <a:pt x="555" y="540"/>
                    </a:lnTo>
                    <a:lnTo>
                      <a:pt x="555" y="542"/>
                    </a:lnTo>
                    <a:lnTo>
                      <a:pt x="551" y="544"/>
                    </a:lnTo>
                    <a:lnTo>
                      <a:pt x="551" y="546"/>
                    </a:lnTo>
                    <a:lnTo>
                      <a:pt x="549" y="547"/>
                    </a:lnTo>
                    <a:lnTo>
                      <a:pt x="549" y="549"/>
                    </a:lnTo>
                    <a:lnTo>
                      <a:pt x="548" y="551"/>
                    </a:lnTo>
                    <a:lnTo>
                      <a:pt x="544" y="554"/>
                    </a:lnTo>
                    <a:lnTo>
                      <a:pt x="544" y="556"/>
                    </a:lnTo>
                    <a:lnTo>
                      <a:pt x="542" y="556"/>
                    </a:lnTo>
                    <a:lnTo>
                      <a:pt x="548" y="560"/>
                    </a:lnTo>
                    <a:lnTo>
                      <a:pt x="548" y="561"/>
                    </a:lnTo>
                    <a:lnTo>
                      <a:pt x="548" y="566"/>
                    </a:lnTo>
                    <a:lnTo>
                      <a:pt x="548" y="568"/>
                    </a:lnTo>
                    <a:lnTo>
                      <a:pt x="542" y="570"/>
                    </a:lnTo>
                    <a:lnTo>
                      <a:pt x="544" y="572"/>
                    </a:lnTo>
                    <a:lnTo>
                      <a:pt x="549" y="572"/>
                    </a:lnTo>
                    <a:lnTo>
                      <a:pt x="553" y="572"/>
                    </a:lnTo>
                    <a:lnTo>
                      <a:pt x="555" y="572"/>
                    </a:lnTo>
                    <a:lnTo>
                      <a:pt x="555" y="573"/>
                    </a:lnTo>
                    <a:lnTo>
                      <a:pt x="556" y="572"/>
                    </a:lnTo>
                    <a:lnTo>
                      <a:pt x="558" y="570"/>
                    </a:lnTo>
                    <a:lnTo>
                      <a:pt x="560" y="572"/>
                    </a:lnTo>
                    <a:lnTo>
                      <a:pt x="565" y="572"/>
                    </a:lnTo>
                    <a:lnTo>
                      <a:pt x="570" y="573"/>
                    </a:lnTo>
                    <a:lnTo>
                      <a:pt x="570" y="572"/>
                    </a:lnTo>
                    <a:lnTo>
                      <a:pt x="575" y="572"/>
                    </a:lnTo>
                    <a:lnTo>
                      <a:pt x="577" y="573"/>
                    </a:lnTo>
                    <a:lnTo>
                      <a:pt x="577" y="573"/>
                    </a:lnTo>
                    <a:lnTo>
                      <a:pt x="579" y="573"/>
                    </a:lnTo>
                    <a:lnTo>
                      <a:pt x="581" y="572"/>
                    </a:lnTo>
                    <a:lnTo>
                      <a:pt x="582" y="573"/>
                    </a:lnTo>
                    <a:lnTo>
                      <a:pt x="584" y="575"/>
                    </a:lnTo>
                    <a:lnTo>
                      <a:pt x="586" y="575"/>
                    </a:lnTo>
                    <a:lnTo>
                      <a:pt x="588" y="573"/>
                    </a:lnTo>
                    <a:lnTo>
                      <a:pt x="589" y="575"/>
                    </a:lnTo>
                    <a:lnTo>
                      <a:pt x="589" y="577"/>
                    </a:lnTo>
                    <a:lnTo>
                      <a:pt x="589" y="577"/>
                    </a:lnTo>
                    <a:lnTo>
                      <a:pt x="593" y="575"/>
                    </a:lnTo>
                    <a:lnTo>
                      <a:pt x="595" y="575"/>
                    </a:lnTo>
                    <a:lnTo>
                      <a:pt x="598" y="573"/>
                    </a:lnTo>
                    <a:lnTo>
                      <a:pt x="600" y="572"/>
                    </a:lnTo>
                    <a:lnTo>
                      <a:pt x="603" y="572"/>
                    </a:lnTo>
                    <a:lnTo>
                      <a:pt x="607" y="568"/>
                    </a:lnTo>
                    <a:lnTo>
                      <a:pt x="610" y="566"/>
                    </a:lnTo>
                    <a:lnTo>
                      <a:pt x="612" y="566"/>
                    </a:lnTo>
                    <a:lnTo>
                      <a:pt x="615" y="565"/>
                    </a:lnTo>
                    <a:lnTo>
                      <a:pt x="617" y="565"/>
                    </a:lnTo>
                    <a:lnTo>
                      <a:pt x="621" y="565"/>
                    </a:lnTo>
                    <a:lnTo>
                      <a:pt x="624" y="565"/>
                    </a:lnTo>
                    <a:lnTo>
                      <a:pt x="624" y="566"/>
                    </a:lnTo>
                    <a:lnTo>
                      <a:pt x="631" y="566"/>
                    </a:lnTo>
                    <a:lnTo>
                      <a:pt x="638" y="561"/>
                    </a:lnTo>
                    <a:lnTo>
                      <a:pt x="640" y="560"/>
                    </a:lnTo>
                    <a:lnTo>
                      <a:pt x="640" y="560"/>
                    </a:lnTo>
                    <a:lnTo>
                      <a:pt x="640" y="560"/>
                    </a:lnTo>
                    <a:lnTo>
                      <a:pt x="643" y="560"/>
                    </a:lnTo>
                    <a:lnTo>
                      <a:pt x="643" y="556"/>
                    </a:lnTo>
                    <a:lnTo>
                      <a:pt x="643" y="556"/>
                    </a:lnTo>
                    <a:lnTo>
                      <a:pt x="647" y="554"/>
                    </a:lnTo>
                    <a:lnTo>
                      <a:pt x="647" y="556"/>
                    </a:lnTo>
                    <a:lnTo>
                      <a:pt x="648" y="554"/>
                    </a:lnTo>
                    <a:lnTo>
                      <a:pt x="650" y="553"/>
                    </a:lnTo>
                    <a:lnTo>
                      <a:pt x="650" y="551"/>
                    </a:lnTo>
                    <a:lnTo>
                      <a:pt x="652" y="553"/>
                    </a:lnTo>
                    <a:lnTo>
                      <a:pt x="652" y="551"/>
                    </a:lnTo>
                    <a:lnTo>
                      <a:pt x="654" y="554"/>
                    </a:lnTo>
                    <a:lnTo>
                      <a:pt x="654" y="556"/>
                    </a:lnTo>
                    <a:lnTo>
                      <a:pt x="655" y="556"/>
                    </a:lnTo>
                    <a:lnTo>
                      <a:pt x="652" y="560"/>
                    </a:lnTo>
                    <a:lnTo>
                      <a:pt x="652" y="560"/>
                    </a:lnTo>
                    <a:lnTo>
                      <a:pt x="650" y="561"/>
                    </a:lnTo>
                    <a:lnTo>
                      <a:pt x="648" y="565"/>
                    </a:lnTo>
                    <a:lnTo>
                      <a:pt x="650" y="565"/>
                    </a:lnTo>
                    <a:lnTo>
                      <a:pt x="652" y="565"/>
                    </a:lnTo>
                    <a:lnTo>
                      <a:pt x="655" y="566"/>
                    </a:lnTo>
                    <a:lnTo>
                      <a:pt x="655" y="566"/>
                    </a:lnTo>
                    <a:lnTo>
                      <a:pt x="657" y="566"/>
                    </a:lnTo>
                    <a:lnTo>
                      <a:pt x="661" y="566"/>
                    </a:lnTo>
                    <a:lnTo>
                      <a:pt x="662" y="570"/>
                    </a:lnTo>
                    <a:lnTo>
                      <a:pt x="662" y="572"/>
                    </a:lnTo>
                    <a:lnTo>
                      <a:pt x="662" y="570"/>
                    </a:lnTo>
                    <a:lnTo>
                      <a:pt x="662" y="570"/>
                    </a:lnTo>
                    <a:lnTo>
                      <a:pt x="666" y="570"/>
                    </a:lnTo>
                    <a:lnTo>
                      <a:pt x="666" y="572"/>
                    </a:lnTo>
                    <a:lnTo>
                      <a:pt x="662" y="575"/>
                    </a:lnTo>
                    <a:lnTo>
                      <a:pt x="662" y="575"/>
                    </a:lnTo>
                    <a:lnTo>
                      <a:pt x="661" y="577"/>
                    </a:lnTo>
                    <a:lnTo>
                      <a:pt x="661" y="579"/>
                    </a:lnTo>
                    <a:lnTo>
                      <a:pt x="662" y="579"/>
                    </a:lnTo>
                    <a:lnTo>
                      <a:pt x="662" y="579"/>
                    </a:lnTo>
                    <a:lnTo>
                      <a:pt x="666" y="582"/>
                    </a:lnTo>
                    <a:lnTo>
                      <a:pt x="669" y="580"/>
                    </a:lnTo>
                    <a:lnTo>
                      <a:pt x="671" y="577"/>
                    </a:lnTo>
                    <a:lnTo>
                      <a:pt x="671" y="577"/>
                    </a:lnTo>
                    <a:lnTo>
                      <a:pt x="671" y="580"/>
                    </a:lnTo>
                    <a:lnTo>
                      <a:pt x="674" y="584"/>
                    </a:lnTo>
                    <a:lnTo>
                      <a:pt x="676" y="584"/>
                    </a:lnTo>
                    <a:lnTo>
                      <a:pt x="678" y="584"/>
                    </a:lnTo>
                    <a:lnTo>
                      <a:pt x="680" y="584"/>
                    </a:lnTo>
                    <a:lnTo>
                      <a:pt x="681" y="584"/>
                    </a:lnTo>
                    <a:lnTo>
                      <a:pt x="685" y="584"/>
                    </a:lnTo>
                    <a:lnTo>
                      <a:pt x="685" y="587"/>
                    </a:lnTo>
                    <a:lnTo>
                      <a:pt x="685" y="587"/>
                    </a:lnTo>
                    <a:lnTo>
                      <a:pt x="685" y="584"/>
                    </a:lnTo>
                    <a:lnTo>
                      <a:pt x="688" y="584"/>
                    </a:lnTo>
                    <a:lnTo>
                      <a:pt x="692" y="584"/>
                    </a:lnTo>
                    <a:lnTo>
                      <a:pt x="694" y="584"/>
                    </a:lnTo>
                    <a:lnTo>
                      <a:pt x="694" y="587"/>
                    </a:lnTo>
                    <a:lnTo>
                      <a:pt x="694" y="587"/>
                    </a:lnTo>
                    <a:lnTo>
                      <a:pt x="697" y="587"/>
                    </a:lnTo>
                    <a:lnTo>
                      <a:pt x="697" y="584"/>
                    </a:lnTo>
                    <a:lnTo>
                      <a:pt x="699" y="584"/>
                    </a:lnTo>
                    <a:lnTo>
                      <a:pt x="699" y="587"/>
                    </a:lnTo>
                    <a:lnTo>
                      <a:pt x="701" y="587"/>
                    </a:lnTo>
                    <a:lnTo>
                      <a:pt x="702" y="587"/>
                    </a:lnTo>
                    <a:lnTo>
                      <a:pt x="702" y="584"/>
                    </a:lnTo>
                    <a:lnTo>
                      <a:pt x="704" y="584"/>
                    </a:lnTo>
                    <a:lnTo>
                      <a:pt x="707" y="584"/>
                    </a:lnTo>
                    <a:lnTo>
                      <a:pt x="707" y="584"/>
                    </a:lnTo>
                    <a:lnTo>
                      <a:pt x="709" y="584"/>
                    </a:lnTo>
                    <a:lnTo>
                      <a:pt x="711" y="584"/>
                    </a:lnTo>
                    <a:lnTo>
                      <a:pt x="711" y="584"/>
                    </a:lnTo>
                    <a:lnTo>
                      <a:pt x="711" y="584"/>
                    </a:lnTo>
                    <a:lnTo>
                      <a:pt x="711" y="584"/>
                    </a:lnTo>
                    <a:close/>
                    <a:moveTo>
                      <a:pt x="1029" y="706"/>
                    </a:moveTo>
                    <a:lnTo>
                      <a:pt x="1029" y="702"/>
                    </a:lnTo>
                    <a:lnTo>
                      <a:pt x="1029" y="702"/>
                    </a:lnTo>
                    <a:lnTo>
                      <a:pt x="1029" y="697"/>
                    </a:lnTo>
                    <a:lnTo>
                      <a:pt x="1029" y="693"/>
                    </a:lnTo>
                    <a:lnTo>
                      <a:pt x="1032" y="688"/>
                    </a:lnTo>
                    <a:lnTo>
                      <a:pt x="1034" y="685"/>
                    </a:lnTo>
                    <a:lnTo>
                      <a:pt x="1038" y="683"/>
                    </a:lnTo>
                    <a:lnTo>
                      <a:pt x="1043" y="674"/>
                    </a:lnTo>
                    <a:lnTo>
                      <a:pt x="1046" y="674"/>
                    </a:lnTo>
                    <a:lnTo>
                      <a:pt x="1048" y="674"/>
                    </a:lnTo>
                    <a:lnTo>
                      <a:pt x="1048" y="671"/>
                    </a:lnTo>
                    <a:lnTo>
                      <a:pt x="1052" y="674"/>
                    </a:lnTo>
                    <a:lnTo>
                      <a:pt x="1055" y="671"/>
                    </a:lnTo>
                    <a:lnTo>
                      <a:pt x="1057" y="674"/>
                    </a:lnTo>
                    <a:lnTo>
                      <a:pt x="1058" y="674"/>
                    </a:lnTo>
                    <a:lnTo>
                      <a:pt x="1060" y="674"/>
                    </a:lnTo>
                    <a:lnTo>
                      <a:pt x="1064" y="676"/>
                    </a:lnTo>
                    <a:lnTo>
                      <a:pt x="1065" y="681"/>
                    </a:lnTo>
                    <a:lnTo>
                      <a:pt x="1065" y="683"/>
                    </a:lnTo>
                    <a:lnTo>
                      <a:pt x="1062" y="686"/>
                    </a:lnTo>
                    <a:lnTo>
                      <a:pt x="1060" y="690"/>
                    </a:lnTo>
                    <a:lnTo>
                      <a:pt x="1060" y="693"/>
                    </a:lnTo>
                    <a:lnTo>
                      <a:pt x="1055" y="699"/>
                    </a:lnTo>
                    <a:lnTo>
                      <a:pt x="1055" y="702"/>
                    </a:lnTo>
                    <a:lnTo>
                      <a:pt x="1052" y="702"/>
                    </a:lnTo>
                    <a:lnTo>
                      <a:pt x="1048" y="706"/>
                    </a:lnTo>
                    <a:lnTo>
                      <a:pt x="1046" y="706"/>
                    </a:lnTo>
                    <a:lnTo>
                      <a:pt x="1043" y="706"/>
                    </a:lnTo>
                    <a:lnTo>
                      <a:pt x="1039" y="707"/>
                    </a:lnTo>
                    <a:lnTo>
                      <a:pt x="1038" y="706"/>
                    </a:lnTo>
                    <a:lnTo>
                      <a:pt x="1032" y="707"/>
                    </a:lnTo>
                    <a:lnTo>
                      <a:pt x="1032" y="706"/>
                    </a:lnTo>
                    <a:lnTo>
                      <a:pt x="1029" y="706"/>
                    </a:lnTo>
                    <a:lnTo>
                      <a:pt x="1029" y="706"/>
                    </a:lnTo>
                    <a:lnTo>
                      <a:pt x="1029" y="706"/>
                    </a:lnTo>
                    <a:lnTo>
                      <a:pt x="1029" y="706"/>
                    </a:lnTo>
                    <a:lnTo>
                      <a:pt x="1029" y="706"/>
                    </a:lnTo>
                    <a:close/>
                    <a:moveTo>
                      <a:pt x="727" y="573"/>
                    </a:moveTo>
                    <a:lnTo>
                      <a:pt x="725" y="572"/>
                    </a:lnTo>
                    <a:lnTo>
                      <a:pt x="727" y="570"/>
                    </a:lnTo>
                    <a:lnTo>
                      <a:pt x="728" y="570"/>
                    </a:lnTo>
                    <a:lnTo>
                      <a:pt x="727" y="566"/>
                    </a:lnTo>
                    <a:lnTo>
                      <a:pt x="728" y="565"/>
                    </a:lnTo>
                    <a:lnTo>
                      <a:pt x="730" y="565"/>
                    </a:lnTo>
                    <a:lnTo>
                      <a:pt x="730" y="566"/>
                    </a:lnTo>
                    <a:lnTo>
                      <a:pt x="732" y="568"/>
                    </a:lnTo>
                    <a:lnTo>
                      <a:pt x="732" y="570"/>
                    </a:lnTo>
                    <a:lnTo>
                      <a:pt x="730" y="573"/>
                    </a:lnTo>
                    <a:lnTo>
                      <a:pt x="728" y="572"/>
                    </a:lnTo>
                    <a:lnTo>
                      <a:pt x="727" y="575"/>
                    </a:lnTo>
                    <a:lnTo>
                      <a:pt x="727" y="573"/>
                    </a:lnTo>
                    <a:lnTo>
                      <a:pt x="727" y="573"/>
                    </a:lnTo>
                    <a:lnTo>
                      <a:pt x="727" y="573"/>
                    </a:lnTo>
                    <a:lnTo>
                      <a:pt x="727" y="573"/>
                    </a:lnTo>
                    <a:close/>
                    <a:moveTo>
                      <a:pt x="697" y="601"/>
                    </a:moveTo>
                    <a:lnTo>
                      <a:pt x="699" y="600"/>
                    </a:lnTo>
                    <a:lnTo>
                      <a:pt x="701" y="598"/>
                    </a:lnTo>
                    <a:lnTo>
                      <a:pt x="701" y="596"/>
                    </a:lnTo>
                    <a:lnTo>
                      <a:pt x="701" y="593"/>
                    </a:lnTo>
                    <a:lnTo>
                      <a:pt x="701" y="593"/>
                    </a:lnTo>
                    <a:lnTo>
                      <a:pt x="697" y="596"/>
                    </a:lnTo>
                    <a:lnTo>
                      <a:pt x="697" y="596"/>
                    </a:lnTo>
                    <a:lnTo>
                      <a:pt x="694" y="596"/>
                    </a:lnTo>
                    <a:lnTo>
                      <a:pt x="694" y="596"/>
                    </a:lnTo>
                    <a:lnTo>
                      <a:pt x="697" y="600"/>
                    </a:lnTo>
                    <a:lnTo>
                      <a:pt x="697" y="601"/>
                    </a:lnTo>
                    <a:lnTo>
                      <a:pt x="697" y="601"/>
                    </a:lnTo>
                    <a:lnTo>
                      <a:pt x="697" y="601"/>
                    </a:lnTo>
                    <a:lnTo>
                      <a:pt x="697" y="601"/>
                    </a:lnTo>
                    <a:close/>
                    <a:moveTo>
                      <a:pt x="732" y="596"/>
                    </a:moveTo>
                    <a:lnTo>
                      <a:pt x="728" y="596"/>
                    </a:lnTo>
                    <a:lnTo>
                      <a:pt x="727" y="598"/>
                    </a:lnTo>
                    <a:lnTo>
                      <a:pt x="727" y="600"/>
                    </a:lnTo>
                    <a:lnTo>
                      <a:pt x="725" y="596"/>
                    </a:lnTo>
                    <a:lnTo>
                      <a:pt x="725" y="596"/>
                    </a:lnTo>
                    <a:lnTo>
                      <a:pt x="727" y="589"/>
                    </a:lnTo>
                    <a:lnTo>
                      <a:pt x="727" y="587"/>
                    </a:lnTo>
                    <a:lnTo>
                      <a:pt x="728" y="587"/>
                    </a:lnTo>
                    <a:lnTo>
                      <a:pt x="730" y="587"/>
                    </a:lnTo>
                    <a:lnTo>
                      <a:pt x="730" y="587"/>
                    </a:lnTo>
                    <a:lnTo>
                      <a:pt x="734" y="591"/>
                    </a:lnTo>
                    <a:lnTo>
                      <a:pt x="732" y="596"/>
                    </a:lnTo>
                    <a:lnTo>
                      <a:pt x="732" y="596"/>
                    </a:lnTo>
                    <a:lnTo>
                      <a:pt x="732" y="596"/>
                    </a:lnTo>
                    <a:lnTo>
                      <a:pt x="732" y="596"/>
                    </a:lnTo>
                    <a:close/>
                    <a:moveTo>
                      <a:pt x="735" y="589"/>
                    </a:moveTo>
                    <a:lnTo>
                      <a:pt x="735" y="587"/>
                    </a:lnTo>
                    <a:lnTo>
                      <a:pt x="734" y="587"/>
                    </a:lnTo>
                    <a:lnTo>
                      <a:pt x="737" y="582"/>
                    </a:lnTo>
                    <a:lnTo>
                      <a:pt x="737" y="582"/>
                    </a:lnTo>
                    <a:lnTo>
                      <a:pt x="739" y="584"/>
                    </a:lnTo>
                    <a:lnTo>
                      <a:pt x="739" y="587"/>
                    </a:lnTo>
                    <a:lnTo>
                      <a:pt x="737" y="589"/>
                    </a:lnTo>
                    <a:lnTo>
                      <a:pt x="737" y="589"/>
                    </a:lnTo>
                    <a:lnTo>
                      <a:pt x="735" y="589"/>
                    </a:lnTo>
                    <a:lnTo>
                      <a:pt x="735" y="589"/>
                    </a:lnTo>
                    <a:lnTo>
                      <a:pt x="735" y="589"/>
                    </a:lnTo>
                    <a:lnTo>
                      <a:pt x="735" y="589"/>
                    </a:lnTo>
                    <a:close/>
                    <a:moveTo>
                      <a:pt x="798" y="591"/>
                    </a:moveTo>
                    <a:lnTo>
                      <a:pt x="801" y="587"/>
                    </a:lnTo>
                    <a:lnTo>
                      <a:pt x="803" y="582"/>
                    </a:lnTo>
                    <a:lnTo>
                      <a:pt x="807" y="584"/>
                    </a:lnTo>
                    <a:lnTo>
                      <a:pt x="807" y="587"/>
                    </a:lnTo>
                    <a:lnTo>
                      <a:pt x="803" y="593"/>
                    </a:lnTo>
                    <a:lnTo>
                      <a:pt x="801" y="593"/>
                    </a:lnTo>
                    <a:lnTo>
                      <a:pt x="801" y="591"/>
                    </a:lnTo>
                    <a:lnTo>
                      <a:pt x="801" y="587"/>
                    </a:lnTo>
                    <a:lnTo>
                      <a:pt x="801" y="589"/>
                    </a:lnTo>
                    <a:lnTo>
                      <a:pt x="801" y="591"/>
                    </a:lnTo>
                    <a:lnTo>
                      <a:pt x="801" y="591"/>
                    </a:lnTo>
                    <a:lnTo>
                      <a:pt x="798" y="591"/>
                    </a:lnTo>
                    <a:lnTo>
                      <a:pt x="798" y="591"/>
                    </a:lnTo>
                    <a:lnTo>
                      <a:pt x="798" y="591"/>
                    </a:lnTo>
                    <a:lnTo>
                      <a:pt x="798" y="591"/>
                    </a:lnTo>
                    <a:close/>
                    <a:moveTo>
                      <a:pt x="796" y="587"/>
                    </a:moveTo>
                    <a:lnTo>
                      <a:pt x="798" y="587"/>
                    </a:lnTo>
                    <a:lnTo>
                      <a:pt x="798" y="584"/>
                    </a:lnTo>
                    <a:lnTo>
                      <a:pt x="798" y="580"/>
                    </a:lnTo>
                    <a:lnTo>
                      <a:pt x="796" y="582"/>
                    </a:lnTo>
                    <a:lnTo>
                      <a:pt x="796" y="587"/>
                    </a:lnTo>
                    <a:lnTo>
                      <a:pt x="796" y="587"/>
                    </a:lnTo>
                    <a:lnTo>
                      <a:pt x="796" y="587"/>
                    </a:lnTo>
                    <a:lnTo>
                      <a:pt x="796" y="587"/>
                    </a:lnTo>
                    <a:close/>
                    <a:moveTo>
                      <a:pt x="793" y="619"/>
                    </a:moveTo>
                    <a:lnTo>
                      <a:pt x="796" y="615"/>
                    </a:lnTo>
                    <a:lnTo>
                      <a:pt x="801" y="612"/>
                    </a:lnTo>
                    <a:lnTo>
                      <a:pt x="801" y="610"/>
                    </a:lnTo>
                    <a:lnTo>
                      <a:pt x="796" y="612"/>
                    </a:lnTo>
                    <a:lnTo>
                      <a:pt x="793" y="608"/>
                    </a:lnTo>
                    <a:lnTo>
                      <a:pt x="798" y="601"/>
                    </a:lnTo>
                    <a:lnTo>
                      <a:pt x="798" y="598"/>
                    </a:lnTo>
                    <a:lnTo>
                      <a:pt x="796" y="600"/>
                    </a:lnTo>
                    <a:lnTo>
                      <a:pt x="793" y="605"/>
                    </a:lnTo>
                    <a:lnTo>
                      <a:pt x="793" y="601"/>
                    </a:lnTo>
                    <a:lnTo>
                      <a:pt x="796" y="593"/>
                    </a:lnTo>
                    <a:lnTo>
                      <a:pt x="793" y="584"/>
                    </a:lnTo>
                    <a:lnTo>
                      <a:pt x="789" y="580"/>
                    </a:lnTo>
                    <a:lnTo>
                      <a:pt x="789" y="575"/>
                    </a:lnTo>
                    <a:lnTo>
                      <a:pt x="786" y="575"/>
                    </a:lnTo>
                    <a:lnTo>
                      <a:pt x="782" y="579"/>
                    </a:lnTo>
                    <a:lnTo>
                      <a:pt x="782" y="575"/>
                    </a:lnTo>
                    <a:lnTo>
                      <a:pt x="786" y="573"/>
                    </a:lnTo>
                    <a:lnTo>
                      <a:pt x="784" y="570"/>
                    </a:lnTo>
                    <a:lnTo>
                      <a:pt x="784" y="566"/>
                    </a:lnTo>
                    <a:lnTo>
                      <a:pt x="784" y="565"/>
                    </a:lnTo>
                    <a:lnTo>
                      <a:pt x="779" y="565"/>
                    </a:lnTo>
                    <a:lnTo>
                      <a:pt x="773" y="568"/>
                    </a:lnTo>
                    <a:lnTo>
                      <a:pt x="772" y="575"/>
                    </a:lnTo>
                    <a:lnTo>
                      <a:pt x="773" y="580"/>
                    </a:lnTo>
                    <a:lnTo>
                      <a:pt x="770" y="579"/>
                    </a:lnTo>
                    <a:lnTo>
                      <a:pt x="770" y="575"/>
                    </a:lnTo>
                    <a:lnTo>
                      <a:pt x="767" y="573"/>
                    </a:lnTo>
                    <a:lnTo>
                      <a:pt x="767" y="579"/>
                    </a:lnTo>
                    <a:lnTo>
                      <a:pt x="767" y="579"/>
                    </a:lnTo>
                    <a:lnTo>
                      <a:pt x="767" y="582"/>
                    </a:lnTo>
                    <a:lnTo>
                      <a:pt x="765" y="584"/>
                    </a:lnTo>
                    <a:lnTo>
                      <a:pt x="763" y="584"/>
                    </a:lnTo>
                    <a:lnTo>
                      <a:pt x="761" y="587"/>
                    </a:lnTo>
                    <a:lnTo>
                      <a:pt x="754" y="587"/>
                    </a:lnTo>
                    <a:lnTo>
                      <a:pt x="753" y="587"/>
                    </a:lnTo>
                    <a:lnTo>
                      <a:pt x="751" y="587"/>
                    </a:lnTo>
                    <a:lnTo>
                      <a:pt x="744" y="591"/>
                    </a:lnTo>
                    <a:lnTo>
                      <a:pt x="744" y="596"/>
                    </a:lnTo>
                    <a:lnTo>
                      <a:pt x="747" y="600"/>
                    </a:lnTo>
                    <a:lnTo>
                      <a:pt x="749" y="598"/>
                    </a:lnTo>
                    <a:lnTo>
                      <a:pt x="749" y="596"/>
                    </a:lnTo>
                    <a:lnTo>
                      <a:pt x="749" y="593"/>
                    </a:lnTo>
                    <a:lnTo>
                      <a:pt x="753" y="596"/>
                    </a:lnTo>
                    <a:lnTo>
                      <a:pt x="753" y="601"/>
                    </a:lnTo>
                    <a:lnTo>
                      <a:pt x="756" y="605"/>
                    </a:lnTo>
                    <a:lnTo>
                      <a:pt x="758" y="601"/>
                    </a:lnTo>
                    <a:lnTo>
                      <a:pt x="760" y="603"/>
                    </a:lnTo>
                    <a:lnTo>
                      <a:pt x="758" y="606"/>
                    </a:lnTo>
                    <a:lnTo>
                      <a:pt x="761" y="612"/>
                    </a:lnTo>
                    <a:lnTo>
                      <a:pt x="765" y="612"/>
                    </a:lnTo>
                    <a:lnTo>
                      <a:pt x="767" y="615"/>
                    </a:lnTo>
                    <a:lnTo>
                      <a:pt x="770" y="619"/>
                    </a:lnTo>
                    <a:lnTo>
                      <a:pt x="772" y="615"/>
                    </a:lnTo>
                    <a:lnTo>
                      <a:pt x="772" y="619"/>
                    </a:lnTo>
                    <a:lnTo>
                      <a:pt x="775" y="620"/>
                    </a:lnTo>
                    <a:lnTo>
                      <a:pt x="779" y="620"/>
                    </a:lnTo>
                    <a:lnTo>
                      <a:pt x="782" y="620"/>
                    </a:lnTo>
                    <a:lnTo>
                      <a:pt x="786" y="619"/>
                    </a:lnTo>
                    <a:lnTo>
                      <a:pt x="787" y="619"/>
                    </a:lnTo>
                    <a:lnTo>
                      <a:pt x="793" y="615"/>
                    </a:lnTo>
                    <a:lnTo>
                      <a:pt x="793" y="619"/>
                    </a:lnTo>
                    <a:lnTo>
                      <a:pt x="793" y="619"/>
                    </a:lnTo>
                    <a:lnTo>
                      <a:pt x="793" y="619"/>
                    </a:lnTo>
                    <a:lnTo>
                      <a:pt x="793" y="619"/>
                    </a:lnTo>
                    <a:close/>
                    <a:moveTo>
                      <a:pt x="1142" y="593"/>
                    </a:moveTo>
                    <a:lnTo>
                      <a:pt x="1142" y="589"/>
                    </a:lnTo>
                    <a:lnTo>
                      <a:pt x="1140" y="587"/>
                    </a:lnTo>
                    <a:lnTo>
                      <a:pt x="1142" y="587"/>
                    </a:lnTo>
                    <a:lnTo>
                      <a:pt x="1145" y="584"/>
                    </a:lnTo>
                    <a:lnTo>
                      <a:pt x="1147" y="584"/>
                    </a:lnTo>
                    <a:lnTo>
                      <a:pt x="1147" y="587"/>
                    </a:lnTo>
                    <a:lnTo>
                      <a:pt x="1151" y="587"/>
                    </a:lnTo>
                    <a:lnTo>
                      <a:pt x="1151" y="587"/>
                    </a:lnTo>
                    <a:lnTo>
                      <a:pt x="1151" y="591"/>
                    </a:lnTo>
                    <a:lnTo>
                      <a:pt x="1147" y="591"/>
                    </a:lnTo>
                    <a:lnTo>
                      <a:pt x="1145" y="591"/>
                    </a:lnTo>
                    <a:lnTo>
                      <a:pt x="1144" y="591"/>
                    </a:lnTo>
                    <a:lnTo>
                      <a:pt x="1142" y="593"/>
                    </a:lnTo>
                    <a:lnTo>
                      <a:pt x="1142" y="593"/>
                    </a:lnTo>
                    <a:lnTo>
                      <a:pt x="1142" y="593"/>
                    </a:lnTo>
                    <a:lnTo>
                      <a:pt x="1142" y="593"/>
                    </a:lnTo>
                    <a:lnTo>
                      <a:pt x="1142" y="593"/>
                    </a:lnTo>
                    <a:lnTo>
                      <a:pt x="1142" y="593"/>
                    </a:lnTo>
                    <a:close/>
                    <a:moveTo>
                      <a:pt x="1133" y="893"/>
                    </a:moveTo>
                    <a:lnTo>
                      <a:pt x="1130" y="893"/>
                    </a:lnTo>
                    <a:lnTo>
                      <a:pt x="1128" y="890"/>
                    </a:lnTo>
                    <a:lnTo>
                      <a:pt x="1123" y="890"/>
                    </a:lnTo>
                    <a:lnTo>
                      <a:pt x="1121" y="888"/>
                    </a:lnTo>
                    <a:lnTo>
                      <a:pt x="1118" y="888"/>
                    </a:lnTo>
                    <a:lnTo>
                      <a:pt x="1112" y="883"/>
                    </a:lnTo>
                    <a:lnTo>
                      <a:pt x="1112" y="881"/>
                    </a:lnTo>
                    <a:lnTo>
                      <a:pt x="1109" y="879"/>
                    </a:lnTo>
                    <a:lnTo>
                      <a:pt x="1107" y="881"/>
                    </a:lnTo>
                    <a:lnTo>
                      <a:pt x="1105" y="879"/>
                    </a:lnTo>
                    <a:lnTo>
                      <a:pt x="1105" y="881"/>
                    </a:lnTo>
                    <a:lnTo>
                      <a:pt x="1100" y="878"/>
                    </a:lnTo>
                    <a:lnTo>
                      <a:pt x="1100" y="876"/>
                    </a:lnTo>
                    <a:lnTo>
                      <a:pt x="1097" y="874"/>
                    </a:lnTo>
                    <a:lnTo>
                      <a:pt x="1093" y="874"/>
                    </a:lnTo>
                    <a:lnTo>
                      <a:pt x="1091" y="871"/>
                    </a:lnTo>
                    <a:lnTo>
                      <a:pt x="1091" y="867"/>
                    </a:lnTo>
                    <a:lnTo>
                      <a:pt x="1090" y="867"/>
                    </a:lnTo>
                    <a:lnTo>
                      <a:pt x="1088" y="867"/>
                    </a:lnTo>
                    <a:lnTo>
                      <a:pt x="1086" y="866"/>
                    </a:lnTo>
                    <a:lnTo>
                      <a:pt x="1088" y="862"/>
                    </a:lnTo>
                    <a:lnTo>
                      <a:pt x="1090" y="862"/>
                    </a:lnTo>
                    <a:lnTo>
                      <a:pt x="1086" y="862"/>
                    </a:lnTo>
                    <a:lnTo>
                      <a:pt x="1085" y="862"/>
                    </a:lnTo>
                    <a:lnTo>
                      <a:pt x="1085" y="862"/>
                    </a:lnTo>
                    <a:lnTo>
                      <a:pt x="1083" y="862"/>
                    </a:lnTo>
                    <a:lnTo>
                      <a:pt x="1083" y="860"/>
                    </a:lnTo>
                    <a:lnTo>
                      <a:pt x="1079" y="860"/>
                    </a:lnTo>
                    <a:lnTo>
                      <a:pt x="1074" y="857"/>
                    </a:lnTo>
                    <a:lnTo>
                      <a:pt x="1071" y="857"/>
                    </a:lnTo>
                    <a:lnTo>
                      <a:pt x="1071" y="855"/>
                    </a:lnTo>
                    <a:lnTo>
                      <a:pt x="1067" y="852"/>
                    </a:lnTo>
                    <a:lnTo>
                      <a:pt x="1069" y="850"/>
                    </a:lnTo>
                    <a:lnTo>
                      <a:pt x="1065" y="850"/>
                    </a:lnTo>
                    <a:lnTo>
                      <a:pt x="1064" y="848"/>
                    </a:lnTo>
                    <a:lnTo>
                      <a:pt x="1062" y="845"/>
                    </a:lnTo>
                    <a:lnTo>
                      <a:pt x="1062" y="839"/>
                    </a:lnTo>
                    <a:lnTo>
                      <a:pt x="1058" y="839"/>
                    </a:lnTo>
                    <a:lnTo>
                      <a:pt x="1058" y="839"/>
                    </a:lnTo>
                    <a:lnTo>
                      <a:pt x="1064" y="839"/>
                    </a:lnTo>
                    <a:lnTo>
                      <a:pt x="1071" y="834"/>
                    </a:lnTo>
                    <a:lnTo>
                      <a:pt x="1071" y="833"/>
                    </a:lnTo>
                    <a:lnTo>
                      <a:pt x="1067" y="834"/>
                    </a:lnTo>
                    <a:lnTo>
                      <a:pt x="1064" y="829"/>
                    </a:lnTo>
                    <a:lnTo>
                      <a:pt x="1064" y="826"/>
                    </a:lnTo>
                    <a:lnTo>
                      <a:pt x="1064" y="824"/>
                    </a:lnTo>
                    <a:lnTo>
                      <a:pt x="1062" y="826"/>
                    </a:lnTo>
                    <a:lnTo>
                      <a:pt x="1060" y="829"/>
                    </a:lnTo>
                    <a:lnTo>
                      <a:pt x="1060" y="831"/>
                    </a:lnTo>
                    <a:lnTo>
                      <a:pt x="1057" y="827"/>
                    </a:lnTo>
                    <a:lnTo>
                      <a:pt x="1058" y="826"/>
                    </a:lnTo>
                    <a:lnTo>
                      <a:pt x="1058" y="820"/>
                    </a:lnTo>
                    <a:lnTo>
                      <a:pt x="1057" y="824"/>
                    </a:lnTo>
                    <a:lnTo>
                      <a:pt x="1055" y="822"/>
                    </a:lnTo>
                    <a:lnTo>
                      <a:pt x="1055" y="819"/>
                    </a:lnTo>
                    <a:lnTo>
                      <a:pt x="1055" y="819"/>
                    </a:lnTo>
                    <a:lnTo>
                      <a:pt x="1052" y="815"/>
                    </a:lnTo>
                    <a:lnTo>
                      <a:pt x="1052" y="815"/>
                    </a:lnTo>
                    <a:lnTo>
                      <a:pt x="1052" y="808"/>
                    </a:lnTo>
                    <a:lnTo>
                      <a:pt x="1048" y="808"/>
                    </a:lnTo>
                    <a:lnTo>
                      <a:pt x="1048" y="803"/>
                    </a:lnTo>
                    <a:lnTo>
                      <a:pt x="1052" y="801"/>
                    </a:lnTo>
                    <a:lnTo>
                      <a:pt x="1052" y="799"/>
                    </a:lnTo>
                    <a:lnTo>
                      <a:pt x="1046" y="803"/>
                    </a:lnTo>
                    <a:lnTo>
                      <a:pt x="1046" y="808"/>
                    </a:lnTo>
                    <a:lnTo>
                      <a:pt x="1043" y="806"/>
                    </a:lnTo>
                    <a:lnTo>
                      <a:pt x="1046" y="801"/>
                    </a:lnTo>
                    <a:lnTo>
                      <a:pt x="1043" y="801"/>
                    </a:lnTo>
                    <a:lnTo>
                      <a:pt x="1043" y="801"/>
                    </a:lnTo>
                    <a:lnTo>
                      <a:pt x="1041" y="801"/>
                    </a:lnTo>
                    <a:lnTo>
                      <a:pt x="1039" y="806"/>
                    </a:lnTo>
                    <a:lnTo>
                      <a:pt x="1036" y="808"/>
                    </a:lnTo>
                    <a:lnTo>
                      <a:pt x="1036" y="803"/>
                    </a:lnTo>
                    <a:lnTo>
                      <a:pt x="1039" y="801"/>
                    </a:lnTo>
                    <a:lnTo>
                      <a:pt x="1039" y="798"/>
                    </a:lnTo>
                    <a:lnTo>
                      <a:pt x="1039" y="796"/>
                    </a:lnTo>
                    <a:lnTo>
                      <a:pt x="1036" y="798"/>
                    </a:lnTo>
                    <a:lnTo>
                      <a:pt x="1034" y="799"/>
                    </a:lnTo>
                    <a:lnTo>
                      <a:pt x="1032" y="799"/>
                    </a:lnTo>
                    <a:lnTo>
                      <a:pt x="1029" y="803"/>
                    </a:lnTo>
                    <a:lnTo>
                      <a:pt x="1029" y="803"/>
                    </a:lnTo>
                    <a:lnTo>
                      <a:pt x="1024" y="803"/>
                    </a:lnTo>
                    <a:lnTo>
                      <a:pt x="1024" y="801"/>
                    </a:lnTo>
                    <a:lnTo>
                      <a:pt x="1020" y="801"/>
                    </a:lnTo>
                    <a:lnTo>
                      <a:pt x="1017" y="796"/>
                    </a:lnTo>
                    <a:lnTo>
                      <a:pt x="1017" y="796"/>
                    </a:lnTo>
                    <a:lnTo>
                      <a:pt x="1015" y="798"/>
                    </a:lnTo>
                    <a:lnTo>
                      <a:pt x="1015" y="801"/>
                    </a:lnTo>
                    <a:lnTo>
                      <a:pt x="1013" y="803"/>
                    </a:lnTo>
                    <a:lnTo>
                      <a:pt x="1010" y="803"/>
                    </a:lnTo>
                    <a:lnTo>
                      <a:pt x="1008" y="803"/>
                    </a:lnTo>
                    <a:lnTo>
                      <a:pt x="1005" y="803"/>
                    </a:lnTo>
                    <a:lnTo>
                      <a:pt x="1003" y="803"/>
                    </a:lnTo>
                    <a:lnTo>
                      <a:pt x="1001" y="803"/>
                    </a:lnTo>
                    <a:lnTo>
                      <a:pt x="998" y="806"/>
                    </a:lnTo>
                    <a:lnTo>
                      <a:pt x="996" y="803"/>
                    </a:lnTo>
                    <a:lnTo>
                      <a:pt x="991" y="803"/>
                    </a:lnTo>
                    <a:lnTo>
                      <a:pt x="992" y="803"/>
                    </a:lnTo>
                    <a:lnTo>
                      <a:pt x="989" y="798"/>
                    </a:lnTo>
                    <a:lnTo>
                      <a:pt x="987" y="799"/>
                    </a:lnTo>
                    <a:lnTo>
                      <a:pt x="984" y="796"/>
                    </a:lnTo>
                    <a:lnTo>
                      <a:pt x="980" y="789"/>
                    </a:lnTo>
                    <a:lnTo>
                      <a:pt x="982" y="786"/>
                    </a:lnTo>
                    <a:lnTo>
                      <a:pt x="985" y="784"/>
                    </a:lnTo>
                    <a:lnTo>
                      <a:pt x="985" y="780"/>
                    </a:lnTo>
                    <a:lnTo>
                      <a:pt x="987" y="779"/>
                    </a:lnTo>
                    <a:lnTo>
                      <a:pt x="991" y="779"/>
                    </a:lnTo>
                    <a:lnTo>
                      <a:pt x="994" y="775"/>
                    </a:lnTo>
                    <a:lnTo>
                      <a:pt x="998" y="775"/>
                    </a:lnTo>
                    <a:lnTo>
                      <a:pt x="998" y="775"/>
                    </a:lnTo>
                    <a:lnTo>
                      <a:pt x="998" y="773"/>
                    </a:lnTo>
                    <a:lnTo>
                      <a:pt x="998" y="772"/>
                    </a:lnTo>
                    <a:lnTo>
                      <a:pt x="998" y="768"/>
                    </a:lnTo>
                    <a:lnTo>
                      <a:pt x="998" y="768"/>
                    </a:lnTo>
                    <a:lnTo>
                      <a:pt x="998" y="768"/>
                    </a:lnTo>
                    <a:lnTo>
                      <a:pt x="1001" y="766"/>
                    </a:lnTo>
                    <a:lnTo>
                      <a:pt x="1001" y="765"/>
                    </a:lnTo>
                    <a:lnTo>
                      <a:pt x="1001" y="763"/>
                    </a:lnTo>
                    <a:lnTo>
                      <a:pt x="1003" y="770"/>
                    </a:lnTo>
                    <a:lnTo>
                      <a:pt x="1008" y="770"/>
                    </a:lnTo>
                    <a:lnTo>
                      <a:pt x="1012" y="773"/>
                    </a:lnTo>
                    <a:lnTo>
                      <a:pt x="1013" y="775"/>
                    </a:lnTo>
                    <a:lnTo>
                      <a:pt x="1015" y="775"/>
                    </a:lnTo>
                    <a:lnTo>
                      <a:pt x="1020" y="779"/>
                    </a:lnTo>
                    <a:lnTo>
                      <a:pt x="1020" y="775"/>
                    </a:lnTo>
                    <a:lnTo>
                      <a:pt x="1024" y="775"/>
                    </a:lnTo>
                    <a:lnTo>
                      <a:pt x="1024" y="779"/>
                    </a:lnTo>
                    <a:lnTo>
                      <a:pt x="1029" y="779"/>
                    </a:lnTo>
                    <a:lnTo>
                      <a:pt x="1032" y="779"/>
                    </a:lnTo>
                    <a:lnTo>
                      <a:pt x="1032" y="775"/>
                    </a:lnTo>
                    <a:lnTo>
                      <a:pt x="1034" y="773"/>
                    </a:lnTo>
                    <a:lnTo>
                      <a:pt x="1039" y="773"/>
                    </a:lnTo>
                    <a:lnTo>
                      <a:pt x="1039" y="773"/>
                    </a:lnTo>
                    <a:lnTo>
                      <a:pt x="1038" y="775"/>
                    </a:lnTo>
                    <a:lnTo>
                      <a:pt x="1041" y="775"/>
                    </a:lnTo>
                    <a:lnTo>
                      <a:pt x="1043" y="773"/>
                    </a:lnTo>
                    <a:lnTo>
                      <a:pt x="1046" y="772"/>
                    </a:lnTo>
                    <a:lnTo>
                      <a:pt x="1048" y="768"/>
                    </a:lnTo>
                    <a:lnTo>
                      <a:pt x="1052" y="772"/>
                    </a:lnTo>
                    <a:lnTo>
                      <a:pt x="1052" y="775"/>
                    </a:lnTo>
                    <a:lnTo>
                      <a:pt x="1052" y="779"/>
                    </a:lnTo>
                    <a:lnTo>
                      <a:pt x="1052" y="775"/>
                    </a:lnTo>
                    <a:lnTo>
                      <a:pt x="1055" y="773"/>
                    </a:lnTo>
                    <a:lnTo>
                      <a:pt x="1055" y="775"/>
                    </a:lnTo>
                    <a:lnTo>
                      <a:pt x="1057" y="773"/>
                    </a:lnTo>
                    <a:lnTo>
                      <a:pt x="1055" y="765"/>
                    </a:lnTo>
                    <a:lnTo>
                      <a:pt x="1052" y="760"/>
                    </a:lnTo>
                    <a:lnTo>
                      <a:pt x="1052" y="756"/>
                    </a:lnTo>
                    <a:lnTo>
                      <a:pt x="1052" y="753"/>
                    </a:lnTo>
                    <a:lnTo>
                      <a:pt x="1052" y="751"/>
                    </a:lnTo>
                    <a:lnTo>
                      <a:pt x="1052" y="749"/>
                    </a:lnTo>
                    <a:lnTo>
                      <a:pt x="1055" y="749"/>
                    </a:lnTo>
                    <a:lnTo>
                      <a:pt x="1058" y="744"/>
                    </a:lnTo>
                    <a:lnTo>
                      <a:pt x="1065" y="740"/>
                    </a:lnTo>
                    <a:lnTo>
                      <a:pt x="1069" y="739"/>
                    </a:lnTo>
                    <a:lnTo>
                      <a:pt x="1071" y="735"/>
                    </a:lnTo>
                    <a:lnTo>
                      <a:pt x="1074" y="735"/>
                    </a:lnTo>
                    <a:lnTo>
                      <a:pt x="1074" y="737"/>
                    </a:lnTo>
                    <a:lnTo>
                      <a:pt x="1078" y="735"/>
                    </a:lnTo>
                    <a:lnTo>
                      <a:pt x="1079" y="735"/>
                    </a:lnTo>
                    <a:lnTo>
                      <a:pt x="1074" y="733"/>
                    </a:lnTo>
                    <a:lnTo>
                      <a:pt x="1074" y="730"/>
                    </a:lnTo>
                    <a:lnTo>
                      <a:pt x="1083" y="725"/>
                    </a:lnTo>
                    <a:lnTo>
                      <a:pt x="1083" y="725"/>
                    </a:lnTo>
                    <a:lnTo>
                      <a:pt x="1083" y="721"/>
                    </a:lnTo>
                    <a:lnTo>
                      <a:pt x="1088" y="725"/>
                    </a:lnTo>
                    <a:lnTo>
                      <a:pt x="1093" y="721"/>
                    </a:lnTo>
                    <a:lnTo>
                      <a:pt x="1093" y="720"/>
                    </a:lnTo>
                    <a:lnTo>
                      <a:pt x="1093" y="716"/>
                    </a:lnTo>
                    <a:lnTo>
                      <a:pt x="1093" y="714"/>
                    </a:lnTo>
                    <a:lnTo>
                      <a:pt x="1093" y="707"/>
                    </a:lnTo>
                    <a:lnTo>
                      <a:pt x="1093" y="706"/>
                    </a:lnTo>
                    <a:lnTo>
                      <a:pt x="1093" y="706"/>
                    </a:lnTo>
                    <a:lnTo>
                      <a:pt x="1093" y="702"/>
                    </a:lnTo>
                    <a:lnTo>
                      <a:pt x="1097" y="699"/>
                    </a:lnTo>
                    <a:lnTo>
                      <a:pt x="1097" y="697"/>
                    </a:lnTo>
                    <a:lnTo>
                      <a:pt x="1093" y="697"/>
                    </a:lnTo>
                    <a:lnTo>
                      <a:pt x="1093" y="693"/>
                    </a:lnTo>
                    <a:lnTo>
                      <a:pt x="1097" y="690"/>
                    </a:lnTo>
                    <a:lnTo>
                      <a:pt x="1097" y="690"/>
                    </a:lnTo>
                    <a:lnTo>
                      <a:pt x="1097" y="686"/>
                    </a:lnTo>
                    <a:lnTo>
                      <a:pt x="1100" y="683"/>
                    </a:lnTo>
                    <a:lnTo>
                      <a:pt x="1100" y="681"/>
                    </a:lnTo>
                    <a:lnTo>
                      <a:pt x="1097" y="681"/>
                    </a:lnTo>
                    <a:lnTo>
                      <a:pt x="1097" y="685"/>
                    </a:lnTo>
                    <a:lnTo>
                      <a:pt x="1097" y="686"/>
                    </a:lnTo>
                    <a:lnTo>
                      <a:pt x="1093" y="686"/>
                    </a:lnTo>
                    <a:lnTo>
                      <a:pt x="1093" y="685"/>
                    </a:lnTo>
                    <a:lnTo>
                      <a:pt x="1093" y="681"/>
                    </a:lnTo>
                    <a:lnTo>
                      <a:pt x="1093" y="680"/>
                    </a:lnTo>
                    <a:lnTo>
                      <a:pt x="1086" y="680"/>
                    </a:lnTo>
                    <a:lnTo>
                      <a:pt x="1085" y="678"/>
                    </a:lnTo>
                    <a:lnTo>
                      <a:pt x="1085" y="676"/>
                    </a:lnTo>
                    <a:lnTo>
                      <a:pt x="1090" y="674"/>
                    </a:lnTo>
                    <a:lnTo>
                      <a:pt x="1090" y="674"/>
                    </a:lnTo>
                    <a:lnTo>
                      <a:pt x="1086" y="671"/>
                    </a:lnTo>
                    <a:lnTo>
                      <a:pt x="1088" y="669"/>
                    </a:lnTo>
                    <a:lnTo>
                      <a:pt x="1088" y="666"/>
                    </a:lnTo>
                    <a:lnTo>
                      <a:pt x="1085" y="664"/>
                    </a:lnTo>
                    <a:lnTo>
                      <a:pt x="1083" y="664"/>
                    </a:lnTo>
                    <a:lnTo>
                      <a:pt x="1083" y="666"/>
                    </a:lnTo>
                    <a:lnTo>
                      <a:pt x="1085" y="669"/>
                    </a:lnTo>
                    <a:lnTo>
                      <a:pt x="1083" y="671"/>
                    </a:lnTo>
                    <a:lnTo>
                      <a:pt x="1079" y="671"/>
                    </a:lnTo>
                    <a:lnTo>
                      <a:pt x="1078" y="669"/>
                    </a:lnTo>
                    <a:lnTo>
                      <a:pt x="1078" y="669"/>
                    </a:lnTo>
                    <a:lnTo>
                      <a:pt x="1078" y="664"/>
                    </a:lnTo>
                    <a:lnTo>
                      <a:pt x="1078" y="660"/>
                    </a:lnTo>
                    <a:lnTo>
                      <a:pt x="1078" y="659"/>
                    </a:lnTo>
                    <a:lnTo>
                      <a:pt x="1074" y="659"/>
                    </a:lnTo>
                    <a:lnTo>
                      <a:pt x="1074" y="659"/>
                    </a:lnTo>
                    <a:lnTo>
                      <a:pt x="1078" y="657"/>
                    </a:lnTo>
                    <a:lnTo>
                      <a:pt x="1078" y="655"/>
                    </a:lnTo>
                    <a:lnTo>
                      <a:pt x="1078" y="655"/>
                    </a:lnTo>
                    <a:lnTo>
                      <a:pt x="1078" y="653"/>
                    </a:lnTo>
                    <a:lnTo>
                      <a:pt x="1079" y="652"/>
                    </a:lnTo>
                    <a:lnTo>
                      <a:pt x="1079" y="650"/>
                    </a:lnTo>
                    <a:lnTo>
                      <a:pt x="1078" y="648"/>
                    </a:lnTo>
                    <a:lnTo>
                      <a:pt x="1074" y="652"/>
                    </a:lnTo>
                    <a:lnTo>
                      <a:pt x="1074" y="655"/>
                    </a:lnTo>
                    <a:lnTo>
                      <a:pt x="1071" y="657"/>
                    </a:lnTo>
                    <a:lnTo>
                      <a:pt x="1071" y="655"/>
                    </a:lnTo>
                    <a:lnTo>
                      <a:pt x="1071" y="652"/>
                    </a:lnTo>
                    <a:lnTo>
                      <a:pt x="1069" y="653"/>
                    </a:lnTo>
                    <a:lnTo>
                      <a:pt x="1067" y="655"/>
                    </a:lnTo>
                    <a:lnTo>
                      <a:pt x="1064" y="655"/>
                    </a:lnTo>
                    <a:lnTo>
                      <a:pt x="1062" y="657"/>
                    </a:lnTo>
                    <a:lnTo>
                      <a:pt x="1058" y="657"/>
                    </a:lnTo>
                    <a:lnTo>
                      <a:pt x="1055" y="659"/>
                    </a:lnTo>
                    <a:lnTo>
                      <a:pt x="1055" y="660"/>
                    </a:lnTo>
                    <a:lnTo>
                      <a:pt x="1055" y="660"/>
                    </a:lnTo>
                    <a:lnTo>
                      <a:pt x="1055" y="657"/>
                    </a:lnTo>
                    <a:lnTo>
                      <a:pt x="1055" y="655"/>
                    </a:lnTo>
                    <a:lnTo>
                      <a:pt x="1055" y="653"/>
                    </a:lnTo>
                    <a:lnTo>
                      <a:pt x="1055" y="653"/>
                    </a:lnTo>
                    <a:lnTo>
                      <a:pt x="1055" y="650"/>
                    </a:lnTo>
                    <a:lnTo>
                      <a:pt x="1057" y="648"/>
                    </a:lnTo>
                    <a:lnTo>
                      <a:pt x="1060" y="650"/>
                    </a:lnTo>
                    <a:lnTo>
                      <a:pt x="1062" y="650"/>
                    </a:lnTo>
                    <a:lnTo>
                      <a:pt x="1064" y="650"/>
                    </a:lnTo>
                    <a:lnTo>
                      <a:pt x="1065" y="650"/>
                    </a:lnTo>
                    <a:lnTo>
                      <a:pt x="1069" y="646"/>
                    </a:lnTo>
                    <a:lnTo>
                      <a:pt x="1069" y="643"/>
                    </a:lnTo>
                    <a:lnTo>
                      <a:pt x="1069" y="643"/>
                    </a:lnTo>
                    <a:lnTo>
                      <a:pt x="1065" y="641"/>
                    </a:lnTo>
                    <a:lnTo>
                      <a:pt x="1062" y="640"/>
                    </a:lnTo>
                    <a:lnTo>
                      <a:pt x="1062" y="638"/>
                    </a:lnTo>
                    <a:lnTo>
                      <a:pt x="1060" y="634"/>
                    </a:lnTo>
                    <a:lnTo>
                      <a:pt x="1060" y="634"/>
                    </a:lnTo>
                    <a:lnTo>
                      <a:pt x="1060" y="631"/>
                    </a:lnTo>
                    <a:lnTo>
                      <a:pt x="1057" y="631"/>
                    </a:lnTo>
                    <a:lnTo>
                      <a:pt x="1057" y="631"/>
                    </a:lnTo>
                    <a:lnTo>
                      <a:pt x="1055" y="629"/>
                    </a:lnTo>
                    <a:lnTo>
                      <a:pt x="1055" y="627"/>
                    </a:lnTo>
                    <a:lnTo>
                      <a:pt x="1057" y="626"/>
                    </a:lnTo>
                    <a:lnTo>
                      <a:pt x="1057" y="627"/>
                    </a:lnTo>
                    <a:lnTo>
                      <a:pt x="1058" y="626"/>
                    </a:lnTo>
                    <a:lnTo>
                      <a:pt x="1058" y="624"/>
                    </a:lnTo>
                    <a:lnTo>
                      <a:pt x="1062" y="624"/>
                    </a:lnTo>
                    <a:lnTo>
                      <a:pt x="1058" y="624"/>
                    </a:lnTo>
                    <a:lnTo>
                      <a:pt x="1055" y="619"/>
                    </a:lnTo>
                    <a:lnTo>
                      <a:pt x="1055" y="619"/>
                    </a:lnTo>
                    <a:lnTo>
                      <a:pt x="1055" y="619"/>
                    </a:lnTo>
                    <a:lnTo>
                      <a:pt x="1052" y="619"/>
                    </a:lnTo>
                    <a:lnTo>
                      <a:pt x="1048" y="620"/>
                    </a:lnTo>
                    <a:lnTo>
                      <a:pt x="1048" y="620"/>
                    </a:lnTo>
                    <a:lnTo>
                      <a:pt x="1048" y="619"/>
                    </a:lnTo>
                    <a:lnTo>
                      <a:pt x="1052" y="615"/>
                    </a:lnTo>
                    <a:lnTo>
                      <a:pt x="1055" y="610"/>
                    </a:lnTo>
                    <a:lnTo>
                      <a:pt x="1055" y="608"/>
                    </a:lnTo>
                    <a:lnTo>
                      <a:pt x="1055" y="605"/>
                    </a:lnTo>
                    <a:lnTo>
                      <a:pt x="1055" y="601"/>
                    </a:lnTo>
                    <a:lnTo>
                      <a:pt x="1057" y="598"/>
                    </a:lnTo>
                    <a:lnTo>
                      <a:pt x="1055" y="596"/>
                    </a:lnTo>
                    <a:lnTo>
                      <a:pt x="1052" y="598"/>
                    </a:lnTo>
                    <a:lnTo>
                      <a:pt x="1052" y="598"/>
                    </a:lnTo>
                    <a:lnTo>
                      <a:pt x="1052" y="598"/>
                    </a:lnTo>
                    <a:lnTo>
                      <a:pt x="1048" y="600"/>
                    </a:lnTo>
                    <a:lnTo>
                      <a:pt x="1048" y="600"/>
                    </a:lnTo>
                    <a:lnTo>
                      <a:pt x="1043" y="596"/>
                    </a:lnTo>
                    <a:lnTo>
                      <a:pt x="1043" y="593"/>
                    </a:lnTo>
                    <a:lnTo>
                      <a:pt x="1043" y="589"/>
                    </a:lnTo>
                    <a:lnTo>
                      <a:pt x="1041" y="589"/>
                    </a:lnTo>
                    <a:lnTo>
                      <a:pt x="1041" y="587"/>
                    </a:lnTo>
                    <a:lnTo>
                      <a:pt x="1043" y="584"/>
                    </a:lnTo>
                    <a:lnTo>
                      <a:pt x="1043" y="584"/>
                    </a:lnTo>
                    <a:lnTo>
                      <a:pt x="1043" y="582"/>
                    </a:lnTo>
                    <a:lnTo>
                      <a:pt x="1043" y="579"/>
                    </a:lnTo>
                    <a:lnTo>
                      <a:pt x="1043" y="579"/>
                    </a:lnTo>
                    <a:lnTo>
                      <a:pt x="1039" y="580"/>
                    </a:lnTo>
                    <a:lnTo>
                      <a:pt x="1039" y="584"/>
                    </a:lnTo>
                    <a:lnTo>
                      <a:pt x="1038" y="587"/>
                    </a:lnTo>
                    <a:lnTo>
                      <a:pt x="1038" y="584"/>
                    </a:lnTo>
                    <a:lnTo>
                      <a:pt x="1036" y="584"/>
                    </a:lnTo>
                    <a:lnTo>
                      <a:pt x="1034" y="584"/>
                    </a:lnTo>
                    <a:lnTo>
                      <a:pt x="1034" y="587"/>
                    </a:lnTo>
                    <a:lnTo>
                      <a:pt x="1032" y="587"/>
                    </a:lnTo>
                    <a:lnTo>
                      <a:pt x="1032" y="589"/>
                    </a:lnTo>
                    <a:lnTo>
                      <a:pt x="1034" y="596"/>
                    </a:lnTo>
                    <a:lnTo>
                      <a:pt x="1038" y="593"/>
                    </a:lnTo>
                    <a:lnTo>
                      <a:pt x="1039" y="600"/>
                    </a:lnTo>
                    <a:lnTo>
                      <a:pt x="1041" y="601"/>
                    </a:lnTo>
                    <a:lnTo>
                      <a:pt x="1041" y="605"/>
                    </a:lnTo>
                    <a:lnTo>
                      <a:pt x="1039" y="608"/>
                    </a:lnTo>
                    <a:lnTo>
                      <a:pt x="1038" y="612"/>
                    </a:lnTo>
                    <a:lnTo>
                      <a:pt x="1036" y="612"/>
                    </a:lnTo>
                    <a:lnTo>
                      <a:pt x="1029" y="612"/>
                    </a:lnTo>
                    <a:lnTo>
                      <a:pt x="1025" y="612"/>
                    </a:lnTo>
                    <a:lnTo>
                      <a:pt x="1024" y="612"/>
                    </a:lnTo>
                    <a:lnTo>
                      <a:pt x="1020" y="610"/>
                    </a:lnTo>
                    <a:lnTo>
                      <a:pt x="1020" y="610"/>
                    </a:lnTo>
                    <a:lnTo>
                      <a:pt x="1020" y="606"/>
                    </a:lnTo>
                    <a:lnTo>
                      <a:pt x="1017" y="606"/>
                    </a:lnTo>
                    <a:lnTo>
                      <a:pt x="1010" y="603"/>
                    </a:lnTo>
                    <a:lnTo>
                      <a:pt x="1005" y="603"/>
                    </a:lnTo>
                    <a:lnTo>
                      <a:pt x="1008" y="608"/>
                    </a:lnTo>
                    <a:lnTo>
                      <a:pt x="1010" y="612"/>
                    </a:lnTo>
                    <a:lnTo>
                      <a:pt x="1008" y="612"/>
                    </a:lnTo>
                    <a:lnTo>
                      <a:pt x="1006" y="612"/>
                    </a:lnTo>
                    <a:lnTo>
                      <a:pt x="1005" y="610"/>
                    </a:lnTo>
                    <a:lnTo>
                      <a:pt x="1001" y="606"/>
                    </a:lnTo>
                    <a:lnTo>
                      <a:pt x="1001" y="606"/>
                    </a:lnTo>
                    <a:lnTo>
                      <a:pt x="1001" y="603"/>
                    </a:lnTo>
                    <a:lnTo>
                      <a:pt x="998" y="600"/>
                    </a:lnTo>
                    <a:lnTo>
                      <a:pt x="994" y="596"/>
                    </a:lnTo>
                    <a:lnTo>
                      <a:pt x="994" y="596"/>
                    </a:lnTo>
                    <a:lnTo>
                      <a:pt x="991" y="596"/>
                    </a:lnTo>
                    <a:lnTo>
                      <a:pt x="989" y="591"/>
                    </a:lnTo>
                    <a:lnTo>
                      <a:pt x="985" y="589"/>
                    </a:lnTo>
                    <a:lnTo>
                      <a:pt x="985" y="589"/>
                    </a:lnTo>
                    <a:lnTo>
                      <a:pt x="982" y="587"/>
                    </a:lnTo>
                    <a:lnTo>
                      <a:pt x="984" y="589"/>
                    </a:lnTo>
                    <a:lnTo>
                      <a:pt x="991" y="596"/>
                    </a:lnTo>
                    <a:lnTo>
                      <a:pt x="991" y="598"/>
                    </a:lnTo>
                    <a:lnTo>
                      <a:pt x="994" y="601"/>
                    </a:lnTo>
                    <a:lnTo>
                      <a:pt x="996" y="603"/>
                    </a:lnTo>
                    <a:lnTo>
                      <a:pt x="998" y="605"/>
                    </a:lnTo>
                    <a:lnTo>
                      <a:pt x="996" y="608"/>
                    </a:lnTo>
                    <a:lnTo>
                      <a:pt x="994" y="606"/>
                    </a:lnTo>
                    <a:lnTo>
                      <a:pt x="992" y="608"/>
                    </a:lnTo>
                    <a:lnTo>
                      <a:pt x="987" y="605"/>
                    </a:lnTo>
                    <a:lnTo>
                      <a:pt x="985" y="605"/>
                    </a:lnTo>
                    <a:lnTo>
                      <a:pt x="984" y="603"/>
                    </a:lnTo>
                    <a:lnTo>
                      <a:pt x="980" y="601"/>
                    </a:lnTo>
                    <a:lnTo>
                      <a:pt x="980" y="598"/>
                    </a:lnTo>
                    <a:lnTo>
                      <a:pt x="975" y="600"/>
                    </a:lnTo>
                    <a:lnTo>
                      <a:pt x="970" y="601"/>
                    </a:lnTo>
                    <a:lnTo>
                      <a:pt x="970" y="600"/>
                    </a:lnTo>
                    <a:lnTo>
                      <a:pt x="966" y="598"/>
                    </a:lnTo>
                    <a:lnTo>
                      <a:pt x="963" y="598"/>
                    </a:lnTo>
                    <a:lnTo>
                      <a:pt x="961" y="596"/>
                    </a:lnTo>
                    <a:lnTo>
                      <a:pt x="956" y="593"/>
                    </a:lnTo>
                    <a:lnTo>
                      <a:pt x="956" y="591"/>
                    </a:lnTo>
                    <a:lnTo>
                      <a:pt x="961" y="587"/>
                    </a:lnTo>
                    <a:lnTo>
                      <a:pt x="963" y="587"/>
                    </a:lnTo>
                    <a:lnTo>
                      <a:pt x="963" y="584"/>
                    </a:lnTo>
                    <a:lnTo>
                      <a:pt x="961" y="584"/>
                    </a:lnTo>
                    <a:lnTo>
                      <a:pt x="958" y="587"/>
                    </a:lnTo>
                    <a:lnTo>
                      <a:pt x="956" y="589"/>
                    </a:lnTo>
                    <a:lnTo>
                      <a:pt x="954" y="591"/>
                    </a:lnTo>
                    <a:lnTo>
                      <a:pt x="951" y="587"/>
                    </a:lnTo>
                    <a:lnTo>
                      <a:pt x="947" y="587"/>
                    </a:lnTo>
                    <a:lnTo>
                      <a:pt x="947" y="587"/>
                    </a:lnTo>
                    <a:lnTo>
                      <a:pt x="951" y="591"/>
                    </a:lnTo>
                    <a:lnTo>
                      <a:pt x="947" y="591"/>
                    </a:lnTo>
                    <a:lnTo>
                      <a:pt x="944" y="591"/>
                    </a:lnTo>
                    <a:lnTo>
                      <a:pt x="940" y="587"/>
                    </a:lnTo>
                    <a:lnTo>
                      <a:pt x="939" y="584"/>
                    </a:lnTo>
                    <a:lnTo>
                      <a:pt x="935" y="582"/>
                    </a:lnTo>
                    <a:lnTo>
                      <a:pt x="937" y="579"/>
                    </a:lnTo>
                    <a:lnTo>
                      <a:pt x="942" y="575"/>
                    </a:lnTo>
                    <a:lnTo>
                      <a:pt x="944" y="573"/>
                    </a:lnTo>
                    <a:lnTo>
                      <a:pt x="942" y="573"/>
                    </a:lnTo>
                    <a:lnTo>
                      <a:pt x="940" y="575"/>
                    </a:lnTo>
                    <a:lnTo>
                      <a:pt x="935" y="575"/>
                    </a:lnTo>
                    <a:lnTo>
                      <a:pt x="933" y="579"/>
                    </a:lnTo>
                    <a:lnTo>
                      <a:pt x="932" y="580"/>
                    </a:lnTo>
                    <a:lnTo>
                      <a:pt x="932" y="577"/>
                    </a:lnTo>
                    <a:lnTo>
                      <a:pt x="932" y="573"/>
                    </a:lnTo>
                    <a:lnTo>
                      <a:pt x="932" y="573"/>
                    </a:lnTo>
                    <a:lnTo>
                      <a:pt x="930" y="573"/>
                    </a:lnTo>
                    <a:lnTo>
                      <a:pt x="928" y="575"/>
                    </a:lnTo>
                    <a:lnTo>
                      <a:pt x="930" y="577"/>
                    </a:lnTo>
                    <a:lnTo>
                      <a:pt x="928" y="579"/>
                    </a:lnTo>
                    <a:lnTo>
                      <a:pt x="928" y="579"/>
                    </a:lnTo>
                    <a:lnTo>
                      <a:pt x="925" y="577"/>
                    </a:lnTo>
                    <a:lnTo>
                      <a:pt x="921" y="575"/>
                    </a:lnTo>
                    <a:lnTo>
                      <a:pt x="919" y="577"/>
                    </a:lnTo>
                    <a:lnTo>
                      <a:pt x="919" y="579"/>
                    </a:lnTo>
                    <a:lnTo>
                      <a:pt x="916" y="579"/>
                    </a:lnTo>
                    <a:lnTo>
                      <a:pt x="916" y="575"/>
                    </a:lnTo>
                    <a:lnTo>
                      <a:pt x="914" y="573"/>
                    </a:lnTo>
                    <a:lnTo>
                      <a:pt x="916" y="573"/>
                    </a:lnTo>
                    <a:lnTo>
                      <a:pt x="916" y="573"/>
                    </a:lnTo>
                    <a:lnTo>
                      <a:pt x="916" y="573"/>
                    </a:lnTo>
                    <a:lnTo>
                      <a:pt x="914" y="570"/>
                    </a:lnTo>
                    <a:lnTo>
                      <a:pt x="909" y="566"/>
                    </a:lnTo>
                    <a:lnTo>
                      <a:pt x="909" y="565"/>
                    </a:lnTo>
                    <a:lnTo>
                      <a:pt x="909" y="560"/>
                    </a:lnTo>
                    <a:lnTo>
                      <a:pt x="909" y="556"/>
                    </a:lnTo>
                    <a:lnTo>
                      <a:pt x="907" y="553"/>
                    </a:lnTo>
                    <a:lnTo>
                      <a:pt x="909" y="549"/>
                    </a:lnTo>
                    <a:lnTo>
                      <a:pt x="911" y="549"/>
                    </a:lnTo>
                    <a:lnTo>
                      <a:pt x="911" y="547"/>
                    </a:lnTo>
                    <a:lnTo>
                      <a:pt x="909" y="544"/>
                    </a:lnTo>
                    <a:lnTo>
                      <a:pt x="909" y="542"/>
                    </a:lnTo>
                    <a:lnTo>
                      <a:pt x="913" y="542"/>
                    </a:lnTo>
                    <a:lnTo>
                      <a:pt x="914" y="544"/>
                    </a:lnTo>
                    <a:lnTo>
                      <a:pt x="921" y="544"/>
                    </a:lnTo>
                    <a:lnTo>
                      <a:pt x="921" y="547"/>
                    </a:lnTo>
                    <a:lnTo>
                      <a:pt x="925" y="551"/>
                    </a:lnTo>
                    <a:lnTo>
                      <a:pt x="930" y="553"/>
                    </a:lnTo>
                    <a:lnTo>
                      <a:pt x="935" y="553"/>
                    </a:lnTo>
                    <a:lnTo>
                      <a:pt x="937" y="553"/>
                    </a:lnTo>
                    <a:lnTo>
                      <a:pt x="942" y="553"/>
                    </a:lnTo>
                    <a:lnTo>
                      <a:pt x="940" y="551"/>
                    </a:lnTo>
                    <a:lnTo>
                      <a:pt x="939" y="547"/>
                    </a:lnTo>
                    <a:lnTo>
                      <a:pt x="935" y="546"/>
                    </a:lnTo>
                    <a:lnTo>
                      <a:pt x="933" y="540"/>
                    </a:lnTo>
                    <a:lnTo>
                      <a:pt x="930" y="540"/>
                    </a:lnTo>
                    <a:lnTo>
                      <a:pt x="925" y="537"/>
                    </a:lnTo>
                    <a:lnTo>
                      <a:pt x="925" y="537"/>
                    </a:lnTo>
                    <a:lnTo>
                      <a:pt x="919" y="537"/>
                    </a:lnTo>
                    <a:lnTo>
                      <a:pt x="916" y="537"/>
                    </a:lnTo>
                    <a:lnTo>
                      <a:pt x="911" y="533"/>
                    </a:lnTo>
                    <a:lnTo>
                      <a:pt x="909" y="528"/>
                    </a:lnTo>
                    <a:lnTo>
                      <a:pt x="909" y="523"/>
                    </a:lnTo>
                    <a:lnTo>
                      <a:pt x="913" y="521"/>
                    </a:lnTo>
                    <a:lnTo>
                      <a:pt x="913" y="520"/>
                    </a:lnTo>
                    <a:lnTo>
                      <a:pt x="914" y="514"/>
                    </a:lnTo>
                    <a:lnTo>
                      <a:pt x="916" y="514"/>
                    </a:lnTo>
                    <a:lnTo>
                      <a:pt x="916" y="511"/>
                    </a:lnTo>
                    <a:lnTo>
                      <a:pt x="916" y="506"/>
                    </a:lnTo>
                    <a:lnTo>
                      <a:pt x="919" y="502"/>
                    </a:lnTo>
                    <a:lnTo>
                      <a:pt x="921" y="502"/>
                    </a:lnTo>
                    <a:lnTo>
                      <a:pt x="921" y="500"/>
                    </a:lnTo>
                    <a:lnTo>
                      <a:pt x="928" y="497"/>
                    </a:lnTo>
                    <a:lnTo>
                      <a:pt x="928" y="497"/>
                    </a:lnTo>
                    <a:lnTo>
                      <a:pt x="930" y="495"/>
                    </a:lnTo>
                    <a:lnTo>
                      <a:pt x="928" y="495"/>
                    </a:lnTo>
                    <a:lnTo>
                      <a:pt x="928" y="495"/>
                    </a:lnTo>
                    <a:lnTo>
                      <a:pt x="928" y="493"/>
                    </a:lnTo>
                    <a:lnTo>
                      <a:pt x="930" y="487"/>
                    </a:lnTo>
                    <a:lnTo>
                      <a:pt x="933" y="481"/>
                    </a:lnTo>
                    <a:lnTo>
                      <a:pt x="933" y="481"/>
                    </a:lnTo>
                    <a:lnTo>
                      <a:pt x="937" y="478"/>
                    </a:lnTo>
                    <a:lnTo>
                      <a:pt x="940" y="478"/>
                    </a:lnTo>
                    <a:lnTo>
                      <a:pt x="940" y="478"/>
                    </a:lnTo>
                    <a:lnTo>
                      <a:pt x="942" y="474"/>
                    </a:lnTo>
                    <a:lnTo>
                      <a:pt x="944" y="474"/>
                    </a:lnTo>
                    <a:lnTo>
                      <a:pt x="946" y="474"/>
                    </a:lnTo>
                    <a:lnTo>
                      <a:pt x="947" y="474"/>
                    </a:lnTo>
                    <a:lnTo>
                      <a:pt x="946" y="473"/>
                    </a:lnTo>
                    <a:lnTo>
                      <a:pt x="951" y="466"/>
                    </a:lnTo>
                    <a:lnTo>
                      <a:pt x="951" y="466"/>
                    </a:lnTo>
                    <a:lnTo>
                      <a:pt x="951" y="462"/>
                    </a:lnTo>
                    <a:lnTo>
                      <a:pt x="954" y="459"/>
                    </a:lnTo>
                    <a:lnTo>
                      <a:pt x="958" y="459"/>
                    </a:lnTo>
                    <a:lnTo>
                      <a:pt x="959" y="455"/>
                    </a:lnTo>
                    <a:lnTo>
                      <a:pt x="963" y="455"/>
                    </a:lnTo>
                    <a:lnTo>
                      <a:pt x="965" y="455"/>
                    </a:lnTo>
                    <a:lnTo>
                      <a:pt x="965" y="455"/>
                    </a:lnTo>
                    <a:lnTo>
                      <a:pt x="965" y="450"/>
                    </a:lnTo>
                    <a:lnTo>
                      <a:pt x="970" y="447"/>
                    </a:lnTo>
                    <a:lnTo>
                      <a:pt x="975" y="443"/>
                    </a:lnTo>
                    <a:lnTo>
                      <a:pt x="985" y="440"/>
                    </a:lnTo>
                    <a:lnTo>
                      <a:pt x="992" y="440"/>
                    </a:lnTo>
                    <a:lnTo>
                      <a:pt x="994" y="438"/>
                    </a:lnTo>
                    <a:lnTo>
                      <a:pt x="998" y="440"/>
                    </a:lnTo>
                    <a:lnTo>
                      <a:pt x="1001" y="438"/>
                    </a:lnTo>
                    <a:lnTo>
                      <a:pt x="1003" y="440"/>
                    </a:lnTo>
                    <a:lnTo>
                      <a:pt x="1008" y="440"/>
                    </a:lnTo>
                    <a:lnTo>
                      <a:pt x="1012" y="441"/>
                    </a:lnTo>
                    <a:lnTo>
                      <a:pt x="1020" y="445"/>
                    </a:lnTo>
                    <a:lnTo>
                      <a:pt x="1020" y="447"/>
                    </a:lnTo>
                    <a:lnTo>
                      <a:pt x="1018" y="450"/>
                    </a:lnTo>
                    <a:lnTo>
                      <a:pt x="1015" y="450"/>
                    </a:lnTo>
                    <a:lnTo>
                      <a:pt x="1008" y="455"/>
                    </a:lnTo>
                    <a:lnTo>
                      <a:pt x="1005" y="455"/>
                    </a:lnTo>
                    <a:lnTo>
                      <a:pt x="1003" y="455"/>
                    </a:lnTo>
                    <a:lnTo>
                      <a:pt x="1001" y="459"/>
                    </a:lnTo>
                    <a:lnTo>
                      <a:pt x="998" y="460"/>
                    </a:lnTo>
                    <a:lnTo>
                      <a:pt x="992" y="467"/>
                    </a:lnTo>
                    <a:lnTo>
                      <a:pt x="985" y="474"/>
                    </a:lnTo>
                    <a:lnTo>
                      <a:pt x="980" y="478"/>
                    </a:lnTo>
                    <a:lnTo>
                      <a:pt x="979" y="478"/>
                    </a:lnTo>
                    <a:lnTo>
                      <a:pt x="975" y="485"/>
                    </a:lnTo>
                    <a:lnTo>
                      <a:pt x="975" y="488"/>
                    </a:lnTo>
                    <a:lnTo>
                      <a:pt x="975" y="492"/>
                    </a:lnTo>
                    <a:lnTo>
                      <a:pt x="979" y="495"/>
                    </a:lnTo>
                    <a:lnTo>
                      <a:pt x="979" y="497"/>
                    </a:lnTo>
                    <a:lnTo>
                      <a:pt x="975" y="500"/>
                    </a:lnTo>
                    <a:lnTo>
                      <a:pt x="973" y="502"/>
                    </a:lnTo>
                    <a:lnTo>
                      <a:pt x="970" y="506"/>
                    </a:lnTo>
                    <a:lnTo>
                      <a:pt x="970" y="509"/>
                    </a:lnTo>
                    <a:lnTo>
                      <a:pt x="968" y="513"/>
                    </a:lnTo>
                    <a:lnTo>
                      <a:pt x="966" y="514"/>
                    </a:lnTo>
                    <a:lnTo>
                      <a:pt x="965" y="518"/>
                    </a:lnTo>
                    <a:lnTo>
                      <a:pt x="966" y="521"/>
                    </a:lnTo>
                    <a:lnTo>
                      <a:pt x="968" y="525"/>
                    </a:lnTo>
                    <a:lnTo>
                      <a:pt x="970" y="528"/>
                    </a:lnTo>
                    <a:lnTo>
                      <a:pt x="970" y="533"/>
                    </a:lnTo>
                    <a:lnTo>
                      <a:pt x="970" y="537"/>
                    </a:lnTo>
                    <a:lnTo>
                      <a:pt x="973" y="537"/>
                    </a:lnTo>
                    <a:lnTo>
                      <a:pt x="975" y="539"/>
                    </a:lnTo>
                    <a:lnTo>
                      <a:pt x="975" y="542"/>
                    </a:lnTo>
                    <a:lnTo>
                      <a:pt x="975" y="546"/>
                    </a:lnTo>
                    <a:lnTo>
                      <a:pt x="973" y="544"/>
                    </a:lnTo>
                    <a:lnTo>
                      <a:pt x="970" y="544"/>
                    </a:lnTo>
                    <a:lnTo>
                      <a:pt x="970" y="546"/>
                    </a:lnTo>
                    <a:lnTo>
                      <a:pt x="970" y="546"/>
                    </a:lnTo>
                    <a:lnTo>
                      <a:pt x="966" y="546"/>
                    </a:lnTo>
                    <a:lnTo>
                      <a:pt x="965" y="547"/>
                    </a:lnTo>
                    <a:lnTo>
                      <a:pt x="966" y="547"/>
                    </a:lnTo>
                    <a:lnTo>
                      <a:pt x="970" y="551"/>
                    </a:lnTo>
                    <a:lnTo>
                      <a:pt x="970" y="551"/>
                    </a:lnTo>
                    <a:lnTo>
                      <a:pt x="970" y="549"/>
                    </a:lnTo>
                    <a:lnTo>
                      <a:pt x="973" y="551"/>
                    </a:lnTo>
                    <a:lnTo>
                      <a:pt x="970" y="553"/>
                    </a:lnTo>
                    <a:lnTo>
                      <a:pt x="970" y="556"/>
                    </a:lnTo>
                    <a:lnTo>
                      <a:pt x="970" y="560"/>
                    </a:lnTo>
                    <a:lnTo>
                      <a:pt x="968" y="565"/>
                    </a:lnTo>
                    <a:lnTo>
                      <a:pt x="973" y="560"/>
                    </a:lnTo>
                    <a:lnTo>
                      <a:pt x="973" y="556"/>
                    </a:lnTo>
                    <a:lnTo>
                      <a:pt x="975" y="551"/>
                    </a:lnTo>
                    <a:lnTo>
                      <a:pt x="979" y="549"/>
                    </a:lnTo>
                    <a:lnTo>
                      <a:pt x="979" y="542"/>
                    </a:lnTo>
                    <a:lnTo>
                      <a:pt x="979" y="540"/>
                    </a:lnTo>
                    <a:lnTo>
                      <a:pt x="982" y="537"/>
                    </a:lnTo>
                    <a:lnTo>
                      <a:pt x="982" y="537"/>
                    </a:lnTo>
                    <a:lnTo>
                      <a:pt x="982" y="533"/>
                    </a:lnTo>
                    <a:lnTo>
                      <a:pt x="982" y="532"/>
                    </a:lnTo>
                    <a:lnTo>
                      <a:pt x="980" y="528"/>
                    </a:lnTo>
                    <a:lnTo>
                      <a:pt x="979" y="528"/>
                    </a:lnTo>
                    <a:lnTo>
                      <a:pt x="979" y="525"/>
                    </a:lnTo>
                    <a:lnTo>
                      <a:pt x="979" y="523"/>
                    </a:lnTo>
                    <a:lnTo>
                      <a:pt x="979" y="520"/>
                    </a:lnTo>
                    <a:lnTo>
                      <a:pt x="975" y="516"/>
                    </a:lnTo>
                    <a:lnTo>
                      <a:pt x="975" y="513"/>
                    </a:lnTo>
                    <a:lnTo>
                      <a:pt x="975" y="511"/>
                    </a:lnTo>
                    <a:lnTo>
                      <a:pt x="979" y="514"/>
                    </a:lnTo>
                    <a:lnTo>
                      <a:pt x="979" y="513"/>
                    </a:lnTo>
                    <a:lnTo>
                      <a:pt x="982" y="511"/>
                    </a:lnTo>
                    <a:lnTo>
                      <a:pt x="984" y="509"/>
                    </a:lnTo>
                    <a:lnTo>
                      <a:pt x="984" y="506"/>
                    </a:lnTo>
                    <a:lnTo>
                      <a:pt x="985" y="506"/>
                    </a:lnTo>
                    <a:lnTo>
                      <a:pt x="987" y="506"/>
                    </a:lnTo>
                    <a:lnTo>
                      <a:pt x="991" y="509"/>
                    </a:lnTo>
                    <a:lnTo>
                      <a:pt x="989" y="511"/>
                    </a:lnTo>
                    <a:lnTo>
                      <a:pt x="991" y="513"/>
                    </a:lnTo>
                    <a:lnTo>
                      <a:pt x="992" y="509"/>
                    </a:lnTo>
                    <a:lnTo>
                      <a:pt x="992" y="506"/>
                    </a:lnTo>
                    <a:lnTo>
                      <a:pt x="996" y="506"/>
                    </a:lnTo>
                    <a:lnTo>
                      <a:pt x="998" y="506"/>
                    </a:lnTo>
                    <a:lnTo>
                      <a:pt x="998" y="502"/>
                    </a:lnTo>
                    <a:lnTo>
                      <a:pt x="998" y="502"/>
                    </a:lnTo>
                    <a:lnTo>
                      <a:pt x="1001" y="500"/>
                    </a:lnTo>
                    <a:lnTo>
                      <a:pt x="1001" y="497"/>
                    </a:lnTo>
                    <a:lnTo>
                      <a:pt x="998" y="497"/>
                    </a:lnTo>
                    <a:lnTo>
                      <a:pt x="992" y="502"/>
                    </a:lnTo>
                    <a:lnTo>
                      <a:pt x="991" y="502"/>
                    </a:lnTo>
                    <a:lnTo>
                      <a:pt x="989" y="497"/>
                    </a:lnTo>
                    <a:lnTo>
                      <a:pt x="987" y="497"/>
                    </a:lnTo>
                    <a:lnTo>
                      <a:pt x="987" y="495"/>
                    </a:lnTo>
                    <a:lnTo>
                      <a:pt x="991" y="493"/>
                    </a:lnTo>
                    <a:lnTo>
                      <a:pt x="989" y="490"/>
                    </a:lnTo>
                    <a:lnTo>
                      <a:pt x="991" y="485"/>
                    </a:lnTo>
                    <a:lnTo>
                      <a:pt x="992" y="481"/>
                    </a:lnTo>
                    <a:lnTo>
                      <a:pt x="994" y="478"/>
                    </a:lnTo>
                    <a:lnTo>
                      <a:pt x="996" y="474"/>
                    </a:lnTo>
                    <a:lnTo>
                      <a:pt x="1001" y="478"/>
                    </a:lnTo>
                    <a:lnTo>
                      <a:pt x="1001" y="480"/>
                    </a:lnTo>
                    <a:lnTo>
                      <a:pt x="1003" y="481"/>
                    </a:lnTo>
                    <a:lnTo>
                      <a:pt x="1006" y="483"/>
                    </a:lnTo>
                    <a:lnTo>
                      <a:pt x="1010" y="487"/>
                    </a:lnTo>
                    <a:lnTo>
                      <a:pt x="1013" y="487"/>
                    </a:lnTo>
                    <a:lnTo>
                      <a:pt x="1010" y="485"/>
                    </a:lnTo>
                    <a:lnTo>
                      <a:pt x="1010" y="483"/>
                    </a:lnTo>
                    <a:lnTo>
                      <a:pt x="1005" y="480"/>
                    </a:lnTo>
                    <a:lnTo>
                      <a:pt x="1003" y="478"/>
                    </a:lnTo>
                    <a:lnTo>
                      <a:pt x="1003" y="474"/>
                    </a:lnTo>
                    <a:lnTo>
                      <a:pt x="1001" y="474"/>
                    </a:lnTo>
                    <a:lnTo>
                      <a:pt x="998" y="474"/>
                    </a:lnTo>
                    <a:lnTo>
                      <a:pt x="998" y="473"/>
                    </a:lnTo>
                    <a:lnTo>
                      <a:pt x="1005" y="473"/>
                    </a:lnTo>
                    <a:lnTo>
                      <a:pt x="1005" y="471"/>
                    </a:lnTo>
                    <a:lnTo>
                      <a:pt x="1006" y="471"/>
                    </a:lnTo>
                    <a:lnTo>
                      <a:pt x="1013" y="478"/>
                    </a:lnTo>
                    <a:lnTo>
                      <a:pt x="1017" y="478"/>
                    </a:lnTo>
                    <a:lnTo>
                      <a:pt x="1018" y="478"/>
                    </a:lnTo>
                    <a:lnTo>
                      <a:pt x="1015" y="478"/>
                    </a:lnTo>
                    <a:lnTo>
                      <a:pt x="1012" y="473"/>
                    </a:lnTo>
                    <a:lnTo>
                      <a:pt x="1008" y="469"/>
                    </a:lnTo>
                    <a:lnTo>
                      <a:pt x="1006" y="467"/>
                    </a:lnTo>
                    <a:lnTo>
                      <a:pt x="1008" y="464"/>
                    </a:lnTo>
                    <a:lnTo>
                      <a:pt x="1013" y="462"/>
                    </a:lnTo>
                    <a:lnTo>
                      <a:pt x="1015" y="462"/>
                    </a:lnTo>
                    <a:lnTo>
                      <a:pt x="1015" y="466"/>
                    </a:lnTo>
                    <a:lnTo>
                      <a:pt x="1015" y="469"/>
                    </a:lnTo>
                    <a:lnTo>
                      <a:pt x="1017" y="467"/>
                    </a:lnTo>
                    <a:lnTo>
                      <a:pt x="1017" y="464"/>
                    </a:lnTo>
                    <a:lnTo>
                      <a:pt x="1018" y="462"/>
                    </a:lnTo>
                    <a:lnTo>
                      <a:pt x="1024" y="462"/>
                    </a:lnTo>
                    <a:lnTo>
                      <a:pt x="1024" y="466"/>
                    </a:lnTo>
                    <a:lnTo>
                      <a:pt x="1025" y="467"/>
                    </a:lnTo>
                    <a:lnTo>
                      <a:pt x="1029" y="473"/>
                    </a:lnTo>
                    <a:lnTo>
                      <a:pt x="1029" y="469"/>
                    </a:lnTo>
                    <a:lnTo>
                      <a:pt x="1029" y="467"/>
                    </a:lnTo>
                    <a:lnTo>
                      <a:pt x="1025" y="462"/>
                    </a:lnTo>
                    <a:lnTo>
                      <a:pt x="1025" y="460"/>
                    </a:lnTo>
                    <a:lnTo>
                      <a:pt x="1034" y="459"/>
                    </a:lnTo>
                    <a:lnTo>
                      <a:pt x="1039" y="457"/>
                    </a:lnTo>
                    <a:lnTo>
                      <a:pt x="1043" y="455"/>
                    </a:lnTo>
                    <a:lnTo>
                      <a:pt x="1048" y="455"/>
                    </a:lnTo>
                    <a:lnTo>
                      <a:pt x="1052" y="455"/>
                    </a:lnTo>
                    <a:lnTo>
                      <a:pt x="1058" y="455"/>
                    </a:lnTo>
                    <a:lnTo>
                      <a:pt x="1064" y="457"/>
                    </a:lnTo>
                    <a:lnTo>
                      <a:pt x="1064" y="459"/>
                    </a:lnTo>
                    <a:lnTo>
                      <a:pt x="1064" y="460"/>
                    </a:lnTo>
                    <a:lnTo>
                      <a:pt x="1062" y="467"/>
                    </a:lnTo>
                    <a:lnTo>
                      <a:pt x="1062" y="471"/>
                    </a:lnTo>
                    <a:lnTo>
                      <a:pt x="1058" y="473"/>
                    </a:lnTo>
                    <a:lnTo>
                      <a:pt x="1057" y="478"/>
                    </a:lnTo>
                    <a:lnTo>
                      <a:pt x="1057" y="478"/>
                    </a:lnTo>
                    <a:lnTo>
                      <a:pt x="1060" y="480"/>
                    </a:lnTo>
                    <a:lnTo>
                      <a:pt x="1062" y="481"/>
                    </a:lnTo>
                    <a:lnTo>
                      <a:pt x="1062" y="485"/>
                    </a:lnTo>
                    <a:lnTo>
                      <a:pt x="1057" y="490"/>
                    </a:lnTo>
                    <a:lnTo>
                      <a:pt x="1055" y="492"/>
                    </a:lnTo>
                    <a:lnTo>
                      <a:pt x="1055" y="495"/>
                    </a:lnTo>
                    <a:lnTo>
                      <a:pt x="1058" y="497"/>
                    </a:lnTo>
                    <a:lnTo>
                      <a:pt x="1058" y="500"/>
                    </a:lnTo>
                    <a:lnTo>
                      <a:pt x="1055" y="502"/>
                    </a:lnTo>
                    <a:lnTo>
                      <a:pt x="1055" y="502"/>
                    </a:lnTo>
                    <a:lnTo>
                      <a:pt x="1052" y="506"/>
                    </a:lnTo>
                    <a:lnTo>
                      <a:pt x="1048" y="506"/>
                    </a:lnTo>
                    <a:lnTo>
                      <a:pt x="1046" y="509"/>
                    </a:lnTo>
                    <a:lnTo>
                      <a:pt x="1043" y="511"/>
                    </a:lnTo>
                    <a:lnTo>
                      <a:pt x="1041" y="514"/>
                    </a:lnTo>
                    <a:lnTo>
                      <a:pt x="1043" y="514"/>
                    </a:lnTo>
                    <a:lnTo>
                      <a:pt x="1048" y="509"/>
                    </a:lnTo>
                    <a:lnTo>
                      <a:pt x="1052" y="506"/>
                    </a:lnTo>
                    <a:lnTo>
                      <a:pt x="1055" y="506"/>
                    </a:lnTo>
                    <a:lnTo>
                      <a:pt x="1055" y="506"/>
                    </a:lnTo>
                    <a:lnTo>
                      <a:pt x="1052" y="509"/>
                    </a:lnTo>
                    <a:lnTo>
                      <a:pt x="1052" y="511"/>
                    </a:lnTo>
                    <a:lnTo>
                      <a:pt x="1048" y="516"/>
                    </a:lnTo>
                    <a:lnTo>
                      <a:pt x="1043" y="518"/>
                    </a:lnTo>
                    <a:lnTo>
                      <a:pt x="1043" y="520"/>
                    </a:lnTo>
                    <a:lnTo>
                      <a:pt x="1043" y="521"/>
                    </a:lnTo>
                    <a:lnTo>
                      <a:pt x="1043" y="523"/>
                    </a:lnTo>
                    <a:lnTo>
                      <a:pt x="1041" y="521"/>
                    </a:lnTo>
                    <a:lnTo>
                      <a:pt x="1039" y="521"/>
                    </a:lnTo>
                    <a:lnTo>
                      <a:pt x="1039" y="525"/>
                    </a:lnTo>
                    <a:lnTo>
                      <a:pt x="1041" y="525"/>
                    </a:lnTo>
                    <a:lnTo>
                      <a:pt x="1043" y="525"/>
                    </a:lnTo>
                    <a:lnTo>
                      <a:pt x="1043" y="528"/>
                    </a:lnTo>
                    <a:lnTo>
                      <a:pt x="1039" y="528"/>
                    </a:lnTo>
                    <a:lnTo>
                      <a:pt x="1043" y="528"/>
                    </a:lnTo>
                    <a:lnTo>
                      <a:pt x="1043" y="528"/>
                    </a:lnTo>
                    <a:lnTo>
                      <a:pt x="1046" y="528"/>
                    </a:lnTo>
                    <a:lnTo>
                      <a:pt x="1048" y="525"/>
                    </a:lnTo>
                    <a:lnTo>
                      <a:pt x="1048" y="521"/>
                    </a:lnTo>
                    <a:lnTo>
                      <a:pt x="1052" y="520"/>
                    </a:lnTo>
                    <a:lnTo>
                      <a:pt x="1052" y="518"/>
                    </a:lnTo>
                    <a:lnTo>
                      <a:pt x="1055" y="518"/>
                    </a:lnTo>
                    <a:lnTo>
                      <a:pt x="1055" y="523"/>
                    </a:lnTo>
                    <a:lnTo>
                      <a:pt x="1055" y="525"/>
                    </a:lnTo>
                    <a:lnTo>
                      <a:pt x="1055" y="520"/>
                    </a:lnTo>
                    <a:lnTo>
                      <a:pt x="1055" y="516"/>
                    </a:lnTo>
                    <a:lnTo>
                      <a:pt x="1055" y="514"/>
                    </a:lnTo>
                    <a:lnTo>
                      <a:pt x="1057" y="513"/>
                    </a:lnTo>
                    <a:lnTo>
                      <a:pt x="1060" y="513"/>
                    </a:lnTo>
                    <a:lnTo>
                      <a:pt x="1060" y="518"/>
                    </a:lnTo>
                    <a:lnTo>
                      <a:pt x="1060" y="520"/>
                    </a:lnTo>
                    <a:lnTo>
                      <a:pt x="1062" y="518"/>
                    </a:lnTo>
                    <a:lnTo>
                      <a:pt x="1065" y="514"/>
                    </a:lnTo>
                    <a:lnTo>
                      <a:pt x="1067" y="516"/>
                    </a:lnTo>
                    <a:lnTo>
                      <a:pt x="1069" y="520"/>
                    </a:lnTo>
                    <a:lnTo>
                      <a:pt x="1069" y="523"/>
                    </a:lnTo>
                    <a:lnTo>
                      <a:pt x="1064" y="528"/>
                    </a:lnTo>
                    <a:lnTo>
                      <a:pt x="1060" y="532"/>
                    </a:lnTo>
                    <a:lnTo>
                      <a:pt x="1058" y="533"/>
                    </a:lnTo>
                    <a:lnTo>
                      <a:pt x="1062" y="533"/>
                    </a:lnTo>
                    <a:lnTo>
                      <a:pt x="1065" y="537"/>
                    </a:lnTo>
                    <a:lnTo>
                      <a:pt x="1067" y="533"/>
                    </a:lnTo>
                    <a:lnTo>
                      <a:pt x="1065" y="532"/>
                    </a:lnTo>
                    <a:lnTo>
                      <a:pt x="1067" y="528"/>
                    </a:lnTo>
                    <a:lnTo>
                      <a:pt x="1071" y="525"/>
                    </a:lnTo>
                    <a:lnTo>
                      <a:pt x="1071" y="528"/>
                    </a:lnTo>
                    <a:lnTo>
                      <a:pt x="1071" y="533"/>
                    </a:lnTo>
                    <a:lnTo>
                      <a:pt x="1074" y="532"/>
                    </a:lnTo>
                    <a:lnTo>
                      <a:pt x="1071" y="525"/>
                    </a:lnTo>
                    <a:lnTo>
                      <a:pt x="1071" y="523"/>
                    </a:lnTo>
                    <a:lnTo>
                      <a:pt x="1071" y="516"/>
                    </a:lnTo>
                    <a:lnTo>
                      <a:pt x="1071" y="516"/>
                    </a:lnTo>
                    <a:lnTo>
                      <a:pt x="1074" y="518"/>
                    </a:lnTo>
                    <a:lnTo>
                      <a:pt x="1074" y="521"/>
                    </a:lnTo>
                    <a:lnTo>
                      <a:pt x="1074" y="523"/>
                    </a:lnTo>
                    <a:lnTo>
                      <a:pt x="1074" y="523"/>
                    </a:lnTo>
                    <a:lnTo>
                      <a:pt x="1078" y="521"/>
                    </a:lnTo>
                    <a:lnTo>
                      <a:pt x="1083" y="528"/>
                    </a:lnTo>
                    <a:lnTo>
                      <a:pt x="1083" y="528"/>
                    </a:lnTo>
                    <a:lnTo>
                      <a:pt x="1088" y="528"/>
                    </a:lnTo>
                    <a:lnTo>
                      <a:pt x="1090" y="532"/>
                    </a:lnTo>
                    <a:lnTo>
                      <a:pt x="1091" y="532"/>
                    </a:lnTo>
                    <a:lnTo>
                      <a:pt x="1090" y="528"/>
                    </a:lnTo>
                    <a:lnTo>
                      <a:pt x="1088" y="525"/>
                    </a:lnTo>
                    <a:lnTo>
                      <a:pt x="1086" y="525"/>
                    </a:lnTo>
                    <a:lnTo>
                      <a:pt x="1079" y="520"/>
                    </a:lnTo>
                    <a:lnTo>
                      <a:pt x="1078" y="520"/>
                    </a:lnTo>
                    <a:lnTo>
                      <a:pt x="1078" y="518"/>
                    </a:lnTo>
                    <a:lnTo>
                      <a:pt x="1079" y="513"/>
                    </a:lnTo>
                    <a:lnTo>
                      <a:pt x="1085" y="513"/>
                    </a:lnTo>
                    <a:lnTo>
                      <a:pt x="1088" y="509"/>
                    </a:lnTo>
                    <a:lnTo>
                      <a:pt x="1093" y="509"/>
                    </a:lnTo>
                    <a:lnTo>
                      <a:pt x="1097" y="509"/>
                    </a:lnTo>
                    <a:lnTo>
                      <a:pt x="1097" y="509"/>
                    </a:lnTo>
                    <a:lnTo>
                      <a:pt x="1100" y="509"/>
                    </a:lnTo>
                    <a:lnTo>
                      <a:pt x="1105" y="513"/>
                    </a:lnTo>
                    <a:lnTo>
                      <a:pt x="1105" y="514"/>
                    </a:lnTo>
                    <a:lnTo>
                      <a:pt x="1107" y="516"/>
                    </a:lnTo>
                    <a:lnTo>
                      <a:pt x="1109" y="518"/>
                    </a:lnTo>
                    <a:lnTo>
                      <a:pt x="1109" y="520"/>
                    </a:lnTo>
                    <a:lnTo>
                      <a:pt x="1112" y="520"/>
                    </a:lnTo>
                    <a:lnTo>
                      <a:pt x="1112" y="520"/>
                    </a:lnTo>
                    <a:lnTo>
                      <a:pt x="1116" y="520"/>
                    </a:lnTo>
                    <a:lnTo>
                      <a:pt x="1116" y="523"/>
                    </a:lnTo>
                    <a:lnTo>
                      <a:pt x="1121" y="525"/>
                    </a:lnTo>
                    <a:lnTo>
                      <a:pt x="1121" y="525"/>
                    </a:lnTo>
                    <a:lnTo>
                      <a:pt x="1121" y="528"/>
                    </a:lnTo>
                    <a:lnTo>
                      <a:pt x="1121" y="528"/>
                    </a:lnTo>
                    <a:lnTo>
                      <a:pt x="1121" y="533"/>
                    </a:lnTo>
                    <a:lnTo>
                      <a:pt x="1119" y="537"/>
                    </a:lnTo>
                    <a:lnTo>
                      <a:pt x="1116" y="537"/>
                    </a:lnTo>
                    <a:lnTo>
                      <a:pt x="1112" y="533"/>
                    </a:lnTo>
                    <a:lnTo>
                      <a:pt x="1107" y="537"/>
                    </a:lnTo>
                    <a:lnTo>
                      <a:pt x="1102" y="540"/>
                    </a:lnTo>
                    <a:lnTo>
                      <a:pt x="1107" y="537"/>
                    </a:lnTo>
                    <a:lnTo>
                      <a:pt x="1114" y="537"/>
                    </a:lnTo>
                    <a:lnTo>
                      <a:pt x="1114" y="537"/>
                    </a:lnTo>
                    <a:lnTo>
                      <a:pt x="1112" y="540"/>
                    </a:lnTo>
                    <a:lnTo>
                      <a:pt x="1109" y="542"/>
                    </a:lnTo>
                    <a:lnTo>
                      <a:pt x="1105" y="549"/>
                    </a:lnTo>
                    <a:lnTo>
                      <a:pt x="1102" y="551"/>
                    </a:lnTo>
                    <a:lnTo>
                      <a:pt x="1102" y="551"/>
                    </a:lnTo>
                    <a:lnTo>
                      <a:pt x="1100" y="554"/>
                    </a:lnTo>
                    <a:lnTo>
                      <a:pt x="1102" y="554"/>
                    </a:lnTo>
                    <a:lnTo>
                      <a:pt x="1107" y="547"/>
                    </a:lnTo>
                    <a:lnTo>
                      <a:pt x="1111" y="544"/>
                    </a:lnTo>
                    <a:lnTo>
                      <a:pt x="1114" y="542"/>
                    </a:lnTo>
                    <a:lnTo>
                      <a:pt x="1119" y="537"/>
                    </a:lnTo>
                    <a:lnTo>
                      <a:pt x="1123" y="539"/>
                    </a:lnTo>
                    <a:lnTo>
                      <a:pt x="1124" y="540"/>
                    </a:lnTo>
                    <a:lnTo>
                      <a:pt x="1124" y="540"/>
                    </a:lnTo>
                    <a:lnTo>
                      <a:pt x="1124" y="544"/>
                    </a:lnTo>
                    <a:lnTo>
                      <a:pt x="1124" y="546"/>
                    </a:lnTo>
                    <a:lnTo>
                      <a:pt x="1124" y="549"/>
                    </a:lnTo>
                    <a:lnTo>
                      <a:pt x="1121" y="551"/>
                    </a:lnTo>
                    <a:lnTo>
                      <a:pt x="1119" y="554"/>
                    </a:lnTo>
                    <a:lnTo>
                      <a:pt x="1116" y="554"/>
                    </a:lnTo>
                    <a:lnTo>
                      <a:pt x="1114" y="553"/>
                    </a:lnTo>
                    <a:lnTo>
                      <a:pt x="1111" y="553"/>
                    </a:lnTo>
                    <a:lnTo>
                      <a:pt x="1109" y="554"/>
                    </a:lnTo>
                    <a:lnTo>
                      <a:pt x="1112" y="554"/>
                    </a:lnTo>
                    <a:lnTo>
                      <a:pt x="1114" y="556"/>
                    </a:lnTo>
                    <a:lnTo>
                      <a:pt x="1107" y="560"/>
                    </a:lnTo>
                    <a:lnTo>
                      <a:pt x="1109" y="560"/>
                    </a:lnTo>
                    <a:lnTo>
                      <a:pt x="1112" y="560"/>
                    </a:lnTo>
                    <a:lnTo>
                      <a:pt x="1116" y="556"/>
                    </a:lnTo>
                    <a:lnTo>
                      <a:pt x="1118" y="556"/>
                    </a:lnTo>
                    <a:lnTo>
                      <a:pt x="1118" y="556"/>
                    </a:lnTo>
                    <a:lnTo>
                      <a:pt x="1116" y="560"/>
                    </a:lnTo>
                    <a:lnTo>
                      <a:pt x="1112" y="560"/>
                    </a:lnTo>
                    <a:lnTo>
                      <a:pt x="1109" y="561"/>
                    </a:lnTo>
                    <a:lnTo>
                      <a:pt x="1112" y="561"/>
                    </a:lnTo>
                    <a:lnTo>
                      <a:pt x="1112" y="565"/>
                    </a:lnTo>
                    <a:lnTo>
                      <a:pt x="1111" y="565"/>
                    </a:lnTo>
                    <a:lnTo>
                      <a:pt x="1107" y="568"/>
                    </a:lnTo>
                    <a:lnTo>
                      <a:pt x="1105" y="572"/>
                    </a:lnTo>
                    <a:lnTo>
                      <a:pt x="1107" y="572"/>
                    </a:lnTo>
                    <a:lnTo>
                      <a:pt x="1111" y="568"/>
                    </a:lnTo>
                    <a:lnTo>
                      <a:pt x="1114" y="565"/>
                    </a:lnTo>
                    <a:lnTo>
                      <a:pt x="1116" y="560"/>
                    </a:lnTo>
                    <a:lnTo>
                      <a:pt x="1123" y="556"/>
                    </a:lnTo>
                    <a:lnTo>
                      <a:pt x="1123" y="560"/>
                    </a:lnTo>
                    <a:lnTo>
                      <a:pt x="1123" y="560"/>
                    </a:lnTo>
                    <a:lnTo>
                      <a:pt x="1124" y="560"/>
                    </a:lnTo>
                    <a:lnTo>
                      <a:pt x="1124" y="556"/>
                    </a:lnTo>
                    <a:lnTo>
                      <a:pt x="1130" y="554"/>
                    </a:lnTo>
                    <a:lnTo>
                      <a:pt x="1131" y="554"/>
                    </a:lnTo>
                    <a:lnTo>
                      <a:pt x="1131" y="556"/>
                    </a:lnTo>
                    <a:lnTo>
                      <a:pt x="1128" y="560"/>
                    </a:lnTo>
                    <a:lnTo>
                      <a:pt x="1121" y="565"/>
                    </a:lnTo>
                    <a:lnTo>
                      <a:pt x="1119" y="565"/>
                    </a:lnTo>
                    <a:lnTo>
                      <a:pt x="1119" y="566"/>
                    </a:lnTo>
                    <a:lnTo>
                      <a:pt x="1121" y="566"/>
                    </a:lnTo>
                    <a:lnTo>
                      <a:pt x="1119" y="570"/>
                    </a:lnTo>
                    <a:lnTo>
                      <a:pt x="1118" y="573"/>
                    </a:lnTo>
                    <a:lnTo>
                      <a:pt x="1119" y="573"/>
                    </a:lnTo>
                    <a:lnTo>
                      <a:pt x="1121" y="570"/>
                    </a:lnTo>
                    <a:lnTo>
                      <a:pt x="1121" y="568"/>
                    </a:lnTo>
                    <a:lnTo>
                      <a:pt x="1124" y="565"/>
                    </a:lnTo>
                    <a:lnTo>
                      <a:pt x="1128" y="561"/>
                    </a:lnTo>
                    <a:lnTo>
                      <a:pt x="1128" y="565"/>
                    </a:lnTo>
                    <a:lnTo>
                      <a:pt x="1130" y="565"/>
                    </a:lnTo>
                    <a:lnTo>
                      <a:pt x="1128" y="568"/>
                    </a:lnTo>
                    <a:lnTo>
                      <a:pt x="1124" y="572"/>
                    </a:lnTo>
                    <a:lnTo>
                      <a:pt x="1124" y="573"/>
                    </a:lnTo>
                    <a:lnTo>
                      <a:pt x="1121" y="579"/>
                    </a:lnTo>
                    <a:lnTo>
                      <a:pt x="1119" y="580"/>
                    </a:lnTo>
                    <a:lnTo>
                      <a:pt x="1119" y="582"/>
                    </a:lnTo>
                    <a:lnTo>
                      <a:pt x="1123" y="580"/>
                    </a:lnTo>
                    <a:lnTo>
                      <a:pt x="1124" y="579"/>
                    </a:lnTo>
                    <a:lnTo>
                      <a:pt x="1128" y="572"/>
                    </a:lnTo>
                    <a:lnTo>
                      <a:pt x="1130" y="570"/>
                    </a:lnTo>
                    <a:lnTo>
                      <a:pt x="1131" y="573"/>
                    </a:lnTo>
                    <a:lnTo>
                      <a:pt x="1131" y="573"/>
                    </a:lnTo>
                    <a:lnTo>
                      <a:pt x="1131" y="575"/>
                    </a:lnTo>
                    <a:lnTo>
                      <a:pt x="1130" y="577"/>
                    </a:lnTo>
                    <a:lnTo>
                      <a:pt x="1128" y="582"/>
                    </a:lnTo>
                    <a:lnTo>
                      <a:pt x="1128" y="584"/>
                    </a:lnTo>
                    <a:lnTo>
                      <a:pt x="1128" y="584"/>
                    </a:lnTo>
                    <a:lnTo>
                      <a:pt x="1128" y="584"/>
                    </a:lnTo>
                    <a:lnTo>
                      <a:pt x="1130" y="580"/>
                    </a:lnTo>
                    <a:lnTo>
                      <a:pt x="1131" y="577"/>
                    </a:lnTo>
                    <a:lnTo>
                      <a:pt x="1135" y="575"/>
                    </a:lnTo>
                    <a:lnTo>
                      <a:pt x="1135" y="572"/>
                    </a:lnTo>
                    <a:lnTo>
                      <a:pt x="1137" y="570"/>
                    </a:lnTo>
                    <a:lnTo>
                      <a:pt x="1140" y="568"/>
                    </a:lnTo>
                    <a:lnTo>
                      <a:pt x="1140" y="565"/>
                    </a:lnTo>
                    <a:lnTo>
                      <a:pt x="1140" y="565"/>
                    </a:lnTo>
                    <a:lnTo>
                      <a:pt x="1142" y="565"/>
                    </a:lnTo>
                    <a:lnTo>
                      <a:pt x="1144" y="561"/>
                    </a:lnTo>
                    <a:lnTo>
                      <a:pt x="1144" y="560"/>
                    </a:lnTo>
                    <a:lnTo>
                      <a:pt x="1145" y="560"/>
                    </a:lnTo>
                    <a:lnTo>
                      <a:pt x="1147" y="565"/>
                    </a:lnTo>
                    <a:lnTo>
                      <a:pt x="1151" y="565"/>
                    </a:lnTo>
                    <a:lnTo>
                      <a:pt x="1152" y="568"/>
                    </a:lnTo>
                    <a:lnTo>
                      <a:pt x="1152" y="570"/>
                    </a:lnTo>
                    <a:lnTo>
                      <a:pt x="1156" y="573"/>
                    </a:lnTo>
                    <a:lnTo>
                      <a:pt x="1158" y="579"/>
                    </a:lnTo>
                    <a:lnTo>
                      <a:pt x="1158" y="580"/>
                    </a:lnTo>
                    <a:lnTo>
                      <a:pt x="1156" y="582"/>
                    </a:lnTo>
                    <a:lnTo>
                      <a:pt x="1152" y="584"/>
                    </a:lnTo>
                    <a:lnTo>
                      <a:pt x="1151" y="584"/>
                    </a:lnTo>
                    <a:lnTo>
                      <a:pt x="1147" y="584"/>
                    </a:lnTo>
                    <a:lnTo>
                      <a:pt x="1145" y="582"/>
                    </a:lnTo>
                    <a:lnTo>
                      <a:pt x="1144" y="582"/>
                    </a:lnTo>
                    <a:lnTo>
                      <a:pt x="1142" y="584"/>
                    </a:lnTo>
                    <a:lnTo>
                      <a:pt x="1140" y="584"/>
                    </a:lnTo>
                    <a:lnTo>
                      <a:pt x="1138" y="587"/>
                    </a:lnTo>
                    <a:lnTo>
                      <a:pt x="1137" y="587"/>
                    </a:lnTo>
                    <a:lnTo>
                      <a:pt x="1133" y="587"/>
                    </a:lnTo>
                    <a:lnTo>
                      <a:pt x="1131" y="589"/>
                    </a:lnTo>
                    <a:lnTo>
                      <a:pt x="1137" y="589"/>
                    </a:lnTo>
                    <a:lnTo>
                      <a:pt x="1138" y="589"/>
                    </a:lnTo>
                    <a:lnTo>
                      <a:pt x="1138" y="591"/>
                    </a:lnTo>
                    <a:lnTo>
                      <a:pt x="1137" y="596"/>
                    </a:lnTo>
                    <a:lnTo>
                      <a:pt x="1133" y="596"/>
                    </a:lnTo>
                    <a:lnTo>
                      <a:pt x="1130" y="598"/>
                    </a:lnTo>
                    <a:lnTo>
                      <a:pt x="1135" y="598"/>
                    </a:lnTo>
                    <a:lnTo>
                      <a:pt x="1137" y="596"/>
                    </a:lnTo>
                    <a:lnTo>
                      <a:pt x="1142" y="596"/>
                    </a:lnTo>
                    <a:lnTo>
                      <a:pt x="1144" y="596"/>
                    </a:lnTo>
                    <a:lnTo>
                      <a:pt x="1147" y="593"/>
                    </a:lnTo>
                    <a:lnTo>
                      <a:pt x="1151" y="593"/>
                    </a:lnTo>
                    <a:lnTo>
                      <a:pt x="1151" y="596"/>
                    </a:lnTo>
                    <a:lnTo>
                      <a:pt x="1151" y="596"/>
                    </a:lnTo>
                    <a:lnTo>
                      <a:pt x="1151" y="598"/>
                    </a:lnTo>
                    <a:lnTo>
                      <a:pt x="1152" y="596"/>
                    </a:lnTo>
                    <a:lnTo>
                      <a:pt x="1152" y="593"/>
                    </a:lnTo>
                    <a:lnTo>
                      <a:pt x="1152" y="589"/>
                    </a:lnTo>
                    <a:lnTo>
                      <a:pt x="1156" y="587"/>
                    </a:lnTo>
                    <a:lnTo>
                      <a:pt x="1159" y="584"/>
                    </a:lnTo>
                    <a:lnTo>
                      <a:pt x="1161" y="587"/>
                    </a:lnTo>
                    <a:lnTo>
                      <a:pt x="1159" y="587"/>
                    </a:lnTo>
                    <a:lnTo>
                      <a:pt x="1161" y="591"/>
                    </a:lnTo>
                    <a:lnTo>
                      <a:pt x="1159" y="596"/>
                    </a:lnTo>
                    <a:lnTo>
                      <a:pt x="1156" y="598"/>
                    </a:lnTo>
                    <a:lnTo>
                      <a:pt x="1152" y="600"/>
                    </a:lnTo>
                    <a:lnTo>
                      <a:pt x="1151" y="601"/>
                    </a:lnTo>
                    <a:lnTo>
                      <a:pt x="1151" y="603"/>
                    </a:lnTo>
                    <a:lnTo>
                      <a:pt x="1147" y="603"/>
                    </a:lnTo>
                    <a:lnTo>
                      <a:pt x="1145" y="603"/>
                    </a:lnTo>
                    <a:lnTo>
                      <a:pt x="1144" y="603"/>
                    </a:lnTo>
                    <a:lnTo>
                      <a:pt x="1142" y="605"/>
                    </a:lnTo>
                    <a:lnTo>
                      <a:pt x="1142" y="606"/>
                    </a:lnTo>
                    <a:lnTo>
                      <a:pt x="1138" y="610"/>
                    </a:lnTo>
                    <a:lnTo>
                      <a:pt x="1138" y="612"/>
                    </a:lnTo>
                    <a:lnTo>
                      <a:pt x="1137" y="615"/>
                    </a:lnTo>
                    <a:lnTo>
                      <a:pt x="1138" y="612"/>
                    </a:lnTo>
                    <a:lnTo>
                      <a:pt x="1142" y="610"/>
                    </a:lnTo>
                    <a:lnTo>
                      <a:pt x="1145" y="605"/>
                    </a:lnTo>
                    <a:lnTo>
                      <a:pt x="1147" y="605"/>
                    </a:lnTo>
                    <a:lnTo>
                      <a:pt x="1147" y="605"/>
                    </a:lnTo>
                    <a:lnTo>
                      <a:pt x="1147" y="605"/>
                    </a:lnTo>
                    <a:lnTo>
                      <a:pt x="1151" y="606"/>
                    </a:lnTo>
                    <a:lnTo>
                      <a:pt x="1147" y="608"/>
                    </a:lnTo>
                    <a:lnTo>
                      <a:pt x="1145" y="612"/>
                    </a:lnTo>
                    <a:lnTo>
                      <a:pt x="1142" y="615"/>
                    </a:lnTo>
                    <a:lnTo>
                      <a:pt x="1138" y="619"/>
                    </a:lnTo>
                    <a:lnTo>
                      <a:pt x="1138" y="619"/>
                    </a:lnTo>
                    <a:lnTo>
                      <a:pt x="1145" y="619"/>
                    </a:lnTo>
                    <a:lnTo>
                      <a:pt x="1151" y="612"/>
                    </a:lnTo>
                    <a:lnTo>
                      <a:pt x="1151" y="605"/>
                    </a:lnTo>
                    <a:lnTo>
                      <a:pt x="1152" y="603"/>
                    </a:lnTo>
                    <a:lnTo>
                      <a:pt x="1156" y="601"/>
                    </a:lnTo>
                    <a:lnTo>
                      <a:pt x="1156" y="601"/>
                    </a:lnTo>
                    <a:lnTo>
                      <a:pt x="1161" y="598"/>
                    </a:lnTo>
                    <a:lnTo>
                      <a:pt x="1164" y="596"/>
                    </a:lnTo>
                    <a:lnTo>
                      <a:pt x="1168" y="596"/>
                    </a:lnTo>
                    <a:lnTo>
                      <a:pt x="1168" y="596"/>
                    </a:lnTo>
                    <a:lnTo>
                      <a:pt x="1166" y="598"/>
                    </a:lnTo>
                    <a:lnTo>
                      <a:pt x="1163" y="601"/>
                    </a:lnTo>
                    <a:lnTo>
                      <a:pt x="1159" y="601"/>
                    </a:lnTo>
                    <a:lnTo>
                      <a:pt x="1158" y="605"/>
                    </a:lnTo>
                    <a:lnTo>
                      <a:pt x="1158" y="606"/>
                    </a:lnTo>
                    <a:lnTo>
                      <a:pt x="1158" y="608"/>
                    </a:lnTo>
                    <a:lnTo>
                      <a:pt x="1159" y="605"/>
                    </a:lnTo>
                    <a:lnTo>
                      <a:pt x="1164" y="605"/>
                    </a:lnTo>
                    <a:lnTo>
                      <a:pt x="1166" y="601"/>
                    </a:lnTo>
                    <a:lnTo>
                      <a:pt x="1170" y="601"/>
                    </a:lnTo>
                    <a:lnTo>
                      <a:pt x="1170" y="600"/>
                    </a:lnTo>
                    <a:lnTo>
                      <a:pt x="1173" y="598"/>
                    </a:lnTo>
                    <a:lnTo>
                      <a:pt x="1175" y="598"/>
                    </a:lnTo>
                    <a:lnTo>
                      <a:pt x="1178" y="601"/>
                    </a:lnTo>
                    <a:lnTo>
                      <a:pt x="1182" y="606"/>
                    </a:lnTo>
                    <a:lnTo>
                      <a:pt x="1182" y="608"/>
                    </a:lnTo>
                    <a:lnTo>
                      <a:pt x="1185" y="610"/>
                    </a:lnTo>
                    <a:lnTo>
                      <a:pt x="1185" y="612"/>
                    </a:lnTo>
                    <a:lnTo>
                      <a:pt x="1185" y="615"/>
                    </a:lnTo>
                    <a:lnTo>
                      <a:pt x="1182" y="619"/>
                    </a:lnTo>
                    <a:lnTo>
                      <a:pt x="1182" y="619"/>
                    </a:lnTo>
                    <a:lnTo>
                      <a:pt x="1182" y="615"/>
                    </a:lnTo>
                    <a:lnTo>
                      <a:pt x="1178" y="615"/>
                    </a:lnTo>
                    <a:lnTo>
                      <a:pt x="1178" y="615"/>
                    </a:lnTo>
                    <a:lnTo>
                      <a:pt x="1178" y="619"/>
                    </a:lnTo>
                    <a:lnTo>
                      <a:pt x="1175" y="619"/>
                    </a:lnTo>
                    <a:lnTo>
                      <a:pt x="1170" y="620"/>
                    </a:lnTo>
                    <a:lnTo>
                      <a:pt x="1166" y="620"/>
                    </a:lnTo>
                    <a:lnTo>
                      <a:pt x="1163" y="620"/>
                    </a:lnTo>
                    <a:lnTo>
                      <a:pt x="1158" y="624"/>
                    </a:lnTo>
                    <a:lnTo>
                      <a:pt x="1156" y="624"/>
                    </a:lnTo>
                    <a:lnTo>
                      <a:pt x="1151" y="627"/>
                    </a:lnTo>
                    <a:lnTo>
                      <a:pt x="1156" y="627"/>
                    </a:lnTo>
                    <a:lnTo>
                      <a:pt x="1156" y="627"/>
                    </a:lnTo>
                    <a:lnTo>
                      <a:pt x="1156" y="629"/>
                    </a:lnTo>
                    <a:lnTo>
                      <a:pt x="1151" y="631"/>
                    </a:lnTo>
                    <a:lnTo>
                      <a:pt x="1151" y="633"/>
                    </a:lnTo>
                    <a:lnTo>
                      <a:pt x="1156" y="631"/>
                    </a:lnTo>
                    <a:lnTo>
                      <a:pt x="1158" y="627"/>
                    </a:lnTo>
                    <a:lnTo>
                      <a:pt x="1163" y="624"/>
                    </a:lnTo>
                    <a:lnTo>
                      <a:pt x="1168" y="624"/>
                    </a:lnTo>
                    <a:lnTo>
                      <a:pt x="1170" y="624"/>
                    </a:lnTo>
                    <a:lnTo>
                      <a:pt x="1173" y="624"/>
                    </a:lnTo>
                    <a:lnTo>
                      <a:pt x="1175" y="624"/>
                    </a:lnTo>
                    <a:lnTo>
                      <a:pt x="1175" y="624"/>
                    </a:lnTo>
                    <a:lnTo>
                      <a:pt x="1175" y="627"/>
                    </a:lnTo>
                    <a:lnTo>
                      <a:pt x="1170" y="629"/>
                    </a:lnTo>
                    <a:lnTo>
                      <a:pt x="1170" y="631"/>
                    </a:lnTo>
                    <a:lnTo>
                      <a:pt x="1166" y="631"/>
                    </a:lnTo>
                    <a:lnTo>
                      <a:pt x="1164" y="633"/>
                    </a:lnTo>
                    <a:lnTo>
                      <a:pt x="1163" y="634"/>
                    </a:lnTo>
                    <a:lnTo>
                      <a:pt x="1159" y="638"/>
                    </a:lnTo>
                    <a:lnTo>
                      <a:pt x="1156" y="634"/>
                    </a:lnTo>
                    <a:lnTo>
                      <a:pt x="1156" y="634"/>
                    </a:lnTo>
                    <a:lnTo>
                      <a:pt x="1152" y="640"/>
                    </a:lnTo>
                    <a:lnTo>
                      <a:pt x="1156" y="640"/>
                    </a:lnTo>
                    <a:lnTo>
                      <a:pt x="1156" y="638"/>
                    </a:lnTo>
                    <a:lnTo>
                      <a:pt x="1159" y="638"/>
                    </a:lnTo>
                    <a:lnTo>
                      <a:pt x="1161" y="640"/>
                    </a:lnTo>
                    <a:lnTo>
                      <a:pt x="1164" y="634"/>
                    </a:lnTo>
                    <a:lnTo>
                      <a:pt x="1166" y="633"/>
                    </a:lnTo>
                    <a:lnTo>
                      <a:pt x="1170" y="633"/>
                    </a:lnTo>
                    <a:lnTo>
                      <a:pt x="1170" y="633"/>
                    </a:lnTo>
                    <a:lnTo>
                      <a:pt x="1175" y="634"/>
                    </a:lnTo>
                    <a:lnTo>
                      <a:pt x="1178" y="631"/>
                    </a:lnTo>
                    <a:lnTo>
                      <a:pt x="1182" y="629"/>
                    </a:lnTo>
                    <a:lnTo>
                      <a:pt x="1182" y="629"/>
                    </a:lnTo>
                    <a:lnTo>
                      <a:pt x="1182" y="626"/>
                    </a:lnTo>
                    <a:lnTo>
                      <a:pt x="1182" y="626"/>
                    </a:lnTo>
                    <a:lnTo>
                      <a:pt x="1182" y="624"/>
                    </a:lnTo>
                    <a:lnTo>
                      <a:pt x="1182" y="620"/>
                    </a:lnTo>
                    <a:lnTo>
                      <a:pt x="1184" y="620"/>
                    </a:lnTo>
                    <a:lnTo>
                      <a:pt x="1185" y="620"/>
                    </a:lnTo>
                    <a:lnTo>
                      <a:pt x="1185" y="620"/>
                    </a:lnTo>
                    <a:lnTo>
                      <a:pt x="1187" y="624"/>
                    </a:lnTo>
                    <a:lnTo>
                      <a:pt x="1191" y="631"/>
                    </a:lnTo>
                    <a:lnTo>
                      <a:pt x="1191" y="634"/>
                    </a:lnTo>
                    <a:lnTo>
                      <a:pt x="1194" y="638"/>
                    </a:lnTo>
                    <a:lnTo>
                      <a:pt x="1192" y="641"/>
                    </a:lnTo>
                    <a:lnTo>
                      <a:pt x="1191" y="643"/>
                    </a:lnTo>
                    <a:lnTo>
                      <a:pt x="1187" y="643"/>
                    </a:lnTo>
                    <a:lnTo>
                      <a:pt x="1185" y="641"/>
                    </a:lnTo>
                    <a:lnTo>
                      <a:pt x="1182" y="641"/>
                    </a:lnTo>
                    <a:lnTo>
                      <a:pt x="1178" y="643"/>
                    </a:lnTo>
                    <a:lnTo>
                      <a:pt x="1175" y="643"/>
                    </a:lnTo>
                    <a:lnTo>
                      <a:pt x="1173" y="643"/>
                    </a:lnTo>
                    <a:lnTo>
                      <a:pt x="1173" y="643"/>
                    </a:lnTo>
                    <a:lnTo>
                      <a:pt x="1170" y="643"/>
                    </a:lnTo>
                    <a:lnTo>
                      <a:pt x="1168" y="646"/>
                    </a:lnTo>
                    <a:lnTo>
                      <a:pt x="1163" y="646"/>
                    </a:lnTo>
                    <a:lnTo>
                      <a:pt x="1164" y="646"/>
                    </a:lnTo>
                    <a:lnTo>
                      <a:pt x="1170" y="646"/>
                    </a:lnTo>
                    <a:lnTo>
                      <a:pt x="1175" y="646"/>
                    </a:lnTo>
                    <a:lnTo>
                      <a:pt x="1178" y="650"/>
                    </a:lnTo>
                    <a:lnTo>
                      <a:pt x="1182" y="652"/>
                    </a:lnTo>
                    <a:lnTo>
                      <a:pt x="1182" y="650"/>
                    </a:lnTo>
                    <a:lnTo>
                      <a:pt x="1184" y="650"/>
                    </a:lnTo>
                    <a:lnTo>
                      <a:pt x="1185" y="652"/>
                    </a:lnTo>
                    <a:lnTo>
                      <a:pt x="1189" y="653"/>
                    </a:lnTo>
                    <a:lnTo>
                      <a:pt x="1192" y="655"/>
                    </a:lnTo>
                    <a:lnTo>
                      <a:pt x="1192" y="657"/>
                    </a:lnTo>
                    <a:lnTo>
                      <a:pt x="1194" y="660"/>
                    </a:lnTo>
                    <a:lnTo>
                      <a:pt x="1194" y="664"/>
                    </a:lnTo>
                    <a:lnTo>
                      <a:pt x="1192" y="666"/>
                    </a:lnTo>
                    <a:lnTo>
                      <a:pt x="1191" y="666"/>
                    </a:lnTo>
                    <a:lnTo>
                      <a:pt x="1189" y="662"/>
                    </a:lnTo>
                    <a:lnTo>
                      <a:pt x="1187" y="662"/>
                    </a:lnTo>
                    <a:lnTo>
                      <a:pt x="1185" y="664"/>
                    </a:lnTo>
                    <a:lnTo>
                      <a:pt x="1184" y="664"/>
                    </a:lnTo>
                    <a:lnTo>
                      <a:pt x="1184" y="662"/>
                    </a:lnTo>
                    <a:lnTo>
                      <a:pt x="1182" y="662"/>
                    </a:lnTo>
                    <a:lnTo>
                      <a:pt x="1178" y="662"/>
                    </a:lnTo>
                    <a:lnTo>
                      <a:pt x="1175" y="657"/>
                    </a:lnTo>
                    <a:lnTo>
                      <a:pt x="1175" y="657"/>
                    </a:lnTo>
                    <a:lnTo>
                      <a:pt x="1173" y="657"/>
                    </a:lnTo>
                    <a:lnTo>
                      <a:pt x="1170" y="657"/>
                    </a:lnTo>
                    <a:lnTo>
                      <a:pt x="1166" y="655"/>
                    </a:lnTo>
                    <a:lnTo>
                      <a:pt x="1168" y="657"/>
                    </a:lnTo>
                    <a:lnTo>
                      <a:pt x="1170" y="659"/>
                    </a:lnTo>
                    <a:lnTo>
                      <a:pt x="1175" y="659"/>
                    </a:lnTo>
                    <a:lnTo>
                      <a:pt x="1173" y="660"/>
                    </a:lnTo>
                    <a:lnTo>
                      <a:pt x="1168" y="660"/>
                    </a:lnTo>
                    <a:lnTo>
                      <a:pt x="1166" y="662"/>
                    </a:lnTo>
                    <a:lnTo>
                      <a:pt x="1163" y="662"/>
                    </a:lnTo>
                    <a:lnTo>
                      <a:pt x="1159" y="664"/>
                    </a:lnTo>
                    <a:lnTo>
                      <a:pt x="1161" y="666"/>
                    </a:lnTo>
                    <a:lnTo>
                      <a:pt x="1163" y="666"/>
                    </a:lnTo>
                    <a:lnTo>
                      <a:pt x="1163" y="664"/>
                    </a:lnTo>
                    <a:lnTo>
                      <a:pt x="1168" y="664"/>
                    </a:lnTo>
                    <a:lnTo>
                      <a:pt x="1170" y="662"/>
                    </a:lnTo>
                    <a:lnTo>
                      <a:pt x="1173" y="662"/>
                    </a:lnTo>
                    <a:lnTo>
                      <a:pt x="1175" y="666"/>
                    </a:lnTo>
                    <a:lnTo>
                      <a:pt x="1175" y="666"/>
                    </a:lnTo>
                    <a:lnTo>
                      <a:pt x="1175" y="666"/>
                    </a:lnTo>
                    <a:lnTo>
                      <a:pt x="1178" y="669"/>
                    </a:lnTo>
                    <a:lnTo>
                      <a:pt x="1175" y="669"/>
                    </a:lnTo>
                    <a:lnTo>
                      <a:pt x="1173" y="669"/>
                    </a:lnTo>
                    <a:lnTo>
                      <a:pt x="1170" y="671"/>
                    </a:lnTo>
                    <a:lnTo>
                      <a:pt x="1170" y="669"/>
                    </a:lnTo>
                    <a:lnTo>
                      <a:pt x="1170" y="666"/>
                    </a:lnTo>
                    <a:lnTo>
                      <a:pt x="1168" y="666"/>
                    </a:lnTo>
                    <a:lnTo>
                      <a:pt x="1166" y="669"/>
                    </a:lnTo>
                    <a:lnTo>
                      <a:pt x="1170" y="671"/>
                    </a:lnTo>
                    <a:lnTo>
                      <a:pt x="1170" y="671"/>
                    </a:lnTo>
                    <a:lnTo>
                      <a:pt x="1173" y="671"/>
                    </a:lnTo>
                    <a:lnTo>
                      <a:pt x="1173" y="674"/>
                    </a:lnTo>
                    <a:lnTo>
                      <a:pt x="1175" y="676"/>
                    </a:lnTo>
                    <a:lnTo>
                      <a:pt x="1170" y="676"/>
                    </a:lnTo>
                    <a:lnTo>
                      <a:pt x="1164" y="674"/>
                    </a:lnTo>
                    <a:lnTo>
                      <a:pt x="1161" y="674"/>
                    </a:lnTo>
                    <a:lnTo>
                      <a:pt x="1156" y="671"/>
                    </a:lnTo>
                    <a:lnTo>
                      <a:pt x="1152" y="671"/>
                    </a:lnTo>
                    <a:lnTo>
                      <a:pt x="1152" y="674"/>
                    </a:lnTo>
                    <a:lnTo>
                      <a:pt x="1156" y="674"/>
                    </a:lnTo>
                    <a:lnTo>
                      <a:pt x="1166" y="678"/>
                    </a:lnTo>
                    <a:lnTo>
                      <a:pt x="1166" y="680"/>
                    </a:lnTo>
                    <a:lnTo>
                      <a:pt x="1164" y="681"/>
                    </a:lnTo>
                    <a:lnTo>
                      <a:pt x="1159" y="678"/>
                    </a:lnTo>
                    <a:lnTo>
                      <a:pt x="1158" y="678"/>
                    </a:lnTo>
                    <a:lnTo>
                      <a:pt x="1156" y="681"/>
                    </a:lnTo>
                    <a:lnTo>
                      <a:pt x="1158" y="680"/>
                    </a:lnTo>
                    <a:lnTo>
                      <a:pt x="1159" y="681"/>
                    </a:lnTo>
                    <a:lnTo>
                      <a:pt x="1161" y="683"/>
                    </a:lnTo>
                    <a:lnTo>
                      <a:pt x="1163" y="683"/>
                    </a:lnTo>
                    <a:lnTo>
                      <a:pt x="1164" y="683"/>
                    </a:lnTo>
                    <a:lnTo>
                      <a:pt x="1164" y="685"/>
                    </a:lnTo>
                    <a:lnTo>
                      <a:pt x="1166" y="688"/>
                    </a:lnTo>
                    <a:lnTo>
                      <a:pt x="1166" y="686"/>
                    </a:lnTo>
                    <a:lnTo>
                      <a:pt x="1168" y="685"/>
                    </a:lnTo>
                    <a:lnTo>
                      <a:pt x="1170" y="685"/>
                    </a:lnTo>
                    <a:lnTo>
                      <a:pt x="1170" y="686"/>
                    </a:lnTo>
                    <a:lnTo>
                      <a:pt x="1170" y="688"/>
                    </a:lnTo>
                    <a:lnTo>
                      <a:pt x="1170" y="690"/>
                    </a:lnTo>
                    <a:lnTo>
                      <a:pt x="1170" y="690"/>
                    </a:lnTo>
                    <a:lnTo>
                      <a:pt x="1170" y="686"/>
                    </a:lnTo>
                    <a:lnTo>
                      <a:pt x="1173" y="686"/>
                    </a:lnTo>
                    <a:lnTo>
                      <a:pt x="1175" y="688"/>
                    </a:lnTo>
                    <a:lnTo>
                      <a:pt x="1178" y="688"/>
                    </a:lnTo>
                    <a:lnTo>
                      <a:pt x="1182" y="688"/>
                    </a:lnTo>
                    <a:lnTo>
                      <a:pt x="1182" y="692"/>
                    </a:lnTo>
                    <a:lnTo>
                      <a:pt x="1182" y="693"/>
                    </a:lnTo>
                    <a:lnTo>
                      <a:pt x="1178" y="692"/>
                    </a:lnTo>
                    <a:lnTo>
                      <a:pt x="1175" y="690"/>
                    </a:lnTo>
                    <a:lnTo>
                      <a:pt x="1170" y="692"/>
                    </a:lnTo>
                    <a:lnTo>
                      <a:pt x="1166" y="693"/>
                    </a:lnTo>
                    <a:lnTo>
                      <a:pt x="1166" y="697"/>
                    </a:lnTo>
                    <a:lnTo>
                      <a:pt x="1170" y="693"/>
                    </a:lnTo>
                    <a:lnTo>
                      <a:pt x="1173" y="693"/>
                    </a:lnTo>
                    <a:lnTo>
                      <a:pt x="1175" y="693"/>
                    </a:lnTo>
                    <a:lnTo>
                      <a:pt x="1173" y="693"/>
                    </a:lnTo>
                    <a:lnTo>
                      <a:pt x="1173" y="697"/>
                    </a:lnTo>
                    <a:lnTo>
                      <a:pt x="1175" y="697"/>
                    </a:lnTo>
                    <a:lnTo>
                      <a:pt x="1178" y="697"/>
                    </a:lnTo>
                    <a:lnTo>
                      <a:pt x="1178" y="697"/>
                    </a:lnTo>
                    <a:lnTo>
                      <a:pt x="1178" y="699"/>
                    </a:lnTo>
                    <a:lnTo>
                      <a:pt x="1182" y="699"/>
                    </a:lnTo>
                    <a:lnTo>
                      <a:pt x="1182" y="702"/>
                    </a:lnTo>
                    <a:lnTo>
                      <a:pt x="1182" y="706"/>
                    </a:lnTo>
                    <a:lnTo>
                      <a:pt x="1182" y="707"/>
                    </a:lnTo>
                    <a:lnTo>
                      <a:pt x="1182" y="709"/>
                    </a:lnTo>
                    <a:lnTo>
                      <a:pt x="1182" y="709"/>
                    </a:lnTo>
                    <a:lnTo>
                      <a:pt x="1182" y="706"/>
                    </a:lnTo>
                    <a:lnTo>
                      <a:pt x="1184" y="706"/>
                    </a:lnTo>
                    <a:lnTo>
                      <a:pt x="1187" y="706"/>
                    </a:lnTo>
                    <a:lnTo>
                      <a:pt x="1187" y="706"/>
                    </a:lnTo>
                    <a:lnTo>
                      <a:pt x="1185" y="707"/>
                    </a:lnTo>
                    <a:lnTo>
                      <a:pt x="1182" y="714"/>
                    </a:lnTo>
                    <a:lnTo>
                      <a:pt x="1182" y="716"/>
                    </a:lnTo>
                    <a:lnTo>
                      <a:pt x="1182" y="720"/>
                    </a:lnTo>
                    <a:lnTo>
                      <a:pt x="1182" y="718"/>
                    </a:lnTo>
                    <a:lnTo>
                      <a:pt x="1185" y="714"/>
                    </a:lnTo>
                    <a:lnTo>
                      <a:pt x="1185" y="713"/>
                    </a:lnTo>
                    <a:lnTo>
                      <a:pt x="1187" y="709"/>
                    </a:lnTo>
                    <a:lnTo>
                      <a:pt x="1191" y="707"/>
                    </a:lnTo>
                    <a:lnTo>
                      <a:pt x="1191" y="707"/>
                    </a:lnTo>
                    <a:lnTo>
                      <a:pt x="1191" y="706"/>
                    </a:lnTo>
                    <a:lnTo>
                      <a:pt x="1194" y="702"/>
                    </a:lnTo>
                    <a:lnTo>
                      <a:pt x="1194" y="706"/>
                    </a:lnTo>
                    <a:lnTo>
                      <a:pt x="1194" y="706"/>
                    </a:lnTo>
                    <a:lnTo>
                      <a:pt x="1191" y="711"/>
                    </a:lnTo>
                    <a:lnTo>
                      <a:pt x="1189" y="713"/>
                    </a:lnTo>
                    <a:lnTo>
                      <a:pt x="1189" y="716"/>
                    </a:lnTo>
                    <a:lnTo>
                      <a:pt x="1189" y="720"/>
                    </a:lnTo>
                    <a:lnTo>
                      <a:pt x="1191" y="720"/>
                    </a:lnTo>
                    <a:lnTo>
                      <a:pt x="1191" y="716"/>
                    </a:lnTo>
                    <a:lnTo>
                      <a:pt x="1191" y="713"/>
                    </a:lnTo>
                    <a:lnTo>
                      <a:pt x="1192" y="711"/>
                    </a:lnTo>
                    <a:lnTo>
                      <a:pt x="1194" y="709"/>
                    </a:lnTo>
                    <a:lnTo>
                      <a:pt x="1197" y="706"/>
                    </a:lnTo>
                    <a:lnTo>
                      <a:pt x="1201" y="706"/>
                    </a:lnTo>
                    <a:lnTo>
                      <a:pt x="1201" y="706"/>
                    </a:lnTo>
                    <a:lnTo>
                      <a:pt x="1201" y="709"/>
                    </a:lnTo>
                    <a:lnTo>
                      <a:pt x="1201" y="711"/>
                    </a:lnTo>
                    <a:lnTo>
                      <a:pt x="1197" y="711"/>
                    </a:lnTo>
                    <a:lnTo>
                      <a:pt x="1196" y="714"/>
                    </a:lnTo>
                    <a:lnTo>
                      <a:pt x="1196" y="716"/>
                    </a:lnTo>
                    <a:lnTo>
                      <a:pt x="1196" y="718"/>
                    </a:lnTo>
                    <a:lnTo>
                      <a:pt x="1197" y="716"/>
                    </a:lnTo>
                    <a:lnTo>
                      <a:pt x="1197" y="718"/>
                    </a:lnTo>
                    <a:lnTo>
                      <a:pt x="1201" y="716"/>
                    </a:lnTo>
                    <a:lnTo>
                      <a:pt x="1204" y="714"/>
                    </a:lnTo>
                    <a:lnTo>
                      <a:pt x="1204" y="716"/>
                    </a:lnTo>
                    <a:lnTo>
                      <a:pt x="1204" y="721"/>
                    </a:lnTo>
                    <a:lnTo>
                      <a:pt x="1204" y="721"/>
                    </a:lnTo>
                    <a:lnTo>
                      <a:pt x="1204" y="725"/>
                    </a:lnTo>
                    <a:lnTo>
                      <a:pt x="1204" y="725"/>
                    </a:lnTo>
                    <a:lnTo>
                      <a:pt x="1204" y="725"/>
                    </a:lnTo>
                    <a:lnTo>
                      <a:pt x="1206" y="728"/>
                    </a:lnTo>
                    <a:lnTo>
                      <a:pt x="1204" y="728"/>
                    </a:lnTo>
                    <a:lnTo>
                      <a:pt x="1201" y="728"/>
                    </a:lnTo>
                    <a:lnTo>
                      <a:pt x="1204" y="728"/>
                    </a:lnTo>
                    <a:lnTo>
                      <a:pt x="1206" y="730"/>
                    </a:lnTo>
                    <a:lnTo>
                      <a:pt x="1201" y="733"/>
                    </a:lnTo>
                    <a:lnTo>
                      <a:pt x="1197" y="733"/>
                    </a:lnTo>
                    <a:lnTo>
                      <a:pt x="1197" y="733"/>
                    </a:lnTo>
                    <a:lnTo>
                      <a:pt x="1201" y="733"/>
                    </a:lnTo>
                    <a:lnTo>
                      <a:pt x="1206" y="733"/>
                    </a:lnTo>
                    <a:lnTo>
                      <a:pt x="1210" y="733"/>
                    </a:lnTo>
                    <a:lnTo>
                      <a:pt x="1211" y="733"/>
                    </a:lnTo>
                    <a:lnTo>
                      <a:pt x="1211" y="733"/>
                    </a:lnTo>
                    <a:lnTo>
                      <a:pt x="1210" y="735"/>
                    </a:lnTo>
                    <a:lnTo>
                      <a:pt x="1210" y="739"/>
                    </a:lnTo>
                    <a:lnTo>
                      <a:pt x="1210" y="735"/>
                    </a:lnTo>
                    <a:lnTo>
                      <a:pt x="1213" y="735"/>
                    </a:lnTo>
                    <a:lnTo>
                      <a:pt x="1215" y="733"/>
                    </a:lnTo>
                    <a:lnTo>
                      <a:pt x="1218" y="730"/>
                    </a:lnTo>
                    <a:lnTo>
                      <a:pt x="1220" y="733"/>
                    </a:lnTo>
                    <a:lnTo>
                      <a:pt x="1220" y="733"/>
                    </a:lnTo>
                    <a:lnTo>
                      <a:pt x="1218" y="735"/>
                    </a:lnTo>
                    <a:lnTo>
                      <a:pt x="1217" y="735"/>
                    </a:lnTo>
                    <a:lnTo>
                      <a:pt x="1215" y="739"/>
                    </a:lnTo>
                    <a:lnTo>
                      <a:pt x="1213" y="742"/>
                    </a:lnTo>
                    <a:lnTo>
                      <a:pt x="1210" y="744"/>
                    </a:lnTo>
                    <a:lnTo>
                      <a:pt x="1210" y="746"/>
                    </a:lnTo>
                    <a:lnTo>
                      <a:pt x="1210" y="749"/>
                    </a:lnTo>
                    <a:lnTo>
                      <a:pt x="1210" y="749"/>
                    </a:lnTo>
                    <a:lnTo>
                      <a:pt x="1213" y="746"/>
                    </a:lnTo>
                    <a:lnTo>
                      <a:pt x="1213" y="744"/>
                    </a:lnTo>
                    <a:lnTo>
                      <a:pt x="1217" y="740"/>
                    </a:lnTo>
                    <a:lnTo>
                      <a:pt x="1220" y="739"/>
                    </a:lnTo>
                    <a:lnTo>
                      <a:pt x="1220" y="742"/>
                    </a:lnTo>
                    <a:lnTo>
                      <a:pt x="1217" y="746"/>
                    </a:lnTo>
                    <a:lnTo>
                      <a:pt x="1217" y="749"/>
                    </a:lnTo>
                    <a:lnTo>
                      <a:pt x="1215" y="753"/>
                    </a:lnTo>
                    <a:lnTo>
                      <a:pt x="1218" y="751"/>
                    </a:lnTo>
                    <a:lnTo>
                      <a:pt x="1220" y="746"/>
                    </a:lnTo>
                    <a:lnTo>
                      <a:pt x="1220" y="744"/>
                    </a:lnTo>
                    <a:lnTo>
                      <a:pt x="1220" y="742"/>
                    </a:lnTo>
                    <a:lnTo>
                      <a:pt x="1220" y="744"/>
                    </a:lnTo>
                    <a:lnTo>
                      <a:pt x="1224" y="749"/>
                    </a:lnTo>
                    <a:lnTo>
                      <a:pt x="1224" y="751"/>
                    </a:lnTo>
                    <a:lnTo>
                      <a:pt x="1224" y="751"/>
                    </a:lnTo>
                    <a:lnTo>
                      <a:pt x="1224" y="746"/>
                    </a:lnTo>
                    <a:lnTo>
                      <a:pt x="1227" y="744"/>
                    </a:lnTo>
                    <a:lnTo>
                      <a:pt x="1229" y="742"/>
                    </a:lnTo>
                    <a:lnTo>
                      <a:pt x="1232" y="742"/>
                    </a:lnTo>
                    <a:lnTo>
                      <a:pt x="1229" y="746"/>
                    </a:lnTo>
                    <a:lnTo>
                      <a:pt x="1232" y="746"/>
                    </a:lnTo>
                    <a:lnTo>
                      <a:pt x="1232" y="746"/>
                    </a:lnTo>
                    <a:lnTo>
                      <a:pt x="1234" y="747"/>
                    </a:lnTo>
                    <a:lnTo>
                      <a:pt x="1234" y="751"/>
                    </a:lnTo>
                    <a:lnTo>
                      <a:pt x="1236" y="751"/>
                    </a:lnTo>
                    <a:lnTo>
                      <a:pt x="1237" y="753"/>
                    </a:lnTo>
                    <a:lnTo>
                      <a:pt x="1237" y="753"/>
                    </a:lnTo>
                    <a:lnTo>
                      <a:pt x="1239" y="756"/>
                    </a:lnTo>
                    <a:lnTo>
                      <a:pt x="1241" y="758"/>
                    </a:lnTo>
                    <a:lnTo>
                      <a:pt x="1239" y="758"/>
                    </a:lnTo>
                    <a:lnTo>
                      <a:pt x="1237" y="760"/>
                    </a:lnTo>
                    <a:lnTo>
                      <a:pt x="1234" y="760"/>
                    </a:lnTo>
                    <a:lnTo>
                      <a:pt x="1234" y="758"/>
                    </a:lnTo>
                    <a:lnTo>
                      <a:pt x="1232" y="756"/>
                    </a:lnTo>
                    <a:lnTo>
                      <a:pt x="1232" y="756"/>
                    </a:lnTo>
                    <a:lnTo>
                      <a:pt x="1232" y="753"/>
                    </a:lnTo>
                    <a:lnTo>
                      <a:pt x="1229" y="756"/>
                    </a:lnTo>
                    <a:lnTo>
                      <a:pt x="1229" y="756"/>
                    </a:lnTo>
                    <a:lnTo>
                      <a:pt x="1229" y="756"/>
                    </a:lnTo>
                    <a:lnTo>
                      <a:pt x="1232" y="756"/>
                    </a:lnTo>
                    <a:lnTo>
                      <a:pt x="1232" y="758"/>
                    </a:lnTo>
                    <a:lnTo>
                      <a:pt x="1232" y="758"/>
                    </a:lnTo>
                    <a:lnTo>
                      <a:pt x="1232" y="760"/>
                    </a:lnTo>
                    <a:lnTo>
                      <a:pt x="1232" y="761"/>
                    </a:lnTo>
                    <a:lnTo>
                      <a:pt x="1232" y="761"/>
                    </a:lnTo>
                    <a:lnTo>
                      <a:pt x="1229" y="761"/>
                    </a:lnTo>
                    <a:lnTo>
                      <a:pt x="1229" y="763"/>
                    </a:lnTo>
                    <a:lnTo>
                      <a:pt x="1229" y="763"/>
                    </a:lnTo>
                    <a:lnTo>
                      <a:pt x="1232" y="763"/>
                    </a:lnTo>
                    <a:lnTo>
                      <a:pt x="1234" y="763"/>
                    </a:lnTo>
                    <a:lnTo>
                      <a:pt x="1234" y="765"/>
                    </a:lnTo>
                    <a:lnTo>
                      <a:pt x="1232" y="766"/>
                    </a:lnTo>
                    <a:lnTo>
                      <a:pt x="1232" y="766"/>
                    </a:lnTo>
                    <a:lnTo>
                      <a:pt x="1229" y="768"/>
                    </a:lnTo>
                    <a:lnTo>
                      <a:pt x="1224" y="766"/>
                    </a:lnTo>
                    <a:lnTo>
                      <a:pt x="1220" y="766"/>
                    </a:lnTo>
                    <a:lnTo>
                      <a:pt x="1224" y="763"/>
                    </a:lnTo>
                    <a:lnTo>
                      <a:pt x="1224" y="763"/>
                    </a:lnTo>
                    <a:lnTo>
                      <a:pt x="1220" y="761"/>
                    </a:lnTo>
                    <a:lnTo>
                      <a:pt x="1220" y="760"/>
                    </a:lnTo>
                    <a:lnTo>
                      <a:pt x="1218" y="760"/>
                    </a:lnTo>
                    <a:lnTo>
                      <a:pt x="1218" y="761"/>
                    </a:lnTo>
                    <a:lnTo>
                      <a:pt x="1220" y="763"/>
                    </a:lnTo>
                    <a:lnTo>
                      <a:pt x="1220" y="766"/>
                    </a:lnTo>
                    <a:lnTo>
                      <a:pt x="1220" y="768"/>
                    </a:lnTo>
                    <a:lnTo>
                      <a:pt x="1218" y="768"/>
                    </a:lnTo>
                    <a:lnTo>
                      <a:pt x="1215" y="766"/>
                    </a:lnTo>
                    <a:lnTo>
                      <a:pt x="1215" y="765"/>
                    </a:lnTo>
                    <a:lnTo>
                      <a:pt x="1215" y="768"/>
                    </a:lnTo>
                    <a:lnTo>
                      <a:pt x="1217" y="770"/>
                    </a:lnTo>
                    <a:lnTo>
                      <a:pt x="1220" y="770"/>
                    </a:lnTo>
                    <a:lnTo>
                      <a:pt x="1220" y="772"/>
                    </a:lnTo>
                    <a:lnTo>
                      <a:pt x="1224" y="772"/>
                    </a:lnTo>
                    <a:lnTo>
                      <a:pt x="1224" y="773"/>
                    </a:lnTo>
                    <a:lnTo>
                      <a:pt x="1224" y="775"/>
                    </a:lnTo>
                    <a:lnTo>
                      <a:pt x="1218" y="775"/>
                    </a:lnTo>
                    <a:lnTo>
                      <a:pt x="1217" y="773"/>
                    </a:lnTo>
                    <a:lnTo>
                      <a:pt x="1213" y="772"/>
                    </a:lnTo>
                    <a:lnTo>
                      <a:pt x="1211" y="770"/>
                    </a:lnTo>
                    <a:lnTo>
                      <a:pt x="1211" y="770"/>
                    </a:lnTo>
                    <a:lnTo>
                      <a:pt x="1211" y="772"/>
                    </a:lnTo>
                    <a:lnTo>
                      <a:pt x="1215" y="775"/>
                    </a:lnTo>
                    <a:lnTo>
                      <a:pt x="1217" y="775"/>
                    </a:lnTo>
                    <a:lnTo>
                      <a:pt x="1217" y="780"/>
                    </a:lnTo>
                    <a:lnTo>
                      <a:pt x="1215" y="784"/>
                    </a:lnTo>
                    <a:lnTo>
                      <a:pt x="1213" y="780"/>
                    </a:lnTo>
                    <a:lnTo>
                      <a:pt x="1213" y="780"/>
                    </a:lnTo>
                    <a:lnTo>
                      <a:pt x="1211" y="779"/>
                    </a:lnTo>
                    <a:lnTo>
                      <a:pt x="1210" y="775"/>
                    </a:lnTo>
                    <a:lnTo>
                      <a:pt x="1210" y="779"/>
                    </a:lnTo>
                    <a:lnTo>
                      <a:pt x="1210" y="780"/>
                    </a:lnTo>
                    <a:lnTo>
                      <a:pt x="1210" y="784"/>
                    </a:lnTo>
                    <a:lnTo>
                      <a:pt x="1210" y="786"/>
                    </a:lnTo>
                    <a:lnTo>
                      <a:pt x="1210" y="786"/>
                    </a:lnTo>
                    <a:lnTo>
                      <a:pt x="1210" y="786"/>
                    </a:lnTo>
                    <a:lnTo>
                      <a:pt x="1206" y="786"/>
                    </a:lnTo>
                    <a:lnTo>
                      <a:pt x="1206" y="784"/>
                    </a:lnTo>
                    <a:lnTo>
                      <a:pt x="1204" y="784"/>
                    </a:lnTo>
                    <a:lnTo>
                      <a:pt x="1204" y="784"/>
                    </a:lnTo>
                    <a:lnTo>
                      <a:pt x="1204" y="786"/>
                    </a:lnTo>
                    <a:lnTo>
                      <a:pt x="1201" y="784"/>
                    </a:lnTo>
                    <a:lnTo>
                      <a:pt x="1201" y="784"/>
                    </a:lnTo>
                    <a:lnTo>
                      <a:pt x="1201" y="780"/>
                    </a:lnTo>
                    <a:lnTo>
                      <a:pt x="1201" y="779"/>
                    </a:lnTo>
                    <a:lnTo>
                      <a:pt x="1201" y="775"/>
                    </a:lnTo>
                    <a:lnTo>
                      <a:pt x="1197" y="779"/>
                    </a:lnTo>
                    <a:lnTo>
                      <a:pt x="1197" y="784"/>
                    </a:lnTo>
                    <a:lnTo>
                      <a:pt x="1197" y="784"/>
                    </a:lnTo>
                    <a:lnTo>
                      <a:pt x="1196" y="784"/>
                    </a:lnTo>
                    <a:lnTo>
                      <a:pt x="1197" y="784"/>
                    </a:lnTo>
                    <a:lnTo>
                      <a:pt x="1197" y="786"/>
                    </a:lnTo>
                    <a:lnTo>
                      <a:pt x="1197" y="786"/>
                    </a:lnTo>
                    <a:lnTo>
                      <a:pt x="1197" y="787"/>
                    </a:lnTo>
                    <a:lnTo>
                      <a:pt x="1196" y="787"/>
                    </a:lnTo>
                    <a:lnTo>
                      <a:pt x="1194" y="787"/>
                    </a:lnTo>
                    <a:lnTo>
                      <a:pt x="1194" y="787"/>
                    </a:lnTo>
                    <a:lnTo>
                      <a:pt x="1196" y="789"/>
                    </a:lnTo>
                    <a:lnTo>
                      <a:pt x="1197" y="789"/>
                    </a:lnTo>
                    <a:lnTo>
                      <a:pt x="1197" y="791"/>
                    </a:lnTo>
                    <a:lnTo>
                      <a:pt x="1197" y="793"/>
                    </a:lnTo>
                    <a:lnTo>
                      <a:pt x="1196" y="794"/>
                    </a:lnTo>
                    <a:lnTo>
                      <a:pt x="1196" y="796"/>
                    </a:lnTo>
                    <a:lnTo>
                      <a:pt x="1197" y="798"/>
                    </a:lnTo>
                    <a:lnTo>
                      <a:pt x="1197" y="799"/>
                    </a:lnTo>
                    <a:lnTo>
                      <a:pt x="1196" y="799"/>
                    </a:lnTo>
                    <a:lnTo>
                      <a:pt x="1194" y="799"/>
                    </a:lnTo>
                    <a:lnTo>
                      <a:pt x="1194" y="799"/>
                    </a:lnTo>
                    <a:lnTo>
                      <a:pt x="1196" y="801"/>
                    </a:lnTo>
                    <a:lnTo>
                      <a:pt x="1197" y="803"/>
                    </a:lnTo>
                    <a:lnTo>
                      <a:pt x="1196" y="806"/>
                    </a:lnTo>
                    <a:lnTo>
                      <a:pt x="1192" y="808"/>
                    </a:lnTo>
                    <a:lnTo>
                      <a:pt x="1192" y="808"/>
                    </a:lnTo>
                    <a:lnTo>
                      <a:pt x="1191" y="808"/>
                    </a:lnTo>
                    <a:lnTo>
                      <a:pt x="1191" y="806"/>
                    </a:lnTo>
                    <a:lnTo>
                      <a:pt x="1189" y="806"/>
                    </a:lnTo>
                    <a:lnTo>
                      <a:pt x="1189" y="803"/>
                    </a:lnTo>
                    <a:lnTo>
                      <a:pt x="1187" y="803"/>
                    </a:lnTo>
                    <a:lnTo>
                      <a:pt x="1187" y="803"/>
                    </a:lnTo>
                    <a:lnTo>
                      <a:pt x="1189" y="801"/>
                    </a:lnTo>
                    <a:lnTo>
                      <a:pt x="1189" y="799"/>
                    </a:lnTo>
                    <a:lnTo>
                      <a:pt x="1187" y="799"/>
                    </a:lnTo>
                    <a:lnTo>
                      <a:pt x="1185" y="801"/>
                    </a:lnTo>
                    <a:lnTo>
                      <a:pt x="1184" y="803"/>
                    </a:lnTo>
                    <a:lnTo>
                      <a:pt x="1184" y="803"/>
                    </a:lnTo>
                    <a:lnTo>
                      <a:pt x="1182" y="801"/>
                    </a:lnTo>
                    <a:lnTo>
                      <a:pt x="1182" y="799"/>
                    </a:lnTo>
                    <a:lnTo>
                      <a:pt x="1182" y="798"/>
                    </a:lnTo>
                    <a:lnTo>
                      <a:pt x="1182" y="796"/>
                    </a:lnTo>
                    <a:lnTo>
                      <a:pt x="1182" y="794"/>
                    </a:lnTo>
                    <a:lnTo>
                      <a:pt x="1182" y="794"/>
                    </a:lnTo>
                    <a:lnTo>
                      <a:pt x="1184" y="793"/>
                    </a:lnTo>
                    <a:lnTo>
                      <a:pt x="1182" y="791"/>
                    </a:lnTo>
                    <a:lnTo>
                      <a:pt x="1182" y="794"/>
                    </a:lnTo>
                    <a:lnTo>
                      <a:pt x="1178" y="796"/>
                    </a:lnTo>
                    <a:lnTo>
                      <a:pt x="1178" y="799"/>
                    </a:lnTo>
                    <a:lnTo>
                      <a:pt x="1178" y="798"/>
                    </a:lnTo>
                    <a:lnTo>
                      <a:pt x="1178" y="796"/>
                    </a:lnTo>
                    <a:lnTo>
                      <a:pt x="1175" y="794"/>
                    </a:lnTo>
                    <a:lnTo>
                      <a:pt x="1175" y="793"/>
                    </a:lnTo>
                    <a:lnTo>
                      <a:pt x="1175" y="791"/>
                    </a:lnTo>
                    <a:lnTo>
                      <a:pt x="1178" y="789"/>
                    </a:lnTo>
                    <a:lnTo>
                      <a:pt x="1178" y="789"/>
                    </a:lnTo>
                    <a:lnTo>
                      <a:pt x="1182" y="787"/>
                    </a:lnTo>
                    <a:lnTo>
                      <a:pt x="1182" y="787"/>
                    </a:lnTo>
                    <a:lnTo>
                      <a:pt x="1178" y="787"/>
                    </a:lnTo>
                    <a:lnTo>
                      <a:pt x="1175" y="787"/>
                    </a:lnTo>
                    <a:lnTo>
                      <a:pt x="1175" y="787"/>
                    </a:lnTo>
                    <a:lnTo>
                      <a:pt x="1175" y="786"/>
                    </a:lnTo>
                    <a:lnTo>
                      <a:pt x="1175" y="784"/>
                    </a:lnTo>
                    <a:lnTo>
                      <a:pt x="1178" y="784"/>
                    </a:lnTo>
                    <a:lnTo>
                      <a:pt x="1178" y="780"/>
                    </a:lnTo>
                    <a:lnTo>
                      <a:pt x="1178" y="780"/>
                    </a:lnTo>
                    <a:lnTo>
                      <a:pt x="1175" y="784"/>
                    </a:lnTo>
                    <a:lnTo>
                      <a:pt x="1175" y="780"/>
                    </a:lnTo>
                    <a:lnTo>
                      <a:pt x="1175" y="780"/>
                    </a:lnTo>
                    <a:lnTo>
                      <a:pt x="1175" y="780"/>
                    </a:lnTo>
                    <a:lnTo>
                      <a:pt x="1178" y="779"/>
                    </a:lnTo>
                    <a:lnTo>
                      <a:pt x="1182" y="779"/>
                    </a:lnTo>
                    <a:lnTo>
                      <a:pt x="1178" y="775"/>
                    </a:lnTo>
                    <a:lnTo>
                      <a:pt x="1175" y="775"/>
                    </a:lnTo>
                    <a:lnTo>
                      <a:pt x="1175" y="779"/>
                    </a:lnTo>
                    <a:lnTo>
                      <a:pt x="1173" y="775"/>
                    </a:lnTo>
                    <a:lnTo>
                      <a:pt x="1173" y="775"/>
                    </a:lnTo>
                    <a:lnTo>
                      <a:pt x="1175" y="772"/>
                    </a:lnTo>
                    <a:lnTo>
                      <a:pt x="1178" y="772"/>
                    </a:lnTo>
                    <a:lnTo>
                      <a:pt x="1182" y="772"/>
                    </a:lnTo>
                    <a:lnTo>
                      <a:pt x="1184" y="768"/>
                    </a:lnTo>
                    <a:lnTo>
                      <a:pt x="1185" y="766"/>
                    </a:lnTo>
                    <a:lnTo>
                      <a:pt x="1187" y="765"/>
                    </a:lnTo>
                    <a:lnTo>
                      <a:pt x="1189" y="761"/>
                    </a:lnTo>
                    <a:lnTo>
                      <a:pt x="1191" y="761"/>
                    </a:lnTo>
                    <a:lnTo>
                      <a:pt x="1191" y="760"/>
                    </a:lnTo>
                    <a:lnTo>
                      <a:pt x="1189" y="760"/>
                    </a:lnTo>
                    <a:lnTo>
                      <a:pt x="1185" y="761"/>
                    </a:lnTo>
                    <a:lnTo>
                      <a:pt x="1184" y="763"/>
                    </a:lnTo>
                    <a:lnTo>
                      <a:pt x="1182" y="766"/>
                    </a:lnTo>
                    <a:lnTo>
                      <a:pt x="1178" y="768"/>
                    </a:lnTo>
                    <a:lnTo>
                      <a:pt x="1175" y="768"/>
                    </a:lnTo>
                    <a:lnTo>
                      <a:pt x="1173" y="772"/>
                    </a:lnTo>
                    <a:lnTo>
                      <a:pt x="1170" y="772"/>
                    </a:lnTo>
                    <a:lnTo>
                      <a:pt x="1168" y="770"/>
                    </a:lnTo>
                    <a:lnTo>
                      <a:pt x="1168" y="770"/>
                    </a:lnTo>
                    <a:lnTo>
                      <a:pt x="1170" y="765"/>
                    </a:lnTo>
                    <a:lnTo>
                      <a:pt x="1175" y="761"/>
                    </a:lnTo>
                    <a:lnTo>
                      <a:pt x="1175" y="761"/>
                    </a:lnTo>
                    <a:lnTo>
                      <a:pt x="1178" y="760"/>
                    </a:lnTo>
                    <a:lnTo>
                      <a:pt x="1178" y="756"/>
                    </a:lnTo>
                    <a:lnTo>
                      <a:pt x="1175" y="760"/>
                    </a:lnTo>
                    <a:lnTo>
                      <a:pt x="1168" y="765"/>
                    </a:lnTo>
                    <a:lnTo>
                      <a:pt x="1166" y="765"/>
                    </a:lnTo>
                    <a:lnTo>
                      <a:pt x="1164" y="765"/>
                    </a:lnTo>
                    <a:lnTo>
                      <a:pt x="1164" y="763"/>
                    </a:lnTo>
                    <a:lnTo>
                      <a:pt x="1164" y="761"/>
                    </a:lnTo>
                    <a:lnTo>
                      <a:pt x="1163" y="760"/>
                    </a:lnTo>
                    <a:lnTo>
                      <a:pt x="1161" y="761"/>
                    </a:lnTo>
                    <a:lnTo>
                      <a:pt x="1159" y="760"/>
                    </a:lnTo>
                    <a:lnTo>
                      <a:pt x="1161" y="758"/>
                    </a:lnTo>
                    <a:lnTo>
                      <a:pt x="1163" y="758"/>
                    </a:lnTo>
                    <a:lnTo>
                      <a:pt x="1163" y="756"/>
                    </a:lnTo>
                    <a:lnTo>
                      <a:pt x="1161" y="756"/>
                    </a:lnTo>
                    <a:lnTo>
                      <a:pt x="1159" y="756"/>
                    </a:lnTo>
                    <a:lnTo>
                      <a:pt x="1159" y="756"/>
                    </a:lnTo>
                    <a:lnTo>
                      <a:pt x="1159" y="753"/>
                    </a:lnTo>
                    <a:lnTo>
                      <a:pt x="1161" y="751"/>
                    </a:lnTo>
                    <a:lnTo>
                      <a:pt x="1161" y="749"/>
                    </a:lnTo>
                    <a:lnTo>
                      <a:pt x="1159" y="749"/>
                    </a:lnTo>
                    <a:lnTo>
                      <a:pt x="1158" y="747"/>
                    </a:lnTo>
                    <a:lnTo>
                      <a:pt x="1156" y="747"/>
                    </a:lnTo>
                    <a:lnTo>
                      <a:pt x="1156" y="749"/>
                    </a:lnTo>
                    <a:lnTo>
                      <a:pt x="1158" y="751"/>
                    </a:lnTo>
                    <a:lnTo>
                      <a:pt x="1156" y="753"/>
                    </a:lnTo>
                    <a:lnTo>
                      <a:pt x="1152" y="751"/>
                    </a:lnTo>
                    <a:lnTo>
                      <a:pt x="1151" y="749"/>
                    </a:lnTo>
                    <a:lnTo>
                      <a:pt x="1147" y="749"/>
                    </a:lnTo>
                    <a:lnTo>
                      <a:pt x="1151" y="751"/>
                    </a:lnTo>
                    <a:lnTo>
                      <a:pt x="1152" y="753"/>
                    </a:lnTo>
                    <a:lnTo>
                      <a:pt x="1156" y="756"/>
                    </a:lnTo>
                    <a:lnTo>
                      <a:pt x="1151" y="756"/>
                    </a:lnTo>
                    <a:lnTo>
                      <a:pt x="1151" y="756"/>
                    </a:lnTo>
                    <a:lnTo>
                      <a:pt x="1151" y="758"/>
                    </a:lnTo>
                    <a:lnTo>
                      <a:pt x="1151" y="758"/>
                    </a:lnTo>
                    <a:lnTo>
                      <a:pt x="1147" y="756"/>
                    </a:lnTo>
                    <a:lnTo>
                      <a:pt x="1147" y="753"/>
                    </a:lnTo>
                    <a:lnTo>
                      <a:pt x="1147" y="753"/>
                    </a:lnTo>
                    <a:lnTo>
                      <a:pt x="1145" y="753"/>
                    </a:lnTo>
                    <a:lnTo>
                      <a:pt x="1147" y="756"/>
                    </a:lnTo>
                    <a:lnTo>
                      <a:pt x="1147" y="756"/>
                    </a:lnTo>
                    <a:lnTo>
                      <a:pt x="1147" y="760"/>
                    </a:lnTo>
                    <a:lnTo>
                      <a:pt x="1147" y="760"/>
                    </a:lnTo>
                    <a:lnTo>
                      <a:pt x="1151" y="761"/>
                    </a:lnTo>
                    <a:lnTo>
                      <a:pt x="1151" y="765"/>
                    </a:lnTo>
                    <a:lnTo>
                      <a:pt x="1151" y="766"/>
                    </a:lnTo>
                    <a:lnTo>
                      <a:pt x="1151" y="768"/>
                    </a:lnTo>
                    <a:lnTo>
                      <a:pt x="1151" y="770"/>
                    </a:lnTo>
                    <a:lnTo>
                      <a:pt x="1151" y="770"/>
                    </a:lnTo>
                    <a:lnTo>
                      <a:pt x="1147" y="770"/>
                    </a:lnTo>
                    <a:lnTo>
                      <a:pt x="1145" y="768"/>
                    </a:lnTo>
                    <a:lnTo>
                      <a:pt x="1145" y="770"/>
                    </a:lnTo>
                    <a:lnTo>
                      <a:pt x="1144" y="770"/>
                    </a:lnTo>
                    <a:lnTo>
                      <a:pt x="1140" y="766"/>
                    </a:lnTo>
                    <a:lnTo>
                      <a:pt x="1140" y="765"/>
                    </a:lnTo>
                    <a:lnTo>
                      <a:pt x="1140" y="763"/>
                    </a:lnTo>
                    <a:lnTo>
                      <a:pt x="1140" y="760"/>
                    </a:lnTo>
                    <a:lnTo>
                      <a:pt x="1137" y="758"/>
                    </a:lnTo>
                    <a:lnTo>
                      <a:pt x="1135" y="758"/>
                    </a:lnTo>
                    <a:lnTo>
                      <a:pt x="1133" y="756"/>
                    </a:lnTo>
                    <a:lnTo>
                      <a:pt x="1133" y="756"/>
                    </a:lnTo>
                    <a:lnTo>
                      <a:pt x="1131" y="756"/>
                    </a:lnTo>
                    <a:lnTo>
                      <a:pt x="1128" y="756"/>
                    </a:lnTo>
                    <a:lnTo>
                      <a:pt x="1124" y="756"/>
                    </a:lnTo>
                    <a:lnTo>
                      <a:pt x="1124" y="758"/>
                    </a:lnTo>
                    <a:lnTo>
                      <a:pt x="1130" y="758"/>
                    </a:lnTo>
                    <a:lnTo>
                      <a:pt x="1131" y="760"/>
                    </a:lnTo>
                    <a:lnTo>
                      <a:pt x="1137" y="761"/>
                    </a:lnTo>
                    <a:lnTo>
                      <a:pt x="1137" y="765"/>
                    </a:lnTo>
                    <a:lnTo>
                      <a:pt x="1133" y="766"/>
                    </a:lnTo>
                    <a:lnTo>
                      <a:pt x="1133" y="768"/>
                    </a:lnTo>
                    <a:lnTo>
                      <a:pt x="1137" y="768"/>
                    </a:lnTo>
                    <a:lnTo>
                      <a:pt x="1137" y="770"/>
                    </a:lnTo>
                    <a:lnTo>
                      <a:pt x="1137" y="772"/>
                    </a:lnTo>
                    <a:lnTo>
                      <a:pt x="1137" y="772"/>
                    </a:lnTo>
                    <a:lnTo>
                      <a:pt x="1140" y="772"/>
                    </a:lnTo>
                    <a:lnTo>
                      <a:pt x="1140" y="773"/>
                    </a:lnTo>
                    <a:lnTo>
                      <a:pt x="1138" y="775"/>
                    </a:lnTo>
                    <a:lnTo>
                      <a:pt x="1133" y="780"/>
                    </a:lnTo>
                    <a:lnTo>
                      <a:pt x="1131" y="784"/>
                    </a:lnTo>
                    <a:lnTo>
                      <a:pt x="1137" y="780"/>
                    </a:lnTo>
                    <a:lnTo>
                      <a:pt x="1138" y="780"/>
                    </a:lnTo>
                    <a:lnTo>
                      <a:pt x="1140" y="779"/>
                    </a:lnTo>
                    <a:lnTo>
                      <a:pt x="1145" y="779"/>
                    </a:lnTo>
                    <a:lnTo>
                      <a:pt x="1147" y="780"/>
                    </a:lnTo>
                    <a:lnTo>
                      <a:pt x="1147" y="780"/>
                    </a:lnTo>
                    <a:lnTo>
                      <a:pt x="1144" y="784"/>
                    </a:lnTo>
                    <a:lnTo>
                      <a:pt x="1142" y="784"/>
                    </a:lnTo>
                    <a:lnTo>
                      <a:pt x="1144" y="784"/>
                    </a:lnTo>
                    <a:lnTo>
                      <a:pt x="1145" y="786"/>
                    </a:lnTo>
                    <a:lnTo>
                      <a:pt x="1147" y="787"/>
                    </a:lnTo>
                    <a:lnTo>
                      <a:pt x="1147" y="787"/>
                    </a:lnTo>
                    <a:lnTo>
                      <a:pt x="1144" y="789"/>
                    </a:lnTo>
                    <a:lnTo>
                      <a:pt x="1142" y="789"/>
                    </a:lnTo>
                    <a:lnTo>
                      <a:pt x="1144" y="791"/>
                    </a:lnTo>
                    <a:lnTo>
                      <a:pt x="1144" y="793"/>
                    </a:lnTo>
                    <a:lnTo>
                      <a:pt x="1144" y="793"/>
                    </a:lnTo>
                    <a:lnTo>
                      <a:pt x="1144" y="794"/>
                    </a:lnTo>
                    <a:lnTo>
                      <a:pt x="1145" y="794"/>
                    </a:lnTo>
                    <a:lnTo>
                      <a:pt x="1145" y="798"/>
                    </a:lnTo>
                    <a:lnTo>
                      <a:pt x="1147" y="798"/>
                    </a:lnTo>
                    <a:lnTo>
                      <a:pt x="1147" y="799"/>
                    </a:lnTo>
                    <a:lnTo>
                      <a:pt x="1147" y="803"/>
                    </a:lnTo>
                    <a:lnTo>
                      <a:pt x="1147" y="803"/>
                    </a:lnTo>
                    <a:lnTo>
                      <a:pt x="1147" y="803"/>
                    </a:lnTo>
                    <a:lnTo>
                      <a:pt x="1147" y="799"/>
                    </a:lnTo>
                    <a:lnTo>
                      <a:pt x="1151" y="798"/>
                    </a:lnTo>
                    <a:lnTo>
                      <a:pt x="1152" y="799"/>
                    </a:lnTo>
                    <a:lnTo>
                      <a:pt x="1152" y="803"/>
                    </a:lnTo>
                    <a:lnTo>
                      <a:pt x="1156" y="806"/>
                    </a:lnTo>
                    <a:lnTo>
                      <a:pt x="1152" y="806"/>
                    </a:lnTo>
                    <a:lnTo>
                      <a:pt x="1151" y="808"/>
                    </a:lnTo>
                    <a:lnTo>
                      <a:pt x="1151" y="808"/>
                    </a:lnTo>
                    <a:lnTo>
                      <a:pt x="1156" y="808"/>
                    </a:lnTo>
                    <a:lnTo>
                      <a:pt x="1156" y="808"/>
                    </a:lnTo>
                    <a:lnTo>
                      <a:pt x="1156" y="808"/>
                    </a:lnTo>
                    <a:lnTo>
                      <a:pt x="1158" y="808"/>
                    </a:lnTo>
                    <a:lnTo>
                      <a:pt x="1158" y="806"/>
                    </a:lnTo>
                    <a:lnTo>
                      <a:pt x="1159" y="806"/>
                    </a:lnTo>
                    <a:lnTo>
                      <a:pt x="1161" y="808"/>
                    </a:lnTo>
                    <a:lnTo>
                      <a:pt x="1161" y="812"/>
                    </a:lnTo>
                    <a:lnTo>
                      <a:pt x="1159" y="815"/>
                    </a:lnTo>
                    <a:lnTo>
                      <a:pt x="1158" y="815"/>
                    </a:lnTo>
                    <a:lnTo>
                      <a:pt x="1158" y="817"/>
                    </a:lnTo>
                    <a:lnTo>
                      <a:pt x="1159" y="817"/>
                    </a:lnTo>
                    <a:lnTo>
                      <a:pt x="1163" y="817"/>
                    </a:lnTo>
                    <a:lnTo>
                      <a:pt x="1166" y="817"/>
                    </a:lnTo>
                    <a:lnTo>
                      <a:pt x="1166" y="817"/>
                    </a:lnTo>
                    <a:lnTo>
                      <a:pt x="1164" y="820"/>
                    </a:lnTo>
                    <a:lnTo>
                      <a:pt x="1163" y="820"/>
                    </a:lnTo>
                    <a:lnTo>
                      <a:pt x="1159" y="822"/>
                    </a:lnTo>
                    <a:lnTo>
                      <a:pt x="1161" y="824"/>
                    </a:lnTo>
                    <a:lnTo>
                      <a:pt x="1164" y="827"/>
                    </a:lnTo>
                    <a:lnTo>
                      <a:pt x="1163" y="831"/>
                    </a:lnTo>
                    <a:lnTo>
                      <a:pt x="1164" y="831"/>
                    </a:lnTo>
                    <a:lnTo>
                      <a:pt x="1164" y="834"/>
                    </a:lnTo>
                    <a:lnTo>
                      <a:pt x="1170" y="839"/>
                    </a:lnTo>
                    <a:lnTo>
                      <a:pt x="1170" y="843"/>
                    </a:lnTo>
                    <a:lnTo>
                      <a:pt x="1168" y="843"/>
                    </a:lnTo>
                    <a:lnTo>
                      <a:pt x="1168" y="846"/>
                    </a:lnTo>
                    <a:lnTo>
                      <a:pt x="1166" y="852"/>
                    </a:lnTo>
                    <a:lnTo>
                      <a:pt x="1166" y="855"/>
                    </a:lnTo>
                    <a:lnTo>
                      <a:pt x="1166" y="855"/>
                    </a:lnTo>
                    <a:lnTo>
                      <a:pt x="1161" y="850"/>
                    </a:lnTo>
                    <a:lnTo>
                      <a:pt x="1159" y="846"/>
                    </a:lnTo>
                    <a:lnTo>
                      <a:pt x="1161" y="843"/>
                    </a:lnTo>
                    <a:lnTo>
                      <a:pt x="1159" y="839"/>
                    </a:lnTo>
                    <a:lnTo>
                      <a:pt x="1159" y="843"/>
                    </a:lnTo>
                    <a:lnTo>
                      <a:pt x="1158" y="848"/>
                    </a:lnTo>
                    <a:lnTo>
                      <a:pt x="1161" y="853"/>
                    </a:lnTo>
                    <a:lnTo>
                      <a:pt x="1161" y="859"/>
                    </a:lnTo>
                    <a:lnTo>
                      <a:pt x="1159" y="862"/>
                    </a:lnTo>
                    <a:lnTo>
                      <a:pt x="1161" y="866"/>
                    </a:lnTo>
                    <a:lnTo>
                      <a:pt x="1159" y="866"/>
                    </a:lnTo>
                    <a:lnTo>
                      <a:pt x="1158" y="866"/>
                    </a:lnTo>
                    <a:lnTo>
                      <a:pt x="1156" y="862"/>
                    </a:lnTo>
                    <a:lnTo>
                      <a:pt x="1152" y="862"/>
                    </a:lnTo>
                    <a:lnTo>
                      <a:pt x="1156" y="871"/>
                    </a:lnTo>
                    <a:lnTo>
                      <a:pt x="1156" y="873"/>
                    </a:lnTo>
                    <a:lnTo>
                      <a:pt x="1156" y="874"/>
                    </a:lnTo>
                    <a:lnTo>
                      <a:pt x="1156" y="876"/>
                    </a:lnTo>
                    <a:lnTo>
                      <a:pt x="1152" y="876"/>
                    </a:lnTo>
                    <a:lnTo>
                      <a:pt x="1151" y="874"/>
                    </a:lnTo>
                    <a:lnTo>
                      <a:pt x="1151" y="867"/>
                    </a:lnTo>
                    <a:lnTo>
                      <a:pt x="1151" y="866"/>
                    </a:lnTo>
                    <a:lnTo>
                      <a:pt x="1151" y="862"/>
                    </a:lnTo>
                    <a:lnTo>
                      <a:pt x="1151" y="866"/>
                    </a:lnTo>
                    <a:lnTo>
                      <a:pt x="1147" y="866"/>
                    </a:lnTo>
                    <a:lnTo>
                      <a:pt x="1145" y="862"/>
                    </a:lnTo>
                    <a:lnTo>
                      <a:pt x="1145" y="859"/>
                    </a:lnTo>
                    <a:lnTo>
                      <a:pt x="1144" y="860"/>
                    </a:lnTo>
                    <a:lnTo>
                      <a:pt x="1144" y="862"/>
                    </a:lnTo>
                    <a:lnTo>
                      <a:pt x="1144" y="862"/>
                    </a:lnTo>
                    <a:lnTo>
                      <a:pt x="1144" y="860"/>
                    </a:lnTo>
                    <a:lnTo>
                      <a:pt x="1142" y="857"/>
                    </a:lnTo>
                    <a:lnTo>
                      <a:pt x="1140" y="855"/>
                    </a:lnTo>
                    <a:lnTo>
                      <a:pt x="1140" y="857"/>
                    </a:lnTo>
                    <a:lnTo>
                      <a:pt x="1140" y="859"/>
                    </a:lnTo>
                    <a:lnTo>
                      <a:pt x="1140" y="860"/>
                    </a:lnTo>
                    <a:lnTo>
                      <a:pt x="1138" y="860"/>
                    </a:lnTo>
                    <a:lnTo>
                      <a:pt x="1137" y="859"/>
                    </a:lnTo>
                    <a:lnTo>
                      <a:pt x="1135" y="857"/>
                    </a:lnTo>
                    <a:lnTo>
                      <a:pt x="1137" y="853"/>
                    </a:lnTo>
                    <a:lnTo>
                      <a:pt x="1133" y="848"/>
                    </a:lnTo>
                    <a:lnTo>
                      <a:pt x="1133" y="845"/>
                    </a:lnTo>
                    <a:lnTo>
                      <a:pt x="1133" y="848"/>
                    </a:lnTo>
                    <a:lnTo>
                      <a:pt x="1133" y="853"/>
                    </a:lnTo>
                    <a:lnTo>
                      <a:pt x="1135" y="857"/>
                    </a:lnTo>
                    <a:lnTo>
                      <a:pt x="1131" y="859"/>
                    </a:lnTo>
                    <a:lnTo>
                      <a:pt x="1130" y="853"/>
                    </a:lnTo>
                    <a:lnTo>
                      <a:pt x="1128" y="852"/>
                    </a:lnTo>
                    <a:lnTo>
                      <a:pt x="1128" y="850"/>
                    </a:lnTo>
                    <a:lnTo>
                      <a:pt x="1124" y="848"/>
                    </a:lnTo>
                    <a:lnTo>
                      <a:pt x="1124" y="843"/>
                    </a:lnTo>
                    <a:lnTo>
                      <a:pt x="1123" y="843"/>
                    </a:lnTo>
                    <a:lnTo>
                      <a:pt x="1123" y="839"/>
                    </a:lnTo>
                    <a:lnTo>
                      <a:pt x="1121" y="839"/>
                    </a:lnTo>
                    <a:lnTo>
                      <a:pt x="1119" y="839"/>
                    </a:lnTo>
                    <a:lnTo>
                      <a:pt x="1119" y="839"/>
                    </a:lnTo>
                    <a:lnTo>
                      <a:pt x="1121" y="845"/>
                    </a:lnTo>
                    <a:lnTo>
                      <a:pt x="1121" y="846"/>
                    </a:lnTo>
                    <a:lnTo>
                      <a:pt x="1119" y="845"/>
                    </a:lnTo>
                    <a:lnTo>
                      <a:pt x="1119" y="843"/>
                    </a:lnTo>
                    <a:lnTo>
                      <a:pt x="1118" y="843"/>
                    </a:lnTo>
                    <a:lnTo>
                      <a:pt x="1114" y="839"/>
                    </a:lnTo>
                    <a:lnTo>
                      <a:pt x="1112" y="834"/>
                    </a:lnTo>
                    <a:lnTo>
                      <a:pt x="1111" y="833"/>
                    </a:lnTo>
                    <a:lnTo>
                      <a:pt x="1107" y="833"/>
                    </a:lnTo>
                    <a:lnTo>
                      <a:pt x="1105" y="834"/>
                    </a:lnTo>
                    <a:lnTo>
                      <a:pt x="1105" y="833"/>
                    </a:lnTo>
                    <a:lnTo>
                      <a:pt x="1105" y="834"/>
                    </a:lnTo>
                    <a:lnTo>
                      <a:pt x="1105" y="839"/>
                    </a:lnTo>
                    <a:lnTo>
                      <a:pt x="1109" y="843"/>
                    </a:lnTo>
                    <a:lnTo>
                      <a:pt x="1109" y="845"/>
                    </a:lnTo>
                    <a:lnTo>
                      <a:pt x="1111" y="848"/>
                    </a:lnTo>
                    <a:lnTo>
                      <a:pt x="1111" y="852"/>
                    </a:lnTo>
                    <a:lnTo>
                      <a:pt x="1112" y="852"/>
                    </a:lnTo>
                    <a:lnTo>
                      <a:pt x="1116" y="852"/>
                    </a:lnTo>
                    <a:lnTo>
                      <a:pt x="1118" y="855"/>
                    </a:lnTo>
                    <a:lnTo>
                      <a:pt x="1118" y="857"/>
                    </a:lnTo>
                    <a:lnTo>
                      <a:pt x="1119" y="857"/>
                    </a:lnTo>
                    <a:lnTo>
                      <a:pt x="1121" y="857"/>
                    </a:lnTo>
                    <a:lnTo>
                      <a:pt x="1119" y="860"/>
                    </a:lnTo>
                    <a:lnTo>
                      <a:pt x="1123" y="860"/>
                    </a:lnTo>
                    <a:lnTo>
                      <a:pt x="1124" y="862"/>
                    </a:lnTo>
                    <a:lnTo>
                      <a:pt x="1124" y="866"/>
                    </a:lnTo>
                    <a:lnTo>
                      <a:pt x="1124" y="867"/>
                    </a:lnTo>
                    <a:lnTo>
                      <a:pt x="1128" y="867"/>
                    </a:lnTo>
                    <a:lnTo>
                      <a:pt x="1128" y="867"/>
                    </a:lnTo>
                    <a:lnTo>
                      <a:pt x="1128" y="873"/>
                    </a:lnTo>
                    <a:lnTo>
                      <a:pt x="1128" y="876"/>
                    </a:lnTo>
                    <a:lnTo>
                      <a:pt x="1128" y="874"/>
                    </a:lnTo>
                    <a:lnTo>
                      <a:pt x="1128" y="878"/>
                    </a:lnTo>
                    <a:lnTo>
                      <a:pt x="1128" y="879"/>
                    </a:lnTo>
                    <a:lnTo>
                      <a:pt x="1131" y="876"/>
                    </a:lnTo>
                    <a:lnTo>
                      <a:pt x="1133" y="878"/>
                    </a:lnTo>
                    <a:lnTo>
                      <a:pt x="1131" y="881"/>
                    </a:lnTo>
                    <a:lnTo>
                      <a:pt x="1133" y="883"/>
                    </a:lnTo>
                    <a:lnTo>
                      <a:pt x="1135" y="881"/>
                    </a:lnTo>
                    <a:lnTo>
                      <a:pt x="1137" y="883"/>
                    </a:lnTo>
                    <a:lnTo>
                      <a:pt x="1135" y="886"/>
                    </a:lnTo>
                    <a:lnTo>
                      <a:pt x="1131" y="885"/>
                    </a:lnTo>
                    <a:lnTo>
                      <a:pt x="1131" y="886"/>
                    </a:lnTo>
                    <a:lnTo>
                      <a:pt x="1131" y="888"/>
                    </a:lnTo>
                    <a:lnTo>
                      <a:pt x="1135" y="890"/>
                    </a:lnTo>
                    <a:lnTo>
                      <a:pt x="1135" y="893"/>
                    </a:lnTo>
                    <a:lnTo>
                      <a:pt x="1133" y="893"/>
                    </a:lnTo>
                    <a:lnTo>
                      <a:pt x="1133" y="893"/>
                    </a:lnTo>
                    <a:lnTo>
                      <a:pt x="1133" y="893"/>
                    </a:lnTo>
                    <a:lnTo>
                      <a:pt x="1133" y="893"/>
                    </a:lnTo>
                    <a:close/>
                    <a:moveTo>
                      <a:pt x="848" y="808"/>
                    </a:moveTo>
                    <a:lnTo>
                      <a:pt x="848" y="808"/>
                    </a:lnTo>
                    <a:lnTo>
                      <a:pt x="852" y="808"/>
                    </a:lnTo>
                    <a:lnTo>
                      <a:pt x="852" y="806"/>
                    </a:lnTo>
                    <a:lnTo>
                      <a:pt x="853" y="806"/>
                    </a:lnTo>
                    <a:lnTo>
                      <a:pt x="853" y="806"/>
                    </a:lnTo>
                    <a:lnTo>
                      <a:pt x="857" y="808"/>
                    </a:lnTo>
                    <a:lnTo>
                      <a:pt x="859" y="808"/>
                    </a:lnTo>
                    <a:lnTo>
                      <a:pt x="860" y="806"/>
                    </a:lnTo>
                    <a:lnTo>
                      <a:pt x="862" y="806"/>
                    </a:lnTo>
                    <a:lnTo>
                      <a:pt x="864" y="808"/>
                    </a:lnTo>
                    <a:lnTo>
                      <a:pt x="864" y="808"/>
                    </a:lnTo>
                    <a:lnTo>
                      <a:pt x="862" y="812"/>
                    </a:lnTo>
                    <a:lnTo>
                      <a:pt x="862" y="815"/>
                    </a:lnTo>
                    <a:lnTo>
                      <a:pt x="860" y="819"/>
                    </a:lnTo>
                    <a:lnTo>
                      <a:pt x="860" y="824"/>
                    </a:lnTo>
                    <a:lnTo>
                      <a:pt x="860" y="824"/>
                    </a:lnTo>
                    <a:lnTo>
                      <a:pt x="864" y="824"/>
                    </a:lnTo>
                    <a:lnTo>
                      <a:pt x="864" y="824"/>
                    </a:lnTo>
                    <a:lnTo>
                      <a:pt x="867" y="826"/>
                    </a:lnTo>
                    <a:lnTo>
                      <a:pt x="869" y="824"/>
                    </a:lnTo>
                    <a:lnTo>
                      <a:pt x="871" y="824"/>
                    </a:lnTo>
                    <a:lnTo>
                      <a:pt x="871" y="822"/>
                    </a:lnTo>
                    <a:lnTo>
                      <a:pt x="874" y="820"/>
                    </a:lnTo>
                    <a:lnTo>
                      <a:pt x="876" y="820"/>
                    </a:lnTo>
                    <a:lnTo>
                      <a:pt x="879" y="819"/>
                    </a:lnTo>
                    <a:lnTo>
                      <a:pt x="879" y="815"/>
                    </a:lnTo>
                    <a:lnTo>
                      <a:pt x="883" y="812"/>
                    </a:lnTo>
                    <a:lnTo>
                      <a:pt x="885" y="812"/>
                    </a:lnTo>
                    <a:lnTo>
                      <a:pt x="886" y="808"/>
                    </a:lnTo>
                    <a:lnTo>
                      <a:pt x="888" y="812"/>
                    </a:lnTo>
                    <a:lnTo>
                      <a:pt x="890" y="808"/>
                    </a:lnTo>
                    <a:lnTo>
                      <a:pt x="892" y="808"/>
                    </a:lnTo>
                    <a:lnTo>
                      <a:pt x="893" y="808"/>
                    </a:lnTo>
                    <a:lnTo>
                      <a:pt x="893" y="803"/>
                    </a:lnTo>
                    <a:lnTo>
                      <a:pt x="893" y="801"/>
                    </a:lnTo>
                    <a:lnTo>
                      <a:pt x="897" y="798"/>
                    </a:lnTo>
                    <a:lnTo>
                      <a:pt x="897" y="796"/>
                    </a:lnTo>
                    <a:lnTo>
                      <a:pt x="900" y="796"/>
                    </a:lnTo>
                    <a:lnTo>
                      <a:pt x="902" y="798"/>
                    </a:lnTo>
                    <a:lnTo>
                      <a:pt x="906" y="796"/>
                    </a:lnTo>
                    <a:lnTo>
                      <a:pt x="906" y="794"/>
                    </a:lnTo>
                    <a:lnTo>
                      <a:pt x="907" y="796"/>
                    </a:lnTo>
                    <a:lnTo>
                      <a:pt x="907" y="799"/>
                    </a:lnTo>
                    <a:lnTo>
                      <a:pt x="906" y="801"/>
                    </a:lnTo>
                    <a:lnTo>
                      <a:pt x="906" y="803"/>
                    </a:lnTo>
                    <a:lnTo>
                      <a:pt x="907" y="803"/>
                    </a:lnTo>
                    <a:lnTo>
                      <a:pt x="911" y="803"/>
                    </a:lnTo>
                    <a:lnTo>
                      <a:pt x="914" y="803"/>
                    </a:lnTo>
                    <a:lnTo>
                      <a:pt x="914" y="808"/>
                    </a:lnTo>
                    <a:lnTo>
                      <a:pt x="913" y="812"/>
                    </a:lnTo>
                    <a:lnTo>
                      <a:pt x="911" y="812"/>
                    </a:lnTo>
                    <a:lnTo>
                      <a:pt x="911" y="815"/>
                    </a:lnTo>
                    <a:lnTo>
                      <a:pt x="913" y="815"/>
                    </a:lnTo>
                    <a:lnTo>
                      <a:pt x="914" y="815"/>
                    </a:lnTo>
                    <a:lnTo>
                      <a:pt x="916" y="815"/>
                    </a:lnTo>
                    <a:lnTo>
                      <a:pt x="916" y="815"/>
                    </a:lnTo>
                    <a:lnTo>
                      <a:pt x="919" y="815"/>
                    </a:lnTo>
                    <a:lnTo>
                      <a:pt x="921" y="817"/>
                    </a:lnTo>
                    <a:lnTo>
                      <a:pt x="925" y="817"/>
                    </a:lnTo>
                    <a:lnTo>
                      <a:pt x="925" y="819"/>
                    </a:lnTo>
                    <a:lnTo>
                      <a:pt x="928" y="819"/>
                    </a:lnTo>
                    <a:lnTo>
                      <a:pt x="930" y="822"/>
                    </a:lnTo>
                    <a:lnTo>
                      <a:pt x="932" y="820"/>
                    </a:lnTo>
                    <a:lnTo>
                      <a:pt x="933" y="817"/>
                    </a:lnTo>
                    <a:lnTo>
                      <a:pt x="937" y="817"/>
                    </a:lnTo>
                    <a:lnTo>
                      <a:pt x="939" y="815"/>
                    </a:lnTo>
                    <a:lnTo>
                      <a:pt x="942" y="815"/>
                    </a:lnTo>
                    <a:lnTo>
                      <a:pt x="942" y="812"/>
                    </a:lnTo>
                    <a:lnTo>
                      <a:pt x="940" y="812"/>
                    </a:lnTo>
                    <a:lnTo>
                      <a:pt x="939" y="808"/>
                    </a:lnTo>
                    <a:lnTo>
                      <a:pt x="940" y="808"/>
                    </a:lnTo>
                    <a:lnTo>
                      <a:pt x="942" y="806"/>
                    </a:lnTo>
                    <a:lnTo>
                      <a:pt x="940" y="806"/>
                    </a:lnTo>
                    <a:lnTo>
                      <a:pt x="939" y="803"/>
                    </a:lnTo>
                    <a:lnTo>
                      <a:pt x="937" y="803"/>
                    </a:lnTo>
                    <a:lnTo>
                      <a:pt x="937" y="806"/>
                    </a:lnTo>
                    <a:lnTo>
                      <a:pt x="935" y="806"/>
                    </a:lnTo>
                    <a:lnTo>
                      <a:pt x="935" y="806"/>
                    </a:lnTo>
                    <a:lnTo>
                      <a:pt x="932" y="803"/>
                    </a:lnTo>
                    <a:lnTo>
                      <a:pt x="932" y="803"/>
                    </a:lnTo>
                    <a:lnTo>
                      <a:pt x="930" y="803"/>
                    </a:lnTo>
                    <a:lnTo>
                      <a:pt x="928" y="803"/>
                    </a:lnTo>
                    <a:lnTo>
                      <a:pt x="921" y="803"/>
                    </a:lnTo>
                    <a:lnTo>
                      <a:pt x="921" y="803"/>
                    </a:lnTo>
                    <a:lnTo>
                      <a:pt x="925" y="801"/>
                    </a:lnTo>
                    <a:lnTo>
                      <a:pt x="925" y="801"/>
                    </a:lnTo>
                    <a:lnTo>
                      <a:pt x="928" y="799"/>
                    </a:lnTo>
                    <a:lnTo>
                      <a:pt x="928" y="798"/>
                    </a:lnTo>
                    <a:lnTo>
                      <a:pt x="928" y="796"/>
                    </a:lnTo>
                    <a:lnTo>
                      <a:pt x="928" y="793"/>
                    </a:lnTo>
                    <a:lnTo>
                      <a:pt x="928" y="791"/>
                    </a:lnTo>
                    <a:lnTo>
                      <a:pt x="928" y="787"/>
                    </a:lnTo>
                    <a:lnTo>
                      <a:pt x="928" y="786"/>
                    </a:lnTo>
                    <a:lnTo>
                      <a:pt x="928" y="784"/>
                    </a:lnTo>
                    <a:lnTo>
                      <a:pt x="921" y="780"/>
                    </a:lnTo>
                    <a:lnTo>
                      <a:pt x="916" y="779"/>
                    </a:lnTo>
                    <a:lnTo>
                      <a:pt x="916" y="775"/>
                    </a:lnTo>
                    <a:lnTo>
                      <a:pt x="916" y="773"/>
                    </a:lnTo>
                    <a:lnTo>
                      <a:pt x="914" y="773"/>
                    </a:lnTo>
                    <a:lnTo>
                      <a:pt x="913" y="770"/>
                    </a:lnTo>
                    <a:lnTo>
                      <a:pt x="914" y="766"/>
                    </a:lnTo>
                    <a:lnTo>
                      <a:pt x="913" y="763"/>
                    </a:lnTo>
                    <a:lnTo>
                      <a:pt x="907" y="763"/>
                    </a:lnTo>
                    <a:lnTo>
                      <a:pt x="902" y="761"/>
                    </a:lnTo>
                    <a:lnTo>
                      <a:pt x="900" y="758"/>
                    </a:lnTo>
                    <a:lnTo>
                      <a:pt x="902" y="756"/>
                    </a:lnTo>
                    <a:lnTo>
                      <a:pt x="902" y="756"/>
                    </a:lnTo>
                    <a:lnTo>
                      <a:pt x="899" y="753"/>
                    </a:lnTo>
                    <a:lnTo>
                      <a:pt x="899" y="751"/>
                    </a:lnTo>
                    <a:lnTo>
                      <a:pt x="897" y="751"/>
                    </a:lnTo>
                    <a:lnTo>
                      <a:pt x="893" y="753"/>
                    </a:lnTo>
                    <a:lnTo>
                      <a:pt x="893" y="756"/>
                    </a:lnTo>
                    <a:lnTo>
                      <a:pt x="893" y="758"/>
                    </a:lnTo>
                    <a:lnTo>
                      <a:pt x="892" y="756"/>
                    </a:lnTo>
                    <a:lnTo>
                      <a:pt x="892" y="753"/>
                    </a:lnTo>
                    <a:lnTo>
                      <a:pt x="890" y="751"/>
                    </a:lnTo>
                    <a:lnTo>
                      <a:pt x="892" y="749"/>
                    </a:lnTo>
                    <a:lnTo>
                      <a:pt x="893" y="749"/>
                    </a:lnTo>
                    <a:lnTo>
                      <a:pt x="893" y="749"/>
                    </a:lnTo>
                    <a:lnTo>
                      <a:pt x="893" y="746"/>
                    </a:lnTo>
                    <a:lnTo>
                      <a:pt x="893" y="744"/>
                    </a:lnTo>
                    <a:lnTo>
                      <a:pt x="893" y="740"/>
                    </a:lnTo>
                    <a:lnTo>
                      <a:pt x="892" y="740"/>
                    </a:lnTo>
                    <a:lnTo>
                      <a:pt x="892" y="739"/>
                    </a:lnTo>
                    <a:lnTo>
                      <a:pt x="893" y="735"/>
                    </a:lnTo>
                    <a:lnTo>
                      <a:pt x="892" y="735"/>
                    </a:lnTo>
                    <a:lnTo>
                      <a:pt x="885" y="737"/>
                    </a:lnTo>
                    <a:lnTo>
                      <a:pt x="881" y="740"/>
                    </a:lnTo>
                    <a:lnTo>
                      <a:pt x="879" y="747"/>
                    </a:lnTo>
                    <a:lnTo>
                      <a:pt x="876" y="753"/>
                    </a:lnTo>
                    <a:lnTo>
                      <a:pt x="876" y="753"/>
                    </a:lnTo>
                    <a:lnTo>
                      <a:pt x="874" y="756"/>
                    </a:lnTo>
                    <a:lnTo>
                      <a:pt x="874" y="758"/>
                    </a:lnTo>
                    <a:lnTo>
                      <a:pt x="871" y="765"/>
                    </a:lnTo>
                    <a:lnTo>
                      <a:pt x="871" y="766"/>
                    </a:lnTo>
                    <a:lnTo>
                      <a:pt x="871" y="768"/>
                    </a:lnTo>
                    <a:lnTo>
                      <a:pt x="869" y="772"/>
                    </a:lnTo>
                    <a:lnTo>
                      <a:pt x="869" y="773"/>
                    </a:lnTo>
                    <a:lnTo>
                      <a:pt x="864" y="779"/>
                    </a:lnTo>
                    <a:lnTo>
                      <a:pt x="864" y="780"/>
                    </a:lnTo>
                    <a:lnTo>
                      <a:pt x="864" y="784"/>
                    </a:lnTo>
                    <a:lnTo>
                      <a:pt x="862" y="786"/>
                    </a:lnTo>
                    <a:lnTo>
                      <a:pt x="862" y="791"/>
                    </a:lnTo>
                    <a:lnTo>
                      <a:pt x="860" y="794"/>
                    </a:lnTo>
                    <a:lnTo>
                      <a:pt x="855" y="794"/>
                    </a:lnTo>
                    <a:lnTo>
                      <a:pt x="852" y="796"/>
                    </a:lnTo>
                    <a:lnTo>
                      <a:pt x="852" y="799"/>
                    </a:lnTo>
                    <a:lnTo>
                      <a:pt x="848" y="806"/>
                    </a:lnTo>
                    <a:lnTo>
                      <a:pt x="848" y="808"/>
                    </a:lnTo>
                    <a:lnTo>
                      <a:pt x="848" y="808"/>
                    </a:lnTo>
                    <a:lnTo>
                      <a:pt x="848" y="808"/>
                    </a:lnTo>
                    <a:lnTo>
                      <a:pt x="848" y="808"/>
                    </a:lnTo>
                    <a:close/>
                    <a:moveTo>
                      <a:pt x="876" y="859"/>
                    </a:moveTo>
                    <a:lnTo>
                      <a:pt x="876" y="859"/>
                    </a:lnTo>
                    <a:lnTo>
                      <a:pt x="878" y="860"/>
                    </a:lnTo>
                    <a:lnTo>
                      <a:pt x="878" y="859"/>
                    </a:lnTo>
                    <a:lnTo>
                      <a:pt x="881" y="855"/>
                    </a:lnTo>
                    <a:lnTo>
                      <a:pt x="885" y="855"/>
                    </a:lnTo>
                    <a:lnTo>
                      <a:pt x="886" y="855"/>
                    </a:lnTo>
                    <a:lnTo>
                      <a:pt x="886" y="857"/>
                    </a:lnTo>
                    <a:lnTo>
                      <a:pt x="888" y="857"/>
                    </a:lnTo>
                    <a:lnTo>
                      <a:pt x="893" y="853"/>
                    </a:lnTo>
                    <a:lnTo>
                      <a:pt x="897" y="853"/>
                    </a:lnTo>
                    <a:lnTo>
                      <a:pt x="899" y="850"/>
                    </a:lnTo>
                    <a:lnTo>
                      <a:pt x="900" y="846"/>
                    </a:lnTo>
                    <a:lnTo>
                      <a:pt x="906" y="846"/>
                    </a:lnTo>
                    <a:lnTo>
                      <a:pt x="907" y="843"/>
                    </a:lnTo>
                    <a:lnTo>
                      <a:pt x="907" y="843"/>
                    </a:lnTo>
                    <a:lnTo>
                      <a:pt x="911" y="839"/>
                    </a:lnTo>
                    <a:lnTo>
                      <a:pt x="909" y="838"/>
                    </a:lnTo>
                    <a:lnTo>
                      <a:pt x="907" y="838"/>
                    </a:lnTo>
                    <a:lnTo>
                      <a:pt x="906" y="838"/>
                    </a:lnTo>
                    <a:lnTo>
                      <a:pt x="902" y="838"/>
                    </a:lnTo>
                    <a:lnTo>
                      <a:pt x="900" y="838"/>
                    </a:lnTo>
                    <a:lnTo>
                      <a:pt x="899" y="838"/>
                    </a:lnTo>
                    <a:lnTo>
                      <a:pt x="897" y="838"/>
                    </a:lnTo>
                    <a:lnTo>
                      <a:pt x="893" y="839"/>
                    </a:lnTo>
                    <a:lnTo>
                      <a:pt x="893" y="839"/>
                    </a:lnTo>
                    <a:lnTo>
                      <a:pt x="892" y="834"/>
                    </a:lnTo>
                    <a:lnTo>
                      <a:pt x="890" y="834"/>
                    </a:lnTo>
                    <a:lnTo>
                      <a:pt x="888" y="838"/>
                    </a:lnTo>
                    <a:lnTo>
                      <a:pt x="883" y="843"/>
                    </a:lnTo>
                    <a:lnTo>
                      <a:pt x="883" y="843"/>
                    </a:lnTo>
                    <a:lnTo>
                      <a:pt x="881" y="845"/>
                    </a:lnTo>
                    <a:lnTo>
                      <a:pt x="876" y="846"/>
                    </a:lnTo>
                    <a:lnTo>
                      <a:pt x="874" y="848"/>
                    </a:lnTo>
                    <a:lnTo>
                      <a:pt x="876" y="850"/>
                    </a:lnTo>
                    <a:lnTo>
                      <a:pt x="878" y="853"/>
                    </a:lnTo>
                    <a:lnTo>
                      <a:pt x="876" y="855"/>
                    </a:lnTo>
                    <a:lnTo>
                      <a:pt x="876" y="859"/>
                    </a:lnTo>
                    <a:lnTo>
                      <a:pt x="876" y="859"/>
                    </a:lnTo>
                    <a:lnTo>
                      <a:pt x="876" y="859"/>
                    </a:lnTo>
                    <a:lnTo>
                      <a:pt x="876" y="859"/>
                    </a:lnTo>
                    <a:close/>
                    <a:moveTo>
                      <a:pt x="1151" y="881"/>
                    </a:moveTo>
                    <a:lnTo>
                      <a:pt x="1151" y="881"/>
                    </a:lnTo>
                    <a:lnTo>
                      <a:pt x="1156" y="881"/>
                    </a:lnTo>
                    <a:lnTo>
                      <a:pt x="1158" y="885"/>
                    </a:lnTo>
                    <a:lnTo>
                      <a:pt x="1159" y="883"/>
                    </a:lnTo>
                    <a:lnTo>
                      <a:pt x="1159" y="881"/>
                    </a:lnTo>
                    <a:lnTo>
                      <a:pt x="1161" y="879"/>
                    </a:lnTo>
                    <a:lnTo>
                      <a:pt x="1161" y="878"/>
                    </a:lnTo>
                    <a:lnTo>
                      <a:pt x="1159" y="878"/>
                    </a:lnTo>
                    <a:lnTo>
                      <a:pt x="1156" y="878"/>
                    </a:lnTo>
                    <a:lnTo>
                      <a:pt x="1152" y="879"/>
                    </a:lnTo>
                    <a:lnTo>
                      <a:pt x="1151" y="881"/>
                    </a:lnTo>
                    <a:lnTo>
                      <a:pt x="1151" y="881"/>
                    </a:lnTo>
                    <a:lnTo>
                      <a:pt x="1151" y="881"/>
                    </a:lnTo>
                    <a:lnTo>
                      <a:pt x="1151" y="881"/>
                    </a:lnTo>
                    <a:close/>
                    <a:moveTo>
                      <a:pt x="1065" y="859"/>
                    </a:moveTo>
                    <a:lnTo>
                      <a:pt x="1067" y="859"/>
                    </a:lnTo>
                    <a:lnTo>
                      <a:pt x="1071" y="860"/>
                    </a:lnTo>
                    <a:lnTo>
                      <a:pt x="1071" y="862"/>
                    </a:lnTo>
                    <a:lnTo>
                      <a:pt x="1071" y="862"/>
                    </a:lnTo>
                    <a:lnTo>
                      <a:pt x="1071" y="866"/>
                    </a:lnTo>
                    <a:lnTo>
                      <a:pt x="1074" y="866"/>
                    </a:lnTo>
                    <a:lnTo>
                      <a:pt x="1074" y="866"/>
                    </a:lnTo>
                    <a:lnTo>
                      <a:pt x="1078" y="866"/>
                    </a:lnTo>
                    <a:lnTo>
                      <a:pt x="1078" y="866"/>
                    </a:lnTo>
                    <a:lnTo>
                      <a:pt x="1078" y="866"/>
                    </a:lnTo>
                    <a:lnTo>
                      <a:pt x="1078" y="862"/>
                    </a:lnTo>
                    <a:lnTo>
                      <a:pt x="1074" y="862"/>
                    </a:lnTo>
                    <a:lnTo>
                      <a:pt x="1074" y="860"/>
                    </a:lnTo>
                    <a:lnTo>
                      <a:pt x="1071" y="860"/>
                    </a:lnTo>
                    <a:lnTo>
                      <a:pt x="1069" y="859"/>
                    </a:lnTo>
                    <a:lnTo>
                      <a:pt x="1067" y="859"/>
                    </a:lnTo>
                    <a:lnTo>
                      <a:pt x="1065" y="859"/>
                    </a:lnTo>
                    <a:lnTo>
                      <a:pt x="1065" y="859"/>
                    </a:lnTo>
                    <a:lnTo>
                      <a:pt x="1065" y="859"/>
                    </a:lnTo>
                    <a:lnTo>
                      <a:pt x="1065" y="859"/>
                    </a:lnTo>
                    <a:close/>
                    <a:moveTo>
                      <a:pt x="1147" y="902"/>
                    </a:moveTo>
                    <a:lnTo>
                      <a:pt x="1145" y="902"/>
                    </a:lnTo>
                    <a:lnTo>
                      <a:pt x="1145" y="899"/>
                    </a:lnTo>
                    <a:lnTo>
                      <a:pt x="1144" y="897"/>
                    </a:lnTo>
                    <a:lnTo>
                      <a:pt x="1144" y="897"/>
                    </a:lnTo>
                    <a:lnTo>
                      <a:pt x="1145" y="893"/>
                    </a:lnTo>
                    <a:lnTo>
                      <a:pt x="1147" y="897"/>
                    </a:lnTo>
                    <a:lnTo>
                      <a:pt x="1147" y="897"/>
                    </a:lnTo>
                    <a:lnTo>
                      <a:pt x="1147" y="899"/>
                    </a:lnTo>
                    <a:lnTo>
                      <a:pt x="1147" y="902"/>
                    </a:lnTo>
                    <a:lnTo>
                      <a:pt x="1147" y="902"/>
                    </a:lnTo>
                    <a:lnTo>
                      <a:pt x="1147" y="902"/>
                    </a:lnTo>
                    <a:lnTo>
                      <a:pt x="1147" y="902"/>
                    </a:lnTo>
                    <a:lnTo>
                      <a:pt x="1147" y="902"/>
                    </a:lnTo>
                    <a:close/>
                    <a:moveTo>
                      <a:pt x="1145" y="913"/>
                    </a:moveTo>
                    <a:lnTo>
                      <a:pt x="1144" y="913"/>
                    </a:lnTo>
                    <a:lnTo>
                      <a:pt x="1144" y="911"/>
                    </a:lnTo>
                    <a:lnTo>
                      <a:pt x="1142" y="909"/>
                    </a:lnTo>
                    <a:lnTo>
                      <a:pt x="1140" y="909"/>
                    </a:lnTo>
                    <a:lnTo>
                      <a:pt x="1138" y="906"/>
                    </a:lnTo>
                    <a:lnTo>
                      <a:pt x="1138" y="904"/>
                    </a:lnTo>
                    <a:lnTo>
                      <a:pt x="1140" y="904"/>
                    </a:lnTo>
                    <a:lnTo>
                      <a:pt x="1142" y="902"/>
                    </a:lnTo>
                    <a:lnTo>
                      <a:pt x="1147" y="904"/>
                    </a:lnTo>
                    <a:lnTo>
                      <a:pt x="1151" y="906"/>
                    </a:lnTo>
                    <a:lnTo>
                      <a:pt x="1151" y="907"/>
                    </a:lnTo>
                    <a:lnTo>
                      <a:pt x="1147" y="909"/>
                    </a:lnTo>
                    <a:lnTo>
                      <a:pt x="1147" y="911"/>
                    </a:lnTo>
                    <a:lnTo>
                      <a:pt x="1147" y="911"/>
                    </a:lnTo>
                    <a:lnTo>
                      <a:pt x="1145" y="913"/>
                    </a:lnTo>
                    <a:lnTo>
                      <a:pt x="1145" y="913"/>
                    </a:lnTo>
                    <a:lnTo>
                      <a:pt x="1145" y="913"/>
                    </a:lnTo>
                    <a:lnTo>
                      <a:pt x="1145" y="913"/>
                    </a:lnTo>
                    <a:lnTo>
                      <a:pt x="1145" y="913"/>
                    </a:lnTo>
                    <a:close/>
                    <a:moveTo>
                      <a:pt x="1060" y="965"/>
                    </a:moveTo>
                    <a:lnTo>
                      <a:pt x="1060" y="966"/>
                    </a:lnTo>
                    <a:lnTo>
                      <a:pt x="1060" y="966"/>
                    </a:lnTo>
                    <a:lnTo>
                      <a:pt x="1060" y="965"/>
                    </a:lnTo>
                    <a:lnTo>
                      <a:pt x="1060" y="965"/>
                    </a:lnTo>
                    <a:lnTo>
                      <a:pt x="1060" y="965"/>
                    </a:lnTo>
                    <a:lnTo>
                      <a:pt x="1060" y="965"/>
                    </a:lnTo>
                    <a:close/>
                    <a:moveTo>
                      <a:pt x="1062" y="965"/>
                    </a:moveTo>
                    <a:lnTo>
                      <a:pt x="1062" y="968"/>
                    </a:lnTo>
                    <a:lnTo>
                      <a:pt x="1062" y="968"/>
                    </a:lnTo>
                    <a:lnTo>
                      <a:pt x="1062" y="965"/>
                    </a:lnTo>
                    <a:lnTo>
                      <a:pt x="1062" y="965"/>
                    </a:lnTo>
                    <a:lnTo>
                      <a:pt x="1062" y="965"/>
                    </a:lnTo>
                    <a:lnTo>
                      <a:pt x="1062" y="965"/>
                    </a:lnTo>
                    <a:close/>
                    <a:moveTo>
                      <a:pt x="1064" y="965"/>
                    </a:moveTo>
                    <a:lnTo>
                      <a:pt x="1064" y="966"/>
                    </a:lnTo>
                    <a:lnTo>
                      <a:pt x="1064" y="970"/>
                    </a:lnTo>
                    <a:lnTo>
                      <a:pt x="1064" y="972"/>
                    </a:lnTo>
                    <a:lnTo>
                      <a:pt x="1065" y="972"/>
                    </a:lnTo>
                    <a:lnTo>
                      <a:pt x="1065" y="968"/>
                    </a:lnTo>
                    <a:lnTo>
                      <a:pt x="1064" y="965"/>
                    </a:lnTo>
                    <a:lnTo>
                      <a:pt x="1064" y="965"/>
                    </a:lnTo>
                    <a:lnTo>
                      <a:pt x="1064" y="965"/>
                    </a:lnTo>
                    <a:lnTo>
                      <a:pt x="1064" y="965"/>
                    </a:lnTo>
                    <a:close/>
                    <a:moveTo>
                      <a:pt x="1086" y="940"/>
                    </a:moveTo>
                    <a:lnTo>
                      <a:pt x="1086" y="937"/>
                    </a:lnTo>
                    <a:lnTo>
                      <a:pt x="1086" y="935"/>
                    </a:lnTo>
                    <a:lnTo>
                      <a:pt x="1088" y="933"/>
                    </a:lnTo>
                    <a:lnTo>
                      <a:pt x="1088" y="932"/>
                    </a:lnTo>
                    <a:lnTo>
                      <a:pt x="1093" y="928"/>
                    </a:lnTo>
                    <a:lnTo>
                      <a:pt x="1097" y="928"/>
                    </a:lnTo>
                    <a:lnTo>
                      <a:pt x="1097" y="928"/>
                    </a:lnTo>
                    <a:lnTo>
                      <a:pt x="1097" y="930"/>
                    </a:lnTo>
                    <a:lnTo>
                      <a:pt x="1097" y="932"/>
                    </a:lnTo>
                    <a:lnTo>
                      <a:pt x="1097" y="933"/>
                    </a:lnTo>
                    <a:lnTo>
                      <a:pt x="1093" y="935"/>
                    </a:lnTo>
                    <a:lnTo>
                      <a:pt x="1093" y="937"/>
                    </a:lnTo>
                    <a:lnTo>
                      <a:pt x="1091" y="937"/>
                    </a:lnTo>
                    <a:lnTo>
                      <a:pt x="1088" y="940"/>
                    </a:lnTo>
                    <a:lnTo>
                      <a:pt x="1086" y="940"/>
                    </a:lnTo>
                    <a:lnTo>
                      <a:pt x="1086" y="940"/>
                    </a:lnTo>
                    <a:lnTo>
                      <a:pt x="1086" y="940"/>
                    </a:lnTo>
                    <a:lnTo>
                      <a:pt x="1086" y="940"/>
                    </a:lnTo>
                    <a:close/>
                    <a:moveTo>
                      <a:pt x="1012" y="855"/>
                    </a:moveTo>
                    <a:lnTo>
                      <a:pt x="1015" y="857"/>
                    </a:lnTo>
                    <a:lnTo>
                      <a:pt x="1017" y="859"/>
                    </a:lnTo>
                    <a:lnTo>
                      <a:pt x="1020" y="860"/>
                    </a:lnTo>
                    <a:lnTo>
                      <a:pt x="1024" y="860"/>
                    </a:lnTo>
                    <a:lnTo>
                      <a:pt x="1020" y="860"/>
                    </a:lnTo>
                    <a:lnTo>
                      <a:pt x="1020" y="859"/>
                    </a:lnTo>
                    <a:lnTo>
                      <a:pt x="1015" y="855"/>
                    </a:lnTo>
                    <a:lnTo>
                      <a:pt x="1013" y="855"/>
                    </a:lnTo>
                    <a:lnTo>
                      <a:pt x="1012" y="855"/>
                    </a:lnTo>
                    <a:lnTo>
                      <a:pt x="1012" y="855"/>
                    </a:lnTo>
                    <a:lnTo>
                      <a:pt x="1012" y="855"/>
                    </a:lnTo>
                    <a:lnTo>
                      <a:pt x="1012" y="855"/>
                    </a:lnTo>
                    <a:close/>
                    <a:moveTo>
                      <a:pt x="987" y="833"/>
                    </a:moveTo>
                    <a:lnTo>
                      <a:pt x="987" y="833"/>
                    </a:lnTo>
                    <a:lnTo>
                      <a:pt x="989" y="833"/>
                    </a:lnTo>
                    <a:lnTo>
                      <a:pt x="991" y="834"/>
                    </a:lnTo>
                    <a:lnTo>
                      <a:pt x="992" y="833"/>
                    </a:lnTo>
                    <a:lnTo>
                      <a:pt x="992" y="833"/>
                    </a:lnTo>
                    <a:lnTo>
                      <a:pt x="994" y="833"/>
                    </a:lnTo>
                    <a:lnTo>
                      <a:pt x="994" y="831"/>
                    </a:lnTo>
                    <a:lnTo>
                      <a:pt x="992" y="829"/>
                    </a:lnTo>
                    <a:lnTo>
                      <a:pt x="994" y="827"/>
                    </a:lnTo>
                    <a:lnTo>
                      <a:pt x="994" y="827"/>
                    </a:lnTo>
                    <a:lnTo>
                      <a:pt x="991" y="824"/>
                    </a:lnTo>
                    <a:lnTo>
                      <a:pt x="989" y="824"/>
                    </a:lnTo>
                    <a:lnTo>
                      <a:pt x="987" y="822"/>
                    </a:lnTo>
                    <a:lnTo>
                      <a:pt x="987" y="822"/>
                    </a:lnTo>
                    <a:lnTo>
                      <a:pt x="985" y="822"/>
                    </a:lnTo>
                    <a:lnTo>
                      <a:pt x="984" y="820"/>
                    </a:lnTo>
                    <a:lnTo>
                      <a:pt x="982" y="822"/>
                    </a:lnTo>
                    <a:lnTo>
                      <a:pt x="980" y="822"/>
                    </a:lnTo>
                    <a:lnTo>
                      <a:pt x="982" y="826"/>
                    </a:lnTo>
                    <a:lnTo>
                      <a:pt x="982" y="826"/>
                    </a:lnTo>
                    <a:lnTo>
                      <a:pt x="984" y="826"/>
                    </a:lnTo>
                    <a:lnTo>
                      <a:pt x="985" y="827"/>
                    </a:lnTo>
                    <a:lnTo>
                      <a:pt x="987" y="829"/>
                    </a:lnTo>
                    <a:lnTo>
                      <a:pt x="987" y="833"/>
                    </a:lnTo>
                    <a:lnTo>
                      <a:pt x="987" y="833"/>
                    </a:lnTo>
                    <a:lnTo>
                      <a:pt x="987" y="833"/>
                    </a:lnTo>
                    <a:lnTo>
                      <a:pt x="987" y="833"/>
                    </a:lnTo>
                    <a:close/>
                    <a:moveTo>
                      <a:pt x="970" y="839"/>
                    </a:moveTo>
                    <a:lnTo>
                      <a:pt x="973" y="839"/>
                    </a:lnTo>
                    <a:lnTo>
                      <a:pt x="975" y="839"/>
                    </a:lnTo>
                    <a:lnTo>
                      <a:pt x="975" y="839"/>
                    </a:lnTo>
                    <a:lnTo>
                      <a:pt x="979" y="838"/>
                    </a:lnTo>
                    <a:lnTo>
                      <a:pt x="979" y="834"/>
                    </a:lnTo>
                    <a:lnTo>
                      <a:pt x="979" y="834"/>
                    </a:lnTo>
                    <a:lnTo>
                      <a:pt x="979" y="831"/>
                    </a:lnTo>
                    <a:lnTo>
                      <a:pt x="975" y="829"/>
                    </a:lnTo>
                    <a:lnTo>
                      <a:pt x="970" y="829"/>
                    </a:lnTo>
                    <a:lnTo>
                      <a:pt x="970" y="827"/>
                    </a:lnTo>
                    <a:lnTo>
                      <a:pt x="968" y="826"/>
                    </a:lnTo>
                    <a:lnTo>
                      <a:pt x="966" y="826"/>
                    </a:lnTo>
                    <a:lnTo>
                      <a:pt x="965" y="826"/>
                    </a:lnTo>
                    <a:lnTo>
                      <a:pt x="963" y="826"/>
                    </a:lnTo>
                    <a:lnTo>
                      <a:pt x="961" y="827"/>
                    </a:lnTo>
                    <a:lnTo>
                      <a:pt x="963" y="831"/>
                    </a:lnTo>
                    <a:lnTo>
                      <a:pt x="965" y="833"/>
                    </a:lnTo>
                    <a:lnTo>
                      <a:pt x="966" y="834"/>
                    </a:lnTo>
                    <a:lnTo>
                      <a:pt x="968" y="838"/>
                    </a:lnTo>
                    <a:lnTo>
                      <a:pt x="968" y="839"/>
                    </a:lnTo>
                    <a:lnTo>
                      <a:pt x="970" y="839"/>
                    </a:lnTo>
                    <a:lnTo>
                      <a:pt x="970" y="839"/>
                    </a:lnTo>
                    <a:lnTo>
                      <a:pt x="970" y="839"/>
                    </a:lnTo>
                    <a:lnTo>
                      <a:pt x="970" y="839"/>
                    </a:lnTo>
                    <a:close/>
                    <a:moveTo>
                      <a:pt x="966" y="855"/>
                    </a:moveTo>
                    <a:lnTo>
                      <a:pt x="966" y="855"/>
                    </a:lnTo>
                    <a:lnTo>
                      <a:pt x="968" y="853"/>
                    </a:lnTo>
                    <a:lnTo>
                      <a:pt x="963" y="853"/>
                    </a:lnTo>
                    <a:lnTo>
                      <a:pt x="963" y="853"/>
                    </a:lnTo>
                    <a:lnTo>
                      <a:pt x="963" y="855"/>
                    </a:lnTo>
                    <a:lnTo>
                      <a:pt x="966" y="855"/>
                    </a:lnTo>
                    <a:lnTo>
                      <a:pt x="966" y="855"/>
                    </a:lnTo>
                    <a:lnTo>
                      <a:pt x="966" y="855"/>
                    </a:lnTo>
                    <a:lnTo>
                      <a:pt x="966" y="855"/>
                    </a:lnTo>
                    <a:close/>
                    <a:moveTo>
                      <a:pt x="928" y="881"/>
                    </a:moveTo>
                    <a:lnTo>
                      <a:pt x="928" y="881"/>
                    </a:lnTo>
                    <a:lnTo>
                      <a:pt x="930" y="879"/>
                    </a:lnTo>
                    <a:lnTo>
                      <a:pt x="930" y="878"/>
                    </a:lnTo>
                    <a:lnTo>
                      <a:pt x="932" y="876"/>
                    </a:lnTo>
                    <a:lnTo>
                      <a:pt x="932" y="876"/>
                    </a:lnTo>
                    <a:lnTo>
                      <a:pt x="932" y="874"/>
                    </a:lnTo>
                    <a:lnTo>
                      <a:pt x="932" y="873"/>
                    </a:lnTo>
                    <a:lnTo>
                      <a:pt x="935" y="871"/>
                    </a:lnTo>
                    <a:lnTo>
                      <a:pt x="937" y="867"/>
                    </a:lnTo>
                    <a:lnTo>
                      <a:pt x="939" y="867"/>
                    </a:lnTo>
                    <a:lnTo>
                      <a:pt x="940" y="866"/>
                    </a:lnTo>
                    <a:lnTo>
                      <a:pt x="939" y="866"/>
                    </a:lnTo>
                    <a:lnTo>
                      <a:pt x="939" y="862"/>
                    </a:lnTo>
                    <a:lnTo>
                      <a:pt x="940" y="862"/>
                    </a:lnTo>
                    <a:lnTo>
                      <a:pt x="942" y="860"/>
                    </a:lnTo>
                    <a:lnTo>
                      <a:pt x="942" y="859"/>
                    </a:lnTo>
                    <a:lnTo>
                      <a:pt x="942" y="857"/>
                    </a:lnTo>
                    <a:lnTo>
                      <a:pt x="940" y="855"/>
                    </a:lnTo>
                    <a:lnTo>
                      <a:pt x="939" y="855"/>
                    </a:lnTo>
                    <a:lnTo>
                      <a:pt x="937" y="855"/>
                    </a:lnTo>
                    <a:lnTo>
                      <a:pt x="935" y="853"/>
                    </a:lnTo>
                    <a:lnTo>
                      <a:pt x="933" y="853"/>
                    </a:lnTo>
                    <a:lnTo>
                      <a:pt x="933" y="855"/>
                    </a:lnTo>
                    <a:lnTo>
                      <a:pt x="930" y="859"/>
                    </a:lnTo>
                    <a:lnTo>
                      <a:pt x="928" y="859"/>
                    </a:lnTo>
                    <a:lnTo>
                      <a:pt x="928" y="860"/>
                    </a:lnTo>
                    <a:lnTo>
                      <a:pt x="925" y="862"/>
                    </a:lnTo>
                    <a:lnTo>
                      <a:pt x="928" y="866"/>
                    </a:lnTo>
                    <a:lnTo>
                      <a:pt x="925" y="866"/>
                    </a:lnTo>
                    <a:lnTo>
                      <a:pt x="925" y="871"/>
                    </a:lnTo>
                    <a:lnTo>
                      <a:pt x="925" y="871"/>
                    </a:lnTo>
                    <a:lnTo>
                      <a:pt x="921" y="874"/>
                    </a:lnTo>
                    <a:lnTo>
                      <a:pt x="925" y="874"/>
                    </a:lnTo>
                    <a:lnTo>
                      <a:pt x="925" y="876"/>
                    </a:lnTo>
                    <a:lnTo>
                      <a:pt x="928" y="878"/>
                    </a:lnTo>
                    <a:lnTo>
                      <a:pt x="928" y="878"/>
                    </a:lnTo>
                    <a:lnTo>
                      <a:pt x="928" y="881"/>
                    </a:lnTo>
                    <a:lnTo>
                      <a:pt x="928" y="881"/>
                    </a:lnTo>
                    <a:lnTo>
                      <a:pt x="928" y="881"/>
                    </a:lnTo>
                    <a:lnTo>
                      <a:pt x="928" y="881"/>
                    </a:lnTo>
                    <a:close/>
                    <a:moveTo>
                      <a:pt x="893" y="1026"/>
                    </a:moveTo>
                    <a:lnTo>
                      <a:pt x="893" y="1026"/>
                    </a:lnTo>
                    <a:lnTo>
                      <a:pt x="897" y="1026"/>
                    </a:lnTo>
                    <a:lnTo>
                      <a:pt x="897" y="1024"/>
                    </a:lnTo>
                    <a:lnTo>
                      <a:pt x="893" y="1026"/>
                    </a:lnTo>
                    <a:lnTo>
                      <a:pt x="893" y="1026"/>
                    </a:lnTo>
                    <a:lnTo>
                      <a:pt x="893" y="1026"/>
                    </a:lnTo>
                    <a:lnTo>
                      <a:pt x="893" y="1026"/>
                    </a:lnTo>
                    <a:close/>
                    <a:moveTo>
                      <a:pt x="897" y="1039"/>
                    </a:moveTo>
                    <a:lnTo>
                      <a:pt x="899" y="1036"/>
                    </a:lnTo>
                    <a:lnTo>
                      <a:pt x="899" y="1034"/>
                    </a:lnTo>
                    <a:lnTo>
                      <a:pt x="900" y="1034"/>
                    </a:lnTo>
                    <a:lnTo>
                      <a:pt x="900" y="1036"/>
                    </a:lnTo>
                    <a:lnTo>
                      <a:pt x="897" y="1039"/>
                    </a:lnTo>
                    <a:lnTo>
                      <a:pt x="897" y="1039"/>
                    </a:lnTo>
                    <a:lnTo>
                      <a:pt x="897" y="1039"/>
                    </a:lnTo>
                    <a:lnTo>
                      <a:pt x="897" y="1039"/>
                    </a:lnTo>
                    <a:lnTo>
                      <a:pt x="897" y="1039"/>
                    </a:lnTo>
                    <a:lnTo>
                      <a:pt x="897" y="1039"/>
                    </a:lnTo>
                    <a:close/>
                    <a:moveTo>
                      <a:pt x="876" y="1034"/>
                    </a:moveTo>
                    <a:lnTo>
                      <a:pt x="878" y="1031"/>
                    </a:lnTo>
                    <a:lnTo>
                      <a:pt x="879" y="1031"/>
                    </a:lnTo>
                    <a:lnTo>
                      <a:pt x="881" y="1031"/>
                    </a:lnTo>
                    <a:lnTo>
                      <a:pt x="883" y="1031"/>
                    </a:lnTo>
                    <a:lnTo>
                      <a:pt x="885" y="1029"/>
                    </a:lnTo>
                    <a:lnTo>
                      <a:pt x="886" y="1027"/>
                    </a:lnTo>
                    <a:lnTo>
                      <a:pt x="885" y="1031"/>
                    </a:lnTo>
                    <a:lnTo>
                      <a:pt x="879" y="1034"/>
                    </a:lnTo>
                    <a:lnTo>
                      <a:pt x="876" y="1034"/>
                    </a:lnTo>
                    <a:lnTo>
                      <a:pt x="876" y="1034"/>
                    </a:lnTo>
                    <a:lnTo>
                      <a:pt x="876" y="1034"/>
                    </a:lnTo>
                    <a:lnTo>
                      <a:pt x="876" y="1034"/>
                    </a:lnTo>
                    <a:lnTo>
                      <a:pt x="876" y="1034"/>
                    </a:lnTo>
                    <a:close/>
                    <a:moveTo>
                      <a:pt x="890" y="1041"/>
                    </a:moveTo>
                    <a:lnTo>
                      <a:pt x="893" y="1034"/>
                    </a:lnTo>
                    <a:lnTo>
                      <a:pt x="893" y="1034"/>
                    </a:lnTo>
                    <a:lnTo>
                      <a:pt x="897" y="1034"/>
                    </a:lnTo>
                    <a:lnTo>
                      <a:pt x="897" y="1034"/>
                    </a:lnTo>
                    <a:lnTo>
                      <a:pt x="892" y="1039"/>
                    </a:lnTo>
                    <a:lnTo>
                      <a:pt x="892" y="1043"/>
                    </a:lnTo>
                    <a:lnTo>
                      <a:pt x="893" y="1041"/>
                    </a:lnTo>
                    <a:lnTo>
                      <a:pt x="897" y="1036"/>
                    </a:lnTo>
                    <a:lnTo>
                      <a:pt x="897" y="1034"/>
                    </a:lnTo>
                    <a:lnTo>
                      <a:pt x="897" y="1031"/>
                    </a:lnTo>
                    <a:lnTo>
                      <a:pt x="897" y="1031"/>
                    </a:lnTo>
                    <a:lnTo>
                      <a:pt x="897" y="1031"/>
                    </a:lnTo>
                    <a:lnTo>
                      <a:pt x="897" y="1029"/>
                    </a:lnTo>
                    <a:lnTo>
                      <a:pt x="893" y="1027"/>
                    </a:lnTo>
                    <a:lnTo>
                      <a:pt x="893" y="1029"/>
                    </a:lnTo>
                    <a:lnTo>
                      <a:pt x="892" y="1034"/>
                    </a:lnTo>
                    <a:lnTo>
                      <a:pt x="888" y="1034"/>
                    </a:lnTo>
                    <a:lnTo>
                      <a:pt x="886" y="1036"/>
                    </a:lnTo>
                    <a:lnTo>
                      <a:pt x="886" y="1034"/>
                    </a:lnTo>
                    <a:lnTo>
                      <a:pt x="890" y="1031"/>
                    </a:lnTo>
                    <a:lnTo>
                      <a:pt x="890" y="1029"/>
                    </a:lnTo>
                    <a:lnTo>
                      <a:pt x="890" y="1029"/>
                    </a:lnTo>
                    <a:lnTo>
                      <a:pt x="888" y="1031"/>
                    </a:lnTo>
                    <a:lnTo>
                      <a:pt x="885" y="1034"/>
                    </a:lnTo>
                    <a:lnTo>
                      <a:pt x="881" y="1039"/>
                    </a:lnTo>
                    <a:lnTo>
                      <a:pt x="881" y="1039"/>
                    </a:lnTo>
                    <a:lnTo>
                      <a:pt x="878" y="1043"/>
                    </a:lnTo>
                    <a:lnTo>
                      <a:pt x="879" y="1045"/>
                    </a:lnTo>
                    <a:lnTo>
                      <a:pt x="879" y="1045"/>
                    </a:lnTo>
                    <a:lnTo>
                      <a:pt x="883" y="1039"/>
                    </a:lnTo>
                    <a:lnTo>
                      <a:pt x="886" y="1039"/>
                    </a:lnTo>
                    <a:lnTo>
                      <a:pt x="885" y="1041"/>
                    </a:lnTo>
                    <a:lnTo>
                      <a:pt x="883" y="1045"/>
                    </a:lnTo>
                    <a:lnTo>
                      <a:pt x="883" y="1045"/>
                    </a:lnTo>
                    <a:lnTo>
                      <a:pt x="886" y="1043"/>
                    </a:lnTo>
                    <a:lnTo>
                      <a:pt x="888" y="1043"/>
                    </a:lnTo>
                    <a:lnTo>
                      <a:pt x="888" y="1043"/>
                    </a:lnTo>
                    <a:lnTo>
                      <a:pt x="890" y="1041"/>
                    </a:lnTo>
                    <a:lnTo>
                      <a:pt x="890" y="1041"/>
                    </a:lnTo>
                    <a:lnTo>
                      <a:pt x="890" y="1041"/>
                    </a:lnTo>
                    <a:lnTo>
                      <a:pt x="890" y="1041"/>
                    </a:lnTo>
                    <a:close/>
                    <a:moveTo>
                      <a:pt x="886" y="1041"/>
                    </a:moveTo>
                    <a:lnTo>
                      <a:pt x="888" y="1039"/>
                    </a:lnTo>
                    <a:lnTo>
                      <a:pt x="892" y="1034"/>
                    </a:lnTo>
                    <a:lnTo>
                      <a:pt x="890" y="1039"/>
                    </a:lnTo>
                    <a:lnTo>
                      <a:pt x="888" y="1039"/>
                    </a:lnTo>
                    <a:lnTo>
                      <a:pt x="886" y="1041"/>
                    </a:lnTo>
                    <a:lnTo>
                      <a:pt x="886" y="1041"/>
                    </a:lnTo>
                    <a:lnTo>
                      <a:pt x="886" y="1041"/>
                    </a:lnTo>
                    <a:lnTo>
                      <a:pt x="886" y="1041"/>
                    </a:lnTo>
                    <a:close/>
                    <a:moveTo>
                      <a:pt x="1116" y="1276"/>
                    </a:moveTo>
                    <a:lnTo>
                      <a:pt x="1116" y="1276"/>
                    </a:lnTo>
                    <a:lnTo>
                      <a:pt x="1114" y="1274"/>
                    </a:lnTo>
                    <a:lnTo>
                      <a:pt x="1116" y="1274"/>
                    </a:lnTo>
                    <a:lnTo>
                      <a:pt x="1116" y="1271"/>
                    </a:lnTo>
                    <a:lnTo>
                      <a:pt x="1119" y="1269"/>
                    </a:lnTo>
                    <a:lnTo>
                      <a:pt x="1119" y="1269"/>
                    </a:lnTo>
                    <a:lnTo>
                      <a:pt x="1119" y="1269"/>
                    </a:lnTo>
                    <a:lnTo>
                      <a:pt x="1119" y="1269"/>
                    </a:lnTo>
                    <a:lnTo>
                      <a:pt x="1116" y="1271"/>
                    </a:lnTo>
                    <a:lnTo>
                      <a:pt x="1114" y="1274"/>
                    </a:lnTo>
                    <a:lnTo>
                      <a:pt x="1114" y="1276"/>
                    </a:lnTo>
                    <a:lnTo>
                      <a:pt x="1116" y="1276"/>
                    </a:lnTo>
                    <a:lnTo>
                      <a:pt x="1116" y="1276"/>
                    </a:lnTo>
                    <a:lnTo>
                      <a:pt x="1116" y="1276"/>
                    </a:lnTo>
                    <a:lnTo>
                      <a:pt x="1116" y="1276"/>
                    </a:lnTo>
                    <a:lnTo>
                      <a:pt x="1116" y="1276"/>
                    </a:lnTo>
                    <a:close/>
                    <a:moveTo>
                      <a:pt x="1201" y="1290"/>
                    </a:moveTo>
                    <a:lnTo>
                      <a:pt x="1201" y="1290"/>
                    </a:lnTo>
                    <a:lnTo>
                      <a:pt x="1201" y="1286"/>
                    </a:lnTo>
                    <a:lnTo>
                      <a:pt x="1201" y="1283"/>
                    </a:lnTo>
                    <a:lnTo>
                      <a:pt x="1197" y="1281"/>
                    </a:lnTo>
                    <a:lnTo>
                      <a:pt x="1201" y="1281"/>
                    </a:lnTo>
                    <a:lnTo>
                      <a:pt x="1201" y="1278"/>
                    </a:lnTo>
                    <a:lnTo>
                      <a:pt x="1201" y="1281"/>
                    </a:lnTo>
                    <a:lnTo>
                      <a:pt x="1201" y="1281"/>
                    </a:lnTo>
                    <a:lnTo>
                      <a:pt x="1201" y="1283"/>
                    </a:lnTo>
                    <a:lnTo>
                      <a:pt x="1201" y="1286"/>
                    </a:lnTo>
                    <a:lnTo>
                      <a:pt x="1201" y="1286"/>
                    </a:lnTo>
                    <a:lnTo>
                      <a:pt x="1201" y="1286"/>
                    </a:lnTo>
                    <a:lnTo>
                      <a:pt x="1201" y="1290"/>
                    </a:lnTo>
                    <a:lnTo>
                      <a:pt x="1201" y="1290"/>
                    </a:lnTo>
                    <a:lnTo>
                      <a:pt x="1201" y="1290"/>
                    </a:lnTo>
                    <a:lnTo>
                      <a:pt x="1201" y="1290"/>
                    </a:lnTo>
                    <a:lnTo>
                      <a:pt x="1201" y="1290"/>
                    </a:lnTo>
                    <a:lnTo>
                      <a:pt x="1201" y="1290"/>
                    </a:lnTo>
                    <a:close/>
                    <a:moveTo>
                      <a:pt x="1204" y="1292"/>
                    </a:moveTo>
                    <a:lnTo>
                      <a:pt x="1204" y="1290"/>
                    </a:lnTo>
                    <a:lnTo>
                      <a:pt x="1204" y="1290"/>
                    </a:lnTo>
                    <a:lnTo>
                      <a:pt x="1204" y="1292"/>
                    </a:lnTo>
                    <a:lnTo>
                      <a:pt x="1204" y="1293"/>
                    </a:lnTo>
                    <a:lnTo>
                      <a:pt x="1204" y="1292"/>
                    </a:lnTo>
                    <a:lnTo>
                      <a:pt x="1204" y="1292"/>
                    </a:lnTo>
                    <a:lnTo>
                      <a:pt x="1204" y="1292"/>
                    </a:lnTo>
                    <a:lnTo>
                      <a:pt x="1204" y="1292"/>
                    </a:lnTo>
                    <a:close/>
                    <a:moveTo>
                      <a:pt x="1236" y="1172"/>
                    </a:moveTo>
                    <a:lnTo>
                      <a:pt x="1237" y="1168"/>
                    </a:lnTo>
                    <a:lnTo>
                      <a:pt x="1239" y="1168"/>
                    </a:lnTo>
                    <a:lnTo>
                      <a:pt x="1239" y="1168"/>
                    </a:lnTo>
                    <a:lnTo>
                      <a:pt x="1239" y="1172"/>
                    </a:lnTo>
                    <a:lnTo>
                      <a:pt x="1237" y="1172"/>
                    </a:lnTo>
                    <a:lnTo>
                      <a:pt x="1237" y="1172"/>
                    </a:lnTo>
                    <a:lnTo>
                      <a:pt x="1236" y="1172"/>
                    </a:lnTo>
                    <a:lnTo>
                      <a:pt x="1236" y="1172"/>
                    </a:lnTo>
                    <a:lnTo>
                      <a:pt x="1236" y="1172"/>
                    </a:lnTo>
                    <a:lnTo>
                      <a:pt x="1236" y="1172"/>
                    </a:lnTo>
                    <a:close/>
                    <a:moveTo>
                      <a:pt x="1227" y="1196"/>
                    </a:moveTo>
                    <a:lnTo>
                      <a:pt x="1227" y="1199"/>
                    </a:lnTo>
                    <a:lnTo>
                      <a:pt x="1229" y="1199"/>
                    </a:lnTo>
                    <a:lnTo>
                      <a:pt x="1229" y="1199"/>
                    </a:lnTo>
                    <a:lnTo>
                      <a:pt x="1229" y="1199"/>
                    </a:lnTo>
                    <a:lnTo>
                      <a:pt x="1229" y="1196"/>
                    </a:lnTo>
                    <a:lnTo>
                      <a:pt x="1229" y="1196"/>
                    </a:lnTo>
                    <a:lnTo>
                      <a:pt x="1227" y="1196"/>
                    </a:lnTo>
                    <a:lnTo>
                      <a:pt x="1227" y="1196"/>
                    </a:lnTo>
                    <a:lnTo>
                      <a:pt x="1227" y="1196"/>
                    </a:lnTo>
                    <a:lnTo>
                      <a:pt x="1227" y="1196"/>
                    </a:lnTo>
                    <a:close/>
                    <a:moveTo>
                      <a:pt x="1244" y="1227"/>
                    </a:moveTo>
                    <a:lnTo>
                      <a:pt x="1243" y="1222"/>
                    </a:lnTo>
                    <a:lnTo>
                      <a:pt x="1243" y="1222"/>
                    </a:lnTo>
                    <a:lnTo>
                      <a:pt x="1244" y="1222"/>
                    </a:lnTo>
                    <a:lnTo>
                      <a:pt x="1246" y="1222"/>
                    </a:lnTo>
                    <a:lnTo>
                      <a:pt x="1246" y="1222"/>
                    </a:lnTo>
                    <a:lnTo>
                      <a:pt x="1248" y="1222"/>
                    </a:lnTo>
                    <a:lnTo>
                      <a:pt x="1248" y="1226"/>
                    </a:lnTo>
                    <a:lnTo>
                      <a:pt x="1246" y="1227"/>
                    </a:lnTo>
                    <a:lnTo>
                      <a:pt x="1246" y="1227"/>
                    </a:lnTo>
                    <a:lnTo>
                      <a:pt x="1244" y="1227"/>
                    </a:lnTo>
                    <a:lnTo>
                      <a:pt x="1244" y="1227"/>
                    </a:lnTo>
                    <a:lnTo>
                      <a:pt x="1244" y="1227"/>
                    </a:lnTo>
                    <a:lnTo>
                      <a:pt x="1244" y="1227"/>
                    </a:lnTo>
                    <a:close/>
                    <a:moveTo>
                      <a:pt x="1236" y="1226"/>
                    </a:moveTo>
                    <a:lnTo>
                      <a:pt x="1237" y="1227"/>
                    </a:lnTo>
                    <a:lnTo>
                      <a:pt x="1239" y="1226"/>
                    </a:lnTo>
                    <a:lnTo>
                      <a:pt x="1239" y="1222"/>
                    </a:lnTo>
                    <a:lnTo>
                      <a:pt x="1239" y="1222"/>
                    </a:lnTo>
                    <a:lnTo>
                      <a:pt x="1239" y="1222"/>
                    </a:lnTo>
                    <a:lnTo>
                      <a:pt x="1241" y="1226"/>
                    </a:lnTo>
                    <a:lnTo>
                      <a:pt x="1239" y="1227"/>
                    </a:lnTo>
                    <a:lnTo>
                      <a:pt x="1236" y="1227"/>
                    </a:lnTo>
                    <a:lnTo>
                      <a:pt x="1234" y="1227"/>
                    </a:lnTo>
                    <a:lnTo>
                      <a:pt x="1234" y="1227"/>
                    </a:lnTo>
                    <a:lnTo>
                      <a:pt x="1236" y="1226"/>
                    </a:lnTo>
                    <a:lnTo>
                      <a:pt x="1236" y="1226"/>
                    </a:lnTo>
                    <a:lnTo>
                      <a:pt x="1236" y="1226"/>
                    </a:lnTo>
                    <a:lnTo>
                      <a:pt x="1236" y="1226"/>
                    </a:lnTo>
                    <a:close/>
                    <a:moveTo>
                      <a:pt x="1210" y="1269"/>
                    </a:moveTo>
                    <a:lnTo>
                      <a:pt x="1210" y="1267"/>
                    </a:lnTo>
                    <a:lnTo>
                      <a:pt x="1210" y="1269"/>
                    </a:lnTo>
                    <a:lnTo>
                      <a:pt x="1210" y="1269"/>
                    </a:lnTo>
                    <a:lnTo>
                      <a:pt x="1210" y="1269"/>
                    </a:lnTo>
                    <a:lnTo>
                      <a:pt x="1210" y="1269"/>
                    </a:lnTo>
                    <a:lnTo>
                      <a:pt x="1210" y="1269"/>
                    </a:lnTo>
                    <a:lnTo>
                      <a:pt x="1210" y="1269"/>
                    </a:lnTo>
                    <a:close/>
                    <a:moveTo>
                      <a:pt x="1244" y="1259"/>
                    </a:moveTo>
                    <a:lnTo>
                      <a:pt x="1244" y="1260"/>
                    </a:lnTo>
                    <a:lnTo>
                      <a:pt x="1246" y="1260"/>
                    </a:lnTo>
                    <a:lnTo>
                      <a:pt x="1250" y="1260"/>
                    </a:lnTo>
                    <a:lnTo>
                      <a:pt x="1250" y="1260"/>
                    </a:lnTo>
                    <a:lnTo>
                      <a:pt x="1246" y="1259"/>
                    </a:lnTo>
                    <a:lnTo>
                      <a:pt x="1244" y="1259"/>
                    </a:lnTo>
                    <a:lnTo>
                      <a:pt x="1244" y="1259"/>
                    </a:lnTo>
                    <a:lnTo>
                      <a:pt x="1244" y="1259"/>
                    </a:lnTo>
                    <a:lnTo>
                      <a:pt x="1244" y="1259"/>
                    </a:lnTo>
                    <a:close/>
                    <a:moveTo>
                      <a:pt x="1206" y="1194"/>
                    </a:moveTo>
                    <a:lnTo>
                      <a:pt x="1204" y="1196"/>
                    </a:lnTo>
                    <a:lnTo>
                      <a:pt x="1201" y="1199"/>
                    </a:lnTo>
                    <a:lnTo>
                      <a:pt x="1201" y="1199"/>
                    </a:lnTo>
                    <a:lnTo>
                      <a:pt x="1201" y="1199"/>
                    </a:lnTo>
                    <a:lnTo>
                      <a:pt x="1201" y="1203"/>
                    </a:lnTo>
                    <a:lnTo>
                      <a:pt x="1197" y="1203"/>
                    </a:lnTo>
                    <a:lnTo>
                      <a:pt x="1197" y="1203"/>
                    </a:lnTo>
                    <a:lnTo>
                      <a:pt x="1197" y="1203"/>
                    </a:lnTo>
                    <a:lnTo>
                      <a:pt x="1197" y="1205"/>
                    </a:lnTo>
                    <a:lnTo>
                      <a:pt x="1196" y="1205"/>
                    </a:lnTo>
                    <a:lnTo>
                      <a:pt x="1194" y="1206"/>
                    </a:lnTo>
                    <a:lnTo>
                      <a:pt x="1194" y="1208"/>
                    </a:lnTo>
                    <a:lnTo>
                      <a:pt x="1196" y="1208"/>
                    </a:lnTo>
                    <a:lnTo>
                      <a:pt x="1196" y="1210"/>
                    </a:lnTo>
                    <a:lnTo>
                      <a:pt x="1194" y="1210"/>
                    </a:lnTo>
                    <a:lnTo>
                      <a:pt x="1192" y="1210"/>
                    </a:lnTo>
                    <a:lnTo>
                      <a:pt x="1191" y="1213"/>
                    </a:lnTo>
                    <a:lnTo>
                      <a:pt x="1191" y="1215"/>
                    </a:lnTo>
                    <a:lnTo>
                      <a:pt x="1187" y="1222"/>
                    </a:lnTo>
                    <a:lnTo>
                      <a:pt x="1187" y="1222"/>
                    </a:lnTo>
                    <a:lnTo>
                      <a:pt x="1187" y="1222"/>
                    </a:lnTo>
                    <a:lnTo>
                      <a:pt x="1187" y="1226"/>
                    </a:lnTo>
                    <a:lnTo>
                      <a:pt x="1187" y="1227"/>
                    </a:lnTo>
                    <a:lnTo>
                      <a:pt x="1185" y="1226"/>
                    </a:lnTo>
                    <a:lnTo>
                      <a:pt x="1185" y="1226"/>
                    </a:lnTo>
                    <a:lnTo>
                      <a:pt x="1182" y="1227"/>
                    </a:lnTo>
                    <a:lnTo>
                      <a:pt x="1182" y="1227"/>
                    </a:lnTo>
                    <a:lnTo>
                      <a:pt x="1182" y="1231"/>
                    </a:lnTo>
                    <a:lnTo>
                      <a:pt x="1182" y="1231"/>
                    </a:lnTo>
                    <a:lnTo>
                      <a:pt x="1184" y="1231"/>
                    </a:lnTo>
                    <a:lnTo>
                      <a:pt x="1182" y="1232"/>
                    </a:lnTo>
                    <a:lnTo>
                      <a:pt x="1182" y="1234"/>
                    </a:lnTo>
                    <a:lnTo>
                      <a:pt x="1182" y="1236"/>
                    </a:lnTo>
                    <a:lnTo>
                      <a:pt x="1178" y="1234"/>
                    </a:lnTo>
                    <a:lnTo>
                      <a:pt x="1175" y="1236"/>
                    </a:lnTo>
                    <a:lnTo>
                      <a:pt x="1175" y="1238"/>
                    </a:lnTo>
                    <a:lnTo>
                      <a:pt x="1175" y="1239"/>
                    </a:lnTo>
                    <a:lnTo>
                      <a:pt x="1173" y="1243"/>
                    </a:lnTo>
                    <a:lnTo>
                      <a:pt x="1170" y="1245"/>
                    </a:lnTo>
                    <a:lnTo>
                      <a:pt x="1170" y="1245"/>
                    </a:lnTo>
                    <a:lnTo>
                      <a:pt x="1170" y="1243"/>
                    </a:lnTo>
                    <a:lnTo>
                      <a:pt x="1168" y="1245"/>
                    </a:lnTo>
                    <a:lnTo>
                      <a:pt x="1168" y="1243"/>
                    </a:lnTo>
                    <a:lnTo>
                      <a:pt x="1168" y="1241"/>
                    </a:lnTo>
                    <a:lnTo>
                      <a:pt x="1170" y="1239"/>
                    </a:lnTo>
                    <a:lnTo>
                      <a:pt x="1170" y="1238"/>
                    </a:lnTo>
                    <a:lnTo>
                      <a:pt x="1170" y="1239"/>
                    </a:lnTo>
                    <a:lnTo>
                      <a:pt x="1168" y="1241"/>
                    </a:lnTo>
                    <a:lnTo>
                      <a:pt x="1163" y="1243"/>
                    </a:lnTo>
                    <a:lnTo>
                      <a:pt x="1161" y="1248"/>
                    </a:lnTo>
                    <a:lnTo>
                      <a:pt x="1163" y="1248"/>
                    </a:lnTo>
                    <a:lnTo>
                      <a:pt x="1164" y="1246"/>
                    </a:lnTo>
                    <a:lnTo>
                      <a:pt x="1170" y="1246"/>
                    </a:lnTo>
                    <a:lnTo>
                      <a:pt x="1175" y="1246"/>
                    </a:lnTo>
                    <a:lnTo>
                      <a:pt x="1170" y="1248"/>
                    </a:lnTo>
                    <a:lnTo>
                      <a:pt x="1168" y="1253"/>
                    </a:lnTo>
                    <a:lnTo>
                      <a:pt x="1166" y="1255"/>
                    </a:lnTo>
                    <a:lnTo>
                      <a:pt x="1163" y="1259"/>
                    </a:lnTo>
                    <a:lnTo>
                      <a:pt x="1159" y="1260"/>
                    </a:lnTo>
                    <a:lnTo>
                      <a:pt x="1156" y="1260"/>
                    </a:lnTo>
                    <a:lnTo>
                      <a:pt x="1156" y="1262"/>
                    </a:lnTo>
                    <a:lnTo>
                      <a:pt x="1156" y="1264"/>
                    </a:lnTo>
                    <a:lnTo>
                      <a:pt x="1156" y="1266"/>
                    </a:lnTo>
                    <a:lnTo>
                      <a:pt x="1156" y="1267"/>
                    </a:lnTo>
                    <a:lnTo>
                      <a:pt x="1159" y="1267"/>
                    </a:lnTo>
                    <a:lnTo>
                      <a:pt x="1163" y="1269"/>
                    </a:lnTo>
                    <a:lnTo>
                      <a:pt x="1166" y="1269"/>
                    </a:lnTo>
                    <a:lnTo>
                      <a:pt x="1168" y="1267"/>
                    </a:lnTo>
                    <a:lnTo>
                      <a:pt x="1170" y="1266"/>
                    </a:lnTo>
                    <a:lnTo>
                      <a:pt x="1173" y="1264"/>
                    </a:lnTo>
                    <a:lnTo>
                      <a:pt x="1175" y="1262"/>
                    </a:lnTo>
                    <a:lnTo>
                      <a:pt x="1175" y="1264"/>
                    </a:lnTo>
                    <a:lnTo>
                      <a:pt x="1173" y="1266"/>
                    </a:lnTo>
                    <a:lnTo>
                      <a:pt x="1175" y="1267"/>
                    </a:lnTo>
                    <a:lnTo>
                      <a:pt x="1178" y="1266"/>
                    </a:lnTo>
                    <a:lnTo>
                      <a:pt x="1178" y="1267"/>
                    </a:lnTo>
                    <a:lnTo>
                      <a:pt x="1184" y="1267"/>
                    </a:lnTo>
                    <a:lnTo>
                      <a:pt x="1187" y="1267"/>
                    </a:lnTo>
                    <a:lnTo>
                      <a:pt x="1187" y="1269"/>
                    </a:lnTo>
                    <a:lnTo>
                      <a:pt x="1189" y="1271"/>
                    </a:lnTo>
                    <a:lnTo>
                      <a:pt x="1192" y="1271"/>
                    </a:lnTo>
                    <a:lnTo>
                      <a:pt x="1192" y="1269"/>
                    </a:lnTo>
                    <a:lnTo>
                      <a:pt x="1194" y="1271"/>
                    </a:lnTo>
                    <a:lnTo>
                      <a:pt x="1196" y="1271"/>
                    </a:lnTo>
                    <a:lnTo>
                      <a:pt x="1197" y="1269"/>
                    </a:lnTo>
                    <a:lnTo>
                      <a:pt x="1197" y="1269"/>
                    </a:lnTo>
                    <a:lnTo>
                      <a:pt x="1197" y="1269"/>
                    </a:lnTo>
                    <a:lnTo>
                      <a:pt x="1201" y="1269"/>
                    </a:lnTo>
                    <a:lnTo>
                      <a:pt x="1201" y="1269"/>
                    </a:lnTo>
                    <a:lnTo>
                      <a:pt x="1204" y="1267"/>
                    </a:lnTo>
                    <a:lnTo>
                      <a:pt x="1204" y="1267"/>
                    </a:lnTo>
                    <a:lnTo>
                      <a:pt x="1206" y="1269"/>
                    </a:lnTo>
                    <a:lnTo>
                      <a:pt x="1206" y="1267"/>
                    </a:lnTo>
                    <a:lnTo>
                      <a:pt x="1206" y="1266"/>
                    </a:lnTo>
                    <a:lnTo>
                      <a:pt x="1206" y="1264"/>
                    </a:lnTo>
                    <a:lnTo>
                      <a:pt x="1206" y="1264"/>
                    </a:lnTo>
                    <a:lnTo>
                      <a:pt x="1210" y="1262"/>
                    </a:lnTo>
                    <a:lnTo>
                      <a:pt x="1210" y="1262"/>
                    </a:lnTo>
                    <a:lnTo>
                      <a:pt x="1210" y="1262"/>
                    </a:lnTo>
                    <a:lnTo>
                      <a:pt x="1210" y="1266"/>
                    </a:lnTo>
                    <a:lnTo>
                      <a:pt x="1210" y="1267"/>
                    </a:lnTo>
                    <a:lnTo>
                      <a:pt x="1210" y="1266"/>
                    </a:lnTo>
                    <a:lnTo>
                      <a:pt x="1211" y="1264"/>
                    </a:lnTo>
                    <a:lnTo>
                      <a:pt x="1211" y="1262"/>
                    </a:lnTo>
                    <a:lnTo>
                      <a:pt x="1211" y="1266"/>
                    </a:lnTo>
                    <a:lnTo>
                      <a:pt x="1211" y="1267"/>
                    </a:lnTo>
                    <a:lnTo>
                      <a:pt x="1211" y="1269"/>
                    </a:lnTo>
                    <a:lnTo>
                      <a:pt x="1213" y="1267"/>
                    </a:lnTo>
                    <a:lnTo>
                      <a:pt x="1213" y="1267"/>
                    </a:lnTo>
                    <a:lnTo>
                      <a:pt x="1213" y="1269"/>
                    </a:lnTo>
                    <a:lnTo>
                      <a:pt x="1210" y="1271"/>
                    </a:lnTo>
                    <a:lnTo>
                      <a:pt x="1206" y="1272"/>
                    </a:lnTo>
                    <a:lnTo>
                      <a:pt x="1210" y="1272"/>
                    </a:lnTo>
                    <a:lnTo>
                      <a:pt x="1210" y="1272"/>
                    </a:lnTo>
                    <a:lnTo>
                      <a:pt x="1211" y="1272"/>
                    </a:lnTo>
                    <a:lnTo>
                      <a:pt x="1211" y="1272"/>
                    </a:lnTo>
                    <a:lnTo>
                      <a:pt x="1213" y="1272"/>
                    </a:lnTo>
                    <a:lnTo>
                      <a:pt x="1215" y="1274"/>
                    </a:lnTo>
                    <a:lnTo>
                      <a:pt x="1215" y="1272"/>
                    </a:lnTo>
                    <a:lnTo>
                      <a:pt x="1218" y="1272"/>
                    </a:lnTo>
                    <a:lnTo>
                      <a:pt x="1218" y="1271"/>
                    </a:lnTo>
                    <a:lnTo>
                      <a:pt x="1218" y="1267"/>
                    </a:lnTo>
                    <a:lnTo>
                      <a:pt x="1220" y="1269"/>
                    </a:lnTo>
                    <a:lnTo>
                      <a:pt x="1224" y="1269"/>
                    </a:lnTo>
                    <a:lnTo>
                      <a:pt x="1224" y="1271"/>
                    </a:lnTo>
                    <a:lnTo>
                      <a:pt x="1224" y="1271"/>
                    </a:lnTo>
                    <a:lnTo>
                      <a:pt x="1227" y="1269"/>
                    </a:lnTo>
                    <a:lnTo>
                      <a:pt x="1229" y="1271"/>
                    </a:lnTo>
                    <a:lnTo>
                      <a:pt x="1229" y="1271"/>
                    </a:lnTo>
                    <a:lnTo>
                      <a:pt x="1229" y="1272"/>
                    </a:lnTo>
                    <a:lnTo>
                      <a:pt x="1224" y="1274"/>
                    </a:lnTo>
                    <a:lnTo>
                      <a:pt x="1220" y="1274"/>
                    </a:lnTo>
                    <a:lnTo>
                      <a:pt x="1220" y="1276"/>
                    </a:lnTo>
                    <a:lnTo>
                      <a:pt x="1220" y="1278"/>
                    </a:lnTo>
                    <a:lnTo>
                      <a:pt x="1218" y="1278"/>
                    </a:lnTo>
                    <a:lnTo>
                      <a:pt x="1218" y="1278"/>
                    </a:lnTo>
                    <a:lnTo>
                      <a:pt x="1217" y="1278"/>
                    </a:lnTo>
                    <a:lnTo>
                      <a:pt x="1215" y="1278"/>
                    </a:lnTo>
                    <a:lnTo>
                      <a:pt x="1215" y="1281"/>
                    </a:lnTo>
                    <a:lnTo>
                      <a:pt x="1213" y="1281"/>
                    </a:lnTo>
                    <a:lnTo>
                      <a:pt x="1210" y="1281"/>
                    </a:lnTo>
                    <a:lnTo>
                      <a:pt x="1210" y="1283"/>
                    </a:lnTo>
                    <a:lnTo>
                      <a:pt x="1206" y="1286"/>
                    </a:lnTo>
                    <a:lnTo>
                      <a:pt x="1210" y="1286"/>
                    </a:lnTo>
                    <a:lnTo>
                      <a:pt x="1210" y="1286"/>
                    </a:lnTo>
                    <a:lnTo>
                      <a:pt x="1211" y="1286"/>
                    </a:lnTo>
                    <a:lnTo>
                      <a:pt x="1211" y="1286"/>
                    </a:lnTo>
                    <a:lnTo>
                      <a:pt x="1213" y="1286"/>
                    </a:lnTo>
                    <a:lnTo>
                      <a:pt x="1215" y="1286"/>
                    </a:lnTo>
                    <a:lnTo>
                      <a:pt x="1215" y="1286"/>
                    </a:lnTo>
                    <a:lnTo>
                      <a:pt x="1215" y="1286"/>
                    </a:lnTo>
                    <a:lnTo>
                      <a:pt x="1218" y="1286"/>
                    </a:lnTo>
                    <a:lnTo>
                      <a:pt x="1220" y="1286"/>
                    </a:lnTo>
                    <a:lnTo>
                      <a:pt x="1220" y="1283"/>
                    </a:lnTo>
                    <a:lnTo>
                      <a:pt x="1220" y="1283"/>
                    </a:lnTo>
                    <a:lnTo>
                      <a:pt x="1220" y="1281"/>
                    </a:lnTo>
                    <a:lnTo>
                      <a:pt x="1220" y="1278"/>
                    </a:lnTo>
                    <a:lnTo>
                      <a:pt x="1224" y="1278"/>
                    </a:lnTo>
                    <a:lnTo>
                      <a:pt x="1227" y="1276"/>
                    </a:lnTo>
                    <a:lnTo>
                      <a:pt x="1229" y="1274"/>
                    </a:lnTo>
                    <a:lnTo>
                      <a:pt x="1229" y="1276"/>
                    </a:lnTo>
                    <a:lnTo>
                      <a:pt x="1232" y="1276"/>
                    </a:lnTo>
                    <a:lnTo>
                      <a:pt x="1229" y="1278"/>
                    </a:lnTo>
                    <a:lnTo>
                      <a:pt x="1232" y="1278"/>
                    </a:lnTo>
                    <a:lnTo>
                      <a:pt x="1232" y="1276"/>
                    </a:lnTo>
                    <a:lnTo>
                      <a:pt x="1234" y="1272"/>
                    </a:lnTo>
                    <a:lnTo>
                      <a:pt x="1236" y="1269"/>
                    </a:lnTo>
                    <a:lnTo>
                      <a:pt x="1236" y="1266"/>
                    </a:lnTo>
                    <a:lnTo>
                      <a:pt x="1236" y="1264"/>
                    </a:lnTo>
                    <a:lnTo>
                      <a:pt x="1237" y="1264"/>
                    </a:lnTo>
                    <a:lnTo>
                      <a:pt x="1237" y="1266"/>
                    </a:lnTo>
                    <a:lnTo>
                      <a:pt x="1239" y="1266"/>
                    </a:lnTo>
                    <a:lnTo>
                      <a:pt x="1241" y="1267"/>
                    </a:lnTo>
                    <a:lnTo>
                      <a:pt x="1241" y="1271"/>
                    </a:lnTo>
                    <a:lnTo>
                      <a:pt x="1241" y="1272"/>
                    </a:lnTo>
                    <a:lnTo>
                      <a:pt x="1241" y="1274"/>
                    </a:lnTo>
                    <a:lnTo>
                      <a:pt x="1241" y="1276"/>
                    </a:lnTo>
                    <a:lnTo>
                      <a:pt x="1241" y="1278"/>
                    </a:lnTo>
                    <a:lnTo>
                      <a:pt x="1237" y="1281"/>
                    </a:lnTo>
                    <a:lnTo>
                      <a:pt x="1236" y="1286"/>
                    </a:lnTo>
                    <a:lnTo>
                      <a:pt x="1236" y="1286"/>
                    </a:lnTo>
                    <a:lnTo>
                      <a:pt x="1234" y="1290"/>
                    </a:lnTo>
                    <a:lnTo>
                      <a:pt x="1234" y="1290"/>
                    </a:lnTo>
                    <a:lnTo>
                      <a:pt x="1236" y="1290"/>
                    </a:lnTo>
                    <a:lnTo>
                      <a:pt x="1239" y="1290"/>
                    </a:lnTo>
                    <a:lnTo>
                      <a:pt x="1241" y="1286"/>
                    </a:lnTo>
                    <a:lnTo>
                      <a:pt x="1243" y="1286"/>
                    </a:lnTo>
                    <a:lnTo>
                      <a:pt x="1244" y="1281"/>
                    </a:lnTo>
                    <a:lnTo>
                      <a:pt x="1246" y="1281"/>
                    </a:lnTo>
                    <a:lnTo>
                      <a:pt x="1246" y="1281"/>
                    </a:lnTo>
                    <a:lnTo>
                      <a:pt x="1250" y="1281"/>
                    </a:lnTo>
                    <a:lnTo>
                      <a:pt x="1250" y="1281"/>
                    </a:lnTo>
                    <a:lnTo>
                      <a:pt x="1248" y="1281"/>
                    </a:lnTo>
                    <a:lnTo>
                      <a:pt x="1244" y="1286"/>
                    </a:lnTo>
                    <a:lnTo>
                      <a:pt x="1244" y="1286"/>
                    </a:lnTo>
                    <a:lnTo>
                      <a:pt x="1244" y="1290"/>
                    </a:lnTo>
                    <a:lnTo>
                      <a:pt x="1244" y="1290"/>
                    </a:lnTo>
                    <a:lnTo>
                      <a:pt x="1244" y="1293"/>
                    </a:lnTo>
                    <a:lnTo>
                      <a:pt x="1246" y="1295"/>
                    </a:lnTo>
                    <a:lnTo>
                      <a:pt x="1248" y="1293"/>
                    </a:lnTo>
                    <a:lnTo>
                      <a:pt x="1250" y="1292"/>
                    </a:lnTo>
                    <a:lnTo>
                      <a:pt x="1250" y="1292"/>
                    </a:lnTo>
                    <a:lnTo>
                      <a:pt x="1251" y="1292"/>
                    </a:lnTo>
                    <a:lnTo>
                      <a:pt x="1251" y="1292"/>
                    </a:lnTo>
                    <a:lnTo>
                      <a:pt x="1251" y="1293"/>
                    </a:lnTo>
                    <a:lnTo>
                      <a:pt x="1251" y="1293"/>
                    </a:lnTo>
                    <a:lnTo>
                      <a:pt x="1255" y="1293"/>
                    </a:lnTo>
                    <a:lnTo>
                      <a:pt x="1255" y="1292"/>
                    </a:lnTo>
                    <a:lnTo>
                      <a:pt x="1255" y="1290"/>
                    </a:lnTo>
                    <a:lnTo>
                      <a:pt x="1257" y="1290"/>
                    </a:lnTo>
                    <a:lnTo>
                      <a:pt x="1257" y="1286"/>
                    </a:lnTo>
                    <a:lnTo>
                      <a:pt x="1257" y="1286"/>
                    </a:lnTo>
                    <a:lnTo>
                      <a:pt x="1257" y="1286"/>
                    </a:lnTo>
                    <a:lnTo>
                      <a:pt x="1257" y="1283"/>
                    </a:lnTo>
                    <a:lnTo>
                      <a:pt x="1257" y="1281"/>
                    </a:lnTo>
                    <a:lnTo>
                      <a:pt x="1260" y="1278"/>
                    </a:lnTo>
                    <a:lnTo>
                      <a:pt x="1262" y="1274"/>
                    </a:lnTo>
                    <a:lnTo>
                      <a:pt x="1262" y="1269"/>
                    </a:lnTo>
                    <a:lnTo>
                      <a:pt x="1262" y="1267"/>
                    </a:lnTo>
                    <a:lnTo>
                      <a:pt x="1260" y="1267"/>
                    </a:lnTo>
                    <a:lnTo>
                      <a:pt x="1260" y="1269"/>
                    </a:lnTo>
                    <a:lnTo>
                      <a:pt x="1260" y="1271"/>
                    </a:lnTo>
                    <a:lnTo>
                      <a:pt x="1257" y="1272"/>
                    </a:lnTo>
                    <a:lnTo>
                      <a:pt x="1255" y="1276"/>
                    </a:lnTo>
                    <a:lnTo>
                      <a:pt x="1255" y="1276"/>
                    </a:lnTo>
                    <a:lnTo>
                      <a:pt x="1251" y="1274"/>
                    </a:lnTo>
                    <a:lnTo>
                      <a:pt x="1255" y="1271"/>
                    </a:lnTo>
                    <a:lnTo>
                      <a:pt x="1255" y="1269"/>
                    </a:lnTo>
                    <a:lnTo>
                      <a:pt x="1255" y="1266"/>
                    </a:lnTo>
                    <a:lnTo>
                      <a:pt x="1257" y="1266"/>
                    </a:lnTo>
                    <a:lnTo>
                      <a:pt x="1258" y="1262"/>
                    </a:lnTo>
                    <a:lnTo>
                      <a:pt x="1260" y="1262"/>
                    </a:lnTo>
                    <a:lnTo>
                      <a:pt x="1262" y="1262"/>
                    </a:lnTo>
                    <a:lnTo>
                      <a:pt x="1260" y="1260"/>
                    </a:lnTo>
                    <a:lnTo>
                      <a:pt x="1258" y="1262"/>
                    </a:lnTo>
                    <a:lnTo>
                      <a:pt x="1258" y="1262"/>
                    </a:lnTo>
                    <a:lnTo>
                      <a:pt x="1255" y="1262"/>
                    </a:lnTo>
                    <a:lnTo>
                      <a:pt x="1255" y="1264"/>
                    </a:lnTo>
                    <a:lnTo>
                      <a:pt x="1251" y="1266"/>
                    </a:lnTo>
                    <a:lnTo>
                      <a:pt x="1251" y="1267"/>
                    </a:lnTo>
                    <a:lnTo>
                      <a:pt x="1248" y="1269"/>
                    </a:lnTo>
                    <a:lnTo>
                      <a:pt x="1248" y="1271"/>
                    </a:lnTo>
                    <a:lnTo>
                      <a:pt x="1246" y="1272"/>
                    </a:lnTo>
                    <a:lnTo>
                      <a:pt x="1244" y="1271"/>
                    </a:lnTo>
                    <a:lnTo>
                      <a:pt x="1244" y="1269"/>
                    </a:lnTo>
                    <a:lnTo>
                      <a:pt x="1243" y="1266"/>
                    </a:lnTo>
                    <a:lnTo>
                      <a:pt x="1243" y="1264"/>
                    </a:lnTo>
                    <a:lnTo>
                      <a:pt x="1244" y="1266"/>
                    </a:lnTo>
                    <a:lnTo>
                      <a:pt x="1244" y="1266"/>
                    </a:lnTo>
                    <a:lnTo>
                      <a:pt x="1248" y="1262"/>
                    </a:lnTo>
                    <a:lnTo>
                      <a:pt x="1246" y="1264"/>
                    </a:lnTo>
                    <a:lnTo>
                      <a:pt x="1243" y="1262"/>
                    </a:lnTo>
                    <a:lnTo>
                      <a:pt x="1244" y="1262"/>
                    </a:lnTo>
                    <a:lnTo>
                      <a:pt x="1248" y="1262"/>
                    </a:lnTo>
                    <a:lnTo>
                      <a:pt x="1244" y="1262"/>
                    </a:lnTo>
                    <a:lnTo>
                      <a:pt x="1244" y="1260"/>
                    </a:lnTo>
                    <a:lnTo>
                      <a:pt x="1244" y="1259"/>
                    </a:lnTo>
                    <a:lnTo>
                      <a:pt x="1244" y="1259"/>
                    </a:lnTo>
                    <a:lnTo>
                      <a:pt x="1248" y="1259"/>
                    </a:lnTo>
                    <a:lnTo>
                      <a:pt x="1248" y="1259"/>
                    </a:lnTo>
                    <a:lnTo>
                      <a:pt x="1251" y="1255"/>
                    </a:lnTo>
                    <a:lnTo>
                      <a:pt x="1251" y="1253"/>
                    </a:lnTo>
                    <a:lnTo>
                      <a:pt x="1255" y="1253"/>
                    </a:lnTo>
                    <a:lnTo>
                      <a:pt x="1255" y="1255"/>
                    </a:lnTo>
                    <a:lnTo>
                      <a:pt x="1258" y="1250"/>
                    </a:lnTo>
                    <a:lnTo>
                      <a:pt x="1258" y="1250"/>
                    </a:lnTo>
                    <a:lnTo>
                      <a:pt x="1258" y="1248"/>
                    </a:lnTo>
                    <a:lnTo>
                      <a:pt x="1258" y="1245"/>
                    </a:lnTo>
                    <a:lnTo>
                      <a:pt x="1255" y="1248"/>
                    </a:lnTo>
                    <a:lnTo>
                      <a:pt x="1255" y="1250"/>
                    </a:lnTo>
                    <a:lnTo>
                      <a:pt x="1255" y="1248"/>
                    </a:lnTo>
                    <a:lnTo>
                      <a:pt x="1251" y="1248"/>
                    </a:lnTo>
                    <a:lnTo>
                      <a:pt x="1251" y="1250"/>
                    </a:lnTo>
                    <a:lnTo>
                      <a:pt x="1251" y="1250"/>
                    </a:lnTo>
                    <a:lnTo>
                      <a:pt x="1251" y="1250"/>
                    </a:lnTo>
                    <a:lnTo>
                      <a:pt x="1250" y="1250"/>
                    </a:lnTo>
                    <a:lnTo>
                      <a:pt x="1248" y="1253"/>
                    </a:lnTo>
                    <a:lnTo>
                      <a:pt x="1246" y="1255"/>
                    </a:lnTo>
                    <a:lnTo>
                      <a:pt x="1246" y="1255"/>
                    </a:lnTo>
                    <a:lnTo>
                      <a:pt x="1244" y="1255"/>
                    </a:lnTo>
                    <a:lnTo>
                      <a:pt x="1244" y="1255"/>
                    </a:lnTo>
                    <a:lnTo>
                      <a:pt x="1244" y="1253"/>
                    </a:lnTo>
                    <a:lnTo>
                      <a:pt x="1244" y="1255"/>
                    </a:lnTo>
                    <a:lnTo>
                      <a:pt x="1243" y="1255"/>
                    </a:lnTo>
                    <a:lnTo>
                      <a:pt x="1244" y="1253"/>
                    </a:lnTo>
                    <a:lnTo>
                      <a:pt x="1246" y="1250"/>
                    </a:lnTo>
                    <a:lnTo>
                      <a:pt x="1246" y="1250"/>
                    </a:lnTo>
                    <a:lnTo>
                      <a:pt x="1244" y="1250"/>
                    </a:lnTo>
                    <a:lnTo>
                      <a:pt x="1246" y="1248"/>
                    </a:lnTo>
                    <a:lnTo>
                      <a:pt x="1248" y="1246"/>
                    </a:lnTo>
                    <a:lnTo>
                      <a:pt x="1246" y="1245"/>
                    </a:lnTo>
                    <a:lnTo>
                      <a:pt x="1244" y="1246"/>
                    </a:lnTo>
                    <a:lnTo>
                      <a:pt x="1246" y="1245"/>
                    </a:lnTo>
                    <a:lnTo>
                      <a:pt x="1246" y="1243"/>
                    </a:lnTo>
                    <a:lnTo>
                      <a:pt x="1244" y="1243"/>
                    </a:lnTo>
                    <a:lnTo>
                      <a:pt x="1243" y="1243"/>
                    </a:lnTo>
                    <a:lnTo>
                      <a:pt x="1239" y="1243"/>
                    </a:lnTo>
                    <a:lnTo>
                      <a:pt x="1243" y="1243"/>
                    </a:lnTo>
                    <a:lnTo>
                      <a:pt x="1244" y="1243"/>
                    </a:lnTo>
                    <a:lnTo>
                      <a:pt x="1246" y="1241"/>
                    </a:lnTo>
                    <a:lnTo>
                      <a:pt x="1250" y="1241"/>
                    </a:lnTo>
                    <a:lnTo>
                      <a:pt x="1250" y="1239"/>
                    </a:lnTo>
                    <a:lnTo>
                      <a:pt x="1251" y="1239"/>
                    </a:lnTo>
                    <a:lnTo>
                      <a:pt x="1251" y="1238"/>
                    </a:lnTo>
                    <a:lnTo>
                      <a:pt x="1251" y="1236"/>
                    </a:lnTo>
                    <a:lnTo>
                      <a:pt x="1255" y="1234"/>
                    </a:lnTo>
                    <a:lnTo>
                      <a:pt x="1255" y="1232"/>
                    </a:lnTo>
                    <a:lnTo>
                      <a:pt x="1251" y="1231"/>
                    </a:lnTo>
                    <a:lnTo>
                      <a:pt x="1250" y="1227"/>
                    </a:lnTo>
                    <a:lnTo>
                      <a:pt x="1248" y="1227"/>
                    </a:lnTo>
                    <a:lnTo>
                      <a:pt x="1244" y="1231"/>
                    </a:lnTo>
                    <a:lnTo>
                      <a:pt x="1243" y="1231"/>
                    </a:lnTo>
                    <a:lnTo>
                      <a:pt x="1243" y="1231"/>
                    </a:lnTo>
                    <a:lnTo>
                      <a:pt x="1241" y="1232"/>
                    </a:lnTo>
                    <a:lnTo>
                      <a:pt x="1241" y="1236"/>
                    </a:lnTo>
                    <a:lnTo>
                      <a:pt x="1239" y="1238"/>
                    </a:lnTo>
                    <a:lnTo>
                      <a:pt x="1239" y="1236"/>
                    </a:lnTo>
                    <a:lnTo>
                      <a:pt x="1241" y="1232"/>
                    </a:lnTo>
                    <a:lnTo>
                      <a:pt x="1239" y="1231"/>
                    </a:lnTo>
                    <a:lnTo>
                      <a:pt x="1241" y="1231"/>
                    </a:lnTo>
                    <a:lnTo>
                      <a:pt x="1241" y="1227"/>
                    </a:lnTo>
                    <a:lnTo>
                      <a:pt x="1241" y="1227"/>
                    </a:lnTo>
                    <a:lnTo>
                      <a:pt x="1237" y="1231"/>
                    </a:lnTo>
                    <a:lnTo>
                      <a:pt x="1237" y="1231"/>
                    </a:lnTo>
                    <a:lnTo>
                      <a:pt x="1236" y="1232"/>
                    </a:lnTo>
                    <a:lnTo>
                      <a:pt x="1234" y="1231"/>
                    </a:lnTo>
                    <a:lnTo>
                      <a:pt x="1232" y="1232"/>
                    </a:lnTo>
                    <a:lnTo>
                      <a:pt x="1232" y="1232"/>
                    </a:lnTo>
                    <a:lnTo>
                      <a:pt x="1232" y="1231"/>
                    </a:lnTo>
                    <a:lnTo>
                      <a:pt x="1229" y="1232"/>
                    </a:lnTo>
                    <a:lnTo>
                      <a:pt x="1229" y="1236"/>
                    </a:lnTo>
                    <a:lnTo>
                      <a:pt x="1227" y="1238"/>
                    </a:lnTo>
                    <a:lnTo>
                      <a:pt x="1229" y="1236"/>
                    </a:lnTo>
                    <a:lnTo>
                      <a:pt x="1229" y="1232"/>
                    </a:lnTo>
                    <a:lnTo>
                      <a:pt x="1229" y="1231"/>
                    </a:lnTo>
                    <a:lnTo>
                      <a:pt x="1229" y="1231"/>
                    </a:lnTo>
                    <a:lnTo>
                      <a:pt x="1229" y="1231"/>
                    </a:lnTo>
                    <a:lnTo>
                      <a:pt x="1227" y="1231"/>
                    </a:lnTo>
                    <a:lnTo>
                      <a:pt x="1224" y="1232"/>
                    </a:lnTo>
                    <a:lnTo>
                      <a:pt x="1224" y="1232"/>
                    </a:lnTo>
                    <a:lnTo>
                      <a:pt x="1224" y="1231"/>
                    </a:lnTo>
                    <a:lnTo>
                      <a:pt x="1227" y="1231"/>
                    </a:lnTo>
                    <a:lnTo>
                      <a:pt x="1224" y="1227"/>
                    </a:lnTo>
                    <a:lnTo>
                      <a:pt x="1224" y="1231"/>
                    </a:lnTo>
                    <a:lnTo>
                      <a:pt x="1220" y="1231"/>
                    </a:lnTo>
                    <a:lnTo>
                      <a:pt x="1220" y="1231"/>
                    </a:lnTo>
                    <a:lnTo>
                      <a:pt x="1218" y="1227"/>
                    </a:lnTo>
                    <a:lnTo>
                      <a:pt x="1218" y="1227"/>
                    </a:lnTo>
                    <a:lnTo>
                      <a:pt x="1215" y="1231"/>
                    </a:lnTo>
                    <a:lnTo>
                      <a:pt x="1213" y="1231"/>
                    </a:lnTo>
                    <a:lnTo>
                      <a:pt x="1213" y="1231"/>
                    </a:lnTo>
                    <a:lnTo>
                      <a:pt x="1217" y="1227"/>
                    </a:lnTo>
                    <a:lnTo>
                      <a:pt x="1218" y="1226"/>
                    </a:lnTo>
                    <a:lnTo>
                      <a:pt x="1218" y="1222"/>
                    </a:lnTo>
                    <a:lnTo>
                      <a:pt x="1218" y="1222"/>
                    </a:lnTo>
                    <a:lnTo>
                      <a:pt x="1217" y="1222"/>
                    </a:lnTo>
                    <a:lnTo>
                      <a:pt x="1213" y="1226"/>
                    </a:lnTo>
                    <a:lnTo>
                      <a:pt x="1215" y="1222"/>
                    </a:lnTo>
                    <a:lnTo>
                      <a:pt x="1218" y="1220"/>
                    </a:lnTo>
                    <a:lnTo>
                      <a:pt x="1220" y="1220"/>
                    </a:lnTo>
                    <a:lnTo>
                      <a:pt x="1220" y="1220"/>
                    </a:lnTo>
                    <a:lnTo>
                      <a:pt x="1224" y="1219"/>
                    </a:lnTo>
                    <a:lnTo>
                      <a:pt x="1227" y="1217"/>
                    </a:lnTo>
                    <a:lnTo>
                      <a:pt x="1227" y="1215"/>
                    </a:lnTo>
                    <a:lnTo>
                      <a:pt x="1224" y="1217"/>
                    </a:lnTo>
                    <a:lnTo>
                      <a:pt x="1220" y="1217"/>
                    </a:lnTo>
                    <a:lnTo>
                      <a:pt x="1220" y="1217"/>
                    </a:lnTo>
                    <a:lnTo>
                      <a:pt x="1218" y="1215"/>
                    </a:lnTo>
                    <a:lnTo>
                      <a:pt x="1217" y="1215"/>
                    </a:lnTo>
                    <a:lnTo>
                      <a:pt x="1215" y="1217"/>
                    </a:lnTo>
                    <a:lnTo>
                      <a:pt x="1217" y="1213"/>
                    </a:lnTo>
                    <a:lnTo>
                      <a:pt x="1218" y="1212"/>
                    </a:lnTo>
                    <a:lnTo>
                      <a:pt x="1217" y="1212"/>
                    </a:lnTo>
                    <a:lnTo>
                      <a:pt x="1215" y="1212"/>
                    </a:lnTo>
                    <a:lnTo>
                      <a:pt x="1213" y="1213"/>
                    </a:lnTo>
                    <a:lnTo>
                      <a:pt x="1211" y="1215"/>
                    </a:lnTo>
                    <a:lnTo>
                      <a:pt x="1210" y="1219"/>
                    </a:lnTo>
                    <a:lnTo>
                      <a:pt x="1210" y="1219"/>
                    </a:lnTo>
                    <a:lnTo>
                      <a:pt x="1210" y="1220"/>
                    </a:lnTo>
                    <a:lnTo>
                      <a:pt x="1204" y="1222"/>
                    </a:lnTo>
                    <a:lnTo>
                      <a:pt x="1204" y="1226"/>
                    </a:lnTo>
                    <a:lnTo>
                      <a:pt x="1204" y="1222"/>
                    </a:lnTo>
                    <a:lnTo>
                      <a:pt x="1204" y="1220"/>
                    </a:lnTo>
                    <a:lnTo>
                      <a:pt x="1204" y="1217"/>
                    </a:lnTo>
                    <a:lnTo>
                      <a:pt x="1204" y="1215"/>
                    </a:lnTo>
                    <a:lnTo>
                      <a:pt x="1206" y="1212"/>
                    </a:lnTo>
                    <a:lnTo>
                      <a:pt x="1210" y="1210"/>
                    </a:lnTo>
                    <a:lnTo>
                      <a:pt x="1210" y="1208"/>
                    </a:lnTo>
                    <a:lnTo>
                      <a:pt x="1210" y="1206"/>
                    </a:lnTo>
                    <a:lnTo>
                      <a:pt x="1211" y="1206"/>
                    </a:lnTo>
                    <a:lnTo>
                      <a:pt x="1213" y="1203"/>
                    </a:lnTo>
                    <a:lnTo>
                      <a:pt x="1215" y="1203"/>
                    </a:lnTo>
                    <a:lnTo>
                      <a:pt x="1217" y="1199"/>
                    </a:lnTo>
                    <a:lnTo>
                      <a:pt x="1218" y="1199"/>
                    </a:lnTo>
                    <a:lnTo>
                      <a:pt x="1218" y="1199"/>
                    </a:lnTo>
                    <a:lnTo>
                      <a:pt x="1218" y="1196"/>
                    </a:lnTo>
                    <a:lnTo>
                      <a:pt x="1220" y="1196"/>
                    </a:lnTo>
                    <a:lnTo>
                      <a:pt x="1220" y="1194"/>
                    </a:lnTo>
                    <a:lnTo>
                      <a:pt x="1220" y="1196"/>
                    </a:lnTo>
                    <a:lnTo>
                      <a:pt x="1220" y="1196"/>
                    </a:lnTo>
                    <a:lnTo>
                      <a:pt x="1220" y="1199"/>
                    </a:lnTo>
                    <a:lnTo>
                      <a:pt x="1224" y="1196"/>
                    </a:lnTo>
                    <a:lnTo>
                      <a:pt x="1227" y="1191"/>
                    </a:lnTo>
                    <a:lnTo>
                      <a:pt x="1227" y="1191"/>
                    </a:lnTo>
                    <a:lnTo>
                      <a:pt x="1227" y="1189"/>
                    </a:lnTo>
                    <a:lnTo>
                      <a:pt x="1224" y="1189"/>
                    </a:lnTo>
                    <a:lnTo>
                      <a:pt x="1224" y="1189"/>
                    </a:lnTo>
                    <a:lnTo>
                      <a:pt x="1224" y="1187"/>
                    </a:lnTo>
                    <a:lnTo>
                      <a:pt x="1220" y="1186"/>
                    </a:lnTo>
                    <a:lnTo>
                      <a:pt x="1224" y="1184"/>
                    </a:lnTo>
                    <a:lnTo>
                      <a:pt x="1224" y="1184"/>
                    </a:lnTo>
                    <a:lnTo>
                      <a:pt x="1227" y="1184"/>
                    </a:lnTo>
                    <a:lnTo>
                      <a:pt x="1229" y="1186"/>
                    </a:lnTo>
                    <a:lnTo>
                      <a:pt x="1229" y="1186"/>
                    </a:lnTo>
                    <a:lnTo>
                      <a:pt x="1232" y="1184"/>
                    </a:lnTo>
                    <a:lnTo>
                      <a:pt x="1232" y="1180"/>
                    </a:lnTo>
                    <a:lnTo>
                      <a:pt x="1229" y="1180"/>
                    </a:lnTo>
                    <a:lnTo>
                      <a:pt x="1229" y="1180"/>
                    </a:lnTo>
                    <a:lnTo>
                      <a:pt x="1229" y="1180"/>
                    </a:lnTo>
                    <a:lnTo>
                      <a:pt x="1227" y="1180"/>
                    </a:lnTo>
                    <a:lnTo>
                      <a:pt x="1227" y="1180"/>
                    </a:lnTo>
                    <a:lnTo>
                      <a:pt x="1227" y="1180"/>
                    </a:lnTo>
                    <a:lnTo>
                      <a:pt x="1224" y="1180"/>
                    </a:lnTo>
                    <a:lnTo>
                      <a:pt x="1224" y="1180"/>
                    </a:lnTo>
                    <a:lnTo>
                      <a:pt x="1220" y="1180"/>
                    </a:lnTo>
                    <a:lnTo>
                      <a:pt x="1220" y="1182"/>
                    </a:lnTo>
                    <a:lnTo>
                      <a:pt x="1218" y="1184"/>
                    </a:lnTo>
                    <a:lnTo>
                      <a:pt x="1215" y="1184"/>
                    </a:lnTo>
                    <a:lnTo>
                      <a:pt x="1211" y="1186"/>
                    </a:lnTo>
                    <a:lnTo>
                      <a:pt x="1210" y="1189"/>
                    </a:lnTo>
                    <a:lnTo>
                      <a:pt x="1210" y="1191"/>
                    </a:lnTo>
                    <a:lnTo>
                      <a:pt x="1206" y="1191"/>
                    </a:lnTo>
                    <a:lnTo>
                      <a:pt x="1204" y="1191"/>
                    </a:lnTo>
                    <a:lnTo>
                      <a:pt x="1204" y="1191"/>
                    </a:lnTo>
                    <a:lnTo>
                      <a:pt x="1206" y="1191"/>
                    </a:lnTo>
                    <a:lnTo>
                      <a:pt x="1206" y="1194"/>
                    </a:lnTo>
                    <a:lnTo>
                      <a:pt x="1206" y="1194"/>
                    </a:lnTo>
                    <a:lnTo>
                      <a:pt x="1206" y="1194"/>
                    </a:lnTo>
                    <a:lnTo>
                      <a:pt x="1206" y="1194"/>
                    </a:lnTo>
                    <a:close/>
                    <a:moveTo>
                      <a:pt x="1097" y="1226"/>
                    </a:moveTo>
                    <a:lnTo>
                      <a:pt x="1100" y="1227"/>
                    </a:lnTo>
                    <a:lnTo>
                      <a:pt x="1105" y="1231"/>
                    </a:lnTo>
                    <a:lnTo>
                      <a:pt x="1109" y="1231"/>
                    </a:lnTo>
                    <a:lnTo>
                      <a:pt x="1114" y="1231"/>
                    </a:lnTo>
                    <a:lnTo>
                      <a:pt x="1116" y="1232"/>
                    </a:lnTo>
                    <a:lnTo>
                      <a:pt x="1119" y="1232"/>
                    </a:lnTo>
                    <a:lnTo>
                      <a:pt x="1121" y="1234"/>
                    </a:lnTo>
                    <a:lnTo>
                      <a:pt x="1124" y="1232"/>
                    </a:lnTo>
                    <a:lnTo>
                      <a:pt x="1124" y="1231"/>
                    </a:lnTo>
                    <a:lnTo>
                      <a:pt x="1124" y="1231"/>
                    </a:lnTo>
                    <a:lnTo>
                      <a:pt x="1123" y="1227"/>
                    </a:lnTo>
                    <a:lnTo>
                      <a:pt x="1121" y="1227"/>
                    </a:lnTo>
                    <a:lnTo>
                      <a:pt x="1119" y="1227"/>
                    </a:lnTo>
                    <a:lnTo>
                      <a:pt x="1116" y="1222"/>
                    </a:lnTo>
                    <a:lnTo>
                      <a:pt x="1112" y="1220"/>
                    </a:lnTo>
                    <a:lnTo>
                      <a:pt x="1111" y="1220"/>
                    </a:lnTo>
                    <a:lnTo>
                      <a:pt x="1107" y="1217"/>
                    </a:lnTo>
                    <a:lnTo>
                      <a:pt x="1105" y="1215"/>
                    </a:lnTo>
                    <a:lnTo>
                      <a:pt x="1100" y="1215"/>
                    </a:lnTo>
                    <a:lnTo>
                      <a:pt x="1091" y="1212"/>
                    </a:lnTo>
                    <a:lnTo>
                      <a:pt x="1088" y="1210"/>
                    </a:lnTo>
                    <a:lnTo>
                      <a:pt x="1085" y="1212"/>
                    </a:lnTo>
                    <a:lnTo>
                      <a:pt x="1086" y="1215"/>
                    </a:lnTo>
                    <a:lnTo>
                      <a:pt x="1090" y="1217"/>
                    </a:lnTo>
                    <a:lnTo>
                      <a:pt x="1093" y="1222"/>
                    </a:lnTo>
                    <a:lnTo>
                      <a:pt x="1097" y="1226"/>
                    </a:lnTo>
                    <a:lnTo>
                      <a:pt x="1097" y="1226"/>
                    </a:lnTo>
                    <a:lnTo>
                      <a:pt x="1097" y="1226"/>
                    </a:lnTo>
                    <a:lnTo>
                      <a:pt x="1097" y="1226"/>
                    </a:lnTo>
                    <a:lnTo>
                      <a:pt x="1097" y="1226"/>
                    </a:lnTo>
                    <a:close/>
                    <a:moveTo>
                      <a:pt x="1097" y="1304"/>
                    </a:moveTo>
                    <a:lnTo>
                      <a:pt x="1093" y="1302"/>
                    </a:lnTo>
                    <a:lnTo>
                      <a:pt x="1093" y="1299"/>
                    </a:lnTo>
                    <a:lnTo>
                      <a:pt x="1085" y="1297"/>
                    </a:lnTo>
                    <a:lnTo>
                      <a:pt x="1083" y="1297"/>
                    </a:lnTo>
                    <a:lnTo>
                      <a:pt x="1083" y="1293"/>
                    </a:lnTo>
                    <a:lnTo>
                      <a:pt x="1083" y="1292"/>
                    </a:lnTo>
                    <a:lnTo>
                      <a:pt x="1079" y="1292"/>
                    </a:lnTo>
                    <a:lnTo>
                      <a:pt x="1078" y="1290"/>
                    </a:lnTo>
                    <a:lnTo>
                      <a:pt x="1078" y="1290"/>
                    </a:lnTo>
                    <a:lnTo>
                      <a:pt x="1078" y="1286"/>
                    </a:lnTo>
                    <a:lnTo>
                      <a:pt x="1074" y="1286"/>
                    </a:lnTo>
                    <a:lnTo>
                      <a:pt x="1074" y="1286"/>
                    </a:lnTo>
                    <a:lnTo>
                      <a:pt x="1074" y="1286"/>
                    </a:lnTo>
                    <a:lnTo>
                      <a:pt x="1074" y="1281"/>
                    </a:lnTo>
                    <a:lnTo>
                      <a:pt x="1079" y="1278"/>
                    </a:lnTo>
                    <a:lnTo>
                      <a:pt x="1083" y="1281"/>
                    </a:lnTo>
                    <a:lnTo>
                      <a:pt x="1078" y="1281"/>
                    </a:lnTo>
                    <a:lnTo>
                      <a:pt x="1078" y="1283"/>
                    </a:lnTo>
                    <a:lnTo>
                      <a:pt x="1079" y="1286"/>
                    </a:lnTo>
                    <a:lnTo>
                      <a:pt x="1079" y="1290"/>
                    </a:lnTo>
                    <a:lnTo>
                      <a:pt x="1083" y="1290"/>
                    </a:lnTo>
                    <a:lnTo>
                      <a:pt x="1083" y="1290"/>
                    </a:lnTo>
                    <a:lnTo>
                      <a:pt x="1086" y="1290"/>
                    </a:lnTo>
                    <a:lnTo>
                      <a:pt x="1090" y="1292"/>
                    </a:lnTo>
                    <a:lnTo>
                      <a:pt x="1091" y="1292"/>
                    </a:lnTo>
                    <a:lnTo>
                      <a:pt x="1093" y="1293"/>
                    </a:lnTo>
                    <a:lnTo>
                      <a:pt x="1097" y="1293"/>
                    </a:lnTo>
                    <a:lnTo>
                      <a:pt x="1100" y="1292"/>
                    </a:lnTo>
                    <a:lnTo>
                      <a:pt x="1102" y="1292"/>
                    </a:lnTo>
                    <a:lnTo>
                      <a:pt x="1107" y="1292"/>
                    </a:lnTo>
                    <a:lnTo>
                      <a:pt x="1105" y="1293"/>
                    </a:lnTo>
                    <a:lnTo>
                      <a:pt x="1102" y="1293"/>
                    </a:lnTo>
                    <a:lnTo>
                      <a:pt x="1102" y="1297"/>
                    </a:lnTo>
                    <a:lnTo>
                      <a:pt x="1102" y="1300"/>
                    </a:lnTo>
                    <a:lnTo>
                      <a:pt x="1102" y="1304"/>
                    </a:lnTo>
                    <a:lnTo>
                      <a:pt x="1097" y="1304"/>
                    </a:lnTo>
                    <a:lnTo>
                      <a:pt x="1097" y="1304"/>
                    </a:lnTo>
                    <a:lnTo>
                      <a:pt x="1097" y="1304"/>
                    </a:lnTo>
                    <a:lnTo>
                      <a:pt x="1097" y="1304"/>
                    </a:lnTo>
                    <a:close/>
                    <a:moveTo>
                      <a:pt x="1123" y="1314"/>
                    </a:moveTo>
                    <a:lnTo>
                      <a:pt x="1123" y="1312"/>
                    </a:lnTo>
                    <a:lnTo>
                      <a:pt x="1116" y="1309"/>
                    </a:lnTo>
                    <a:lnTo>
                      <a:pt x="1116" y="1305"/>
                    </a:lnTo>
                    <a:lnTo>
                      <a:pt x="1114" y="1304"/>
                    </a:lnTo>
                    <a:lnTo>
                      <a:pt x="1116" y="1300"/>
                    </a:lnTo>
                    <a:lnTo>
                      <a:pt x="1121" y="1299"/>
                    </a:lnTo>
                    <a:lnTo>
                      <a:pt x="1124" y="1293"/>
                    </a:lnTo>
                    <a:lnTo>
                      <a:pt x="1124" y="1292"/>
                    </a:lnTo>
                    <a:lnTo>
                      <a:pt x="1128" y="1286"/>
                    </a:lnTo>
                    <a:lnTo>
                      <a:pt x="1131" y="1283"/>
                    </a:lnTo>
                    <a:lnTo>
                      <a:pt x="1133" y="1281"/>
                    </a:lnTo>
                    <a:lnTo>
                      <a:pt x="1135" y="1281"/>
                    </a:lnTo>
                    <a:lnTo>
                      <a:pt x="1135" y="1281"/>
                    </a:lnTo>
                    <a:lnTo>
                      <a:pt x="1135" y="1286"/>
                    </a:lnTo>
                    <a:lnTo>
                      <a:pt x="1137" y="1286"/>
                    </a:lnTo>
                    <a:lnTo>
                      <a:pt x="1137" y="1286"/>
                    </a:lnTo>
                    <a:lnTo>
                      <a:pt x="1133" y="1293"/>
                    </a:lnTo>
                    <a:lnTo>
                      <a:pt x="1131" y="1297"/>
                    </a:lnTo>
                    <a:lnTo>
                      <a:pt x="1135" y="1297"/>
                    </a:lnTo>
                    <a:lnTo>
                      <a:pt x="1137" y="1300"/>
                    </a:lnTo>
                    <a:lnTo>
                      <a:pt x="1135" y="1302"/>
                    </a:lnTo>
                    <a:lnTo>
                      <a:pt x="1135" y="1304"/>
                    </a:lnTo>
                    <a:lnTo>
                      <a:pt x="1138" y="1302"/>
                    </a:lnTo>
                    <a:lnTo>
                      <a:pt x="1138" y="1300"/>
                    </a:lnTo>
                    <a:lnTo>
                      <a:pt x="1140" y="1299"/>
                    </a:lnTo>
                    <a:lnTo>
                      <a:pt x="1144" y="1300"/>
                    </a:lnTo>
                    <a:lnTo>
                      <a:pt x="1144" y="1304"/>
                    </a:lnTo>
                    <a:lnTo>
                      <a:pt x="1145" y="1305"/>
                    </a:lnTo>
                    <a:lnTo>
                      <a:pt x="1142" y="1307"/>
                    </a:lnTo>
                    <a:lnTo>
                      <a:pt x="1140" y="1309"/>
                    </a:lnTo>
                    <a:lnTo>
                      <a:pt x="1135" y="1309"/>
                    </a:lnTo>
                    <a:lnTo>
                      <a:pt x="1130" y="1312"/>
                    </a:lnTo>
                    <a:lnTo>
                      <a:pt x="1128" y="1312"/>
                    </a:lnTo>
                    <a:lnTo>
                      <a:pt x="1124" y="1312"/>
                    </a:lnTo>
                    <a:lnTo>
                      <a:pt x="1124" y="1312"/>
                    </a:lnTo>
                    <a:lnTo>
                      <a:pt x="1124" y="1314"/>
                    </a:lnTo>
                    <a:lnTo>
                      <a:pt x="1123" y="1314"/>
                    </a:lnTo>
                    <a:lnTo>
                      <a:pt x="1123" y="1314"/>
                    </a:lnTo>
                    <a:lnTo>
                      <a:pt x="1123" y="1314"/>
                    </a:lnTo>
                    <a:lnTo>
                      <a:pt x="1123" y="1314"/>
                    </a:lnTo>
                    <a:close/>
                    <a:moveTo>
                      <a:pt x="859" y="1109"/>
                    </a:moveTo>
                    <a:lnTo>
                      <a:pt x="859" y="1112"/>
                    </a:lnTo>
                    <a:lnTo>
                      <a:pt x="860" y="1112"/>
                    </a:lnTo>
                    <a:lnTo>
                      <a:pt x="860" y="1112"/>
                    </a:lnTo>
                    <a:lnTo>
                      <a:pt x="860" y="1107"/>
                    </a:lnTo>
                    <a:lnTo>
                      <a:pt x="860" y="1109"/>
                    </a:lnTo>
                    <a:lnTo>
                      <a:pt x="859" y="1109"/>
                    </a:lnTo>
                    <a:lnTo>
                      <a:pt x="859" y="1109"/>
                    </a:lnTo>
                    <a:lnTo>
                      <a:pt x="859" y="1109"/>
                    </a:lnTo>
                    <a:lnTo>
                      <a:pt x="859" y="1109"/>
                    </a:lnTo>
                    <a:close/>
                    <a:moveTo>
                      <a:pt x="859" y="1146"/>
                    </a:moveTo>
                    <a:lnTo>
                      <a:pt x="860" y="1144"/>
                    </a:lnTo>
                    <a:lnTo>
                      <a:pt x="862" y="1144"/>
                    </a:lnTo>
                    <a:lnTo>
                      <a:pt x="864" y="1144"/>
                    </a:lnTo>
                    <a:lnTo>
                      <a:pt x="864" y="1144"/>
                    </a:lnTo>
                    <a:lnTo>
                      <a:pt x="860" y="1149"/>
                    </a:lnTo>
                    <a:lnTo>
                      <a:pt x="859" y="1146"/>
                    </a:lnTo>
                    <a:lnTo>
                      <a:pt x="859" y="1146"/>
                    </a:lnTo>
                    <a:lnTo>
                      <a:pt x="859" y="1146"/>
                    </a:lnTo>
                    <a:lnTo>
                      <a:pt x="859" y="1146"/>
                    </a:lnTo>
                    <a:close/>
                    <a:moveTo>
                      <a:pt x="827" y="1121"/>
                    </a:moveTo>
                    <a:lnTo>
                      <a:pt x="831" y="1116"/>
                    </a:lnTo>
                    <a:lnTo>
                      <a:pt x="833" y="1116"/>
                    </a:lnTo>
                    <a:lnTo>
                      <a:pt x="833" y="1112"/>
                    </a:lnTo>
                    <a:lnTo>
                      <a:pt x="834" y="1112"/>
                    </a:lnTo>
                    <a:lnTo>
                      <a:pt x="838" y="1112"/>
                    </a:lnTo>
                    <a:lnTo>
                      <a:pt x="840" y="1112"/>
                    </a:lnTo>
                    <a:lnTo>
                      <a:pt x="843" y="1112"/>
                    </a:lnTo>
                    <a:lnTo>
                      <a:pt x="846" y="1118"/>
                    </a:lnTo>
                    <a:lnTo>
                      <a:pt x="846" y="1121"/>
                    </a:lnTo>
                    <a:lnTo>
                      <a:pt x="846" y="1121"/>
                    </a:lnTo>
                    <a:lnTo>
                      <a:pt x="846" y="1125"/>
                    </a:lnTo>
                    <a:lnTo>
                      <a:pt x="840" y="1123"/>
                    </a:lnTo>
                    <a:lnTo>
                      <a:pt x="836" y="1121"/>
                    </a:lnTo>
                    <a:lnTo>
                      <a:pt x="833" y="1121"/>
                    </a:lnTo>
                    <a:lnTo>
                      <a:pt x="833" y="1123"/>
                    </a:lnTo>
                    <a:lnTo>
                      <a:pt x="833" y="1123"/>
                    </a:lnTo>
                    <a:lnTo>
                      <a:pt x="831" y="1121"/>
                    </a:lnTo>
                    <a:lnTo>
                      <a:pt x="831" y="1121"/>
                    </a:lnTo>
                    <a:lnTo>
                      <a:pt x="827" y="1121"/>
                    </a:lnTo>
                    <a:lnTo>
                      <a:pt x="827" y="1121"/>
                    </a:lnTo>
                    <a:lnTo>
                      <a:pt x="827" y="1121"/>
                    </a:lnTo>
                    <a:lnTo>
                      <a:pt x="827" y="1121"/>
                    </a:lnTo>
                    <a:lnTo>
                      <a:pt x="827" y="1121"/>
                    </a:lnTo>
                    <a:close/>
                    <a:moveTo>
                      <a:pt x="131" y="1133"/>
                    </a:moveTo>
                    <a:lnTo>
                      <a:pt x="134" y="1137"/>
                    </a:lnTo>
                    <a:lnTo>
                      <a:pt x="136" y="1140"/>
                    </a:lnTo>
                    <a:lnTo>
                      <a:pt x="136" y="1144"/>
                    </a:lnTo>
                    <a:lnTo>
                      <a:pt x="131" y="1139"/>
                    </a:lnTo>
                    <a:lnTo>
                      <a:pt x="131" y="1133"/>
                    </a:lnTo>
                    <a:lnTo>
                      <a:pt x="131" y="1133"/>
                    </a:lnTo>
                    <a:lnTo>
                      <a:pt x="131" y="1133"/>
                    </a:lnTo>
                    <a:lnTo>
                      <a:pt x="131" y="1133"/>
                    </a:lnTo>
                    <a:close/>
                    <a:moveTo>
                      <a:pt x="124" y="1125"/>
                    </a:moveTo>
                    <a:lnTo>
                      <a:pt x="124" y="1121"/>
                    </a:lnTo>
                    <a:lnTo>
                      <a:pt x="125" y="1121"/>
                    </a:lnTo>
                    <a:lnTo>
                      <a:pt x="124" y="1125"/>
                    </a:lnTo>
                    <a:lnTo>
                      <a:pt x="124" y="1125"/>
                    </a:lnTo>
                    <a:lnTo>
                      <a:pt x="124" y="1125"/>
                    </a:lnTo>
                    <a:lnTo>
                      <a:pt x="124" y="1125"/>
                    </a:lnTo>
                    <a:close/>
                    <a:moveTo>
                      <a:pt x="105" y="1109"/>
                    </a:moveTo>
                    <a:lnTo>
                      <a:pt x="112" y="1112"/>
                    </a:lnTo>
                    <a:lnTo>
                      <a:pt x="112" y="1109"/>
                    </a:lnTo>
                    <a:lnTo>
                      <a:pt x="105" y="1109"/>
                    </a:lnTo>
                    <a:lnTo>
                      <a:pt x="105" y="1109"/>
                    </a:lnTo>
                    <a:lnTo>
                      <a:pt x="105" y="1109"/>
                    </a:lnTo>
                    <a:lnTo>
                      <a:pt x="105" y="1109"/>
                    </a:lnTo>
                    <a:close/>
                    <a:moveTo>
                      <a:pt x="77" y="1097"/>
                    </a:moveTo>
                    <a:lnTo>
                      <a:pt x="77" y="1102"/>
                    </a:lnTo>
                    <a:lnTo>
                      <a:pt x="80" y="1102"/>
                    </a:lnTo>
                    <a:lnTo>
                      <a:pt x="82" y="1106"/>
                    </a:lnTo>
                    <a:lnTo>
                      <a:pt x="89" y="1107"/>
                    </a:lnTo>
                    <a:lnTo>
                      <a:pt x="85" y="1109"/>
                    </a:lnTo>
                    <a:lnTo>
                      <a:pt x="82" y="1109"/>
                    </a:lnTo>
                    <a:lnTo>
                      <a:pt x="80" y="1112"/>
                    </a:lnTo>
                    <a:lnTo>
                      <a:pt x="82" y="1112"/>
                    </a:lnTo>
                    <a:lnTo>
                      <a:pt x="80" y="1118"/>
                    </a:lnTo>
                    <a:lnTo>
                      <a:pt x="82" y="1118"/>
                    </a:lnTo>
                    <a:lnTo>
                      <a:pt x="85" y="1118"/>
                    </a:lnTo>
                    <a:lnTo>
                      <a:pt x="85" y="1121"/>
                    </a:lnTo>
                    <a:lnTo>
                      <a:pt x="89" y="1121"/>
                    </a:lnTo>
                    <a:lnTo>
                      <a:pt x="89" y="1123"/>
                    </a:lnTo>
                    <a:lnTo>
                      <a:pt x="92" y="1126"/>
                    </a:lnTo>
                    <a:lnTo>
                      <a:pt x="96" y="1125"/>
                    </a:lnTo>
                    <a:lnTo>
                      <a:pt x="91" y="1130"/>
                    </a:lnTo>
                    <a:lnTo>
                      <a:pt x="94" y="1133"/>
                    </a:lnTo>
                    <a:lnTo>
                      <a:pt x="96" y="1133"/>
                    </a:lnTo>
                    <a:lnTo>
                      <a:pt x="96" y="1130"/>
                    </a:lnTo>
                    <a:lnTo>
                      <a:pt x="101" y="1128"/>
                    </a:lnTo>
                    <a:lnTo>
                      <a:pt x="99" y="1133"/>
                    </a:lnTo>
                    <a:lnTo>
                      <a:pt x="98" y="1135"/>
                    </a:lnTo>
                    <a:lnTo>
                      <a:pt x="98" y="1139"/>
                    </a:lnTo>
                    <a:lnTo>
                      <a:pt x="99" y="1139"/>
                    </a:lnTo>
                    <a:lnTo>
                      <a:pt x="99" y="1140"/>
                    </a:lnTo>
                    <a:lnTo>
                      <a:pt x="105" y="1140"/>
                    </a:lnTo>
                    <a:lnTo>
                      <a:pt x="105" y="1144"/>
                    </a:lnTo>
                    <a:lnTo>
                      <a:pt x="108" y="1144"/>
                    </a:lnTo>
                    <a:lnTo>
                      <a:pt x="108" y="1149"/>
                    </a:lnTo>
                    <a:lnTo>
                      <a:pt x="108" y="1151"/>
                    </a:lnTo>
                    <a:lnTo>
                      <a:pt x="112" y="1154"/>
                    </a:lnTo>
                    <a:lnTo>
                      <a:pt x="113" y="1151"/>
                    </a:lnTo>
                    <a:lnTo>
                      <a:pt x="117" y="1152"/>
                    </a:lnTo>
                    <a:lnTo>
                      <a:pt x="118" y="1152"/>
                    </a:lnTo>
                    <a:lnTo>
                      <a:pt x="113" y="1158"/>
                    </a:lnTo>
                    <a:lnTo>
                      <a:pt x="120" y="1165"/>
                    </a:lnTo>
                    <a:lnTo>
                      <a:pt x="122" y="1166"/>
                    </a:lnTo>
                    <a:lnTo>
                      <a:pt x="124" y="1168"/>
                    </a:lnTo>
                    <a:lnTo>
                      <a:pt x="136" y="1173"/>
                    </a:lnTo>
                    <a:lnTo>
                      <a:pt x="136" y="1172"/>
                    </a:lnTo>
                    <a:lnTo>
                      <a:pt x="139" y="1172"/>
                    </a:lnTo>
                    <a:lnTo>
                      <a:pt x="136" y="1165"/>
                    </a:lnTo>
                    <a:lnTo>
                      <a:pt x="136" y="1159"/>
                    </a:lnTo>
                    <a:lnTo>
                      <a:pt x="136" y="1158"/>
                    </a:lnTo>
                    <a:lnTo>
                      <a:pt x="136" y="1151"/>
                    </a:lnTo>
                    <a:lnTo>
                      <a:pt x="134" y="1146"/>
                    </a:lnTo>
                    <a:lnTo>
                      <a:pt x="127" y="1140"/>
                    </a:lnTo>
                    <a:lnTo>
                      <a:pt x="125" y="1132"/>
                    </a:lnTo>
                    <a:lnTo>
                      <a:pt x="122" y="1125"/>
                    </a:lnTo>
                    <a:lnTo>
                      <a:pt x="122" y="1121"/>
                    </a:lnTo>
                    <a:lnTo>
                      <a:pt x="118" y="1118"/>
                    </a:lnTo>
                    <a:lnTo>
                      <a:pt x="117" y="1118"/>
                    </a:lnTo>
                    <a:lnTo>
                      <a:pt x="112" y="1112"/>
                    </a:lnTo>
                    <a:lnTo>
                      <a:pt x="108" y="1112"/>
                    </a:lnTo>
                    <a:lnTo>
                      <a:pt x="103" y="1112"/>
                    </a:lnTo>
                    <a:lnTo>
                      <a:pt x="101" y="1109"/>
                    </a:lnTo>
                    <a:lnTo>
                      <a:pt x="96" y="1107"/>
                    </a:lnTo>
                    <a:lnTo>
                      <a:pt x="92" y="1104"/>
                    </a:lnTo>
                    <a:lnTo>
                      <a:pt x="92" y="1100"/>
                    </a:lnTo>
                    <a:lnTo>
                      <a:pt x="89" y="1100"/>
                    </a:lnTo>
                    <a:lnTo>
                      <a:pt x="85" y="1097"/>
                    </a:lnTo>
                    <a:lnTo>
                      <a:pt x="82" y="1095"/>
                    </a:lnTo>
                    <a:lnTo>
                      <a:pt x="82" y="1097"/>
                    </a:lnTo>
                    <a:lnTo>
                      <a:pt x="77" y="1097"/>
                    </a:lnTo>
                    <a:lnTo>
                      <a:pt x="77" y="1097"/>
                    </a:lnTo>
                    <a:lnTo>
                      <a:pt x="77" y="1097"/>
                    </a:lnTo>
                    <a:lnTo>
                      <a:pt x="77" y="1097"/>
                    </a:lnTo>
                    <a:close/>
                    <a:moveTo>
                      <a:pt x="108" y="1104"/>
                    </a:moveTo>
                    <a:lnTo>
                      <a:pt x="112" y="1104"/>
                    </a:lnTo>
                    <a:lnTo>
                      <a:pt x="112" y="1102"/>
                    </a:lnTo>
                    <a:lnTo>
                      <a:pt x="113" y="1104"/>
                    </a:lnTo>
                    <a:lnTo>
                      <a:pt x="112" y="1107"/>
                    </a:lnTo>
                    <a:lnTo>
                      <a:pt x="108" y="1107"/>
                    </a:lnTo>
                    <a:lnTo>
                      <a:pt x="108" y="1104"/>
                    </a:lnTo>
                    <a:lnTo>
                      <a:pt x="108" y="1104"/>
                    </a:lnTo>
                    <a:lnTo>
                      <a:pt x="108" y="1104"/>
                    </a:lnTo>
                    <a:lnTo>
                      <a:pt x="108" y="1104"/>
                    </a:lnTo>
                    <a:close/>
                    <a:moveTo>
                      <a:pt x="105" y="1102"/>
                    </a:moveTo>
                    <a:lnTo>
                      <a:pt x="108" y="1099"/>
                    </a:lnTo>
                    <a:lnTo>
                      <a:pt x="108" y="1102"/>
                    </a:lnTo>
                    <a:lnTo>
                      <a:pt x="105" y="1102"/>
                    </a:lnTo>
                    <a:lnTo>
                      <a:pt x="105" y="1102"/>
                    </a:lnTo>
                    <a:lnTo>
                      <a:pt x="105" y="1102"/>
                    </a:lnTo>
                    <a:lnTo>
                      <a:pt x="105" y="1102"/>
                    </a:lnTo>
                    <a:close/>
                    <a:moveTo>
                      <a:pt x="85" y="1027"/>
                    </a:moveTo>
                    <a:lnTo>
                      <a:pt x="85" y="1031"/>
                    </a:lnTo>
                    <a:lnTo>
                      <a:pt x="89" y="1029"/>
                    </a:lnTo>
                    <a:lnTo>
                      <a:pt x="85" y="1027"/>
                    </a:lnTo>
                    <a:lnTo>
                      <a:pt x="85" y="1027"/>
                    </a:lnTo>
                    <a:lnTo>
                      <a:pt x="85" y="1027"/>
                    </a:lnTo>
                    <a:lnTo>
                      <a:pt x="85" y="1027"/>
                    </a:lnTo>
                    <a:close/>
                    <a:moveTo>
                      <a:pt x="94" y="1062"/>
                    </a:moveTo>
                    <a:lnTo>
                      <a:pt x="94" y="1059"/>
                    </a:lnTo>
                    <a:lnTo>
                      <a:pt x="96" y="1059"/>
                    </a:lnTo>
                    <a:lnTo>
                      <a:pt x="96" y="1059"/>
                    </a:lnTo>
                    <a:lnTo>
                      <a:pt x="96" y="1062"/>
                    </a:lnTo>
                    <a:lnTo>
                      <a:pt x="94" y="1062"/>
                    </a:lnTo>
                    <a:lnTo>
                      <a:pt x="94" y="1062"/>
                    </a:lnTo>
                    <a:lnTo>
                      <a:pt x="94" y="1062"/>
                    </a:lnTo>
                    <a:lnTo>
                      <a:pt x="94" y="1062"/>
                    </a:lnTo>
                    <a:close/>
                    <a:moveTo>
                      <a:pt x="92" y="1072"/>
                    </a:moveTo>
                    <a:lnTo>
                      <a:pt x="91" y="1074"/>
                    </a:lnTo>
                    <a:lnTo>
                      <a:pt x="91" y="1078"/>
                    </a:lnTo>
                    <a:lnTo>
                      <a:pt x="92" y="1079"/>
                    </a:lnTo>
                    <a:lnTo>
                      <a:pt x="94" y="1074"/>
                    </a:lnTo>
                    <a:lnTo>
                      <a:pt x="92" y="1072"/>
                    </a:lnTo>
                    <a:lnTo>
                      <a:pt x="92" y="1072"/>
                    </a:lnTo>
                    <a:lnTo>
                      <a:pt x="92" y="1072"/>
                    </a:lnTo>
                    <a:lnTo>
                      <a:pt x="92" y="1072"/>
                    </a:lnTo>
                    <a:close/>
                    <a:moveTo>
                      <a:pt x="96" y="1067"/>
                    </a:moveTo>
                    <a:lnTo>
                      <a:pt x="99" y="1064"/>
                    </a:lnTo>
                    <a:lnTo>
                      <a:pt x="98" y="1062"/>
                    </a:lnTo>
                    <a:lnTo>
                      <a:pt x="92" y="1064"/>
                    </a:lnTo>
                    <a:lnTo>
                      <a:pt x="92" y="1067"/>
                    </a:lnTo>
                    <a:lnTo>
                      <a:pt x="94" y="1067"/>
                    </a:lnTo>
                    <a:lnTo>
                      <a:pt x="94" y="1067"/>
                    </a:lnTo>
                    <a:lnTo>
                      <a:pt x="96" y="1067"/>
                    </a:lnTo>
                    <a:lnTo>
                      <a:pt x="96" y="1067"/>
                    </a:lnTo>
                    <a:lnTo>
                      <a:pt x="96" y="1067"/>
                    </a:lnTo>
                    <a:lnTo>
                      <a:pt x="96" y="1067"/>
                    </a:lnTo>
                    <a:close/>
                    <a:moveTo>
                      <a:pt x="99" y="1064"/>
                    </a:moveTo>
                    <a:lnTo>
                      <a:pt x="105" y="1059"/>
                    </a:lnTo>
                    <a:lnTo>
                      <a:pt x="105" y="1059"/>
                    </a:lnTo>
                    <a:lnTo>
                      <a:pt x="108" y="1057"/>
                    </a:lnTo>
                    <a:lnTo>
                      <a:pt x="113" y="1055"/>
                    </a:lnTo>
                    <a:lnTo>
                      <a:pt x="112" y="1057"/>
                    </a:lnTo>
                    <a:lnTo>
                      <a:pt x="108" y="1062"/>
                    </a:lnTo>
                    <a:lnTo>
                      <a:pt x="105" y="1062"/>
                    </a:lnTo>
                    <a:lnTo>
                      <a:pt x="101" y="1064"/>
                    </a:lnTo>
                    <a:lnTo>
                      <a:pt x="99" y="1064"/>
                    </a:lnTo>
                    <a:lnTo>
                      <a:pt x="99" y="1064"/>
                    </a:lnTo>
                    <a:lnTo>
                      <a:pt x="99" y="1064"/>
                    </a:lnTo>
                    <a:lnTo>
                      <a:pt x="99" y="1064"/>
                    </a:lnTo>
                    <a:close/>
                    <a:moveTo>
                      <a:pt x="98" y="1046"/>
                    </a:moveTo>
                    <a:lnTo>
                      <a:pt x="98" y="1043"/>
                    </a:lnTo>
                    <a:lnTo>
                      <a:pt x="99" y="1039"/>
                    </a:lnTo>
                    <a:lnTo>
                      <a:pt x="101" y="1043"/>
                    </a:lnTo>
                    <a:lnTo>
                      <a:pt x="98" y="1045"/>
                    </a:lnTo>
                    <a:lnTo>
                      <a:pt x="98" y="1045"/>
                    </a:lnTo>
                    <a:lnTo>
                      <a:pt x="98" y="1046"/>
                    </a:lnTo>
                    <a:lnTo>
                      <a:pt x="98" y="1046"/>
                    </a:lnTo>
                    <a:lnTo>
                      <a:pt x="98" y="1046"/>
                    </a:lnTo>
                    <a:lnTo>
                      <a:pt x="98" y="1046"/>
                    </a:lnTo>
                    <a:close/>
                    <a:moveTo>
                      <a:pt x="89" y="1045"/>
                    </a:moveTo>
                    <a:lnTo>
                      <a:pt x="94" y="1046"/>
                    </a:lnTo>
                    <a:lnTo>
                      <a:pt x="94" y="1045"/>
                    </a:lnTo>
                    <a:lnTo>
                      <a:pt x="94" y="1043"/>
                    </a:lnTo>
                    <a:lnTo>
                      <a:pt x="89" y="1045"/>
                    </a:lnTo>
                    <a:lnTo>
                      <a:pt x="89" y="1045"/>
                    </a:lnTo>
                    <a:lnTo>
                      <a:pt x="89" y="1045"/>
                    </a:lnTo>
                    <a:lnTo>
                      <a:pt x="89" y="1045"/>
                    </a:lnTo>
                    <a:close/>
                    <a:moveTo>
                      <a:pt x="85" y="1034"/>
                    </a:moveTo>
                    <a:lnTo>
                      <a:pt x="85" y="1041"/>
                    </a:lnTo>
                    <a:lnTo>
                      <a:pt x="85" y="1043"/>
                    </a:lnTo>
                    <a:lnTo>
                      <a:pt x="85" y="1045"/>
                    </a:lnTo>
                    <a:lnTo>
                      <a:pt x="89" y="1041"/>
                    </a:lnTo>
                    <a:lnTo>
                      <a:pt x="89" y="1039"/>
                    </a:lnTo>
                    <a:lnTo>
                      <a:pt x="85" y="1034"/>
                    </a:lnTo>
                    <a:lnTo>
                      <a:pt x="85" y="1034"/>
                    </a:lnTo>
                    <a:lnTo>
                      <a:pt x="85" y="1034"/>
                    </a:lnTo>
                    <a:lnTo>
                      <a:pt x="85" y="1034"/>
                    </a:lnTo>
                    <a:close/>
                    <a:moveTo>
                      <a:pt x="89" y="1031"/>
                    </a:moveTo>
                    <a:lnTo>
                      <a:pt x="89" y="1034"/>
                    </a:lnTo>
                    <a:lnTo>
                      <a:pt x="89" y="1034"/>
                    </a:lnTo>
                    <a:lnTo>
                      <a:pt x="89" y="1036"/>
                    </a:lnTo>
                    <a:lnTo>
                      <a:pt x="92" y="1039"/>
                    </a:lnTo>
                    <a:lnTo>
                      <a:pt x="96" y="1034"/>
                    </a:lnTo>
                    <a:lnTo>
                      <a:pt x="94" y="1039"/>
                    </a:lnTo>
                    <a:lnTo>
                      <a:pt x="94" y="1041"/>
                    </a:lnTo>
                    <a:lnTo>
                      <a:pt x="98" y="1039"/>
                    </a:lnTo>
                    <a:lnTo>
                      <a:pt x="98" y="1031"/>
                    </a:lnTo>
                    <a:lnTo>
                      <a:pt x="94" y="1029"/>
                    </a:lnTo>
                    <a:lnTo>
                      <a:pt x="91" y="1029"/>
                    </a:lnTo>
                    <a:lnTo>
                      <a:pt x="89" y="1031"/>
                    </a:lnTo>
                    <a:lnTo>
                      <a:pt x="89" y="1031"/>
                    </a:lnTo>
                    <a:lnTo>
                      <a:pt x="89" y="1031"/>
                    </a:lnTo>
                    <a:lnTo>
                      <a:pt x="89" y="1031"/>
                    </a:lnTo>
                    <a:close/>
                    <a:moveTo>
                      <a:pt x="89" y="1026"/>
                    </a:moveTo>
                    <a:lnTo>
                      <a:pt x="89" y="1027"/>
                    </a:lnTo>
                    <a:lnTo>
                      <a:pt x="91" y="1026"/>
                    </a:lnTo>
                    <a:lnTo>
                      <a:pt x="89" y="1024"/>
                    </a:lnTo>
                    <a:lnTo>
                      <a:pt x="89" y="1026"/>
                    </a:lnTo>
                    <a:lnTo>
                      <a:pt x="89" y="1026"/>
                    </a:lnTo>
                    <a:lnTo>
                      <a:pt x="89" y="1026"/>
                    </a:lnTo>
                    <a:lnTo>
                      <a:pt x="89" y="1026"/>
                    </a:lnTo>
                    <a:close/>
                    <a:moveTo>
                      <a:pt x="94" y="1019"/>
                    </a:moveTo>
                    <a:lnTo>
                      <a:pt x="94" y="1015"/>
                    </a:lnTo>
                    <a:lnTo>
                      <a:pt x="99" y="1013"/>
                    </a:lnTo>
                    <a:lnTo>
                      <a:pt x="101" y="1013"/>
                    </a:lnTo>
                    <a:lnTo>
                      <a:pt x="99" y="1015"/>
                    </a:lnTo>
                    <a:lnTo>
                      <a:pt x="96" y="1017"/>
                    </a:lnTo>
                    <a:lnTo>
                      <a:pt x="94" y="1019"/>
                    </a:lnTo>
                    <a:lnTo>
                      <a:pt x="94" y="1019"/>
                    </a:lnTo>
                    <a:lnTo>
                      <a:pt x="94" y="1019"/>
                    </a:lnTo>
                    <a:lnTo>
                      <a:pt x="94" y="1019"/>
                    </a:lnTo>
                    <a:close/>
                    <a:moveTo>
                      <a:pt x="73" y="1008"/>
                    </a:moveTo>
                    <a:lnTo>
                      <a:pt x="80" y="1017"/>
                    </a:lnTo>
                    <a:lnTo>
                      <a:pt x="82" y="1022"/>
                    </a:lnTo>
                    <a:lnTo>
                      <a:pt x="82" y="1026"/>
                    </a:lnTo>
                    <a:lnTo>
                      <a:pt x="77" y="1024"/>
                    </a:lnTo>
                    <a:lnTo>
                      <a:pt x="77" y="1020"/>
                    </a:lnTo>
                    <a:lnTo>
                      <a:pt x="73" y="1015"/>
                    </a:lnTo>
                    <a:lnTo>
                      <a:pt x="72" y="1012"/>
                    </a:lnTo>
                    <a:lnTo>
                      <a:pt x="72" y="1012"/>
                    </a:lnTo>
                    <a:lnTo>
                      <a:pt x="73" y="1008"/>
                    </a:lnTo>
                    <a:lnTo>
                      <a:pt x="73" y="1008"/>
                    </a:lnTo>
                    <a:lnTo>
                      <a:pt x="73" y="1008"/>
                    </a:lnTo>
                    <a:lnTo>
                      <a:pt x="73" y="1008"/>
                    </a:lnTo>
                    <a:close/>
                    <a:moveTo>
                      <a:pt x="80" y="1006"/>
                    </a:moveTo>
                    <a:lnTo>
                      <a:pt x="80" y="1012"/>
                    </a:lnTo>
                    <a:lnTo>
                      <a:pt x="82" y="1013"/>
                    </a:lnTo>
                    <a:lnTo>
                      <a:pt x="82" y="1019"/>
                    </a:lnTo>
                    <a:lnTo>
                      <a:pt x="85" y="1022"/>
                    </a:lnTo>
                    <a:lnTo>
                      <a:pt x="89" y="1017"/>
                    </a:lnTo>
                    <a:lnTo>
                      <a:pt x="85" y="1008"/>
                    </a:lnTo>
                    <a:lnTo>
                      <a:pt x="82" y="1006"/>
                    </a:lnTo>
                    <a:lnTo>
                      <a:pt x="82" y="1003"/>
                    </a:lnTo>
                    <a:lnTo>
                      <a:pt x="80" y="1006"/>
                    </a:lnTo>
                    <a:lnTo>
                      <a:pt x="80" y="1006"/>
                    </a:lnTo>
                    <a:lnTo>
                      <a:pt x="80" y="1006"/>
                    </a:lnTo>
                    <a:lnTo>
                      <a:pt x="80" y="1006"/>
                    </a:lnTo>
                    <a:close/>
                    <a:moveTo>
                      <a:pt x="73" y="999"/>
                    </a:moveTo>
                    <a:lnTo>
                      <a:pt x="77" y="999"/>
                    </a:lnTo>
                    <a:lnTo>
                      <a:pt x="77" y="1003"/>
                    </a:lnTo>
                    <a:lnTo>
                      <a:pt x="82" y="1003"/>
                    </a:lnTo>
                    <a:lnTo>
                      <a:pt x="82" y="999"/>
                    </a:lnTo>
                    <a:lnTo>
                      <a:pt x="80" y="996"/>
                    </a:lnTo>
                    <a:lnTo>
                      <a:pt x="77" y="999"/>
                    </a:lnTo>
                    <a:lnTo>
                      <a:pt x="73" y="999"/>
                    </a:lnTo>
                    <a:lnTo>
                      <a:pt x="73" y="999"/>
                    </a:lnTo>
                    <a:lnTo>
                      <a:pt x="73" y="999"/>
                    </a:lnTo>
                    <a:lnTo>
                      <a:pt x="73" y="999"/>
                    </a:lnTo>
                    <a:close/>
                    <a:moveTo>
                      <a:pt x="37" y="1003"/>
                    </a:moveTo>
                    <a:lnTo>
                      <a:pt x="37" y="998"/>
                    </a:lnTo>
                    <a:lnTo>
                      <a:pt x="42" y="987"/>
                    </a:lnTo>
                    <a:lnTo>
                      <a:pt x="47" y="989"/>
                    </a:lnTo>
                    <a:lnTo>
                      <a:pt x="47" y="994"/>
                    </a:lnTo>
                    <a:lnTo>
                      <a:pt x="49" y="993"/>
                    </a:lnTo>
                    <a:lnTo>
                      <a:pt x="51" y="991"/>
                    </a:lnTo>
                    <a:lnTo>
                      <a:pt x="54" y="993"/>
                    </a:lnTo>
                    <a:lnTo>
                      <a:pt x="54" y="994"/>
                    </a:lnTo>
                    <a:lnTo>
                      <a:pt x="54" y="999"/>
                    </a:lnTo>
                    <a:lnTo>
                      <a:pt x="51" y="999"/>
                    </a:lnTo>
                    <a:lnTo>
                      <a:pt x="44" y="1003"/>
                    </a:lnTo>
                    <a:lnTo>
                      <a:pt x="46" y="1006"/>
                    </a:lnTo>
                    <a:lnTo>
                      <a:pt x="46" y="1006"/>
                    </a:lnTo>
                    <a:lnTo>
                      <a:pt x="51" y="1006"/>
                    </a:lnTo>
                    <a:lnTo>
                      <a:pt x="52" y="999"/>
                    </a:lnTo>
                    <a:lnTo>
                      <a:pt x="58" y="996"/>
                    </a:lnTo>
                    <a:lnTo>
                      <a:pt x="63" y="994"/>
                    </a:lnTo>
                    <a:lnTo>
                      <a:pt x="63" y="994"/>
                    </a:lnTo>
                    <a:lnTo>
                      <a:pt x="58" y="999"/>
                    </a:lnTo>
                    <a:lnTo>
                      <a:pt x="54" y="1006"/>
                    </a:lnTo>
                    <a:lnTo>
                      <a:pt x="52" y="1008"/>
                    </a:lnTo>
                    <a:lnTo>
                      <a:pt x="52" y="1015"/>
                    </a:lnTo>
                    <a:lnTo>
                      <a:pt x="49" y="1019"/>
                    </a:lnTo>
                    <a:lnTo>
                      <a:pt x="46" y="1019"/>
                    </a:lnTo>
                    <a:lnTo>
                      <a:pt x="44" y="1022"/>
                    </a:lnTo>
                    <a:lnTo>
                      <a:pt x="46" y="1022"/>
                    </a:lnTo>
                    <a:lnTo>
                      <a:pt x="49" y="1020"/>
                    </a:lnTo>
                    <a:lnTo>
                      <a:pt x="52" y="1020"/>
                    </a:lnTo>
                    <a:lnTo>
                      <a:pt x="52" y="1026"/>
                    </a:lnTo>
                    <a:lnTo>
                      <a:pt x="47" y="1026"/>
                    </a:lnTo>
                    <a:lnTo>
                      <a:pt x="46" y="1029"/>
                    </a:lnTo>
                    <a:lnTo>
                      <a:pt x="47" y="1031"/>
                    </a:lnTo>
                    <a:lnTo>
                      <a:pt x="46" y="1036"/>
                    </a:lnTo>
                    <a:lnTo>
                      <a:pt x="47" y="1043"/>
                    </a:lnTo>
                    <a:lnTo>
                      <a:pt x="49" y="1046"/>
                    </a:lnTo>
                    <a:lnTo>
                      <a:pt x="52" y="1046"/>
                    </a:lnTo>
                    <a:lnTo>
                      <a:pt x="52" y="1050"/>
                    </a:lnTo>
                    <a:lnTo>
                      <a:pt x="51" y="1052"/>
                    </a:lnTo>
                    <a:lnTo>
                      <a:pt x="47" y="1052"/>
                    </a:lnTo>
                    <a:lnTo>
                      <a:pt x="40" y="1039"/>
                    </a:lnTo>
                    <a:lnTo>
                      <a:pt x="40" y="1034"/>
                    </a:lnTo>
                    <a:lnTo>
                      <a:pt x="42" y="1034"/>
                    </a:lnTo>
                    <a:lnTo>
                      <a:pt x="37" y="1031"/>
                    </a:lnTo>
                    <a:lnTo>
                      <a:pt x="37" y="1029"/>
                    </a:lnTo>
                    <a:lnTo>
                      <a:pt x="39" y="1027"/>
                    </a:lnTo>
                    <a:lnTo>
                      <a:pt x="42" y="1027"/>
                    </a:lnTo>
                    <a:lnTo>
                      <a:pt x="39" y="1024"/>
                    </a:lnTo>
                    <a:lnTo>
                      <a:pt x="37" y="1024"/>
                    </a:lnTo>
                    <a:lnTo>
                      <a:pt x="39" y="1019"/>
                    </a:lnTo>
                    <a:lnTo>
                      <a:pt x="35" y="1017"/>
                    </a:lnTo>
                    <a:lnTo>
                      <a:pt x="37" y="1013"/>
                    </a:lnTo>
                    <a:lnTo>
                      <a:pt x="39" y="1015"/>
                    </a:lnTo>
                    <a:lnTo>
                      <a:pt x="40" y="1015"/>
                    </a:lnTo>
                    <a:lnTo>
                      <a:pt x="40" y="1012"/>
                    </a:lnTo>
                    <a:lnTo>
                      <a:pt x="39" y="1012"/>
                    </a:lnTo>
                    <a:lnTo>
                      <a:pt x="35" y="1008"/>
                    </a:lnTo>
                    <a:lnTo>
                      <a:pt x="35" y="1006"/>
                    </a:lnTo>
                    <a:lnTo>
                      <a:pt x="37" y="1003"/>
                    </a:lnTo>
                    <a:lnTo>
                      <a:pt x="37" y="1003"/>
                    </a:lnTo>
                    <a:lnTo>
                      <a:pt x="37" y="1003"/>
                    </a:lnTo>
                    <a:lnTo>
                      <a:pt x="37" y="1003"/>
                    </a:lnTo>
                    <a:close/>
                    <a:moveTo>
                      <a:pt x="80" y="986"/>
                    </a:moveTo>
                    <a:lnTo>
                      <a:pt x="77" y="980"/>
                    </a:lnTo>
                    <a:lnTo>
                      <a:pt x="82" y="980"/>
                    </a:lnTo>
                    <a:lnTo>
                      <a:pt x="82" y="984"/>
                    </a:lnTo>
                    <a:lnTo>
                      <a:pt x="80" y="986"/>
                    </a:lnTo>
                    <a:lnTo>
                      <a:pt x="80" y="986"/>
                    </a:lnTo>
                    <a:lnTo>
                      <a:pt x="80" y="986"/>
                    </a:lnTo>
                    <a:lnTo>
                      <a:pt x="80" y="986"/>
                    </a:lnTo>
                    <a:close/>
                    <a:moveTo>
                      <a:pt x="426" y="462"/>
                    </a:moveTo>
                    <a:lnTo>
                      <a:pt x="428" y="466"/>
                    </a:lnTo>
                    <a:lnTo>
                      <a:pt x="429" y="464"/>
                    </a:lnTo>
                    <a:lnTo>
                      <a:pt x="429" y="462"/>
                    </a:lnTo>
                    <a:lnTo>
                      <a:pt x="431" y="462"/>
                    </a:lnTo>
                    <a:lnTo>
                      <a:pt x="428" y="460"/>
                    </a:lnTo>
                    <a:lnTo>
                      <a:pt x="426" y="462"/>
                    </a:lnTo>
                    <a:lnTo>
                      <a:pt x="426" y="462"/>
                    </a:lnTo>
                    <a:lnTo>
                      <a:pt x="426" y="462"/>
                    </a:lnTo>
                    <a:lnTo>
                      <a:pt x="426" y="462"/>
                    </a:lnTo>
                    <a:close/>
                    <a:moveTo>
                      <a:pt x="393" y="429"/>
                    </a:moveTo>
                    <a:lnTo>
                      <a:pt x="395" y="431"/>
                    </a:lnTo>
                    <a:lnTo>
                      <a:pt x="398" y="429"/>
                    </a:lnTo>
                    <a:lnTo>
                      <a:pt x="398" y="427"/>
                    </a:lnTo>
                    <a:lnTo>
                      <a:pt x="395" y="427"/>
                    </a:lnTo>
                    <a:lnTo>
                      <a:pt x="393" y="429"/>
                    </a:lnTo>
                    <a:lnTo>
                      <a:pt x="393" y="429"/>
                    </a:lnTo>
                    <a:lnTo>
                      <a:pt x="393" y="429"/>
                    </a:lnTo>
                    <a:lnTo>
                      <a:pt x="393" y="429"/>
                    </a:lnTo>
                    <a:close/>
                    <a:moveTo>
                      <a:pt x="273" y="441"/>
                    </a:moveTo>
                    <a:lnTo>
                      <a:pt x="275" y="441"/>
                    </a:lnTo>
                    <a:lnTo>
                      <a:pt x="277" y="440"/>
                    </a:lnTo>
                    <a:lnTo>
                      <a:pt x="275" y="438"/>
                    </a:lnTo>
                    <a:lnTo>
                      <a:pt x="275" y="438"/>
                    </a:lnTo>
                    <a:lnTo>
                      <a:pt x="273" y="441"/>
                    </a:lnTo>
                    <a:lnTo>
                      <a:pt x="273" y="441"/>
                    </a:lnTo>
                    <a:lnTo>
                      <a:pt x="273" y="441"/>
                    </a:lnTo>
                    <a:lnTo>
                      <a:pt x="273" y="441"/>
                    </a:lnTo>
                    <a:close/>
                    <a:moveTo>
                      <a:pt x="273" y="447"/>
                    </a:moveTo>
                    <a:lnTo>
                      <a:pt x="271" y="445"/>
                    </a:lnTo>
                    <a:lnTo>
                      <a:pt x="273" y="445"/>
                    </a:lnTo>
                    <a:lnTo>
                      <a:pt x="275" y="447"/>
                    </a:lnTo>
                    <a:lnTo>
                      <a:pt x="273" y="447"/>
                    </a:lnTo>
                    <a:lnTo>
                      <a:pt x="273" y="447"/>
                    </a:lnTo>
                    <a:lnTo>
                      <a:pt x="273" y="447"/>
                    </a:lnTo>
                    <a:lnTo>
                      <a:pt x="273" y="447"/>
                    </a:lnTo>
                    <a:close/>
                    <a:moveTo>
                      <a:pt x="266" y="457"/>
                    </a:moveTo>
                    <a:lnTo>
                      <a:pt x="266" y="462"/>
                    </a:lnTo>
                    <a:lnTo>
                      <a:pt x="266" y="466"/>
                    </a:lnTo>
                    <a:lnTo>
                      <a:pt x="266" y="467"/>
                    </a:lnTo>
                    <a:lnTo>
                      <a:pt x="268" y="469"/>
                    </a:lnTo>
                    <a:lnTo>
                      <a:pt x="271" y="466"/>
                    </a:lnTo>
                    <a:lnTo>
                      <a:pt x="273" y="466"/>
                    </a:lnTo>
                    <a:lnTo>
                      <a:pt x="285" y="455"/>
                    </a:lnTo>
                    <a:lnTo>
                      <a:pt x="290" y="455"/>
                    </a:lnTo>
                    <a:lnTo>
                      <a:pt x="294" y="450"/>
                    </a:lnTo>
                    <a:lnTo>
                      <a:pt x="290" y="450"/>
                    </a:lnTo>
                    <a:lnTo>
                      <a:pt x="289" y="450"/>
                    </a:lnTo>
                    <a:lnTo>
                      <a:pt x="289" y="443"/>
                    </a:lnTo>
                    <a:lnTo>
                      <a:pt x="285" y="445"/>
                    </a:lnTo>
                    <a:lnTo>
                      <a:pt x="284" y="447"/>
                    </a:lnTo>
                    <a:lnTo>
                      <a:pt x="280" y="450"/>
                    </a:lnTo>
                    <a:lnTo>
                      <a:pt x="282" y="452"/>
                    </a:lnTo>
                    <a:lnTo>
                      <a:pt x="278" y="450"/>
                    </a:lnTo>
                    <a:lnTo>
                      <a:pt x="277" y="452"/>
                    </a:lnTo>
                    <a:lnTo>
                      <a:pt x="275" y="455"/>
                    </a:lnTo>
                    <a:lnTo>
                      <a:pt x="273" y="452"/>
                    </a:lnTo>
                    <a:lnTo>
                      <a:pt x="275" y="450"/>
                    </a:lnTo>
                    <a:lnTo>
                      <a:pt x="273" y="450"/>
                    </a:lnTo>
                    <a:lnTo>
                      <a:pt x="271" y="450"/>
                    </a:lnTo>
                    <a:lnTo>
                      <a:pt x="270" y="450"/>
                    </a:lnTo>
                    <a:lnTo>
                      <a:pt x="268" y="455"/>
                    </a:lnTo>
                    <a:lnTo>
                      <a:pt x="266" y="457"/>
                    </a:lnTo>
                    <a:lnTo>
                      <a:pt x="266" y="457"/>
                    </a:lnTo>
                    <a:lnTo>
                      <a:pt x="266" y="457"/>
                    </a:lnTo>
                    <a:lnTo>
                      <a:pt x="266" y="457"/>
                    </a:lnTo>
                    <a:close/>
                    <a:moveTo>
                      <a:pt x="254" y="467"/>
                    </a:moveTo>
                    <a:lnTo>
                      <a:pt x="254" y="464"/>
                    </a:lnTo>
                    <a:lnTo>
                      <a:pt x="254" y="457"/>
                    </a:lnTo>
                    <a:lnTo>
                      <a:pt x="252" y="460"/>
                    </a:lnTo>
                    <a:lnTo>
                      <a:pt x="250" y="464"/>
                    </a:lnTo>
                    <a:lnTo>
                      <a:pt x="250" y="464"/>
                    </a:lnTo>
                    <a:lnTo>
                      <a:pt x="250" y="466"/>
                    </a:lnTo>
                    <a:lnTo>
                      <a:pt x="250" y="466"/>
                    </a:lnTo>
                    <a:lnTo>
                      <a:pt x="254" y="467"/>
                    </a:lnTo>
                    <a:lnTo>
                      <a:pt x="254" y="467"/>
                    </a:lnTo>
                    <a:lnTo>
                      <a:pt x="254" y="467"/>
                    </a:lnTo>
                    <a:lnTo>
                      <a:pt x="254" y="467"/>
                    </a:lnTo>
                    <a:close/>
                    <a:moveTo>
                      <a:pt x="254" y="469"/>
                    </a:moveTo>
                    <a:lnTo>
                      <a:pt x="257" y="469"/>
                    </a:lnTo>
                    <a:lnTo>
                      <a:pt x="259" y="466"/>
                    </a:lnTo>
                    <a:lnTo>
                      <a:pt x="257" y="462"/>
                    </a:lnTo>
                    <a:lnTo>
                      <a:pt x="257" y="455"/>
                    </a:lnTo>
                    <a:lnTo>
                      <a:pt x="259" y="455"/>
                    </a:lnTo>
                    <a:lnTo>
                      <a:pt x="261" y="455"/>
                    </a:lnTo>
                    <a:lnTo>
                      <a:pt x="263" y="452"/>
                    </a:lnTo>
                    <a:lnTo>
                      <a:pt x="263" y="452"/>
                    </a:lnTo>
                    <a:lnTo>
                      <a:pt x="266" y="455"/>
                    </a:lnTo>
                    <a:lnTo>
                      <a:pt x="263" y="464"/>
                    </a:lnTo>
                    <a:lnTo>
                      <a:pt x="263" y="467"/>
                    </a:lnTo>
                    <a:lnTo>
                      <a:pt x="263" y="469"/>
                    </a:lnTo>
                    <a:lnTo>
                      <a:pt x="259" y="473"/>
                    </a:lnTo>
                    <a:lnTo>
                      <a:pt x="254" y="469"/>
                    </a:lnTo>
                    <a:lnTo>
                      <a:pt x="254" y="469"/>
                    </a:lnTo>
                    <a:lnTo>
                      <a:pt x="254" y="469"/>
                    </a:lnTo>
                    <a:lnTo>
                      <a:pt x="254" y="469"/>
                    </a:lnTo>
                    <a:close/>
                    <a:moveTo>
                      <a:pt x="261" y="487"/>
                    </a:moveTo>
                    <a:lnTo>
                      <a:pt x="263" y="483"/>
                    </a:lnTo>
                    <a:lnTo>
                      <a:pt x="261" y="478"/>
                    </a:lnTo>
                    <a:lnTo>
                      <a:pt x="261" y="474"/>
                    </a:lnTo>
                    <a:lnTo>
                      <a:pt x="257" y="474"/>
                    </a:lnTo>
                    <a:lnTo>
                      <a:pt x="252" y="469"/>
                    </a:lnTo>
                    <a:lnTo>
                      <a:pt x="250" y="469"/>
                    </a:lnTo>
                    <a:lnTo>
                      <a:pt x="250" y="473"/>
                    </a:lnTo>
                    <a:lnTo>
                      <a:pt x="257" y="478"/>
                    </a:lnTo>
                    <a:lnTo>
                      <a:pt x="252" y="474"/>
                    </a:lnTo>
                    <a:lnTo>
                      <a:pt x="252" y="478"/>
                    </a:lnTo>
                    <a:lnTo>
                      <a:pt x="254" y="480"/>
                    </a:lnTo>
                    <a:lnTo>
                      <a:pt x="261" y="487"/>
                    </a:lnTo>
                    <a:lnTo>
                      <a:pt x="261" y="487"/>
                    </a:lnTo>
                    <a:lnTo>
                      <a:pt x="261" y="487"/>
                    </a:lnTo>
                    <a:lnTo>
                      <a:pt x="261" y="487"/>
                    </a:lnTo>
                    <a:close/>
                    <a:moveTo>
                      <a:pt x="223" y="424"/>
                    </a:moveTo>
                    <a:lnTo>
                      <a:pt x="224" y="429"/>
                    </a:lnTo>
                    <a:lnTo>
                      <a:pt x="226" y="427"/>
                    </a:lnTo>
                    <a:lnTo>
                      <a:pt x="230" y="429"/>
                    </a:lnTo>
                    <a:lnTo>
                      <a:pt x="231" y="429"/>
                    </a:lnTo>
                    <a:lnTo>
                      <a:pt x="228" y="424"/>
                    </a:lnTo>
                    <a:lnTo>
                      <a:pt x="224" y="424"/>
                    </a:lnTo>
                    <a:lnTo>
                      <a:pt x="223" y="424"/>
                    </a:lnTo>
                    <a:lnTo>
                      <a:pt x="223" y="424"/>
                    </a:lnTo>
                    <a:lnTo>
                      <a:pt x="223" y="424"/>
                    </a:lnTo>
                    <a:lnTo>
                      <a:pt x="223" y="424"/>
                    </a:lnTo>
                    <a:close/>
                    <a:moveTo>
                      <a:pt x="152" y="1156"/>
                    </a:moveTo>
                    <a:lnTo>
                      <a:pt x="152" y="1156"/>
                    </a:lnTo>
                    <a:lnTo>
                      <a:pt x="148" y="1156"/>
                    </a:lnTo>
                    <a:lnTo>
                      <a:pt x="148" y="1149"/>
                    </a:lnTo>
                    <a:lnTo>
                      <a:pt x="152" y="1144"/>
                    </a:lnTo>
                    <a:lnTo>
                      <a:pt x="152" y="1139"/>
                    </a:lnTo>
                    <a:lnTo>
                      <a:pt x="150" y="1140"/>
                    </a:lnTo>
                    <a:lnTo>
                      <a:pt x="146" y="1144"/>
                    </a:lnTo>
                    <a:lnTo>
                      <a:pt x="141" y="1144"/>
                    </a:lnTo>
                    <a:lnTo>
                      <a:pt x="139" y="1140"/>
                    </a:lnTo>
                    <a:lnTo>
                      <a:pt x="139" y="1137"/>
                    </a:lnTo>
                    <a:lnTo>
                      <a:pt x="139" y="1137"/>
                    </a:lnTo>
                    <a:lnTo>
                      <a:pt x="141" y="1140"/>
                    </a:lnTo>
                    <a:lnTo>
                      <a:pt x="143" y="1140"/>
                    </a:lnTo>
                    <a:lnTo>
                      <a:pt x="143" y="1139"/>
                    </a:lnTo>
                    <a:lnTo>
                      <a:pt x="141" y="1135"/>
                    </a:lnTo>
                    <a:lnTo>
                      <a:pt x="141" y="1133"/>
                    </a:lnTo>
                    <a:lnTo>
                      <a:pt x="139" y="1133"/>
                    </a:lnTo>
                    <a:lnTo>
                      <a:pt x="136" y="1135"/>
                    </a:lnTo>
                    <a:lnTo>
                      <a:pt x="134" y="1132"/>
                    </a:lnTo>
                    <a:lnTo>
                      <a:pt x="131" y="1128"/>
                    </a:lnTo>
                    <a:lnTo>
                      <a:pt x="131" y="1126"/>
                    </a:lnTo>
                    <a:lnTo>
                      <a:pt x="136" y="1123"/>
                    </a:lnTo>
                    <a:lnTo>
                      <a:pt x="136" y="1118"/>
                    </a:lnTo>
                    <a:lnTo>
                      <a:pt x="139" y="1118"/>
                    </a:lnTo>
                    <a:lnTo>
                      <a:pt x="139" y="1118"/>
                    </a:lnTo>
                    <a:lnTo>
                      <a:pt x="136" y="1118"/>
                    </a:lnTo>
                    <a:lnTo>
                      <a:pt x="131" y="1118"/>
                    </a:lnTo>
                    <a:lnTo>
                      <a:pt x="131" y="1116"/>
                    </a:lnTo>
                    <a:lnTo>
                      <a:pt x="131" y="1112"/>
                    </a:lnTo>
                    <a:lnTo>
                      <a:pt x="136" y="1109"/>
                    </a:lnTo>
                    <a:lnTo>
                      <a:pt x="136" y="1104"/>
                    </a:lnTo>
                    <a:lnTo>
                      <a:pt x="136" y="1102"/>
                    </a:lnTo>
                    <a:lnTo>
                      <a:pt x="136" y="1100"/>
                    </a:lnTo>
                    <a:lnTo>
                      <a:pt x="136" y="1100"/>
                    </a:lnTo>
                    <a:lnTo>
                      <a:pt x="134" y="1104"/>
                    </a:lnTo>
                    <a:lnTo>
                      <a:pt x="134" y="1109"/>
                    </a:lnTo>
                    <a:lnTo>
                      <a:pt x="131" y="1116"/>
                    </a:lnTo>
                    <a:lnTo>
                      <a:pt x="127" y="1116"/>
                    </a:lnTo>
                    <a:lnTo>
                      <a:pt x="125" y="1112"/>
                    </a:lnTo>
                    <a:lnTo>
                      <a:pt x="124" y="1112"/>
                    </a:lnTo>
                    <a:lnTo>
                      <a:pt x="124" y="1109"/>
                    </a:lnTo>
                    <a:lnTo>
                      <a:pt x="125" y="1109"/>
                    </a:lnTo>
                    <a:lnTo>
                      <a:pt x="125" y="1109"/>
                    </a:lnTo>
                    <a:lnTo>
                      <a:pt x="122" y="1109"/>
                    </a:lnTo>
                    <a:lnTo>
                      <a:pt x="120" y="1112"/>
                    </a:lnTo>
                    <a:lnTo>
                      <a:pt x="118" y="1112"/>
                    </a:lnTo>
                    <a:lnTo>
                      <a:pt x="118" y="1109"/>
                    </a:lnTo>
                    <a:lnTo>
                      <a:pt x="117" y="1109"/>
                    </a:lnTo>
                    <a:lnTo>
                      <a:pt x="117" y="1112"/>
                    </a:lnTo>
                    <a:lnTo>
                      <a:pt x="112" y="1109"/>
                    </a:lnTo>
                    <a:lnTo>
                      <a:pt x="112" y="1109"/>
                    </a:lnTo>
                    <a:lnTo>
                      <a:pt x="117" y="1107"/>
                    </a:lnTo>
                    <a:lnTo>
                      <a:pt x="117" y="1107"/>
                    </a:lnTo>
                    <a:lnTo>
                      <a:pt x="122" y="1106"/>
                    </a:lnTo>
                    <a:lnTo>
                      <a:pt x="125" y="1102"/>
                    </a:lnTo>
                    <a:lnTo>
                      <a:pt x="127" y="1099"/>
                    </a:lnTo>
                    <a:lnTo>
                      <a:pt x="127" y="1095"/>
                    </a:lnTo>
                    <a:lnTo>
                      <a:pt x="127" y="1099"/>
                    </a:lnTo>
                    <a:lnTo>
                      <a:pt x="124" y="1100"/>
                    </a:lnTo>
                    <a:lnTo>
                      <a:pt x="122" y="1104"/>
                    </a:lnTo>
                    <a:lnTo>
                      <a:pt x="120" y="1106"/>
                    </a:lnTo>
                    <a:lnTo>
                      <a:pt x="117" y="1104"/>
                    </a:lnTo>
                    <a:lnTo>
                      <a:pt x="113" y="1102"/>
                    </a:lnTo>
                    <a:lnTo>
                      <a:pt x="112" y="1100"/>
                    </a:lnTo>
                    <a:lnTo>
                      <a:pt x="112" y="1100"/>
                    </a:lnTo>
                    <a:lnTo>
                      <a:pt x="113" y="1099"/>
                    </a:lnTo>
                    <a:lnTo>
                      <a:pt x="112" y="1097"/>
                    </a:lnTo>
                    <a:lnTo>
                      <a:pt x="108" y="1099"/>
                    </a:lnTo>
                    <a:lnTo>
                      <a:pt x="105" y="1097"/>
                    </a:lnTo>
                    <a:lnTo>
                      <a:pt x="103" y="1097"/>
                    </a:lnTo>
                    <a:lnTo>
                      <a:pt x="103" y="1100"/>
                    </a:lnTo>
                    <a:lnTo>
                      <a:pt x="99" y="1097"/>
                    </a:lnTo>
                    <a:lnTo>
                      <a:pt x="98" y="1093"/>
                    </a:lnTo>
                    <a:lnTo>
                      <a:pt x="98" y="1093"/>
                    </a:lnTo>
                    <a:lnTo>
                      <a:pt x="101" y="1093"/>
                    </a:lnTo>
                    <a:lnTo>
                      <a:pt x="105" y="1095"/>
                    </a:lnTo>
                    <a:lnTo>
                      <a:pt x="108" y="1093"/>
                    </a:lnTo>
                    <a:lnTo>
                      <a:pt x="108" y="1093"/>
                    </a:lnTo>
                    <a:lnTo>
                      <a:pt x="108" y="1093"/>
                    </a:lnTo>
                    <a:lnTo>
                      <a:pt x="103" y="1093"/>
                    </a:lnTo>
                    <a:lnTo>
                      <a:pt x="101" y="1093"/>
                    </a:lnTo>
                    <a:lnTo>
                      <a:pt x="101" y="1090"/>
                    </a:lnTo>
                    <a:lnTo>
                      <a:pt x="105" y="1093"/>
                    </a:lnTo>
                    <a:lnTo>
                      <a:pt x="108" y="1090"/>
                    </a:lnTo>
                    <a:lnTo>
                      <a:pt x="108" y="1090"/>
                    </a:lnTo>
                    <a:lnTo>
                      <a:pt x="105" y="1090"/>
                    </a:lnTo>
                    <a:lnTo>
                      <a:pt x="103" y="1090"/>
                    </a:lnTo>
                    <a:lnTo>
                      <a:pt x="98" y="1090"/>
                    </a:lnTo>
                    <a:lnTo>
                      <a:pt x="96" y="1090"/>
                    </a:lnTo>
                    <a:lnTo>
                      <a:pt x="94" y="1086"/>
                    </a:lnTo>
                    <a:lnTo>
                      <a:pt x="94" y="1086"/>
                    </a:lnTo>
                    <a:lnTo>
                      <a:pt x="98" y="1085"/>
                    </a:lnTo>
                    <a:lnTo>
                      <a:pt x="101" y="1086"/>
                    </a:lnTo>
                    <a:lnTo>
                      <a:pt x="105" y="1086"/>
                    </a:lnTo>
                    <a:lnTo>
                      <a:pt x="105" y="1085"/>
                    </a:lnTo>
                    <a:lnTo>
                      <a:pt x="103" y="1085"/>
                    </a:lnTo>
                    <a:lnTo>
                      <a:pt x="99" y="1081"/>
                    </a:lnTo>
                    <a:lnTo>
                      <a:pt x="96" y="1081"/>
                    </a:lnTo>
                    <a:lnTo>
                      <a:pt x="96" y="1081"/>
                    </a:lnTo>
                    <a:lnTo>
                      <a:pt x="101" y="1081"/>
                    </a:lnTo>
                    <a:lnTo>
                      <a:pt x="103" y="1081"/>
                    </a:lnTo>
                    <a:lnTo>
                      <a:pt x="105" y="1081"/>
                    </a:lnTo>
                    <a:lnTo>
                      <a:pt x="105" y="1079"/>
                    </a:lnTo>
                    <a:lnTo>
                      <a:pt x="105" y="1078"/>
                    </a:lnTo>
                    <a:lnTo>
                      <a:pt x="105" y="1076"/>
                    </a:lnTo>
                    <a:lnTo>
                      <a:pt x="112" y="1076"/>
                    </a:lnTo>
                    <a:lnTo>
                      <a:pt x="113" y="1076"/>
                    </a:lnTo>
                    <a:lnTo>
                      <a:pt x="113" y="1074"/>
                    </a:lnTo>
                    <a:lnTo>
                      <a:pt x="108" y="1074"/>
                    </a:lnTo>
                    <a:lnTo>
                      <a:pt x="108" y="1072"/>
                    </a:lnTo>
                    <a:lnTo>
                      <a:pt x="105" y="1072"/>
                    </a:lnTo>
                    <a:lnTo>
                      <a:pt x="105" y="1074"/>
                    </a:lnTo>
                    <a:lnTo>
                      <a:pt x="101" y="1076"/>
                    </a:lnTo>
                    <a:lnTo>
                      <a:pt x="99" y="1078"/>
                    </a:lnTo>
                    <a:lnTo>
                      <a:pt x="98" y="1076"/>
                    </a:lnTo>
                    <a:lnTo>
                      <a:pt x="98" y="1074"/>
                    </a:lnTo>
                    <a:lnTo>
                      <a:pt x="98" y="1071"/>
                    </a:lnTo>
                    <a:lnTo>
                      <a:pt x="99" y="1071"/>
                    </a:lnTo>
                    <a:lnTo>
                      <a:pt x="103" y="1067"/>
                    </a:lnTo>
                    <a:lnTo>
                      <a:pt x="105" y="1064"/>
                    </a:lnTo>
                    <a:lnTo>
                      <a:pt x="112" y="1059"/>
                    </a:lnTo>
                    <a:lnTo>
                      <a:pt x="117" y="1059"/>
                    </a:lnTo>
                    <a:lnTo>
                      <a:pt x="117" y="1059"/>
                    </a:lnTo>
                    <a:lnTo>
                      <a:pt x="117" y="1064"/>
                    </a:lnTo>
                    <a:lnTo>
                      <a:pt x="118" y="1067"/>
                    </a:lnTo>
                    <a:lnTo>
                      <a:pt x="118" y="1066"/>
                    </a:lnTo>
                    <a:lnTo>
                      <a:pt x="118" y="1062"/>
                    </a:lnTo>
                    <a:lnTo>
                      <a:pt x="118" y="1057"/>
                    </a:lnTo>
                    <a:lnTo>
                      <a:pt x="122" y="1057"/>
                    </a:lnTo>
                    <a:lnTo>
                      <a:pt x="125" y="1057"/>
                    </a:lnTo>
                    <a:lnTo>
                      <a:pt x="122" y="1055"/>
                    </a:lnTo>
                    <a:lnTo>
                      <a:pt x="118" y="1055"/>
                    </a:lnTo>
                    <a:lnTo>
                      <a:pt x="117" y="1057"/>
                    </a:lnTo>
                    <a:lnTo>
                      <a:pt x="113" y="1053"/>
                    </a:lnTo>
                    <a:lnTo>
                      <a:pt x="117" y="1052"/>
                    </a:lnTo>
                    <a:lnTo>
                      <a:pt x="118" y="1050"/>
                    </a:lnTo>
                    <a:lnTo>
                      <a:pt x="122" y="1048"/>
                    </a:lnTo>
                    <a:lnTo>
                      <a:pt x="125" y="1043"/>
                    </a:lnTo>
                    <a:lnTo>
                      <a:pt x="124" y="1039"/>
                    </a:lnTo>
                    <a:lnTo>
                      <a:pt x="124" y="1041"/>
                    </a:lnTo>
                    <a:lnTo>
                      <a:pt x="122" y="1045"/>
                    </a:lnTo>
                    <a:lnTo>
                      <a:pt x="118" y="1046"/>
                    </a:lnTo>
                    <a:lnTo>
                      <a:pt x="117" y="1046"/>
                    </a:lnTo>
                    <a:lnTo>
                      <a:pt x="112" y="1052"/>
                    </a:lnTo>
                    <a:lnTo>
                      <a:pt x="108" y="1055"/>
                    </a:lnTo>
                    <a:lnTo>
                      <a:pt x="103" y="1057"/>
                    </a:lnTo>
                    <a:lnTo>
                      <a:pt x="101" y="1053"/>
                    </a:lnTo>
                    <a:lnTo>
                      <a:pt x="101" y="1052"/>
                    </a:lnTo>
                    <a:lnTo>
                      <a:pt x="105" y="1052"/>
                    </a:lnTo>
                    <a:lnTo>
                      <a:pt x="101" y="1052"/>
                    </a:lnTo>
                    <a:lnTo>
                      <a:pt x="96" y="1053"/>
                    </a:lnTo>
                    <a:lnTo>
                      <a:pt x="94" y="1052"/>
                    </a:lnTo>
                    <a:lnTo>
                      <a:pt x="96" y="1050"/>
                    </a:lnTo>
                    <a:lnTo>
                      <a:pt x="99" y="1046"/>
                    </a:lnTo>
                    <a:lnTo>
                      <a:pt x="103" y="1045"/>
                    </a:lnTo>
                    <a:lnTo>
                      <a:pt x="105" y="1045"/>
                    </a:lnTo>
                    <a:lnTo>
                      <a:pt x="108" y="1045"/>
                    </a:lnTo>
                    <a:lnTo>
                      <a:pt x="108" y="1043"/>
                    </a:lnTo>
                    <a:lnTo>
                      <a:pt x="105" y="1041"/>
                    </a:lnTo>
                    <a:lnTo>
                      <a:pt x="105" y="1039"/>
                    </a:lnTo>
                    <a:lnTo>
                      <a:pt x="108" y="1039"/>
                    </a:lnTo>
                    <a:lnTo>
                      <a:pt x="105" y="1036"/>
                    </a:lnTo>
                    <a:lnTo>
                      <a:pt x="103" y="1039"/>
                    </a:lnTo>
                    <a:lnTo>
                      <a:pt x="101" y="1039"/>
                    </a:lnTo>
                    <a:lnTo>
                      <a:pt x="101" y="1034"/>
                    </a:lnTo>
                    <a:lnTo>
                      <a:pt x="99" y="1029"/>
                    </a:lnTo>
                    <a:lnTo>
                      <a:pt x="98" y="1027"/>
                    </a:lnTo>
                    <a:lnTo>
                      <a:pt x="98" y="1024"/>
                    </a:lnTo>
                    <a:lnTo>
                      <a:pt x="99" y="1020"/>
                    </a:lnTo>
                    <a:lnTo>
                      <a:pt x="105" y="1022"/>
                    </a:lnTo>
                    <a:lnTo>
                      <a:pt x="108" y="1024"/>
                    </a:lnTo>
                    <a:lnTo>
                      <a:pt x="112" y="1022"/>
                    </a:lnTo>
                    <a:lnTo>
                      <a:pt x="113" y="1026"/>
                    </a:lnTo>
                    <a:lnTo>
                      <a:pt x="113" y="1022"/>
                    </a:lnTo>
                    <a:lnTo>
                      <a:pt x="112" y="1022"/>
                    </a:lnTo>
                    <a:lnTo>
                      <a:pt x="108" y="1022"/>
                    </a:lnTo>
                    <a:lnTo>
                      <a:pt x="105" y="1019"/>
                    </a:lnTo>
                    <a:lnTo>
                      <a:pt x="103" y="1017"/>
                    </a:lnTo>
                    <a:lnTo>
                      <a:pt x="103" y="1015"/>
                    </a:lnTo>
                    <a:lnTo>
                      <a:pt x="105" y="1012"/>
                    </a:lnTo>
                    <a:lnTo>
                      <a:pt x="105" y="1012"/>
                    </a:lnTo>
                    <a:lnTo>
                      <a:pt x="108" y="1008"/>
                    </a:lnTo>
                    <a:lnTo>
                      <a:pt x="108" y="1003"/>
                    </a:lnTo>
                    <a:lnTo>
                      <a:pt x="105" y="1006"/>
                    </a:lnTo>
                    <a:lnTo>
                      <a:pt x="103" y="1008"/>
                    </a:lnTo>
                    <a:lnTo>
                      <a:pt x="99" y="1012"/>
                    </a:lnTo>
                    <a:lnTo>
                      <a:pt x="94" y="1012"/>
                    </a:lnTo>
                    <a:lnTo>
                      <a:pt x="92" y="1015"/>
                    </a:lnTo>
                    <a:lnTo>
                      <a:pt x="91" y="1017"/>
                    </a:lnTo>
                    <a:lnTo>
                      <a:pt x="89" y="1017"/>
                    </a:lnTo>
                    <a:lnTo>
                      <a:pt x="89" y="1012"/>
                    </a:lnTo>
                    <a:lnTo>
                      <a:pt x="85" y="1006"/>
                    </a:lnTo>
                    <a:lnTo>
                      <a:pt x="85" y="999"/>
                    </a:lnTo>
                    <a:lnTo>
                      <a:pt x="89" y="993"/>
                    </a:lnTo>
                    <a:lnTo>
                      <a:pt x="89" y="991"/>
                    </a:lnTo>
                    <a:lnTo>
                      <a:pt x="85" y="991"/>
                    </a:lnTo>
                    <a:lnTo>
                      <a:pt x="85" y="986"/>
                    </a:lnTo>
                    <a:lnTo>
                      <a:pt x="85" y="984"/>
                    </a:lnTo>
                    <a:lnTo>
                      <a:pt x="89" y="986"/>
                    </a:lnTo>
                    <a:lnTo>
                      <a:pt x="89" y="986"/>
                    </a:lnTo>
                    <a:lnTo>
                      <a:pt x="89" y="984"/>
                    </a:lnTo>
                    <a:lnTo>
                      <a:pt x="92" y="980"/>
                    </a:lnTo>
                    <a:lnTo>
                      <a:pt x="94" y="975"/>
                    </a:lnTo>
                    <a:lnTo>
                      <a:pt x="98" y="975"/>
                    </a:lnTo>
                    <a:lnTo>
                      <a:pt x="101" y="975"/>
                    </a:lnTo>
                    <a:lnTo>
                      <a:pt x="103" y="975"/>
                    </a:lnTo>
                    <a:lnTo>
                      <a:pt x="101" y="972"/>
                    </a:lnTo>
                    <a:lnTo>
                      <a:pt x="99" y="972"/>
                    </a:lnTo>
                    <a:lnTo>
                      <a:pt x="105" y="966"/>
                    </a:lnTo>
                    <a:lnTo>
                      <a:pt x="105" y="965"/>
                    </a:lnTo>
                    <a:lnTo>
                      <a:pt x="112" y="961"/>
                    </a:lnTo>
                    <a:lnTo>
                      <a:pt x="112" y="959"/>
                    </a:lnTo>
                    <a:lnTo>
                      <a:pt x="108" y="959"/>
                    </a:lnTo>
                    <a:lnTo>
                      <a:pt x="108" y="958"/>
                    </a:lnTo>
                    <a:lnTo>
                      <a:pt x="105" y="961"/>
                    </a:lnTo>
                    <a:lnTo>
                      <a:pt x="105" y="965"/>
                    </a:lnTo>
                    <a:lnTo>
                      <a:pt x="98" y="972"/>
                    </a:lnTo>
                    <a:lnTo>
                      <a:pt x="98" y="972"/>
                    </a:lnTo>
                    <a:lnTo>
                      <a:pt x="98" y="968"/>
                    </a:lnTo>
                    <a:lnTo>
                      <a:pt x="101" y="965"/>
                    </a:lnTo>
                    <a:lnTo>
                      <a:pt x="101" y="958"/>
                    </a:lnTo>
                    <a:lnTo>
                      <a:pt x="105" y="949"/>
                    </a:lnTo>
                    <a:lnTo>
                      <a:pt x="108" y="947"/>
                    </a:lnTo>
                    <a:lnTo>
                      <a:pt x="108" y="944"/>
                    </a:lnTo>
                    <a:lnTo>
                      <a:pt x="108" y="944"/>
                    </a:lnTo>
                    <a:lnTo>
                      <a:pt x="108" y="942"/>
                    </a:lnTo>
                    <a:lnTo>
                      <a:pt x="108" y="942"/>
                    </a:lnTo>
                    <a:lnTo>
                      <a:pt x="108" y="940"/>
                    </a:lnTo>
                    <a:lnTo>
                      <a:pt x="108" y="939"/>
                    </a:lnTo>
                    <a:lnTo>
                      <a:pt x="108" y="937"/>
                    </a:lnTo>
                    <a:lnTo>
                      <a:pt x="105" y="935"/>
                    </a:lnTo>
                    <a:lnTo>
                      <a:pt x="105" y="932"/>
                    </a:lnTo>
                    <a:lnTo>
                      <a:pt x="105" y="928"/>
                    </a:lnTo>
                    <a:lnTo>
                      <a:pt x="101" y="926"/>
                    </a:lnTo>
                    <a:lnTo>
                      <a:pt x="99" y="925"/>
                    </a:lnTo>
                    <a:lnTo>
                      <a:pt x="98" y="921"/>
                    </a:lnTo>
                    <a:lnTo>
                      <a:pt x="94" y="919"/>
                    </a:lnTo>
                    <a:lnTo>
                      <a:pt x="92" y="918"/>
                    </a:lnTo>
                    <a:lnTo>
                      <a:pt x="89" y="918"/>
                    </a:lnTo>
                    <a:lnTo>
                      <a:pt x="89" y="916"/>
                    </a:lnTo>
                    <a:lnTo>
                      <a:pt x="91" y="913"/>
                    </a:lnTo>
                    <a:lnTo>
                      <a:pt x="89" y="913"/>
                    </a:lnTo>
                    <a:lnTo>
                      <a:pt x="89" y="911"/>
                    </a:lnTo>
                    <a:lnTo>
                      <a:pt x="89" y="909"/>
                    </a:lnTo>
                    <a:lnTo>
                      <a:pt x="89" y="907"/>
                    </a:lnTo>
                    <a:lnTo>
                      <a:pt x="91" y="906"/>
                    </a:lnTo>
                    <a:lnTo>
                      <a:pt x="89" y="904"/>
                    </a:lnTo>
                    <a:lnTo>
                      <a:pt x="89" y="904"/>
                    </a:lnTo>
                    <a:lnTo>
                      <a:pt x="85" y="904"/>
                    </a:lnTo>
                    <a:lnTo>
                      <a:pt x="85" y="902"/>
                    </a:lnTo>
                    <a:lnTo>
                      <a:pt x="89" y="899"/>
                    </a:lnTo>
                    <a:lnTo>
                      <a:pt x="89" y="888"/>
                    </a:lnTo>
                    <a:lnTo>
                      <a:pt x="89" y="874"/>
                    </a:lnTo>
                    <a:lnTo>
                      <a:pt x="89" y="866"/>
                    </a:lnTo>
                    <a:lnTo>
                      <a:pt x="89" y="862"/>
                    </a:lnTo>
                    <a:lnTo>
                      <a:pt x="89" y="859"/>
                    </a:lnTo>
                    <a:lnTo>
                      <a:pt x="89" y="857"/>
                    </a:lnTo>
                    <a:lnTo>
                      <a:pt x="89" y="853"/>
                    </a:lnTo>
                    <a:lnTo>
                      <a:pt x="89" y="850"/>
                    </a:lnTo>
                    <a:lnTo>
                      <a:pt x="89" y="843"/>
                    </a:lnTo>
                    <a:lnTo>
                      <a:pt x="82" y="839"/>
                    </a:lnTo>
                    <a:lnTo>
                      <a:pt x="82" y="834"/>
                    </a:lnTo>
                    <a:lnTo>
                      <a:pt x="82" y="831"/>
                    </a:lnTo>
                    <a:lnTo>
                      <a:pt x="80" y="820"/>
                    </a:lnTo>
                    <a:lnTo>
                      <a:pt x="82" y="817"/>
                    </a:lnTo>
                    <a:lnTo>
                      <a:pt x="82" y="815"/>
                    </a:lnTo>
                    <a:lnTo>
                      <a:pt x="82" y="812"/>
                    </a:lnTo>
                    <a:lnTo>
                      <a:pt x="82" y="808"/>
                    </a:lnTo>
                    <a:lnTo>
                      <a:pt x="77" y="803"/>
                    </a:lnTo>
                    <a:lnTo>
                      <a:pt x="73" y="806"/>
                    </a:lnTo>
                    <a:lnTo>
                      <a:pt x="68" y="808"/>
                    </a:lnTo>
                    <a:lnTo>
                      <a:pt x="66" y="808"/>
                    </a:lnTo>
                    <a:lnTo>
                      <a:pt x="59" y="808"/>
                    </a:lnTo>
                    <a:lnTo>
                      <a:pt x="58" y="815"/>
                    </a:lnTo>
                    <a:lnTo>
                      <a:pt x="52" y="820"/>
                    </a:lnTo>
                    <a:lnTo>
                      <a:pt x="47" y="822"/>
                    </a:lnTo>
                    <a:lnTo>
                      <a:pt x="42" y="824"/>
                    </a:lnTo>
                    <a:lnTo>
                      <a:pt x="35" y="826"/>
                    </a:lnTo>
                    <a:lnTo>
                      <a:pt x="35" y="826"/>
                    </a:lnTo>
                    <a:lnTo>
                      <a:pt x="35" y="822"/>
                    </a:lnTo>
                    <a:lnTo>
                      <a:pt x="37" y="817"/>
                    </a:lnTo>
                    <a:lnTo>
                      <a:pt x="35" y="815"/>
                    </a:lnTo>
                    <a:lnTo>
                      <a:pt x="32" y="794"/>
                    </a:lnTo>
                    <a:lnTo>
                      <a:pt x="28" y="784"/>
                    </a:lnTo>
                    <a:lnTo>
                      <a:pt x="26" y="780"/>
                    </a:lnTo>
                    <a:lnTo>
                      <a:pt x="30" y="773"/>
                    </a:lnTo>
                    <a:lnTo>
                      <a:pt x="21" y="772"/>
                    </a:lnTo>
                    <a:lnTo>
                      <a:pt x="14" y="775"/>
                    </a:lnTo>
                    <a:lnTo>
                      <a:pt x="13" y="773"/>
                    </a:lnTo>
                    <a:lnTo>
                      <a:pt x="0" y="773"/>
                    </a:lnTo>
                    <a:lnTo>
                      <a:pt x="197" y="412"/>
                    </a:lnTo>
                    <a:lnTo>
                      <a:pt x="198" y="413"/>
                    </a:lnTo>
                    <a:lnTo>
                      <a:pt x="200" y="413"/>
                    </a:lnTo>
                    <a:lnTo>
                      <a:pt x="209" y="422"/>
                    </a:lnTo>
                    <a:lnTo>
                      <a:pt x="212" y="422"/>
                    </a:lnTo>
                    <a:lnTo>
                      <a:pt x="216" y="424"/>
                    </a:lnTo>
                    <a:lnTo>
                      <a:pt x="216" y="427"/>
                    </a:lnTo>
                    <a:lnTo>
                      <a:pt x="217" y="427"/>
                    </a:lnTo>
                    <a:lnTo>
                      <a:pt x="221" y="427"/>
                    </a:lnTo>
                    <a:lnTo>
                      <a:pt x="221" y="431"/>
                    </a:lnTo>
                    <a:lnTo>
                      <a:pt x="226" y="436"/>
                    </a:lnTo>
                    <a:lnTo>
                      <a:pt x="224" y="438"/>
                    </a:lnTo>
                    <a:lnTo>
                      <a:pt x="224" y="440"/>
                    </a:lnTo>
                    <a:lnTo>
                      <a:pt x="223" y="443"/>
                    </a:lnTo>
                    <a:lnTo>
                      <a:pt x="224" y="447"/>
                    </a:lnTo>
                    <a:lnTo>
                      <a:pt x="226" y="447"/>
                    </a:lnTo>
                    <a:lnTo>
                      <a:pt x="228" y="447"/>
                    </a:lnTo>
                    <a:lnTo>
                      <a:pt x="230" y="447"/>
                    </a:lnTo>
                    <a:lnTo>
                      <a:pt x="230" y="450"/>
                    </a:lnTo>
                    <a:lnTo>
                      <a:pt x="230" y="455"/>
                    </a:lnTo>
                    <a:lnTo>
                      <a:pt x="235" y="462"/>
                    </a:lnTo>
                    <a:lnTo>
                      <a:pt x="240" y="464"/>
                    </a:lnTo>
                    <a:lnTo>
                      <a:pt x="240" y="464"/>
                    </a:lnTo>
                    <a:lnTo>
                      <a:pt x="244" y="466"/>
                    </a:lnTo>
                    <a:lnTo>
                      <a:pt x="244" y="467"/>
                    </a:lnTo>
                    <a:lnTo>
                      <a:pt x="244" y="469"/>
                    </a:lnTo>
                    <a:lnTo>
                      <a:pt x="245" y="469"/>
                    </a:lnTo>
                    <a:lnTo>
                      <a:pt x="249" y="474"/>
                    </a:lnTo>
                    <a:lnTo>
                      <a:pt x="249" y="478"/>
                    </a:lnTo>
                    <a:lnTo>
                      <a:pt x="252" y="478"/>
                    </a:lnTo>
                    <a:lnTo>
                      <a:pt x="254" y="481"/>
                    </a:lnTo>
                    <a:lnTo>
                      <a:pt x="254" y="481"/>
                    </a:lnTo>
                    <a:lnTo>
                      <a:pt x="259" y="487"/>
                    </a:lnTo>
                    <a:lnTo>
                      <a:pt x="259" y="490"/>
                    </a:lnTo>
                    <a:lnTo>
                      <a:pt x="261" y="490"/>
                    </a:lnTo>
                    <a:lnTo>
                      <a:pt x="261" y="493"/>
                    </a:lnTo>
                    <a:lnTo>
                      <a:pt x="257" y="497"/>
                    </a:lnTo>
                    <a:lnTo>
                      <a:pt x="254" y="500"/>
                    </a:lnTo>
                    <a:lnTo>
                      <a:pt x="263" y="493"/>
                    </a:lnTo>
                    <a:lnTo>
                      <a:pt x="266" y="492"/>
                    </a:lnTo>
                    <a:lnTo>
                      <a:pt x="266" y="493"/>
                    </a:lnTo>
                    <a:lnTo>
                      <a:pt x="266" y="488"/>
                    </a:lnTo>
                    <a:lnTo>
                      <a:pt x="266" y="478"/>
                    </a:lnTo>
                    <a:lnTo>
                      <a:pt x="266" y="474"/>
                    </a:lnTo>
                    <a:lnTo>
                      <a:pt x="268" y="471"/>
                    </a:lnTo>
                    <a:lnTo>
                      <a:pt x="275" y="469"/>
                    </a:lnTo>
                    <a:lnTo>
                      <a:pt x="278" y="466"/>
                    </a:lnTo>
                    <a:lnTo>
                      <a:pt x="282" y="464"/>
                    </a:lnTo>
                    <a:lnTo>
                      <a:pt x="285" y="462"/>
                    </a:lnTo>
                    <a:lnTo>
                      <a:pt x="285" y="460"/>
                    </a:lnTo>
                    <a:lnTo>
                      <a:pt x="289" y="460"/>
                    </a:lnTo>
                    <a:lnTo>
                      <a:pt x="290" y="459"/>
                    </a:lnTo>
                    <a:lnTo>
                      <a:pt x="294" y="459"/>
                    </a:lnTo>
                    <a:lnTo>
                      <a:pt x="296" y="459"/>
                    </a:lnTo>
                    <a:lnTo>
                      <a:pt x="299" y="459"/>
                    </a:lnTo>
                    <a:lnTo>
                      <a:pt x="301" y="460"/>
                    </a:lnTo>
                    <a:lnTo>
                      <a:pt x="306" y="455"/>
                    </a:lnTo>
                    <a:lnTo>
                      <a:pt x="306" y="452"/>
                    </a:lnTo>
                    <a:lnTo>
                      <a:pt x="308" y="450"/>
                    </a:lnTo>
                    <a:lnTo>
                      <a:pt x="313" y="452"/>
                    </a:lnTo>
                    <a:lnTo>
                      <a:pt x="313" y="450"/>
                    </a:lnTo>
                    <a:lnTo>
                      <a:pt x="313" y="450"/>
                    </a:lnTo>
                    <a:lnTo>
                      <a:pt x="317" y="450"/>
                    </a:lnTo>
                    <a:lnTo>
                      <a:pt x="317" y="450"/>
                    </a:lnTo>
                    <a:lnTo>
                      <a:pt x="327" y="450"/>
                    </a:lnTo>
                    <a:lnTo>
                      <a:pt x="336" y="447"/>
                    </a:lnTo>
                    <a:lnTo>
                      <a:pt x="339" y="447"/>
                    </a:lnTo>
                    <a:lnTo>
                      <a:pt x="339" y="447"/>
                    </a:lnTo>
                    <a:lnTo>
                      <a:pt x="341" y="450"/>
                    </a:lnTo>
                    <a:lnTo>
                      <a:pt x="343" y="447"/>
                    </a:lnTo>
                    <a:lnTo>
                      <a:pt x="344" y="445"/>
                    </a:lnTo>
                    <a:lnTo>
                      <a:pt x="350" y="441"/>
                    </a:lnTo>
                    <a:lnTo>
                      <a:pt x="353" y="441"/>
                    </a:lnTo>
                    <a:lnTo>
                      <a:pt x="355" y="443"/>
                    </a:lnTo>
                    <a:lnTo>
                      <a:pt x="356" y="443"/>
                    </a:lnTo>
                    <a:lnTo>
                      <a:pt x="358" y="445"/>
                    </a:lnTo>
                    <a:lnTo>
                      <a:pt x="358" y="445"/>
                    </a:lnTo>
                    <a:lnTo>
                      <a:pt x="358" y="441"/>
                    </a:lnTo>
                    <a:lnTo>
                      <a:pt x="362" y="440"/>
                    </a:lnTo>
                    <a:lnTo>
                      <a:pt x="363" y="441"/>
                    </a:lnTo>
                    <a:lnTo>
                      <a:pt x="363" y="445"/>
                    </a:lnTo>
                    <a:lnTo>
                      <a:pt x="367" y="447"/>
                    </a:lnTo>
                    <a:lnTo>
                      <a:pt x="363" y="447"/>
                    </a:lnTo>
                    <a:lnTo>
                      <a:pt x="362" y="447"/>
                    </a:lnTo>
                    <a:lnTo>
                      <a:pt x="362" y="450"/>
                    </a:lnTo>
                    <a:lnTo>
                      <a:pt x="355" y="452"/>
                    </a:lnTo>
                    <a:lnTo>
                      <a:pt x="348" y="455"/>
                    </a:lnTo>
                    <a:lnTo>
                      <a:pt x="344" y="457"/>
                    </a:lnTo>
                    <a:lnTo>
                      <a:pt x="341" y="459"/>
                    </a:lnTo>
                    <a:lnTo>
                      <a:pt x="339" y="459"/>
                    </a:lnTo>
                    <a:lnTo>
                      <a:pt x="336" y="460"/>
                    </a:lnTo>
                    <a:lnTo>
                      <a:pt x="336" y="460"/>
                    </a:lnTo>
                    <a:lnTo>
                      <a:pt x="334" y="459"/>
                    </a:lnTo>
                    <a:lnTo>
                      <a:pt x="329" y="460"/>
                    </a:lnTo>
                    <a:lnTo>
                      <a:pt x="322" y="460"/>
                    </a:lnTo>
                    <a:lnTo>
                      <a:pt x="322" y="462"/>
                    </a:lnTo>
                    <a:lnTo>
                      <a:pt x="317" y="460"/>
                    </a:lnTo>
                    <a:lnTo>
                      <a:pt x="313" y="462"/>
                    </a:lnTo>
                    <a:lnTo>
                      <a:pt x="308" y="467"/>
                    </a:lnTo>
                    <a:lnTo>
                      <a:pt x="301" y="471"/>
                    </a:lnTo>
                    <a:lnTo>
                      <a:pt x="301" y="469"/>
                    </a:lnTo>
                    <a:lnTo>
                      <a:pt x="297" y="473"/>
                    </a:lnTo>
                    <a:lnTo>
                      <a:pt x="296" y="474"/>
                    </a:lnTo>
                    <a:lnTo>
                      <a:pt x="294" y="474"/>
                    </a:lnTo>
                    <a:lnTo>
                      <a:pt x="294" y="474"/>
                    </a:lnTo>
                    <a:lnTo>
                      <a:pt x="289" y="478"/>
                    </a:lnTo>
                    <a:lnTo>
                      <a:pt x="285" y="480"/>
                    </a:lnTo>
                    <a:lnTo>
                      <a:pt x="285" y="480"/>
                    </a:lnTo>
                    <a:lnTo>
                      <a:pt x="284" y="481"/>
                    </a:lnTo>
                    <a:lnTo>
                      <a:pt x="285" y="487"/>
                    </a:lnTo>
                    <a:lnTo>
                      <a:pt x="289" y="488"/>
                    </a:lnTo>
                    <a:lnTo>
                      <a:pt x="285" y="483"/>
                    </a:lnTo>
                    <a:lnTo>
                      <a:pt x="285" y="483"/>
                    </a:lnTo>
                    <a:lnTo>
                      <a:pt x="289" y="483"/>
                    </a:lnTo>
                    <a:lnTo>
                      <a:pt x="290" y="481"/>
                    </a:lnTo>
                    <a:lnTo>
                      <a:pt x="294" y="483"/>
                    </a:lnTo>
                    <a:lnTo>
                      <a:pt x="294" y="480"/>
                    </a:lnTo>
                    <a:lnTo>
                      <a:pt x="297" y="478"/>
                    </a:lnTo>
                    <a:lnTo>
                      <a:pt x="303" y="474"/>
                    </a:lnTo>
                    <a:lnTo>
                      <a:pt x="306" y="474"/>
                    </a:lnTo>
                    <a:lnTo>
                      <a:pt x="313" y="469"/>
                    </a:lnTo>
                    <a:lnTo>
                      <a:pt x="317" y="466"/>
                    </a:lnTo>
                    <a:lnTo>
                      <a:pt x="318" y="466"/>
                    </a:lnTo>
                    <a:lnTo>
                      <a:pt x="320" y="469"/>
                    </a:lnTo>
                    <a:lnTo>
                      <a:pt x="322" y="466"/>
                    </a:lnTo>
                    <a:lnTo>
                      <a:pt x="325" y="466"/>
                    </a:lnTo>
                    <a:lnTo>
                      <a:pt x="325" y="467"/>
                    </a:lnTo>
                    <a:lnTo>
                      <a:pt x="330" y="464"/>
                    </a:lnTo>
                    <a:lnTo>
                      <a:pt x="332" y="466"/>
                    </a:lnTo>
                    <a:lnTo>
                      <a:pt x="327" y="473"/>
                    </a:lnTo>
                    <a:lnTo>
                      <a:pt x="329" y="474"/>
                    </a:lnTo>
                    <a:lnTo>
                      <a:pt x="332" y="469"/>
                    </a:lnTo>
                    <a:lnTo>
                      <a:pt x="336" y="467"/>
                    </a:lnTo>
                    <a:lnTo>
                      <a:pt x="348" y="459"/>
                    </a:lnTo>
                    <a:lnTo>
                      <a:pt x="353" y="459"/>
                    </a:lnTo>
                    <a:lnTo>
                      <a:pt x="356" y="457"/>
                    </a:lnTo>
                    <a:lnTo>
                      <a:pt x="362" y="457"/>
                    </a:lnTo>
                    <a:lnTo>
                      <a:pt x="367" y="455"/>
                    </a:lnTo>
                    <a:lnTo>
                      <a:pt x="367" y="455"/>
                    </a:lnTo>
                    <a:lnTo>
                      <a:pt x="367" y="459"/>
                    </a:lnTo>
                    <a:lnTo>
                      <a:pt x="362" y="460"/>
                    </a:lnTo>
                    <a:lnTo>
                      <a:pt x="362" y="462"/>
                    </a:lnTo>
                    <a:lnTo>
                      <a:pt x="367" y="464"/>
                    </a:lnTo>
                    <a:lnTo>
                      <a:pt x="370" y="460"/>
                    </a:lnTo>
                    <a:lnTo>
                      <a:pt x="377" y="455"/>
                    </a:lnTo>
                    <a:lnTo>
                      <a:pt x="379" y="455"/>
                    </a:lnTo>
                    <a:lnTo>
                      <a:pt x="379" y="455"/>
                    </a:lnTo>
                    <a:lnTo>
                      <a:pt x="381" y="452"/>
                    </a:lnTo>
                    <a:lnTo>
                      <a:pt x="386" y="452"/>
                    </a:lnTo>
                    <a:lnTo>
                      <a:pt x="386" y="450"/>
                    </a:lnTo>
                    <a:lnTo>
                      <a:pt x="386" y="447"/>
                    </a:lnTo>
                    <a:lnTo>
                      <a:pt x="389" y="450"/>
                    </a:lnTo>
                    <a:lnTo>
                      <a:pt x="389" y="450"/>
                    </a:lnTo>
                    <a:lnTo>
                      <a:pt x="393" y="447"/>
                    </a:lnTo>
                    <a:lnTo>
                      <a:pt x="389" y="443"/>
                    </a:lnTo>
                    <a:lnTo>
                      <a:pt x="393" y="441"/>
                    </a:lnTo>
                    <a:lnTo>
                      <a:pt x="389" y="438"/>
                    </a:lnTo>
                    <a:lnTo>
                      <a:pt x="393" y="434"/>
                    </a:lnTo>
                    <a:lnTo>
                      <a:pt x="398" y="431"/>
                    </a:lnTo>
                    <a:lnTo>
                      <a:pt x="398" y="436"/>
                    </a:lnTo>
                    <a:lnTo>
                      <a:pt x="398" y="450"/>
                    </a:lnTo>
                    <a:lnTo>
                      <a:pt x="396" y="452"/>
                    </a:lnTo>
                    <a:lnTo>
                      <a:pt x="396" y="464"/>
                    </a:lnTo>
                    <a:lnTo>
                      <a:pt x="395" y="471"/>
                    </a:lnTo>
                    <a:lnTo>
                      <a:pt x="393" y="485"/>
                    </a:lnTo>
                    <a:lnTo>
                      <a:pt x="395" y="490"/>
                    </a:lnTo>
                    <a:lnTo>
                      <a:pt x="400" y="490"/>
                    </a:lnTo>
                    <a:lnTo>
                      <a:pt x="402" y="495"/>
                    </a:lnTo>
                    <a:lnTo>
                      <a:pt x="407" y="492"/>
                    </a:lnTo>
                    <a:lnTo>
                      <a:pt x="405" y="490"/>
                    </a:lnTo>
                    <a:lnTo>
                      <a:pt x="402" y="490"/>
                    </a:lnTo>
                    <a:lnTo>
                      <a:pt x="402" y="488"/>
                    </a:lnTo>
                    <a:lnTo>
                      <a:pt x="405" y="485"/>
                    </a:lnTo>
                    <a:lnTo>
                      <a:pt x="409" y="487"/>
                    </a:lnTo>
                    <a:lnTo>
                      <a:pt x="409" y="483"/>
                    </a:lnTo>
                    <a:lnTo>
                      <a:pt x="407" y="481"/>
                    </a:lnTo>
                    <a:lnTo>
                      <a:pt x="410" y="480"/>
                    </a:lnTo>
                    <a:lnTo>
                      <a:pt x="416" y="480"/>
                    </a:lnTo>
                    <a:lnTo>
                      <a:pt x="416" y="481"/>
                    </a:lnTo>
                    <a:lnTo>
                      <a:pt x="417" y="480"/>
                    </a:lnTo>
                    <a:lnTo>
                      <a:pt x="416" y="474"/>
                    </a:lnTo>
                    <a:lnTo>
                      <a:pt x="417" y="474"/>
                    </a:lnTo>
                    <a:lnTo>
                      <a:pt x="424" y="471"/>
                    </a:lnTo>
                    <a:lnTo>
                      <a:pt x="424" y="467"/>
                    </a:lnTo>
                    <a:lnTo>
                      <a:pt x="428" y="467"/>
                    </a:lnTo>
                    <a:lnTo>
                      <a:pt x="428" y="471"/>
                    </a:lnTo>
                    <a:lnTo>
                      <a:pt x="428" y="474"/>
                    </a:lnTo>
                    <a:lnTo>
                      <a:pt x="424" y="474"/>
                    </a:lnTo>
                    <a:lnTo>
                      <a:pt x="426" y="478"/>
                    </a:lnTo>
                    <a:lnTo>
                      <a:pt x="423" y="480"/>
                    </a:lnTo>
                    <a:lnTo>
                      <a:pt x="421" y="483"/>
                    </a:lnTo>
                    <a:lnTo>
                      <a:pt x="423" y="483"/>
                    </a:lnTo>
                    <a:lnTo>
                      <a:pt x="426" y="483"/>
                    </a:lnTo>
                    <a:lnTo>
                      <a:pt x="426" y="485"/>
                    </a:lnTo>
                    <a:lnTo>
                      <a:pt x="426" y="487"/>
                    </a:lnTo>
                    <a:lnTo>
                      <a:pt x="423" y="488"/>
                    </a:lnTo>
                    <a:lnTo>
                      <a:pt x="421" y="492"/>
                    </a:lnTo>
                    <a:lnTo>
                      <a:pt x="417" y="490"/>
                    </a:lnTo>
                    <a:lnTo>
                      <a:pt x="416" y="492"/>
                    </a:lnTo>
                    <a:lnTo>
                      <a:pt x="416" y="495"/>
                    </a:lnTo>
                    <a:lnTo>
                      <a:pt x="416" y="497"/>
                    </a:lnTo>
                    <a:lnTo>
                      <a:pt x="421" y="497"/>
                    </a:lnTo>
                    <a:lnTo>
                      <a:pt x="424" y="500"/>
                    </a:lnTo>
                    <a:lnTo>
                      <a:pt x="428" y="500"/>
                    </a:lnTo>
                    <a:lnTo>
                      <a:pt x="429" y="497"/>
                    </a:lnTo>
                    <a:lnTo>
                      <a:pt x="435" y="497"/>
                    </a:lnTo>
                    <a:lnTo>
                      <a:pt x="438" y="490"/>
                    </a:lnTo>
                    <a:lnTo>
                      <a:pt x="440" y="487"/>
                    </a:lnTo>
                    <a:lnTo>
                      <a:pt x="443" y="485"/>
                    </a:lnTo>
                    <a:lnTo>
                      <a:pt x="447" y="487"/>
                    </a:lnTo>
                    <a:lnTo>
                      <a:pt x="450" y="487"/>
                    </a:lnTo>
                    <a:lnTo>
                      <a:pt x="452" y="490"/>
                    </a:lnTo>
                    <a:lnTo>
                      <a:pt x="456" y="490"/>
                    </a:lnTo>
                    <a:lnTo>
                      <a:pt x="461" y="493"/>
                    </a:lnTo>
                    <a:lnTo>
                      <a:pt x="462" y="493"/>
                    </a:lnTo>
                    <a:lnTo>
                      <a:pt x="462" y="497"/>
                    </a:lnTo>
                    <a:lnTo>
                      <a:pt x="466" y="506"/>
                    </a:lnTo>
                    <a:lnTo>
                      <a:pt x="466" y="509"/>
                    </a:lnTo>
                    <a:lnTo>
                      <a:pt x="469" y="514"/>
                    </a:lnTo>
                    <a:lnTo>
                      <a:pt x="483" y="525"/>
                    </a:lnTo>
                    <a:lnTo>
                      <a:pt x="485" y="525"/>
                    </a:lnTo>
                    <a:lnTo>
                      <a:pt x="489" y="528"/>
                    </a:lnTo>
                    <a:lnTo>
                      <a:pt x="494" y="533"/>
                    </a:lnTo>
                    <a:lnTo>
                      <a:pt x="497" y="533"/>
                    </a:lnTo>
                    <a:lnTo>
                      <a:pt x="499" y="537"/>
                    </a:lnTo>
                    <a:lnTo>
                      <a:pt x="501" y="539"/>
                    </a:lnTo>
                    <a:lnTo>
                      <a:pt x="502" y="540"/>
                    </a:lnTo>
                    <a:lnTo>
                      <a:pt x="504" y="539"/>
                    </a:lnTo>
                    <a:lnTo>
                      <a:pt x="506" y="542"/>
                    </a:lnTo>
                    <a:lnTo>
                      <a:pt x="511" y="546"/>
                    </a:lnTo>
                    <a:lnTo>
                      <a:pt x="513" y="546"/>
                    </a:lnTo>
                    <a:lnTo>
                      <a:pt x="513" y="549"/>
                    </a:lnTo>
                    <a:lnTo>
                      <a:pt x="516" y="553"/>
                    </a:lnTo>
                    <a:lnTo>
                      <a:pt x="516" y="549"/>
                    </a:lnTo>
                    <a:lnTo>
                      <a:pt x="516" y="546"/>
                    </a:lnTo>
                    <a:lnTo>
                      <a:pt x="516" y="544"/>
                    </a:lnTo>
                    <a:lnTo>
                      <a:pt x="513" y="542"/>
                    </a:lnTo>
                    <a:lnTo>
                      <a:pt x="513" y="540"/>
                    </a:lnTo>
                    <a:lnTo>
                      <a:pt x="520" y="542"/>
                    </a:lnTo>
                    <a:lnTo>
                      <a:pt x="520" y="546"/>
                    </a:lnTo>
                    <a:lnTo>
                      <a:pt x="520" y="546"/>
                    </a:lnTo>
                    <a:lnTo>
                      <a:pt x="522" y="542"/>
                    </a:lnTo>
                    <a:lnTo>
                      <a:pt x="523" y="542"/>
                    </a:lnTo>
                    <a:lnTo>
                      <a:pt x="527" y="547"/>
                    </a:lnTo>
                    <a:lnTo>
                      <a:pt x="529" y="549"/>
                    </a:lnTo>
                    <a:lnTo>
                      <a:pt x="530" y="551"/>
                    </a:lnTo>
                    <a:lnTo>
                      <a:pt x="532" y="554"/>
                    </a:lnTo>
                    <a:lnTo>
                      <a:pt x="534" y="556"/>
                    </a:lnTo>
                    <a:lnTo>
                      <a:pt x="535" y="561"/>
                    </a:lnTo>
                    <a:lnTo>
                      <a:pt x="537" y="565"/>
                    </a:lnTo>
                    <a:lnTo>
                      <a:pt x="535" y="568"/>
                    </a:lnTo>
                    <a:lnTo>
                      <a:pt x="534" y="572"/>
                    </a:lnTo>
                    <a:lnTo>
                      <a:pt x="530" y="575"/>
                    </a:lnTo>
                    <a:lnTo>
                      <a:pt x="523" y="573"/>
                    </a:lnTo>
                    <a:lnTo>
                      <a:pt x="520" y="573"/>
                    </a:lnTo>
                    <a:lnTo>
                      <a:pt x="520" y="573"/>
                    </a:lnTo>
                    <a:lnTo>
                      <a:pt x="516" y="575"/>
                    </a:lnTo>
                    <a:lnTo>
                      <a:pt x="513" y="573"/>
                    </a:lnTo>
                    <a:lnTo>
                      <a:pt x="511" y="573"/>
                    </a:lnTo>
                    <a:lnTo>
                      <a:pt x="513" y="577"/>
                    </a:lnTo>
                    <a:lnTo>
                      <a:pt x="509" y="579"/>
                    </a:lnTo>
                    <a:lnTo>
                      <a:pt x="509" y="582"/>
                    </a:lnTo>
                    <a:lnTo>
                      <a:pt x="506" y="582"/>
                    </a:lnTo>
                    <a:lnTo>
                      <a:pt x="502" y="582"/>
                    </a:lnTo>
                    <a:lnTo>
                      <a:pt x="502" y="584"/>
                    </a:lnTo>
                    <a:lnTo>
                      <a:pt x="506" y="584"/>
                    </a:lnTo>
                    <a:lnTo>
                      <a:pt x="508" y="589"/>
                    </a:lnTo>
                    <a:lnTo>
                      <a:pt x="511" y="591"/>
                    </a:lnTo>
                    <a:lnTo>
                      <a:pt x="513" y="589"/>
                    </a:lnTo>
                    <a:lnTo>
                      <a:pt x="516" y="593"/>
                    </a:lnTo>
                    <a:lnTo>
                      <a:pt x="516" y="596"/>
                    </a:lnTo>
                    <a:lnTo>
                      <a:pt x="520" y="596"/>
                    </a:lnTo>
                    <a:lnTo>
                      <a:pt x="527" y="600"/>
                    </a:lnTo>
                    <a:lnTo>
                      <a:pt x="532" y="600"/>
                    </a:lnTo>
                    <a:lnTo>
                      <a:pt x="539" y="603"/>
                    </a:lnTo>
                    <a:lnTo>
                      <a:pt x="542" y="603"/>
                    </a:lnTo>
                    <a:lnTo>
                      <a:pt x="542" y="601"/>
                    </a:lnTo>
                    <a:lnTo>
                      <a:pt x="544" y="601"/>
                    </a:lnTo>
                    <a:lnTo>
                      <a:pt x="548" y="603"/>
                    </a:lnTo>
                    <a:lnTo>
                      <a:pt x="548" y="606"/>
                    </a:lnTo>
                    <a:lnTo>
                      <a:pt x="553" y="601"/>
                    </a:lnTo>
                    <a:lnTo>
                      <a:pt x="555" y="605"/>
                    </a:lnTo>
                    <a:lnTo>
                      <a:pt x="556" y="603"/>
                    </a:lnTo>
                    <a:lnTo>
                      <a:pt x="560" y="601"/>
                    </a:lnTo>
                    <a:lnTo>
                      <a:pt x="562" y="601"/>
                    </a:lnTo>
                    <a:lnTo>
                      <a:pt x="562" y="603"/>
                    </a:lnTo>
                    <a:lnTo>
                      <a:pt x="563" y="603"/>
                    </a:lnTo>
                    <a:lnTo>
                      <a:pt x="567" y="601"/>
                    </a:lnTo>
                    <a:lnTo>
                      <a:pt x="577" y="596"/>
                    </a:lnTo>
                    <a:lnTo>
                      <a:pt x="581" y="596"/>
                    </a:lnTo>
                    <a:lnTo>
                      <a:pt x="579" y="600"/>
                    </a:lnTo>
                    <a:lnTo>
                      <a:pt x="579" y="601"/>
                    </a:lnTo>
                    <a:lnTo>
                      <a:pt x="579" y="603"/>
                    </a:lnTo>
                    <a:lnTo>
                      <a:pt x="581" y="603"/>
                    </a:lnTo>
                    <a:lnTo>
                      <a:pt x="581" y="606"/>
                    </a:lnTo>
                    <a:lnTo>
                      <a:pt x="581" y="610"/>
                    </a:lnTo>
                    <a:lnTo>
                      <a:pt x="581" y="612"/>
                    </a:lnTo>
                    <a:lnTo>
                      <a:pt x="582" y="612"/>
                    </a:lnTo>
                    <a:lnTo>
                      <a:pt x="584" y="610"/>
                    </a:lnTo>
                    <a:lnTo>
                      <a:pt x="586" y="612"/>
                    </a:lnTo>
                    <a:lnTo>
                      <a:pt x="586" y="615"/>
                    </a:lnTo>
                    <a:lnTo>
                      <a:pt x="584" y="619"/>
                    </a:lnTo>
                    <a:lnTo>
                      <a:pt x="584" y="624"/>
                    </a:lnTo>
                    <a:lnTo>
                      <a:pt x="586" y="624"/>
                    </a:lnTo>
                    <a:lnTo>
                      <a:pt x="588" y="620"/>
                    </a:lnTo>
                    <a:lnTo>
                      <a:pt x="589" y="619"/>
                    </a:lnTo>
                    <a:lnTo>
                      <a:pt x="589" y="615"/>
                    </a:lnTo>
                    <a:lnTo>
                      <a:pt x="589" y="615"/>
                    </a:lnTo>
                    <a:lnTo>
                      <a:pt x="589" y="619"/>
                    </a:lnTo>
                    <a:lnTo>
                      <a:pt x="588" y="626"/>
                    </a:lnTo>
                    <a:lnTo>
                      <a:pt x="586" y="629"/>
                    </a:lnTo>
                    <a:lnTo>
                      <a:pt x="586" y="634"/>
                    </a:lnTo>
                    <a:lnTo>
                      <a:pt x="588" y="640"/>
                    </a:lnTo>
                    <a:lnTo>
                      <a:pt x="588" y="646"/>
                    </a:lnTo>
                    <a:lnTo>
                      <a:pt x="586" y="648"/>
                    </a:lnTo>
                    <a:lnTo>
                      <a:pt x="589" y="652"/>
                    </a:lnTo>
                    <a:lnTo>
                      <a:pt x="589" y="653"/>
                    </a:lnTo>
                    <a:lnTo>
                      <a:pt x="589" y="657"/>
                    </a:lnTo>
                    <a:lnTo>
                      <a:pt x="589" y="659"/>
                    </a:lnTo>
                    <a:lnTo>
                      <a:pt x="593" y="664"/>
                    </a:lnTo>
                    <a:lnTo>
                      <a:pt x="593" y="674"/>
                    </a:lnTo>
                    <a:lnTo>
                      <a:pt x="593" y="664"/>
                    </a:lnTo>
                    <a:lnTo>
                      <a:pt x="589" y="655"/>
                    </a:lnTo>
                    <a:lnTo>
                      <a:pt x="593" y="646"/>
                    </a:lnTo>
                    <a:lnTo>
                      <a:pt x="595" y="641"/>
                    </a:lnTo>
                    <a:lnTo>
                      <a:pt x="598" y="641"/>
                    </a:lnTo>
                    <a:lnTo>
                      <a:pt x="598" y="643"/>
                    </a:lnTo>
                    <a:lnTo>
                      <a:pt x="596" y="643"/>
                    </a:lnTo>
                    <a:lnTo>
                      <a:pt x="596" y="646"/>
                    </a:lnTo>
                    <a:lnTo>
                      <a:pt x="596" y="646"/>
                    </a:lnTo>
                    <a:lnTo>
                      <a:pt x="600" y="646"/>
                    </a:lnTo>
                    <a:lnTo>
                      <a:pt x="600" y="646"/>
                    </a:lnTo>
                    <a:lnTo>
                      <a:pt x="601" y="646"/>
                    </a:lnTo>
                    <a:lnTo>
                      <a:pt x="601" y="643"/>
                    </a:lnTo>
                    <a:lnTo>
                      <a:pt x="600" y="640"/>
                    </a:lnTo>
                    <a:lnTo>
                      <a:pt x="600" y="638"/>
                    </a:lnTo>
                    <a:lnTo>
                      <a:pt x="603" y="634"/>
                    </a:lnTo>
                    <a:lnTo>
                      <a:pt x="603" y="634"/>
                    </a:lnTo>
                    <a:lnTo>
                      <a:pt x="600" y="633"/>
                    </a:lnTo>
                    <a:lnTo>
                      <a:pt x="601" y="629"/>
                    </a:lnTo>
                    <a:lnTo>
                      <a:pt x="603" y="624"/>
                    </a:lnTo>
                    <a:lnTo>
                      <a:pt x="605" y="615"/>
                    </a:lnTo>
                    <a:lnTo>
                      <a:pt x="605" y="612"/>
                    </a:lnTo>
                    <a:lnTo>
                      <a:pt x="605" y="610"/>
                    </a:lnTo>
                    <a:lnTo>
                      <a:pt x="607" y="608"/>
                    </a:lnTo>
                    <a:lnTo>
                      <a:pt x="612" y="608"/>
                    </a:lnTo>
                    <a:lnTo>
                      <a:pt x="612" y="606"/>
                    </a:lnTo>
                    <a:lnTo>
                      <a:pt x="612" y="605"/>
                    </a:lnTo>
                    <a:lnTo>
                      <a:pt x="617" y="603"/>
                    </a:lnTo>
                    <a:lnTo>
                      <a:pt x="617" y="605"/>
                    </a:lnTo>
                    <a:lnTo>
                      <a:pt x="621" y="605"/>
                    </a:lnTo>
                    <a:lnTo>
                      <a:pt x="621" y="601"/>
                    </a:lnTo>
                    <a:lnTo>
                      <a:pt x="624" y="601"/>
                    </a:lnTo>
                    <a:lnTo>
                      <a:pt x="624" y="603"/>
                    </a:lnTo>
                    <a:lnTo>
                      <a:pt x="624" y="603"/>
                    </a:lnTo>
                    <a:lnTo>
                      <a:pt x="629" y="603"/>
                    </a:lnTo>
                    <a:lnTo>
                      <a:pt x="631" y="598"/>
                    </a:lnTo>
                    <a:lnTo>
                      <a:pt x="633" y="598"/>
                    </a:lnTo>
                    <a:lnTo>
                      <a:pt x="634" y="601"/>
                    </a:lnTo>
                    <a:lnTo>
                      <a:pt x="636" y="601"/>
                    </a:lnTo>
                    <a:lnTo>
                      <a:pt x="636" y="606"/>
                    </a:lnTo>
                    <a:lnTo>
                      <a:pt x="636" y="601"/>
                    </a:lnTo>
                    <a:lnTo>
                      <a:pt x="634" y="598"/>
                    </a:lnTo>
                    <a:lnTo>
                      <a:pt x="638" y="593"/>
                    </a:lnTo>
                    <a:lnTo>
                      <a:pt x="640" y="593"/>
                    </a:lnTo>
                    <a:lnTo>
                      <a:pt x="640" y="596"/>
                    </a:lnTo>
                    <a:lnTo>
                      <a:pt x="643" y="593"/>
                    </a:lnTo>
                    <a:lnTo>
                      <a:pt x="647" y="593"/>
                    </a:lnTo>
                    <a:lnTo>
                      <a:pt x="648" y="596"/>
                    </a:lnTo>
                    <a:lnTo>
                      <a:pt x="652" y="589"/>
                    </a:lnTo>
                    <a:lnTo>
                      <a:pt x="650" y="587"/>
                    </a:lnTo>
                    <a:lnTo>
                      <a:pt x="654" y="584"/>
                    </a:lnTo>
                    <a:lnTo>
                      <a:pt x="650" y="584"/>
                    </a:lnTo>
                    <a:lnTo>
                      <a:pt x="648" y="584"/>
                    </a:lnTo>
                    <a:lnTo>
                      <a:pt x="647" y="584"/>
                    </a:lnTo>
                    <a:lnTo>
                      <a:pt x="640" y="587"/>
                    </a:lnTo>
                    <a:lnTo>
                      <a:pt x="638" y="587"/>
                    </a:lnTo>
                    <a:lnTo>
                      <a:pt x="638" y="587"/>
                    </a:lnTo>
                    <a:lnTo>
                      <a:pt x="634" y="589"/>
                    </a:lnTo>
                    <a:lnTo>
                      <a:pt x="634" y="591"/>
                    </a:lnTo>
                    <a:lnTo>
                      <a:pt x="634" y="593"/>
                    </a:lnTo>
                    <a:lnTo>
                      <a:pt x="631" y="589"/>
                    </a:lnTo>
                    <a:lnTo>
                      <a:pt x="631" y="587"/>
                    </a:lnTo>
                    <a:lnTo>
                      <a:pt x="629" y="587"/>
                    </a:lnTo>
                    <a:lnTo>
                      <a:pt x="628" y="591"/>
                    </a:lnTo>
                    <a:lnTo>
                      <a:pt x="626" y="593"/>
                    </a:lnTo>
                    <a:lnTo>
                      <a:pt x="624" y="589"/>
                    </a:lnTo>
                    <a:lnTo>
                      <a:pt x="621" y="589"/>
                    </a:lnTo>
                    <a:lnTo>
                      <a:pt x="621" y="587"/>
                    </a:lnTo>
                    <a:lnTo>
                      <a:pt x="617" y="589"/>
                    </a:lnTo>
                    <a:lnTo>
                      <a:pt x="617" y="591"/>
                    </a:lnTo>
                    <a:lnTo>
                      <a:pt x="621" y="593"/>
                    </a:lnTo>
                    <a:lnTo>
                      <a:pt x="621" y="596"/>
                    </a:lnTo>
                    <a:lnTo>
                      <a:pt x="617" y="596"/>
                    </a:lnTo>
                    <a:lnTo>
                      <a:pt x="615" y="596"/>
                    </a:lnTo>
                    <a:lnTo>
                      <a:pt x="610" y="596"/>
                    </a:lnTo>
                    <a:lnTo>
                      <a:pt x="610" y="593"/>
                    </a:lnTo>
                    <a:lnTo>
                      <a:pt x="612" y="591"/>
                    </a:lnTo>
                    <a:lnTo>
                      <a:pt x="612" y="587"/>
                    </a:lnTo>
                    <a:lnTo>
                      <a:pt x="612" y="587"/>
                    </a:lnTo>
                    <a:lnTo>
                      <a:pt x="610" y="587"/>
                    </a:lnTo>
                    <a:lnTo>
                      <a:pt x="607" y="587"/>
                    </a:lnTo>
                    <a:lnTo>
                      <a:pt x="608" y="584"/>
                    </a:lnTo>
                    <a:lnTo>
                      <a:pt x="612" y="584"/>
                    </a:lnTo>
                    <a:lnTo>
                      <a:pt x="617" y="577"/>
                    </a:lnTo>
                    <a:lnTo>
                      <a:pt x="617" y="577"/>
                    </a:lnTo>
                    <a:lnTo>
                      <a:pt x="624" y="579"/>
                    </a:lnTo>
                    <a:lnTo>
                      <a:pt x="634" y="577"/>
                    </a:lnTo>
                    <a:lnTo>
                      <a:pt x="643" y="575"/>
                    </a:lnTo>
                    <a:lnTo>
                      <a:pt x="647" y="575"/>
                    </a:lnTo>
                    <a:lnTo>
                      <a:pt x="650" y="573"/>
                    </a:lnTo>
                    <a:lnTo>
                      <a:pt x="652" y="577"/>
                    </a:lnTo>
                    <a:lnTo>
                      <a:pt x="654" y="579"/>
                    </a:lnTo>
                    <a:lnTo>
                      <a:pt x="655" y="579"/>
                    </a:lnTo>
                    <a:lnTo>
                      <a:pt x="657" y="580"/>
                    </a:lnTo>
                    <a:lnTo>
                      <a:pt x="655" y="587"/>
                    </a:lnTo>
                    <a:lnTo>
                      <a:pt x="655" y="589"/>
                    </a:lnTo>
                    <a:lnTo>
                      <a:pt x="657" y="591"/>
                    </a:lnTo>
                    <a:lnTo>
                      <a:pt x="655" y="591"/>
                    </a:lnTo>
                    <a:lnTo>
                      <a:pt x="654" y="596"/>
                    </a:lnTo>
                    <a:lnTo>
                      <a:pt x="654" y="596"/>
                    </a:lnTo>
                    <a:lnTo>
                      <a:pt x="655" y="596"/>
                    </a:lnTo>
                    <a:lnTo>
                      <a:pt x="655" y="603"/>
                    </a:lnTo>
                    <a:lnTo>
                      <a:pt x="659" y="603"/>
                    </a:lnTo>
                    <a:lnTo>
                      <a:pt x="661" y="605"/>
                    </a:lnTo>
                    <a:lnTo>
                      <a:pt x="661" y="606"/>
                    </a:lnTo>
                    <a:lnTo>
                      <a:pt x="657" y="608"/>
                    </a:lnTo>
                    <a:lnTo>
                      <a:pt x="657" y="612"/>
                    </a:lnTo>
                    <a:lnTo>
                      <a:pt x="655" y="612"/>
                    </a:lnTo>
                    <a:lnTo>
                      <a:pt x="661" y="612"/>
                    </a:lnTo>
                    <a:lnTo>
                      <a:pt x="662" y="615"/>
                    </a:lnTo>
                    <a:lnTo>
                      <a:pt x="662" y="615"/>
                    </a:lnTo>
                    <a:lnTo>
                      <a:pt x="666" y="615"/>
                    </a:lnTo>
                    <a:lnTo>
                      <a:pt x="666" y="619"/>
                    </a:lnTo>
                    <a:lnTo>
                      <a:pt x="671" y="619"/>
                    </a:lnTo>
                    <a:lnTo>
                      <a:pt x="674" y="615"/>
                    </a:lnTo>
                    <a:lnTo>
                      <a:pt x="674" y="615"/>
                    </a:lnTo>
                    <a:lnTo>
                      <a:pt x="674" y="619"/>
                    </a:lnTo>
                    <a:lnTo>
                      <a:pt x="674" y="619"/>
                    </a:lnTo>
                    <a:lnTo>
                      <a:pt x="676" y="619"/>
                    </a:lnTo>
                    <a:lnTo>
                      <a:pt x="678" y="620"/>
                    </a:lnTo>
                    <a:lnTo>
                      <a:pt x="678" y="624"/>
                    </a:lnTo>
                    <a:lnTo>
                      <a:pt x="678" y="624"/>
                    </a:lnTo>
                    <a:lnTo>
                      <a:pt x="680" y="626"/>
                    </a:lnTo>
                    <a:lnTo>
                      <a:pt x="680" y="627"/>
                    </a:lnTo>
                    <a:lnTo>
                      <a:pt x="685" y="633"/>
                    </a:lnTo>
                    <a:lnTo>
                      <a:pt x="685" y="634"/>
                    </a:lnTo>
                    <a:lnTo>
                      <a:pt x="688" y="633"/>
                    </a:lnTo>
                    <a:lnTo>
                      <a:pt x="690" y="633"/>
                    </a:lnTo>
                    <a:lnTo>
                      <a:pt x="690" y="634"/>
                    </a:lnTo>
                    <a:lnTo>
                      <a:pt x="692" y="634"/>
                    </a:lnTo>
                    <a:lnTo>
                      <a:pt x="694" y="640"/>
                    </a:lnTo>
                    <a:lnTo>
                      <a:pt x="697" y="638"/>
                    </a:lnTo>
                    <a:lnTo>
                      <a:pt x="704" y="638"/>
                    </a:lnTo>
                    <a:lnTo>
                      <a:pt x="706" y="634"/>
                    </a:lnTo>
                    <a:lnTo>
                      <a:pt x="711" y="633"/>
                    </a:lnTo>
                    <a:lnTo>
                      <a:pt x="711" y="633"/>
                    </a:lnTo>
                    <a:lnTo>
                      <a:pt x="713" y="634"/>
                    </a:lnTo>
                    <a:lnTo>
                      <a:pt x="720" y="634"/>
                    </a:lnTo>
                    <a:lnTo>
                      <a:pt x="725" y="640"/>
                    </a:lnTo>
                    <a:lnTo>
                      <a:pt x="727" y="640"/>
                    </a:lnTo>
                    <a:lnTo>
                      <a:pt x="728" y="643"/>
                    </a:lnTo>
                    <a:lnTo>
                      <a:pt x="730" y="641"/>
                    </a:lnTo>
                    <a:lnTo>
                      <a:pt x="737" y="640"/>
                    </a:lnTo>
                    <a:lnTo>
                      <a:pt x="739" y="643"/>
                    </a:lnTo>
                    <a:lnTo>
                      <a:pt x="742" y="641"/>
                    </a:lnTo>
                    <a:lnTo>
                      <a:pt x="739" y="638"/>
                    </a:lnTo>
                    <a:lnTo>
                      <a:pt x="739" y="634"/>
                    </a:lnTo>
                    <a:lnTo>
                      <a:pt x="737" y="629"/>
                    </a:lnTo>
                    <a:lnTo>
                      <a:pt x="739" y="627"/>
                    </a:lnTo>
                    <a:lnTo>
                      <a:pt x="739" y="629"/>
                    </a:lnTo>
                    <a:lnTo>
                      <a:pt x="742" y="634"/>
                    </a:lnTo>
                    <a:lnTo>
                      <a:pt x="744" y="640"/>
                    </a:lnTo>
                    <a:lnTo>
                      <a:pt x="747" y="643"/>
                    </a:lnTo>
                    <a:lnTo>
                      <a:pt x="749" y="646"/>
                    </a:lnTo>
                    <a:lnTo>
                      <a:pt x="751" y="650"/>
                    </a:lnTo>
                    <a:lnTo>
                      <a:pt x="751" y="643"/>
                    </a:lnTo>
                    <a:lnTo>
                      <a:pt x="749" y="641"/>
                    </a:lnTo>
                    <a:lnTo>
                      <a:pt x="744" y="640"/>
                    </a:lnTo>
                    <a:lnTo>
                      <a:pt x="744" y="634"/>
                    </a:lnTo>
                    <a:lnTo>
                      <a:pt x="742" y="626"/>
                    </a:lnTo>
                    <a:lnTo>
                      <a:pt x="744" y="624"/>
                    </a:lnTo>
                    <a:lnTo>
                      <a:pt x="744" y="624"/>
                    </a:lnTo>
                    <a:lnTo>
                      <a:pt x="744" y="627"/>
                    </a:lnTo>
                    <a:lnTo>
                      <a:pt x="744" y="627"/>
                    </a:lnTo>
                    <a:lnTo>
                      <a:pt x="747" y="627"/>
                    </a:lnTo>
                    <a:lnTo>
                      <a:pt x="747" y="624"/>
                    </a:lnTo>
                    <a:lnTo>
                      <a:pt x="747" y="620"/>
                    </a:lnTo>
                    <a:lnTo>
                      <a:pt x="747" y="619"/>
                    </a:lnTo>
                    <a:lnTo>
                      <a:pt x="747" y="619"/>
                    </a:lnTo>
                    <a:lnTo>
                      <a:pt x="747" y="615"/>
                    </a:lnTo>
                    <a:lnTo>
                      <a:pt x="749" y="615"/>
                    </a:lnTo>
                    <a:lnTo>
                      <a:pt x="751" y="619"/>
                    </a:lnTo>
                    <a:lnTo>
                      <a:pt x="751" y="620"/>
                    </a:lnTo>
                    <a:lnTo>
                      <a:pt x="753" y="620"/>
                    </a:lnTo>
                    <a:lnTo>
                      <a:pt x="753" y="620"/>
                    </a:lnTo>
                    <a:lnTo>
                      <a:pt x="756" y="619"/>
                    </a:lnTo>
                    <a:lnTo>
                      <a:pt x="758" y="615"/>
                    </a:lnTo>
                    <a:lnTo>
                      <a:pt x="761" y="615"/>
                    </a:lnTo>
                    <a:lnTo>
                      <a:pt x="763" y="619"/>
                    </a:lnTo>
                    <a:lnTo>
                      <a:pt x="761" y="619"/>
                    </a:lnTo>
                    <a:lnTo>
                      <a:pt x="761" y="620"/>
                    </a:lnTo>
                    <a:lnTo>
                      <a:pt x="761" y="619"/>
                    </a:lnTo>
                    <a:lnTo>
                      <a:pt x="765" y="619"/>
                    </a:lnTo>
                    <a:lnTo>
                      <a:pt x="767" y="620"/>
                    </a:lnTo>
                    <a:lnTo>
                      <a:pt x="767" y="624"/>
                    </a:lnTo>
                    <a:lnTo>
                      <a:pt x="765" y="627"/>
                    </a:lnTo>
                    <a:lnTo>
                      <a:pt x="767" y="629"/>
                    </a:lnTo>
                    <a:lnTo>
                      <a:pt x="770" y="629"/>
                    </a:lnTo>
                    <a:lnTo>
                      <a:pt x="770" y="629"/>
                    </a:lnTo>
                    <a:lnTo>
                      <a:pt x="770" y="633"/>
                    </a:lnTo>
                    <a:lnTo>
                      <a:pt x="767" y="634"/>
                    </a:lnTo>
                    <a:lnTo>
                      <a:pt x="767" y="634"/>
                    </a:lnTo>
                    <a:lnTo>
                      <a:pt x="767" y="638"/>
                    </a:lnTo>
                    <a:lnTo>
                      <a:pt x="772" y="634"/>
                    </a:lnTo>
                    <a:lnTo>
                      <a:pt x="773" y="631"/>
                    </a:lnTo>
                    <a:lnTo>
                      <a:pt x="779" y="629"/>
                    </a:lnTo>
                    <a:lnTo>
                      <a:pt x="782" y="629"/>
                    </a:lnTo>
                    <a:lnTo>
                      <a:pt x="782" y="631"/>
                    </a:lnTo>
                    <a:lnTo>
                      <a:pt x="779" y="633"/>
                    </a:lnTo>
                    <a:lnTo>
                      <a:pt x="779" y="634"/>
                    </a:lnTo>
                    <a:lnTo>
                      <a:pt x="779" y="638"/>
                    </a:lnTo>
                    <a:lnTo>
                      <a:pt x="772" y="641"/>
                    </a:lnTo>
                    <a:lnTo>
                      <a:pt x="770" y="643"/>
                    </a:lnTo>
                    <a:lnTo>
                      <a:pt x="767" y="646"/>
                    </a:lnTo>
                    <a:lnTo>
                      <a:pt x="767" y="650"/>
                    </a:lnTo>
                    <a:lnTo>
                      <a:pt x="767" y="652"/>
                    </a:lnTo>
                    <a:lnTo>
                      <a:pt x="765" y="648"/>
                    </a:lnTo>
                    <a:lnTo>
                      <a:pt x="763" y="652"/>
                    </a:lnTo>
                    <a:lnTo>
                      <a:pt x="761" y="657"/>
                    </a:lnTo>
                    <a:lnTo>
                      <a:pt x="761" y="660"/>
                    </a:lnTo>
                    <a:lnTo>
                      <a:pt x="765" y="659"/>
                    </a:lnTo>
                    <a:lnTo>
                      <a:pt x="767" y="659"/>
                    </a:lnTo>
                    <a:lnTo>
                      <a:pt x="767" y="662"/>
                    </a:lnTo>
                    <a:lnTo>
                      <a:pt x="763" y="664"/>
                    </a:lnTo>
                    <a:lnTo>
                      <a:pt x="763" y="666"/>
                    </a:lnTo>
                    <a:lnTo>
                      <a:pt x="767" y="664"/>
                    </a:lnTo>
                    <a:lnTo>
                      <a:pt x="770" y="662"/>
                    </a:lnTo>
                    <a:lnTo>
                      <a:pt x="770" y="662"/>
                    </a:lnTo>
                    <a:lnTo>
                      <a:pt x="770" y="666"/>
                    </a:lnTo>
                    <a:lnTo>
                      <a:pt x="767" y="666"/>
                    </a:lnTo>
                    <a:lnTo>
                      <a:pt x="770" y="669"/>
                    </a:lnTo>
                    <a:lnTo>
                      <a:pt x="772" y="666"/>
                    </a:lnTo>
                    <a:lnTo>
                      <a:pt x="770" y="671"/>
                    </a:lnTo>
                    <a:lnTo>
                      <a:pt x="770" y="674"/>
                    </a:lnTo>
                    <a:lnTo>
                      <a:pt x="767" y="676"/>
                    </a:lnTo>
                    <a:lnTo>
                      <a:pt x="765" y="674"/>
                    </a:lnTo>
                    <a:lnTo>
                      <a:pt x="763" y="671"/>
                    </a:lnTo>
                    <a:lnTo>
                      <a:pt x="758" y="674"/>
                    </a:lnTo>
                    <a:lnTo>
                      <a:pt x="756" y="669"/>
                    </a:lnTo>
                    <a:lnTo>
                      <a:pt x="756" y="669"/>
                    </a:lnTo>
                    <a:lnTo>
                      <a:pt x="754" y="674"/>
                    </a:lnTo>
                    <a:lnTo>
                      <a:pt x="756" y="676"/>
                    </a:lnTo>
                    <a:lnTo>
                      <a:pt x="758" y="681"/>
                    </a:lnTo>
                    <a:lnTo>
                      <a:pt x="756" y="688"/>
                    </a:lnTo>
                    <a:lnTo>
                      <a:pt x="760" y="681"/>
                    </a:lnTo>
                    <a:lnTo>
                      <a:pt x="760" y="676"/>
                    </a:lnTo>
                    <a:lnTo>
                      <a:pt x="761" y="674"/>
                    </a:lnTo>
                    <a:lnTo>
                      <a:pt x="763" y="676"/>
                    </a:lnTo>
                    <a:lnTo>
                      <a:pt x="767" y="676"/>
                    </a:lnTo>
                    <a:lnTo>
                      <a:pt x="770" y="680"/>
                    </a:lnTo>
                    <a:lnTo>
                      <a:pt x="772" y="676"/>
                    </a:lnTo>
                    <a:lnTo>
                      <a:pt x="772" y="674"/>
                    </a:lnTo>
                    <a:lnTo>
                      <a:pt x="775" y="671"/>
                    </a:lnTo>
                    <a:lnTo>
                      <a:pt x="779" y="669"/>
                    </a:lnTo>
                    <a:lnTo>
                      <a:pt x="782" y="669"/>
                    </a:lnTo>
                    <a:lnTo>
                      <a:pt x="786" y="666"/>
                    </a:lnTo>
                    <a:lnTo>
                      <a:pt x="782" y="666"/>
                    </a:lnTo>
                    <a:lnTo>
                      <a:pt x="779" y="666"/>
                    </a:lnTo>
                    <a:lnTo>
                      <a:pt x="779" y="671"/>
                    </a:lnTo>
                    <a:lnTo>
                      <a:pt x="775" y="671"/>
                    </a:lnTo>
                    <a:lnTo>
                      <a:pt x="773" y="671"/>
                    </a:lnTo>
                    <a:lnTo>
                      <a:pt x="775" y="666"/>
                    </a:lnTo>
                    <a:lnTo>
                      <a:pt x="779" y="666"/>
                    </a:lnTo>
                    <a:lnTo>
                      <a:pt x="775" y="664"/>
                    </a:lnTo>
                    <a:lnTo>
                      <a:pt x="779" y="660"/>
                    </a:lnTo>
                    <a:lnTo>
                      <a:pt x="779" y="655"/>
                    </a:lnTo>
                    <a:lnTo>
                      <a:pt x="779" y="653"/>
                    </a:lnTo>
                    <a:lnTo>
                      <a:pt x="779" y="650"/>
                    </a:lnTo>
                    <a:lnTo>
                      <a:pt x="779" y="650"/>
                    </a:lnTo>
                    <a:lnTo>
                      <a:pt x="780" y="646"/>
                    </a:lnTo>
                    <a:lnTo>
                      <a:pt x="782" y="641"/>
                    </a:lnTo>
                    <a:lnTo>
                      <a:pt x="786" y="640"/>
                    </a:lnTo>
                    <a:lnTo>
                      <a:pt x="786" y="640"/>
                    </a:lnTo>
                    <a:lnTo>
                      <a:pt x="786" y="641"/>
                    </a:lnTo>
                    <a:lnTo>
                      <a:pt x="787" y="641"/>
                    </a:lnTo>
                    <a:lnTo>
                      <a:pt x="789" y="638"/>
                    </a:lnTo>
                    <a:lnTo>
                      <a:pt x="789" y="640"/>
                    </a:lnTo>
                    <a:lnTo>
                      <a:pt x="793" y="640"/>
                    </a:lnTo>
                    <a:lnTo>
                      <a:pt x="793" y="641"/>
                    </a:lnTo>
                    <a:lnTo>
                      <a:pt x="796" y="641"/>
                    </a:lnTo>
                    <a:lnTo>
                      <a:pt x="798" y="638"/>
                    </a:lnTo>
                    <a:lnTo>
                      <a:pt x="805" y="634"/>
                    </a:lnTo>
                    <a:lnTo>
                      <a:pt x="807" y="631"/>
                    </a:lnTo>
                    <a:lnTo>
                      <a:pt x="807" y="629"/>
                    </a:lnTo>
                    <a:lnTo>
                      <a:pt x="808" y="629"/>
                    </a:lnTo>
                    <a:lnTo>
                      <a:pt x="812" y="626"/>
                    </a:lnTo>
                    <a:lnTo>
                      <a:pt x="817" y="626"/>
                    </a:lnTo>
                    <a:lnTo>
                      <a:pt x="820" y="624"/>
                    </a:lnTo>
                    <a:lnTo>
                      <a:pt x="819" y="620"/>
                    </a:lnTo>
                    <a:lnTo>
                      <a:pt x="820" y="615"/>
                    </a:lnTo>
                    <a:lnTo>
                      <a:pt x="820" y="612"/>
                    </a:lnTo>
                    <a:lnTo>
                      <a:pt x="824" y="610"/>
                    </a:lnTo>
                    <a:lnTo>
                      <a:pt x="820" y="608"/>
                    </a:lnTo>
                    <a:lnTo>
                      <a:pt x="820" y="610"/>
                    </a:lnTo>
                    <a:lnTo>
                      <a:pt x="817" y="610"/>
                    </a:lnTo>
                    <a:lnTo>
                      <a:pt x="817" y="612"/>
                    </a:lnTo>
                    <a:lnTo>
                      <a:pt x="817" y="612"/>
                    </a:lnTo>
                    <a:lnTo>
                      <a:pt x="813" y="615"/>
                    </a:lnTo>
                    <a:lnTo>
                      <a:pt x="812" y="612"/>
                    </a:lnTo>
                    <a:lnTo>
                      <a:pt x="808" y="612"/>
                    </a:lnTo>
                    <a:lnTo>
                      <a:pt x="808" y="612"/>
                    </a:lnTo>
                    <a:lnTo>
                      <a:pt x="810" y="606"/>
                    </a:lnTo>
                    <a:lnTo>
                      <a:pt x="812" y="606"/>
                    </a:lnTo>
                    <a:lnTo>
                      <a:pt x="815" y="605"/>
                    </a:lnTo>
                    <a:lnTo>
                      <a:pt x="819" y="603"/>
                    </a:lnTo>
                    <a:lnTo>
                      <a:pt x="819" y="600"/>
                    </a:lnTo>
                    <a:lnTo>
                      <a:pt x="817" y="598"/>
                    </a:lnTo>
                    <a:lnTo>
                      <a:pt x="820" y="596"/>
                    </a:lnTo>
                    <a:lnTo>
                      <a:pt x="824" y="596"/>
                    </a:lnTo>
                    <a:lnTo>
                      <a:pt x="827" y="596"/>
                    </a:lnTo>
                    <a:lnTo>
                      <a:pt x="824" y="598"/>
                    </a:lnTo>
                    <a:lnTo>
                      <a:pt x="824" y="601"/>
                    </a:lnTo>
                    <a:lnTo>
                      <a:pt x="824" y="601"/>
                    </a:lnTo>
                    <a:lnTo>
                      <a:pt x="829" y="600"/>
                    </a:lnTo>
                    <a:lnTo>
                      <a:pt x="831" y="593"/>
                    </a:lnTo>
                    <a:lnTo>
                      <a:pt x="831" y="589"/>
                    </a:lnTo>
                    <a:lnTo>
                      <a:pt x="827" y="589"/>
                    </a:lnTo>
                    <a:lnTo>
                      <a:pt x="824" y="589"/>
                    </a:lnTo>
                    <a:lnTo>
                      <a:pt x="824" y="587"/>
                    </a:lnTo>
                    <a:lnTo>
                      <a:pt x="819" y="587"/>
                    </a:lnTo>
                    <a:lnTo>
                      <a:pt x="817" y="582"/>
                    </a:lnTo>
                    <a:lnTo>
                      <a:pt x="819" y="579"/>
                    </a:lnTo>
                    <a:lnTo>
                      <a:pt x="815" y="582"/>
                    </a:lnTo>
                    <a:lnTo>
                      <a:pt x="813" y="582"/>
                    </a:lnTo>
                    <a:lnTo>
                      <a:pt x="812" y="579"/>
                    </a:lnTo>
                    <a:lnTo>
                      <a:pt x="808" y="577"/>
                    </a:lnTo>
                    <a:lnTo>
                      <a:pt x="808" y="573"/>
                    </a:lnTo>
                    <a:lnTo>
                      <a:pt x="807" y="572"/>
                    </a:lnTo>
                    <a:lnTo>
                      <a:pt x="803" y="573"/>
                    </a:lnTo>
                    <a:lnTo>
                      <a:pt x="803" y="570"/>
                    </a:lnTo>
                    <a:lnTo>
                      <a:pt x="801" y="568"/>
                    </a:lnTo>
                    <a:lnTo>
                      <a:pt x="803" y="565"/>
                    </a:lnTo>
                    <a:lnTo>
                      <a:pt x="803" y="565"/>
                    </a:lnTo>
                    <a:lnTo>
                      <a:pt x="801" y="560"/>
                    </a:lnTo>
                    <a:lnTo>
                      <a:pt x="801" y="553"/>
                    </a:lnTo>
                    <a:lnTo>
                      <a:pt x="805" y="549"/>
                    </a:lnTo>
                    <a:lnTo>
                      <a:pt x="810" y="544"/>
                    </a:lnTo>
                    <a:lnTo>
                      <a:pt x="813" y="542"/>
                    </a:lnTo>
                    <a:lnTo>
                      <a:pt x="817" y="542"/>
                    </a:lnTo>
                    <a:lnTo>
                      <a:pt x="817" y="540"/>
                    </a:lnTo>
                    <a:lnTo>
                      <a:pt x="820" y="539"/>
                    </a:lnTo>
                    <a:lnTo>
                      <a:pt x="820" y="537"/>
                    </a:lnTo>
                    <a:lnTo>
                      <a:pt x="819" y="537"/>
                    </a:lnTo>
                    <a:lnTo>
                      <a:pt x="815" y="539"/>
                    </a:lnTo>
                    <a:lnTo>
                      <a:pt x="813" y="537"/>
                    </a:lnTo>
                    <a:lnTo>
                      <a:pt x="813" y="537"/>
                    </a:lnTo>
                    <a:lnTo>
                      <a:pt x="812" y="533"/>
                    </a:lnTo>
                    <a:lnTo>
                      <a:pt x="813" y="528"/>
                    </a:lnTo>
                    <a:lnTo>
                      <a:pt x="817" y="525"/>
                    </a:lnTo>
                    <a:lnTo>
                      <a:pt x="820" y="518"/>
                    </a:lnTo>
                    <a:lnTo>
                      <a:pt x="820" y="518"/>
                    </a:lnTo>
                    <a:lnTo>
                      <a:pt x="824" y="513"/>
                    </a:lnTo>
                    <a:lnTo>
                      <a:pt x="826" y="513"/>
                    </a:lnTo>
                    <a:lnTo>
                      <a:pt x="829" y="509"/>
                    </a:lnTo>
                    <a:lnTo>
                      <a:pt x="833" y="506"/>
                    </a:lnTo>
                    <a:lnTo>
                      <a:pt x="836" y="509"/>
                    </a:lnTo>
                    <a:lnTo>
                      <a:pt x="834" y="513"/>
                    </a:lnTo>
                    <a:lnTo>
                      <a:pt x="836" y="514"/>
                    </a:lnTo>
                    <a:lnTo>
                      <a:pt x="836" y="516"/>
                    </a:lnTo>
                    <a:lnTo>
                      <a:pt x="840" y="514"/>
                    </a:lnTo>
                    <a:lnTo>
                      <a:pt x="840" y="513"/>
                    </a:lnTo>
                    <a:lnTo>
                      <a:pt x="843" y="506"/>
                    </a:lnTo>
                    <a:lnTo>
                      <a:pt x="843" y="506"/>
                    </a:lnTo>
                    <a:lnTo>
                      <a:pt x="841" y="506"/>
                    </a:lnTo>
                    <a:lnTo>
                      <a:pt x="838" y="506"/>
                    </a:lnTo>
                    <a:lnTo>
                      <a:pt x="836" y="502"/>
                    </a:lnTo>
                    <a:lnTo>
                      <a:pt x="838" y="497"/>
                    </a:lnTo>
                    <a:lnTo>
                      <a:pt x="843" y="497"/>
                    </a:lnTo>
                    <a:lnTo>
                      <a:pt x="843" y="497"/>
                    </a:lnTo>
                    <a:lnTo>
                      <a:pt x="848" y="493"/>
                    </a:lnTo>
                    <a:lnTo>
                      <a:pt x="848" y="490"/>
                    </a:lnTo>
                    <a:lnTo>
                      <a:pt x="852" y="488"/>
                    </a:lnTo>
                    <a:lnTo>
                      <a:pt x="855" y="490"/>
                    </a:lnTo>
                    <a:lnTo>
                      <a:pt x="860" y="492"/>
                    </a:lnTo>
                    <a:lnTo>
                      <a:pt x="860" y="495"/>
                    </a:lnTo>
                    <a:lnTo>
                      <a:pt x="860" y="497"/>
                    </a:lnTo>
                    <a:lnTo>
                      <a:pt x="862" y="497"/>
                    </a:lnTo>
                    <a:lnTo>
                      <a:pt x="866" y="500"/>
                    </a:lnTo>
                    <a:lnTo>
                      <a:pt x="867" y="502"/>
                    </a:lnTo>
                    <a:lnTo>
                      <a:pt x="867" y="506"/>
                    </a:lnTo>
                    <a:lnTo>
                      <a:pt x="866" y="506"/>
                    </a:lnTo>
                    <a:lnTo>
                      <a:pt x="866" y="509"/>
                    </a:lnTo>
                    <a:lnTo>
                      <a:pt x="866" y="511"/>
                    </a:lnTo>
                    <a:lnTo>
                      <a:pt x="867" y="514"/>
                    </a:lnTo>
                    <a:lnTo>
                      <a:pt x="869" y="516"/>
                    </a:lnTo>
                    <a:lnTo>
                      <a:pt x="869" y="523"/>
                    </a:lnTo>
                    <a:lnTo>
                      <a:pt x="871" y="525"/>
                    </a:lnTo>
                    <a:lnTo>
                      <a:pt x="871" y="525"/>
                    </a:lnTo>
                    <a:lnTo>
                      <a:pt x="867" y="528"/>
                    </a:lnTo>
                    <a:lnTo>
                      <a:pt x="867" y="532"/>
                    </a:lnTo>
                    <a:lnTo>
                      <a:pt x="866" y="537"/>
                    </a:lnTo>
                    <a:lnTo>
                      <a:pt x="866" y="539"/>
                    </a:lnTo>
                    <a:lnTo>
                      <a:pt x="864" y="540"/>
                    </a:lnTo>
                    <a:lnTo>
                      <a:pt x="866" y="544"/>
                    </a:lnTo>
                    <a:lnTo>
                      <a:pt x="864" y="547"/>
                    </a:lnTo>
                    <a:lnTo>
                      <a:pt x="867" y="553"/>
                    </a:lnTo>
                    <a:lnTo>
                      <a:pt x="867" y="554"/>
                    </a:lnTo>
                    <a:lnTo>
                      <a:pt x="866" y="556"/>
                    </a:lnTo>
                    <a:lnTo>
                      <a:pt x="867" y="560"/>
                    </a:lnTo>
                    <a:lnTo>
                      <a:pt x="866" y="561"/>
                    </a:lnTo>
                    <a:lnTo>
                      <a:pt x="866" y="565"/>
                    </a:lnTo>
                    <a:lnTo>
                      <a:pt x="869" y="565"/>
                    </a:lnTo>
                    <a:lnTo>
                      <a:pt x="871" y="566"/>
                    </a:lnTo>
                    <a:lnTo>
                      <a:pt x="871" y="570"/>
                    </a:lnTo>
                    <a:lnTo>
                      <a:pt x="867" y="572"/>
                    </a:lnTo>
                    <a:lnTo>
                      <a:pt x="866" y="572"/>
                    </a:lnTo>
                    <a:lnTo>
                      <a:pt x="862" y="572"/>
                    </a:lnTo>
                    <a:lnTo>
                      <a:pt x="860" y="568"/>
                    </a:lnTo>
                    <a:lnTo>
                      <a:pt x="862" y="565"/>
                    </a:lnTo>
                    <a:lnTo>
                      <a:pt x="857" y="566"/>
                    </a:lnTo>
                    <a:lnTo>
                      <a:pt x="855" y="570"/>
                    </a:lnTo>
                    <a:lnTo>
                      <a:pt x="853" y="572"/>
                    </a:lnTo>
                    <a:lnTo>
                      <a:pt x="853" y="573"/>
                    </a:lnTo>
                    <a:lnTo>
                      <a:pt x="857" y="572"/>
                    </a:lnTo>
                    <a:lnTo>
                      <a:pt x="860" y="573"/>
                    </a:lnTo>
                    <a:lnTo>
                      <a:pt x="859" y="577"/>
                    </a:lnTo>
                    <a:lnTo>
                      <a:pt x="852" y="582"/>
                    </a:lnTo>
                    <a:lnTo>
                      <a:pt x="846" y="584"/>
                    </a:lnTo>
                    <a:lnTo>
                      <a:pt x="846" y="584"/>
                    </a:lnTo>
                    <a:lnTo>
                      <a:pt x="846" y="584"/>
                    </a:lnTo>
                    <a:lnTo>
                      <a:pt x="843" y="587"/>
                    </a:lnTo>
                    <a:lnTo>
                      <a:pt x="846" y="591"/>
                    </a:lnTo>
                    <a:lnTo>
                      <a:pt x="848" y="589"/>
                    </a:lnTo>
                    <a:lnTo>
                      <a:pt x="852" y="591"/>
                    </a:lnTo>
                    <a:lnTo>
                      <a:pt x="852" y="593"/>
                    </a:lnTo>
                    <a:lnTo>
                      <a:pt x="855" y="596"/>
                    </a:lnTo>
                    <a:lnTo>
                      <a:pt x="859" y="596"/>
                    </a:lnTo>
                    <a:lnTo>
                      <a:pt x="860" y="593"/>
                    </a:lnTo>
                    <a:lnTo>
                      <a:pt x="862" y="593"/>
                    </a:lnTo>
                    <a:lnTo>
                      <a:pt x="864" y="593"/>
                    </a:lnTo>
                    <a:lnTo>
                      <a:pt x="862" y="596"/>
                    </a:lnTo>
                    <a:lnTo>
                      <a:pt x="862" y="596"/>
                    </a:lnTo>
                    <a:lnTo>
                      <a:pt x="866" y="598"/>
                    </a:lnTo>
                    <a:lnTo>
                      <a:pt x="867" y="600"/>
                    </a:lnTo>
                    <a:lnTo>
                      <a:pt x="871" y="596"/>
                    </a:lnTo>
                    <a:lnTo>
                      <a:pt x="871" y="598"/>
                    </a:lnTo>
                    <a:lnTo>
                      <a:pt x="871" y="601"/>
                    </a:lnTo>
                    <a:lnTo>
                      <a:pt x="867" y="601"/>
                    </a:lnTo>
                    <a:lnTo>
                      <a:pt x="864" y="605"/>
                    </a:lnTo>
                    <a:lnTo>
                      <a:pt x="862" y="606"/>
                    </a:lnTo>
                    <a:lnTo>
                      <a:pt x="862" y="601"/>
                    </a:lnTo>
                    <a:lnTo>
                      <a:pt x="860" y="603"/>
                    </a:lnTo>
                    <a:lnTo>
                      <a:pt x="859" y="601"/>
                    </a:lnTo>
                    <a:lnTo>
                      <a:pt x="859" y="603"/>
                    </a:lnTo>
                    <a:lnTo>
                      <a:pt x="860" y="606"/>
                    </a:lnTo>
                    <a:lnTo>
                      <a:pt x="860" y="610"/>
                    </a:lnTo>
                    <a:lnTo>
                      <a:pt x="864" y="615"/>
                    </a:lnTo>
                    <a:lnTo>
                      <a:pt x="864" y="619"/>
                    </a:lnTo>
                    <a:lnTo>
                      <a:pt x="864" y="619"/>
                    </a:lnTo>
                    <a:lnTo>
                      <a:pt x="864" y="624"/>
                    </a:lnTo>
                    <a:lnTo>
                      <a:pt x="860" y="624"/>
                    </a:lnTo>
                    <a:lnTo>
                      <a:pt x="860" y="627"/>
                    </a:lnTo>
                    <a:lnTo>
                      <a:pt x="860" y="631"/>
                    </a:lnTo>
                    <a:lnTo>
                      <a:pt x="857" y="634"/>
                    </a:lnTo>
                    <a:lnTo>
                      <a:pt x="857" y="634"/>
                    </a:lnTo>
                    <a:lnTo>
                      <a:pt x="859" y="641"/>
                    </a:lnTo>
                    <a:lnTo>
                      <a:pt x="855" y="641"/>
                    </a:lnTo>
                    <a:lnTo>
                      <a:pt x="857" y="643"/>
                    </a:lnTo>
                    <a:lnTo>
                      <a:pt x="859" y="643"/>
                    </a:lnTo>
                    <a:lnTo>
                      <a:pt x="860" y="641"/>
                    </a:lnTo>
                    <a:lnTo>
                      <a:pt x="862" y="638"/>
                    </a:lnTo>
                    <a:lnTo>
                      <a:pt x="867" y="634"/>
                    </a:lnTo>
                    <a:lnTo>
                      <a:pt x="867" y="634"/>
                    </a:lnTo>
                    <a:lnTo>
                      <a:pt x="867" y="633"/>
                    </a:lnTo>
                    <a:lnTo>
                      <a:pt x="869" y="631"/>
                    </a:lnTo>
                    <a:lnTo>
                      <a:pt x="871" y="633"/>
                    </a:lnTo>
                    <a:lnTo>
                      <a:pt x="871" y="631"/>
                    </a:lnTo>
                    <a:lnTo>
                      <a:pt x="871" y="624"/>
                    </a:lnTo>
                    <a:lnTo>
                      <a:pt x="874" y="620"/>
                    </a:lnTo>
                    <a:lnTo>
                      <a:pt x="876" y="619"/>
                    </a:lnTo>
                    <a:lnTo>
                      <a:pt x="881" y="612"/>
                    </a:lnTo>
                    <a:lnTo>
                      <a:pt x="883" y="608"/>
                    </a:lnTo>
                    <a:lnTo>
                      <a:pt x="883" y="608"/>
                    </a:lnTo>
                    <a:lnTo>
                      <a:pt x="885" y="610"/>
                    </a:lnTo>
                    <a:lnTo>
                      <a:pt x="886" y="612"/>
                    </a:lnTo>
                    <a:lnTo>
                      <a:pt x="888" y="619"/>
                    </a:lnTo>
                    <a:lnTo>
                      <a:pt x="890" y="624"/>
                    </a:lnTo>
                    <a:lnTo>
                      <a:pt x="893" y="626"/>
                    </a:lnTo>
                    <a:lnTo>
                      <a:pt x="893" y="631"/>
                    </a:lnTo>
                    <a:lnTo>
                      <a:pt x="892" y="634"/>
                    </a:lnTo>
                    <a:lnTo>
                      <a:pt x="893" y="641"/>
                    </a:lnTo>
                    <a:lnTo>
                      <a:pt x="890" y="643"/>
                    </a:lnTo>
                    <a:lnTo>
                      <a:pt x="888" y="646"/>
                    </a:lnTo>
                    <a:lnTo>
                      <a:pt x="886" y="643"/>
                    </a:lnTo>
                    <a:lnTo>
                      <a:pt x="883" y="646"/>
                    </a:lnTo>
                    <a:lnTo>
                      <a:pt x="881" y="648"/>
                    </a:lnTo>
                    <a:lnTo>
                      <a:pt x="883" y="652"/>
                    </a:lnTo>
                    <a:lnTo>
                      <a:pt x="879" y="655"/>
                    </a:lnTo>
                    <a:lnTo>
                      <a:pt x="879" y="659"/>
                    </a:lnTo>
                    <a:lnTo>
                      <a:pt x="879" y="660"/>
                    </a:lnTo>
                    <a:lnTo>
                      <a:pt x="879" y="666"/>
                    </a:lnTo>
                    <a:lnTo>
                      <a:pt x="883" y="678"/>
                    </a:lnTo>
                    <a:lnTo>
                      <a:pt x="886" y="683"/>
                    </a:lnTo>
                    <a:lnTo>
                      <a:pt x="885" y="686"/>
                    </a:lnTo>
                    <a:lnTo>
                      <a:pt x="886" y="690"/>
                    </a:lnTo>
                    <a:lnTo>
                      <a:pt x="890" y="690"/>
                    </a:lnTo>
                    <a:lnTo>
                      <a:pt x="890" y="685"/>
                    </a:lnTo>
                    <a:lnTo>
                      <a:pt x="888" y="685"/>
                    </a:lnTo>
                    <a:lnTo>
                      <a:pt x="890" y="681"/>
                    </a:lnTo>
                    <a:lnTo>
                      <a:pt x="893" y="681"/>
                    </a:lnTo>
                    <a:lnTo>
                      <a:pt x="893" y="685"/>
                    </a:lnTo>
                    <a:lnTo>
                      <a:pt x="897" y="685"/>
                    </a:lnTo>
                    <a:lnTo>
                      <a:pt x="897" y="681"/>
                    </a:lnTo>
                    <a:lnTo>
                      <a:pt x="899" y="678"/>
                    </a:lnTo>
                    <a:lnTo>
                      <a:pt x="899" y="674"/>
                    </a:lnTo>
                    <a:lnTo>
                      <a:pt x="902" y="671"/>
                    </a:lnTo>
                    <a:lnTo>
                      <a:pt x="906" y="666"/>
                    </a:lnTo>
                    <a:lnTo>
                      <a:pt x="906" y="666"/>
                    </a:lnTo>
                    <a:lnTo>
                      <a:pt x="909" y="664"/>
                    </a:lnTo>
                    <a:lnTo>
                      <a:pt x="914" y="660"/>
                    </a:lnTo>
                    <a:lnTo>
                      <a:pt x="919" y="653"/>
                    </a:lnTo>
                    <a:lnTo>
                      <a:pt x="921" y="646"/>
                    </a:lnTo>
                    <a:lnTo>
                      <a:pt x="925" y="640"/>
                    </a:lnTo>
                    <a:lnTo>
                      <a:pt x="928" y="638"/>
                    </a:lnTo>
                    <a:lnTo>
                      <a:pt x="930" y="641"/>
                    </a:lnTo>
                    <a:lnTo>
                      <a:pt x="932" y="640"/>
                    </a:lnTo>
                    <a:lnTo>
                      <a:pt x="933" y="641"/>
                    </a:lnTo>
                    <a:lnTo>
                      <a:pt x="937" y="640"/>
                    </a:lnTo>
                    <a:lnTo>
                      <a:pt x="937" y="638"/>
                    </a:lnTo>
                    <a:lnTo>
                      <a:pt x="935" y="638"/>
                    </a:lnTo>
                    <a:lnTo>
                      <a:pt x="932" y="634"/>
                    </a:lnTo>
                    <a:lnTo>
                      <a:pt x="933" y="633"/>
                    </a:lnTo>
                    <a:lnTo>
                      <a:pt x="937" y="633"/>
                    </a:lnTo>
                    <a:lnTo>
                      <a:pt x="940" y="634"/>
                    </a:lnTo>
                    <a:lnTo>
                      <a:pt x="940" y="633"/>
                    </a:lnTo>
                    <a:lnTo>
                      <a:pt x="944" y="633"/>
                    </a:lnTo>
                    <a:lnTo>
                      <a:pt x="946" y="633"/>
                    </a:lnTo>
                    <a:lnTo>
                      <a:pt x="944" y="629"/>
                    </a:lnTo>
                    <a:lnTo>
                      <a:pt x="942" y="629"/>
                    </a:lnTo>
                    <a:lnTo>
                      <a:pt x="940" y="626"/>
                    </a:lnTo>
                    <a:lnTo>
                      <a:pt x="939" y="626"/>
                    </a:lnTo>
                    <a:lnTo>
                      <a:pt x="939" y="620"/>
                    </a:lnTo>
                    <a:lnTo>
                      <a:pt x="940" y="619"/>
                    </a:lnTo>
                    <a:lnTo>
                      <a:pt x="940" y="615"/>
                    </a:lnTo>
                    <a:lnTo>
                      <a:pt x="944" y="615"/>
                    </a:lnTo>
                    <a:lnTo>
                      <a:pt x="942" y="612"/>
                    </a:lnTo>
                    <a:lnTo>
                      <a:pt x="942" y="610"/>
                    </a:lnTo>
                    <a:lnTo>
                      <a:pt x="944" y="608"/>
                    </a:lnTo>
                    <a:lnTo>
                      <a:pt x="944" y="606"/>
                    </a:lnTo>
                    <a:lnTo>
                      <a:pt x="944" y="605"/>
                    </a:lnTo>
                    <a:lnTo>
                      <a:pt x="947" y="605"/>
                    </a:lnTo>
                    <a:lnTo>
                      <a:pt x="947" y="601"/>
                    </a:lnTo>
                    <a:lnTo>
                      <a:pt x="946" y="601"/>
                    </a:lnTo>
                    <a:lnTo>
                      <a:pt x="944" y="598"/>
                    </a:lnTo>
                    <a:lnTo>
                      <a:pt x="947" y="600"/>
                    </a:lnTo>
                    <a:lnTo>
                      <a:pt x="947" y="601"/>
                    </a:lnTo>
                    <a:lnTo>
                      <a:pt x="951" y="601"/>
                    </a:lnTo>
                    <a:lnTo>
                      <a:pt x="952" y="601"/>
                    </a:lnTo>
                    <a:lnTo>
                      <a:pt x="958" y="601"/>
                    </a:lnTo>
                    <a:lnTo>
                      <a:pt x="963" y="605"/>
                    </a:lnTo>
                    <a:lnTo>
                      <a:pt x="965" y="606"/>
                    </a:lnTo>
                    <a:lnTo>
                      <a:pt x="965" y="608"/>
                    </a:lnTo>
                    <a:lnTo>
                      <a:pt x="970" y="612"/>
                    </a:lnTo>
                    <a:lnTo>
                      <a:pt x="975" y="610"/>
                    </a:lnTo>
                    <a:lnTo>
                      <a:pt x="979" y="612"/>
                    </a:lnTo>
                    <a:lnTo>
                      <a:pt x="982" y="612"/>
                    </a:lnTo>
                    <a:lnTo>
                      <a:pt x="982" y="615"/>
                    </a:lnTo>
                    <a:lnTo>
                      <a:pt x="980" y="615"/>
                    </a:lnTo>
                    <a:lnTo>
                      <a:pt x="982" y="619"/>
                    </a:lnTo>
                    <a:lnTo>
                      <a:pt x="980" y="619"/>
                    </a:lnTo>
                    <a:lnTo>
                      <a:pt x="979" y="619"/>
                    </a:lnTo>
                    <a:lnTo>
                      <a:pt x="975" y="619"/>
                    </a:lnTo>
                    <a:lnTo>
                      <a:pt x="975" y="619"/>
                    </a:lnTo>
                    <a:lnTo>
                      <a:pt x="982" y="624"/>
                    </a:lnTo>
                    <a:lnTo>
                      <a:pt x="984" y="627"/>
                    </a:lnTo>
                    <a:lnTo>
                      <a:pt x="980" y="629"/>
                    </a:lnTo>
                    <a:lnTo>
                      <a:pt x="982" y="629"/>
                    </a:lnTo>
                    <a:lnTo>
                      <a:pt x="985" y="629"/>
                    </a:lnTo>
                    <a:lnTo>
                      <a:pt x="991" y="629"/>
                    </a:lnTo>
                    <a:lnTo>
                      <a:pt x="991" y="633"/>
                    </a:lnTo>
                    <a:lnTo>
                      <a:pt x="994" y="633"/>
                    </a:lnTo>
                    <a:lnTo>
                      <a:pt x="994" y="634"/>
                    </a:lnTo>
                    <a:lnTo>
                      <a:pt x="992" y="638"/>
                    </a:lnTo>
                    <a:lnTo>
                      <a:pt x="985" y="641"/>
                    </a:lnTo>
                    <a:lnTo>
                      <a:pt x="982" y="643"/>
                    </a:lnTo>
                    <a:lnTo>
                      <a:pt x="980" y="643"/>
                    </a:lnTo>
                    <a:lnTo>
                      <a:pt x="985" y="643"/>
                    </a:lnTo>
                    <a:lnTo>
                      <a:pt x="987" y="643"/>
                    </a:lnTo>
                    <a:lnTo>
                      <a:pt x="987" y="646"/>
                    </a:lnTo>
                    <a:lnTo>
                      <a:pt x="989" y="646"/>
                    </a:lnTo>
                    <a:lnTo>
                      <a:pt x="991" y="646"/>
                    </a:lnTo>
                    <a:lnTo>
                      <a:pt x="987" y="650"/>
                    </a:lnTo>
                    <a:lnTo>
                      <a:pt x="989" y="652"/>
                    </a:lnTo>
                    <a:lnTo>
                      <a:pt x="985" y="655"/>
                    </a:lnTo>
                    <a:lnTo>
                      <a:pt x="980" y="657"/>
                    </a:lnTo>
                    <a:lnTo>
                      <a:pt x="979" y="655"/>
                    </a:lnTo>
                    <a:lnTo>
                      <a:pt x="975" y="659"/>
                    </a:lnTo>
                    <a:lnTo>
                      <a:pt x="975" y="657"/>
                    </a:lnTo>
                    <a:lnTo>
                      <a:pt x="970" y="653"/>
                    </a:lnTo>
                    <a:lnTo>
                      <a:pt x="968" y="653"/>
                    </a:lnTo>
                    <a:lnTo>
                      <a:pt x="966" y="652"/>
                    </a:lnTo>
                    <a:lnTo>
                      <a:pt x="965" y="652"/>
                    </a:lnTo>
                    <a:lnTo>
                      <a:pt x="965" y="655"/>
                    </a:lnTo>
                    <a:lnTo>
                      <a:pt x="963" y="657"/>
                    </a:lnTo>
                    <a:lnTo>
                      <a:pt x="966" y="657"/>
                    </a:lnTo>
                    <a:lnTo>
                      <a:pt x="968" y="659"/>
                    </a:lnTo>
                    <a:lnTo>
                      <a:pt x="968" y="660"/>
                    </a:lnTo>
                    <a:lnTo>
                      <a:pt x="965" y="664"/>
                    </a:lnTo>
                    <a:lnTo>
                      <a:pt x="968" y="664"/>
                    </a:lnTo>
                    <a:lnTo>
                      <a:pt x="966" y="666"/>
                    </a:lnTo>
                    <a:lnTo>
                      <a:pt x="966" y="669"/>
                    </a:lnTo>
                    <a:lnTo>
                      <a:pt x="968" y="669"/>
                    </a:lnTo>
                    <a:lnTo>
                      <a:pt x="970" y="666"/>
                    </a:lnTo>
                    <a:lnTo>
                      <a:pt x="970" y="666"/>
                    </a:lnTo>
                    <a:lnTo>
                      <a:pt x="970" y="669"/>
                    </a:lnTo>
                    <a:lnTo>
                      <a:pt x="966" y="671"/>
                    </a:lnTo>
                    <a:lnTo>
                      <a:pt x="965" y="674"/>
                    </a:lnTo>
                    <a:lnTo>
                      <a:pt x="965" y="678"/>
                    </a:lnTo>
                    <a:lnTo>
                      <a:pt x="970" y="680"/>
                    </a:lnTo>
                    <a:lnTo>
                      <a:pt x="968" y="683"/>
                    </a:lnTo>
                    <a:lnTo>
                      <a:pt x="970" y="690"/>
                    </a:lnTo>
                    <a:lnTo>
                      <a:pt x="970" y="693"/>
                    </a:lnTo>
                    <a:lnTo>
                      <a:pt x="970" y="693"/>
                    </a:lnTo>
                    <a:lnTo>
                      <a:pt x="970" y="697"/>
                    </a:lnTo>
                    <a:lnTo>
                      <a:pt x="965" y="702"/>
                    </a:lnTo>
                    <a:lnTo>
                      <a:pt x="966" y="706"/>
                    </a:lnTo>
                    <a:lnTo>
                      <a:pt x="965" y="706"/>
                    </a:lnTo>
                    <a:lnTo>
                      <a:pt x="961" y="706"/>
                    </a:lnTo>
                    <a:lnTo>
                      <a:pt x="956" y="706"/>
                    </a:lnTo>
                    <a:lnTo>
                      <a:pt x="952" y="707"/>
                    </a:lnTo>
                    <a:lnTo>
                      <a:pt x="952" y="711"/>
                    </a:lnTo>
                    <a:lnTo>
                      <a:pt x="951" y="713"/>
                    </a:lnTo>
                    <a:lnTo>
                      <a:pt x="947" y="716"/>
                    </a:lnTo>
                    <a:lnTo>
                      <a:pt x="946" y="716"/>
                    </a:lnTo>
                    <a:lnTo>
                      <a:pt x="940" y="721"/>
                    </a:lnTo>
                    <a:lnTo>
                      <a:pt x="939" y="721"/>
                    </a:lnTo>
                    <a:lnTo>
                      <a:pt x="935" y="721"/>
                    </a:lnTo>
                    <a:lnTo>
                      <a:pt x="933" y="725"/>
                    </a:lnTo>
                    <a:lnTo>
                      <a:pt x="925" y="725"/>
                    </a:lnTo>
                    <a:lnTo>
                      <a:pt x="925" y="725"/>
                    </a:lnTo>
                    <a:lnTo>
                      <a:pt x="925" y="721"/>
                    </a:lnTo>
                    <a:lnTo>
                      <a:pt x="925" y="718"/>
                    </a:lnTo>
                    <a:lnTo>
                      <a:pt x="921" y="716"/>
                    </a:lnTo>
                    <a:lnTo>
                      <a:pt x="921" y="714"/>
                    </a:lnTo>
                    <a:lnTo>
                      <a:pt x="925" y="713"/>
                    </a:lnTo>
                    <a:lnTo>
                      <a:pt x="925" y="711"/>
                    </a:lnTo>
                    <a:lnTo>
                      <a:pt x="928" y="706"/>
                    </a:lnTo>
                    <a:lnTo>
                      <a:pt x="925" y="709"/>
                    </a:lnTo>
                    <a:lnTo>
                      <a:pt x="921" y="709"/>
                    </a:lnTo>
                    <a:lnTo>
                      <a:pt x="921" y="702"/>
                    </a:lnTo>
                    <a:lnTo>
                      <a:pt x="921" y="702"/>
                    </a:lnTo>
                    <a:lnTo>
                      <a:pt x="919" y="697"/>
                    </a:lnTo>
                    <a:lnTo>
                      <a:pt x="916" y="702"/>
                    </a:lnTo>
                    <a:lnTo>
                      <a:pt x="914" y="699"/>
                    </a:lnTo>
                    <a:lnTo>
                      <a:pt x="911" y="699"/>
                    </a:lnTo>
                    <a:lnTo>
                      <a:pt x="907" y="706"/>
                    </a:lnTo>
                    <a:lnTo>
                      <a:pt x="909" y="706"/>
                    </a:lnTo>
                    <a:lnTo>
                      <a:pt x="914" y="702"/>
                    </a:lnTo>
                    <a:lnTo>
                      <a:pt x="916" y="702"/>
                    </a:lnTo>
                    <a:lnTo>
                      <a:pt x="916" y="706"/>
                    </a:lnTo>
                    <a:lnTo>
                      <a:pt x="919" y="706"/>
                    </a:lnTo>
                    <a:lnTo>
                      <a:pt x="921" y="713"/>
                    </a:lnTo>
                    <a:lnTo>
                      <a:pt x="919" y="718"/>
                    </a:lnTo>
                    <a:lnTo>
                      <a:pt x="921" y="718"/>
                    </a:lnTo>
                    <a:lnTo>
                      <a:pt x="921" y="721"/>
                    </a:lnTo>
                    <a:lnTo>
                      <a:pt x="921" y="725"/>
                    </a:lnTo>
                    <a:lnTo>
                      <a:pt x="921" y="725"/>
                    </a:lnTo>
                    <a:lnTo>
                      <a:pt x="921" y="728"/>
                    </a:lnTo>
                    <a:lnTo>
                      <a:pt x="919" y="728"/>
                    </a:lnTo>
                    <a:lnTo>
                      <a:pt x="914" y="725"/>
                    </a:lnTo>
                    <a:lnTo>
                      <a:pt x="914" y="721"/>
                    </a:lnTo>
                    <a:lnTo>
                      <a:pt x="911" y="721"/>
                    </a:lnTo>
                    <a:lnTo>
                      <a:pt x="911" y="718"/>
                    </a:lnTo>
                    <a:lnTo>
                      <a:pt x="909" y="721"/>
                    </a:lnTo>
                    <a:lnTo>
                      <a:pt x="913" y="725"/>
                    </a:lnTo>
                    <a:lnTo>
                      <a:pt x="911" y="725"/>
                    </a:lnTo>
                    <a:lnTo>
                      <a:pt x="907" y="725"/>
                    </a:lnTo>
                    <a:lnTo>
                      <a:pt x="906" y="725"/>
                    </a:lnTo>
                    <a:lnTo>
                      <a:pt x="906" y="721"/>
                    </a:lnTo>
                    <a:lnTo>
                      <a:pt x="900" y="721"/>
                    </a:lnTo>
                    <a:lnTo>
                      <a:pt x="900" y="721"/>
                    </a:lnTo>
                    <a:lnTo>
                      <a:pt x="902" y="716"/>
                    </a:lnTo>
                    <a:lnTo>
                      <a:pt x="906" y="714"/>
                    </a:lnTo>
                    <a:lnTo>
                      <a:pt x="902" y="714"/>
                    </a:lnTo>
                    <a:lnTo>
                      <a:pt x="902" y="713"/>
                    </a:lnTo>
                    <a:lnTo>
                      <a:pt x="897" y="714"/>
                    </a:lnTo>
                    <a:lnTo>
                      <a:pt x="893" y="714"/>
                    </a:lnTo>
                    <a:lnTo>
                      <a:pt x="890" y="713"/>
                    </a:lnTo>
                    <a:lnTo>
                      <a:pt x="888" y="713"/>
                    </a:lnTo>
                    <a:lnTo>
                      <a:pt x="883" y="711"/>
                    </a:lnTo>
                    <a:lnTo>
                      <a:pt x="883" y="713"/>
                    </a:lnTo>
                    <a:lnTo>
                      <a:pt x="885" y="714"/>
                    </a:lnTo>
                    <a:lnTo>
                      <a:pt x="883" y="716"/>
                    </a:lnTo>
                    <a:lnTo>
                      <a:pt x="883" y="720"/>
                    </a:lnTo>
                    <a:lnTo>
                      <a:pt x="885" y="721"/>
                    </a:lnTo>
                    <a:lnTo>
                      <a:pt x="888" y="721"/>
                    </a:lnTo>
                    <a:lnTo>
                      <a:pt x="892" y="725"/>
                    </a:lnTo>
                    <a:lnTo>
                      <a:pt x="888" y="730"/>
                    </a:lnTo>
                    <a:lnTo>
                      <a:pt x="886" y="730"/>
                    </a:lnTo>
                    <a:lnTo>
                      <a:pt x="878" y="737"/>
                    </a:lnTo>
                    <a:lnTo>
                      <a:pt x="874" y="742"/>
                    </a:lnTo>
                    <a:lnTo>
                      <a:pt x="871" y="747"/>
                    </a:lnTo>
                    <a:lnTo>
                      <a:pt x="869" y="746"/>
                    </a:lnTo>
                    <a:lnTo>
                      <a:pt x="866" y="747"/>
                    </a:lnTo>
                    <a:lnTo>
                      <a:pt x="864" y="753"/>
                    </a:lnTo>
                    <a:lnTo>
                      <a:pt x="860" y="753"/>
                    </a:lnTo>
                    <a:lnTo>
                      <a:pt x="852" y="751"/>
                    </a:lnTo>
                    <a:lnTo>
                      <a:pt x="846" y="747"/>
                    </a:lnTo>
                    <a:lnTo>
                      <a:pt x="846" y="744"/>
                    </a:lnTo>
                    <a:lnTo>
                      <a:pt x="841" y="740"/>
                    </a:lnTo>
                    <a:lnTo>
                      <a:pt x="841" y="739"/>
                    </a:lnTo>
                    <a:lnTo>
                      <a:pt x="843" y="739"/>
                    </a:lnTo>
                    <a:lnTo>
                      <a:pt x="843" y="737"/>
                    </a:lnTo>
                    <a:lnTo>
                      <a:pt x="843" y="735"/>
                    </a:lnTo>
                    <a:lnTo>
                      <a:pt x="840" y="735"/>
                    </a:lnTo>
                    <a:lnTo>
                      <a:pt x="836" y="728"/>
                    </a:lnTo>
                    <a:lnTo>
                      <a:pt x="831" y="725"/>
                    </a:lnTo>
                    <a:lnTo>
                      <a:pt x="824" y="725"/>
                    </a:lnTo>
                    <a:lnTo>
                      <a:pt x="820" y="721"/>
                    </a:lnTo>
                    <a:lnTo>
                      <a:pt x="812" y="721"/>
                    </a:lnTo>
                    <a:lnTo>
                      <a:pt x="808" y="721"/>
                    </a:lnTo>
                    <a:lnTo>
                      <a:pt x="808" y="721"/>
                    </a:lnTo>
                    <a:lnTo>
                      <a:pt x="812" y="725"/>
                    </a:lnTo>
                    <a:lnTo>
                      <a:pt x="812" y="725"/>
                    </a:lnTo>
                    <a:lnTo>
                      <a:pt x="815" y="725"/>
                    </a:lnTo>
                    <a:lnTo>
                      <a:pt x="820" y="725"/>
                    </a:lnTo>
                    <a:lnTo>
                      <a:pt x="829" y="725"/>
                    </a:lnTo>
                    <a:lnTo>
                      <a:pt x="831" y="728"/>
                    </a:lnTo>
                    <a:lnTo>
                      <a:pt x="829" y="728"/>
                    </a:lnTo>
                    <a:lnTo>
                      <a:pt x="829" y="728"/>
                    </a:lnTo>
                    <a:lnTo>
                      <a:pt x="827" y="730"/>
                    </a:lnTo>
                    <a:lnTo>
                      <a:pt x="829" y="733"/>
                    </a:lnTo>
                    <a:lnTo>
                      <a:pt x="829" y="737"/>
                    </a:lnTo>
                    <a:lnTo>
                      <a:pt x="831" y="737"/>
                    </a:lnTo>
                    <a:lnTo>
                      <a:pt x="834" y="746"/>
                    </a:lnTo>
                    <a:lnTo>
                      <a:pt x="836" y="751"/>
                    </a:lnTo>
                    <a:lnTo>
                      <a:pt x="843" y="753"/>
                    </a:lnTo>
                    <a:lnTo>
                      <a:pt x="848" y="753"/>
                    </a:lnTo>
                    <a:lnTo>
                      <a:pt x="862" y="756"/>
                    </a:lnTo>
                    <a:lnTo>
                      <a:pt x="862" y="760"/>
                    </a:lnTo>
                    <a:lnTo>
                      <a:pt x="860" y="761"/>
                    </a:lnTo>
                    <a:lnTo>
                      <a:pt x="857" y="765"/>
                    </a:lnTo>
                    <a:lnTo>
                      <a:pt x="853" y="766"/>
                    </a:lnTo>
                    <a:lnTo>
                      <a:pt x="848" y="773"/>
                    </a:lnTo>
                    <a:lnTo>
                      <a:pt x="848" y="772"/>
                    </a:lnTo>
                    <a:lnTo>
                      <a:pt x="846" y="772"/>
                    </a:lnTo>
                    <a:lnTo>
                      <a:pt x="846" y="775"/>
                    </a:lnTo>
                    <a:lnTo>
                      <a:pt x="836" y="786"/>
                    </a:lnTo>
                    <a:lnTo>
                      <a:pt x="831" y="787"/>
                    </a:lnTo>
                    <a:lnTo>
                      <a:pt x="827" y="793"/>
                    </a:lnTo>
                    <a:lnTo>
                      <a:pt x="824" y="793"/>
                    </a:lnTo>
                    <a:lnTo>
                      <a:pt x="824" y="793"/>
                    </a:lnTo>
                    <a:lnTo>
                      <a:pt x="820" y="793"/>
                    </a:lnTo>
                    <a:lnTo>
                      <a:pt x="820" y="794"/>
                    </a:lnTo>
                    <a:lnTo>
                      <a:pt x="817" y="789"/>
                    </a:lnTo>
                    <a:lnTo>
                      <a:pt x="815" y="787"/>
                    </a:lnTo>
                    <a:lnTo>
                      <a:pt x="812" y="791"/>
                    </a:lnTo>
                    <a:lnTo>
                      <a:pt x="812" y="787"/>
                    </a:lnTo>
                    <a:lnTo>
                      <a:pt x="810" y="787"/>
                    </a:lnTo>
                    <a:lnTo>
                      <a:pt x="812" y="784"/>
                    </a:lnTo>
                    <a:lnTo>
                      <a:pt x="812" y="784"/>
                    </a:lnTo>
                    <a:lnTo>
                      <a:pt x="810" y="780"/>
                    </a:lnTo>
                    <a:lnTo>
                      <a:pt x="807" y="784"/>
                    </a:lnTo>
                    <a:lnTo>
                      <a:pt x="805" y="789"/>
                    </a:lnTo>
                    <a:lnTo>
                      <a:pt x="805" y="786"/>
                    </a:lnTo>
                    <a:lnTo>
                      <a:pt x="801" y="780"/>
                    </a:lnTo>
                    <a:lnTo>
                      <a:pt x="801" y="786"/>
                    </a:lnTo>
                    <a:lnTo>
                      <a:pt x="803" y="787"/>
                    </a:lnTo>
                    <a:lnTo>
                      <a:pt x="801" y="794"/>
                    </a:lnTo>
                    <a:lnTo>
                      <a:pt x="798" y="801"/>
                    </a:lnTo>
                    <a:lnTo>
                      <a:pt x="798" y="799"/>
                    </a:lnTo>
                    <a:lnTo>
                      <a:pt x="796" y="798"/>
                    </a:lnTo>
                    <a:lnTo>
                      <a:pt x="793" y="794"/>
                    </a:lnTo>
                    <a:lnTo>
                      <a:pt x="793" y="798"/>
                    </a:lnTo>
                    <a:lnTo>
                      <a:pt x="793" y="799"/>
                    </a:lnTo>
                    <a:lnTo>
                      <a:pt x="789" y="801"/>
                    </a:lnTo>
                    <a:lnTo>
                      <a:pt x="789" y="803"/>
                    </a:lnTo>
                    <a:lnTo>
                      <a:pt x="789" y="803"/>
                    </a:lnTo>
                    <a:lnTo>
                      <a:pt x="786" y="803"/>
                    </a:lnTo>
                    <a:lnTo>
                      <a:pt x="786" y="799"/>
                    </a:lnTo>
                    <a:lnTo>
                      <a:pt x="782" y="798"/>
                    </a:lnTo>
                    <a:lnTo>
                      <a:pt x="779" y="793"/>
                    </a:lnTo>
                    <a:lnTo>
                      <a:pt x="772" y="791"/>
                    </a:lnTo>
                    <a:lnTo>
                      <a:pt x="767" y="786"/>
                    </a:lnTo>
                    <a:lnTo>
                      <a:pt x="765" y="780"/>
                    </a:lnTo>
                    <a:lnTo>
                      <a:pt x="761" y="780"/>
                    </a:lnTo>
                    <a:lnTo>
                      <a:pt x="756" y="779"/>
                    </a:lnTo>
                    <a:lnTo>
                      <a:pt x="754" y="775"/>
                    </a:lnTo>
                    <a:lnTo>
                      <a:pt x="754" y="780"/>
                    </a:lnTo>
                    <a:lnTo>
                      <a:pt x="751" y="780"/>
                    </a:lnTo>
                    <a:lnTo>
                      <a:pt x="753" y="784"/>
                    </a:lnTo>
                    <a:lnTo>
                      <a:pt x="756" y="786"/>
                    </a:lnTo>
                    <a:lnTo>
                      <a:pt x="758" y="784"/>
                    </a:lnTo>
                    <a:lnTo>
                      <a:pt x="756" y="784"/>
                    </a:lnTo>
                    <a:lnTo>
                      <a:pt x="756" y="780"/>
                    </a:lnTo>
                    <a:lnTo>
                      <a:pt x="758" y="780"/>
                    </a:lnTo>
                    <a:lnTo>
                      <a:pt x="765" y="787"/>
                    </a:lnTo>
                    <a:lnTo>
                      <a:pt x="770" y="793"/>
                    </a:lnTo>
                    <a:lnTo>
                      <a:pt x="772" y="794"/>
                    </a:lnTo>
                    <a:lnTo>
                      <a:pt x="767" y="796"/>
                    </a:lnTo>
                    <a:lnTo>
                      <a:pt x="765" y="798"/>
                    </a:lnTo>
                    <a:lnTo>
                      <a:pt x="761" y="796"/>
                    </a:lnTo>
                    <a:lnTo>
                      <a:pt x="763" y="799"/>
                    </a:lnTo>
                    <a:lnTo>
                      <a:pt x="763" y="799"/>
                    </a:lnTo>
                    <a:lnTo>
                      <a:pt x="765" y="799"/>
                    </a:lnTo>
                    <a:lnTo>
                      <a:pt x="770" y="798"/>
                    </a:lnTo>
                    <a:lnTo>
                      <a:pt x="773" y="794"/>
                    </a:lnTo>
                    <a:lnTo>
                      <a:pt x="775" y="794"/>
                    </a:lnTo>
                    <a:lnTo>
                      <a:pt x="779" y="796"/>
                    </a:lnTo>
                    <a:lnTo>
                      <a:pt x="779" y="801"/>
                    </a:lnTo>
                    <a:lnTo>
                      <a:pt x="786" y="808"/>
                    </a:lnTo>
                    <a:lnTo>
                      <a:pt x="784" y="815"/>
                    </a:lnTo>
                    <a:lnTo>
                      <a:pt x="780" y="820"/>
                    </a:lnTo>
                    <a:lnTo>
                      <a:pt x="779" y="820"/>
                    </a:lnTo>
                    <a:lnTo>
                      <a:pt x="775" y="822"/>
                    </a:lnTo>
                    <a:lnTo>
                      <a:pt x="770" y="822"/>
                    </a:lnTo>
                    <a:lnTo>
                      <a:pt x="767" y="820"/>
                    </a:lnTo>
                    <a:lnTo>
                      <a:pt x="761" y="819"/>
                    </a:lnTo>
                    <a:lnTo>
                      <a:pt x="756" y="815"/>
                    </a:lnTo>
                    <a:lnTo>
                      <a:pt x="754" y="808"/>
                    </a:lnTo>
                    <a:lnTo>
                      <a:pt x="753" y="806"/>
                    </a:lnTo>
                    <a:lnTo>
                      <a:pt x="751" y="808"/>
                    </a:lnTo>
                    <a:lnTo>
                      <a:pt x="751" y="808"/>
                    </a:lnTo>
                    <a:lnTo>
                      <a:pt x="751" y="812"/>
                    </a:lnTo>
                    <a:lnTo>
                      <a:pt x="754" y="815"/>
                    </a:lnTo>
                    <a:lnTo>
                      <a:pt x="758" y="824"/>
                    </a:lnTo>
                    <a:lnTo>
                      <a:pt x="761" y="829"/>
                    </a:lnTo>
                    <a:lnTo>
                      <a:pt x="760" y="831"/>
                    </a:lnTo>
                    <a:lnTo>
                      <a:pt x="756" y="831"/>
                    </a:lnTo>
                    <a:lnTo>
                      <a:pt x="753" y="831"/>
                    </a:lnTo>
                    <a:lnTo>
                      <a:pt x="753" y="826"/>
                    </a:lnTo>
                    <a:lnTo>
                      <a:pt x="751" y="829"/>
                    </a:lnTo>
                    <a:lnTo>
                      <a:pt x="749" y="829"/>
                    </a:lnTo>
                    <a:lnTo>
                      <a:pt x="751" y="831"/>
                    </a:lnTo>
                    <a:lnTo>
                      <a:pt x="754" y="833"/>
                    </a:lnTo>
                    <a:lnTo>
                      <a:pt x="754" y="834"/>
                    </a:lnTo>
                    <a:lnTo>
                      <a:pt x="749" y="834"/>
                    </a:lnTo>
                    <a:lnTo>
                      <a:pt x="747" y="833"/>
                    </a:lnTo>
                    <a:lnTo>
                      <a:pt x="747" y="834"/>
                    </a:lnTo>
                    <a:lnTo>
                      <a:pt x="749" y="838"/>
                    </a:lnTo>
                    <a:lnTo>
                      <a:pt x="749" y="839"/>
                    </a:lnTo>
                    <a:lnTo>
                      <a:pt x="747" y="843"/>
                    </a:lnTo>
                    <a:lnTo>
                      <a:pt x="747" y="839"/>
                    </a:lnTo>
                    <a:lnTo>
                      <a:pt x="744" y="839"/>
                    </a:lnTo>
                    <a:lnTo>
                      <a:pt x="744" y="839"/>
                    </a:lnTo>
                    <a:lnTo>
                      <a:pt x="744" y="843"/>
                    </a:lnTo>
                    <a:lnTo>
                      <a:pt x="744" y="843"/>
                    </a:lnTo>
                    <a:lnTo>
                      <a:pt x="739" y="843"/>
                    </a:lnTo>
                    <a:lnTo>
                      <a:pt x="739" y="843"/>
                    </a:lnTo>
                    <a:lnTo>
                      <a:pt x="734" y="845"/>
                    </a:lnTo>
                    <a:lnTo>
                      <a:pt x="735" y="846"/>
                    </a:lnTo>
                    <a:lnTo>
                      <a:pt x="737" y="850"/>
                    </a:lnTo>
                    <a:lnTo>
                      <a:pt x="735" y="850"/>
                    </a:lnTo>
                    <a:lnTo>
                      <a:pt x="734" y="848"/>
                    </a:lnTo>
                    <a:lnTo>
                      <a:pt x="730" y="845"/>
                    </a:lnTo>
                    <a:lnTo>
                      <a:pt x="727" y="845"/>
                    </a:lnTo>
                    <a:lnTo>
                      <a:pt x="727" y="846"/>
                    </a:lnTo>
                    <a:lnTo>
                      <a:pt x="725" y="848"/>
                    </a:lnTo>
                    <a:lnTo>
                      <a:pt x="730" y="852"/>
                    </a:lnTo>
                    <a:lnTo>
                      <a:pt x="728" y="853"/>
                    </a:lnTo>
                    <a:lnTo>
                      <a:pt x="728" y="855"/>
                    </a:lnTo>
                    <a:lnTo>
                      <a:pt x="725" y="855"/>
                    </a:lnTo>
                    <a:lnTo>
                      <a:pt x="721" y="860"/>
                    </a:lnTo>
                    <a:lnTo>
                      <a:pt x="720" y="862"/>
                    </a:lnTo>
                    <a:lnTo>
                      <a:pt x="720" y="862"/>
                    </a:lnTo>
                    <a:lnTo>
                      <a:pt x="720" y="866"/>
                    </a:lnTo>
                    <a:lnTo>
                      <a:pt x="716" y="866"/>
                    </a:lnTo>
                    <a:lnTo>
                      <a:pt x="716" y="867"/>
                    </a:lnTo>
                    <a:lnTo>
                      <a:pt x="716" y="871"/>
                    </a:lnTo>
                    <a:lnTo>
                      <a:pt x="713" y="873"/>
                    </a:lnTo>
                    <a:lnTo>
                      <a:pt x="707" y="878"/>
                    </a:lnTo>
                    <a:lnTo>
                      <a:pt x="704" y="879"/>
                    </a:lnTo>
                    <a:lnTo>
                      <a:pt x="704" y="883"/>
                    </a:lnTo>
                    <a:lnTo>
                      <a:pt x="701" y="885"/>
                    </a:lnTo>
                    <a:lnTo>
                      <a:pt x="697" y="883"/>
                    </a:lnTo>
                    <a:lnTo>
                      <a:pt x="697" y="885"/>
                    </a:lnTo>
                    <a:lnTo>
                      <a:pt x="697" y="890"/>
                    </a:lnTo>
                    <a:lnTo>
                      <a:pt x="694" y="893"/>
                    </a:lnTo>
                    <a:lnTo>
                      <a:pt x="694" y="897"/>
                    </a:lnTo>
                    <a:lnTo>
                      <a:pt x="692" y="902"/>
                    </a:lnTo>
                    <a:lnTo>
                      <a:pt x="690" y="906"/>
                    </a:lnTo>
                    <a:lnTo>
                      <a:pt x="688" y="907"/>
                    </a:lnTo>
                    <a:lnTo>
                      <a:pt x="685" y="913"/>
                    </a:lnTo>
                    <a:lnTo>
                      <a:pt x="685" y="916"/>
                    </a:lnTo>
                    <a:lnTo>
                      <a:pt x="685" y="921"/>
                    </a:lnTo>
                    <a:lnTo>
                      <a:pt x="683" y="925"/>
                    </a:lnTo>
                    <a:lnTo>
                      <a:pt x="681" y="928"/>
                    </a:lnTo>
                    <a:lnTo>
                      <a:pt x="680" y="930"/>
                    </a:lnTo>
                    <a:lnTo>
                      <a:pt x="678" y="932"/>
                    </a:lnTo>
                    <a:lnTo>
                      <a:pt x="681" y="932"/>
                    </a:lnTo>
                    <a:lnTo>
                      <a:pt x="681" y="935"/>
                    </a:lnTo>
                    <a:lnTo>
                      <a:pt x="681" y="939"/>
                    </a:lnTo>
                    <a:lnTo>
                      <a:pt x="683" y="940"/>
                    </a:lnTo>
                    <a:lnTo>
                      <a:pt x="683" y="944"/>
                    </a:lnTo>
                    <a:lnTo>
                      <a:pt x="685" y="944"/>
                    </a:lnTo>
                    <a:lnTo>
                      <a:pt x="681" y="953"/>
                    </a:lnTo>
                    <a:lnTo>
                      <a:pt x="676" y="958"/>
                    </a:lnTo>
                    <a:lnTo>
                      <a:pt x="666" y="959"/>
                    </a:lnTo>
                    <a:lnTo>
                      <a:pt x="666" y="963"/>
                    </a:lnTo>
                    <a:lnTo>
                      <a:pt x="671" y="959"/>
                    </a:lnTo>
                    <a:lnTo>
                      <a:pt x="678" y="958"/>
                    </a:lnTo>
                    <a:lnTo>
                      <a:pt x="685" y="953"/>
                    </a:lnTo>
                    <a:lnTo>
                      <a:pt x="688" y="942"/>
                    </a:lnTo>
                    <a:lnTo>
                      <a:pt x="697" y="942"/>
                    </a:lnTo>
                    <a:lnTo>
                      <a:pt x="701" y="944"/>
                    </a:lnTo>
                    <a:lnTo>
                      <a:pt x="701" y="947"/>
                    </a:lnTo>
                    <a:lnTo>
                      <a:pt x="699" y="949"/>
                    </a:lnTo>
                    <a:lnTo>
                      <a:pt x="699" y="954"/>
                    </a:lnTo>
                    <a:lnTo>
                      <a:pt x="702" y="959"/>
                    </a:lnTo>
                    <a:lnTo>
                      <a:pt x="702" y="966"/>
                    </a:lnTo>
                    <a:lnTo>
                      <a:pt x="699" y="972"/>
                    </a:lnTo>
                    <a:lnTo>
                      <a:pt x="701" y="975"/>
                    </a:lnTo>
                    <a:lnTo>
                      <a:pt x="702" y="984"/>
                    </a:lnTo>
                    <a:lnTo>
                      <a:pt x="701" y="986"/>
                    </a:lnTo>
                    <a:lnTo>
                      <a:pt x="692" y="996"/>
                    </a:lnTo>
                    <a:lnTo>
                      <a:pt x="685" y="998"/>
                    </a:lnTo>
                    <a:lnTo>
                      <a:pt x="681" y="998"/>
                    </a:lnTo>
                    <a:lnTo>
                      <a:pt x="685" y="999"/>
                    </a:lnTo>
                    <a:lnTo>
                      <a:pt x="692" y="999"/>
                    </a:lnTo>
                    <a:lnTo>
                      <a:pt x="702" y="994"/>
                    </a:lnTo>
                    <a:lnTo>
                      <a:pt x="716" y="991"/>
                    </a:lnTo>
                    <a:lnTo>
                      <a:pt x="721" y="989"/>
                    </a:lnTo>
                    <a:lnTo>
                      <a:pt x="728" y="994"/>
                    </a:lnTo>
                    <a:lnTo>
                      <a:pt x="734" y="999"/>
                    </a:lnTo>
                    <a:lnTo>
                      <a:pt x="742" y="1003"/>
                    </a:lnTo>
                    <a:lnTo>
                      <a:pt x="744" y="1003"/>
                    </a:lnTo>
                    <a:lnTo>
                      <a:pt x="747" y="1003"/>
                    </a:lnTo>
                    <a:lnTo>
                      <a:pt x="751" y="1012"/>
                    </a:lnTo>
                    <a:lnTo>
                      <a:pt x="754" y="1012"/>
                    </a:lnTo>
                    <a:lnTo>
                      <a:pt x="758" y="1015"/>
                    </a:lnTo>
                    <a:lnTo>
                      <a:pt x="761" y="1019"/>
                    </a:lnTo>
                    <a:lnTo>
                      <a:pt x="761" y="1020"/>
                    </a:lnTo>
                    <a:lnTo>
                      <a:pt x="763" y="1024"/>
                    </a:lnTo>
                    <a:lnTo>
                      <a:pt x="765" y="1029"/>
                    </a:lnTo>
                    <a:lnTo>
                      <a:pt x="765" y="1031"/>
                    </a:lnTo>
                    <a:lnTo>
                      <a:pt x="767" y="1031"/>
                    </a:lnTo>
                    <a:lnTo>
                      <a:pt x="770" y="1031"/>
                    </a:lnTo>
                    <a:lnTo>
                      <a:pt x="775" y="1036"/>
                    </a:lnTo>
                    <a:lnTo>
                      <a:pt x="779" y="1036"/>
                    </a:lnTo>
                    <a:lnTo>
                      <a:pt x="784" y="1039"/>
                    </a:lnTo>
                    <a:lnTo>
                      <a:pt x="786" y="1041"/>
                    </a:lnTo>
                    <a:lnTo>
                      <a:pt x="793" y="1046"/>
                    </a:lnTo>
                    <a:lnTo>
                      <a:pt x="793" y="1050"/>
                    </a:lnTo>
                    <a:lnTo>
                      <a:pt x="798" y="1053"/>
                    </a:lnTo>
                    <a:lnTo>
                      <a:pt x="796" y="1055"/>
                    </a:lnTo>
                    <a:lnTo>
                      <a:pt x="798" y="1057"/>
                    </a:lnTo>
                    <a:lnTo>
                      <a:pt x="801" y="1057"/>
                    </a:lnTo>
                    <a:lnTo>
                      <a:pt x="803" y="1057"/>
                    </a:lnTo>
                    <a:lnTo>
                      <a:pt x="808" y="1057"/>
                    </a:lnTo>
                    <a:lnTo>
                      <a:pt x="815" y="1057"/>
                    </a:lnTo>
                    <a:lnTo>
                      <a:pt x="817" y="1059"/>
                    </a:lnTo>
                    <a:lnTo>
                      <a:pt x="819" y="1059"/>
                    </a:lnTo>
                    <a:lnTo>
                      <a:pt x="824" y="1059"/>
                    </a:lnTo>
                    <a:lnTo>
                      <a:pt x="829" y="1059"/>
                    </a:lnTo>
                    <a:lnTo>
                      <a:pt x="833" y="1059"/>
                    </a:lnTo>
                    <a:lnTo>
                      <a:pt x="836" y="1059"/>
                    </a:lnTo>
                    <a:lnTo>
                      <a:pt x="836" y="1059"/>
                    </a:lnTo>
                    <a:lnTo>
                      <a:pt x="836" y="1059"/>
                    </a:lnTo>
                    <a:lnTo>
                      <a:pt x="838" y="1059"/>
                    </a:lnTo>
                    <a:lnTo>
                      <a:pt x="840" y="1064"/>
                    </a:lnTo>
                    <a:lnTo>
                      <a:pt x="834" y="1072"/>
                    </a:lnTo>
                    <a:lnTo>
                      <a:pt x="834" y="1076"/>
                    </a:lnTo>
                    <a:lnTo>
                      <a:pt x="833" y="1079"/>
                    </a:lnTo>
                    <a:lnTo>
                      <a:pt x="829" y="1085"/>
                    </a:lnTo>
                    <a:lnTo>
                      <a:pt x="829" y="1086"/>
                    </a:lnTo>
                    <a:lnTo>
                      <a:pt x="831" y="1090"/>
                    </a:lnTo>
                    <a:lnTo>
                      <a:pt x="831" y="1095"/>
                    </a:lnTo>
                    <a:lnTo>
                      <a:pt x="827" y="1102"/>
                    </a:lnTo>
                    <a:lnTo>
                      <a:pt x="827" y="1106"/>
                    </a:lnTo>
                    <a:lnTo>
                      <a:pt x="826" y="1109"/>
                    </a:lnTo>
                    <a:lnTo>
                      <a:pt x="824" y="1112"/>
                    </a:lnTo>
                    <a:lnTo>
                      <a:pt x="820" y="1121"/>
                    </a:lnTo>
                    <a:lnTo>
                      <a:pt x="820" y="1123"/>
                    </a:lnTo>
                    <a:lnTo>
                      <a:pt x="826" y="1125"/>
                    </a:lnTo>
                    <a:lnTo>
                      <a:pt x="826" y="1130"/>
                    </a:lnTo>
                    <a:lnTo>
                      <a:pt x="827" y="1132"/>
                    </a:lnTo>
                    <a:lnTo>
                      <a:pt x="829" y="1133"/>
                    </a:lnTo>
                    <a:lnTo>
                      <a:pt x="829" y="1137"/>
                    </a:lnTo>
                    <a:lnTo>
                      <a:pt x="829" y="1139"/>
                    </a:lnTo>
                    <a:lnTo>
                      <a:pt x="829" y="1140"/>
                    </a:lnTo>
                    <a:lnTo>
                      <a:pt x="833" y="1140"/>
                    </a:lnTo>
                    <a:lnTo>
                      <a:pt x="836" y="1144"/>
                    </a:lnTo>
                    <a:lnTo>
                      <a:pt x="838" y="1144"/>
                    </a:lnTo>
                    <a:lnTo>
                      <a:pt x="838" y="1146"/>
                    </a:lnTo>
                    <a:lnTo>
                      <a:pt x="841" y="1149"/>
                    </a:lnTo>
                    <a:lnTo>
                      <a:pt x="841" y="1154"/>
                    </a:lnTo>
                    <a:lnTo>
                      <a:pt x="843" y="1156"/>
                    </a:lnTo>
                    <a:lnTo>
                      <a:pt x="841" y="1161"/>
                    </a:lnTo>
                    <a:lnTo>
                      <a:pt x="834" y="1168"/>
                    </a:lnTo>
                    <a:lnTo>
                      <a:pt x="840" y="1165"/>
                    </a:lnTo>
                    <a:lnTo>
                      <a:pt x="843" y="1163"/>
                    </a:lnTo>
                    <a:lnTo>
                      <a:pt x="846" y="1163"/>
                    </a:lnTo>
                    <a:lnTo>
                      <a:pt x="852" y="1166"/>
                    </a:lnTo>
                    <a:lnTo>
                      <a:pt x="853" y="1166"/>
                    </a:lnTo>
                    <a:lnTo>
                      <a:pt x="853" y="1165"/>
                    </a:lnTo>
                    <a:lnTo>
                      <a:pt x="853" y="1161"/>
                    </a:lnTo>
                    <a:lnTo>
                      <a:pt x="860" y="1152"/>
                    </a:lnTo>
                    <a:lnTo>
                      <a:pt x="862" y="1152"/>
                    </a:lnTo>
                    <a:lnTo>
                      <a:pt x="860" y="1156"/>
                    </a:lnTo>
                    <a:lnTo>
                      <a:pt x="860" y="1158"/>
                    </a:lnTo>
                    <a:lnTo>
                      <a:pt x="864" y="1159"/>
                    </a:lnTo>
                    <a:lnTo>
                      <a:pt x="864" y="1165"/>
                    </a:lnTo>
                    <a:lnTo>
                      <a:pt x="864" y="1168"/>
                    </a:lnTo>
                    <a:lnTo>
                      <a:pt x="867" y="1172"/>
                    </a:lnTo>
                    <a:lnTo>
                      <a:pt x="874" y="1172"/>
                    </a:lnTo>
                    <a:lnTo>
                      <a:pt x="871" y="1172"/>
                    </a:lnTo>
                    <a:lnTo>
                      <a:pt x="867" y="1168"/>
                    </a:lnTo>
                    <a:lnTo>
                      <a:pt x="867" y="1165"/>
                    </a:lnTo>
                    <a:lnTo>
                      <a:pt x="867" y="1158"/>
                    </a:lnTo>
                    <a:lnTo>
                      <a:pt x="869" y="1156"/>
                    </a:lnTo>
                    <a:lnTo>
                      <a:pt x="867" y="1154"/>
                    </a:lnTo>
                    <a:lnTo>
                      <a:pt x="867" y="1151"/>
                    </a:lnTo>
                    <a:lnTo>
                      <a:pt x="869" y="1151"/>
                    </a:lnTo>
                    <a:lnTo>
                      <a:pt x="871" y="1151"/>
                    </a:lnTo>
                    <a:lnTo>
                      <a:pt x="871" y="1146"/>
                    </a:lnTo>
                    <a:lnTo>
                      <a:pt x="874" y="1140"/>
                    </a:lnTo>
                    <a:lnTo>
                      <a:pt x="874" y="1140"/>
                    </a:lnTo>
                    <a:lnTo>
                      <a:pt x="874" y="1135"/>
                    </a:lnTo>
                    <a:lnTo>
                      <a:pt x="871" y="1135"/>
                    </a:lnTo>
                    <a:lnTo>
                      <a:pt x="871" y="1132"/>
                    </a:lnTo>
                    <a:lnTo>
                      <a:pt x="874" y="1126"/>
                    </a:lnTo>
                    <a:lnTo>
                      <a:pt x="874" y="1125"/>
                    </a:lnTo>
                    <a:lnTo>
                      <a:pt x="874" y="1123"/>
                    </a:lnTo>
                    <a:lnTo>
                      <a:pt x="871" y="1121"/>
                    </a:lnTo>
                    <a:lnTo>
                      <a:pt x="871" y="1121"/>
                    </a:lnTo>
                    <a:lnTo>
                      <a:pt x="874" y="1112"/>
                    </a:lnTo>
                    <a:lnTo>
                      <a:pt x="874" y="1109"/>
                    </a:lnTo>
                    <a:lnTo>
                      <a:pt x="874" y="1102"/>
                    </a:lnTo>
                    <a:lnTo>
                      <a:pt x="876" y="1100"/>
                    </a:lnTo>
                    <a:lnTo>
                      <a:pt x="874" y="1097"/>
                    </a:lnTo>
                    <a:lnTo>
                      <a:pt x="876" y="1097"/>
                    </a:lnTo>
                    <a:lnTo>
                      <a:pt x="876" y="1093"/>
                    </a:lnTo>
                    <a:lnTo>
                      <a:pt x="878" y="1093"/>
                    </a:lnTo>
                    <a:lnTo>
                      <a:pt x="876" y="1093"/>
                    </a:lnTo>
                    <a:lnTo>
                      <a:pt x="874" y="1090"/>
                    </a:lnTo>
                    <a:lnTo>
                      <a:pt x="876" y="1090"/>
                    </a:lnTo>
                    <a:lnTo>
                      <a:pt x="874" y="1086"/>
                    </a:lnTo>
                    <a:lnTo>
                      <a:pt x="874" y="1081"/>
                    </a:lnTo>
                    <a:lnTo>
                      <a:pt x="874" y="1081"/>
                    </a:lnTo>
                    <a:lnTo>
                      <a:pt x="874" y="1078"/>
                    </a:lnTo>
                    <a:lnTo>
                      <a:pt x="871" y="1074"/>
                    </a:lnTo>
                    <a:lnTo>
                      <a:pt x="876" y="1072"/>
                    </a:lnTo>
                    <a:lnTo>
                      <a:pt x="883" y="1071"/>
                    </a:lnTo>
                    <a:lnTo>
                      <a:pt x="886" y="1071"/>
                    </a:lnTo>
                    <a:lnTo>
                      <a:pt x="892" y="1071"/>
                    </a:lnTo>
                    <a:lnTo>
                      <a:pt x="893" y="1067"/>
                    </a:lnTo>
                    <a:lnTo>
                      <a:pt x="899" y="1064"/>
                    </a:lnTo>
                    <a:lnTo>
                      <a:pt x="911" y="1062"/>
                    </a:lnTo>
                    <a:lnTo>
                      <a:pt x="911" y="1059"/>
                    </a:lnTo>
                    <a:lnTo>
                      <a:pt x="913" y="1059"/>
                    </a:lnTo>
                    <a:lnTo>
                      <a:pt x="921" y="1053"/>
                    </a:lnTo>
                    <a:lnTo>
                      <a:pt x="921" y="1052"/>
                    </a:lnTo>
                    <a:lnTo>
                      <a:pt x="925" y="1050"/>
                    </a:lnTo>
                    <a:lnTo>
                      <a:pt x="928" y="1041"/>
                    </a:lnTo>
                    <a:lnTo>
                      <a:pt x="932" y="1041"/>
                    </a:lnTo>
                    <a:lnTo>
                      <a:pt x="933" y="1043"/>
                    </a:lnTo>
                    <a:lnTo>
                      <a:pt x="937" y="1043"/>
                    </a:lnTo>
                    <a:lnTo>
                      <a:pt x="939" y="1039"/>
                    </a:lnTo>
                    <a:lnTo>
                      <a:pt x="937" y="1036"/>
                    </a:lnTo>
                    <a:lnTo>
                      <a:pt x="935" y="1031"/>
                    </a:lnTo>
                    <a:lnTo>
                      <a:pt x="933" y="1034"/>
                    </a:lnTo>
                    <a:lnTo>
                      <a:pt x="933" y="1036"/>
                    </a:lnTo>
                    <a:lnTo>
                      <a:pt x="932" y="1039"/>
                    </a:lnTo>
                    <a:lnTo>
                      <a:pt x="932" y="1034"/>
                    </a:lnTo>
                    <a:lnTo>
                      <a:pt x="935" y="1026"/>
                    </a:lnTo>
                    <a:lnTo>
                      <a:pt x="937" y="1024"/>
                    </a:lnTo>
                    <a:lnTo>
                      <a:pt x="937" y="1017"/>
                    </a:lnTo>
                    <a:lnTo>
                      <a:pt x="937" y="1013"/>
                    </a:lnTo>
                    <a:lnTo>
                      <a:pt x="935" y="1008"/>
                    </a:lnTo>
                    <a:lnTo>
                      <a:pt x="935" y="998"/>
                    </a:lnTo>
                    <a:lnTo>
                      <a:pt x="933" y="989"/>
                    </a:lnTo>
                    <a:lnTo>
                      <a:pt x="928" y="980"/>
                    </a:lnTo>
                    <a:lnTo>
                      <a:pt x="925" y="977"/>
                    </a:lnTo>
                    <a:lnTo>
                      <a:pt x="925" y="975"/>
                    </a:lnTo>
                    <a:lnTo>
                      <a:pt x="921" y="975"/>
                    </a:lnTo>
                    <a:lnTo>
                      <a:pt x="921" y="972"/>
                    </a:lnTo>
                    <a:lnTo>
                      <a:pt x="921" y="965"/>
                    </a:lnTo>
                    <a:lnTo>
                      <a:pt x="925" y="963"/>
                    </a:lnTo>
                    <a:lnTo>
                      <a:pt x="933" y="953"/>
                    </a:lnTo>
                    <a:lnTo>
                      <a:pt x="937" y="953"/>
                    </a:lnTo>
                    <a:lnTo>
                      <a:pt x="939" y="949"/>
                    </a:lnTo>
                    <a:lnTo>
                      <a:pt x="939" y="949"/>
                    </a:lnTo>
                    <a:lnTo>
                      <a:pt x="939" y="949"/>
                    </a:lnTo>
                    <a:lnTo>
                      <a:pt x="939" y="947"/>
                    </a:lnTo>
                    <a:lnTo>
                      <a:pt x="942" y="942"/>
                    </a:lnTo>
                    <a:lnTo>
                      <a:pt x="944" y="942"/>
                    </a:lnTo>
                    <a:lnTo>
                      <a:pt x="946" y="944"/>
                    </a:lnTo>
                    <a:lnTo>
                      <a:pt x="947" y="947"/>
                    </a:lnTo>
                    <a:lnTo>
                      <a:pt x="947" y="944"/>
                    </a:lnTo>
                    <a:lnTo>
                      <a:pt x="947" y="940"/>
                    </a:lnTo>
                    <a:lnTo>
                      <a:pt x="951" y="939"/>
                    </a:lnTo>
                    <a:lnTo>
                      <a:pt x="952" y="932"/>
                    </a:lnTo>
                    <a:lnTo>
                      <a:pt x="952" y="930"/>
                    </a:lnTo>
                    <a:lnTo>
                      <a:pt x="947" y="930"/>
                    </a:lnTo>
                    <a:lnTo>
                      <a:pt x="947" y="928"/>
                    </a:lnTo>
                    <a:lnTo>
                      <a:pt x="951" y="925"/>
                    </a:lnTo>
                    <a:lnTo>
                      <a:pt x="951" y="925"/>
                    </a:lnTo>
                    <a:lnTo>
                      <a:pt x="947" y="921"/>
                    </a:lnTo>
                    <a:lnTo>
                      <a:pt x="951" y="919"/>
                    </a:lnTo>
                    <a:lnTo>
                      <a:pt x="952" y="918"/>
                    </a:lnTo>
                    <a:lnTo>
                      <a:pt x="951" y="918"/>
                    </a:lnTo>
                    <a:lnTo>
                      <a:pt x="951" y="916"/>
                    </a:lnTo>
                    <a:lnTo>
                      <a:pt x="951" y="911"/>
                    </a:lnTo>
                    <a:lnTo>
                      <a:pt x="954" y="909"/>
                    </a:lnTo>
                    <a:lnTo>
                      <a:pt x="951" y="907"/>
                    </a:lnTo>
                    <a:lnTo>
                      <a:pt x="947" y="909"/>
                    </a:lnTo>
                    <a:lnTo>
                      <a:pt x="946" y="907"/>
                    </a:lnTo>
                    <a:lnTo>
                      <a:pt x="946" y="906"/>
                    </a:lnTo>
                    <a:lnTo>
                      <a:pt x="951" y="899"/>
                    </a:lnTo>
                    <a:lnTo>
                      <a:pt x="956" y="893"/>
                    </a:lnTo>
                    <a:lnTo>
                      <a:pt x="958" y="890"/>
                    </a:lnTo>
                    <a:lnTo>
                      <a:pt x="959" y="890"/>
                    </a:lnTo>
                    <a:lnTo>
                      <a:pt x="961" y="888"/>
                    </a:lnTo>
                    <a:lnTo>
                      <a:pt x="961" y="883"/>
                    </a:lnTo>
                    <a:lnTo>
                      <a:pt x="959" y="883"/>
                    </a:lnTo>
                    <a:lnTo>
                      <a:pt x="959" y="881"/>
                    </a:lnTo>
                    <a:lnTo>
                      <a:pt x="958" y="881"/>
                    </a:lnTo>
                    <a:lnTo>
                      <a:pt x="954" y="878"/>
                    </a:lnTo>
                    <a:lnTo>
                      <a:pt x="954" y="871"/>
                    </a:lnTo>
                    <a:lnTo>
                      <a:pt x="958" y="866"/>
                    </a:lnTo>
                    <a:lnTo>
                      <a:pt x="958" y="862"/>
                    </a:lnTo>
                    <a:lnTo>
                      <a:pt x="961" y="860"/>
                    </a:lnTo>
                    <a:lnTo>
                      <a:pt x="961" y="862"/>
                    </a:lnTo>
                    <a:lnTo>
                      <a:pt x="965" y="862"/>
                    </a:lnTo>
                    <a:lnTo>
                      <a:pt x="965" y="859"/>
                    </a:lnTo>
                    <a:lnTo>
                      <a:pt x="966" y="857"/>
                    </a:lnTo>
                    <a:lnTo>
                      <a:pt x="968" y="857"/>
                    </a:lnTo>
                    <a:lnTo>
                      <a:pt x="970" y="855"/>
                    </a:lnTo>
                    <a:lnTo>
                      <a:pt x="973" y="857"/>
                    </a:lnTo>
                    <a:lnTo>
                      <a:pt x="979" y="857"/>
                    </a:lnTo>
                    <a:lnTo>
                      <a:pt x="984" y="860"/>
                    </a:lnTo>
                    <a:lnTo>
                      <a:pt x="992" y="866"/>
                    </a:lnTo>
                    <a:lnTo>
                      <a:pt x="996" y="866"/>
                    </a:lnTo>
                    <a:lnTo>
                      <a:pt x="996" y="867"/>
                    </a:lnTo>
                    <a:lnTo>
                      <a:pt x="991" y="871"/>
                    </a:lnTo>
                    <a:lnTo>
                      <a:pt x="996" y="871"/>
                    </a:lnTo>
                    <a:lnTo>
                      <a:pt x="1001" y="866"/>
                    </a:lnTo>
                    <a:lnTo>
                      <a:pt x="1003" y="866"/>
                    </a:lnTo>
                    <a:lnTo>
                      <a:pt x="1005" y="867"/>
                    </a:lnTo>
                    <a:lnTo>
                      <a:pt x="1008" y="867"/>
                    </a:lnTo>
                    <a:lnTo>
                      <a:pt x="1010" y="871"/>
                    </a:lnTo>
                    <a:lnTo>
                      <a:pt x="1010" y="867"/>
                    </a:lnTo>
                    <a:lnTo>
                      <a:pt x="1015" y="871"/>
                    </a:lnTo>
                    <a:lnTo>
                      <a:pt x="1017" y="867"/>
                    </a:lnTo>
                    <a:lnTo>
                      <a:pt x="1018" y="866"/>
                    </a:lnTo>
                    <a:lnTo>
                      <a:pt x="1024" y="866"/>
                    </a:lnTo>
                    <a:lnTo>
                      <a:pt x="1029" y="871"/>
                    </a:lnTo>
                    <a:lnTo>
                      <a:pt x="1029" y="873"/>
                    </a:lnTo>
                    <a:lnTo>
                      <a:pt x="1032" y="876"/>
                    </a:lnTo>
                    <a:lnTo>
                      <a:pt x="1036" y="876"/>
                    </a:lnTo>
                    <a:lnTo>
                      <a:pt x="1036" y="881"/>
                    </a:lnTo>
                    <a:lnTo>
                      <a:pt x="1034" y="885"/>
                    </a:lnTo>
                    <a:lnTo>
                      <a:pt x="1034" y="886"/>
                    </a:lnTo>
                    <a:lnTo>
                      <a:pt x="1036" y="885"/>
                    </a:lnTo>
                    <a:lnTo>
                      <a:pt x="1039" y="888"/>
                    </a:lnTo>
                    <a:lnTo>
                      <a:pt x="1041" y="893"/>
                    </a:lnTo>
                    <a:lnTo>
                      <a:pt x="1039" y="893"/>
                    </a:lnTo>
                    <a:lnTo>
                      <a:pt x="1043" y="897"/>
                    </a:lnTo>
                    <a:lnTo>
                      <a:pt x="1043" y="893"/>
                    </a:lnTo>
                    <a:lnTo>
                      <a:pt x="1048" y="897"/>
                    </a:lnTo>
                    <a:lnTo>
                      <a:pt x="1048" y="899"/>
                    </a:lnTo>
                    <a:lnTo>
                      <a:pt x="1043" y="897"/>
                    </a:lnTo>
                    <a:lnTo>
                      <a:pt x="1043" y="902"/>
                    </a:lnTo>
                    <a:lnTo>
                      <a:pt x="1039" y="902"/>
                    </a:lnTo>
                    <a:lnTo>
                      <a:pt x="1043" y="904"/>
                    </a:lnTo>
                    <a:lnTo>
                      <a:pt x="1043" y="907"/>
                    </a:lnTo>
                    <a:lnTo>
                      <a:pt x="1046" y="904"/>
                    </a:lnTo>
                    <a:lnTo>
                      <a:pt x="1046" y="907"/>
                    </a:lnTo>
                    <a:lnTo>
                      <a:pt x="1048" y="906"/>
                    </a:lnTo>
                    <a:lnTo>
                      <a:pt x="1055" y="911"/>
                    </a:lnTo>
                    <a:lnTo>
                      <a:pt x="1057" y="909"/>
                    </a:lnTo>
                    <a:lnTo>
                      <a:pt x="1057" y="913"/>
                    </a:lnTo>
                    <a:lnTo>
                      <a:pt x="1062" y="909"/>
                    </a:lnTo>
                    <a:lnTo>
                      <a:pt x="1065" y="911"/>
                    </a:lnTo>
                    <a:lnTo>
                      <a:pt x="1065" y="918"/>
                    </a:lnTo>
                    <a:lnTo>
                      <a:pt x="1067" y="921"/>
                    </a:lnTo>
                    <a:lnTo>
                      <a:pt x="1071" y="918"/>
                    </a:lnTo>
                    <a:lnTo>
                      <a:pt x="1071" y="913"/>
                    </a:lnTo>
                    <a:lnTo>
                      <a:pt x="1074" y="913"/>
                    </a:lnTo>
                    <a:lnTo>
                      <a:pt x="1074" y="918"/>
                    </a:lnTo>
                    <a:lnTo>
                      <a:pt x="1074" y="925"/>
                    </a:lnTo>
                    <a:lnTo>
                      <a:pt x="1069" y="925"/>
                    </a:lnTo>
                    <a:lnTo>
                      <a:pt x="1065" y="928"/>
                    </a:lnTo>
                    <a:lnTo>
                      <a:pt x="1067" y="939"/>
                    </a:lnTo>
                    <a:lnTo>
                      <a:pt x="1065" y="940"/>
                    </a:lnTo>
                    <a:lnTo>
                      <a:pt x="1064" y="937"/>
                    </a:lnTo>
                    <a:lnTo>
                      <a:pt x="1064" y="939"/>
                    </a:lnTo>
                    <a:lnTo>
                      <a:pt x="1062" y="944"/>
                    </a:lnTo>
                    <a:lnTo>
                      <a:pt x="1055" y="942"/>
                    </a:lnTo>
                    <a:lnTo>
                      <a:pt x="1046" y="940"/>
                    </a:lnTo>
                    <a:lnTo>
                      <a:pt x="1055" y="944"/>
                    </a:lnTo>
                    <a:lnTo>
                      <a:pt x="1060" y="944"/>
                    </a:lnTo>
                    <a:lnTo>
                      <a:pt x="1065" y="949"/>
                    </a:lnTo>
                    <a:lnTo>
                      <a:pt x="1064" y="954"/>
                    </a:lnTo>
                    <a:lnTo>
                      <a:pt x="1060" y="959"/>
                    </a:lnTo>
                    <a:lnTo>
                      <a:pt x="1060" y="961"/>
                    </a:lnTo>
                    <a:lnTo>
                      <a:pt x="1057" y="966"/>
                    </a:lnTo>
                    <a:lnTo>
                      <a:pt x="1058" y="966"/>
                    </a:lnTo>
                    <a:lnTo>
                      <a:pt x="1062" y="972"/>
                    </a:lnTo>
                    <a:lnTo>
                      <a:pt x="1065" y="975"/>
                    </a:lnTo>
                    <a:lnTo>
                      <a:pt x="1064" y="975"/>
                    </a:lnTo>
                    <a:lnTo>
                      <a:pt x="1057" y="972"/>
                    </a:lnTo>
                    <a:lnTo>
                      <a:pt x="1062" y="977"/>
                    </a:lnTo>
                    <a:lnTo>
                      <a:pt x="1065" y="980"/>
                    </a:lnTo>
                    <a:lnTo>
                      <a:pt x="1065" y="980"/>
                    </a:lnTo>
                    <a:lnTo>
                      <a:pt x="1065" y="975"/>
                    </a:lnTo>
                    <a:lnTo>
                      <a:pt x="1067" y="975"/>
                    </a:lnTo>
                    <a:lnTo>
                      <a:pt x="1071" y="980"/>
                    </a:lnTo>
                    <a:lnTo>
                      <a:pt x="1074" y="984"/>
                    </a:lnTo>
                    <a:lnTo>
                      <a:pt x="1071" y="986"/>
                    </a:lnTo>
                    <a:lnTo>
                      <a:pt x="1071" y="991"/>
                    </a:lnTo>
                    <a:lnTo>
                      <a:pt x="1069" y="996"/>
                    </a:lnTo>
                    <a:lnTo>
                      <a:pt x="1069" y="999"/>
                    </a:lnTo>
                    <a:lnTo>
                      <a:pt x="1065" y="1003"/>
                    </a:lnTo>
                    <a:lnTo>
                      <a:pt x="1069" y="999"/>
                    </a:lnTo>
                    <a:lnTo>
                      <a:pt x="1074" y="993"/>
                    </a:lnTo>
                    <a:lnTo>
                      <a:pt x="1078" y="987"/>
                    </a:lnTo>
                    <a:lnTo>
                      <a:pt x="1078" y="987"/>
                    </a:lnTo>
                    <a:lnTo>
                      <a:pt x="1078" y="991"/>
                    </a:lnTo>
                    <a:lnTo>
                      <a:pt x="1078" y="998"/>
                    </a:lnTo>
                    <a:lnTo>
                      <a:pt x="1078" y="999"/>
                    </a:lnTo>
                    <a:lnTo>
                      <a:pt x="1078" y="1003"/>
                    </a:lnTo>
                    <a:lnTo>
                      <a:pt x="1078" y="1006"/>
                    </a:lnTo>
                    <a:lnTo>
                      <a:pt x="1079" y="999"/>
                    </a:lnTo>
                    <a:lnTo>
                      <a:pt x="1083" y="998"/>
                    </a:lnTo>
                    <a:lnTo>
                      <a:pt x="1085" y="994"/>
                    </a:lnTo>
                    <a:lnTo>
                      <a:pt x="1088" y="994"/>
                    </a:lnTo>
                    <a:lnTo>
                      <a:pt x="1091" y="991"/>
                    </a:lnTo>
                    <a:lnTo>
                      <a:pt x="1093" y="993"/>
                    </a:lnTo>
                    <a:lnTo>
                      <a:pt x="1093" y="994"/>
                    </a:lnTo>
                    <a:lnTo>
                      <a:pt x="1093" y="991"/>
                    </a:lnTo>
                    <a:lnTo>
                      <a:pt x="1097" y="991"/>
                    </a:lnTo>
                    <a:lnTo>
                      <a:pt x="1097" y="987"/>
                    </a:lnTo>
                    <a:lnTo>
                      <a:pt x="1102" y="984"/>
                    </a:lnTo>
                    <a:lnTo>
                      <a:pt x="1105" y="980"/>
                    </a:lnTo>
                    <a:lnTo>
                      <a:pt x="1107" y="984"/>
                    </a:lnTo>
                    <a:lnTo>
                      <a:pt x="1109" y="987"/>
                    </a:lnTo>
                    <a:lnTo>
                      <a:pt x="1107" y="993"/>
                    </a:lnTo>
                    <a:lnTo>
                      <a:pt x="1111" y="987"/>
                    </a:lnTo>
                    <a:lnTo>
                      <a:pt x="1111" y="984"/>
                    </a:lnTo>
                    <a:lnTo>
                      <a:pt x="1111" y="980"/>
                    </a:lnTo>
                    <a:lnTo>
                      <a:pt x="1111" y="980"/>
                    </a:lnTo>
                    <a:lnTo>
                      <a:pt x="1112" y="975"/>
                    </a:lnTo>
                    <a:lnTo>
                      <a:pt x="1116" y="975"/>
                    </a:lnTo>
                    <a:lnTo>
                      <a:pt x="1118" y="972"/>
                    </a:lnTo>
                    <a:lnTo>
                      <a:pt x="1119" y="970"/>
                    </a:lnTo>
                    <a:lnTo>
                      <a:pt x="1123" y="966"/>
                    </a:lnTo>
                    <a:lnTo>
                      <a:pt x="1123" y="965"/>
                    </a:lnTo>
                    <a:lnTo>
                      <a:pt x="1124" y="965"/>
                    </a:lnTo>
                    <a:lnTo>
                      <a:pt x="1128" y="968"/>
                    </a:lnTo>
                    <a:lnTo>
                      <a:pt x="1128" y="965"/>
                    </a:lnTo>
                    <a:lnTo>
                      <a:pt x="1124" y="963"/>
                    </a:lnTo>
                    <a:lnTo>
                      <a:pt x="1123" y="963"/>
                    </a:lnTo>
                    <a:lnTo>
                      <a:pt x="1123" y="961"/>
                    </a:lnTo>
                    <a:lnTo>
                      <a:pt x="1124" y="954"/>
                    </a:lnTo>
                    <a:lnTo>
                      <a:pt x="1128" y="954"/>
                    </a:lnTo>
                    <a:lnTo>
                      <a:pt x="1128" y="956"/>
                    </a:lnTo>
                    <a:lnTo>
                      <a:pt x="1128" y="953"/>
                    </a:lnTo>
                    <a:lnTo>
                      <a:pt x="1130" y="953"/>
                    </a:lnTo>
                    <a:lnTo>
                      <a:pt x="1130" y="949"/>
                    </a:lnTo>
                    <a:lnTo>
                      <a:pt x="1135" y="944"/>
                    </a:lnTo>
                    <a:lnTo>
                      <a:pt x="1137" y="942"/>
                    </a:lnTo>
                    <a:lnTo>
                      <a:pt x="1135" y="940"/>
                    </a:lnTo>
                    <a:lnTo>
                      <a:pt x="1138" y="937"/>
                    </a:lnTo>
                    <a:lnTo>
                      <a:pt x="1142" y="935"/>
                    </a:lnTo>
                    <a:lnTo>
                      <a:pt x="1144" y="937"/>
                    </a:lnTo>
                    <a:lnTo>
                      <a:pt x="1140" y="939"/>
                    </a:lnTo>
                    <a:lnTo>
                      <a:pt x="1144" y="937"/>
                    </a:lnTo>
                    <a:lnTo>
                      <a:pt x="1145" y="939"/>
                    </a:lnTo>
                    <a:lnTo>
                      <a:pt x="1142" y="940"/>
                    </a:lnTo>
                    <a:lnTo>
                      <a:pt x="1142" y="944"/>
                    </a:lnTo>
                    <a:lnTo>
                      <a:pt x="1145" y="944"/>
                    </a:lnTo>
                    <a:lnTo>
                      <a:pt x="1142" y="947"/>
                    </a:lnTo>
                    <a:lnTo>
                      <a:pt x="1140" y="947"/>
                    </a:lnTo>
                    <a:lnTo>
                      <a:pt x="1140" y="949"/>
                    </a:lnTo>
                    <a:lnTo>
                      <a:pt x="1142" y="949"/>
                    </a:lnTo>
                    <a:lnTo>
                      <a:pt x="1145" y="949"/>
                    </a:lnTo>
                    <a:lnTo>
                      <a:pt x="1144" y="953"/>
                    </a:lnTo>
                    <a:lnTo>
                      <a:pt x="1144" y="953"/>
                    </a:lnTo>
                    <a:lnTo>
                      <a:pt x="1145" y="953"/>
                    </a:lnTo>
                    <a:lnTo>
                      <a:pt x="1145" y="956"/>
                    </a:lnTo>
                    <a:lnTo>
                      <a:pt x="1144" y="958"/>
                    </a:lnTo>
                    <a:lnTo>
                      <a:pt x="1144" y="961"/>
                    </a:lnTo>
                    <a:lnTo>
                      <a:pt x="1147" y="963"/>
                    </a:lnTo>
                    <a:lnTo>
                      <a:pt x="1147" y="968"/>
                    </a:lnTo>
                    <a:lnTo>
                      <a:pt x="1147" y="970"/>
                    </a:lnTo>
                    <a:lnTo>
                      <a:pt x="1145" y="968"/>
                    </a:lnTo>
                    <a:lnTo>
                      <a:pt x="1142" y="970"/>
                    </a:lnTo>
                    <a:lnTo>
                      <a:pt x="1145" y="972"/>
                    </a:lnTo>
                    <a:lnTo>
                      <a:pt x="1145" y="972"/>
                    </a:lnTo>
                    <a:lnTo>
                      <a:pt x="1147" y="972"/>
                    </a:lnTo>
                    <a:lnTo>
                      <a:pt x="1147" y="972"/>
                    </a:lnTo>
                    <a:lnTo>
                      <a:pt x="1147" y="972"/>
                    </a:lnTo>
                    <a:lnTo>
                      <a:pt x="1151" y="975"/>
                    </a:lnTo>
                    <a:lnTo>
                      <a:pt x="1147" y="980"/>
                    </a:lnTo>
                    <a:lnTo>
                      <a:pt x="1145" y="980"/>
                    </a:lnTo>
                    <a:lnTo>
                      <a:pt x="1142" y="980"/>
                    </a:lnTo>
                    <a:lnTo>
                      <a:pt x="1140" y="980"/>
                    </a:lnTo>
                    <a:lnTo>
                      <a:pt x="1144" y="984"/>
                    </a:lnTo>
                    <a:lnTo>
                      <a:pt x="1151" y="980"/>
                    </a:lnTo>
                    <a:lnTo>
                      <a:pt x="1152" y="980"/>
                    </a:lnTo>
                    <a:lnTo>
                      <a:pt x="1152" y="984"/>
                    </a:lnTo>
                    <a:lnTo>
                      <a:pt x="1151" y="987"/>
                    </a:lnTo>
                    <a:lnTo>
                      <a:pt x="1151" y="989"/>
                    </a:lnTo>
                    <a:lnTo>
                      <a:pt x="1156" y="987"/>
                    </a:lnTo>
                    <a:lnTo>
                      <a:pt x="1156" y="991"/>
                    </a:lnTo>
                    <a:lnTo>
                      <a:pt x="1151" y="994"/>
                    </a:lnTo>
                    <a:lnTo>
                      <a:pt x="1147" y="994"/>
                    </a:lnTo>
                    <a:lnTo>
                      <a:pt x="1145" y="993"/>
                    </a:lnTo>
                    <a:lnTo>
                      <a:pt x="1144" y="996"/>
                    </a:lnTo>
                    <a:lnTo>
                      <a:pt x="1144" y="998"/>
                    </a:lnTo>
                    <a:lnTo>
                      <a:pt x="1142" y="999"/>
                    </a:lnTo>
                    <a:lnTo>
                      <a:pt x="1147" y="999"/>
                    </a:lnTo>
                    <a:lnTo>
                      <a:pt x="1152" y="999"/>
                    </a:lnTo>
                    <a:lnTo>
                      <a:pt x="1156" y="998"/>
                    </a:lnTo>
                    <a:lnTo>
                      <a:pt x="1156" y="998"/>
                    </a:lnTo>
                    <a:lnTo>
                      <a:pt x="1156" y="999"/>
                    </a:lnTo>
                    <a:lnTo>
                      <a:pt x="1156" y="1003"/>
                    </a:lnTo>
                    <a:lnTo>
                      <a:pt x="1151" y="1003"/>
                    </a:lnTo>
                    <a:lnTo>
                      <a:pt x="1147" y="1003"/>
                    </a:lnTo>
                    <a:lnTo>
                      <a:pt x="1144" y="1008"/>
                    </a:lnTo>
                    <a:lnTo>
                      <a:pt x="1151" y="1006"/>
                    </a:lnTo>
                    <a:lnTo>
                      <a:pt x="1152" y="1006"/>
                    </a:lnTo>
                    <a:lnTo>
                      <a:pt x="1156" y="1006"/>
                    </a:lnTo>
                    <a:lnTo>
                      <a:pt x="1158" y="1006"/>
                    </a:lnTo>
                    <a:lnTo>
                      <a:pt x="1158" y="1012"/>
                    </a:lnTo>
                    <a:lnTo>
                      <a:pt x="1156" y="1012"/>
                    </a:lnTo>
                    <a:lnTo>
                      <a:pt x="1152" y="1012"/>
                    </a:lnTo>
                    <a:lnTo>
                      <a:pt x="1151" y="1015"/>
                    </a:lnTo>
                    <a:lnTo>
                      <a:pt x="1152" y="1013"/>
                    </a:lnTo>
                    <a:lnTo>
                      <a:pt x="1156" y="1015"/>
                    </a:lnTo>
                    <a:lnTo>
                      <a:pt x="1158" y="1012"/>
                    </a:lnTo>
                    <a:lnTo>
                      <a:pt x="1161" y="1015"/>
                    </a:lnTo>
                    <a:lnTo>
                      <a:pt x="1163" y="1022"/>
                    </a:lnTo>
                    <a:lnTo>
                      <a:pt x="1159" y="1024"/>
                    </a:lnTo>
                    <a:lnTo>
                      <a:pt x="1158" y="1024"/>
                    </a:lnTo>
                    <a:lnTo>
                      <a:pt x="1156" y="1026"/>
                    </a:lnTo>
                    <a:lnTo>
                      <a:pt x="1152" y="1026"/>
                    </a:lnTo>
                    <a:lnTo>
                      <a:pt x="1156" y="1027"/>
                    </a:lnTo>
                    <a:lnTo>
                      <a:pt x="1158" y="1027"/>
                    </a:lnTo>
                    <a:lnTo>
                      <a:pt x="1158" y="1027"/>
                    </a:lnTo>
                    <a:lnTo>
                      <a:pt x="1163" y="1027"/>
                    </a:lnTo>
                    <a:lnTo>
                      <a:pt x="1164" y="1029"/>
                    </a:lnTo>
                    <a:lnTo>
                      <a:pt x="1163" y="1031"/>
                    </a:lnTo>
                    <a:lnTo>
                      <a:pt x="1161" y="1034"/>
                    </a:lnTo>
                    <a:lnTo>
                      <a:pt x="1163" y="1034"/>
                    </a:lnTo>
                    <a:lnTo>
                      <a:pt x="1166" y="1034"/>
                    </a:lnTo>
                    <a:lnTo>
                      <a:pt x="1170" y="1036"/>
                    </a:lnTo>
                    <a:lnTo>
                      <a:pt x="1168" y="1039"/>
                    </a:lnTo>
                    <a:lnTo>
                      <a:pt x="1166" y="1041"/>
                    </a:lnTo>
                    <a:lnTo>
                      <a:pt x="1161" y="1045"/>
                    </a:lnTo>
                    <a:lnTo>
                      <a:pt x="1159" y="1043"/>
                    </a:lnTo>
                    <a:lnTo>
                      <a:pt x="1158" y="1045"/>
                    </a:lnTo>
                    <a:lnTo>
                      <a:pt x="1161" y="1046"/>
                    </a:lnTo>
                    <a:lnTo>
                      <a:pt x="1161" y="1048"/>
                    </a:lnTo>
                    <a:lnTo>
                      <a:pt x="1158" y="1050"/>
                    </a:lnTo>
                    <a:lnTo>
                      <a:pt x="1152" y="1046"/>
                    </a:lnTo>
                    <a:lnTo>
                      <a:pt x="1147" y="1046"/>
                    </a:lnTo>
                    <a:lnTo>
                      <a:pt x="1152" y="1050"/>
                    </a:lnTo>
                    <a:lnTo>
                      <a:pt x="1152" y="1052"/>
                    </a:lnTo>
                    <a:lnTo>
                      <a:pt x="1156" y="1055"/>
                    </a:lnTo>
                    <a:lnTo>
                      <a:pt x="1158" y="1059"/>
                    </a:lnTo>
                    <a:lnTo>
                      <a:pt x="1158" y="1059"/>
                    </a:lnTo>
                    <a:lnTo>
                      <a:pt x="1156" y="1059"/>
                    </a:lnTo>
                    <a:lnTo>
                      <a:pt x="1152" y="1062"/>
                    </a:lnTo>
                    <a:lnTo>
                      <a:pt x="1147" y="1062"/>
                    </a:lnTo>
                    <a:lnTo>
                      <a:pt x="1156" y="1062"/>
                    </a:lnTo>
                    <a:lnTo>
                      <a:pt x="1156" y="1062"/>
                    </a:lnTo>
                    <a:lnTo>
                      <a:pt x="1156" y="1062"/>
                    </a:lnTo>
                    <a:lnTo>
                      <a:pt x="1161" y="1059"/>
                    </a:lnTo>
                    <a:lnTo>
                      <a:pt x="1163" y="1062"/>
                    </a:lnTo>
                    <a:lnTo>
                      <a:pt x="1163" y="1062"/>
                    </a:lnTo>
                    <a:lnTo>
                      <a:pt x="1164" y="1064"/>
                    </a:lnTo>
                    <a:lnTo>
                      <a:pt x="1163" y="1066"/>
                    </a:lnTo>
                    <a:lnTo>
                      <a:pt x="1164" y="1066"/>
                    </a:lnTo>
                    <a:lnTo>
                      <a:pt x="1166" y="1067"/>
                    </a:lnTo>
                    <a:lnTo>
                      <a:pt x="1164" y="1071"/>
                    </a:lnTo>
                    <a:lnTo>
                      <a:pt x="1166" y="1071"/>
                    </a:lnTo>
                    <a:lnTo>
                      <a:pt x="1170" y="1071"/>
                    </a:lnTo>
                    <a:lnTo>
                      <a:pt x="1170" y="1071"/>
                    </a:lnTo>
                    <a:lnTo>
                      <a:pt x="1173" y="1071"/>
                    </a:lnTo>
                    <a:lnTo>
                      <a:pt x="1173" y="1074"/>
                    </a:lnTo>
                    <a:lnTo>
                      <a:pt x="1170" y="1076"/>
                    </a:lnTo>
                    <a:lnTo>
                      <a:pt x="1170" y="1078"/>
                    </a:lnTo>
                    <a:lnTo>
                      <a:pt x="1173" y="1078"/>
                    </a:lnTo>
                    <a:lnTo>
                      <a:pt x="1175" y="1072"/>
                    </a:lnTo>
                    <a:lnTo>
                      <a:pt x="1175" y="1074"/>
                    </a:lnTo>
                    <a:lnTo>
                      <a:pt x="1175" y="1076"/>
                    </a:lnTo>
                    <a:lnTo>
                      <a:pt x="1178" y="1079"/>
                    </a:lnTo>
                    <a:lnTo>
                      <a:pt x="1175" y="1081"/>
                    </a:lnTo>
                    <a:lnTo>
                      <a:pt x="1170" y="1086"/>
                    </a:lnTo>
                    <a:lnTo>
                      <a:pt x="1166" y="1090"/>
                    </a:lnTo>
                    <a:lnTo>
                      <a:pt x="1163" y="1090"/>
                    </a:lnTo>
                    <a:lnTo>
                      <a:pt x="1166" y="1090"/>
                    </a:lnTo>
                    <a:lnTo>
                      <a:pt x="1168" y="1090"/>
                    </a:lnTo>
                    <a:lnTo>
                      <a:pt x="1175" y="1085"/>
                    </a:lnTo>
                    <a:lnTo>
                      <a:pt x="1178" y="1085"/>
                    </a:lnTo>
                    <a:lnTo>
                      <a:pt x="1178" y="1086"/>
                    </a:lnTo>
                    <a:lnTo>
                      <a:pt x="1175" y="1090"/>
                    </a:lnTo>
                    <a:lnTo>
                      <a:pt x="1173" y="1093"/>
                    </a:lnTo>
                    <a:lnTo>
                      <a:pt x="1175" y="1093"/>
                    </a:lnTo>
                    <a:lnTo>
                      <a:pt x="1178" y="1086"/>
                    </a:lnTo>
                    <a:lnTo>
                      <a:pt x="1182" y="1085"/>
                    </a:lnTo>
                    <a:lnTo>
                      <a:pt x="1184" y="1085"/>
                    </a:lnTo>
                    <a:lnTo>
                      <a:pt x="1184" y="1086"/>
                    </a:lnTo>
                    <a:lnTo>
                      <a:pt x="1182" y="1086"/>
                    </a:lnTo>
                    <a:lnTo>
                      <a:pt x="1182" y="1090"/>
                    </a:lnTo>
                    <a:lnTo>
                      <a:pt x="1182" y="1090"/>
                    </a:lnTo>
                    <a:lnTo>
                      <a:pt x="1185" y="1086"/>
                    </a:lnTo>
                    <a:lnTo>
                      <a:pt x="1187" y="1090"/>
                    </a:lnTo>
                    <a:lnTo>
                      <a:pt x="1182" y="1093"/>
                    </a:lnTo>
                    <a:lnTo>
                      <a:pt x="1182" y="1095"/>
                    </a:lnTo>
                    <a:lnTo>
                      <a:pt x="1182" y="1095"/>
                    </a:lnTo>
                    <a:lnTo>
                      <a:pt x="1185" y="1093"/>
                    </a:lnTo>
                    <a:lnTo>
                      <a:pt x="1192" y="1086"/>
                    </a:lnTo>
                    <a:lnTo>
                      <a:pt x="1192" y="1086"/>
                    </a:lnTo>
                    <a:lnTo>
                      <a:pt x="1191" y="1090"/>
                    </a:lnTo>
                    <a:lnTo>
                      <a:pt x="1191" y="1090"/>
                    </a:lnTo>
                    <a:lnTo>
                      <a:pt x="1196" y="1086"/>
                    </a:lnTo>
                    <a:lnTo>
                      <a:pt x="1196" y="1090"/>
                    </a:lnTo>
                    <a:lnTo>
                      <a:pt x="1196" y="1095"/>
                    </a:lnTo>
                    <a:lnTo>
                      <a:pt x="1192" y="1095"/>
                    </a:lnTo>
                    <a:lnTo>
                      <a:pt x="1194" y="1097"/>
                    </a:lnTo>
                    <a:lnTo>
                      <a:pt x="1197" y="1097"/>
                    </a:lnTo>
                    <a:lnTo>
                      <a:pt x="1201" y="1100"/>
                    </a:lnTo>
                    <a:lnTo>
                      <a:pt x="1204" y="1097"/>
                    </a:lnTo>
                    <a:lnTo>
                      <a:pt x="1210" y="1095"/>
                    </a:lnTo>
                    <a:lnTo>
                      <a:pt x="1210" y="1095"/>
                    </a:lnTo>
                    <a:lnTo>
                      <a:pt x="1210" y="1099"/>
                    </a:lnTo>
                    <a:lnTo>
                      <a:pt x="1206" y="1099"/>
                    </a:lnTo>
                    <a:lnTo>
                      <a:pt x="1204" y="1100"/>
                    </a:lnTo>
                    <a:lnTo>
                      <a:pt x="1213" y="1104"/>
                    </a:lnTo>
                    <a:lnTo>
                      <a:pt x="1217" y="1106"/>
                    </a:lnTo>
                    <a:lnTo>
                      <a:pt x="1211" y="1107"/>
                    </a:lnTo>
                    <a:lnTo>
                      <a:pt x="1211" y="1109"/>
                    </a:lnTo>
                    <a:lnTo>
                      <a:pt x="1204" y="1109"/>
                    </a:lnTo>
                    <a:lnTo>
                      <a:pt x="1204" y="1109"/>
                    </a:lnTo>
                    <a:lnTo>
                      <a:pt x="1197" y="1109"/>
                    </a:lnTo>
                    <a:lnTo>
                      <a:pt x="1196" y="1112"/>
                    </a:lnTo>
                    <a:lnTo>
                      <a:pt x="1189" y="1112"/>
                    </a:lnTo>
                    <a:lnTo>
                      <a:pt x="1178" y="1116"/>
                    </a:lnTo>
                    <a:lnTo>
                      <a:pt x="1178" y="1118"/>
                    </a:lnTo>
                    <a:lnTo>
                      <a:pt x="1185" y="1116"/>
                    </a:lnTo>
                    <a:lnTo>
                      <a:pt x="1192" y="1112"/>
                    </a:lnTo>
                    <a:lnTo>
                      <a:pt x="1196" y="1116"/>
                    </a:lnTo>
                    <a:lnTo>
                      <a:pt x="1196" y="1118"/>
                    </a:lnTo>
                    <a:lnTo>
                      <a:pt x="1189" y="1118"/>
                    </a:lnTo>
                    <a:lnTo>
                      <a:pt x="1182" y="1118"/>
                    </a:lnTo>
                    <a:lnTo>
                      <a:pt x="1178" y="1121"/>
                    </a:lnTo>
                    <a:lnTo>
                      <a:pt x="1175" y="1123"/>
                    </a:lnTo>
                    <a:lnTo>
                      <a:pt x="1170" y="1123"/>
                    </a:lnTo>
                    <a:lnTo>
                      <a:pt x="1170" y="1126"/>
                    </a:lnTo>
                    <a:lnTo>
                      <a:pt x="1170" y="1128"/>
                    </a:lnTo>
                    <a:lnTo>
                      <a:pt x="1163" y="1125"/>
                    </a:lnTo>
                    <a:lnTo>
                      <a:pt x="1159" y="1118"/>
                    </a:lnTo>
                    <a:lnTo>
                      <a:pt x="1159" y="1121"/>
                    </a:lnTo>
                    <a:lnTo>
                      <a:pt x="1158" y="1123"/>
                    </a:lnTo>
                    <a:lnTo>
                      <a:pt x="1161" y="1123"/>
                    </a:lnTo>
                    <a:lnTo>
                      <a:pt x="1161" y="1125"/>
                    </a:lnTo>
                    <a:lnTo>
                      <a:pt x="1168" y="1132"/>
                    </a:lnTo>
                    <a:lnTo>
                      <a:pt x="1168" y="1133"/>
                    </a:lnTo>
                    <a:lnTo>
                      <a:pt x="1166" y="1132"/>
                    </a:lnTo>
                    <a:lnTo>
                      <a:pt x="1163" y="1135"/>
                    </a:lnTo>
                    <a:lnTo>
                      <a:pt x="1164" y="1137"/>
                    </a:lnTo>
                    <a:lnTo>
                      <a:pt x="1166" y="1139"/>
                    </a:lnTo>
                    <a:lnTo>
                      <a:pt x="1168" y="1137"/>
                    </a:lnTo>
                    <a:lnTo>
                      <a:pt x="1170" y="1137"/>
                    </a:lnTo>
                    <a:lnTo>
                      <a:pt x="1173" y="1130"/>
                    </a:lnTo>
                    <a:lnTo>
                      <a:pt x="1178" y="1130"/>
                    </a:lnTo>
                    <a:lnTo>
                      <a:pt x="1182" y="1126"/>
                    </a:lnTo>
                    <a:lnTo>
                      <a:pt x="1184" y="1126"/>
                    </a:lnTo>
                    <a:lnTo>
                      <a:pt x="1185" y="1123"/>
                    </a:lnTo>
                    <a:lnTo>
                      <a:pt x="1189" y="1121"/>
                    </a:lnTo>
                    <a:lnTo>
                      <a:pt x="1192" y="1121"/>
                    </a:lnTo>
                    <a:lnTo>
                      <a:pt x="1197" y="1118"/>
                    </a:lnTo>
                    <a:lnTo>
                      <a:pt x="1201" y="1118"/>
                    </a:lnTo>
                    <a:lnTo>
                      <a:pt x="1204" y="1118"/>
                    </a:lnTo>
                    <a:lnTo>
                      <a:pt x="1204" y="1118"/>
                    </a:lnTo>
                    <a:lnTo>
                      <a:pt x="1201" y="1118"/>
                    </a:lnTo>
                    <a:lnTo>
                      <a:pt x="1197" y="1116"/>
                    </a:lnTo>
                    <a:lnTo>
                      <a:pt x="1201" y="1116"/>
                    </a:lnTo>
                    <a:lnTo>
                      <a:pt x="1210" y="1112"/>
                    </a:lnTo>
                    <a:lnTo>
                      <a:pt x="1215" y="1116"/>
                    </a:lnTo>
                    <a:lnTo>
                      <a:pt x="1217" y="1121"/>
                    </a:lnTo>
                    <a:lnTo>
                      <a:pt x="1217" y="1123"/>
                    </a:lnTo>
                    <a:lnTo>
                      <a:pt x="1213" y="1126"/>
                    </a:lnTo>
                    <a:lnTo>
                      <a:pt x="1210" y="1126"/>
                    </a:lnTo>
                    <a:lnTo>
                      <a:pt x="1210" y="1130"/>
                    </a:lnTo>
                    <a:lnTo>
                      <a:pt x="1213" y="1130"/>
                    </a:lnTo>
                    <a:lnTo>
                      <a:pt x="1213" y="1133"/>
                    </a:lnTo>
                    <a:lnTo>
                      <a:pt x="1215" y="1132"/>
                    </a:lnTo>
                    <a:lnTo>
                      <a:pt x="1217" y="1128"/>
                    </a:lnTo>
                    <a:lnTo>
                      <a:pt x="1220" y="1125"/>
                    </a:lnTo>
                    <a:lnTo>
                      <a:pt x="1224" y="1125"/>
                    </a:lnTo>
                    <a:lnTo>
                      <a:pt x="1227" y="1126"/>
                    </a:lnTo>
                    <a:lnTo>
                      <a:pt x="1224" y="1128"/>
                    </a:lnTo>
                    <a:lnTo>
                      <a:pt x="1224" y="1130"/>
                    </a:lnTo>
                    <a:lnTo>
                      <a:pt x="1229" y="1130"/>
                    </a:lnTo>
                    <a:lnTo>
                      <a:pt x="1232" y="1132"/>
                    </a:lnTo>
                    <a:lnTo>
                      <a:pt x="1234" y="1133"/>
                    </a:lnTo>
                    <a:lnTo>
                      <a:pt x="1232" y="1132"/>
                    </a:lnTo>
                    <a:lnTo>
                      <a:pt x="1229" y="1133"/>
                    </a:lnTo>
                    <a:lnTo>
                      <a:pt x="1229" y="1137"/>
                    </a:lnTo>
                    <a:lnTo>
                      <a:pt x="1234" y="1139"/>
                    </a:lnTo>
                    <a:lnTo>
                      <a:pt x="1236" y="1140"/>
                    </a:lnTo>
                    <a:lnTo>
                      <a:pt x="1232" y="1144"/>
                    </a:lnTo>
                    <a:lnTo>
                      <a:pt x="1229" y="1140"/>
                    </a:lnTo>
                    <a:lnTo>
                      <a:pt x="1229" y="1144"/>
                    </a:lnTo>
                    <a:lnTo>
                      <a:pt x="1232" y="1146"/>
                    </a:lnTo>
                    <a:lnTo>
                      <a:pt x="1232" y="1149"/>
                    </a:lnTo>
                    <a:lnTo>
                      <a:pt x="1229" y="1149"/>
                    </a:lnTo>
                    <a:lnTo>
                      <a:pt x="1229" y="1152"/>
                    </a:lnTo>
                    <a:lnTo>
                      <a:pt x="1224" y="1154"/>
                    </a:lnTo>
                    <a:lnTo>
                      <a:pt x="1220" y="1151"/>
                    </a:lnTo>
                    <a:lnTo>
                      <a:pt x="1224" y="1154"/>
                    </a:lnTo>
                    <a:lnTo>
                      <a:pt x="1229" y="1156"/>
                    </a:lnTo>
                    <a:lnTo>
                      <a:pt x="1232" y="1156"/>
                    </a:lnTo>
                    <a:lnTo>
                      <a:pt x="1232" y="1159"/>
                    </a:lnTo>
                    <a:lnTo>
                      <a:pt x="1229" y="1159"/>
                    </a:lnTo>
                    <a:lnTo>
                      <a:pt x="1229" y="1159"/>
                    </a:lnTo>
                    <a:lnTo>
                      <a:pt x="1227" y="1159"/>
                    </a:lnTo>
                    <a:lnTo>
                      <a:pt x="1229" y="1161"/>
                    </a:lnTo>
                    <a:lnTo>
                      <a:pt x="1232" y="1161"/>
                    </a:lnTo>
                    <a:lnTo>
                      <a:pt x="1232" y="1161"/>
                    </a:lnTo>
                    <a:lnTo>
                      <a:pt x="1232" y="1165"/>
                    </a:lnTo>
                    <a:lnTo>
                      <a:pt x="1232" y="1168"/>
                    </a:lnTo>
                    <a:lnTo>
                      <a:pt x="1229" y="1168"/>
                    </a:lnTo>
                    <a:lnTo>
                      <a:pt x="1227" y="1172"/>
                    </a:lnTo>
                    <a:lnTo>
                      <a:pt x="1224" y="1173"/>
                    </a:lnTo>
                    <a:lnTo>
                      <a:pt x="1218" y="1173"/>
                    </a:lnTo>
                    <a:lnTo>
                      <a:pt x="1215" y="1177"/>
                    </a:lnTo>
                    <a:lnTo>
                      <a:pt x="1213" y="1177"/>
                    </a:lnTo>
                    <a:lnTo>
                      <a:pt x="1211" y="1180"/>
                    </a:lnTo>
                    <a:lnTo>
                      <a:pt x="1210" y="1180"/>
                    </a:lnTo>
                    <a:lnTo>
                      <a:pt x="1210" y="1182"/>
                    </a:lnTo>
                    <a:lnTo>
                      <a:pt x="1204" y="1182"/>
                    </a:lnTo>
                    <a:lnTo>
                      <a:pt x="1204" y="1180"/>
                    </a:lnTo>
                    <a:lnTo>
                      <a:pt x="1201" y="1182"/>
                    </a:lnTo>
                    <a:lnTo>
                      <a:pt x="1197" y="1182"/>
                    </a:lnTo>
                    <a:lnTo>
                      <a:pt x="1197" y="1180"/>
                    </a:lnTo>
                    <a:lnTo>
                      <a:pt x="1194" y="1182"/>
                    </a:lnTo>
                    <a:lnTo>
                      <a:pt x="1191" y="1182"/>
                    </a:lnTo>
                    <a:lnTo>
                      <a:pt x="1189" y="1180"/>
                    </a:lnTo>
                    <a:lnTo>
                      <a:pt x="1187" y="1180"/>
                    </a:lnTo>
                    <a:lnTo>
                      <a:pt x="1187" y="1182"/>
                    </a:lnTo>
                    <a:lnTo>
                      <a:pt x="1185" y="1184"/>
                    </a:lnTo>
                    <a:lnTo>
                      <a:pt x="1182" y="1184"/>
                    </a:lnTo>
                    <a:lnTo>
                      <a:pt x="1182" y="1186"/>
                    </a:lnTo>
                    <a:lnTo>
                      <a:pt x="1182" y="1186"/>
                    </a:lnTo>
                    <a:lnTo>
                      <a:pt x="1182" y="1187"/>
                    </a:lnTo>
                    <a:lnTo>
                      <a:pt x="1178" y="1191"/>
                    </a:lnTo>
                    <a:lnTo>
                      <a:pt x="1175" y="1189"/>
                    </a:lnTo>
                    <a:lnTo>
                      <a:pt x="1175" y="1191"/>
                    </a:lnTo>
                    <a:lnTo>
                      <a:pt x="1175" y="1196"/>
                    </a:lnTo>
                    <a:lnTo>
                      <a:pt x="1170" y="1196"/>
                    </a:lnTo>
                    <a:lnTo>
                      <a:pt x="1170" y="1199"/>
                    </a:lnTo>
                    <a:lnTo>
                      <a:pt x="1168" y="1199"/>
                    </a:lnTo>
                    <a:lnTo>
                      <a:pt x="1166" y="1203"/>
                    </a:lnTo>
                    <a:lnTo>
                      <a:pt x="1164" y="1203"/>
                    </a:lnTo>
                    <a:lnTo>
                      <a:pt x="1161" y="1203"/>
                    </a:lnTo>
                    <a:lnTo>
                      <a:pt x="1158" y="1203"/>
                    </a:lnTo>
                    <a:lnTo>
                      <a:pt x="1158" y="1205"/>
                    </a:lnTo>
                    <a:lnTo>
                      <a:pt x="1156" y="1206"/>
                    </a:lnTo>
                    <a:lnTo>
                      <a:pt x="1152" y="1205"/>
                    </a:lnTo>
                    <a:lnTo>
                      <a:pt x="1147" y="1205"/>
                    </a:lnTo>
                    <a:lnTo>
                      <a:pt x="1145" y="1205"/>
                    </a:lnTo>
                    <a:lnTo>
                      <a:pt x="1142" y="1205"/>
                    </a:lnTo>
                    <a:lnTo>
                      <a:pt x="1140" y="1205"/>
                    </a:lnTo>
                    <a:lnTo>
                      <a:pt x="1131" y="1208"/>
                    </a:lnTo>
                    <a:lnTo>
                      <a:pt x="1128" y="1206"/>
                    </a:lnTo>
                    <a:lnTo>
                      <a:pt x="1130" y="1205"/>
                    </a:lnTo>
                    <a:lnTo>
                      <a:pt x="1128" y="1205"/>
                    </a:lnTo>
                    <a:lnTo>
                      <a:pt x="1124" y="1206"/>
                    </a:lnTo>
                    <a:lnTo>
                      <a:pt x="1123" y="1206"/>
                    </a:lnTo>
                    <a:lnTo>
                      <a:pt x="1118" y="1203"/>
                    </a:lnTo>
                    <a:lnTo>
                      <a:pt x="1116" y="1205"/>
                    </a:lnTo>
                    <a:lnTo>
                      <a:pt x="1111" y="1203"/>
                    </a:lnTo>
                    <a:lnTo>
                      <a:pt x="1109" y="1203"/>
                    </a:lnTo>
                    <a:lnTo>
                      <a:pt x="1107" y="1203"/>
                    </a:lnTo>
                    <a:lnTo>
                      <a:pt x="1105" y="1203"/>
                    </a:lnTo>
                    <a:lnTo>
                      <a:pt x="1100" y="1203"/>
                    </a:lnTo>
                    <a:lnTo>
                      <a:pt x="1097" y="1199"/>
                    </a:lnTo>
                    <a:lnTo>
                      <a:pt x="1093" y="1203"/>
                    </a:lnTo>
                    <a:lnTo>
                      <a:pt x="1090" y="1203"/>
                    </a:lnTo>
                    <a:lnTo>
                      <a:pt x="1086" y="1199"/>
                    </a:lnTo>
                    <a:lnTo>
                      <a:pt x="1083" y="1203"/>
                    </a:lnTo>
                    <a:lnTo>
                      <a:pt x="1083" y="1203"/>
                    </a:lnTo>
                    <a:lnTo>
                      <a:pt x="1078" y="1203"/>
                    </a:lnTo>
                    <a:lnTo>
                      <a:pt x="1074" y="1199"/>
                    </a:lnTo>
                    <a:lnTo>
                      <a:pt x="1067" y="1203"/>
                    </a:lnTo>
                    <a:lnTo>
                      <a:pt x="1062" y="1199"/>
                    </a:lnTo>
                    <a:lnTo>
                      <a:pt x="1060" y="1196"/>
                    </a:lnTo>
                    <a:lnTo>
                      <a:pt x="1057" y="1199"/>
                    </a:lnTo>
                    <a:lnTo>
                      <a:pt x="1055" y="1199"/>
                    </a:lnTo>
                    <a:lnTo>
                      <a:pt x="1057" y="1203"/>
                    </a:lnTo>
                    <a:lnTo>
                      <a:pt x="1055" y="1203"/>
                    </a:lnTo>
                    <a:lnTo>
                      <a:pt x="1052" y="1203"/>
                    </a:lnTo>
                    <a:lnTo>
                      <a:pt x="1046" y="1210"/>
                    </a:lnTo>
                    <a:lnTo>
                      <a:pt x="1043" y="1212"/>
                    </a:lnTo>
                    <a:lnTo>
                      <a:pt x="1043" y="1213"/>
                    </a:lnTo>
                    <a:lnTo>
                      <a:pt x="1041" y="1217"/>
                    </a:lnTo>
                    <a:lnTo>
                      <a:pt x="1041" y="1220"/>
                    </a:lnTo>
                    <a:lnTo>
                      <a:pt x="1038" y="1222"/>
                    </a:lnTo>
                    <a:lnTo>
                      <a:pt x="1032" y="1222"/>
                    </a:lnTo>
                    <a:lnTo>
                      <a:pt x="1029" y="1226"/>
                    </a:lnTo>
                    <a:lnTo>
                      <a:pt x="1024" y="1226"/>
                    </a:lnTo>
                    <a:lnTo>
                      <a:pt x="1020" y="1227"/>
                    </a:lnTo>
                    <a:lnTo>
                      <a:pt x="1020" y="1231"/>
                    </a:lnTo>
                    <a:lnTo>
                      <a:pt x="1018" y="1227"/>
                    </a:lnTo>
                    <a:lnTo>
                      <a:pt x="1015" y="1231"/>
                    </a:lnTo>
                    <a:lnTo>
                      <a:pt x="1015" y="1232"/>
                    </a:lnTo>
                    <a:lnTo>
                      <a:pt x="1012" y="1232"/>
                    </a:lnTo>
                    <a:lnTo>
                      <a:pt x="1006" y="1236"/>
                    </a:lnTo>
                    <a:lnTo>
                      <a:pt x="1006" y="1238"/>
                    </a:lnTo>
                    <a:lnTo>
                      <a:pt x="1005" y="1238"/>
                    </a:lnTo>
                    <a:lnTo>
                      <a:pt x="1001" y="1245"/>
                    </a:lnTo>
                    <a:lnTo>
                      <a:pt x="994" y="1248"/>
                    </a:lnTo>
                    <a:lnTo>
                      <a:pt x="992" y="1255"/>
                    </a:lnTo>
                    <a:lnTo>
                      <a:pt x="987" y="1255"/>
                    </a:lnTo>
                    <a:lnTo>
                      <a:pt x="984" y="1260"/>
                    </a:lnTo>
                    <a:lnTo>
                      <a:pt x="980" y="1260"/>
                    </a:lnTo>
                    <a:lnTo>
                      <a:pt x="979" y="1266"/>
                    </a:lnTo>
                    <a:lnTo>
                      <a:pt x="979" y="1269"/>
                    </a:lnTo>
                    <a:lnTo>
                      <a:pt x="970" y="1274"/>
                    </a:lnTo>
                    <a:lnTo>
                      <a:pt x="968" y="1278"/>
                    </a:lnTo>
                    <a:lnTo>
                      <a:pt x="959" y="1281"/>
                    </a:lnTo>
                    <a:lnTo>
                      <a:pt x="954" y="1281"/>
                    </a:lnTo>
                    <a:lnTo>
                      <a:pt x="958" y="1281"/>
                    </a:lnTo>
                    <a:lnTo>
                      <a:pt x="968" y="1278"/>
                    </a:lnTo>
                    <a:lnTo>
                      <a:pt x="975" y="1274"/>
                    </a:lnTo>
                    <a:lnTo>
                      <a:pt x="980" y="1271"/>
                    </a:lnTo>
                    <a:lnTo>
                      <a:pt x="985" y="1266"/>
                    </a:lnTo>
                    <a:lnTo>
                      <a:pt x="989" y="1260"/>
                    </a:lnTo>
                    <a:lnTo>
                      <a:pt x="992" y="1259"/>
                    </a:lnTo>
                    <a:lnTo>
                      <a:pt x="1001" y="1250"/>
                    </a:lnTo>
                    <a:lnTo>
                      <a:pt x="1012" y="1245"/>
                    </a:lnTo>
                    <a:lnTo>
                      <a:pt x="1020" y="1238"/>
                    </a:lnTo>
                    <a:lnTo>
                      <a:pt x="1024" y="1238"/>
                    </a:lnTo>
                    <a:lnTo>
                      <a:pt x="1029" y="1236"/>
                    </a:lnTo>
                    <a:lnTo>
                      <a:pt x="1038" y="1234"/>
                    </a:lnTo>
                    <a:lnTo>
                      <a:pt x="1048" y="1231"/>
                    </a:lnTo>
                    <a:lnTo>
                      <a:pt x="1052" y="1231"/>
                    </a:lnTo>
                    <a:lnTo>
                      <a:pt x="1055" y="1227"/>
                    </a:lnTo>
                    <a:lnTo>
                      <a:pt x="1067" y="1227"/>
                    </a:lnTo>
                    <a:lnTo>
                      <a:pt x="1071" y="1231"/>
                    </a:lnTo>
                    <a:lnTo>
                      <a:pt x="1079" y="1234"/>
                    </a:lnTo>
                    <a:lnTo>
                      <a:pt x="1079" y="1236"/>
                    </a:lnTo>
                    <a:lnTo>
                      <a:pt x="1074" y="1236"/>
                    </a:lnTo>
                    <a:lnTo>
                      <a:pt x="1074" y="1236"/>
                    </a:lnTo>
                    <a:lnTo>
                      <a:pt x="1074" y="1238"/>
                    </a:lnTo>
                    <a:lnTo>
                      <a:pt x="1078" y="1238"/>
                    </a:lnTo>
                    <a:lnTo>
                      <a:pt x="1079" y="1238"/>
                    </a:lnTo>
                    <a:lnTo>
                      <a:pt x="1083" y="1241"/>
                    </a:lnTo>
                    <a:lnTo>
                      <a:pt x="1079" y="1241"/>
                    </a:lnTo>
                    <a:lnTo>
                      <a:pt x="1083" y="1243"/>
                    </a:lnTo>
                    <a:lnTo>
                      <a:pt x="1078" y="1250"/>
                    </a:lnTo>
                    <a:lnTo>
                      <a:pt x="1074" y="1250"/>
                    </a:lnTo>
                    <a:lnTo>
                      <a:pt x="1071" y="1253"/>
                    </a:lnTo>
                    <a:lnTo>
                      <a:pt x="1069" y="1253"/>
                    </a:lnTo>
                    <a:lnTo>
                      <a:pt x="1064" y="1255"/>
                    </a:lnTo>
                    <a:lnTo>
                      <a:pt x="1060" y="1255"/>
                    </a:lnTo>
                    <a:lnTo>
                      <a:pt x="1057" y="1255"/>
                    </a:lnTo>
                    <a:lnTo>
                      <a:pt x="1055" y="1253"/>
                    </a:lnTo>
                    <a:lnTo>
                      <a:pt x="1052" y="1255"/>
                    </a:lnTo>
                    <a:lnTo>
                      <a:pt x="1048" y="1255"/>
                    </a:lnTo>
                    <a:lnTo>
                      <a:pt x="1043" y="1255"/>
                    </a:lnTo>
                    <a:lnTo>
                      <a:pt x="1039" y="1255"/>
                    </a:lnTo>
                    <a:lnTo>
                      <a:pt x="1043" y="1255"/>
                    </a:lnTo>
                    <a:lnTo>
                      <a:pt x="1048" y="1255"/>
                    </a:lnTo>
                    <a:lnTo>
                      <a:pt x="1055" y="1259"/>
                    </a:lnTo>
                    <a:lnTo>
                      <a:pt x="1057" y="1260"/>
                    </a:lnTo>
                    <a:lnTo>
                      <a:pt x="1058" y="1262"/>
                    </a:lnTo>
                    <a:lnTo>
                      <a:pt x="1062" y="1260"/>
                    </a:lnTo>
                    <a:lnTo>
                      <a:pt x="1065" y="1259"/>
                    </a:lnTo>
                    <a:lnTo>
                      <a:pt x="1069" y="1259"/>
                    </a:lnTo>
                    <a:lnTo>
                      <a:pt x="1071" y="1260"/>
                    </a:lnTo>
                    <a:lnTo>
                      <a:pt x="1071" y="1260"/>
                    </a:lnTo>
                    <a:lnTo>
                      <a:pt x="1074" y="1262"/>
                    </a:lnTo>
                    <a:lnTo>
                      <a:pt x="1071" y="1266"/>
                    </a:lnTo>
                    <a:lnTo>
                      <a:pt x="1065" y="1274"/>
                    </a:lnTo>
                    <a:lnTo>
                      <a:pt x="1064" y="1274"/>
                    </a:lnTo>
                    <a:lnTo>
                      <a:pt x="1060" y="1278"/>
                    </a:lnTo>
                    <a:lnTo>
                      <a:pt x="1067" y="1278"/>
                    </a:lnTo>
                    <a:lnTo>
                      <a:pt x="1067" y="1278"/>
                    </a:lnTo>
                    <a:lnTo>
                      <a:pt x="1065" y="1281"/>
                    </a:lnTo>
                    <a:lnTo>
                      <a:pt x="1067" y="1283"/>
                    </a:lnTo>
                    <a:lnTo>
                      <a:pt x="1067" y="1286"/>
                    </a:lnTo>
                    <a:lnTo>
                      <a:pt x="1067" y="1292"/>
                    </a:lnTo>
                    <a:lnTo>
                      <a:pt x="1069" y="1292"/>
                    </a:lnTo>
                    <a:lnTo>
                      <a:pt x="1071" y="1297"/>
                    </a:lnTo>
                    <a:lnTo>
                      <a:pt x="1074" y="1297"/>
                    </a:lnTo>
                    <a:lnTo>
                      <a:pt x="1074" y="1299"/>
                    </a:lnTo>
                    <a:lnTo>
                      <a:pt x="1079" y="1299"/>
                    </a:lnTo>
                    <a:lnTo>
                      <a:pt x="1079" y="1302"/>
                    </a:lnTo>
                    <a:lnTo>
                      <a:pt x="1078" y="1302"/>
                    </a:lnTo>
                    <a:lnTo>
                      <a:pt x="1079" y="1305"/>
                    </a:lnTo>
                    <a:lnTo>
                      <a:pt x="1086" y="1305"/>
                    </a:lnTo>
                    <a:lnTo>
                      <a:pt x="1090" y="1307"/>
                    </a:lnTo>
                    <a:lnTo>
                      <a:pt x="1091" y="1307"/>
                    </a:lnTo>
                    <a:lnTo>
                      <a:pt x="1093" y="1309"/>
                    </a:lnTo>
                    <a:lnTo>
                      <a:pt x="1097" y="1309"/>
                    </a:lnTo>
                    <a:lnTo>
                      <a:pt x="1102" y="1309"/>
                    </a:lnTo>
                    <a:lnTo>
                      <a:pt x="1102" y="1309"/>
                    </a:lnTo>
                    <a:lnTo>
                      <a:pt x="1107" y="1305"/>
                    </a:lnTo>
                    <a:lnTo>
                      <a:pt x="1109" y="1309"/>
                    </a:lnTo>
                    <a:lnTo>
                      <a:pt x="1107" y="1309"/>
                    </a:lnTo>
                    <a:lnTo>
                      <a:pt x="1112" y="1309"/>
                    </a:lnTo>
                    <a:lnTo>
                      <a:pt x="1118" y="1312"/>
                    </a:lnTo>
                    <a:lnTo>
                      <a:pt x="1118" y="1314"/>
                    </a:lnTo>
                    <a:lnTo>
                      <a:pt x="1116" y="1314"/>
                    </a:lnTo>
                    <a:lnTo>
                      <a:pt x="1114" y="1318"/>
                    </a:lnTo>
                    <a:lnTo>
                      <a:pt x="1118" y="1318"/>
                    </a:lnTo>
                    <a:lnTo>
                      <a:pt x="1121" y="1318"/>
                    </a:lnTo>
                    <a:lnTo>
                      <a:pt x="1123" y="1319"/>
                    </a:lnTo>
                    <a:lnTo>
                      <a:pt x="1119" y="1321"/>
                    </a:lnTo>
                    <a:lnTo>
                      <a:pt x="1118" y="1319"/>
                    </a:lnTo>
                    <a:lnTo>
                      <a:pt x="1114" y="1319"/>
                    </a:lnTo>
                    <a:lnTo>
                      <a:pt x="1109" y="1321"/>
                    </a:lnTo>
                    <a:lnTo>
                      <a:pt x="1102" y="1326"/>
                    </a:lnTo>
                    <a:lnTo>
                      <a:pt x="1097" y="1326"/>
                    </a:lnTo>
                    <a:lnTo>
                      <a:pt x="1093" y="1328"/>
                    </a:lnTo>
                    <a:lnTo>
                      <a:pt x="1086" y="1330"/>
                    </a:lnTo>
                    <a:lnTo>
                      <a:pt x="1083" y="1332"/>
                    </a:lnTo>
                    <a:lnTo>
                      <a:pt x="1078" y="1332"/>
                    </a:lnTo>
                    <a:lnTo>
                      <a:pt x="1079" y="1333"/>
                    </a:lnTo>
                    <a:lnTo>
                      <a:pt x="1074" y="1333"/>
                    </a:lnTo>
                    <a:lnTo>
                      <a:pt x="1074" y="1330"/>
                    </a:lnTo>
                    <a:lnTo>
                      <a:pt x="1071" y="1330"/>
                    </a:lnTo>
                    <a:lnTo>
                      <a:pt x="1071" y="1332"/>
                    </a:lnTo>
                    <a:lnTo>
                      <a:pt x="1069" y="1332"/>
                    </a:lnTo>
                    <a:lnTo>
                      <a:pt x="1067" y="1335"/>
                    </a:lnTo>
                    <a:lnTo>
                      <a:pt x="1067" y="1337"/>
                    </a:lnTo>
                    <a:lnTo>
                      <a:pt x="1062" y="1340"/>
                    </a:lnTo>
                    <a:lnTo>
                      <a:pt x="1057" y="1345"/>
                    </a:lnTo>
                    <a:lnTo>
                      <a:pt x="1055" y="1347"/>
                    </a:lnTo>
                    <a:lnTo>
                      <a:pt x="1052" y="1351"/>
                    </a:lnTo>
                    <a:lnTo>
                      <a:pt x="1048" y="1351"/>
                    </a:lnTo>
                    <a:lnTo>
                      <a:pt x="1048" y="1351"/>
                    </a:lnTo>
                    <a:lnTo>
                      <a:pt x="1048" y="1354"/>
                    </a:lnTo>
                    <a:lnTo>
                      <a:pt x="1046" y="1356"/>
                    </a:lnTo>
                    <a:lnTo>
                      <a:pt x="1043" y="1354"/>
                    </a:lnTo>
                    <a:lnTo>
                      <a:pt x="1043" y="1356"/>
                    </a:lnTo>
                    <a:lnTo>
                      <a:pt x="1039" y="1352"/>
                    </a:lnTo>
                    <a:lnTo>
                      <a:pt x="1039" y="1349"/>
                    </a:lnTo>
                    <a:lnTo>
                      <a:pt x="1038" y="1347"/>
                    </a:lnTo>
                    <a:lnTo>
                      <a:pt x="1036" y="1349"/>
                    </a:lnTo>
                    <a:lnTo>
                      <a:pt x="1034" y="1345"/>
                    </a:lnTo>
                    <a:lnTo>
                      <a:pt x="1034" y="1342"/>
                    </a:lnTo>
                    <a:lnTo>
                      <a:pt x="1034" y="1340"/>
                    </a:lnTo>
                    <a:lnTo>
                      <a:pt x="1036" y="1333"/>
                    </a:lnTo>
                    <a:lnTo>
                      <a:pt x="1041" y="1330"/>
                    </a:lnTo>
                    <a:lnTo>
                      <a:pt x="1041" y="1328"/>
                    </a:lnTo>
                    <a:lnTo>
                      <a:pt x="1048" y="1323"/>
                    </a:lnTo>
                    <a:lnTo>
                      <a:pt x="1055" y="1321"/>
                    </a:lnTo>
                    <a:lnTo>
                      <a:pt x="1060" y="1318"/>
                    </a:lnTo>
                    <a:lnTo>
                      <a:pt x="1065" y="1318"/>
                    </a:lnTo>
                    <a:lnTo>
                      <a:pt x="1069" y="1318"/>
                    </a:lnTo>
                    <a:lnTo>
                      <a:pt x="1069" y="1319"/>
                    </a:lnTo>
                    <a:lnTo>
                      <a:pt x="1071" y="1321"/>
                    </a:lnTo>
                    <a:lnTo>
                      <a:pt x="1071" y="1319"/>
                    </a:lnTo>
                    <a:lnTo>
                      <a:pt x="1071" y="1318"/>
                    </a:lnTo>
                    <a:lnTo>
                      <a:pt x="1074" y="1318"/>
                    </a:lnTo>
                    <a:lnTo>
                      <a:pt x="1078" y="1318"/>
                    </a:lnTo>
                    <a:lnTo>
                      <a:pt x="1083" y="1314"/>
                    </a:lnTo>
                    <a:lnTo>
                      <a:pt x="1078" y="1318"/>
                    </a:lnTo>
                    <a:lnTo>
                      <a:pt x="1071" y="1314"/>
                    </a:lnTo>
                    <a:lnTo>
                      <a:pt x="1069" y="1312"/>
                    </a:lnTo>
                    <a:lnTo>
                      <a:pt x="1065" y="1312"/>
                    </a:lnTo>
                    <a:lnTo>
                      <a:pt x="1062" y="1318"/>
                    </a:lnTo>
                    <a:lnTo>
                      <a:pt x="1058" y="1314"/>
                    </a:lnTo>
                    <a:lnTo>
                      <a:pt x="1062" y="1312"/>
                    </a:lnTo>
                    <a:lnTo>
                      <a:pt x="1065" y="1309"/>
                    </a:lnTo>
                    <a:lnTo>
                      <a:pt x="1069" y="1307"/>
                    </a:lnTo>
                    <a:lnTo>
                      <a:pt x="1069" y="1305"/>
                    </a:lnTo>
                    <a:lnTo>
                      <a:pt x="1067" y="1307"/>
                    </a:lnTo>
                    <a:lnTo>
                      <a:pt x="1067" y="1304"/>
                    </a:lnTo>
                    <a:lnTo>
                      <a:pt x="1062" y="1309"/>
                    </a:lnTo>
                    <a:lnTo>
                      <a:pt x="1060" y="1309"/>
                    </a:lnTo>
                    <a:lnTo>
                      <a:pt x="1055" y="1312"/>
                    </a:lnTo>
                    <a:lnTo>
                      <a:pt x="1052" y="1312"/>
                    </a:lnTo>
                    <a:lnTo>
                      <a:pt x="1052" y="1318"/>
                    </a:lnTo>
                    <a:lnTo>
                      <a:pt x="1043" y="1318"/>
                    </a:lnTo>
                    <a:lnTo>
                      <a:pt x="1043" y="1318"/>
                    </a:lnTo>
                    <a:lnTo>
                      <a:pt x="1043" y="1314"/>
                    </a:lnTo>
                    <a:lnTo>
                      <a:pt x="1041" y="1314"/>
                    </a:lnTo>
                    <a:lnTo>
                      <a:pt x="1043" y="1312"/>
                    </a:lnTo>
                    <a:lnTo>
                      <a:pt x="1041" y="1314"/>
                    </a:lnTo>
                    <a:lnTo>
                      <a:pt x="1039" y="1318"/>
                    </a:lnTo>
                    <a:lnTo>
                      <a:pt x="1034" y="1319"/>
                    </a:lnTo>
                    <a:lnTo>
                      <a:pt x="1032" y="1318"/>
                    </a:lnTo>
                    <a:lnTo>
                      <a:pt x="1032" y="1319"/>
                    </a:lnTo>
                    <a:lnTo>
                      <a:pt x="1029" y="1319"/>
                    </a:lnTo>
                    <a:lnTo>
                      <a:pt x="1029" y="1318"/>
                    </a:lnTo>
                    <a:lnTo>
                      <a:pt x="1024" y="1318"/>
                    </a:lnTo>
                    <a:lnTo>
                      <a:pt x="1020" y="1318"/>
                    </a:lnTo>
                    <a:lnTo>
                      <a:pt x="1018" y="1318"/>
                    </a:lnTo>
                    <a:lnTo>
                      <a:pt x="1018" y="1314"/>
                    </a:lnTo>
                    <a:lnTo>
                      <a:pt x="1020" y="1312"/>
                    </a:lnTo>
                    <a:lnTo>
                      <a:pt x="1018" y="1312"/>
                    </a:lnTo>
                    <a:lnTo>
                      <a:pt x="1020" y="1309"/>
                    </a:lnTo>
                    <a:lnTo>
                      <a:pt x="1020" y="1309"/>
                    </a:lnTo>
                    <a:lnTo>
                      <a:pt x="1018" y="1307"/>
                    </a:lnTo>
                    <a:lnTo>
                      <a:pt x="1017" y="1304"/>
                    </a:lnTo>
                    <a:lnTo>
                      <a:pt x="1015" y="1304"/>
                    </a:lnTo>
                    <a:lnTo>
                      <a:pt x="1017" y="1302"/>
                    </a:lnTo>
                    <a:lnTo>
                      <a:pt x="1020" y="1278"/>
                    </a:lnTo>
                    <a:lnTo>
                      <a:pt x="1020" y="1274"/>
                    </a:lnTo>
                    <a:lnTo>
                      <a:pt x="1013" y="1267"/>
                    </a:lnTo>
                    <a:lnTo>
                      <a:pt x="1012" y="1269"/>
                    </a:lnTo>
                    <a:lnTo>
                      <a:pt x="1006" y="1267"/>
                    </a:lnTo>
                    <a:lnTo>
                      <a:pt x="1003" y="1269"/>
                    </a:lnTo>
                    <a:lnTo>
                      <a:pt x="1001" y="1266"/>
                    </a:lnTo>
                    <a:lnTo>
                      <a:pt x="998" y="1266"/>
                    </a:lnTo>
                    <a:lnTo>
                      <a:pt x="998" y="1266"/>
                    </a:lnTo>
                    <a:lnTo>
                      <a:pt x="996" y="1267"/>
                    </a:lnTo>
                    <a:lnTo>
                      <a:pt x="994" y="1271"/>
                    </a:lnTo>
                    <a:lnTo>
                      <a:pt x="987" y="1278"/>
                    </a:lnTo>
                    <a:lnTo>
                      <a:pt x="984" y="1281"/>
                    </a:lnTo>
                    <a:lnTo>
                      <a:pt x="984" y="1283"/>
                    </a:lnTo>
                    <a:lnTo>
                      <a:pt x="980" y="1286"/>
                    </a:lnTo>
                    <a:lnTo>
                      <a:pt x="979" y="1290"/>
                    </a:lnTo>
                    <a:lnTo>
                      <a:pt x="979" y="1293"/>
                    </a:lnTo>
                    <a:lnTo>
                      <a:pt x="975" y="1300"/>
                    </a:lnTo>
                    <a:lnTo>
                      <a:pt x="970" y="1300"/>
                    </a:lnTo>
                    <a:lnTo>
                      <a:pt x="966" y="1307"/>
                    </a:lnTo>
                    <a:lnTo>
                      <a:pt x="966" y="1309"/>
                    </a:lnTo>
                    <a:lnTo>
                      <a:pt x="963" y="1309"/>
                    </a:lnTo>
                    <a:lnTo>
                      <a:pt x="959" y="1309"/>
                    </a:lnTo>
                    <a:lnTo>
                      <a:pt x="958" y="1309"/>
                    </a:lnTo>
                    <a:lnTo>
                      <a:pt x="956" y="1312"/>
                    </a:lnTo>
                    <a:lnTo>
                      <a:pt x="954" y="1312"/>
                    </a:lnTo>
                    <a:lnTo>
                      <a:pt x="951" y="1314"/>
                    </a:lnTo>
                    <a:lnTo>
                      <a:pt x="900" y="1312"/>
                    </a:lnTo>
                    <a:lnTo>
                      <a:pt x="897" y="1314"/>
                    </a:lnTo>
                    <a:lnTo>
                      <a:pt x="893" y="1318"/>
                    </a:lnTo>
                    <a:lnTo>
                      <a:pt x="888" y="1319"/>
                    </a:lnTo>
                    <a:lnTo>
                      <a:pt x="885" y="1323"/>
                    </a:lnTo>
                    <a:lnTo>
                      <a:pt x="878" y="1330"/>
                    </a:lnTo>
                    <a:lnTo>
                      <a:pt x="874" y="1330"/>
                    </a:lnTo>
                    <a:lnTo>
                      <a:pt x="871" y="1333"/>
                    </a:lnTo>
                    <a:lnTo>
                      <a:pt x="855" y="1342"/>
                    </a:lnTo>
                    <a:lnTo>
                      <a:pt x="824" y="1352"/>
                    </a:lnTo>
                    <a:lnTo>
                      <a:pt x="820" y="1359"/>
                    </a:lnTo>
                    <a:lnTo>
                      <a:pt x="815" y="1365"/>
                    </a:lnTo>
                    <a:lnTo>
                      <a:pt x="756" y="1380"/>
                    </a:lnTo>
                    <a:lnTo>
                      <a:pt x="753" y="1373"/>
                    </a:lnTo>
                    <a:lnTo>
                      <a:pt x="756" y="1370"/>
                    </a:lnTo>
                    <a:lnTo>
                      <a:pt x="763" y="1368"/>
                    </a:lnTo>
                    <a:lnTo>
                      <a:pt x="767" y="1365"/>
                    </a:lnTo>
                    <a:lnTo>
                      <a:pt x="767" y="1359"/>
                    </a:lnTo>
                    <a:lnTo>
                      <a:pt x="770" y="1356"/>
                    </a:lnTo>
                    <a:lnTo>
                      <a:pt x="770" y="1333"/>
                    </a:lnTo>
                    <a:lnTo>
                      <a:pt x="760" y="1281"/>
                    </a:lnTo>
                    <a:lnTo>
                      <a:pt x="749" y="1272"/>
                    </a:lnTo>
                    <a:lnTo>
                      <a:pt x="744" y="1266"/>
                    </a:lnTo>
                    <a:lnTo>
                      <a:pt x="676" y="1234"/>
                    </a:lnTo>
                    <a:lnTo>
                      <a:pt x="674" y="1232"/>
                    </a:lnTo>
                    <a:lnTo>
                      <a:pt x="671" y="1231"/>
                    </a:lnTo>
                    <a:lnTo>
                      <a:pt x="669" y="1231"/>
                    </a:lnTo>
                    <a:lnTo>
                      <a:pt x="661" y="1231"/>
                    </a:lnTo>
                    <a:lnTo>
                      <a:pt x="659" y="1227"/>
                    </a:lnTo>
                    <a:lnTo>
                      <a:pt x="657" y="1226"/>
                    </a:lnTo>
                    <a:lnTo>
                      <a:pt x="654" y="1227"/>
                    </a:lnTo>
                    <a:lnTo>
                      <a:pt x="648" y="1227"/>
                    </a:lnTo>
                    <a:lnTo>
                      <a:pt x="647" y="1226"/>
                    </a:lnTo>
                    <a:lnTo>
                      <a:pt x="643" y="1222"/>
                    </a:lnTo>
                    <a:lnTo>
                      <a:pt x="640" y="1222"/>
                    </a:lnTo>
                    <a:lnTo>
                      <a:pt x="634" y="1220"/>
                    </a:lnTo>
                    <a:lnTo>
                      <a:pt x="633" y="1217"/>
                    </a:lnTo>
                    <a:lnTo>
                      <a:pt x="631" y="1217"/>
                    </a:lnTo>
                    <a:lnTo>
                      <a:pt x="628" y="1213"/>
                    </a:lnTo>
                    <a:lnTo>
                      <a:pt x="624" y="1213"/>
                    </a:lnTo>
                    <a:lnTo>
                      <a:pt x="621" y="1212"/>
                    </a:lnTo>
                    <a:lnTo>
                      <a:pt x="617" y="1213"/>
                    </a:lnTo>
                    <a:lnTo>
                      <a:pt x="617" y="1213"/>
                    </a:lnTo>
                    <a:lnTo>
                      <a:pt x="615" y="1212"/>
                    </a:lnTo>
                    <a:lnTo>
                      <a:pt x="612" y="1210"/>
                    </a:lnTo>
                    <a:lnTo>
                      <a:pt x="612" y="1210"/>
                    </a:lnTo>
                    <a:lnTo>
                      <a:pt x="608" y="1208"/>
                    </a:lnTo>
                    <a:lnTo>
                      <a:pt x="607" y="1208"/>
                    </a:lnTo>
                    <a:lnTo>
                      <a:pt x="605" y="1205"/>
                    </a:lnTo>
                    <a:lnTo>
                      <a:pt x="605" y="1203"/>
                    </a:lnTo>
                    <a:lnTo>
                      <a:pt x="600" y="1203"/>
                    </a:lnTo>
                    <a:lnTo>
                      <a:pt x="596" y="1203"/>
                    </a:lnTo>
                    <a:lnTo>
                      <a:pt x="593" y="1199"/>
                    </a:lnTo>
                    <a:lnTo>
                      <a:pt x="152" y="1156"/>
                    </a:lnTo>
                    <a:lnTo>
                      <a:pt x="152" y="1156"/>
                    </a:lnTo>
                    <a:lnTo>
                      <a:pt x="152" y="1156"/>
                    </a:lnTo>
                    <a:close/>
                  </a:path>
                </a:pathLst>
              </a:custGeom>
              <a:solidFill>
                <a:srgbClr val="0098CC"/>
              </a:solidFill>
              <a:ln w="3175"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6" name="Freeform 40"/>
              <p:cNvSpPr>
                <a:spLocks noEditPoints="1"/>
              </p:cNvSpPr>
              <p:nvPr/>
            </p:nvSpPr>
            <p:spPr bwMode="auto">
              <a:xfrm>
                <a:off x="-3175" y="1244601"/>
                <a:ext cx="1454150" cy="1114425"/>
              </a:xfrm>
              <a:custGeom>
                <a:avLst/>
                <a:gdLst/>
                <a:ahLst/>
                <a:cxnLst>
                  <a:cxn ang="0">
                    <a:pos x="800" y="544"/>
                  </a:cxn>
                  <a:cxn ang="0">
                    <a:pos x="878" y="113"/>
                  </a:cxn>
                  <a:cxn ang="0">
                    <a:pos x="824" y="85"/>
                  </a:cxn>
                  <a:cxn ang="0">
                    <a:pos x="775" y="31"/>
                  </a:cxn>
                  <a:cxn ang="0">
                    <a:pos x="767" y="5"/>
                  </a:cxn>
                  <a:cxn ang="0">
                    <a:pos x="687" y="22"/>
                  </a:cxn>
                  <a:cxn ang="0">
                    <a:pos x="551" y="127"/>
                  </a:cxn>
                  <a:cxn ang="0">
                    <a:pos x="558" y="163"/>
                  </a:cxn>
                  <a:cxn ang="0">
                    <a:pos x="525" y="175"/>
                  </a:cxn>
                  <a:cxn ang="0">
                    <a:pos x="464" y="219"/>
                  </a:cxn>
                  <a:cxn ang="0">
                    <a:pos x="492" y="259"/>
                  </a:cxn>
                  <a:cxn ang="0">
                    <a:pos x="473" y="297"/>
                  </a:cxn>
                  <a:cxn ang="0">
                    <a:pos x="372" y="360"/>
                  </a:cxn>
                  <a:cxn ang="0">
                    <a:pos x="379" y="391"/>
                  </a:cxn>
                  <a:cxn ang="0">
                    <a:pos x="403" y="438"/>
                  </a:cxn>
                  <a:cxn ang="0">
                    <a:pos x="416" y="481"/>
                  </a:cxn>
                  <a:cxn ang="0">
                    <a:pos x="433" y="520"/>
                  </a:cxn>
                  <a:cxn ang="0">
                    <a:pos x="351" y="579"/>
                  </a:cxn>
                  <a:cxn ang="0">
                    <a:pos x="325" y="600"/>
                  </a:cxn>
                  <a:cxn ang="0">
                    <a:pos x="386" y="582"/>
                  </a:cxn>
                  <a:cxn ang="0">
                    <a:pos x="445" y="547"/>
                  </a:cxn>
                  <a:cxn ang="0">
                    <a:pos x="494" y="511"/>
                  </a:cxn>
                  <a:cxn ang="0">
                    <a:pos x="537" y="455"/>
                  </a:cxn>
                  <a:cxn ang="0">
                    <a:pos x="572" y="448"/>
                  </a:cxn>
                  <a:cxn ang="0">
                    <a:pos x="575" y="488"/>
                  </a:cxn>
                  <a:cxn ang="0">
                    <a:pos x="621" y="450"/>
                  </a:cxn>
                  <a:cxn ang="0">
                    <a:pos x="652" y="466"/>
                  </a:cxn>
                  <a:cxn ang="0">
                    <a:pos x="704" y="504"/>
                  </a:cxn>
                  <a:cxn ang="0">
                    <a:pos x="746" y="544"/>
                  </a:cxn>
                  <a:cxn ang="0">
                    <a:pos x="772" y="563"/>
                  </a:cxn>
                  <a:cxn ang="0">
                    <a:pos x="794" y="591"/>
                  </a:cxn>
                  <a:cxn ang="0">
                    <a:pos x="805" y="643"/>
                  </a:cxn>
                  <a:cxn ang="0">
                    <a:pos x="812" y="693"/>
                  </a:cxn>
                  <a:cxn ang="0">
                    <a:pos x="794" y="688"/>
                  </a:cxn>
                  <a:cxn ang="0">
                    <a:pos x="767" y="693"/>
                  </a:cxn>
                  <a:cxn ang="0">
                    <a:pos x="770" y="666"/>
                  </a:cxn>
                  <a:cxn ang="0">
                    <a:pos x="786" y="697"/>
                  </a:cxn>
                  <a:cxn ang="0">
                    <a:pos x="800" y="660"/>
                  </a:cxn>
                  <a:cxn ang="0">
                    <a:pos x="791" y="643"/>
                  </a:cxn>
                  <a:cxn ang="0">
                    <a:pos x="779" y="643"/>
                  </a:cxn>
                  <a:cxn ang="0">
                    <a:pos x="760" y="643"/>
                  </a:cxn>
                  <a:cxn ang="0">
                    <a:pos x="777" y="606"/>
                  </a:cxn>
                  <a:cxn ang="0">
                    <a:pos x="767" y="589"/>
                  </a:cxn>
                  <a:cxn ang="0">
                    <a:pos x="256" y="368"/>
                  </a:cxn>
                  <a:cxn ang="0">
                    <a:pos x="433" y="304"/>
                  </a:cxn>
                  <a:cxn ang="0">
                    <a:pos x="662" y="497"/>
                  </a:cxn>
                  <a:cxn ang="0">
                    <a:pos x="617" y="488"/>
                  </a:cxn>
                  <a:cxn ang="0">
                    <a:pos x="419" y="214"/>
                  </a:cxn>
                  <a:cxn ang="0">
                    <a:pos x="360" y="285"/>
                  </a:cxn>
                  <a:cxn ang="0">
                    <a:pos x="520" y="480"/>
                  </a:cxn>
                  <a:cxn ang="0">
                    <a:pos x="508" y="525"/>
                  </a:cxn>
                  <a:cxn ang="0">
                    <a:pos x="506" y="537"/>
                  </a:cxn>
                  <a:cxn ang="0">
                    <a:pos x="478" y="560"/>
                  </a:cxn>
                  <a:cxn ang="0">
                    <a:pos x="419" y="566"/>
                  </a:cxn>
                  <a:cxn ang="0">
                    <a:pos x="348" y="615"/>
                  </a:cxn>
                  <a:cxn ang="0">
                    <a:pos x="4" y="678"/>
                  </a:cxn>
                  <a:cxn ang="0">
                    <a:pos x="33" y="671"/>
                  </a:cxn>
                  <a:cxn ang="0">
                    <a:pos x="94" y="669"/>
                  </a:cxn>
                  <a:cxn ang="0">
                    <a:pos x="165" y="652"/>
                  </a:cxn>
                  <a:cxn ang="0">
                    <a:pos x="226" y="633"/>
                  </a:cxn>
                  <a:cxn ang="0">
                    <a:pos x="266" y="626"/>
                  </a:cxn>
                  <a:cxn ang="0">
                    <a:pos x="398" y="481"/>
                  </a:cxn>
                </a:cxnLst>
                <a:rect l="0" t="0" r="r" b="b"/>
                <a:pathLst>
                  <a:path w="916" h="702">
                    <a:moveTo>
                      <a:pt x="826" y="671"/>
                    </a:moveTo>
                    <a:lnTo>
                      <a:pt x="826" y="671"/>
                    </a:lnTo>
                    <a:lnTo>
                      <a:pt x="826" y="669"/>
                    </a:lnTo>
                    <a:lnTo>
                      <a:pt x="826" y="669"/>
                    </a:lnTo>
                    <a:lnTo>
                      <a:pt x="826" y="666"/>
                    </a:lnTo>
                    <a:lnTo>
                      <a:pt x="827" y="666"/>
                    </a:lnTo>
                    <a:lnTo>
                      <a:pt x="826" y="662"/>
                    </a:lnTo>
                    <a:lnTo>
                      <a:pt x="824" y="662"/>
                    </a:lnTo>
                    <a:lnTo>
                      <a:pt x="824" y="659"/>
                    </a:lnTo>
                    <a:lnTo>
                      <a:pt x="822" y="655"/>
                    </a:lnTo>
                    <a:lnTo>
                      <a:pt x="819" y="653"/>
                    </a:lnTo>
                    <a:lnTo>
                      <a:pt x="817" y="652"/>
                    </a:lnTo>
                    <a:lnTo>
                      <a:pt x="817" y="648"/>
                    </a:lnTo>
                    <a:lnTo>
                      <a:pt x="813" y="646"/>
                    </a:lnTo>
                    <a:lnTo>
                      <a:pt x="812" y="643"/>
                    </a:lnTo>
                    <a:lnTo>
                      <a:pt x="808" y="643"/>
                    </a:lnTo>
                    <a:lnTo>
                      <a:pt x="808" y="643"/>
                    </a:lnTo>
                    <a:lnTo>
                      <a:pt x="808" y="640"/>
                    </a:lnTo>
                    <a:lnTo>
                      <a:pt x="808" y="638"/>
                    </a:lnTo>
                    <a:lnTo>
                      <a:pt x="806" y="638"/>
                    </a:lnTo>
                    <a:lnTo>
                      <a:pt x="806" y="634"/>
                    </a:lnTo>
                    <a:lnTo>
                      <a:pt x="808" y="634"/>
                    </a:lnTo>
                    <a:lnTo>
                      <a:pt x="808" y="633"/>
                    </a:lnTo>
                    <a:lnTo>
                      <a:pt x="808" y="631"/>
                    </a:lnTo>
                    <a:lnTo>
                      <a:pt x="806" y="631"/>
                    </a:lnTo>
                    <a:lnTo>
                      <a:pt x="805" y="631"/>
                    </a:lnTo>
                    <a:lnTo>
                      <a:pt x="805" y="627"/>
                    </a:lnTo>
                    <a:lnTo>
                      <a:pt x="808" y="626"/>
                    </a:lnTo>
                    <a:lnTo>
                      <a:pt x="806" y="615"/>
                    </a:lnTo>
                    <a:lnTo>
                      <a:pt x="808" y="601"/>
                    </a:lnTo>
                    <a:lnTo>
                      <a:pt x="808" y="591"/>
                    </a:lnTo>
                    <a:lnTo>
                      <a:pt x="808" y="587"/>
                    </a:lnTo>
                    <a:lnTo>
                      <a:pt x="806" y="584"/>
                    </a:lnTo>
                    <a:lnTo>
                      <a:pt x="808" y="584"/>
                    </a:lnTo>
                    <a:lnTo>
                      <a:pt x="808" y="579"/>
                    </a:lnTo>
                    <a:lnTo>
                      <a:pt x="806" y="575"/>
                    </a:lnTo>
                    <a:lnTo>
                      <a:pt x="806" y="570"/>
                    </a:lnTo>
                    <a:lnTo>
                      <a:pt x="801" y="566"/>
                    </a:lnTo>
                    <a:lnTo>
                      <a:pt x="801" y="560"/>
                    </a:lnTo>
                    <a:lnTo>
                      <a:pt x="801" y="556"/>
                    </a:lnTo>
                    <a:lnTo>
                      <a:pt x="798" y="547"/>
                    </a:lnTo>
                    <a:lnTo>
                      <a:pt x="800" y="544"/>
                    </a:lnTo>
                    <a:lnTo>
                      <a:pt x="801" y="540"/>
                    </a:lnTo>
                    <a:lnTo>
                      <a:pt x="801" y="537"/>
                    </a:lnTo>
                    <a:lnTo>
                      <a:pt x="800" y="533"/>
                    </a:lnTo>
                    <a:lnTo>
                      <a:pt x="796" y="530"/>
                    </a:lnTo>
                    <a:lnTo>
                      <a:pt x="791" y="532"/>
                    </a:lnTo>
                    <a:lnTo>
                      <a:pt x="786" y="533"/>
                    </a:lnTo>
                    <a:lnTo>
                      <a:pt x="786" y="533"/>
                    </a:lnTo>
                    <a:lnTo>
                      <a:pt x="779" y="535"/>
                    </a:lnTo>
                    <a:lnTo>
                      <a:pt x="775" y="540"/>
                    </a:lnTo>
                    <a:lnTo>
                      <a:pt x="770" y="547"/>
                    </a:lnTo>
                    <a:lnTo>
                      <a:pt x="767" y="547"/>
                    </a:lnTo>
                    <a:lnTo>
                      <a:pt x="760" y="551"/>
                    </a:lnTo>
                    <a:lnTo>
                      <a:pt x="754" y="553"/>
                    </a:lnTo>
                    <a:lnTo>
                      <a:pt x="753" y="553"/>
                    </a:lnTo>
                    <a:lnTo>
                      <a:pt x="753" y="547"/>
                    </a:lnTo>
                    <a:lnTo>
                      <a:pt x="756" y="544"/>
                    </a:lnTo>
                    <a:lnTo>
                      <a:pt x="754" y="540"/>
                    </a:lnTo>
                    <a:lnTo>
                      <a:pt x="749" y="520"/>
                    </a:lnTo>
                    <a:lnTo>
                      <a:pt x="746" y="511"/>
                    </a:lnTo>
                    <a:lnTo>
                      <a:pt x="744" y="507"/>
                    </a:lnTo>
                    <a:lnTo>
                      <a:pt x="747" y="500"/>
                    </a:lnTo>
                    <a:lnTo>
                      <a:pt x="740" y="497"/>
                    </a:lnTo>
                    <a:lnTo>
                      <a:pt x="732" y="500"/>
                    </a:lnTo>
                    <a:lnTo>
                      <a:pt x="730" y="500"/>
                    </a:lnTo>
                    <a:lnTo>
                      <a:pt x="718" y="500"/>
                    </a:lnTo>
                    <a:lnTo>
                      <a:pt x="916" y="137"/>
                    </a:lnTo>
                    <a:lnTo>
                      <a:pt x="916" y="135"/>
                    </a:lnTo>
                    <a:lnTo>
                      <a:pt x="912" y="135"/>
                    </a:lnTo>
                    <a:lnTo>
                      <a:pt x="909" y="135"/>
                    </a:lnTo>
                    <a:lnTo>
                      <a:pt x="907" y="132"/>
                    </a:lnTo>
                    <a:lnTo>
                      <a:pt x="905" y="127"/>
                    </a:lnTo>
                    <a:lnTo>
                      <a:pt x="904" y="123"/>
                    </a:lnTo>
                    <a:lnTo>
                      <a:pt x="902" y="121"/>
                    </a:lnTo>
                    <a:lnTo>
                      <a:pt x="900" y="118"/>
                    </a:lnTo>
                    <a:lnTo>
                      <a:pt x="899" y="113"/>
                    </a:lnTo>
                    <a:lnTo>
                      <a:pt x="897" y="111"/>
                    </a:lnTo>
                    <a:lnTo>
                      <a:pt x="890" y="111"/>
                    </a:lnTo>
                    <a:lnTo>
                      <a:pt x="890" y="113"/>
                    </a:lnTo>
                    <a:lnTo>
                      <a:pt x="886" y="113"/>
                    </a:lnTo>
                    <a:lnTo>
                      <a:pt x="881" y="113"/>
                    </a:lnTo>
                    <a:lnTo>
                      <a:pt x="879" y="111"/>
                    </a:lnTo>
                    <a:lnTo>
                      <a:pt x="878" y="113"/>
                    </a:lnTo>
                    <a:lnTo>
                      <a:pt x="876" y="111"/>
                    </a:lnTo>
                    <a:lnTo>
                      <a:pt x="874" y="113"/>
                    </a:lnTo>
                    <a:lnTo>
                      <a:pt x="873" y="111"/>
                    </a:lnTo>
                    <a:lnTo>
                      <a:pt x="873" y="111"/>
                    </a:lnTo>
                    <a:lnTo>
                      <a:pt x="874" y="111"/>
                    </a:lnTo>
                    <a:lnTo>
                      <a:pt x="874" y="109"/>
                    </a:lnTo>
                    <a:lnTo>
                      <a:pt x="871" y="107"/>
                    </a:lnTo>
                    <a:lnTo>
                      <a:pt x="871" y="107"/>
                    </a:lnTo>
                    <a:lnTo>
                      <a:pt x="867" y="107"/>
                    </a:lnTo>
                    <a:lnTo>
                      <a:pt x="867" y="107"/>
                    </a:lnTo>
                    <a:lnTo>
                      <a:pt x="871" y="104"/>
                    </a:lnTo>
                    <a:lnTo>
                      <a:pt x="867" y="104"/>
                    </a:lnTo>
                    <a:lnTo>
                      <a:pt x="867" y="104"/>
                    </a:lnTo>
                    <a:lnTo>
                      <a:pt x="864" y="104"/>
                    </a:lnTo>
                    <a:lnTo>
                      <a:pt x="864" y="100"/>
                    </a:lnTo>
                    <a:lnTo>
                      <a:pt x="862" y="99"/>
                    </a:lnTo>
                    <a:lnTo>
                      <a:pt x="857" y="95"/>
                    </a:lnTo>
                    <a:lnTo>
                      <a:pt x="855" y="95"/>
                    </a:lnTo>
                    <a:lnTo>
                      <a:pt x="855" y="95"/>
                    </a:lnTo>
                    <a:lnTo>
                      <a:pt x="853" y="95"/>
                    </a:lnTo>
                    <a:lnTo>
                      <a:pt x="852" y="95"/>
                    </a:lnTo>
                    <a:lnTo>
                      <a:pt x="852" y="95"/>
                    </a:lnTo>
                    <a:lnTo>
                      <a:pt x="852" y="94"/>
                    </a:lnTo>
                    <a:lnTo>
                      <a:pt x="848" y="94"/>
                    </a:lnTo>
                    <a:lnTo>
                      <a:pt x="846" y="95"/>
                    </a:lnTo>
                    <a:lnTo>
                      <a:pt x="845" y="95"/>
                    </a:lnTo>
                    <a:lnTo>
                      <a:pt x="845" y="92"/>
                    </a:lnTo>
                    <a:lnTo>
                      <a:pt x="846" y="92"/>
                    </a:lnTo>
                    <a:lnTo>
                      <a:pt x="845" y="90"/>
                    </a:lnTo>
                    <a:lnTo>
                      <a:pt x="841" y="88"/>
                    </a:lnTo>
                    <a:lnTo>
                      <a:pt x="839" y="90"/>
                    </a:lnTo>
                    <a:lnTo>
                      <a:pt x="839" y="88"/>
                    </a:lnTo>
                    <a:lnTo>
                      <a:pt x="839" y="87"/>
                    </a:lnTo>
                    <a:lnTo>
                      <a:pt x="839" y="85"/>
                    </a:lnTo>
                    <a:lnTo>
                      <a:pt x="836" y="81"/>
                    </a:lnTo>
                    <a:lnTo>
                      <a:pt x="836" y="80"/>
                    </a:lnTo>
                    <a:lnTo>
                      <a:pt x="836" y="80"/>
                    </a:lnTo>
                    <a:lnTo>
                      <a:pt x="833" y="78"/>
                    </a:lnTo>
                    <a:lnTo>
                      <a:pt x="833" y="80"/>
                    </a:lnTo>
                    <a:lnTo>
                      <a:pt x="826" y="87"/>
                    </a:lnTo>
                    <a:lnTo>
                      <a:pt x="817" y="90"/>
                    </a:lnTo>
                    <a:lnTo>
                      <a:pt x="824" y="85"/>
                    </a:lnTo>
                    <a:lnTo>
                      <a:pt x="827" y="80"/>
                    </a:lnTo>
                    <a:lnTo>
                      <a:pt x="833" y="76"/>
                    </a:lnTo>
                    <a:lnTo>
                      <a:pt x="833" y="73"/>
                    </a:lnTo>
                    <a:lnTo>
                      <a:pt x="831" y="71"/>
                    </a:lnTo>
                    <a:lnTo>
                      <a:pt x="826" y="67"/>
                    </a:lnTo>
                    <a:lnTo>
                      <a:pt x="820" y="67"/>
                    </a:lnTo>
                    <a:lnTo>
                      <a:pt x="817" y="67"/>
                    </a:lnTo>
                    <a:lnTo>
                      <a:pt x="813" y="67"/>
                    </a:lnTo>
                    <a:lnTo>
                      <a:pt x="813" y="71"/>
                    </a:lnTo>
                    <a:lnTo>
                      <a:pt x="808" y="71"/>
                    </a:lnTo>
                    <a:lnTo>
                      <a:pt x="805" y="76"/>
                    </a:lnTo>
                    <a:lnTo>
                      <a:pt x="800" y="78"/>
                    </a:lnTo>
                    <a:lnTo>
                      <a:pt x="803" y="76"/>
                    </a:lnTo>
                    <a:lnTo>
                      <a:pt x="803" y="71"/>
                    </a:lnTo>
                    <a:lnTo>
                      <a:pt x="803" y="67"/>
                    </a:lnTo>
                    <a:lnTo>
                      <a:pt x="803" y="64"/>
                    </a:lnTo>
                    <a:lnTo>
                      <a:pt x="798" y="60"/>
                    </a:lnTo>
                    <a:lnTo>
                      <a:pt x="798" y="59"/>
                    </a:lnTo>
                    <a:lnTo>
                      <a:pt x="801" y="57"/>
                    </a:lnTo>
                    <a:lnTo>
                      <a:pt x="803" y="57"/>
                    </a:lnTo>
                    <a:lnTo>
                      <a:pt x="803" y="55"/>
                    </a:lnTo>
                    <a:lnTo>
                      <a:pt x="794" y="52"/>
                    </a:lnTo>
                    <a:lnTo>
                      <a:pt x="794" y="48"/>
                    </a:lnTo>
                    <a:lnTo>
                      <a:pt x="796" y="48"/>
                    </a:lnTo>
                    <a:lnTo>
                      <a:pt x="801" y="45"/>
                    </a:lnTo>
                    <a:lnTo>
                      <a:pt x="803" y="43"/>
                    </a:lnTo>
                    <a:lnTo>
                      <a:pt x="801" y="40"/>
                    </a:lnTo>
                    <a:lnTo>
                      <a:pt x="800" y="36"/>
                    </a:lnTo>
                    <a:lnTo>
                      <a:pt x="798" y="36"/>
                    </a:lnTo>
                    <a:lnTo>
                      <a:pt x="796" y="36"/>
                    </a:lnTo>
                    <a:lnTo>
                      <a:pt x="794" y="34"/>
                    </a:lnTo>
                    <a:lnTo>
                      <a:pt x="791" y="34"/>
                    </a:lnTo>
                    <a:lnTo>
                      <a:pt x="789" y="34"/>
                    </a:lnTo>
                    <a:lnTo>
                      <a:pt x="786" y="33"/>
                    </a:lnTo>
                    <a:lnTo>
                      <a:pt x="784" y="31"/>
                    </a:lnTo>
                    <a:lnTo>
                      <a:pt x="780" y="33"/>
                    </a:lnTo>
                    <a:lnTo>
                      <a:pt x="777" y="33"/>
                    </a:lnTo>
                    <a:lnTo>
                      <a:pt x="775" y="36"/>
                    </a:lnTo>
                    <a:lnTo>
                      <a:pt x="775" y="36"/>
                    </a:lnTo>
                    <a:lnTo>
                      <a:pt x="773" y="34"/>
                    </a:lnTo>
                    <a:lnTo>
                      <a:pt x="773" y="31"/>
                    </a:lnTo>
                    <a:lnTo>
                      <a:pt x="775" y="31"/>
                    </a:lnTo>
                    <a:lnTo>
                      <a:pt x="775" y="27"/>
                    </a:lnTo>
                    <a:lnTo>
                      <a:pt x="777" y="24"/>
                    </a:lnTo>
                    <a:lnTo>
                      <a:pt x="779" y="24"/>
                    </a:lnTo>
                    <a:lnTo>
                      <a:pt x="779" y="20"/>
                    </a:lnTo>
                    <a:lnTo>
                      <a:pt x="780" y="17"/>
                    </a:lnTo>
                    <a:lnTo>
                      <a:pt x="779" y="17"/>
                    </a:lnTo>
                    <a:lnTo>
                      <a:pt x="777" y="17"/>
                    </a:lnTo>
                    <a:lnTo>
                      <a:pt x="773" y="20"/>
                    </a:lnTo>
                    <a:lnTo>
                      <a:pt x="772" y="22"/>
                    </a:lnTo>
                    <a:lnTo>
                      <a:pt x="772" y="22"/>
                    </a:lnTo>
                    <a:lnTo>
                      <a:pt x="768" y="20"/>
                    </a:lnTo>
                    <a:lnTo>
                      <a:pt x="767" y="22"/>
                    </a:lnTo>
                    <a:lnTo>
                      <a:pt x="767" y="24"/>
                    </a:lnTo>
                    <a:lnTo>
                      <a:pt x="767" y="27"/>
                    </a:lnTo>
                    <a:lnTo>
                      <a:pt x="763" y="29"/>
                    </a:lnTo>
                    <a:lnTo>
                      <a:pt x="763" y="29"/>
                    </a:lnTo>
                    <a:lnTo>
                      <a:pt x="763" y="29"/>
                    </a:lnTo>
                    <a:lnTo>
                      <a:pt x="760" y="33"/>
                    </a:lnTo>
                    <a:lnTo>
                      <a:pt x="760" y="36"/>
                    </a:lnTo>
                    <a:lnTo>
                      <a:pt x="760" y="33"/>
                    </a:lnTo>
                    <a:lnTo>
                      <a:pt x="758" y="29"/>
                    </a:lnTo>
                    <a:lnTo>
                      <a:pt x="760" y="26"/>
                    </a:lnTo>
                    <a:lnTo>
                      <a:pt x="760" y="26"/>
                    </a:lnTo>
                    <a:lnTo>
                      <a:pt x="756" y="27"/>
                    </a:lnTo>
                    <a:lnTo>
                      <a:pt x="756" y="31"/>
                    </a:lnTo>
                    <a:lnTo>
                      <a:pt x="753" y="31"/>
                    </a:lnTo>
                    <a:lnTo>
                      <a:pt x="754" y="26"/>
                    </a:lnTo>
                    <a:lnTo>
                      <a:pt x="753" y="22"/>
                    </a:lnTo>
                    <a:lnTo>
                      <a:pt x="749" y="22"/>
                    </a:lnTo>
                    <a:lnTo>
                      <a:pt x="751" y="20"/>
                    </a:lnTo>
                    <a:lnTo>
                      <a:pt x="754" y="17"/>
                    </a:lnTo>
                    <a:lnTo>
                      <a:pt x="758" y="17"/>
                    </a:lnTo>
                    <a:lnTo>
                      <a:pt x="760" y="20"/>
                    </a:lnTo>
                    <a:lnTo>
                      <a:pt x="767" y="17"/>
                    </a:lnTo>
                    <a:lnTo>
                      <a:pt x="768" y="17"/>
                    </a:lnTo>
                    <a:lnTo>
                      <a:pt x="772" y="14"/>
                    </a:lnTo>
                    <a:lnTo>
                      <a:pt x="772" y="14"/>
                    </a:lnTo>
                    <a:lnTo>
                      <a:pt x="773" y="12"/>
                    </a:lnTo>
                    <a:lnTo>
                      <a:pt x="772" y="8"/>
                    </a:lnTo>
                    <a:lnTo>
                      <a:pt x="768" y="8"/>
                    </a:lnTo>
                    <a:lnTo>
                      <a:pt x="767" y="8"/>
                    </a:lnTo>
                    <a:lnTo>
                      <a:pt x="767" y="5"/>
                    </a:lnTo>
                    <a:lnTo>
                      <a:pt x="767" y="3"/>
                    </a:lnTo>
                    <a:lnTo>
                      <a:pt x="767" y="3"/>
                    </a:lnTo>
                    <a:lnTo>
                      <a:pt x="767" y="1"/>
                    </a:lnTo>
                    <a:lnTo>
                      <a:pt x="767" y="1"/>
                    </a:lnTo>
                    <a:lnTo>
                      <a:pt x="767" y="0"/>
                    </a:lnTo>
                    <a:lnTo>
                      <a:pt x="767" y="0"/>
                    </a:lnTo>
                    <a:lnTo>
                      <a:pt x="760" y="3"/>
                    </a:lnTo>
                    <a:lnTo>
                      <a:pt x="760" y="3"/>
                    </a:lnTo>
                    <a:lnTo>
                      <a:pt x="754" y="5"/>
                    </a:lnTo>
                    <a:lnTo>
                      <a:pt x="751" y="7"/>
                    </a:lnTo>
                    <a:lnTo>
                      <a:pt x="744" y="14"/>
                    </a:lnTo>
                    <a:lnTo>
                      <a:pt x="740" y="14"/>
                    </a:lnTo>
                    <a:lnTo>
                      <a:pt x="732" y="14"/>
                    </a:lnTo>
                    <a:lnTo>
                      <a:pt x="727" y="12"/>
                    </a:lnTo>
                    <a:lnTo>
                      <a:pt x="725" y="8"/>
                    </a:lnTo>
                    <a:lnTo>
                      <a:pt x="725" y="12"/>
                    </a:lnTo>
                    <a:lnTo>
                      <a:pt x="721" y="12"/>
                    </a:lnTo>
                    <a:lnTo>
                      <a:pt x="718" y="8"/>
                    </a:lnTo>
                    <a:lnTo>
                      <a:pt x="714" y="8"/>
                    </a:lnTo>
                    <a:lnTo>
                      <a:pt x="714" y="14"/>
                    </a:lnTo>
                    <a:lnTo>
                      <a:pt x="713" y="14"/>
                    </a:lnTo>
                    <a:lnTo>
                      <a:pt x="713" y="8"/>
                    </a:lnTo>
                    <a:lnTo>
                      <a:pt x="713" y="8"/>
                    </a:lnTo>
                    <a:lnTo>
                      <a:pt x="714" y="7"/>
                    </a:lnTo>
                    <a:lnTo>
                      <a:pt x="713" y="5"/>
                    </a:lnTo>
                    <a:lnTo>
                      <a:pt x="709" y="7"/>
                    </a:lnTo>
                    <a:lnTo>
                      <a:pt x="704" y="8"/>
                    </a:lnTo>
                    <a:lnTo>
                      <a:pt x="699" y="14"/>
                    </a:lnTo>
                    <a:lnTo>
                      <a:pt x="697" y="17"/>
                    </a:lnTo>
                    <a:lnTo>
                      <a:pt x="697" y="20"/>
                    </a:lnTo>
                    <a:lnTo>
                      <a:pt x="702" y="20"/>
                    </a:lnTo>
                    <a:lnTo>
                      <a:pt x="700" y="20"/>
                    </a:lnTo>
                    <a:lnTo>
                      <a:pt x="695" y="20"/>
                    </a:lnTo>
                    <a:lnTo>
                      <a:pt x="690" y="26"/>
                    </a:lnTo>
                    <a:lnTo>
                      <a:pt x="687" y="33"/>
                    </a:lnTo>
                    <a:lnTo>
                      <a:pt x="687" y="40"/>
                    </a:lnTo>
                    <a:lnTo>
                      <a:pt x="685" y="40"/>
                    </a:lnTo>
                    <a:lnTo>
                      <a:pt x="685" y="36"/>
                    </a:lnTo>
                    <a:lnTo>
                      <a:pt x="685" y="33"/>
                    </a:lnTo>
                    <a:lnTo>
                      <a:pt x="690" y="24"/>
                    </a:lnTo>
                    <a:lnTo>
                      <a:pt x="690" y="22"/>
                    </a:lnTo>
                    <a:lnTo>
                      <a:pt x="687" y="22"/>
                    </a:lnTo>
                    <a:lnTo>
                      <a:pt x="680" y="26"/>
                    </a:lnTo>
                    <a:lnTo>
                      <a:pt x="676" y="26"/>
                    </a:lnTo>
                    <a:lnTo>
                      <a:pt x="674" y="24"/>
                    </a:lnTo>
                    <a:lnTo>
                      <a:pt x="671" y="20"/>
                    </a:lnTo>
                    <a:lnTo>
                      <a:pt x="667" y="20"/>
                    </a:lnTo>
                    <a:lnTo>
                      <a:pt x="664" y="20"/>
                    </a:lnTo>
                    <a:lnTo>
                      <a:pt x="664" y="20"/>
                    </a:lnTo>
                    <a:lnTo>
                      <a:pt x="671" y="24"/>
                    </a:lnTo>
                    <a:lnTo>
                      <a:pt x="673" y="26"/>
                    </a:lnTo>
                    <a:lnTo>
                      <a:pt x="671" y="27"/>
                    </a:lnTo>
                    <a:lnTo>
                      <a:pt x="667" y="26"/>
                    </a:lnTo>
                    <a:lnTo>
                      <a:pt x="659" y="24"/>
                    </a:lnTo>
                    <a:lnTo>
                      <a:pt x="654" y="27"/>
                    </a:lnTo>
                    <a:lnTo>
                      <a:pt x="643" y="36"/>
                    </a:lnTo>
                    <a:lnTo>
                      <a:pt x="634" y="40"/>
                    </a:lnTo>
                    <a:lnTo>
                      <a:pt x="628" y="45"/>
                    </a:lnTo>
                    <a:lnTo>
                      <a:pt x="621" y="52"/>
                    </a:lnTo>
                    <a:lnTo>
                      <a:pt x="614" y="60"/>
                    </a:lnTo>
                    <a:lnTo>
                      <a:pt x="605" y="62"/>
                    </a:lnTo>
                    <a:lnTo>
                      <a:pt x="603" y="62"/>
                    </a:lnTo>
                    <a:lnTo>
                      <a:pt x="598" y="66"/>
                    </a:lnTo>
                    <a:lnTo>
                      <a:pt x="595" y="66"/>
                    </a:lnTo>
                    <a:lnTo>
                      <a:pt x="588" y="67"/>
                    </a:lnTo>
                    <a:lnTo>
                      <a:pt x="582" y="67"/>
                    </a:lnTo>
                    <a:lnTo>
                      <a:pt x="582" y="67"/>
                    </a:lnTo>
                    <a:lnTo>
                      <a:pt x="577" y="67"/>
                    </a:lnTo>
                    <a:lnTo>
                      <a:pt x="572" y="64"/>
                    </a:lnTo>
                    <a:lnTo>
                      <a:pt x="568" y="62"/>
                    </a:lnTo>
                    <a:lnTo>
                      <a:pt x="563" y="60"/>
                    </a:lnTo>
                    <a:lnTo>
                      <a:pt x="560" y="60"/>
                    </a:lnTo>
                    <a:lnTo>
                      <a:pt x="558" y="64"/>
                    </a:lnTo>
                    <a:lnTo>
                      <a:pt x="551" y="71"/>
                    </a:lnTo>
                    <a:lnTo>
                      <a:pt x="549" y="76"/>
                    </a:lnTo>
                    <a:lnTo>
                      <a:pt x="546" y="78"/>
                    </a:lnTo>
                    <a:lnTo>
                      <a:pt x="544" y="81"/>
                    </a:lnTo>
                    <a:lnTo>
                      <a:pt x="541" y="81"/>
                    </a:lnTo>
                    <a:lnTo>
                      <a:pt x="541" y="80"/>
                    </a:lnTo>
                    <a:lnTo>
                      <a:pt x="537" y="81"/>
                    </a:lnTo>
                    <a:lnTo>
                      <a:pt x="541" y="88"/>
                    </a:lnTo>
                    <a:lnTo>
                      <a:pt x="544" y="104"/>
                    </a:lnTo>
                    <a:lnTo>
                      <a:pt x="549" y="116"/>
                    </a:lnTo>
                    <a:lnTo>
                      <a:pt x="551" y="127"/>
                    </a:lnTo>
                    <a:lnTo>
                      <a:pt x="549" y="135"/>
                    </a:lnTo>
                    <a:lnTo>
                      <a:pt x="546" y="142"/>
                    </a:lnTo>
                    <a:lnTo>
                      <a:pt x="542" y="147"/>
                    </a:lnTo>
                    <a:lnTo>
                      <a:pt x="542" y="149"/>
                    </a:lnTo>
                    <a:lnTo>
                      <a:pt x="549" y="154"/>
                    </a:lnTo>
                    <a:lnTo>
                      <a:pt x="553" y="158"/>
                    </a:lnTo>
                    <a:lnTo>
                      <a:pt x="553" y="154"/>
                    </a:lnTo>
                    <a:lnTo>
                      <a:pt x="555" y="154"/>
                    </a:lnTo>
                    <a:lnTo>
                      <a:pt x="558" y="154"/>
                    </a:lnTo>
                    <a:lnTo>
                      <a:pt x="560" y="154"/>
                    </a:lnTo>
                    <a:lnTo>
                      <a:pt x="558" y="154"/>
                    </a:lnTo>
                    <a:lnTo>
                      <a:pt x="558" y="158"/>
                    </a:lnTo>
                    <a:lnTo>
                      <a:pt x="565" y="165"/>
                    </a:lnTo>
                    <a:lnTo>
                      <a:pt x="563" y="167"/>
                    </a:lnTo>
                    <a:lnTo>
                      <a:pt x="560" y="165"/>
                    </a:lnTo>
                    <a:lnTo>
                      <a:pt x="560" y="168"/>
                    </a:lnTo>
                    <a:lnTo>
                      <a:pt x="560" y="177"/>
                    </a:lnTo>
                    <a:lnTo>
                      <a:pt x="560" y="182"/>
                    </a:lnTo>
                    <a:lnTo>
                      <a:pt x="560" y="182"/>
                    </a:lnTo>
                    <a:lnTo>
                      <a:pt x="563" y="180"/>
                    </a:lnTo>
                    <a:lnTo>
                      <a:pt x="567" y="180"/>
                    </a:lnTo>
                    <a:lnTo>
                      <a:pt x="568" y="180"/>
                    </a:lnTo>
                    <a:lnTo>
                      <a:pt x="572" y="182"/>
                    </a:lnTo>
                    <a:lnTo>
                      <a:pt x="575" y="182"/>
                    </a:lnTo>
                    <a:lnTo>
                      <a:pt x="581" y="182"/>
                    </a:lnTo>
                    <a:lnTo>
                      <a:pt x="586" y="186"/>
                    </a:lnTo>
                    <a:lnTo>
                      <a:pt x="581" y="187"/>
                    </a:lnTo>
                    <a:lnTo>
                      <a:pt x="582" y="191"/>
                    </a:lnTo>
                    <a:lnTo>
                      <a:pt x="581" y="194"/>
                    </a:lnTo>
                    <a:lnTo>
                      <a:pt x="575" y="196"/>
                    </a:lnTo>
                    <a:lnTo>
                      <a:pt x="575" y="194"/>
                    </a:lnTo>
                    <a:lnTo>
                      <a:pt x="572" y="191"/>
                    </a:lnTo>
                    <a:lnTo>
                      <a:pt x="568" y="194"/>
                    </a:lnTo>
                    <a:lnTo>
                      <a:pt x="565" y="191"/>
                    </a:lnTo>
                    <a:lnTo>
                      <a:pt x="563" y="189"/>
                    </a:lnTo>
                    <a:lnTo>
                      <a:pt x="563" y="186"/>
                    </a:lnTo>
                    <a:lnTo>
                      <a:pt x="560" y="186"/>
                    </a:lnTo>
                    <a:lnTo>
                      <a:pt x="558" y="186"/>
                    </a:lnTo>
                    <a:lnTo>
                      <a:pt x="553" y="182"/>
                    </a:lnTo>
                    <a:lnTo>
                      <a:pt x="555" y="177"/>
                    </a:lnTo>
                    <a:lnTo>
                      <a:pt x="558" y="167"/>
                    </a:lnTo>
                    <a:lnTo>
                      <a:pt x="558" y="163"/>
                    </a:lnTo>
                    <a:lnTo>
                      <a:pt x="556" y="163"/>
                    </a:lnTo>
                    <a:lnTo>
                      <a:pt x="553" y="165"/>
                    </a:lnTo>
                    <a:lnTo>
                      <a:pt x="553" y="177"/>
                    </a:lnTo>
                    <a:lnTo>
                      <a:pt x="551" y="182"/>
                    </a:lnTo>
                    <a:lnTo>
                      <a:pt x="548" y="186"/>
                    </a:lnTo>
                    <a:lnTo>
                      <a:pt x="548" y="187"/>
                    </a:lnTo>
                    <a:lnTo>
                      <a:pt x="549" y="186"/>
                    </a:lnTo>
                    <a:lnTo>
                      <a:pt x="553" y="186"/>
                    </a:lnTo>
                    <a:lnTo>
                      <a:pt x="555" y="186"/>
                    </a:lnTo>
                    <a:lnTo>
                      <a:pt x="558" y="186"/>
                    </a:lnTo>
                    <a:lnTo>
                      <a:pt x="560" y="191"/>
                    </a:lnTo>
                    <a:lnTo>
                      <a:pt x="560" y="196"/>
                    </a:lnTo>
                    <a:lnTo>
                      <a:pt x="556" y="201"/>
                    </a:lnTo>
                    <a:lnTo>
                      <a:pt x="551" y="203"/>
                    </a:lnTo>
                    <a:lnTo>
                      <a:pt x="556" y="196"/>
                    </a:lnTo>
                    <a:lnTo>
                      <a:pt x="556" y="194"/>
                    </a:lnTo>
                    <a:lnTo>
                      <a:pt x="553" y="194"/>
                    </a:lnTo>
                    <a:lnTo>
                      <a:pt x="551" y="194"/>
                    </a:lnTo>
                    <a:lnTo>
                      <a:pt x="549" y="194"/>
                    </a:lnTo>
                    <a:lnTo>
                      <a:pt x="544" y="198"/>
                    </a:lnTo>
                    <a:lnTo>
                      <a:pt x="544" y="201"/>
                    </a:lnTo>
                    <a:lnTo>
                      <a:pt x="541" y="203"/>
                    </a:lnTo>
                    <a:lnTo>
                      <a:pt x="537" y="205"/>
                    </a:lnTo>
                    <a:lnTo>
                      <a:pt x="537" y="201"/>
                    </a:lnTo>
                    <a:lnTo>
                      <a:pt x="537" y="200"/>
                    </a:lnTo>
                    <a:lnTo>
                      <a:pt x="532" y="200"/>
                    </a:lnTo>
                    <a:lnTo>
                      <a:pt x="530" y="200"/>
                    </a:lnTo>
                    <a:lnTo>
                      <a:pt x="528" y="194"/>
                    </a:lnTo>
                    <a:lnTo>
                      <a:pt x="527" y="194"/>
                    </a:lnTo>
                    <a:lnTo>
                      <a:pt x="525" y="196"/>
                    </a:lnTo>
                    <a:lnTo>
                      <a:pt x="522" y="194"/>
                    </a:lnTo>
                    <a:lnTo>
                      <a:pt x="522" y="194"/>
                    </a:lnTo>
                    <a:lnTo>
                      <a:pt x="518" y="191"/>
                    </a:lnTo>
                    <a:lnTo>
                      <a:pt x="518" y="194"/>
                    </a:lnTo>
                    <a:lnTo>
                      <a:pt x="515" y="191"/>
                    </a:lnTo>
                    <a:lnTo>
                      <a:pt x="515" y="187"/>
                    </a:lnTo>
                    <a:lnTo>
                      <a:pt x="513" y="186"/>
                    </a:lnTo>
                    <a:lnTo>
                      <a:pt x="513" y="182"/>
                    </a:lnTo>
                    <a:lnTo>
                      <a:pt x="518" y="182"/>
                    </a:lnTo>
                    <a:lnTo>
                      <a:pt x="520" y="179"/>
                    </a:lnTo>
                    <a:lnTo>
                      <a:pt x="522" y="177"/>
                    </a:lnTo>
                    <a:lnTo>
                      <a:pt x="525" y="175"/>
                    </a:lnTo>
                    <a:lnTo>
                      <a:pt x="525" y="174"/>
                    </a:lnTo>
                    <a:lnTo>
                      <a:pt x="520" y="168"/>
                    </a:lnTo>
                    <a:lnTo>
                      <a:pt x="518" y="167"/>
                    </a:lnTo>
                    <a:lnTo>
                      <a:pt x="513" y="167"/>
                    </a:lnTo>
                    <a:lnTo>
                      <a:pt x="509" y="170"/>
                    </a:lnTo>
                    <a:lnTo>
                      <a:pt x="506" y="170"/>
                    </a:lnTo>
                    <a:lnTo>
                      <a:pt x="502" y="167"/>
                    </a:lnTo>
                    <a:lnTo>
                      <a:pt x="499" y="168"/>
                    </a:lnTo>
                    <a:lnTo>
                      <a:pt x="490" y="172"/>
                    </a:lnTo>
                    <a:lnTo>
                      <a:pt x="490" y="174"/>
                    </a:lnTo>
                    <a:lnTo>
                      <a:pt x="490" y="175"/>
                    </a:lnTo>
                    <a:lnTo>
                      <a:pt x="494" y="179"/>
                    </a:lnTo>
                    <a:lnTo>
                      <a:pt x="494" y="180"/>
                    </a:lnTo>
                    <a:lnTo>
                      <a:pt x="490" y="180"/>
                    </a:lnTo>
                    <a:lnTo>
                      <a:pt x="487" y="180"/>
                    </a:lnTo>
                    <a:lnTo>
                      <a:pt x="487" y="179"/>
                    </a:lnTo>
                    <a:lnTo>
                      <a:pt x="483" y="177"/>
                    </a:lnTo>
                    <a:lnTo>
                      <a:pt x="478" y="175"/>
                    </a:lnTo>
                    <a:lnTo>
                      <a:pt x="471" y="177"/>
                    </a:lnTo>
                    <a:lnTo>
                      <a:pt x="468" y="179"/>
                    </a:lnTo>
                    <a:lnTo>
                      <a:pt x="468" y="180"/>
                    </a:lnTo>
                    <a:lnTo>
                      <a:pt x="464" y="180"/>
                    </a:lnTo>
                    <a:lnTo>
                      <a:pt x="464" y="180"/>
                    </a:lnTo>
                    <a:lnTo>
                      <a:pt x="462" y="180"/>
                    </a:lnTo>
                    <a:lnTo>
                      <a:pt x="455" y="182"/>
                    </a:lnTo>
                    <a:lnTo>
                      <a:pt x="455" y="182"/>
                    </a:lnTo>
                    <a:lnTo>
                      <a:pt x="454" y="186"/>
                    </a:lnTo>
                    <a:lnTo>
                      <a:pt x="449" y="186"/>
                    </a:lnTo>
                    <a:lnTo>
                      <a:pt x="445" y="189"/>
                    </a:lnTo>
                    <a:lnTo>
                      <a:pt x="445" y="189"/>
                    </a:lnTo>
                    <a:lnTo>
                      <a:pt x="445" y="187"/>
                    </a:lnTo>
                    <a:lnTo>
                      <a:pt x="445" y="186"/>
                    </a:lnTo>
                    <a:lnTo>
                      <a:pt x="442" y="187"/>
                    </a:lnTo>
                    <a:lnTo>
                      <a:pt x="438" y="191"/>
                    </a:lnTo>
                    <a:lnTo>
                      <a:pt x="438" y="194"/>
                    </a:lnTo>
                    <a:lnTo>
                      <a:pt x="445" y="200"/>
                    </a:lnTo>
                    <a:lnTo>
                      <a:pt x="449" y="205"/>
                    </a:lnTo>
                    <a:lnTo>
                      <a:pt x="454" y="208"/>
                    </a:lnTo>
                    <a:lnTo>
                      <a:pt x="455" y="214"/>
                    </a:lnTo>
                    <a:lnTo>
                      <a:pt x="459" y="214"/>
                    </a:lnTo>
                    <a:lnTo>
                      <a:pt x="462" y="217"/>
                    </a:lnTo>
                    <a:lnTo>
                      <a:pt x="464" y="219"/>
                    </a:lnTo>
                    <a:lnTo>
                      <a:pt x="469" y="222"/>
                    </a:lnTo>
                    <a:lnTo>
                      <a:pt x="468" y="222"/>
                    </a:lnTo>
                    <a:lnTo>
                      <a:pt x="464" y="222"/>
                    </a:lnTo>
                    <a:lnTo>
                      <a:pt x="462" y="219"/>
                    </a:lnTo>
                    <a:lnTo>
                      <a:pt x="459" y="217"/>
                    </a:lnTo>
                    <a:lnTo>
                      <a:pt x="455" y="214"/>
                    </a:lnTo>
                    <a:lnTo>
                      <a:pt x="454" y="214"/>
                    </a:lnTo>
                    <a:lnTo>
                      <a:pt x="450" y="217"/>
                    </a:lnTo>
                    <a:lnTo>
                      <a:pt x="449" y="217"/>
                    </a:lnTo>
                    <a:lnTo>
                      <a:pt x="445" y="214"/>
                    </a:lnTo>
                    <a:lnTo>
                      <a:pt x="449" y="210"/>
                    </a:lnTo>
                    <a:lnTo>
                      <a:pt x="449" y="210"/>
                    </a:lnTo>
                    <a:lnTo>
                      <a:pt x="445" y="210"/>
                    </a:lnTo>
                    <a:lnTo>
                      <a:pt x="445" y="214"/>
                    </a:lnTo>
                    <a:lnTo>
                      <a:pt x="445" y="222"/>
                    </a:lnTo>
                    <a:lnTo>
                      <a:pt x="445" y="222"/>
                    </a:lnTo>
                    <a:lnTo>
                      <a:pt x="445" y="226"/>
                    </a:lnTo>
                    <a:lnTo>
                      <a:pt x="442" y="229"/>
                    </a:lnTo>
                    <a:lnTo>
                      <a:pt x="438" y="233"/>
                    </a:lnTo>
                    <a:lnTo>
                      <a:pt x="438" y="238"/>
                    </a:lnTo>
                    <a:lnTo>
                      <a:pt x="438" y="241"/>
                    </a:lnTo>
                    <a:lnTo>
                      <a:pt x="445" y="248"/>
                    </a:lnTo>
                    <a:lnTo>
                      <a:pt x="450" y="250"/>
                    </a:lnTo>
                    <a:lnTo>
                      <a:pt x="454" y="255"/>
                    </a:lnTo>
                    <a:lnTo>
                      <a:pt x="455" y="255"/>
                    </a:lnTo>
                    <a:lnTo>
                      <a:pt x="459" y="252"/>
                    </a:lnTo>
                    <a:lnTo>
                      <a:pt x="464" y="250"/>
                    </a:lnTo>
                    <a:lnTo>
                      <a:pt x="469" y="252"/>
                    </a:lnTo>
                    <a:lnTo>
                      <a:pt x="476" y="253"/>
                    </a:lnTo>
                    <a:lnTo>
                      <a:pt x="480" y="255"/>
                    </a:lnTo>
                    <a:lnTo>
                      <a:pt x="482" y="260"/>
                    </a:lnTo>
                    <a:lnTo>
                      <a:pt x="483" y="260"/>
                    </a:lnTo>
                    <a:lnTo>
                      <a:pt x="485" y="259"/>
                    </a:lnTo>
                    <a:lnTo>
                      <a:pt x="485" y="253"/>
                    </a:lnTo>
                    <a:lnTo>
                      <a:pt x="485" y="253"/>
                    </a:lnTo>
                    <a:lnTo>
                      <a:pt x="487" y="253"/>
                    </a:lnTo>
                    <a:lnTo>
                      <a:pt x="487" y="255"/>
                    </a:lnTo>
                    <a:lnTo>
                      <a:pt x="485" y="260"/>
                    </a:lnTo>
                    <a:lnTo>
                      <a:pt x="485" y="264"/>
                    </a:lnTo>
                    <a:lnTo>
                      <a:pt x="487" y="264"/>
                    </a:lnTo>
                    <a:lnTo>
                      <a:pt x="490" y="260"/>
                    </a:lnTo>
                    <a:lnTo>
                      <a:pt x="492" y="259"/>
                    </a:lnTo>
                    <a:lnTo>
                      <a:pt x="497" y="257"/>
                    </a:lnTo>
                    <a:lnTo>
                      <a:pt x="504" y="252"/>
                    </a:lnTo>
                    <a:lnTo>
                      <a:pt x="509" y="252"/>
                    </a:lnTo>
                    <a:lnTo>
                      <a:pt x="513" y="248"/>
                    </a:lnTo>
                    <a:lnTo>
                      <a:pt x="513" y="248"/>
                    </a:lnTo>
                    <a:lnTo>
                      <a:pt x="513" y="250"/>
                    </a:lnTo>
                    <a:lnTo>
                      <a:pt x="515" y="250"/>
                    </a:lnTo>
                    <a:lnTo>
                      <a:pt x="522" y="247"/>
                    </a:lnTo>
                    <a:lnTo>
                      <a:pt x="525" y="247"/>
                    </a:lnTo>
                    <a:lnTo>
                      <a:pt x="527" y="245"/>
                    </a:lnTo>
                    <a:lnTo>
                      <a:pt x="527" y="248"/>
                    </a:lnTo>
                    <a:lnTo>
                      <a:pt x="522" y="250"/>
                    </a:lnTo>
                    <a:lnTo>
                      <a:pt x="522" y="252"/>
                    </a:lnTo>
                    <a:lnTo>
                      <a:pt x="523" y="253"/>
                    </a:lnTo>
                    <a:lnTo>
                      <a:pt x="522" y="259"/>
                    </a:lnTo>
                    <a:lnTo>
                      <a:pt x="518" y="260"/>
                    </a:lnTo>
                    <a:lnTo>
                      <a:pt x="515" y="259"/>
                    </a:lnTo>
                    <a:lnTo>
                      <a:pt x="513" y="259"/>
                    </a:lnTo>
                    <a:lnTo>
                      <a:pt x="508" y="262"/>
                    </a:lnTo>
                    <a:lnTo>
                      <a:pt x="509" y="262"/>
                    </a:lnTo>
                    <a:lnTo>
                      <a:pt x="513" y="264"/>
                    </a:lnTo>
                    <a:lnTo>
                      <a:pt x="513" y="264"/>
                    </a:lnTo>
                    <a:lnTo>
                      <a:pt x="513" y="269"/>
                    </a:lnTo>
                    <a:lnTo>
                      <a:pt x="509" y="276"/>
                    </a:lnTo>
                    <a:lnTo>
                      <a:pt x="508" y="280"/>
                    </a:lnTo>
                    <a:lnTo>
                      <a:pt x="506" y="283"/>
                    </a:lnTo>
                    <a:lnTo>
                      <a:pt x="506" y="285"/>
                    </a:lnTo>
                    <a:lnTo>
                      <a:pt x="506" y="287"/>
                    </a:lnTo>
                    <a:lnTo>
                      <a:pt x="506" y="290"/>
                    </a:lnTo>
                    <a:lnTo>
                      <a:pt x="506" y="292"/>
                    </a:lnTo>
                    <a:lnTo>
                      <a:pt x="502" y="297"/>
                    </a:lnTo>
                    <a:lnTo>
                      <a:pt x="499" y="299"/>
                    </a:lnTo>
                    <a:lnTo>
                      <a:pt x="495" y="299"/>
                    </a:lnTo>
                    <a:lnTo>
                      <a:pt x="494" y="300"/>
                    </a:lnTo>
                    <a:lnTo>
                      <a:pt x="490" y="304"/>
                    </a:lnTo>
                    <a:lnTo>
                      <a:pt x="487" y="304"/>
                    </a:lnTo>
                    <a:lnTo>
                      <a:pt x="485" y="304"/>
                    </a:lnTo>
                    <a:lnTo>
                      <a:pt x="480" y="300"/>
                    </a:lnTo>
                    <a:lnTo>
                      <a:pt x="478" y="300"/>
                    </a:lnTo>
                    <a:lnTo>
                      <a:pt x="476" y="300"/>
                    </a:lnTo>
                    <a:lnTo>
                      <a:pt x="473" y="297"/>
                    </a:lnTo>
                    <a:lnTo>
                      <a:pt x="473" y="297"/>
                    </a:lnTo>
                    <a:lnTo>
                      <a:pt x="469" y="300"/>
                    </a:lnTo>
                    <a:lnTo>
                      <a:pt x="464" y="304"/>
                    </a:lnTo>
                    <a:lnTo>
                      <a:pt x="464" y="307"/>
                    </a:lnTo>
                    <a:lnTo>
                      <a:pt x="455" y="309"/>
                    </a:lnTo>
                    <a:lnTo>
                      <a:pt x="454" y="311"/>
                    </a:lnTo>
                    <a:lnTo>
                      <a:pt x="450" y="311"/>
                    </a:lnTo>
                    <a:lnTo>
                      <a:pt x="447" y="311"/>
                    </a:lnTo>
                    <a:lnTo>
                      <a:pt x="442" y="311"/>
                    </a:lnTo>
                    <a:lnTo>
                      <a:pt x="438" y="314"/>
                    </a:lnTo>
                    <a:lnTo>
                      <a:pt x="433" y="314"/>
                    </a:lnTo>
                    <a:lnTo>
                      <a:pt x="433" y="316"/>
                    </a:lnTo>
                    <a:lnTo>
                      <a:pt x="433" y="320"/>
                    </a:lnTo>
                    <a:lnTo>
                      <a:pt x="429" y="327"/>
                    </a:lnTo>
                    <a:lnTo>
                      <a:pt x="428" y="328"/>
                    </a:lnTo>
                    <a:lnTo>
                      <a:pt x="428" y="327"/>
                    </a:lnTo>
                    <a:lnTo>
                      <a:pt x="422" y="323"/>
                    </a:lnTo>
                    <a:lnTo>
                      <a:pt x="417" y="321"/>
                    </a:lnTo>
                    <a:lnTo>
                      <a:pt x="416" y="323"/>
                    </a:lnTo>
                    <a:lnTo>
                      <a:pt x="416" y="327"/>
                    </a:lnTo>
                    <a:lnTo>
                      <a:pt x="419" y="328"/>
                    </a:lnTo>
                    <a:lnTo>
                      <a:pt x="417" y="328"/>
                    </a:lnTo>
                    <a:lnTo>
                      <a:pt x="416" y="328"/>
                    </a:lnTo>
                    <a:lnTo>
                      <a:pt x="414" y="328"/>
                    </a:lnTo>
                    <a:lnTo>
                      <a:pt x="410" y="323"/>
                    </a:lnTo>
                    <a:lnTo>
                      <a:pt x="410" y="323"/>
                    </a:lnTo>
                    <a:lnTo>
                      <a:pt x="405" y="328"/>
                    </a:lnTo>
                    <a:lnTo>
                      <a:pt x="403" y="332"/>
                    </a:lnTo>
                    <a:lnTo>
                      <a:pt x="402" y="333"/>
                    </a:lnTo>
                    <a:lnTo>
                      <a:pt x="400" y="333"/>
                    </a:lnTo>
                    <a:lnTo>
                      <a:pt x="391" y="340"/>
                    </a:lnTo>
                    <a:lnTo>
                      <a:pt x="391" y="346"/>
                    </a:lnTo>
                    <a:lnTo>
                      <a:pt x="388" y="347"/>
                    </a:lnTo>
                    <a:lnTo>
                      <a:pt x="386" y="347"/>
                    </a:lnTo>
                    <a:lnTo>
                      <a:pt x="383" y="347"/>
                    </a:lnTo>
                    <a:lnTo>
                      <a:pt x="381" y="347"/>
                    </a:lnTo>
                    <a:lnTo>
                      <a:pt x="386" y="351"/>
                    </a:lnTo>
                    <a:lnTo>
                      <a:pt x="383" y="354"/>
                    </a:lnTo>
                    <a:lnTo>
                      <a:pt x="383" y="354"/>
                    </a:lnTo>
                    <a:lnTo>
                      <a:pt x="381" y="351"/>
                    </a:lnTo>
                    <a:lnTo>
                      <a:pt x="379" y="351"/>
                    </a:lnTo>
                    <a:lnTo>
                      <a:pt x="377" y="354"/>
                    </a:lnTo>
                    <a:lnTo>
                      <a:pt x="372" y="360"/>
                    </a:lnTo>
                    <a:lnTo>
                      <a:pt x="372" y="361"/>
                    </a:lnTo>
                    <a:lnTo>
                      <a:pt x="376" y="365"/>
                    </a:lnTo>
                    <a:lnTo>
                      <a:pt x="377" y="370"/>
                    </a:lnTo>
                    <a:lnTo>
                      <a:pt x="376" y="373"/>
                    </a:lnTo>
                    <a:lnTo>
                      <a:pt x="374" y="375"/>
                    </a:lnTo>
                    <a:lnTo>
                      <a:pt x="376" y="379"/>
                    </a:lnTo>
                    <a:lnTo>
                      <a:pt x="377" y="379"/>
                    </a:lnTo>
                    <a:lnTo>
                      <a:pt x="379" y="375"/>
                    </a:lnTo>
                    <a:lnTo>
                      <a:pt x="381" y="377"/>
                    </a:lnTo>
                    <a:lnTo>
                      <a:pt x="381" y="382"/>
                    </a:lnTo>
                    <a:lnTo>
                      <a:pt x="379" y="382"/>
                    </a:lnTo>
                    <a:lnTo>
                      <a:pt x="377" y="386"/>
                    </a:lnTo>
                    <a:lnTo>
                      <a:pt x="379" y="387"/>
                    </a:lnTo>
                    <a:lnTo>
                      <a:pt x="381" y="386"/>
                    </a:lnTo>
                    <a:lnTo>
                      <a:pt x="383" y="386"/>
                    </a:lnTo>
                    <a:lnTo>
                      <a:pt x="383" y="386"/>
                    </a:lnTo>
                    <a:lnTo>
                      <a:pt x="386" y="386"/>
                    </a:lnTo>
                    <a:lnTo>
                      <a:pt x="386" y="387"/>
                    </a:lnTo>
                    <a:lnTo>
                      <a:pt x="388" y="387"/>
                    </a:lnTo>
                    <a:lnTo>
                      <a:pt x="391" y="391"/>
                    </a:lnTo>
                    <a:lnTo>
                      <a:pt x="395" y="391"/>
                    </a:lnTo>
                    <a:lnTo>
                      <a:pt x="398" y="387"/>
                    </a:lnTo>
                    <a:lnTo>
                      <a:pt x="400" y="379"/>
                    </a:lnTo>
                    <a:lnTo>
                      <a:pt x="402" y="379"/>
                    </a:lnTo>
                    <a:lnTo>
                      <a:pt x="409" y="379"/>
                    </a:lnTo>
                    <a:lnTo>
                      <a:pt x="410" y="377"/>
                    </a:lnTo>
                    <a:lnTo>
                      <a:pt x="409" y="379"/>
                    </a:lnTo>
                    <a:lnTo>
                      <a:pt x="405" y="379"/>
                    </a:lnTo>
                    <a:lnTo>
                      <a:pt x="400" y="386"/>
                    </a:lnTo>
                    <a:lnTo>
                      <a:pt x="398" y="387"/>
                    </a:lnTo>
                    <a:lnTo>
                      <a:pt x="396" y="391"/>
                    </a:lnTo>
                    <a:lnTo>
                      <a:pt x="400" y="394"/>
                    </a:lnTo>
                    <a:lnTo>
                      <a:pt x="400" y="396"/>
                    </a:lnTo>
                    <a:lnTo>
                      <a:pt x="395" y="398"/>
                    </a:lnTo>
                    <a:lnTo>
                      <a:pt x="393" y="396"/>
                    </a:lnTo>
                    <a:lnTo>
                      <a:pt x="393" y="394"/>
                    </a:lnTo>
                    <a:lnTo>
                      <a:pt x="391" y="393"/>
                    </a:lnTo>
                    <a:lnTo>
                      <a:pt x="391" y="393"/>
                    </a:lnTo>
                    <a:lnTo>
                      <a:pt x="388" y="391"/>
                    </a:lnTo>
                    <a:lnTo>
                      <a:pt x="383" y="391"/>
                    </a:lnTo>
                    <a:lnTo>
                      <a:pt x="383" y="387"/>
                    </a:lnTo>
                    <a:lnTo>
                      <a:pt x="379" y="391"/>
                    </a:lnTo>
                    <a:lnTo>
                      <a:pt x="376" y="391"/>
                    </a:lnTo>
                    <a:lnTo>
                      <a:pt x="376" y="393"/>
                    </a:lnTo>
                    <a:lnTo>
                      <a:pt x="372" y="394"/>
                    </a:lnTo>
                    <a:lnTo>
                      <a:pt x="369" y="393"/>
                    </a:lnTo>
                    <a:lnTo>
                      <a:pt x="369" y="396"/>
                    </a:lnTo>
                    <a:lnTo>
                      <a:pt x="370" y="398"/>
                    </a:lnTo>
                    <a:lnTo>
                      <a:pt x="372" y="400"/>
                    </a:lnTo>
                    <a:lnTo>
                      <a:pt x="370" y="401"/>
                    </a:lnTo>
                    <a:lnTo>
                      <a:pt x="369" y="407"/>
                    </a:lnTo>
                    <a:lnTo>
                      <a:pt x="370" y="410"/>
                    </a:lnTo>
                    <a:lnTo>
                      <a:pt x="372" y="410"/>
                    </a:lnTo>
                    <a:lnTo>
                      <a:pt x="372" y="413"/>
                    </a:lnTo>
                    <a:lnTo>
                      <a:pt x="374" y="419"/>
                    </a:lnTo>
                    <a:lnTo>
                      <a:pt x="374" y="419"/>
                    </a:lnTo>
                    <a:lnTo>
                      <a:pt x="377" y="422"/>
                    </a:lnTo>
                    <a:lnTo>
                      <a:pt x="377" y="424"/>
                    </a:lnTo>
                    <a:lnTo>
                      <a:pt x="372" y="424"/>
                    </a:lnTo>
                    <a:lnTo>
                      <a:pt x="372" y="426"/>
                    </a:lnTo>
                    <a:lnTo>
                      <a:pt x="383" y="431"/>
                    </a:lnTo>
                    <a:lnTo>
                      <a:pt x="386" y="431"/>
                    </a:lnTo>
                    <a:lnTo>
                      <a:pt x="391" y="429"/>
                    </a:lnTo>
                    <a:lnTo>
                      <a:pt x="395" y="427"/>
                    </a:lnTo>
                    <a:lnTo>
                      <a:pt x="396" y="429"/>
                    </a:lnTo>
                    <a:lnTo>
                      <a:pt x="398" y="429"/>
                    </a:lnTo>
                    <a:lnTo>
                      <a:pt x="403" y="422"/>
                    </a:lnTo>
                    <a:lnTo>
                      <a:pt x="403" y="419"/>
                    </a:lnTo>
                    <a:lnTo>
                      <a:pt x="402" y="419"/>
                    </a:lnTo>
                    <a:lnTo>
                      <a:pt x="402" y="415"/>
                    </a:lnTo>
                    <a:lnTo>
                      <a:pt x="407" y="413"/>
                    </a:lnTo>
                    <a:lnTo>
                      <a:pt x="410" y="410"/>
                    </a:lnTo>
                    <a:lnTo>
                      <a:pt x="419" y="405"/>
                    </a:lnTo>
                    <a:lnTo>
                      <a:pt x="422" y="407"/>
                    </a:lnTo>
                    <a:lnTo>
                      <a:pt x="417" y="407"/>
                    </a:lnTo>
                    <a:lnTo>
                      <a:pt x="410" y="413"/>
                    </a:lnTo>
                    <a:lnTo>
                      <a:pt x="407" y="415"/>
                    </a:lnTo>
                    <a:lnTo>
                      <a:pt x="407" y="419"/>
                    </a:lnTo>
                    <a:lnTo>
                      <a:pt x="410" y="419"/>
                    </a:lnTo>
                    <a:lnTo>
                      <a:pt x="410" y="422"/>
                    </a:lnTo>
                    <a:lnTo>
                      <a:pt x="407" y="427"/>
                    </a:lnTo>
                    <a:lnTo>
                      <a:pt x="403" y="429"/>
                    </a:lnTo>
                    <a:lnTo>
                      <a:pt x="403" y="433"/>
                    </a:lnTo>
                    <a:lnTo>
                      <a:pt x="403" y="438"/>
                    </a:lnTo>
                    <a:lnTo>
                      <a:pt x="403" y="441"/>
                    </a:lnTo>
                    <a:lnTo>
                      <a:pt x="403" y="441"/>
                    </a:lnTo>
                    <a:lnTo>
                      <a:pt x="403" y="445"/>
                    </a:lnTo>
                    <a:lnTo>
                      <a:pt x="403" y="448"/>
                    </a:lnTo>
                    <a:lnTo>
                      <a:pt x="398" y="450"/>
                    </a:lnTo>
                    <a:lnTo>
                      <a:pt x="396" y="452"/>
                    </a:lnTo>
                    <a:lnTo>
                      <a:pt x="395" y="455"/>
                    </a:lnTo>
                    <a:lnTo>
                      <a:pt x="393" y="453"/>
                    </a:lnTo>
                    <a:lnTo>
                      <a:pt x="391" y="455"/>
                    </a:lnTo>
                    <a:lnTo>
                      <a:pt x="393" y="459"/>
                    </a:lnTo>
                    <a:lnTo>
                      <a:pt x="393" y="462"/>
                    </a:lnTo>
                    <a:lnTo>
                      <a:pt x="395" y="462"/>
                    </a:lnTo>
                    <a:lnTo>
                      <a:pt x="398" y="462"/>
                    </a:lnTo>
                    <a:lnTo>
                      <a:pt x="402" y="462"/>
                    </a:lnTo>
                    <a:lnTo>
                      <a:pt x="402" y="464"/>
                    </a:lnTo>
                    <a:lnTo>
                      <a:pt x="400" y="466"/>
                    </a:lnTo>
                    <a:lnTo>
                      <a:pt x="395" y="466"/>
                    </a:lnTo>
                    <a:lnTo>
                      <a:pt x="395" y="466"/>
                    </a:lnTo>
                    <a:lnTo>
                      <a:pt x="395" y="469"/>
                    </a:lnTo>
                    <a:lnTo>
                      <a:pt x="395" y="469"/>
                    </a:lnTo>
                    <a:lnTo>
                      <a:pt x="395" y="473"/>
                    </a:lnTo>
                    <a:lnTo>
                      <a:pt x="393" y="474"/>
                    </a:lnTo>
                    <a:lnTo>
                      <a:pt x="391" y="474"/>
                    </a:lnTo>
                    <a:lnTo>
                      <a:pt x="388" y="478"/>
                    </a:lnTo>
                    <a:lnTo>
                      <a:pt x="386" y="478"/>
                    </a:lnTo>
                    <a:lnTo>
                      <a:pt x="383" y="478"/>
                    </a:lnTo>
                    <a:lnTo>
                      <a:pt x="386" y="478"/>
                    </a:lnTo>
                    <a:lnTo>
                      <a:pt x="391" y="478"/>
                    </a:lnTo>
                    <a:lnTo>
                      <a:pt x="391" y="480"/>
                    </a:lnTo>
                    <a:lnTo>
                      <a:pt x="395" y="478"/>
                    </a:lnTo>
                    <a:lnTo>
                      <a:pt x="402" y="473"/>
                    </a:lnTo>
                    <a:lnTo>
                      <a:pt x="403" y="473"/>
                    </a:lnTo>
                    <a:lnTo>
                      <a:pt x="407" y="473"/>
                    </a:lnTo>
                    <a:lnTo>
                      <a:pt x="409" y="469"/>
                    </a:lnTo>
                    <a:lnTo>
                      <a:pt x="414" y="469"/>
                    </a:lnTo>
                    <a:lnTo>
                      <a:pt x="414" y="469"/>
                    </a:lnTo>
                    <a:lnTo>
                      <a:pt x="410" y="473"/>
                    </a:lnTo>
                    <a:lnTo>
                      <a:pt x="410" y="473"/>
                    </a:lnTo>
                    <a:lnTo>
                      <a:pt x="414" y="474"/>
                    </a:lnTo>
                    <a:lnTo>
                      <a:pt x="414" y="478"/>
                    </a:lnTo>
                    <a:lnTo>
                      <a:pt x="414" y="480"/>
                    </a:lnTo>
                    <a:lnTo>
                      <a:pt x="416" y="481"/>
                    </a:lnTo>
                    <a:lnTo>
                      <a:pt x="419" y="478"/>
                    </a:lnTo>
                    <a:lnTo>
                      <a:pt x="421" y="478"/>
                    </a:lnTo>
                    <a:lnTo>
                      <a:pt x="421" y="478"/>
                    </a:lnTo>
                    <a:lnTo>
                      <a:pt x="421" y="480"/>
                    </a:lnTo>
                    <a:lnTo>
                      <a:pt x="422" y="483"/>
                    </a:lnTo>
                    <a:lnTo>
                      <a:pt x="424" y="488"/>
                    </a:lnTo>
                    <a:lnTo>
                      <a:pt x="422" y="492"/>
                    </a:lnTo>
                    <a:lnTo>
                      <a:pt x="424" y="497"/>
                    </a:lnTo>
                    <a:lnTo>
                      <a:pt x="426" y="497"/>
                    </a:lnTo>
                    <a:lnTo>
                      <a:pt x="428" y="493"/>
                    </a:lnTo>
                    <a:lnTo>
                      <a:pt x="428" y="488"/>
                    </a:lnTo>
                    <a:lnTo>
                      <a:pt x="431" y="485"/>
                    </a:lnTo>
                    <a:lnTo>
                      <a:pt x="431" y="481"/>
                    </a:lnTo>
                    <a:lnTo>
                      <a:pt x="436" y="478"/>
                    </a:lnTo>
                    <a:lnTo>
                      <a:pt x="436" y="478"/>
                    </a:lnTo>
                    <a:lnTo>
                      <a:pt x="438" y="474"/>
                    </a:lnTo>
                    <a:lnTo>
                      <a:pt x="445" y="474"/>
                    </a:lnTo>
                    <a:lnTo>
                      <a:pt x="440" y="478"/>
                    </a:lnTo>
                    <a:lnTo>
                      <a:pt x="436" y="483"/>
                    </a:lnTo>
                    <a:lnTo>
                      <a:pt x="436" y="485"/>
                    </a:lnTo>
                    <a:lnTo>
                      <a:pt x="438" y="488"/>
                    </a:lnTo>
                    <a:lnTo>
                      <a:pt x="442" y="488"/>
                    </a:lnTo>
                    <a:lnTo>
                      <a:pt x="447" y="488"/>
                    </a:lnTo>
                    <a:lnTo>
                      <a:pt x="454" y="487"/>
                    </a:lnTo>
                    <a:lnTo>
                      <a:pt x="455" y="485"/>
                    </a:lnTo>
                    <a:lnTo>
                      <a:pt x="459" y="483"/>
                    </a:lnTo>
                    <a:lnTo>
                      <a:pt x="464" y="481"/>
                    </a:lnTo>
                    <a:lnTo>
                      <a:pt x="468" y="481"/>
                    </a:lnTo>
                    <a:lnTo>
                      <a:pt x="464" y="481"/>
                    </a:lnTo>
                    <a:lnTo>
                      <a:pt x="459" y="487"/>
                    </a:lnTo>
                    <a:lnTo>
                      <a:pt x="459" y="488"/>
                    </a:lnTo>
                    <a:lnTo>
                      <a:pt x="459" y="488"/>
                    </a:lnTo>
                    <a:lnTo>
                      <a:pt x="449" y="497"/>
                    </a:lnTo>
                    <a:lnTo>
                      <a:pt x="445" y="500"/>
                    </a:lnTo>
                    <a:lnTo>
                      <a:pt x="442" y="504"/>
                    </a:lnTo>
                    <a:lnTo>
                      <a:pt x="442" y="507"/>
                    </a:lnTo>
                    <a:lnTo>
                      <a:pt x="442" y="511"/>
                    </a:lnTo>
                    <a:lnTo>
                      <a:pt x="445" y="513"/>
                    </a:lnTo>
                    <a:lnTo>
                      <a:pt x="440" y="511"/>
                    </a:lnTo>
                    <a:lnTo>
                      <a:pt x="438" y="513"/>
                    </a:lnTo>
                    <a:lnTo>
                      <a:pt x="436" y="516"/>
                    </a:lnTo>
                    <a:lnTo>
                      <a:pt x="433" y="520"/>
                    </a:lnTo>
                    <a:lnTo>
                      <a:pt x="429" y="525"/>
                    </a:lnTo>
                    <a:lnTo>
                      <a:pt x="428" y="528"/>
                    </a:lnTo>
                    <a:lnTo>
                      <a:pt x="429" y="530"/>
                    </a:lnTo>
                    <a:lnTo>
                      <a:pt x="429" y="532"/>
                    </a:lnTo>
                    <a:lnTo>
                      <a:pt x="429" y="533"/>
                    </a:lnTo>
                    <a:lnTo>
                      <a:pt x="428" y="533"/>
                    </a:lnTo>
                    <a:lnTo>
                      <a:pt x="426" y="532"/>
                    </a:lnTo>
                    <a:lnTo>
                      <a:pt x="424" y="530"/>
                    </a:lnTo>
                    <a:lnTo>
                      <a:pt x="421" y="533"/>
                    </a:lnTo>
                    <a:lnTo>
                      <a:pt x="416" y="537"/>
                    </a:lnTo>
                    <a:lnTo>
                      <a:pt x="417" y="539"/>
                    </a:lnTo>
                    <a:lnTo>
                      <a:pt x="416" y="542"/>
                    </a:lnTo>
                    <a:lnTo>
                      <a:pt x="414" y="540"/>
                    </a:lnTo>
                    <a:lnTo>
                      <a:pt x="414" y="539"/>
                    </a:lnTo>
                    <a:lnTo>
                      <a:pt x="410" y="540"/>
                    </a:lnTo>
                    <a:lnTo>
                      <a:pt x="405" y="547"/>
                    </a:lnTo>
                    <a:lnTo>
                      <a:pt x="402" y="551"/>
                    </a:lnTo>
                    <a:lnTo>
                      <a:pt x="403" y="553"/>
                    </a:lnTo>
                    <a:lnTo>
                      <a:pt x="402" y="553"/>
                    </a:lnTo>
                    <a:lnTo>
                      <a:pt x="398" y="553"/>
                    </a:lnTo>
                    <a:lnTo>
                      <a:pt x="398" y="547"/>
                    </a:lnTo>
                    <a:lnTo>
                      <a:pt x="393" y="553"/>
                    </a:lnTo>
                    <a:lnTo>
                      <a:pt x="391" y="553"/>
                    </a:lnTo>
                    <a:lnTo>
                      <a:pt x="386" y="556"/>
                    </a:lnTo>
                    <a:lnTo>
                      <a:pt x="386" y="560"/>
                    </a:lnTo>
                    <a:lnTo>
                      <a:pt x="383" y="560"/>
                    </a:lnTo>
                    <a:lnTo>
                      <a:pt x="379" y="560"/>
                    </a:lnTo>
                    <a:lnTo>
                      <a:pt x="374" y="563"/>
                    </a:lnTo>
                    <a:lnTo>
                      <a:pt x="367" y="566"/>
                    </a:lnTo>
                    <a:lnTo>
                      <a:pt x="360" y="570"/>
                    </a:lnTo>
                    <a:lnTo>
                      <a:pt x="360" y="575"/>
                    </a:lnTo>
                    <a:lnTo>
                      <a:pt x="360" y="575"/>
                    </a:lnTo>
                    <a:lnTo>
                      <a:pt x="360" y="579"/>
                    </a:lnTo>
                    <a:lnTo>
                      <a:pt x="360" y="584"/>
                    </a:lnTo>
                    <a:lnTo>
                      <a:pt x="360" y="584"/>
                    </a:lnTo>
                    <a:lnTo>
                      <a:pt x="358" y="579"/>
                    </a:lnTo>
                    <a:lnTo>
                      <a:pt x="356" y="579"/>
                    </a:lnTo>
                    <a:lnTo>
                      <a:pt x="355" y="582"/>
                    </a:lnTo>
                    <a:lnTo>
                      <a:pt x="355" y="584"/>
                    </a:lnTo>
                    <a:lnTo>
                      <a:pt x="353" y="584"/>
                    </a:lnTo>
                    <a:lnTo>
                      <a:pt x="351" y="584"/>
                    </a:lnTo>
                    <a:lnTo>
                      <a:pt x="351" y="579"/>
                    </a:lnTo>
                    <a:lnTo>
                      <a:pt x="353" y="579"/>
                    </a:lnTo>
                    <a:lnTo>
                      <a:pt x="351" y="575"/>
                    </a:lnTo>
                    <a:lnTo>
                      <a:pt x="348" y="575"/>
                    </a:lnTo>
                    <a:lnTo>
                      <a:pt x="346" y="575"/>
                    </a:lnTo>
                    <a:lnTo>
                      <a:pt x="343" y="575"/>
                    </a:lnTo>
                    <a:lnTo>
                      <a:pt x="337" y="575"/>
                    </a:lnTo>
                    <a:lnTo>
                      <a:pt x="336" y="579"/>
                    </a:lnTo>
                    <a:lnTo>
                      <a:pt x="332" y="582"/>
                    </a:lnTo>
                    <a:lnTo>
                      <a:pt x="329" y="584"/>
                    </a:lnTo>
                    <a:lnTo>
                      <a:pt x="323" y="587"/>
                    </a:lnTo>
                    <a:lnTo>
                      <a:pt x="320" y="589"/>
                    </a:lnTo>
                    <a:lnTo>
                      <a:pt x="320" y="591"/>
                    </a:lnTo>
                    <a:lnTo>
                      <a:pt x="318" y="593"/>
                    </a:lnTo>
                    <a:lnTo>
                      <a:pt x="318" y="593"/>
                    </a:lnTo>
                    <a:lnTo>
                      <a:pt x="315" y="594"/>
                    </a:lnTo>
                    <a:lnTo>
                      <a:pt x="310" y="596"/>
                    </a:lnTo>
                    <a:lnTo>
                      <a:pt x="310" y="598"/>
                    </a:lnTo>
                    <a:lnTo>
                      <a:pt x="310" y="598"/>
                    </a:lnTo>
                    <a:lnTo>
                      <a:pt x="306" y="598"/>
                    </a:lnTo>
                    <a:lnTo>
                      <a:pt x="303" y="598"/>
                    </a:lnTo>
                    <a:lnTo>
                      <a:pt x="303" y="601"/>
                    </a:lnTo>
                    <a:lnTo>
                      <a:pt x="301" y="605"/>
                    </a:lnTo>
                    <a:lnTo>
                      <a:pt x="303" y="606"/>
                    </a:lnTo>
                    <a:lnTo>
                      <a:pt x="304" y="606"/>
                    </a:lnTo>
                    <a:lnTo>
                      <a:pt x="306" y="603"/>
                    </a:lnTo>
                    <a:lnTo>
                      <a:pt x="306" y="601"/>
                    </a:lnTo>
                    <a:lnTo>
                      <a:pt x="306" y="600"/>
                    </a:lnTo>
                    <a:lnTo>
                      <a:pt x="310" y="601"/>
                    </a:lnTo>
                    <a:lnTo>
                      <a:pt x="306" y="605"/>
                    </a:lnTo>
                    <a:lnTo>
                      <a:pt x="310" y="605"/>
                    </a:lnTo>
                    <a:lnTo>
                      <a:pt x="310" y="605"/>
                    </a:lnTo>
                    <a:lnTo>
                      <a:pt x="315" y="600"/>
                    </a:lnTo>
                    <a:lnTo>
                      <a:pt x="315" y="598"/>
                    </a:lnTo>
                    <a:lnTo>
                      <a:pt x="318" y="601"/>
                    </a:lnTo>
                    <a:lnTo>
                      <a:pt x="315" y="603"/>
                    </a:lnTo>
                    <a:lnTo>
                      <a:pt x="318" y="605"/>
                    </a:lnTo>
                    <a:lnTo>
                      <a:pt x="318" y="605"/>
                    </a:lnTo>
                    <a:lnTo>
                      <a:pt x="322" y="601"/>
                    </a:lnTo>
                    <a:lnTo>
                      <a:pt x="322" y="603"/>
                    </a:lnTo>
                    <a:lnTo>
                      <a:pt x="323" y="603"/>
                    </a:lnTo>
                    <a:lnTo>
                      <a:pt x="323" y="601"/>
                    </a:lnTo>
                    <a:lnTo>
                      <a:pt x="325" y="600"/>
                    </a:lnTo>
                    <a:lnTo>
                      <a:pt x="329" y="600"/>
                    </a:lnTo>
                    <a:lnTo>
                      <a:pt x="332" y="598"/>
                    </a:lnTo>
                    <a:lnTo>
                      <a:pt x="334" y="594"/>
                    </a:lnTo>
                    <a:lnTo>
                      <a:pt x="334" y="591"/>
                    </a:lnTo>
                    <a:lnTo>
                      <a:pt x="337" y="589"/>
                    </a:lnTo>
                    <a:lnTo>
                      <a:pt x="337" y="587"/>
                    </a:lnTo>
                    <a:lnTo>
                      <a:pt x="341" y="587"/>
                    </a:lnTo>
                    <a:lnTo>
                      <a:pt x="344" y="587"/>
                    </a:lnTo>
                    <a:lnTo>
                      <a:pt x="343" y="589"/>
                    </a:lnTo>
                    <a:lnTo>
                      <a:pt x="341" y="591"/>
                    </a:lnTo>
                    <a:lnTo>
                      <a:pt x="337" y="593"/>
                    </a:lnTo>
                    <a:lnTo>
                      <a:pt x="337" y="596"/>
                    </a:lnTo>
                    <a:lnTo>
                      <a:pt x="341" y="598"/>
                    </a:lnTo>
                    <a:lnTo>
                      <a:pt x="344" y="594"/>
                    </a:lnTo>
                    <a:lnTo>
                      <a:pt x="344" y="591"/>
                    </a:lnTo>
                    <a:lnTo>
                      <a:pt x="348" y="591"/>
                    </a:lnTo>
                    <a:lnTo>
                      <a:pt x="348" y="593"/>
                    </a:lnTo>
                    <a:lnTo>
                      <a:pt x="350" y="589"/>
                    </a:lnTo>
                    <a:lnTo>
                      <a:pt x="351" y="589"/>
                    </a:lnTo>
                    <a:lnTo>
                      <a:pt x="351" y="593"/>
                    </a:lnTo>
                    <a:lnTo>
                      <a:pt x="350" y="594"/>
                    </a:lnTo>
                    <a:lnTo>
                      <a:pt x="351" y="594"/>
                    </a:lnTo>
                    <a:lnTo>
                      <a:pt x="355" y="591"/>
                    </a:lnTo>
                    <a:lnTo>
                      <a:pt x="356" y="591"/>
                    </a:lnTo>
                    <a:lnTo>
                      <a:pt x="360" y="589"/>
                    </a:lnTo>
                    <a:lnTo>
                      <a:pt x="363" y="589"/>
                    </a:lnTo>
                    <a:lnTo>
                      <a:pt x="365" y="584"/>
                    </a:lnTo>
                    <a:lnTo>
                      <a:pt x="367" y="584"/>
                    </a:lnTo>
                    <a:lnTo>
                      <a:pt x="370" y="584"/>
                    </a:lnTo>
                    <a:lnTo>
                      <a:pt x="370" y="587"/>
                    </a:lnTo>
                    <a:lnTo>
                      <a:pt x="367" y="589"/>
                    </a:lnTo>
                    <a:lnTo>
                      <a:pt x="365" y="593"/>
                    </a:lnTo>
                    <a:lnTo>
                      <a:pt x="365" y="594"/>
                    </a:lnTo>
                    <a:lnTo>
                      <a:pt x="367" y="594"/>
                    </a:lnTo>
                    <a:lnTo>
                      <a:pt x="372" y="589"/>
                    </a:lnTo>
                    <a:lnTo>
                      <a:pt x="372" y="584"/>
                    </a:lnTo>
                    <a:lnTo>
                      <a:pt x="372" y="584"/>
                    </a:lnTo>
                    <a:lnTo>
                      <a:pt x="376" y="584"/>
                    </a:lnTo>
                    <a:lnTo>
                      <a:pt x="377" y="584"/>
                    </a:lnTo>
                    <a:lnTo>
                      <a:pt x="379" y="584"/>
                    </a:lnTo>
                    <a:lnTo>
                      <a:pt x="383" y="584"/>
                    </a:lnTo>
                    <a:lnTo>
                      <a:pt x="386" y="582"/>
                    </a:lnTo>
                    <a:lnTo>
                      <a:pt x="386" y="582"/>
                    </a:lnTo>
                    <a:lnTo>
                      <a:pt x="388" y="582"/>
                    </a:lnTo>
                    <a:lnTo>
                      <a:pt x="391" y="579"/>
                    </a:lnTo>
                    <a:lnTo>
                      <a:pt x="391" y="575"/>
                    </a:lnTo>
                    <a:lnTo>
                      <a:pt x="391" y="575"/>
                    </a:lnTo>
                    <a:lnTo>
                      <a:pt x="391" y="579"/>
                    </a:lnTo>
                    <a:lnTo>
                      <a:pt x="391" y="584"/>
                    </a:lnTo>
                    <a:lnTo>
                      <a:pt x="393" y="582"/>
                    </a:lnTo>
                    <a:lnTo>
                      <a:pt x="396" y="579"/>
                    </a:lnTo>
                    <a:lnTo>
                      <a:pt x="395" y="579"/>
                    </a:lnTo>
                    <a:lnTo>
                      <a:pt x="396" y="575"/>
                    </a:lnTo>
                    <a:lnTo>
                      <a:pt x="396" y="575"/>
                    </a:lnTo>
                    <a:lnTo>
                      <a:pt x="391" y="575"/>
                    </a:lnTo>
                    <a:lnTo>
                      <a:pt x="391" y="573"/>
                    </a:lnTo>
                    <a:lnTo>
                      <a:pt x="395" y="572"/>
                    </a:lnTo>
                    <a:lnTo>
                      <a:pt x="400" y="570"/>
                    </a:lnTo>
                    <a:lnTo>
                      <a:pt x="407" y="568"/>
                    </a:lnTo>
                    <a:lnTo>
                      <a:pt x="409" y="568"/>
                    </a:lnTo>
                    <a:lnTo>
                      <a:pt x="409" y="565"/>
                    </a:lnTo>
                    <a:lnTo>
                      <a:pt x="407" y="565"/>
                    </a:lnTo>
                    <a:lnTo>
                      <a:pt x="409" y="563"/>
                    </a:lnTo>
                    <a:lnTo>
                      <a:pt x="410" y="563"/>
                    </a:lnTo>
                    <a:lnTo>
                      <a:pt x="414" y="561"/>
                    </a:lnTo>
                    <a:lnTo>
                      <a:pt x="414" y="561"/>
                    </a:lnTo>
                    <a:lnTo>
                      <a:pt x="416" y="565"/>
                    </a:lnTo>
                    <a:lnTo>
                      <a:pt x="417" y="565"/>
                    </a:lnTo>
                    <a:lnTo>
                      <a:pt x="417" y="563"/>
                    </a:lnTo>
                    <a:lnTo>
                      <a:pt x="417" y="561"/>
                    </a:lnTo>
                    <a:lnTo>
                      <a:pt x="421" y="560"/>
                    </a:lnTo>
                    <a:lnTo>
                      <a:pt x="421" y="556"/>
                    </a:lnTo>
                    <a:lnTo>
                      <a:pt x="421" y="556"/>
                    </a:lnTo>
                    <a:lnTo>
                      <a:pt x="422" y="556"/>
                    </a:lnTo>
                    <a:lnTo>
                      <a:pt x="422" y="560"/>
                    </a:lnTo>
                    <a:lnTo>
                      <a:pt x="424" y="560"/>
                    </a:lnTo>
                    <a:lnTo>
                      <a:pt x="429" y="560"/>
                    </a:lnTo>
                    <a:lnTo>
                      <a:pt x="431" y="556"/>
                    </a:lnTo>
                    <a:lnTo>
                      <a:pt x="433" y="556"/>
                    </a:lnTo>
                    <a:lnTo>
                      <a:pt x="433" y="553"/>
                    </a:lnTo>
                    <a:lnTo>
                      <a:pt x="436" y="553"/>
                    </a:lnTo>
                    <a:lnTo>
                      <a:pt x="436" y="553"/>
                    </a:lnTo>
                    <a:lnTo>
                      <a:pt x="440" y="553"/>
                    </a:lnTo>
                    <a:lnTo>
                      <a:pt x="445" y="547"/>
                    </a:lnTo>
                    <a:lnTo>
                      <a:pt x="445" y="546"/>
                    </a:lnTo>
                    <a:lnTo>
                      <a:pt x="442" y="546"/>
                    </a:lnTo>
                    <a:lnTo>
                      <a:pt x="440" y="546"/>
                    </a:lnTo>
                    <a:lnTo>
                      <a:pt x="440" y="546"/>
                    </a:lnTo>
                    <a:lnTo>
                      <a:pt x="445" y="542"/>
                    </a:lnTo>
                    <a:lnTo>
                      <a:pt x="447" y="540"/>
                    </a:lnTo>
                    <a:lnTo>
                      <a:pt x="450" y="537"/>
                    </a:lnTo>
                    <a:lnTo>
                      <a:pt x="452" y="539"/>
                    </a:lnTo>
                    <a:lnTo>
                      <a:pt x="452" y="539"/>
                    </a:lnTo>
                    <a:lnTo>
                      <a:pt x="455" y="535"/>
                    </a:lnTo>
                    <a:lnTo>
                      <a:pt x="459" y="533"/>
                    </a:lnTo>
                    <a:lnTo>
                      <a:pt x="459" y="532"/>
                    </a:lnTo>
                    <a:lnTo>
                      <a:pt x="462" y="530"/>
                    </a:lnTo>
                    <a:lnTo>
                      <a:pt x="464" y="528"/>
                    </a:lnTo>
                    <a:lnTo>
                      <a:pt x="464" y="528"/>
                    </a:lnTo>
                    <a:lnTo>
                      <a:pt x="468" y="530"/>
                    </a:lnTo>
                    <a:lnTo>
                      <a:pt x="468" y="532"/>
                    </a:lnTo>
                    <a:lnTo>
                      <a:pt x="468" y="528"/>
                    </a:lnTo>
                    <a:lnTo>
                      <a:pt x="471" y="528"/>
                    </a:lnTo>
                    <a:lnTo>
                      <a:pt x="473" y="528"/>
                    </a:lnTo>
                    <a:lnTo>
                      <a:pt x="473" y="525"/>
                    </a:lnTo>
                    <a:lnTo>
                      <a:pt x="476" y="525"/>
                    </a:lnTo>
                    <a:lnTo>
                      <a:pt x="476" y="525"/>
                    </a:lnTo>
                    <a:lnTo>
                      <a:pt x="478" y="525"/>
                    </a:lnTo>
                    <a:lnTo>
                      <a:pt x="483" y="525"/>
                    </a:lnTo>
                    <a:lnTo>
                      <a:pt x="483" y="523"/>
                    </a:lnTo>
                    <a:lnTo>
                      <a:pt x="485" y="523"/>
                    </a:lnTo>
                    <a:lnTo>
                      <a:pt x="487" y="525"/>
                    </a:lnTo>
                    <a:lnTo>
                      <a:pt x="487" y="525"/>
                    </a:lnTo>
                    <a:lnTo>
                      <a:pt x="487" y="523"/>
                    </a:lnTo>
                    <a:lnTo>
                      <a:pt x="490" y="525"/>
                    </a:lnTo>
                    <a:lnTo>
                      <a:pt x="490" y="523"/>
                    </a:lnTo>
                    <a:lnTo>
                      <a:pt x="492" y="518"/>
                    </a:lnTo>
                    <a:lnTo>
                      <a:pt x="490" y="518"/>
                    </a:lnTo>
                    <a:lnTo>
                      <a:pt x="490" y="520"/>
                    </a:lnTo>
                    <a:lnTo>
                      <a:pt x="490" y="516"/>
                    </a:lnTo>
                    <a:lnTo>
                      <a:pt x="494" y="514"/>
                    </a:lnTo>
                    <a:lnTo>
                      <a:pt x="495" y="514"/>
                    </a:lnTo>
                    <a:lnTo>
                      <a:pt x="497" y="514"/>
                    </a:lnTo>
                    <a:lnTo>
                      <a:pt x="497" y="514"/>
                    </a:lnTo>
                    <a:lnTo>
                      <a:pt x="495" y="513"/>
                    </a:lnTo>
                    <a:lnTo>
                      <a:pt x="494" y="511"/>
                    </a:lnTo>
                    <a:lnTo>
                      <a:pt x="495" y="509"/>
                    </a:lnTo>
                    <a:lnTo>
                      <a:pt x="499" y="511"/>
                    </a:lnTo>
                    <a:lnTo>
                      <a:pt x="502" y="507"/>
                    </a:lnTo>
                    <a:lnTo>
                      <a:pt x="508" y="507"/>
                    </a:lnTo>
                    <a:lnTo>
                      <a:pt x="509" y="504"/>
                    </a:lnTo>
                    <a:lnTo>
                      <a:pt x="513" y="504"/>
                    </a:lnTo>
                    <a:lnTo>
                      <a:pt x="518" y="500"/>
                    </a:lnTo>
                    <a:lnTo>
                      <a:pt x="518" y="495"/>
                    </a:lnTo>
                    <a:lnTo>
                      <a:pt x="515" y="495"/>
                    </a:lnTo>
                    <a:lnTo>
                      <a:pt x="513" y="495"/>
                    </a:lnTo>
                    <a:lnTo>
                      <a:pt x="513" y="488"/>
                    </a:lnTo>
                    <a:lnTo>
                      <a:pt x="509" y="488"/>
                    </a:lnTo>
                    <a:lnTo>
                      <a:pt x="508" y="488"/>
                    </a:lnTo>
                    <a:lnTo>
                      <a:pt x="508" y="487"/>
                    </a:lnTo>
                    <a:lnTo>
                      <a:pt x="508" y="483"/>
                    </a:lnTo>
                    <a:lnTo>
                      <a:pt x="513" y="481"/>
                    </a:lnTo>
                    <a:lnTo>
                      <a:pt x="513" y="480"/>
                    </a:lnTo>
                    <a:lnTo>
                      <a:pt x="515" y="478"/>
                    </a:lnTo>
                    <a:lnTo>
                      <a:pt x="515" y="478"/>
                    </a:lnTo>
                    <a:lnTo>
                      <a:pt x="515" y="478"/>
                    </a:lnTo>
                    <a:lnTo>
                      <a:pt x="518" y="474"/>
                    </a:lnTo>
                    <a:lnTo>
                      <a:pt x="520" y="474"/>
                    </a:lnTo>
                    <a:lnTo>
                      <a:pt x="525" y="473"/>
                    </a:lnTo>
                    <a:lnTo>
                      <a:pt x="527" y="474"/>
                    </a:lnTo>
                    <a:lnTo>
                      <a:pt x="532" y="473"/>
                    </a:lnTo>
                    <a:lnTo>
                      <a:pt x="532" y="474"/>
                    </a:lnTo>
                    <a:lnTo>
                      <a:pt x="532" y="478"/>
                    </a:lnTo>
                    <a:lnTo>
                      <a:pt x="532" y="478"/>
                    </a:lnTo>
                    <a:lnTo>
                      <a:pt x="537" y="473"/>
                    </a:lnTo>
                    <a:lnTo>
                      <a:pt x="537" y="473"/>
                    </a:lnTo>
                    <a:lnTo>
                      <a:pt x="535" y="473"/>
                    </a:lnTo>
                    <a:lnTo>
                      <a:pt x="535" y="469"/>
                    </a:lnTo>
                    <a:lnTo>
                      <a:pt x="537" y="469"/>
                    </a:lnTo>
                    <a:lnTo>
                      <a:pt x="541" y="469"/>
                    </a:lnTo>
                    <a:lnTo>
                      <a:pt x="544" y="469"/>
                    </a:lnTo>
                    <a:lnTo>
                      <a:pt x="546" y="464"/>
                    </a:lnTo>
                    <a:lnTo>
                      <a:pt x="544" y="460"/>
                    </a:lnTo>
                    <a:lnTo>
                      <a:pt x="541" y="457"/>
                    </a:lnTo>
                    <a:lnTo>
                      <a:pt x="537" y="457"/>
                    </a:lnTo>
                    <a:lnTo>
                      <a:pt x="537" y="459"/>
                    </a:lnTo>
                    <a:lnTo>
                      <a:pt x="537" y="457"/>
                    </a:lnTo>
                    <a:lnTo>
                      <a:pt x="537" y="455"/>
                    </a:lnTo>
                    <a:lnTo>
                      <a:pt x="542" y="455"/>
                    </a:lnTo>
                    <a:lnTo>
                      <a:pt x="544" y="457"/>
                    </a:lnTo>
                    <a:lnTo>
                      <a:pt x="549" y="457"/>
                    </a:lnTo>
                    <a:lnTo>
                      <a:pt x="553" y="453"/>
                    </a:lnTo>
                    <a:lnTo>
                      <a:pt x="553" y="452"/>
                    </a:lnTo>
                    <a:lnTo>
                      <a:pt x="560" y="447"/>
                    </a:lnTo>
                    <a:lnTo>
                      <a:pt x="565" y="443"/>
                    </a:lnTo>
                    <a:lnTo>
                      <a:pt x="568" y="443"/>
                    </a:lnTo>
                    <a:lnTo>
                      <a:pt x="572" y="441"/>
                    </a:lnTo>
                    <a:lnTo>
                      <a:pt x="572" y="441"/>
                    </a:lnTo>
                    <a:lnTo>
                      <a:pt x="577" y="436"/>
                    </a:lnTo>
                    <a:lnTo>
                      <a:pt x="582" y="434"/>
                    </a:lnTo>
                    <a:lnTo>
                      <a:pt x="591" y="427"/>
                    </a:lnTo>
                    <a:lnTo>
                      <a:pt x="595" y="427"/>
                    </a:lnTo>
                    <a:lnTo>
                      <a:pt x="601" y="420"/>
                    </a:lnTo>
                    <a:lnTo>
                      <a:pt x="600" y="424"/>
                    </a:lnTo>
                    <a:lnTo>
                      <a:pt x="600" y="429"/>
                    </a:lnTo>
                    <a:lnTo>
                      <a:pt x="601" y="429"/>
                    </a:lnTo>
                    <a:lnTo>
                      <a:pt x="603" y="431"/>
                    </a:lnTo>
                    <a:lnTo>
                      <a:pt x="605" y="431"/>
                    </a:lnTo>
                    <a:lnTo>
                      <a:pt x="610" y="426"/>
                    </a:lnTo>
                    <a:lnTo>
                      <a:pt x="614" y="426"/>
                    </a:lnTo>
                    <a:lnTo>
                      <a:pt x="619" y="422"/>
                    </a:lnTo>
                    <a:lnTo>
                      <a:pt x="621" y="420"/>
                    </a:lnTo>
                    <a:lnTo>
                      <a:pt x="619" y="424"/>
                    </a:lnTo>
                    <a:lnTo>
                      <a:pt x="614" y="427"/>
                    </a:lnTo>
                    <a:lnTo>
                      <a:pt x="610" y="427"/>
                    </a:lnTo>
                    <a:lnTo>
                      <a:pt x="603" y="436"/>
                    </a:lnTo>
                    <a:lnTo>
                      <a:pt x="603" y="438"/>
                    </a:lnTo>
                    <a:lnTo>
                      <a:pt x="605" y="443"/>
                    </a:lnTo>
                    <a:lnTo>
                      <a:pt x="608" y="447"/>
                    </a:lnTo>
                    <a:lnTo>
                      <a:pt x="605" y="445"/>
                    </a:lnTo>
                    <a:lnTo>
                      <a:pt x="601" y="445"/>
                    </a:lnTo>
                    <a:lnTo>
                      <a:pt x="600" y="445"/>
                    </a:lnTo>
                    <a:lnTo>
                      <a:pt x="596" y="445"/>
                    </a:lnTo>
                    <a:lnTo>
                      <a:pt x="595" y="443"/>
                    </a:lnTo>
                    <a:lnTo>
                      <a:pt x="595" y="438"/>
                    </a:lnTo>
                    <a:lnTo>
                      <a:pt x="586" y="441"/>
                    </a:lnTo>
                    <a:lnTo>
                      <a:pt x="586" y="441"/>
                    </a:lnTo>
                    <a:lnTo>
                      <a:pt x="581" y="445"/>
                    </a:lnTo>
                    <a:lnTo>
                      <a:pt x="575" y="445"/>
                    </a:lnTo>
                    <a:lnTo>
                      <a:pt x="572" y="448"/>
                    </a:lnTo>
                    <a:lnTo>
                      <a:pt x="572" y="452"/>
                    </a:lnTo>
                    <a:lnTo>
                      <a:pt x="572" y="453"/>
                    </a:lnTo>
                    <a:lnTo>
                      <a:pt x="568" y="459"/>
                    </a:lnTo>
                    <a:lnTo>
                      <a:pt x="565" y="462"/>
                    </a:lnTo>
                    <a:lnTo>
                      <a:pt x="563" y="466"/>
                    </a:lnTo>
                    <a:lnTo>
                      <a:pt x="555" y="474"/>
                    </a:lnTo>
                    <a:lnTo>
                      <a:pt x="551" y="478"/>
                    </a:lnTo>
                    <a:lnTo>
                      <a:pt x="553" y="480"/>
                    </a:lnTo>
                    <a:lnTo>
                      <a:pt x="556" y="485"/>
                    </a:lnTo>
                    <a:lnTo>
                      <a:pt x="558" y="481"/>
                    </a:lnTo>
                    <a:lnTo>
                      <a:pt x="560" y="481"/>
                    </a:lnTo>
                    <a:lnTo>
                      <a:pt x="563" y="480"/>
                    </a:lnTo>
                    <a:lnTo>
                      <a:pt x="563" y="480"/>
                    </a:lnTo>
                    <a:lnTo>
                      <a:pt x="563" y="483"/>
                    </a:lnTo>
                    <a:lnTo>
                      <a:pt x="560" y="487"/>
                    </a:lnTo>
                    <a:lnTo>
                      <a:pt x="556" y="488"/>
                    </a:lnTo>
                    <a:lnTo>
                      <a:pt x="555" y="488"/>
                    </a:lnTo>
                    <a:lnTo>
                      <a:pt x="551" y="488"/>
                    </a:lnTo>
                    <a:lnTo>
                      <a:pt x="548" y="488"/>
                    </a:lnTo>
                    <a:lnTo>
                      <a:pt x="546" y="488"/>
                    </a:lnTo>
                    <a:lnTo>
                      <a:pt x="546" y="493"/>
                    </a:lnTo>
                    <a:lnTo>
                      <a:pt x="544" y="493"/>
                    </a:lnTo>
                    <a:lnTo>
                      <a:pt x="541" y="493"/>
                    </a:lnTo>
                    <a:lnTo>
                      <a:pt x="541" y="497"/>
                    </a:lnTo>
                    <a:lnTo>
                      <a:pt x="546" y="502"/>
                    </a:lnTo>
                    <a:lnTo>
                      <a:pt x="548" y="500"/>
                    </a:lnTo>
                    <a:lnTo>
                      <a:pt x="549" y="500"/>
                    </a:lnTo>
                    <a:lnTo>
                      <a:pt x="551" y="500"/>
                    </a:lnTo>
                    <a:lnTo>
                      <a:pt x="553" y="497"/>
                    </a:lnTo>
                    <a:lnTo>
                      <a:pt x="555" y="497"/>
                    </a:lnTo>
                    <a:lnTo>
                      <a:pt x="555" y="500"/>
                    </a:lnTo>
                    <a:lnTo>
                      <a:pt x="556" y="500"/>
                    </a:lnTo>
                    <a:lnTo>
                      <a:pt x="558" y="497"/>
                    </a:lnTo>
                    <a:lnTo>
                      <a:pt x="560" y="497"/>
                    </a:lnTo>
                    <a:lnTo>
                      <a:pt x="563" y="493"/>
                    </a:lnTo>
                    <a:lnTo>
                      <a:pt x="563" y="488"/>
                    </a:lnTo>
                    <a:lnTo>
                      <a:pt x="565" y="488"/>
                    </a:lnTo>
                    <a:lnTo>
                      <a:pt x="565" y="488"/>
                    </a:lnTo>
                    <a:lnTo>
                      <a:pt x="563" y="492"/>
                    </a:lnTo>
                    <a:lnTo>
                      <a:pt x="565" y="493"/>
                    </a:lnTo>
                    <a:lnTo>
                      <a:pt x="572" y="493"/>
                    </a:lnTo>
                    <a:lnTo>
                      <a:pt x="575" y="488"/>
                    </a:lnTo>
                    <a:lnTo>
                      <a:pt x="579" y="488"/>
                    </a:lnTo>
                    <a:lnTo>
                      <a:pt x="581" y="488"/>
                    </a:lnTo>
                    <a:lnTo>
                      <a:pt x="582" y="488"/>
                    </a:lnTo>
                    <a:lnTo>
                      <a:pt x="582" y="483"/>
                    </a:lnTo>
                    <a:lnTo>
                      <a:pt x="586" y="480"/>
                    </a:lnTo>
                    <a:lnTo>
                      <a:pt x="588" y="480"/>
                    </a:lnTo>
                    <a:lnTo>
                      <a:pt x="586" y="485"/>
                    </a:lnTo>
                    <a:lnTo>
                      <a:pt x="586" y="488"/>
                    </a:lnTo>
                    <a:lnTo>
                      <a:pt x="586" y="487"/>
                    </a:lnTo>
                    <a:lnTo>
                      <a:pt x="591" y="481"/>
                    </a:lnTo>
                    <a:lnTo>
                      <a:pt x="595" y="474"/>
                    </a:lnTo>
                    <a:lnTo>
                      <a:pt x="595" y="474"/>
                    </a:lnTo>
                    <a:lnTo>
                      <a:pt x="595" y="478"/>
                    </a:lnTo>
                    <a:lnTo>
                      <a:pt x="595" y="481"/>
                    </a:lnTo>
                    <a:lnTo>
                      <a:pt x="595" y="481"/>
                    </a:lnTo>
                    <a:lnTo>
                      <a:pt x="596" y="478"/>
                    </a:lnTo>
                    <a:lnTo>
                      <a:pt x="598" y="480"/>
                    </a:lnTo>
                    <a:lnTo>
                      <a:pt x="598" y="481"/>
                    </a:lnTo>
                    <a:lnTo>
                      <a:pt x="601" y="483"/>
                    </a:lnTo>
                    <a:lnTo>
                      <a:pt x="603" y="485"/>
                    </a:lnTo>
                    <a:lnTo>
                      <a:pt x="605" y="481"/>
                    </a:lnTo>
                    <a:lnTo>
                      <a:pt x="608" y="478"/>
                    </a:lnTo>
                    <a:lnTo>
                      <a:pt x="610" y="478"/>
                    </a:lnTo>
                    <a:lnTo>
                      <a:pt x="614" y="474"/>
                    </a:lnTo>
                    <a:lnTo>
                      <a:pt x="614" y="474"/>
                    </a:lnTo>
                    <a:lnTo>
                      <a:pt x="614" y="469"/>
                    </a:lnTo>
                    <a:lnTo>
                      <a:pt x="619" y="469"/>
                    </a:lnTo>
                    <a:lnTo>
                      <a:pt x="621" y="466"/>
                    </a:lnTo>
                    <a:lnTo>
                      <a:pt x="621" y="464"/>
                    </a:lnTo>
                    <a:lnTo>
                      <a:pt x="617" y="464"/>
                    </a:lnTo>
                    <a:lnTo>
                      <a:pt x="617" y="462"/>
                    </a:lnTo>
                    <a:lnTo>
                      <a:pt x="614" y="462"/>
                    </a:lnTo>
                    <a:lnTo>
                      <a:pt x="614" y="459"/>
                    </a:lnTo>
                    <a:lnTo>
                      <a:pt x="617" y="459"/>
                    </a:lnTo>
                    <a:lnTo>
                      <a:pt x="619" y="460"/>
                    </a:lnTo>
                    <a:lnTo>
                      <a:pt x="621" y="459"/>
                    </a:lnTo>
                    <a:lnTo>
                      <a:pt x="621" y="455"/>
                    </a:lnTo>
                    <a:lnTo>
                      <a:pt x="617" y="457"/>
                    </a:lnTo>
                    <a:lnTo>
                      <a:pt x="614" y="453"/>
                    </a:lnTo>
                    <a:lnTo>
                      <a:pt x="614" y="450"/>
                    </a:lnTo>
                    <a:lnTo>
                      <a:pt x="617" y="450"/>
                    </a:lnTo>
                    <a:lnTo>
                      <a:pt x="621" y="450"/>
                    </a:lnTo>
                    <a:lnTo>
                      <a:pt x="622" y="450"/>
                    </a:lnTo>
                    <a:lnTo>
                      <a:pt x="622" y="448"/>
                    </a:lnTo>
                    <a:lnTo>
                      <a:pt x="621" y="445"/>
                    </a:lnTo>
                    <a:lnTo>
                      <a:pt x="626" y="441"/>
                    </a:lnTo>
                    <a:lnTo>
                      <a:pt x="629" y="445"/>
                    </a:lnTo>
                    <a:lnTo>
                      <a:pt x="633" y="443"/>
                    </a:lnTo>
                    <a:lnTo>
                      <a:pt x="636" y="443"/>
                    </a:lnTo>
                    <a:lnTo>
                      <a:pt x="631" y="448"/>
                    </a:lnTo>
                    <a:lnTo>
                      <a:pt x="631" y="452"/>
                    </a:lnTo>
                    <a:lnTo>
                      <a:pt x="631" y="457"/>
                    </a:lnTo>
                    <a:lnTo>
                      <a:pt x="633" y="457"/>
                    </a:lnTo>
                    <a:lnTo>
                      <a:pt x="636" y="450"/>
                    </a:lnTo>
                    <a:lnTo>
                      <a:pt x="636" y="448"/>
                    </a:lnTo>
                    <a:lnTo>
                      <a:pt x="640" y="448"/>
                    </a:lnTo>
                    <a:lnTo>
                      <a:pt x="640" y="450"/>
                    </a:lnTo>
                    <a:lnTo>
                      <a:pt x="636" y="453"/>
                    </a:lnTo>
                    <a:lnTo>
                      <a:pt x="636" y="455"/>
                    </a:lnTo>
                    <a:lnTo>
                      <a:pt x="640" y="452"/>
                    </a:lnTo>
                    <a:lnTo>
                      <a:pt x="641" y="450"/>
                    </a:lnTo>
                    <a:lnTo>
                      <a:pt x="643" y="452"/>
                    </a:lnTo>
                    <a:lnTo>
                      <a:pt x="648" y="450"/>
                    </a:lnTo>
                    <a:lnTo>
                      <a:pt x="648" y="450"/>
                    </a:lnTo>
                    <a:lnTo>
                      <a:pt x="652" y="447"/>
                    </a:lnTo>
                    <a:lnTo>
                      <a:pt x="657" y="447"/>
                    </a:lnTo>
                    <a:lnTo>
                      <a:pt x="659" y="447"/>
                    </a:lnTo>
                    <a:lnTo>
                      <a:pt x="659" y="448"/>
                    </a:lnTo>
                    <a:lnTo>
                      <a:pt x="655" y="448"/>
                    </a:lnTo>
                    <a:lnTo>
                      <a:pt x="652" y="453"/>
                    </a:lnTo>
                    <a:lnTo>
                      <a:pt x="648" y="453"/>
                    </a:lnTo>
                    <a:lnTo>
                      <a:pt x="647" y="455"/>
                    </a:lnTo>
                    <a:lnTo>
                      <a:pt x="648" y="457"/>
                    </a:lnTo>
                    <a:lnTo>
                      <a:pt x="655" y="459"/>
                    </a:lnTo>
                    <a:lnTo>
                      <a:pt x="657" y="460"/>
                    </a:lnTo>
                    <a:lnTo>
                      <a:pt x="657" y="462"/>
                    </a:lnTo>
                    <a:lnTo>
                      <a:pt x="654" y="459"/>
                    </a:lnTo>
                    <a:lnTo>
                      <a:pt x="648" y="459"/>
                    </a:lnTo>
                    <a:lnTo>
                      <a:pt x="645" y="460"/>
                    </a:lnTo>
                    <a:lnTo>
                      <a:pt x="645" y="464"/>
                    </a:lnTo>
                    <a:lnTo>
                      <a:pt x="648" y="464"/>
                    </a:lnTo>
                    <a:lnTo>
                      <a:pt x="650" y="462"/>
                    </a:lnTo>
                    <a:lnTo>
                      <a:pt x="654" y="464"/>
                    </a:lnTo>
                    <a:lnTo>
                      <a:pt x="652" y="466"/>
                    </a:lnTo>
                    <a:lnTo>
                      <a:pt x="648" y="466"/>
                    </a:lnTo>
                    <a:lnTo>
                      <a:pt x="648" y="469"/>
                    </a:lnTo>
                    <a:lnTo>
                      <a:pt x="654" y="469"/>
                    </a:lnTo>
                    <a:lnTo>
                      <a:pt x="655" y="473"/>
                    </a:lnTo>
                    <a:lnTo>
                      <a:pt x="652" y="473"/>
                    </a:lnTo>
                    <a:lnTo>
                      <a:pt x="650" y="473"/>
                    </a:lnTo>
                    <a:lnTo>
                      <a:pt x="650" y="474"/>
                    </a:lnTo>
                    <a:lnTo>
                      <a:pt x="654" y="474"/>
                    </a:lnTo>
                    <a:lnTo>
                      <a:pt x="657" y="473"/>
                    </a:lnTo>
                    <a:lnTo>
                      <a:pt x="659" y="478"/>
                    </a:lnTo>
                    <a:lnTo>
                      <a:pt x="664" y="478"/>
                    </a:lnTo>
                    <a:lnTo>
                      <a:pt x="667" y="474"/>
                    </a:lnTo>
                    <a:lnTo>
                      <a:pt x="667" y="478"/>
                    </a:lnTo>
                    <a:lnTo>
                      <a:pt x="667" y="480"/>
                    </a:lnTo>
                    <a:lnTo>
                      <a:pt x="667" y="480"/>
                    </a:lnTo>
                    <a:lnTo>
                      <a:pt x="667" y="483"/>
                    </a:lnTo>
                    <a:lnTo>
                      <a:pt x="667" y="483"/>
                    </a:lnTo>
                    <a:lnTo>
                      <a:pt x="669" y="485"/>
                    </a:lnTo>
                    <a:lnTo>
                      <a:pt x="671" y="487"/>
                    </a:lnTo>
                    <a:lnTo>
                      <a:pt x="674" y="483"/>
                    </a:lnTo>
                    <a:lnTo>
                      <a:pt x="673" y="481"/>
                    </a:lnTo>
                    <a:lnTo>
                      <a:pt x="674" y="480"/>
                    </a:lnTo>
                    <a:lnTo>
                      <a:pt x="678" y="480"/>
                    </a:lnTo>
                    <a:lnTo>
                      <a:pt x="676" y="483"/>
                    </a:lnTo>
                    <a:lnTo>
                      <a:pt x="676" y="485"/>
                    </a:lnTo>
                    <a:lnTo>
                      <a:pt x="671" y="488"/>
                    </a:lnTo>
                    <a:lnTo>
                      <a:pt x="674" y="493"/>
                    </a:lnTo>
                    <a:lnTo>
                      <a:pt x="673" y="493"/>
                    </a:lnTo>
                    <a:lnTo>
                      <a:pt x="671" y="493"/>
                    </a:lnTo>
                    <a:lnTo>
                      <a:pt x="669" y="493"/>
                    </a:lnTo>
                    <a:lnTo>
                      <a:pt x="671" y="497"/>
                    </a:lnTo>
                    <a:lnTo>
                      <a:pt x="680" y="497"/>
                    </a:lnTo>
                    <a:lnTo>
                      <a:pt x="681" y="497"/>
                    </a:lnTo>
                    <a:lnTo>
                      <a:pt x="685" y="497"/>
                    </a:lnTo>
                    <a:lnTo>
                      <a:pt x="687" y="497"/>
                    </a:lnTo>
                    <a:lnTo>
                      <a:pt x="690" y="497"/>
                    </a:lnTo>
                    <a:lnTo>
                      <a:pt x="695" y="497"/>
                    </a:lnTo>
                    <a:lnTo>
                      <a:pt x="697" y="497"/>
                    </a:lnTo>
                    <a:lnTo>
                      <a:pt x="697" y="500"/>
                    </a:lnTo>
                    <a:lnTo>
                      <a:pt x="699" y="500"/>
                    </a:lnTo>
                    <a:lnTo>
                      <a:pt x="700" y="502"/>
                    </a:lnTo>
                    <a:lnTo>
                      <a:pt x="704" y="504"/>
                    </a:lnTo>
                    <a:lnTo>
                      <a:pt x="704" y="506"/>
                    </a:lnTo>
                    <a:lnTo>
                      <a:pt x="707" y="506"/>
                    </a:lnTo>
                    <a:lnTo>
                      <a:pt x="713" y="504"/>
                    </a:lnTo>
                    <a:lnTo>
                      <a:pt x="713" y="502"/>
                    </a:lnTo>
                    <a:lnTo>
                      <a:pt x="714" y="502"/>
                    </a:lnTo>
                    <a:lnTo>
                      <a:pt x="714" y="506"/>
                    </a:lnTo>
                    <a:lnTo>
                      <a:pt x="713" y="507"/>
                    </a:lnTo>
                    <a:lnTo>
                      <a:pt x="709" y="509"/>
                    </a:lnTo>
                    <a:lnTo>
                      <a:pt x="709" y="511"/>
                    </a:lnTo>
                    <a:lnTo>
                      <a:pt x="713" y="511"/>
                    </a:lnTo>
                    <a:lnTo>
                      <a:pt x="714" y="514"/>
                    </a:lnTo>
                    <a:lnTo>
                      <a:pt x="716" y="518"/>
                    </a:lnTo>
                    <a:lnTo>
                      <a:pt x="721" y="520"/>
                    </a:lnTo>
                    <a:lnTo>
                      <a:pt x="728" y="518"/>
                    </a:lnTo>
                    <a:lnTo>
                      <a:pt x="732" y="516"/>
                    </a:lnTo>
                    <a:lnTo>
                      <a:pt x="732" y="518"/>
                    </a:lnTo>
                    <a:lnTo>
                      <a:pt x="735" y="514"/>
                    </a:lnTo>
                    <a:lnTo>
                      <a:pt x="737" y="513"/>
                    </a:lnTo>
                    <a:lnTo>
                      <a:pt x="740" y="513"/>
                    </a:lnTo>
                    <a:lnTo>
                      <a:pt x="740" y="514"/>
                    </a:lnTo>
                    <a:lnTo>
                      <a:pt x="737" y="516"/>
                    </a:lnTo>
                    <a:lnTo>
                      <a:pt x="735" y="523"/>
                    </a:lnTo>
                    <a:lnTo>
                      <a:pt x="732" y="525"/>
                    </a:lnTo>
                    <a:lnTo>
                      <a:pt x="732" y="525"/>
                    </a:lnTo>
                    <a:lnTo>
                      <a:pt x="728" y="525"/>
                    </a:lnTo>
                    <a:lnTo>
                      <a:pt x="727" y="525"/>
                    </a:lnTo>
                    <a:lnTo>
                      <a:pt x="728" y="528"/>
                    </a:lnTo>
                    <a:lnTo>
                      <a:pt x="730" y="532"/>
                    </a:lnTo>
                    <a:lnTo>
                      <a:pt x="732" y="533"/>
                    </a:lnTo>
                    <a:lnTo>
                      <a:pt x="735" y="532"/>
                    </a:lnTo>
                    <a:lnTo>
                      <a:pt x="737" y="533"/>
                    </a:lnTo>
                    <a:lnTo>
                      <a:pt x="737" y="535"/>
                    </a:lnTo>
                    <a:lnTo>
                      <a:pt x="732" y="535"/>
                    </a:lnTo>
                    <a:lnTo>
                      <a:pt x="732" y="537"/>
                    </a:lnTo>
                    <a:lnTo>
                      <a:pt x="737" y="542"/>
                    </a:lnTo>
                    <a:lnTo>
                      <a:pt x="740" y="542"/>
                    </a:lnTo>
                    <a:lnTo>
                      <a:pt x="744" y="542"/>
                    </a:lnTo>
                    <a:lnTo>
                      <a:pt x="746" y="539"/>
                    </a:lnTo>
                    <a:lnTo>
                      <a:pt x="749" y="530"/>
                    </a:lnTo>
                    <a:lnTo>
                      <a:pt x="747" y="537"/>
                    </a:lnTo>
                    <a:lnTo>
                      <a:pt x="747" y="540"/>
                    </a:lnTo>
                    <a:lnTo>
                      <a:pt x="746" y="544"/>
                    </a:lnTo>
                    <a:lnTo>
                      <a:pt x="744" y="544"/>
                    </a:lnTo>
                    <a:lnTo>
                      <a:pt x="744" y="547"/>
                    </a:lnTo>
                    <a:lnTo>
                      <a:pt x="744" y="547"/>
                    </a:lnTo>
                    <a:lnTo>
                      <a:pt x="746" y="551"/>
                    </a:lnTo>
                    <a:lnTo>
                      <a:pt x="744" y="553"/>
                    </a:lnTo>
                    <a:lnTo>
                      <a:pt x="744" y="560"/>
                    </a:lnTo>
                    <a:lnTo>
                      <a:pt x="746" y="561"/>
                    </a:lnTo>
                    <a:lnTo>
                      <a:pt x="747" y="561"/>
                    </a:lnTo>
                    <a:lnTo>
                      <a:pt x="747" y="565"/>
                    </a:lnTo>
                    <a:lnTo>
                      <a:pt x="749" y="568"/>
                    </a:lnTo>
                    <a:lnTo>
                      <a:pt x="754" y="573"/>
                    </a:lnTo>
                    <a:lnTo>
                      <a:pt x="756" y="575"/>
                    </a:lnTo>
                    <a:lnTo>
                      <a:pt x="756" y="575"/>
                    </a:lnTo>
                    <a:lnTo>
                      <a:pt x="758" y="575"/>
                    </a:lnTo>
                    <a:lnTo>
                      <a:pt x="760" y="579"/>
                    </a:lnTo>
                    <a:lnTo>
                      <a:pt x="763" y="575"/>
                    </a:lnTo>
                    <a:lnTo>
                      <a:pt x="760" y="575"/>
                    </a:lnTo>
                    <a:lnTo>
                      <a:pt x="763" y="573"/>
                    </a:lnTo>
                    <a:lnTo>
                      <a:pt x="763" y="575"/>
                    </a:lnTo>
                    <a:lnTo>
                      <a:pt x="767" y="575"/>
                    </a:lnTo>
                    <a:lnTo>
                      <a:pt x="767" y="573"/>
                    </a:lnTo>
                    <a:lnTo>
                      <a:pt x="763" y="568"/>
                    </a:lnTo>
                    <a:lnTo>
                      <a:pt x="763" y="568"/>
                    </a:lnTo>
                    <a:lnTo>
                      <a:pt x="760" y="568"/>
                    </a:lnTo>
                    <a:lnTo>
                      <a:pt x="760" y="568"/>
                    </a:lnTo>
                    <a:lnTo>
                      <a:pt x="763" y="565"/>
                    </a:lnTo>
                    <a:lnTo>
                      <a:pt x="763" y="563"/>
                    </a:lnTo>
                    <a:lnTo>
                      <a:pt x="760" y="560"/>
                    </a:lnTo>
                    <a:lnTo>
                      <a:pt x="760" y="560"/>
                    </a:lnTo>
                    <a:lnTo>
                      <a:pt x="760" y="556"/>
                    </a:lnTo>
                    <a:lnTo>
                      <a:pt x="760" y="556"/>
                    </a:lnTo>
                    <a:lnTo>
                      <a:pt x="760" y="553"/>
                    </a:lnTo>
                    <a:lnTo>
                      <a:pt x="763" y="553"/>
                    </a:lnTo>
                    <a:lnTo>
                      <a:pt x="763" y="556"/>
                    </a:lnTo>
                    <a:lnTo>
                      <a:pt x="763" y="560"/>
                    </a:lnTo>
                    <a:lnTo>
                      <a:pt x="767" y="556"/>
                    </a:lnTo>
                    <a:lnTo>
                      <a:pt x="767" y="556"/>
                    </a:lnTo>
                    <a:lnTo>
                      <a:pt x="768" y="560"/>
                    </a:lnTo>
                    <a:lnTo>
                      <a:pt x="767" y="561"/>
                    </a:lnTo>
                    <a:lnTo>
                      <a:pt x="767" y="565"/>
                    </a:lnTo>
                    <a:lnTo>
                      <a:pt x="768" y="565"/>
                    </a:lnTo>
                    <a:lnTo>
                      <a:pt x="772" y="563"/>
                    </a:lnTo>
                    <a:lnTo>
                      <a:pt x="773" y="561"/>
                    </a:lnTo>
                    <a:lnTo>
                      <a:pt x="772" y="565"/>
                    </a:lnTo>
                    <a:lnTo>
                      <a:pt x="770" y="566"/>
                    </a:lnTo>
                    <a:lnTo>
                      <a:pt x="770" y="570"/>
                    </a:lnTo>
                    <a:lnTo>
                      <a:pt x="772" y="573"/>
                    </a:lnTo>
                    <a:lnTo>
                      <a:pt x="770" y="575"/>
                    </a:lnTo>
                    <a:lnTo>
                      <a:pt x="770" y="579"/>
                    </a:lnTo>
                    <a:lnTo>
                      <a:pt x="775" y="579"/>
                    </a:lnTo>
                    <a:lnTo>
                      <a:pt x="775" y="579"/>
                    </a:lnTo>
                    <a:lnTo>
                      <a:pt x="777" y="575"/>
                    </a:lnTo>
                    <a:lnTo>
                      <a:pt x="777" y="579"/>
                    </a:lnTo>
                    <a:lnTo>
                      <a:pt x="777" y="579"/>
                    </a:lnTo>
                    <a:lnTo>
                      <a:pt x="777" y="584"/>
                    </a:lnTo>
                    <a:lnTo>
                      <a:pt x="780" y="584"/>
                    </a:lnTo>
                    <a:lnTo>
                      <a:pt x="782" y="579"/>
                    </a:lnTo>
                    <a:lnTo>
                      <a:pt x="784" y="575"/>
                    </a:lnTo>
                    <a:lnTo>
                      <a:pt x="784" y="572"/>
                    </a:lnTo>
                    <a:lnTo>
                      <a:pt x="786" y="563"/>
                    </a:lnTo>
                    <a:lnTo>
                      <a:pt x="786" y="556"/>
                    </a:lnTo>
                    <a:lnTo>
                      <a:pt x="786" y="551"/>
                    </a:lnTo>
                    <a:lnTo>
                      <a:pt x="786" y="544"/>
                    </a:lnTo>
                    <a:lnTo>
                      <a:pt x="786" y="542"/>
                    </a:lnTo>
                    <a:lnTo>
                      <a:pt x="786" y="542"/>
                    </a:lnTo>
                    <a:lnTo>
                      <a:pt x="786" y="542"/>
                    </a:lnTo>
                    <a:lnTo>
                      <a:pt x="789" y="547"/>
                    </a:lnTo>
                    <a:lnTo>
                      <a:pt x="789" y="547"/>
                    </a:lnTo>
                    <a:lnTo>
                      <a:pt x="791" y="542"/>
                    </a:lnTo>
                    <a:lnTo>
                      <a:pt x="794" y="540"/>
                    </a:lnTo>
                    <a:lnTo>
                      <a:pt x="794" y="546"/>
                    </a:lnTo>
                    <a:lnTo>
                      <a:pt x="791" y="551"/>
                    </a:lnTo>
                    <a:lnTo>
                      <a:pt x="794" y="556"/>
                    </a:lnTo>
                    <a:lnTo>
                      <a:pt x="789" y="561"/>
                    </a:lnTo>
                    <a:lnTo>
                      <a:pt x="789" y="566"/>
                    </a:lnTo>
                    <a:lnTo>
                      <a:pt x="789" y="568"/>
                    </a:lnTo>
                    <a:lnTo>
                      <a:pt x="789" y="570"/>
                    </a:lnTo>
                    <a:lnTo>
                      <a:pt x="789" y="575"/>
                    </a:lnTo>
                    <a:lnTo>
                      <a:pt x="789" y="579"/>
                    </a:lnTo>
                    <a:lnTo>
                      <a:pt x="789" y="582"/>
                    </a:lnTo>
                    <a:lnTo>
                      <a:pt x="791" y="584"/>
                    </a:lnTo>
                    <a:lnTo>
                      <a:pt x="794" y="587"/>
                    </a:lnTo>
                    <a:lnTo>
                      <a:pt x="794" y="587"/>
                    </a:lnTo>
                    <a:lnTo>
                      <a:pt x="794" y="591"/>
                    </a:lnTo>
                    <a:lnTo>
                      <a:pt x="796" y="594"/>
                    </a:lnTo>
                    <a:lnTo>
                      <a:pt x="798" y="593"/>
                    </a:lnTo>
                    <a:lnTo>
                      <a:pt x="800" y="594"/>
                    </a:lnTo>
                    <a:lnTo>
                      <a:pt x="803" y="593"/>
                    </a:lnTo>
                    <a:lnTo>
                      <a:pt x="808" y="593"/>
                    </a:lnTo>
                    <a:lnTo>
                      <a:pt x="808" y="593"/>
                    </a:lnTo>
                    <a:lnTo>
                      <a:pt x="803" y="596"/>
                    </a:lnTo>
                    <a:lnTo>
                      <a:pt x="801" y="598"/>
                    </a:lnTo>
                    <a:lnTo>
                      <a:pt x="801" y="598"/>
                    </a:lnTo>
                    <a:lnTo>
                      <a:pt x="803" y="601"/>
                    </a:lnTo>
                    <a:lnTo>
                      <a:pt x="801" y="601"/>
                    </a:lnTo>
                    <a:lnTo>
                      <a:pt x="800" y="601"/>
                    </a:lnTo>
                    <a:lnTo>
                      <a:pt x="800" y="605"/>
                    </a:lnTo>
                    <a:lnTo>
                      <a:pt x="801" y="606"/>
                    </a:lnTo>
                    <a:lnTo>
                      <a:pt x="801" y="612"/>
                    </a:lnTo>
                    <a:lnTo>
                      <a:pt x="800" y="612"/>
                    </a:lnTo>
                    <a:lnTo>
                      <a:pt x="798" y="610"/>
                    </a:lnTo>
                    <a:lnTo>
                      <a:pt x="796" y="606"/>
                    </a:lnTo>
                    <a:lnTo>
                      <a:pt x="796" y="606"/>
                    </a:lnTo>
                    <a:lnTo>
                      <a:pt x="796" y="612"/>
                    </a:lnTo>
                    <a:lnTo>
                      <a:pt x="794" y="612"/>
                    </a:lnTo>
                    <a:lnTo>
                      <a:pt x="794" y="615"/>
                    </a:lnTo>
                    <a:lnTo>
                      <a:pt x="796" y="617"/>
                    </a:lnTo>
                    <a:lnTo>
                      <a:pt x="794" y="619"/>
                    </a:lnTo>
                    <a:lnTo>
                      <a:pt x="794" y="619"/>
                    </a:lnTo>
                    <a:lnTo>
                      <a:pt x="791" y="622"/>
                    </a:lnTo>
                    <a:lnTo>
                      <a:pt x="791" y="624"/>
                    </a:lnTo>
                    <a:lnTo>
                      <a:pt x="794" y="624"/>
                    </a:lnTo>
                    <a:lnTo>
                      <a:pt x="794" y="624"/>
                    </a:lnTo>
                    <a:lnTo>
                      <a:pt x="796" y="627"/>
                    </a:lnTo>
                    <a:lnTo>
                      <a:pt x="798" y="629"/>
                    </a:lnTo>
                    <a:lnTo>
                      <a:pt x="800" y="629"/>
                    </a:lnTo>
                    <a:lnTo>
                      <a:pt x="803" y="631"/>
                    </a:lnTo>
                    <a:lnTo>
                      <a:pt x="803" y="631"/>
                    </a:lnTo>
                    <a:lnTo>
                      <a:pt x="800" y="631"/>
                    </a:lnTo>
                    <a:lnTo>
                      <a:pt x="798" y="633"/>
                    </a:lnTo>
                    <a:lnTo>
                      <a:pt x="800" y="634"/>
                    </a:lnTo>
                    <a:lnTo>
                      <a:pt x="801" y="634"/>
                    </a:lnTo>
                    <a:lnTo>
                      <a:pt x="803" y="638"/>
                    </a:lnTo>
                    <a:lnTo>
                      <a:pt x="806" y="640"/>
                    </a:lnTo>
                    <a:lnTo>
                      <a:pt x="808" y="640"/>
                    </a:lnTo>
                    <a:lnTo>
                      <a:pt x="805" y="643"/>
                    </a:lnTo>
                    <a:lnTo>
                      <a:pt x="803" y="643"/>
                    </a:lnTo>
                    <a:lnTo>
                      <a:pt x="801" y="643"/>
                    </a:lnTo>
                    <a:lnTo>
                      <a:pt x="801" y="648"/>
                    </a:lnTo>
                    <a:lnTo>
                      <a:pt x="805" y="653"/>
                    </a:lnTo>
                    <a:lnTo>
                      <a:pt x="806" y="655"/>
                    </a:lnTo>
                    <a:lnTo>
                      <a:pt x="812" y="655"/>
                    </a:lnTo>
                    <a:lnTo>
                      <a:pt x="813" y="655"/>
                    </a:lnTo>
                    <a:lnTo>
                      <a:pt x="808" y="657"/>
                    </a:lnTo>
                    <a:lnTo>
                      <a:pt x="805" y="657"/>
                    </a:lnTo>
                    <a:lnTo>
                      <a:pt x="803" y="657"/>
                    </a:lnTo>
                    <a:lnTo>
                      <a:pt x="801" y="662"/>
                    </a:lnTo>
                    <a:lnTo>
                      <a:pt x="796" y="666"/>
                    </a:lnTo>
                    <a:lnTo>
                      <a:pt x="791" y="669"/>
                    </a:lnTo>
                    <a:lnTo>
                      <a:pt x="791" y="674"/>
                    </a:lnTo>
                    <a:lnTo>
                      <a:pt x="794" y="676"/>
                    </a:lnTo>
                    <a:lnTo>
                      <a:pt x="796" y="674"/>
                    </a:lnTo>
                    <a:lnTo>
                      <a:pt x="800" y="669"/>
                    </a:lnTo>
                    <a:lnTo>
                      <a:pt x="800" y="669"/>
                    </a:lnTo>
                    <a:lnTo>
                      <a:pt x="801" y="666"/>
                    </a:lnTo>
                    <a:lnTo>
                      <a:pt x="806" y="662"/>
                    </a:lnTo>
                    <a:lnTo>
                      <a:pt x="806" y="666"/>
                    </a:lnTo>
                    <a:lnTo>
                      <a:pt x="808" y="662"/>
                    </a:lnTo>
                    <a:lnTo>
                      <a:pt x="813" y="662"/>
                    </a:lnTo>
                    <a:lnTo>
                      <a:pt x="812" y="666"/>
                    </a:lnTo>
                    <a:lnTo>
                      <a:pt x="812" y="669"/>
                    </a:lnTo>
                    <a:lnTo>
                      <a:pt x="813" y="669"/>
                    </a:lnTo>
                    <a:lnTo>
                      <a:pt x="813" y="669"/>
                    </a:lnTo>
                    <a:lnTo>
                      <a:pt x="812" y="674"/>
                    </a:lnTo>
                    <a:lnTo>
                      <a:pt x="812" y="674"/>
                    </a:lnTo>
                    <a:lnTo>
                      <a:pt x="813" y="678"/>
                    </a:lnTo>
                    <a:lnTo>
                      <a:pt x="808" y="681"/>
                    </a:lnTo>
                    <a:lnTo>
                      <a:pt x="808" y="685"/>
                    </a:lnTo>
                    <a:lnTo>
                      <a:pt x="808" y="685"/>
                    </a:lnTo>
                    <a:lnTo>
                      <a:pt x="812" y="688"/>
                    </a:lnTo>
                    <a:lnTo>
                      <a:pt x="808" y="688"/>
                    </a:lnTo>
                    <a:lnTo>
                      <a:pt x="805" y="688"/>
                    </a:lnTo>
                    <a:lnTo>
                      <a:pt x="803" y="690"/>
                    </a:lnTo>
                    <a:lnTo>
                      <a:pt x="803" y="692"/>
                    </a:lnTo>
                    <a:lnTo>
                      <a:pt x="805" y="692"/>
                    </a:lnTo>
                    <a:lnTo>
                      <a:pt x="806" y="692"/>
                    </a:lnTo>
                    <a:lnTo>
                      <a:pt x="808" y="692"/>
                    </a:lnTo>
                    <a:lnTo>
                      <a:pt x="812" y="693"/>
                    </a:lnTo>
                    <a:lnTo>
                      <a:pt x="808" y="693"/>
                    </a:lnTo>
                    <a:lnTo>
                      <a:pt x="806" y="693"/>
                    </a:lnTo>
                    <a:lnTo>
                      <a:pt x="803" y="693"/>
                    </a:lnTo>
                    <a:lnTo>
                      <a:pt x="801" y="697"/>
                    </a:lnTo>
                    <a:lnTo>
                      <a:pt x="801" y="699"/>
                    </a:lnTo>
                    <a:lnTo>
                      <a:pt x="803" y="702"/>
                    </a:lnTo>
                    <a:lnTo>
                      <a:pt x="805" y="702"/>
                    </a:lnTo>
                    <a:lnTo>
                      <a:pt x="806" y="699"/>
                    </a:lnTo>
                    <a:lnTo>
                      <a:pt x="808" y="699"/>
                    </a:lnTo>
                    <a:lnTo>
                      <a:pt x="812" y="699"/>
                    </a:lnTo>
                    <a:lnTo>
                      <a:pt x="813" y="693"/>
                    </a:lnTo>
                    <a:lnTo>
                      <a:pt x="819" y="688"/>
                    </a:lnTo>
                    <a:lnTo>
                      <a:pt x="819" y="681"/>
                    </a:lnTo>
                    <a:lnTo>
                      <a:pt x="824" y="674"/>
                    </a:lnTo>
                    <a:lnTo>
                      <a:pt x="826" y="671"/>
                    </a:lnTo>
                    <a:lnTo>
                      <a:pt x="826" y="671"/>
                    </a:lnTo>
                    <a:lnTo>
                      <a:pt x="826" y="671"/>
                    </a:lnTo>
                    <a:lnTo>
                      <a:pt x="826" y="671"/>
                    </a:lnTo>
                    <a:lnTo>
                      <a:pt x="826" y="671"/>
                    </a:lnTo>
                    <a:close/>
                    <a:moveTo>
                      <a:pt x="775" y="692"/>
                    </a:moveTo>
                    <a:lnTo>
                      <a:pt x="773" y="690"/>
                    </a:lnTo>
                    <a:lnTo>
                      <a:pt x="773" y="688"/>
                    </a:lnTo>
                    <a:lnTo>
                      <a:pt x="775" y="690"/>
                    </a:lnTo>
                    <a:lnTo>
                      <a:pt x="775" y="692"/>
                    </a:lnTo>
                    <a:lnTo>
                      <a:pt x="775" y="692"/>
                    </a:lnTo>
                    <a:lnTo>
                      <a:pt x="775" y="692"/>
                    </a:lnTo>
                    <a:lnTo>
                      <a:pt x="775" y="692"/>
                    </a:lnTo>
                    <a:close/>
                    <a:moveTo>
                      <a:pt x="794" y="697"/>
                    </a:moveTo>
                    <a:lnTo>
                      <a:pt x="796" y="693"/>
                    </a:lnTo>
                    <a:lnTo>
                      <a:pt x="798" y="697"/>
                    </a:lnTo>
                    <a:lnTo>
                      <a:pt x="796" y="699"/>
                    </a:lnTo>
                    <a:lnTo>
                      <a:pt x="794" y="697"/>
                    </a:lnTo>
                    <a:lnTo>
                      <a:pt x="794" y="697"/>
                    </a:lnTo>
                    <a:lnTo>
                      <a:pt x="794" y="697"/>
                    </a:lnTo>
                    <a:lnTo>
                      <a:pt x="794" y="697"/>
                    </a:lnTo>
                    <a:close/>
                    <a:moveTo>
                      <a:pt x="794" y="688"/>
                    </a:moveTo>
                    <a:lnTo>
                      <a:pt x="798" y="685"/>
                    </a:lnTo>
                    <a:lnTo>
                      <a:pt x="800" y="692"/>
                    </a:lnTo>
                    <a:lnTo>
                      <a:pt x="796" y="693"/>
                    </a:lnTo>
                    <a:lnTo>
                      <a:pt x="794" y="693"/>
                    </a:lnTo>
                    <a:lnTo>
                      <a:pt x="794" y="690"/>
                    </a:lnTo>
                    <a:lnTo>
                      <a:pt x="794" y="688"/>
                    </a:lnTo>
                    <a:lnTo>
                      <a:pt x="794" y="688"/>
                    </a:lnTo>
                    <a:lnTo>
                      <a:pt x="794" y="688"/>
                    </a:lnTo>
                    <a:lnTo>
                      <a:pt x="794" y="688"/>
                    </a:lnTo>
                    <a:close/>
                    <a:moveTo>
                      <a:pt x="794" y="680"/>
                    </a:moveTo>
                    <a:lnTo>
                      <a:pt x="796" y="685"/>
                    </a:lnTo>
                    <a:lnTo>
                      <a:pt x="794" y="685"/>
                    </a:lnTo>
                    <a:lnTo>
                      <a:pt x="794" y="683"/>
                    </a:lnTo>
                    <a:lnTo>
                      <a:pt x="794" y="681"/>
                    </a:lnTo>
                    <a:lnTo>
                      <a:pt x="794" y="680"/>
                    </a:lnTo>
                    <a:lnTo>
                      <a:pt x="794" y="680"/>
                    </a:lnTo>
                    <a:lnTo>
                      <a:pt x="794" y="680"/>
                    </a:lnTo>
                    <a:lnTo>
                      <a:pt x="794" y="680"/>
                    </a:lnTo>
                    <a:close/>
                    <a:moveTo>
                      <a:pt x="796" y="680"/>
                    </a:moveTo>
                    <a:lnTo>
                      <a:pt x="800" y="676"/>
                    </a:lnTo>
                    <a:lnTo>
                      <a:pt x="800" y="674"/>
                    </a:lnTo>
                    <a:lnTo>
                      <a:pt x="801" y="669"/>
                    </a:lnTo>
                    <a:lnTo>
                      <a:pt x="805" y="669"/>
                    </a:lnTo>
                    <a:lnTo>
                      <a:pt x="805" y="669"/>
                    </a:lnTo>
                    <a:lnTo>
                      <a:pt x="808" y="666"/>
                    </a:lnTo>
                    <a:lnTo>
                      <a:pt x="808" y="671"/>
                    </a:lnTo>
                    <a:lnTo>
                      <a:pt x="808" y="674"/>
                    </a:lnTo>
                    <a:lnTo>
                      <a:pt x="808" y="678"/>
                    </a:lnTo>
                    <a:lnTo>
                      <a:pt x="806" y="685"/>
                    </a:lnTo>
                    <a:lnTo>
                      <a:pt x="800" y="688"/>
                    </a:lnTo>
                    <a:lnTo>
                      <a:pt x="798" y="685"/>
                    </a:lnTo>
                    <a:lnTo>
                      <a:pt x="801" y="683"/>
                    </a:lnTo>
                    <a:lnTo>
                      <a:pt x="805" y="680"/>
                    </a:lnTo>
                    <a:lnTo>
                      <a:pt x="805" y="678"/>
                    </a:lnTo>
                    <a:lnTo>
                      <a:pt x="798" y="681"/>
                    </a:lnTo>
                    <a:lnTo>
                      <a:pt x="796" y="680"/>
                    </a:lnTo>
                    <a:lnTo>
                      <a:pt x="796" y="680"/>
                    </a:lnTo>
                    <a:lnTo>
                      <a:pt x="796" y="680"/>
                    </a:lnTo>
                    <a:lnTo>
                      <a:pt x="796" y="680"/>
                    </a:lnTo>
                    <a:close/>
                    <a:moveTo>
                      <a:pt x="767" y="692"/>
                    </a:moveTo>
                    <a:lnTo>
                      <a:pt x="768" y="690"/>
                    </a:lnTo>
                    <a:lnTo>
                      <a:pt x="770" y="692"/>
                    </a:lnTo>
                    <a:lnTo>
                      <a:pt x="770" y="693"/>
                    </a:lnTo>
                    <a:lnTo>
                      <a:pt x="772" y="697"/>
                    </a:lnTo>
                    <a:lnTo>
                      <a:pt x="770" y="702"/>
                    </a:lnTo>
                    <a:lnTo>
                      <a:pt x="768" y="702"/>
                    </a:lnTo>
                    <a:lnTo>
                      <a:pt x="768" y="697"/>
                    </a:lnTo>
                    <a:lnTo>
                      <a:pt x="767" y="693"/>
                    </a:lnTo>
                    <a:lnTo>
                      <a:pt x="767" y="692"/>
                    </a:lnTo>
                    <a:lnTo>
                      <a:pt x="767" y="692"/>
                    </a:lnTo>
                    <a:lnTo>
                      <a:pt x="767" y="692"/>
                    </a:lnTo>
                    <a:lnTo>
                      <a:pt x="767" y="692"/>
                    </a:lnTo>
                    <a:close/>
                    <a:moveTo>
                      <a:pt x="767" y="685"/>
                    </a:moveTo>
                    <a:lnTo>
                      <a:pt x="768" y="685"/>
                    </a:lnTo>
                    <a:lnTo>
                      <a:pt x="770" y="685"/>
                    </a:lnTo>
                    <a:lnTo>
                      <a:pt x="772" y="688"/>
                    </a:lnTo>
                    <a:lnTo>
                      <a:pt x="768" y="690"/>
                    </a:lnTo>
                    <a:lnTo>
                      <a:pt x="767" y="685"/>
                    </a:lnTo>
                    <a:lnTo>
                      <a:pt x="767" y="685"/>
                    </a:lnTo>
                    <a:lnTo>
                      <a:pt x="767" y="685"/>
                    </a:lnTo>
                    <a:lnTo>
                      <a:pt x="767" y="685"/>
                    </a:lnTo>
                    <a:close/>
                    <a:moveTo>
                      <a:pt x="767" y="683"/>
                    </a:moveTo>
                    <a:lnTo>
                      <a:pt x="768" y="680"/>
                    </a:lnTo>
                    <a:lnTo>
                      <a:pt x="768" y="683"/>
                    </a:lnTo>
                    <a:lnTo>
                      <a:pt x="767" y="683"/>
                    </a:lnTo>
                    <a:lnTo>
                      <a:pt x="767" y="683"/>
                    </a:lnTo>
                    <a:lnTo>
                      <a:pt x="767" y="683"/>
                    </a:lnTo>
                    <a:lnTo>
                      <a:pt x="767" y="683"/>
                    </a:lnTo>
                    <a:close/>
                    <a:moveTo>
                      <a:pt x="763" y="676"/>
                    </a:moveTo>
                    <a:lnTo>
                      <a:pt x="767" y="678"/>
                    </a:lnTo>
                    <a:lnTo>
                      <a:pt x="763" y="681"/>
                    </a:lnTo>
                    <a:lnTo>
                      <a:pt x="763" y="676"/>
                    </a:lnTo>
                    <a:lnTo>
                      <a:pt x="763" y="676"/>
                    </a:lnTo>
                    <a:lnTo>
                      <a:pt x="763" y="676"/>
                    </a:lnTo>
                    <a:lnTo>
                      <a:pt x="763" y="676"/>
                    </a:lnTo>
                    <a:close/>
                    <a:moveTo>
                      <a:pt x="763" y="662"/>
                    </a:moveTo>
                    <a:lnTo>
                      <a:pt x="760" y="659"/>
                    </a:lnTo>
                    <a:lnTo>
                      <a:pt x="763" y="660"/>
                    </a:lnTo>
                    <a:lnTo>
                      <a:pt x="763" y="662"/>
                    </a:lnTo>
                    <a:lnTo>
                      <a:pt x="763" y="662"/>
                    </a:lnTo>
                    <a:lnTo>
                      <a:pt x="763" y="662"/>
                    </a:lnTo>
                    <a:lnTo>
                      <a:pt x="763" y="662"/>
                    </a:lnTo>
                    <a:close/>
                    <a:moveTo>
                      <a:pt x="770" y="666"/>
                    </a:moveTo>
                    <a:lnTo>
                      <a:pt x="772" y="662"/>
                    </a:lnTo>
                    <a:lnTo>
                      <a:pt x="773" y="666"/>
                    </a:lnTo>
                    <a:lnTo>
                      <a:pt x="772" y="666"/>
                    </a:lnTo>
                    <a:lnTo>
                      <a:pt x="770" y="666"/>
                    </a:lnTo>
                    <a:lnTo>
                      <a:pt x="770" y="666"/>
                    </a:lnTo>
                    <a:lnTo>
                      <a:pt x="770" y="666"/>
                    </a:lnTo>
                    <a:lnTo>
                      <a:pt x="770" y="666"/>
                    </a:lnTo>
                    <a:close/>
                    <a:moveTo>
                      <a:pt x="772" y="660"/>
                    </a:moveTo>
                    <a:lnTo>
                      <a:pt x="773" y="657"/>
                    </a:lnTo>
                    <a:lnTo>
                      <a:pt x="777" y="655"/>
                    </a:lnTo>
                    <a:lnTo>
                      <a:pt x="779" y="657"/>
                    </a:lnTo>
                    <a:lnTo>
                      <a:pt x="777" y="659"/>
                    </a:lnTo>
                    <a:lnTo>
                      <a:pt x="775" y="659"/>
                    </a:lnTo>
                    <a:lnTo>
                      <a:pt x="773" y="660"/>
                    </a:lnTo>
                    <a:lnTo>
                      <a:pt x="772" y="660"/>
                    </a:lnTo>
                    <a:lnTo>
                      <a:pt x="772" y="660"/>
                    </a:lnTo>
                    <a:lnTo>
                      <a:pt x="772" y="660"/>
                    </a:lnTo>
                    <a:lnTo>
                      <a:pt x="772" y="660"/>
                    </a:lnTo>
                    <a:close/>
                    <a:moveTo>
                      <a:pt x="779" y="662"/>
                    </a:moveTo>
                    <a:lnTo>
                      <a:pt x="780" y="659"/>
                    </a:lnTo>
                    <a:lnTo>
                      <a:pt x="780" y="655"/>
                    </a:lnTo>
                    <a:lnTo>
                      <a:pt x="777" y="652"/>
                    </a:lnTo>
                    <a:lnTo>
                      <a:pt x="780" y="650"/>
                    </a:lnTo>
                    <a:lnTo>
                      <a:pt x="782" y="650"/>
                    </a:lnTo>
                    <a:lnTo>
                      <a:pt x="786" y="653"/>
                    </a:lnTo>
                    <a:lnTo>
                      <a:pt x="782" y="657"/>
                    </a:lnTo>
                    <a:lnTo>
                      <a:pt x="782" y="660"/>
                    </a:lnTo>
                    <a:lnTo>
                      <a:pt x="784" y="662"/>
                    </a:lnTo>
                    <a:lnTo>
                      <a:pt x="786" y="662"/>
                    </a:lnTo>
                    <a:lnTo>
                      <a:pt x="789" y="662"/>
                    </a:lnTo>
                    <a:lnTo>
                      <a:pt x="789" y="669"/>
                    </a:lnTo>
                    <a:lnTo>
                      <a:pt x="786" y="669"/>
                    </a:lnTo>
                    <a:lnTo>
                      <a:pt x="789" y="671"/>
                    </a:lnTo>
                    <a:lnTo>
                      <a:pt x="789" y="674"/>
                    </a:lnTo>
                    <a:lnTo>
                      <a:pt x="786" y="674"/>
                    </a:lnTo>
                    <a:lnTo>
                      <a:pt x="786" y="674"/>
                    </a:lnTo>
                    <a:lnTo>
                      <a:pt x="784" y="676"/>
                    </a:lnTo>
                    <a:lnTo>
                      <a:pt x="789" y="680"/>
                    </a:lnTo>
                    <a:lnTo>
                      <a:pt x="789" y="683"/>
                    </a:lnTo>
                    <a:lnTo>
                      <a:pt x="786" y="685"/>
                    </a:lnTo>
                    <a:lnTo>
                      <a:pt x="786" y="685"/>
                    </a:lnTo>
                    <a:lnTo>
                      <a:pt x="789" y="685"/>
                    </a:lnTo>
                    <a:lnTo>
                      <a:pt x="789" y="685"/>
                    </a:lnTo>
                    <a:lnTo>
                      <a:pt x="789" y="688"/>
                    </a:lnTo>
                    <a:lnTo>
                      <a:pt x="786" y="692"/>
                    </a:lnTo>
                    <a:lnTo>
                      <a:pt x="786" y="692"/>
                    </a:lnTo>
                    <a:lnTo>
                      <a:pt x="784" y="693"/>
                    </a:lnTo>
                    <a:lnTo>
                      <a:pt x="786" y="693"/>
                    </a:lnTo>
                    <a:lnTo>
                      <a:pt x="786" y="697"/>
                    </a:lnTo>
                    <a:lnTo>
                      <a:pt x="786" y="697"/>
                    </a:lnTo>
                    <a:lnTo>
                      <a:pt x="786" y="699"/>
                    </a:lnTo>
                    <a:lnTo>
                      <a:pt x="784" y="702"/>
                    </a:lnTo>
                    <a:lnTo>
                      <a:pt x="782" y="702"/>
                    </a:lnTo>
                    <a:lnTo>
                      <a:pt x="780" y="699"/>
                    </a:lnTo>
                    <a:lnTo>
                      <a:pt x="780" y="697"/>
                    </a:lnTo>
                    <a:lnTo>
                      <a:pt x="777" y="693"/>
                    </a:lnTo>
                    <a:lnTo>
                      <a:pt x="777" y="692"/>
                    </a:lnTo>
                    <a:lnTo>
                      <a:pt x="780" y="690"/>
                    </a:lnTo>
                    <a:lnTo>
                      <a:pt x="779" y="688"/>
                    </a:lnTo>
                    <a:lnTo>
                      <a:pt x="779" y="685"/>
                    </a:lnTo>
                    <a:lnTo>
                      <a:pt x="782" y="685"/>
                    </a:lnTo>
                    <a:lnTo>
                      <a:pt x="780" y="683"/>
                    </a:lnTo>
                    <a:lnTo>
                      <a:pt x="777" y="683"/>
                    </a:lnTo>
                    <a:lnTo>
                      <a:pt x="777" y="685"/>
                    </a:lnTo>
                    <a:lnTo>
                      <a:pt x="775" y="683"/>
                    </a:lnTo>
                    <a:lnTo>
                      <a:pt x="772" y="683"/>
                    </a:lnTo>
                    <a:lnTo>
                      <a:pt x="772" y="681"/>
                    </a:lnTo>
                    <a:lnTo>
                      <a:pt x="773" y="680"/>
                    </a:lnTo>
                    <a:lnTo>
                      <a:pt x="775" y="680"/>
                    </a:lnTo>
                    <a:lnTo>
                      <a:pt x="775" y="678"/>
                    </a:lnTo>
                    <a:lnTo>
                      <a:pt x="775" y="676"/>
                    </a:lnTo>
                    <a:lnTo>
                      <a:pt x="779" y="674"/>
                    </a:lnTo>
                    <a:lnTo>
                      <a:pt x="779" y="671"/>
                    </a:lnTo>
                    <a:lnTo>
                      <a:pt x="777" y="671"/>
                    </a:lnTo>
                    <a:lnTo>
                      <a:pt x="775" y="671"/>
                    </a:lnTo>
                    <a:lnTo>
                      <a:pt x="773" y="669"/>
                    </a:lnTo>
                    <a:lnTo>
                      <a:pt x="775" y="669"/>
                    </a:lnTo>
                    <a:lnTo>
                      <a:pt x="779" y="669"/>
                    </a:lnTo>
                    <a:lnTo>
                      <a:pt x="780" y="666"/>
                    </a:lnTo>
                    <a:lnTo>
                      <a:pt x="779" y="662"/>
                    </a:lnTo>
                    <a:lnTo>
                      <a:pt x="779" y="662"/>
                    </a:lnTo>
                    <a:lnTo>
                      <a:pt x="779" y="662"/>
                    </a:lnTo>
                    <a:lnTo>
                      <a:pt x="779" y="662"/>
                    </a:lnTo>
                    <a:close/>
                    <a:moveTo>
                      <a:pt x="800" y="660"/>
                    </a:moveTo>
                    <a:lnTo>
                      <a:pt x="798" y="657"/>
                    </a:lnTo>
                    <a:lnTo>
                      <a:pt x="800" y="655"/>
                    </a:lnTo>
                    <a:lnTo>
                      <a:pt x="800" y="652"/>
                    </a:lnTo>
                    <a:lnTo>
                      <a:pt x="801" y="653"/>
                    </a:lnTo>
                    <a:lnTo>
                      <a:pt x="801" y="657"/>
                    </a:lnTo>
                    <a:lnTo>
                      <a:pt x="800" y="660"/>
                    </a:lnTo>
                    <a:lnTo>
                      <a:pt x="800" y="660"/>
                    </a:lnTo>
                    <a:lnTo>
                      <a:pt x="800" y="660"/>
                    </a:lnTo>
                    <a:lnTo>
                      <a:pt x="800" y="660"/>
                    </a:lnTo>
                    <a:close/>
                    <a:moveTo>
                      <a:pt x="794" y="662"/>
                    </a:moveTo>
                    <a:lnTo>
                      <a:pt x="794" y="659"/>
                    </a:lnTo>
                    <a:lnTo>
                      <a:pt x="796" y="659"/>
                    </a:lnTo>
                    <a:lnTo>
                      <a:pt x="796" y="662"/>
                    </a:lnTo>
                    <a:lnTo>
                      <a:pt x="794" y="662"/>
                    </a:lnTo>
                    <a:lnTo>
                      <a:pt x="794" y="662"/>
                    </a:lnTo>
                    <a:lnTo>
                      <a:pt x="794" y="662"/>
                    </a:lnTo>
                    <a:lnTo>
                      <a:pt x="794" y="662"/>
                    </a:lnTo>
                    <a:lnTo>
                      <a:pt x="794" y="662"/>
                    </a:lnTo>
                    <a:close/>
                    <a:moveTo>
                      <a:pt x="789" y="660"/>
                    </a:moveTo>
                    <a:lnTo>
                      <a:pt x="791" y="657"/>
                    </a:lnTo>
                    <a:lnTo>
                      <a:pt x="796" y="653"/>
                    </a:lnTo>
                    <a:lnTo>
                      <a:pt x="796" y="655"/>
                    </a:lnTo>
                    <a:lnTo>
                      <a:pt x="794" y="657"/>
                    </a:lnTo>
                    <a:lnTo>
                      <a:pt x="794" y="660"/>
                    </a:lnTo>
                    <a:lnTo>
                      <a:pt x="789" y="660"/>
                    </a:lnTo>
                    <a:lnTo>
                      <a:pt x="789" y="660"/>
                    </a:lnTo>
                    <a:lnTo>
                      <a:pt x="789" y="660"/>
                    </a:lnTo>
                    <a:lnTo>
                      <a:pt x="789" y="660"/>
                    </a:lnTo>
                    <a:close/>
                    <a:moveTo>
                      <a:pt x="786" y="652"/>
                    </a:moveTo>
                    <a:lnTo>
                      <a:pt x="789" y="648"/>
                    </a:lnTo>
                    <a:lnTo>
                      <a:pt x="794" y="648"/>
                    </a:lnTo>
                    <a:lnTo>
                      <a:pt x="794" y="650"/>
                    </a:lnTo>
                    <a:lnTo>
                      <a:pt x="791" y="655"/>
                    </a:lnTo>
                    <a:lnTo>
                      <a:pt x="789" y="653"/>
                    </a:lnTo>
                    <a:lnTo>
                      <a:pt x="786" y="652"/>
                    </a:lnTo>
                    <a:lnTo>
                      <a:pt x="786" y="652"/>
                    </a:lnTo>
                    <a:lnTo>
                      <a:pt x="786" y="652"/>
                    </a:lnTo>
                    <a:lnTo>
                      <a:pt x="786" y="652"/>
                    </a:lnTo>
                    <a:close/>
                    <a:moveTo>
                      <a:pt x="791" y="643"/>
                    </a:moveTo>
                    <a:lnTo>
                      <a:pt x="794" y="638"/>
                    </a:lnTo>
                    <a:lnTo>
                      <a:pt x="798" y="638"/>
                    </a:lnTo>
                    <a:lnTo>
                      <a:pt x="800" y="643"/>
                    </a:lnTo>
                    <a:lnTo>
                      <a:pt x="796" y="646"/>
                    </a:lnTo>
                    <a:lnTo>
                      <a:pt x="794" y="646"/>
                    </a:lnTo>
                    <a:lnTo>
                      <a:pt x="791" y="646"/>
                    </a:lnTo>
                    <a:lnTo>
                      <a:pt x="791" y="643"/>
                    </a:lnTo>
                    <a:lnTo>
                      <a:pt x="791" y="643"/>
                    </a:lnTo>
                    <a:lnTo>
                      <a:pt x="791" y="643"/>
                    </a:lnTo>
                    <a:lnTo>
                      <a:pt x="791" y="643"/>
                    </a:lnTo>
                    <a:close/>
                    <a:moveTo>
                      <a:pt x="780" y="646"/>
                    </a:moveTo>
                    <a:lnTo>
                      <a:pt x="780" y="643"/>
                    </a:lnTo>
                    <a:lnTo>
                      <a:pt x="784" y="634"/>
                    </a:lnTo>
                    <a:lnTo>
                      <a:pt x="786" y="633"/>
                    </a:lnTo>
                    <a:lnTo>
                      <a:pt x="782" y="633"/>
                    </a:lnTo>
                    <a:lnTo>
                      <a:pt x="782" y="629"/>
                    </a:lnTo>
                    <a:lnTo>
                      <a:pt x="780" y="627"/>
                    </a:lnTo>
                    <a:lnTo>
                      <a:pt x="782" y="624"/>
                    </a:lnTo>
                    <a:lnTo>
                      <a:pt x="786" y="624"/>
                    </a:lnTo>
                    <a:lnTo>
                      <a:pt x="789" y="629"/>
                    </a:lnTo>
                    <a:lnTo>
                      <a:pt x="791" y="629"/>
                    </a:lnTo>
                    <a:lnTo>
                      <a:pt x="794" y="633"/>
                    </a:lnTo>
                    <a:lnTo>
                      <a:pt x="794" y="634"/>
                    </a:lnTo>
                    <a:lnTo>
                      <a:pt x="791" y="640"/>
                    </a:lnTo>
                    <a:lnTo>
                      <a:pt x="789" y="640"/>
                    </a:lnTo>
                    <a:lnTo>
                      <a:pt x="789" y="634"/>
                    </a:lnTo>
                    <a:lnTo>
                      <a:pt x="789" y="638"/>
                    </a:lnTo>
                    <a:lnTo>
                      <a:pt x="789" y="640"/>
                    </a:lnTo>
                    <a:lnTo>
                      <a:pt x="786" y="643"/>
                    </a:lnTo>
                    <a:lnTo>
                      <a:pt x="789" y="646"/>
                    </a:lnTo>
                    <a:lnTo>
                      <a:pt x="786" y="646"/>
                    </a:lnTo>
                    <a:lnTo>
                      <a:pt x="786" y="646"/>
                    </a:lnTo>
                    <a:lnTo>
                      <a:pt x="784" y="648"/>
                    </a:lnTo>
                    <a:lnTo>
                      <a:pt x="780" y="646"/>
                    </a:lnTo>
                    <a:lnTo>
                      <a:pt x="780" y="646"/>
                    </a:lnTo>
                    <a:lnTo>
                      <a:pt x="780" y="646"/>
                    </a:lnTo>
                    <a:lnTo>
                      <a:pt x="780" y="646"/>
                    </a:lnTo>
                    <a:close/>
                    <a:moveTo>
                      <a:pt x="772" y="643"/>
                    </a:moveTo>
                    <a:lnTo>
                      <a:pt x="768" y="640"/>
                    </a:lnTo>
                    <a:lnTo>
                      <a:pt x="772" y="638"/>
                    </a:lnTo>
                    <a:lnTo>
                      <a:pt x="770" y="634"/>
                    </a:lnTo>
                    <a:lnTo>
                      <a:pt x="770" y="633"/>
                    </a:lnTo>
                    <a:lnTo>
                      <a:pt x="772" y="631"/>
                    </a:lnTo>
                    <a:lnTo>
                      <a:pt x="775" y="631"/>
                    </a:lnTo>
                    <a:lnTo>
                      <a:pt x="775" y="627"/>
                    </a:lnTo>
                    <a:lnTo>
                      <a:pt x="775" y="627"/>
                    </a:lnTo>
                    <a:lnTo>
                      <a:pt x="779" y="633"/>
                    </a:lnTo>
                    <a:lnTo>
                      <a:pt x="777" y="634"/>
                    </a:lnTo>
                    <a:lnTo>
                      <a:pt x="779" y="638"/>
                    </a:lnTo>
                    <a:lnTo>
                      <a:pt x="780" y="634"/>
                    </a:lnTo>
                    <a:lnTo>
                      <a:pt x="780" y="638"/>
                    </a:lnTo>
                    <a:lnTo>
                      <a:pt x="779" y="643"/>
                    </a:lnTo>
                    <a:lnTo>
                      <a:pt x="773" y="648"/>
                    </a:lnTo>
                    <a:lnTo>
                      <a:pt x="773" y="652"/>
                    </a:lnTo>
                    <a:lnTo>
                      <a:pt x="772" y="653"/>
                    </a:lnTo>
                    <a:lnTo>
                      <a:pt x="768" y="655"/>
                    </a:lnTo>
                    <a:lnTo>
                      <a:pt x="768" y="652"/>
                    </a:lnTo>
                    <a:lnTo>
                      <a:pt x="768" y="650"/>
                    </a:lnTo>
                    <a:lnTo>
                      <a:pt x="767" y="657"/>
                    </a:lnTo>
                    <a:lnTo>
                      <a:pt x="767" y="655"/>
                    </a:lnTo>
                    <a:lnTo>
                      <a:pt x="767" y="652"/>
                    </a:lnTo>
                    <a:lnTo>
                      <a:pt x="767" y="648"/>
                    </a:lnTo>
                    <a:lnTo>
                      <a:pt x="767" y="646"/>
                    </a:lnTo>
                    <a:lnTo>
                      <a:pt x="768" y="646"/>
                    </a:lnTo>
                    <a:lnTo>
                      <a:pt x="770" y="646"/>
                    </a:lnTo>
                    <a:lnTo>
                      <a:pt x="772" y="646"/>
                    </a:lnTo>
                    <a:lnTo>
                      <a:pt x="772" y="643"/>
                    </a:lnTo>
                    <a:lnTo>
                      <a:pt x="772" y="643"/>
                    </a:lnTo>
                    <a:lnTo>
                      <a:pt x="772" y="643"/>
                    </a:lnTo>
                    <a:lnTo>
                      <a:pt x="772" y="643"/>
                    </a:lnTo>
                    <a:close/>
                    <a:moveTo>
                      <a:pt x="770" y="612"/>
                    </a:moveTo>
                    <a:lnTo>
                      <a:pt x="772" y="612"/>
                    </a:lnTo>
                    <a:lnTo>
                      <a:pt x="772" y="615"/>
                    </a:lnTo>
                    <a:lnTo>
                      <a:pt x="770" y="612"/>
                    </a:lnTo>
                    <a:lnTo>
                      <a:pt x="770" y="612"/>
                    </a:lnTo>
                    <a:lnTo>
                      <a:pt x="770" y="612"/>
                    </a:lnTo>
                    <a:lnTo>
                      <a:pt x="770" y="612"/>
                    </a:lnTo>
                    <a:close/>
                    <a:moveTo>
                      <a:pt x="763" y="615"/>
                    </a:moveTo>
                    <a:lnTo>
                      <a:pt x="763" y="612"/>
                    </a:lnTo>
                    <a:lnTo>
                      <a:pt x="767" y="612"/>
                    </a:lnTo>
                    <a:lnTo>
                      <a:pt x="767" y="612"/>
                    </a:lnTo>
                    <a:lnTo>
                      <a:pt x="768" y="615"/>
                    </a:lnTo>
                    <a:lnTo>
                      <a:pt x="768" y="622"/>
                    </a:lnTo>
                    <a:lnTo>
                      <a:pt x="768" y="627"/>
                    </a:lnTo>
                    <a:lnTo>
                      <a:pt x="767" y="629"/>
                    </a:lnTo>
                    <a:lnTo>
                      <a:pt x="767" y="634"/>
                    </a:lnTo>
                    <a:lnTo>
                      <a:pt x="763" y="638"/>
                    </a:lnTo>
                    <a:lnTo>
                      <a:pt x="763" y="643"/>
                    </a:lnTo>
                    <a:lnTo>
                      <a:pt x="763" y="646"/>
                    </a:lnTo>
                    <a:lnTo>
                      <a:pt x="763" y="648"/>
                    </a:lnTo>
                    <a:lnTo>
                      <a:pt x="760" y="648"/>
                    </a:lnTo>
                    <a:lnTo>
                      <a:pt x="760" y="646"/>
                    </a:lnTo>
                    <a:lnTo>
                      <a:pt x="760" y="643"/>
                    </a:lnTo>
                    <a:lnTo>
                      <a:pt x="760" y="643"/>
                    </a:lnTo>
                    <a:lnTo>
                      <a:pt x="758" y="638"/>
                    </a:lnTo>
                    <a:lnTo>
                      <a:pt x="760" y="634"/>
                    </a:lnTo>
                    <a:lnTo>
                      <a:pt x="760" y="634"/>
                    </a:lnTo>
                    <a:lnTo>
                      <a:pt x="763" y="634"/>
                    </a:lnTo>
                    <a:lnTo>
                      <a:pt x="763" y="633"/>
                    </a:lnTo>
                    <a:lnTo>
                      <a:pt x="760" y="634"/>
                    </a:lnTo>
                    <a:lnTo>
                      <a:pt x="760" y="634"/>
                    </a:lnTo>
                    <a:lnTo>
                      <a:pt x="760" y="631"/>
                    </a:lnTo>
                    <a:lnTo>
                      <a:pt x="760" y="631"/>
                    </a:lnTo>
                    <a:lnTo>
                      <a:pt x="760" y="629"/>
                    </a:lnTo>
                    <a:lnTo>
                      <a:pt x="758" y="627"/>
                    </a:lnTo>
                    <a:lnTo>
                      <a:pt x="758" y="626"/>
                    </a:lnTo>
                    <a:lnTo>
                      <a:pt x="760" y="626"/>
                    </a:lnTo>
                    <a:lnTo>
                      <a:pt x="763" y="624"/>
                    </a:lnTo>
                    <a:lnTo>
                      <a:pt x="763" y="620"/>
                    </a:lnTo>
                    <a:lnTo>
                      <a:pt x="763" y="617"/>
                    </a:lnTo>
                    <a:lnTo>
                      <a:pt x="763" y="615"/>
                    </a:lnTo>
                    <a:lnTo>
                      <a:pt x="763" y="615"/>
                    </a:lnTo>
                    <a:lnTo>
                      <a:pt x="763" y="615"/>
                    </a:lnTo>
                    <a:lnTo>
                      <a:pt x="763" y="615"/>
                    </a:lnTo>
                    <a:lnTo>
                      <a:pt x="763" y="615"/>
                    </a:lnTo>
                    <a:close/>
                    <a:moveTo>
                      <a:pt x="756" y="615"/>
                    </a:moveTo>
                    <a:lnTo>
                      <a:pt x="758" y="612"/>
                    </a:lnTo>
                    <a:lnTo>
                      <a:pt x="760" y="615"/>
                    </a:lnTo>
                    <a:lnTo>
                      <a:pt x="758" y="617"/>
                    </a:lnTo>
                    <a:lnTo>
                      <a:pt x="758" y="620"/>
                    </a:lnTo>
                    <a:lnTo>
                      <a:pt x="754" y="622"/>
                    </a:lnTo>
                    <a:lnTo>
                      <a:pt x="754" y="620"/>
                    </a:lnTo>
                    <a:lnTo>
                      <a:pt x="756" y="617"/>
                    </a:lnTo>
                    <a:lnTo>
                      <a:pt x="754" y="617"/>
                    </a:lnTo>
                    <a:lnTo>
                      <a:pt x="756" y="615"/>
                    </a:lnTo>
                    <a:lnTo>
                      <a:pt x="756" y="615"/>
                    </a:lnTo>
                    <a:lnTo>
                      <a:pt x="756" y="615"/>
                    </a:lnTo>
                    <a:lnTo>
                      <a:pt x="756" y="615"/>
                    </a:lnTo>
                    <a:close/>
                    <a:moveTo>
                      <a:pt x="772" y="622"/>
                    </a:moveTo>
                    <a:lnTo>
                      <a:pt x="773" y="619"/>
                    </a:lnTo>
                    <a:lnTo>
                      <a:pt x="773" y="615"/>
                    </a:lnTo>
                    <a:lnTo>
                      <a:pt x="775" y="612"/>
                    </a:lnTo>
                    <a:lnTo>
                      <a:pt x="780" y="612"/>
                    </a:lnTo>
                    <a:lnTo>
                      <a:pt x="779" y="612"/>
                    </a:lnTo>
                    <a:lnTo>
                      <a:pt x="780" y="610"/>
                    </a:lnTo>
                    <a:lnTo>
                      <a:pt x="777" y="606"/>
                    </a:lnTo>
                    <a:lnTo>
                      <a:pt x="779" y="601"/>
                    </a:lnTo>
                    <a:lnTo>
                      <a:pt x="782" y="596"/>
                    </a:lnTo>
                    <a:lnTo>
                      <a:pt x="782" y="587"/>
                    </a:lnTo>
                    <a:lnTo>
                      <a:pt x="784" y="582"/>
                    </a:lnTo>
                    <a:lnTo>
                      <a:pt x="786" y="584"/>
                    </a:lnTo>
                    <a:lnTo>
                      <a:pt x="786" y="587"/>
                    </a:lnTo>
                    <a:lnTo>
                      <a:pt x="789" y="589"/>
                    </a:lnTo>
                    <a:lnTo>
                      <a:pt x="791" y="593"/>
                    </a:lnTo>
                    <a:lnTo>
                      <a:pt x="794" y="605"/>
                    </a:lnTo>
                    <a:lnTo>
                      <a:pt x="789" y="610"/>
                    </a:lnTo>
                    <a:lnTo>
                      <a:pt x="789" y="610"/>
                    </a:lnTo>
                    <a:lnTo>
                      <a:pt x="789" y="601"/>
                    </a:lnTo>
                    <a:lnTo>
                      <a:pt x="789" y="594"/>
                    </a:lnTo>
                    <a:lnTo>
                      <a:pt x="789" y="598"/>
                    </a:lnTo>
                    <a:lnTo>
                      <a:pt x="786" y="610"/>
                    </a:lnTo>
                    <a:lnTo>
                      <a:pt x="786" y="612"/>
                    </a:lnTo>
                    <a:lnTo>
                      <a:pt x="786" y="615"/>
                    </a:lnTo>
                    <a:lnTo>
                      <a:pt x="786" y="615"/>
                    </a:lnTo>
                    <a:lnTo>
                      <a:pt x="782" y="615"/>
                    </a:lnTo>
                    <a:lnTo>
                      <a:pt x="780" y="619"/>
                    </a:lnTo>
                    <a:lnTo>
                      <a:pt x="775" y="622"/>
                    </a:lnTo>
                    <a:lnTo>
                      <a:pt x="773" y="624"/>
                    </a:lnTo>
                    <a:lnTo>
                      <a:pt x="772" y="622"/>
                    </a:lnTo>
                    <a:lnTo>
                      <a:pt x="772" y="622"/>
                    </a:lnTo>
                    <a:lnTo>
                      <a:pt x="772" y="622"/>
                    </a:lnTo>
                    <a:lnTo>
                      <a:pt x="772" y="622"/>
                    </a:lnTo>
                    <a:close/>
                    <a:moveTo>
                      <a:pt x="763" y="584"/>
                    </a:moveTo>
                    <a:lnTo>
                      <a:pt x="767" y="582"/>
                    </a:lnTo>
                    <a:lnTo>
                      <a:pt x="770" y="584"/>
                    </a:lnTo>
                    <a:lnTo>
                      <a:pt x="770" y="587"/>
                    </a:lnTo>
                    <a:lnTo>
                      <a:pt x="768" y="589"/>
                    </a:lnTo>
                    <a:lnTo>
                      <a:pt x="770" y="591"/>
                    </a:lnTo>
                    <a:lnTo>
                      <a:pt x="772" y="589"/>
                    </a:lnTo>
                    <a:lnTo>
                      <a:pt x="775" y="587"/>
                    </a:lnTo>
                    <a:lnTo>
                      <a:pt x="779" y="591"/>
                    </a:lnTo>
                    <a:lnTo>
                      <a:pt x="779" y="593"/>
                    </a:lnTo>
                    <a:lnTo>
                      <a:pt x="775" y="594"/>
                    </a:lnTo>
                    <a:lnTo>
                      <a:pt x="775" y="596"/>
                    </a:lnTo>
                    <a:lnTo>
                      <a:pt x="773" y="598"/>
                    </a:lnTo>
                    <a:lnTo>
                      <a:pt x="772" y="598"/>
                    </a:lnTo>
                    <a:lnTo>
                      <a:pt x="768" y="594"/>
                    </a:lnTo>
                    <a:lnTo>
                      <a:pt x="767" y="589"/>
                    </a:lnTo>
                    <a:lnTo>
                      <a:pt x="767" y="591"/>
                    </a:lnTo>
                    <a:lnTo>
                      <a:pt x="768" y="598"/>
                    </a:lnTo>
                    <a:lnTo>
                      <a:pt x="768" y="601"/>
                    </a:lnTo>
                    <a:lnTo>
                      <a:pt x="773" y="601"/>
                    </a:lnTo>
                    <a:lnTo>
                      <a:pt x="775" y="605"/>
                    </a:lnTo>
                    <a:lnTo>
                      <a:pt x="773" y="606"/>
                    </a:lnTo>
                    <a:lnTo>
                      <a:pt x="772" y="612"/>
                    </a:lnTo>
                    <a:lnTo>
                      <a:pt x="770" y="612"/>
                    </a:lnTo>
                    <a:lnTo>
                      <a:pt x="767" y="606"/>
                    </a:lnTo>
                    <a:lnTo>
                      <a:pt x="767" y="605"/>
                    </a:lnTo>
                    <a:lnTo>
                      <a:pt x="763" y="596"/>
                    </a:lnTo>
                    <a:lnTo>
                      <a:pt x="763" y="600"/>
                    </a:lnTo>
                    <a:lnTo>
                      <a:pt x="763" y="605"/>
                    </a:lnTo>
                    <a:lnTo>
                      <a:pt x="763" y="606"/>
                    </a:lnTo>
                    <a:lnTo>
                      <a:pt x="763" y="612"/>
                    </a:lnTo>
                    <a:lnTo>
                      <a:pt x="760" y="612"/>
                    </a:lnTo>
                    <a:lnTo>
                      <a:pt x="758" y="606"/>
                    </a:lnTo>
                    <a:lnTo>
                      <a:pt x="760" y="605"/>
                    </a:lnTo>
                    <a:lnTo>
                      <a:pt x="756" y="603"/>
                    </a:lnTo>
                    <a:lnTo>
                      <a:pt x="758" y="600"/>
                    </a:lnTo>
                    <a:lnTo>
                      <a:pt x="756" y="594"/>
                    </a:lnTo>
                    <a:lnTo>
                      <a:pt x="758" y="591"/>
                    </a:lnTo>
                    <a:lnTo>
                      <a:pt x="760" y="593"/>
                    </a:lnTo>
                    <a:lnTo>
                      <a:pt x="760" y="591"/>
                    </a:lnTo>
                    <a:lnTo>
                      <a:pt x="758" y="589"/>
                    </a:lnTo>
                    <a:lnTo>
                      <a:pt x="758" y="587"/>
                    </a:lnTo>
                    <a:lnTo>
                      <a:pt x="760" y="582"/>
                    </a:lnTo>
                    <a:lnTo>
                      <a:pt x="760" y="587"/>
                    </a:lnTo>
                    <a:lnTo>
                      <a:pt x="763" y="584"/>
                    </a:lnTo>
                    <a:lnTo>
                      <a:pt x="763" y="584"/>
                    </a:lnTo>
                    <a:lnTo>
                      <a:pt x="763" y="584"/>
                    </a:lnTo>
                    <a:lnTo>
                      <a:pt x="763" y="584"/>
                    </a:lnTo>
                    <a:lnTo>
                      <a:pt x="763" y="584"/>
                    </a:lnTo>
                    <a:close/>
                    <a:moveTo>
                      <a:pt x="763" y="579"/>
                    </a:moveTo>
                    <a:lnTo>
                      <a:pt x="767" y="575"/>
                    </a:lnTo>
                    <a:lnTo>
                      <a:pt x="768" y="579"/>
                    </a:lnTo>
                    <a:lnTo>
                      <a:pt x="767" y="579"/>
                    </a:lnTo>
                    <a:lnTo>
                      <a:pt x="763" y="579"/>
                    </a:lnTo>
                    <a:lnTo>
                      <a:pt x="763" y="579"/>
                    </a:lnTo>
                    <a:lnTo>
                      <a:pt x="763" y="579"/>
                    </a:lnTo>
                    <a:lnTo>
                      <a:pt x="763" y="579"/>
                    </a:lnTo>
                    <a:close/>
                    <a:moveTo>
                      <a:pt x="256" y="368"/>
                    </a:moveTo>
                    <a:lnTo>
                      <a:pt x="254" y="367"/>
                    </a:lnTo>
                    <a:lnTo>
                      <a:pt x="256" y="365"/>
                    </a:lnTo>
                    <a:lnTo>
                      <a:pt x="256" y="367"/>
                    </a:lnTo>
                    <a:lnTo>
                      <a:pt x="256" y="368"/>
                    </a:lnTo>
                    <a:lnTo>
                      <a:pt x="256" y="368"/>
                    </a:lnTo>
                    <a:lnTo>
                      <a:pt x="256" y="368"/>
                    </a:lnTo>
                    <a:lnTo>
                      <a:pt x="256" y="368"/>
                    </a:lnTo>
                    <a:close/>
                    <a:moveTo>
                      <a:pt x="256" y="370"/>
                    </a:moveTo>
                    <a:lnTo>
                      <a:pt x="256" y="372"/>
                    </a:lnTo>
                    <a:lnTo>
                      <a:pt x="256" y="375"/>
                    </a:lnTo>
                    <a:lnTo>
                      <a:pt x="261" y="379"/>
                    </a:lnTo>
                    <a:lnTo>
                      <a:pt x="261" y="382"/>
                    </a:lnTo>
                    <a:lnTo>
                      <a:pt x="254" y="377"/>
                    </a:lnTo>
                    <a:lnTo>
                      <a:pt x="254" y="373"/>
                    </a:lnTo>
                    <a:lnTo>
                      <a:pt x="252" y="372"/>
                    </a:lnTo>
                    <a:lnTo>
                      <a:pt x="252" y="372"/>
                    </a:lnTo>
                    <a:lnTo>
                      <a:pt x="256" y="370"/>
                    </a:lnTo>
                    <a:lnTo>
                      <a:pt x="256" y="370"/>
                    </a:lnTo>
                    <a:lnTo>
                      <a:pt x="256" y="370"/>
                    </a:lnTo>
                    <a:lnTo>
                      <a:pt x="256" y="370"/>
                    </a:lnTo>
                    <a:close/>
                    <a:moveTo>
                      <a:pt x="431" y="313"/>
                    </a:moveTo>
                    <a:lnTo>
                      <a:pt x="429" y="316"/>
                    </a:lnTo>
                    <a:lnTo>
                      <a:pt x="429" y="323"/>
                    </a:lnTo>
                    <a:lnTo>
                      <a:pt x="426" y="323"/>
                    </a:lnTo>
                    <a:lnTo>
                      <a:pt x="426" y="320"/>
                    </a:lnTo>
                    <a:lnTo>
                      <a:pt x="424" y="318"/>
                    </a:lnTo>
                    <a:lnTo>
                      <a:pt x="419" y="320"/>
                    </a:lnTo>
                    <a:lnTo>
                      <a:pt x="416" y="318"/>
                    </a:lnTo>
                    <a:lnTo>
                      <a:pt x="416" y="316"/>
                    </a:lnTo>
                    <a:lnTo>
                      <a:pt x="426" y="306"/>
                    </a:lnTo>
                    <a:lnTo>
                      <a:pt x="429" y="304"/>
                    </a:lnTo>
                    <a:lnTo>
                      <a:pt x="431" y="304"/>
                    </a:lnTo>
                    <a:lnTo>
                      <a:pt x="431" y="313"/>
                    </a:lnTo>
                    <a:lnTo>
                      <a:pt x="431" y="313"/>
                    </a:lnTo>
                    <a:lnTo>
                      <a:pt x="431" y="313"/>
                    </a:lnTo>
                    <a:lnTo>
                      <a:pt x="431" y="313"/>
                    </a:lnTo>
                    <a:close/>
                    <a:moveTo>
                      <a:pt x="433" y="313"/>
                    </a:moveTo>
                    <a:lnTo>
                      <a:pt x="433" y="313"/>
                    </a:lnTo>
                    <a:lnTo>
                      <a:pt x="436" y="309"/>
                    </a:lnTo>
                    <a:lnTo>
                      <a:pt x="436" y="307"/>
                    </a:lnTo>
                    <a:lnTo>
                      <a:pt x="433" y="306"/>
                    </a:lnTo>
                    <a:lnTo>
                      <a:pt x="433" y="304"/>
                    </a:lnTo>
                    <a:lnTo>
                      <a:pt x="431" y="300"/>
                    </a:lnTo>
                    <a:lnTo>
                      <a:pt x="433" y="300"/>
                    </a:lnTo>
                    <a:lnTo>
                      <a:pt x="440" y="299"/>
                    </a:lnTo>
                    <a:lnTo>
                      <a:pt x="447" y="304"/>
                    </a:lnTo>
                    <a:lnTo>
                      <a:pt x="447" y="304"/>
                    </a:lnTo>
                    <a:lnTo>
                      <a:pt x="445" y="306"/>
                    </a:lnTo>
                    <a:lnTo>
                      <a:pt x="436" y="313"/>
                    </a:lnTo>
                    <a:lnTo>
                      <a:pt x="433" y="313"/>
                    </a:lnTo>
                    <a:lnTo>
                      <a:pt x="433" y="313"/>
                    </a:lnTo>
                    <a:lnTo>
                      <a:pt x="433" y="313"/>
                    </a:lnTo>
                    <a:lnTo>
                      <a:pt x="433" y="313"/>
                    </a:lnTo>
                    <a:close/>
                    <a:moveTo>
                      <a:pt x="468" y="290"/>
                    </a:moveTo>
                    <a:lnTo>
                      <a:pt x="468" y="290"/>
                    </a:lnTo>
                    <a:lnTo>
                      <a:pt x="473" y="288"/>
                    </a:lnTo>
                    <a:lnTo>
                      <a:pt x="475" y="292"/>
                    </a:lnTo>
                    <a:lnTo>
                      <a:pt x="473" y="295"/>
                    </a:lnTo>
                    <a:lnTo>
                      <a:pt x="471" y="295"/>
                    </a:lnTo>
                    <a:lnTo>
                      <a:pt x="468" y="290"/>
                    </a:lnTo>
                    <a:lnTo>
                      <a:pt x="468" y="290"/>
                    </a:lnTo>
                    <a:lnTo>
                      <a:pt x="468" y="290"/>
                    </a:lnTo>
                    <a:lnTo>
                      <a:pt x="468" y="290"/>
                    </a:lnTo>
                    <a:close/>
                    <a:moveTo>
                      <a:pt x="640" y="455"/>
                    </a:moveTo>
                    <a:lnTo>
                      <a:pt x="641" y="453"/>
                    </a:lnTo>
                    <a:lnTo>
                      <a:pt x="643" y="455"/>
                    </a:lnTo>
                    <a:lnTo>
                      <a:pt x="641" y="457"/>
                    </a:lnTo>
                    <a:lnTo>
                      <a:pt x="640" y="455"/>
                    </a:lnTo>
                    <a:lnTo>
                      <a:pt x="640" y="455"/>
                    </a:lnTo>
                    <a:lnTo>
                      <a:pt x="640" y="455"/>
                    </a:lnTo>
                    <a:lnTo>
                      <a:pt x="640" y="455"/>
                    </a:lnTo>
                    <a:close/>
                    <a:moveTo>
                      <a:pt x="624" y="507"/>
                    </a:moveTo>
                    <a:lnTo>
                      <a:pt x="628" y="504"/>
                    </a:lnTo>
                    <a:lnTo>
                      <a:pt x="629" y="506"/>
                    </a:lnTo>
                    <a:lnTo>
                      <a:pt x="624" y="507"/>
                    </a:lnTo>
                    <a:lnTo>
                      <a:pt x="624" y="507"/>
                    </a:lnTo>
                    <a:lnTo>
                      <a:pt x="624" y="507"/>
                    </a:lnTo>
                    <a:lnTo>
                      <a:pt x="624" y="507"/>
                    </a:lnTo>
                    <a:close/>
                    <a:moveTo>
                      <a:pt x="662" y="497"/>
                    </a:moveTo>
                    <a:lnTo>
                      <a:pt x="664" y="497"/>
                    </a:lnTo>
                    <a:lnTo>
                      <a:pt x="667" y="497"/>
                    </a:lnTo>
                    <a:lnTo>
                      <a:pt x="664" y="500"/>
                    </a:lnTo>
                    <a:lnTo>
                      <a:pt x="662" y="500"/>
                    </a:lnTo>
                    <a:lnTo>
                      <a:pt x="662" y="497"/>
                    </a:lnTo>
                    <a:lnTo>
                      <a:pt x="662" y="497"/>
                    </a:lnTo>
                    <a:lnTo>
                      <a:pt x="662" y="497"/>
                    </a:lnTo>
                    <a:lnTo>
                      <a:pt x="662" y="497"/>
                    </a:lnTo>
                    <a:close/>
                    <a:moveTo>
                      <a:pt x="634" y="464"/>
                    </a:moveTo>
                    <a:lnTo>
                      <a:pt x="634" y="460"/>
                    </a:lnTo>
                    <a:lnTo>
                      <a:pt x="636" y="460"/>
                    </a:lnTo>
                    <a:lnTo>
                      <a:pt x="636" y="464"/>
                    </a:lnTo>
                    <a:lnTo>
                      <a:pt x="634" y="464"/>
                    </a:lnTo>
                    <a:lnTo>
                      <a:pt x="634" y="464"/>
                    </a:lnTo>
                    <a:lnTo>
                      <a:pt x="634" y="464"/>
                    </a:lnTo>
                    <a:lnTo>
                      <a:pt x="634" y="464"/>
                    </a:lnTo>
                    <a:close/>
                    <a:moveTo>
                      <a:pt x="640" y="478"/>
                    </a:moveTo>
                    <a:lnTo>
                      <a:pt x="640" y="473"/>
                    </a:lnTo>
                    <a:lnTo>
                      <a:pt x="640" y="469"/>
                    </a:lnTo>
                    <a:lnTo>
                      <a:pt x="641" y="469"/>
                    </a:lnTo>
                    <a:lnTo>
                      <a:pt x="641" y="473"/>
                    </a:lnTo>
                    <a:lnTo>
                      <a:pt x="645" y="473"/>
                    </a:lnTo>
                    <a:lnTo>
                      <a:pt x="645" y="478"/>
                    </a:lnTo>
                    <a:lnTo>
                      <a:pt x="643" y="478"/>
                    </a:lnTo>
                    <a:lnTo>
                      <a:pt x="640" y="478"/>
                    </a:lnTo>
                    <a:lnTo>
                      <a:pt x="640" y="478"/>
                    </a:lnTo>
                    <a:lnTo>
                      <a:pt x="640" y="478"/>
                    </a:lnTo>
                    <a:lnTo>
                      <a:pt x="640" y="478"/>
                    </a:lnTo>
                    <a:close/>
                    <a:moveTo>
                      <a:pt x="610" y="488"/>
                    </a:moveTo>
                    <a:lnTo>
                      <a:pt x="614" y="488"/>
                    </a:lnTo>
                    <a:lnTo>
                      <a:pt x="614" y="488"/>
                    </a:lnTo>
                    <a:lnTo>
                      <a:pt x="614" y="487"/>
                    </a:lnTo>
                    <a:lnTo>
                      <a:pt x="621" y="481"/>
                    </a:lnTo>
                    <a:lnTo>
                      <a:pt x="624" y="481"/>
                    </a:lnTo>
                    <a:lnTo>
                      <a:pt x="628" y="478"/>
                    </a:lnTo>
                    <a:lnTo>
                      <a:pt x="629" y="478"/>
                    </a:lnTo>
                    <a:lnTo>
                      <a:pt x="633" y="473"/>
                    </a:lnTo>
                    <a:lnTo>
                      <a:pt x="634" y="474"/>
                    </a:lnTo>
                    <a:lnTo>
                      <a:pt x="633" y="478"/>
                    </a:lnTo>
                    <a:lnTo>
                      <a:pt x="634" y="478"/>
                    </a:lnTo>
                    <a:lnTo>
                      <a:pt x="633" y="480"/>
                    </a:lnTo>
                    <a:lnTo>
                      <a:pt x="629" y="480"/>
                    </a:lnTo>
                    <a:lnTo>
                      <a:pt x="624" y="487"/>
                    </a:lnTo>
                    <a:lnTo>
                      <a:pt x="621" y="488"/>
                    </a:lnTo>
                    <a:lnTo>
                      <a:pt x="621" y="488"/>
                    </a:lnTo>
                    <a:lnTo>
                      <a:pt x="619" y="492"/>
                    </a:lnTo>
                    <a:lnTo>
                      <a:pt x="617" y="488"/>
                    </a:lnTo>
                    <a:lnTo>
                      <a:pt x="614" y="492"/>
                    </a:lnTo>
                    <a:lnTo>
                      <a:pt x="610" y="492"/>
                    </a:lnTo>
                    <a:lnTo>
                      <a:pt x="610" y="488"/>
                    </a:lnTo>
                    <a:lnTo>
                      <a:pt x="610" y="488"/>
                    </a:lnTo>
                    <a:lnTo>
                      <a:pt x="610" y="488"/>
                    </a:lnTo>
                    <a:lnTo>
                      <a:pt x="610" y="488"/>
                    </a:lnTo>
                    <a:close/>
                    <a:moveTo>
                      <a:pt x="610" y="483"/>
                    </a:moveTo>
                    <a:lnTo>
                      <a:pt x="614" y="480"/>
                    </a:lnTo>
                    <a:lnTo>
                      <a:pt x="614" y="483"/>
                    </a:lnTo>
                    <a:lnTo>
                      <a:pt x="610" y="485"/>
                    </a:lnTo>
                    <a:lnTo>
                      <a:pt x="610" y="485"/>
                    </a:lnTo>
                    <a:lnTo>
                      <a:pt x="610" y="483"/>
                    </a:lnTo>
                    <a:lnTo>
                      <a:pt x="610" y="483"/>
                    </a:lnTo>
                    <a:lnTo>
                      <a:pt x="610" y="483"/>
                    </a:lnTo>
                    <a:lnTo>
                      <a:pt x="610" y="483"/>
                    </a:lnTo>
                    <a:close/>
                    <a:moveTo>
                      <a:pt x="619" y="474"/>
                    </a:moveTo>
                    <a:lnTo>
                      <a:pt x="624" y="469"/>
                    </a:lnTo>
                    <a:lnTo>
                      <a:pt x="624" y="469"/>
                    </a:lnTo>
                    <a:lnTo>
                      <a:pt x="626" y="466"/>
                    </a:lnTo>
                    <a:lnTo>
                      <a:pt x="628" y="466"/>
                    </a:lnTo>
                    <a:lnTo>
                      <a:pt x="629" y="469"/>
                    </a:lnTo>
                    <a:lnTo>
                      <a:pt x="626" y="469"/>
                    </a:lnTo>
                    <a:lnTo>
                      <a:pt x="626" y="473"/>
                    </a:lnTo>
                    <a:lnTo>
                      <a:pt x="622" y="474"/>
                    </a:lnTo>
                    <a:lnTo>
                      <a:pt x="621" y="478"/>
                    </a:lnTo>
                    <a:lnTo>
                      <a:pt x="619" y="478"/>
                    </a:lnTo>
                    <a:lnTo>
                      <a:pt x="619" y="474"/>
                    </a:lnTo>
                    <a:lnTo>
                      <a:pt x="619" y="474"/>
                    </a:lnTo>
                    <a:lnTo>
                      <a:pt x="619" y="474"/>
                    </a:lnTo>
                    <a:lnTo>
                      <a:pt x="619" y="474"/>
                    </a:lnTo>
                    <a:close/>
                    <a:moveTo>
                      <a:pt x="624" y="453"/>
                    </a:moveTo>
                    <a:lnTo>
                      <a:pt x="626" y="450"/>
                    </a:lnTo>
                    <a:lnTo>
                      <a:pt x="628" y="452"/>
                    </a:lnTo>
                    <a:lnTo>
                      <a:pt x="628" y="453"/>
                    </a:lnTo>
                    <a:lnTo>
                      <a:pt x="628" y="455"/>
                    </a:lnTo>
                    <a:lnTo>
                      <a:pt x="628" y="457"/>
                    </a:lnTo>
                    <a:lnTo>
                      <a:pt x="624" y="453"/>
                    </a:lnTo>
                    <a:lnTo>
                      <a:pt x="624" y="453"/>
                    </a:lnTo>
                    <a:lnTo>
                      <a:pt x="624" y="453"/>
                    </a:lnTo>
                    <a:lnTo>
                      <a:pt x="624" y="453"/>
                    </a:lnTo>
                    <a:close/>
                    <a:moveTo>
                      <a:pt x="419" y="214"/>
                    </a:moveTo>
                    <a:lnTo>
                      <a:pt x="419" y="214"/>
                    </a:lnTo>
                    <a:lnTo>
                      <a:pt x="421" y="214"/>
                    </a:lnTo>
                    <a:lnTo>
                      <a:pt x="424" y="214"/>
                    </a:lnTo>
                    <a:lnTo>
                      <a:pt x="421" y="217"/>
                    </a:lnTo>
                    <a:lnTo>
                      <a:pt x="419" y="214"/>
                    </a:lnTo>
                    <a:lnTo>
                      <a:pt x="419" y="214"/>
                    </a:lnTo>
                    <a:lnTo>
                      <a:pt x="419" y="214"/>
                    </a:lnTo>
                    <a:lnTo>
                      <a:pt x="419" y="214"/>
                    </a:lnTo>
                    <a:close/>
                    <a:moveTo>
                      <a:pt x="353" y="287"/>
                    </a:moveTo>
                    <a:lnTo>
                      <a:pt x="356" y="281"/>
                    </a:lnTo>
                    <a:lnTo>
                      <a:pt x="355" y="278"/>
                    </a:lnTo>
                    <a:lnTo>
                      <a:pt x="351" y="276"/>
                    </a:lnTo>
                    <a:lnTo>
                      <a:pt x="353" y="273"/>
                    </a:lnTo>
                    <a:lnTo>
                      <a:pt x="351" y="267"/>
                    </a:lnTo>
                    <a:lnTo>
                      <a:pt x="348" y="264"/>
                    </a:lnTo>
                    <a:lnTo>
                      <a:pt x="341" y="264"/>
                    </a:lnTo>
                    <a:lnTo>
                      <a:pt x="341" y="264"/>
                    </a:lnTo>
                    <a:lnTo>
                      <a:pt x="337" y="267"/>
                    </a:lnTo>
                    <a:lnTo>
                      <a:pt x="334" y="262"/>
                    </a:lnTo>
                    <a:lnTo>
                      <a:pt x="334" y="257"/>
                    </a:lnTo>
                    <a:lnTo>
                      <a:pt x="341" y="250"/>
                    </a:lnTo>
                    <a:lnTo>
                      <a:pt x="344" y="245"/>
                    </a:lnTo>
                    <a:lnTo>
                      <a:pt x="346" y="245"/>
                    </a:lnTo>
                    <a:lnTo>
                      <a:pt x="346" y="250"/>
                    </a:lnTo>
                    <a:lnTo>
                      <a:pt x="344" y="252"/>
                    </a:lnTo>
                    <a:lnTo>
                      <a:pt x="350" y="253"/>
                    </a:lnTo>
                    <a:lnTo>
                      <a:pt x="350" y="257"/>
                    </a:lnTo>
                    <a:lnTo>
                      <a:pt x="353" y="257"/>
                    </a:lnTo>
                    <a:lnTo>
                      <a:pt x="355" y="255"/>
                    </a:lnTo>
                    <a:lnTo>
                      <a:pt x="360" y="255"/>
                    </a:lnTo>
                    <a:lnTo>
                      <a:pt x="363" y="259"/>
                    </a:lnTo>
                    <a:lnTo>
                      <a:pt x="363" y="262"/>
                    </a:lnTo>
                    <a:lnTo>
                      <a:pt x="363" y="264"/>
                    </a:lnTo>
                    <a:lnTo>
                      <a:pt x="363" y="267"/>
                    </a:lnTo>
                    <a:lnTo>
                      <a:pt x="367" y="269"/>
                    </a:lnTo>
                    <a:lnTo>
                      <a:pt x="367" y="273"/>
                    </a:lnTo>
                    <a:lnTo>
                      <a:pt x="374" y="280"/>
                    </a:lnTo>
                    <a:lnTo>
                      <a:pt x="374" y="281"/>
                    </a:lnTo>
                    <a:lnTo>
                      <a:pt x="372" y="285"/>
                    </a:lnTo>
                    <a:lnTo>
                      <a:pt x="367" y="281"/>
                    </a:lnTo>
                    <a:lnTo>
                      <a:pt x="365" y="281"/>
                    </a:lnTo>
                    <a:lnTo>
                      <a:pt x="363" y="283"/>
                    </a:lnTo>
                    <a:lnTo>
                      <a:pt x="360" y="285"/>
                    </a:lnTo>
                    <a:lnTo>
                      <a:pt x="356" y="288"/>
                    </a:lnTo>
                    <a:lnTo>
                      <a:pt x="353" y="287"/>
                    </a:lnTo>
                    <a:lnTo>
                      <a:pt x="353" y="287"/>
                    </a:lnTo>
                    <a:lnTo>
                      <a:pt x="353" y="287"/>
                    </a:lnTo>
                    <a:lnTo>
                      <a:pt x="353" y="287"/>
                    </a:lnTo>
                    <a:close/>
                    <a:moveTo>
                      <a:pt x="329" y="403"/>
                    </a:moveTo>
                    <a:lnTo>
                      <a:pt x="336" y="403"/>
                    </a:lnTo>
                    <a:lnTo>
                      <a:pt x="337" y="405"/>
                    </a:lnTo>
                    <a:lnTo>
                      <a:pt x="341" y="405"/>
                    </a:lnTo>
                    <a:lnTo>
                      <a:pt x="344" y="405"/>
                    </a:lnTo>
                    <a:lnTo>
                      <a:pt x="348" y="401"/>
                    </a:lnTo>
                    <a:lnTo>
                      <a:pt x="353" y="401"/>
                    </a:lnTo>
                    <a:lnTo>
                      <a:pt x="353" y="403"/>
                    </a:lnTo>
                    <a:lnTo>
                      <a:pt x="356" y="407"/>
                    </a:lnTo>
                    <a:lnTo>
                      <a:pt x="358" y="410"/>
                    </a:lnTo>
                    <a:lnTo>
                      <a:pt x="355" y="413"/>
                    </a:lnTo>
                    <a:lnTo>
                      <a:pt x="353" y="419"/>
                    </a:lnTo>
                    <a:lnTo>
                      <a:pt x="348" y="419"/>
                    </a:lnTo>
                    <a:lnTo>
                      <a:pt x="344" y="415"/>
                    </a:lnTo>
                    <a:lnTo>
                      <a:pt x="341" y="419"/>
                    </a:lnTo>
                    <a:lnTo>
                      <a:pt x="337" y="415"/>
                    </a:lnTo>
                    <a:lnTo>
                      <a:pt x="336" y="415"/>
                    </a:lnTo>
                    <a:lnTo>
                      <a:pt x="332" y="410"/>
                    </a:lnTo>
                    <a:lnTo>
                      <a:pt x="329" y="403"/>
                    </a:lnTo>
                    <a:lnTo>
                      <a:pt x="329" y="403"/>
                    </a:lnTo>
                    <a:lnTo>
                      <a:pt x="329" y="403"/>
                    </a:lnTo>
                    <a:lnTo>
                      <a:pt x="329" y="403"/>
                    </a:lnTo>
                    <a:close/>
                    <a:moveTo>
                      <a:pt x="556" y="455"/>
                    </a:moveTo>
                    <a:lnTo>
                      <a:pt x="560" y="450"/>
                    </a:lnTo>
                    <a:lnTo>
                      <a:pt x="563" y="450"/>
                    </a:lnTo>
                    <a:lnTo>
                      <a:pt x="563" y="453"/>
                    </a:lnTo>
                    <a:lnTo>
                      <a:pt x="560" y="455"/>
                    </a:lnTo>
                    <a:lnTo>
                      <a:pt x="556" y="455"/>
                    </a:lnTo>
                    <a:lnTo>
                      <a:pt x="556" y="455"/>
                    </a:lnTo>
                    <a:lnTo>
                      <a:pt x="556" y="455"/>
                    </a:lnTo>
                    <a:lnTo>
                      <a:pt x="556" y="455"/>
                    </a:lnTo>
                    <a:close/>
                    <a:moveTo>
                      <a:pt x="520" y="480"/>
                    </a:moveTo>
                    <a:lnTo>
                      <a:pt x="523" y="480"/>
                    </a:lnTo>
                    <a:lnTo>
                      <a:pt x="525" y="480"/>
                    </a:lnTo>
                    <a:lnTo>
                      <a:pt x="523" y="481"/>
                    </a:lnTo>
                    <a:lnTo>
                      <a:pt x="520" y="480"/>
                    </a:lnTo>
                    <a:lnTo>
                      <a:pt x="520" y="480"/>
                    </a:lnTo>
                    <a:lnTo>
                      <a:pt x="520" y="480"/>
                    </a:lnTo>
                    <a:lnTo>
                      <a:pt x="520" y="480"/>
                    </a:lnTo>
                    <a:close/>
                    <a:moveTo>
                      <a:pt x="520" y="509"/>
                    </a:moveTo>
                    <a:lnTo>
                      <a:pt x="522" y="509"/>
                    </a:lnTo>
                    <a:lnTo>
                      <a:pt x="525" y="509"/>
                    </a:lnTo>
                    <a:lnTo>
                      <a:pt x="523" y="511"/>
                    </a:lnTo>
                    <a:lnTo>
                      <a:pt x="522" y="514"/>
                    </a:lnTo>
                    <a:lnTo>
                      <a:pt x="520" y="513"/>
                    </a:lnTo>
                    <a:lnTo>
                      <a:pt x="520" y="509"/>
                    </a:lnTo>
                    <a:lnTo>
                      <a:pt x="520" y="509"/>
                    </a:lnTo>
                    <a:lnTo>
                      <a:pt x="520" y="509"/>
                    </a:lnTo>
                    <a:lnTo>
                      <a:pt x="520" y="509"/>
                    </a:lnTo>
                    <a:close/>
                    <a:moveTo>
                      <a:pt x="508" y="525"/>
                    </a:moveTo>
                    <a:lnTo>
                      <a:pt x="506" y="525"/>
                    </a:lnTo>
                    <a:lnTo>
                      <a:pt x="508" y="523"/>
                    </a:lnTo>
                    <a:lnTo>
                      <a:pt x="509" y="525"/>
                    </a:lnTo>
                    <a:lnTo>
                      <a:pt x="509" y="523"/>
                    </a:lnTo>
                    <a:lnTo>
                      <a:pt x="513" y="525"/>
                    </a:lnTo>
                    <a:lnTo>
                      <a:pt x="515" y="520"/>
                    </a:lnTo>
                    <a:lnTo>
                      <a:pt x="513" y="520"/>
                    </a:lnTo>
                    <a:lnTo>
                      <a:pt x="515" y="516"/>
                    </a:lnTo>
                    <a:lnTo>
                      <a:pt x="518" y="516"/>
                    </a:lnTo>
                    <a:lnTo>
                      <a:pt x="520" y="516"/>
                    </a:lnTo>
                    <a:lnTo>
                      <a:pt x="520" y="520"/>
                    </a:lnTo>
                    <a:lnTo>
                      <a:pt x="520" y="520"/>
                    </a:lnTo>
                    <a:lnTo>
                      <a:pt x="522" y="518"/>
                    </a:lnTo>
                    <a:lnTo>
                      <a:pt x="523" y="518"/>
                    </a:lnTo>
                    <a:lnTo>
                      <a:pt x="525" y="520"/>
                    </a:lnTo>
                    <a:lnTo>
                      <a:pt x="523" y="520"/>
                    </a:lnTo>
                    <a:lnTo>
                      <a:pt x="522" y="525"/>
                    </a:lnTo>
                    <a:lnTo>
                      <a:pt x="525" y="525"/>
                    </a:lnTo>
                    <a:lnTo>
                      <a:pt x="525" y="528"/>
                    </a:lnTo>
                    <a:lnTo>
                      <a:pt x="523" y="528"/>
                    </a:lnTo>
                    <a:lnTo>
                      <a:pt x="522" y="525"/>
                    </a:lnTo>
                    <a:lnTo>
                      <a:pt x="518" y="528"/>
                    </a:lnTo>
                    <a:lnTo>
                      <a:pt x="518" y="528"/>
                    </a:lnTo>
                    <a:lnTo>
                      <a:pt x="515" y="528"/>
                    </a:lnTo>
                    <a:lnTo>
                      <a:pt x="513" y="528"/>
                    </a:lnTo>
                    <a:lnTo>
                      <a:pt x="509" y="528"/>
                    </a:lnTo>
                    <a:lnTo>
                      <a:pt x="508" y="525"/>
                    </a:lnTo>
                    <a:lnTo>
                      <a:pt x="508" y="525"/>
                    </a:lnTo>
                    <a:lnTo>
                      <a:pt x="508" y="525"/>
                    </a:lnTo>
                    <a:lnTo>
                      <a:pt x="508" y="525"/>
                    </a:lnTo>
                    <a:close/>
                    <a:moveTo>
                      <a:pt x="471" y="561"/>
                    </a:moveTo>
                    <a:lnTo>
                      <a:pt x="469" y="563"/>
                    </a:lnTo>
                    <a:lnTo>
                      <a:pt x="468" y="563"/>
                    </a:lnTo>
                    <a:lnTo>
                      <a:pt x="468" y="563"/>
                    </a:lnTo>
                    <a:lnTo>
                      <a:pt x="468" y="560"/>
                    </a:lnTo>
                    <a:lnTo>
                      <a:pt x="468" y="556"/>
                    </a:lnTo>
                    <a:lnTo>
                      <a:pt x="468" y="553"/>
                    </a:lnTo>
                    <a:lnTo>
                      <a:pt x="468" y="547"/>
                    </a:lnTo>
                    <a:lnTo>
                      <a:pt x="468" y="547"/>
                    </a:lnTo>
                    <a:lnTo>
                      <a:pt x="468" y="546"/>
                    </a:lnTo>
                    <a:lnTo>
                      <a:pt x="473" y="542"/>
                    </a:lnTo>
                    <a:lnTo>
                      <a:pt x="480" y="539"/>
                    </a:lnTo>
                    <a:lnTo>
                      <a:pt x="485" y="539"/>
                    </a:lnTo>
                    <a:lnTo>
                      <a:pt x="485" y="539"/>
                    </a:lnTo>
                    <a:lnTo>
                      <a:pt x="487" y="546"/>
                    </a:lnTo>
                    <a:lnTo>
                      <a:pt x="487" y="546"/>
                    </a:lnTo>
                    <a:lnTo>
                      <a:pt x="490" y="542"/>
                    </a:lnTo>
                    <a:lnTo>
                      <a:pt x="487" y="539"/>
                    </a:lnTo>
                    <a:lnTo>
                      <a:pt x="490" y="539"/>
                    </a:lnTo>
                    <a:lnTo>
                      <a:pt x="490" y="540"/>
                    </a:lnTo>
                    <a:lnTo>
                      <a:pt x="492" y="537"/>
                    </a:lnTo>
                    <a:lnTo>
                      <a:pt x="490" y="535"/>
                    </a:lnTo>
                    <a:lnTo>
                      <a:pt x="490" y="533"/>
                    </a:lnTo>
                    <a:lnTo>
                      <a:pt x="492" y="530"/>
                    </a:lnTo>
                    <a:lnTo>
                      <a:pt x="494" y="530"/>
                    </a:lnTo>
                    <a:lnTo>
                      <a:pt x="495" y="532"/>
                    </a:lnTo>
                    <a:lnTo>
                      <a:pt x="495" y="535"/>
                    </a:lnTo>
                    <a:lnTo>
                      <a:pt x="495" y="537"/>
                    </a:lnTo>
                    <a:lnTo>
                      <a:pt x="495" y="539"/>
                    </a:lnTo>
                    <a:lnTo>
                      <a:pt x="497" y="539"/>
                    </a:lnTo>
                    <a:lnTo>
                      <a:pt x="499" y="535"/>
                    </a:lnTo>
                    <a:lnTo>
                      <a:pt x="501" y="535"/>
                    </a:lnTo>
                    <a:lnTo>
                      <a:pt x="502" y="537"/>
                    </a:lnTo>
                    <a:lnTo>
                      <a:pt x="502" y="533"/>
                    </a:lnTo>
                    <a:lnTo>
                      <a:pt x="501" y="530"/>
                    </a:lnTo>
                    <a:lnTo>
                      <a:pt x="502" y="530"/>
                    </a:lnTo>
                    <a:lnTo>
                      <a:pt x="506" y="532"/>
                    </a:lnTo>
                    <a:lnTo>
                      <a:pt x="506" y="533"/>
                    </a:lnTo>
                    <a:lnTo>
                      <a:pt x="504" y="535"/>
                    </a:lnTo>
                    <a:lnTo>
                      <a:pt x="504" y="537"/>
                    </a:lnTo>
                    <a:lnTo>
                      <a:pt x="506" y="537"/>
                    </a:lnTo>
                    <a:lnTo>
                      <a:pt x="509" y="533"/>
                    </a:lnTo>
                    <a:lnTo>
                      <a:pt x="513" y="533"/>
                    </a:lnTo>
                    <a:lnTo>
                      <a:pt x="515" y="533"/>
                    </a:lnTo>
                    <a:lnTo>
                      <a:pt x="515" y="537"/>
                    </a:lnTo>
                    <a:lnTo>
                      <a:pt x="513" y="539"/>
                    </a:lnTo>
                    <a:lnTo>
                      <a:pt x="509" y="539"/>
                    </a:lnTo>
                    <a:lnTo>
                      <a:pt x="509" y="540"/>
                    </a:lnTo>
                    <a:lnTo>
                      <a:pt x="513" y="542"/>
                    </a:lnTo>
                    <a:lnTo>
                      <a:pt x="513" y="544"/>
                    </a:lnTo>
                    <a:lnTo>
                      <a:pt x="509" y="547"/>
                    </a:lnTo>
                    <a:lnTo>
                      <a:pt x="508" y="547"/>
                    </a:lnTo>
                    <a:lnTo>
                      <a:pt x="508" y="546"/>
                    </a:lnTo>
                    <a:lnTo>
                      <a:pt x="504" y="546"/>
                    </a:lnTo>
                    <a:lnTo>
                      <a:pt x="502" y="546"/>
                    </a:lnTo>
                    <a:lnTo>
                      <a:pt x="501" y="546"/>
                    </a:lnTo>
                    <a:lnTo>
                      <a:pt x="499" y="547"/>
                    </a:lnTo>
                    <a:lnTo>
                      <a:pt x="502" y="547"/>
                    </a:lnTo>
                    <a:lnTo>
                      <a:pt x="504" y="553"/>
                    </a:lnTo>
                    <a:lnTo>
                      <a:pt x="501" y="553"/>
                    </a:lnTo>
                    <a:lnTo>
                      <a:pt x="499" y="553"/>
                    </a:lnTo>
                    <a:lnTo>
                      <a:pt x="495" y="551"/>
                    </a:lnTo>
                    <a:lnTo>
                      <a:pt x="492" y="551"/>
                    </a:lnTo>
                    <a:lnTo>
                      <a:pt x="490" y="553"/>
                    </a:lnTo>
                    <a:lnTo>
                      <a:pt x="492" y="553"/>
                    </a:lnTo>
                    <a:lnTo>
                      <a:pt x="494" y="556"/>
                    </a:lnTo>
                    <a:lnTo>
                      <a:pt x="492" y="556"/>
                    </a:lnTo>
                    <a:lnTo>
                      <a:pt x="490" y="556"/>
                    </a:lnTo>
                    <a:lnTo>
                      <a:pt x="487" y="556"/>
                    </a:lnTo>
                    <a:lnTo>
                      <a:pt x="485" y="556"/>
                    </a:lnTo>
                    <a:lnTo>
                      <a:pt x="483" y="560"/>
                    </a:lnTo>
                    <a:lnTo>
                      <a:pt x="482" y="560"/>
                    </a:lnTo>
                    <a:lnTo>
                      <a:pt x="480" y="561"/>
                    </a:lnTo>
                    <a:lnTo>
                      <a:pt x="482" y="563"/>
                    </a:lnTo>
                    <a:lnTo>
                      <a:pt x="476" y="565"/>
                    </a:lnTo>
                    <a:lnTo>
                      <a:pt x="476" y="568"/>
                    </a:lnTo>
                    <a:lnTo>
                      <a:pt x="475" y="568"/>
                    </a:lnTo>
                    <a:lnTo>
                      <a:pt x="473" y="572"/>
                    </a:lnTo>
                    <a:lnTo>
                      <a:pt x="469" y="570"/>
                    </a:lnTo>
                    <a:lnTo>
                      <a:pt x="469" y="568"/>
                    </a:lnTo>
                    <a:lnTo>
                      <a:pt x="476" y="563"/>
                    </a:lnTo>
                    <a:lnTo>
                      <a:pt x="476" y="561"/>
                    </a:lnTo>
                    <a:lnTo>
                      <a:pt x="478" y="560"/>
                    </a:lnTo>
                    <a:lnTo>
                      <a:pt x="476" y="560"/>
                    </a:lnTo>
                    <a:lnTo>
                      <a:pt x="475" y="561"/>
                    </a:lnTo>
                    <a:lnTo>
                      <a:pt x="473" y="560"/>
                    </a:lnTo>
                    <a:lnTo>
                      <a:pt x="475" y="560"/>
                    </a:lnTo>
                    <a:lnTo>
                      <a:pt x="469" y="560"/>
                    </a:lnTo>
                    <a:lnTo>
                      <a:pt x="468" y="560"/>
                    </a:lnTo>
                    <a:lnTo>
                      <a:pt x="469" y="560"/>
                    </a:lnTo>
                    <a:lnTo>
                      <a:pt x="471" y="561"/>
                    </a:lnTo>
                    <a:lnTo>
                      <a:pt x="471" y="561"/>
                    </a:lnTo>
                    <a:lnTo>
                      <a:pt x="471" y="561"/>
                    </a:lnTo>
                    <a:lnTo>
                      <a:pt x="471" y="561"/>
                    </a:lnTo>
                    <a:close/>
                    <a:moveTo>
                      <a:pt x="464" y="575"/>
                    </a:moveTo>
                    <a:lnTo>
                      <a:pt x="468" y="575"/>
                    </a:lnTo>
                    <a:lnTo>
                      <a:pt x="464" y="575"/>
                    </a:lnTo>
                    <a:lnTo>
                      <a:pt x="464" y="575"/>
                    </a:lnTo>
                    <a:lnTo>
                      <a:pt x="464" y="575"/>
                    </a:lnTo>
                    <a:lnTo>
                      <a:pt x="464" y="575"/>
                    </a:lnTo>
                    <a:lnTo>
                      <a:pt x="464" y="575"/>
                    </a:lnTo>
                    <a:close/>
                    <a:moveTo>
                      <a:pt x="455" y="579"/>
                    </a:moveTo>
                    <a:lnTo>
                      <a:pt x="455" y="575"/>
                    </a:lnTo>
                    <a:lnTo>
                      <a:pt x="464" y="572"/>
                    </a:lnTo>
                    <a:lnTo>
                      <a:pt x="459" y="579"/>
                    </a:lnTo>
                    <a:lnTo>
                      <a:pt x="455" y="579"/>
                    </a:lnTo>
                    <a:lnTo>
                      <a:pt x="455" y="579"/>
                    </a:lnTo>
                    <a:lnTo>
                      <a:pt x="455" y="579"/>
                    </a:lnTo>
                    <a:lnTo>
                      <a:pt x="455" y="579"/>
                    </a:lnTo>
                    <a:close/>
                    <a:moveTo>
                      <a:pt x="433" y="598"/>
                    </a:moveTo>
                    <a:lnTo>
                      <a:pt x="431" y="598"/>
                    </a:lnTo>
                    <a:lnTo>
                      <a:pt x="431" y="596"/>
                    </a:lnTo>
                    <a:lnTo>
                      <a:pt x="433" y="594"/>
                    </a:lnTo>
                    <a:lnTo>
                      <a:pt x="433" y="598"/>
                    </a:lnTo>
                    <a:lnTo>
                      <a:pt x="433" y="598"/>
                    </a:lnTo>
                    <a:lnTo>
                      <a:pt x="433" y="598"/>
                    </a:lnTo>
                    <a:lnTo>
                      <a:pt x="433" y="598"/>
                    </a:lnTo>
                    <a:lnTo>
                      <a:pt x="433" y="598"/>
                    </a:lnTo>
                    <a:close/>
                    <a:moveTo>
                      <a:pt x="419" y="566"/>
                    </a:moveTo>
                    <a:lnTo>
                      <a:pt x="422" y="566"/>
                    </a:lnTo>
                    <a:lnTo>
                      <a:pt x="424" y="568"/>
                    </a:lnTo>
                    <a:lnTo>
                      <a:pt x="422" y="570"/>
                    </a:lnTo>
                    <a:lnTo>
                      <a:pt x="419" y="566"/>
                    </a:lnTo>
                    <a:lnTo>
                      <a:pt x="419" y="566"/>
                    </a:lnTo>
                    <a:lnTo>
                      <a:pt x="419" y="566"/>
                    </a:lnTo>
                    <a:lnTo>
                      <a:pt x="419" y="566"/>
                    </a:lnTo>
                    <a:close/>
                    <a:moveTo>
                      <a:pt x="353" y="598"/>
                    </a:moveTo>
                    <a:lnTo>
                      <a:pt x="353" y="598"/>
                    </a:lnTo>
                    <a:lnTo>
                      <a:pt x="355" y="596"/>
                    </a:lnTo>
                    <a:lnTo>
                      <a:pt x="355" y="598"/>
                    </a:lnTo>
                    <a:lnTo>
                      <a:pt x="353" y="598"/>
                    </a:lnTo>
                    <a:lnTo>
                      <a:pt x="353" y="598"/>
                    </a:lnTo>
                    <a:lnTo>
                      <a:pt x="353" y="598"/>
                    </a:lnTo>
                    <a:lnTo>
                      <a:pt x="353" y="598"/>
                    </a:lnTo>
                    <a:close/>
                    <a:moveTo>
                      <a:pt x="350" y="600"/>
                    </a:moveTo>
                    <a:lnTo>
                      <a:pt x="351" y="600"/>
                    </a:lnTo>
                    <a:lnTo>
                      <a:pt x="350" y="601"/>
                    </a:lnTo>
                    <a:lnTo>
                      <a:pt x="350" y="600"/>
                    </a:lnTo>
                    <a:lnTo>
                      <a:pt x="350" y="600"/>
                    </a:lnTo>
                    <a:lnTo>
                      <a:pt x="350" y="600"/>
                    </a:lnTo>
                    <a:lnTo>
                      <a:pt x="350" y="600"/>
                    </a:lnTo>
                    <a:close/>
                    <a:moveTo>
                      <a:pt x="363" y="612"/>
                    </a:moveTo>
                    <a:lnTo>
                      <a:pt x="363" y="615"/>
                    </a:lnTo>
                    <a:lnTo>
                      <a:pt x="363" y="615"/>
                    </a:lnTo>
                    <a:lnTo>
                      <a:pt x="363" y="612"/>
                    </a:lnTo>
                    <a:lnTo>
                      <a:pt x="363" y="612"/>
                    </a:lnTo>
                    <a:lnTo>
                      <a:pt x="363" y="612"/>
                    </a:lnTo>
                    <a:lnTo>
                      <a:pt x="363" y="612"/>
                    </a:lnTo>
                    <a:lnTo>
                      <a:pt x="363" y="612"/>
                    </a:lnTo>
                    <a:close/>
                    <a:moveTo>
                      <a:pt x="360" y="612"/>
                    </a:moveTo>
                    <a:lnTo>
                      <a:pt x="363" y="606"/>
                    </a:lnTo>
                    <a:lnTo>
                      <a:pt x="363" y="610"/>
                    </a:lnTo>
                    <a:lnTo>
                      <a:pt x="363" y="610"/>
                    </a:lnTo>
                    <a:lnTo>
                      <a:pt x="360" y="612"/>
                    </a:lnTo>
                    <a:lnTo>
                      <a:pt x="360" y="612"/>
                    </a:lnTo>
                    <a:lnTo>
                      <a:pt x="360" y="612"/>
                    </a:lnTo>
                    <a:lnTo>
                      <a:pt x="360" y="612"/>
                    </a:lnTo>
                    <a:close/>
                    <a:moveTo>
                      <a:pt x="348" y="615"/>
                    </a:moveTo>
                    <a:lnTo>
                      <a:pt x="350" y="610"/>
                    </a:lnTo>
                    <a:lnTo>
                      <a:pt x="353" y="606"/>
                    </a:lnTo>
                    <a:lnTo>
                      <a:pt x="353" y="606"/>
                    </a:lnTo>
                    <a:lnTo>
                      <a:pt x="358" y="605"/>
                    </a:lnTo>
                    <a:lnTo>
                      <a:pt x="355" y="606"/>
                    </a:lnTo>
                    <a:lnTo>
                      <a:pt x="355" y="610"/>
                    </a:lnTo>
                    <a:lnTo>
                      <a:pt x="350" y="612"/>
                    </a:lnTo>
                    <a:lnTo>
                      <a:pt x="348" y="615"/>
                    </a:lnTo>
                    <a:lnTo>
                      <a:pt x="348" y="615"/>
                    </a:lnTo>
                    <a:lnTo>
                      <a:pt x="348" y="615"/>
                    </a:lnTo>
                    <a:lnTo>
                      <a:pt x="348" y="615"/>
                    </a:lnTo>
                    <a:close/>
                    <a:moveTo>
                      <a:pt x="343" y="605"/>
                    </a:moveTo>
                    <a:lnTo>
                      <a:pt x="341" y="601"/>
                    </a:lnTo>
                    <a:lnTo>
                      <a:pt x="343" y="600"/>
                    </a:lnTo>
                    <a:lnTo>
                      <a:pt x="344" y="598"/>
                    </a:lnTo>
                    <a:lnTo>
                      <a:pt x="346" y="600"/>
                    </a:lnTo>
                    <a:lnTo>
                      <a:pt x="346" y="603"/>
                    </a:lnTo>
                    <a:lnTo>
                      <a:pt x="344" y="605"/>
                    </a:lnTo>
                    <a:lnTo>
                      <a:pt x="343" y="605"/>
                    </a:lnTo>
                    <a:lnTo>
                      <a:pt x="343" y="605"/>
                    </a:lnTo>
                    <a:lnTo>
                      <a:pt x="343" y="605"/>
                    </a:lnTo>
                    <a:lnTo>
                      <a:pt x="343" y="605"/>
                    </a:lnTo>
                    <a:close/>
                    <a:moveTo>
                      <a:pt x="327" y="603"/>
                    </a:moveTo>
                    <a:lnTo>
                      <a:pt x="329" y="601"/>
                    </a:lnTo>
                    <a:lnTo>
                      <a:pt x="329" y="605"/>
                    </a:lnTo>
                    <a:lnTo>
                      <a:pt x="327" y="606"/>
                    </a:lnTo>
                    <a:lnTo>
                      <a:pt x="327" y="603"/>
                    </a:lnTo>
                    <a:lnTo>
                      <a:pt x="327" y="603"/>
                    </a:lnTo>
                    <a:lnTo>
                      <a:pt x="327" y="603"/>
                    </a:lnTo>
                    <a:lnTo>
                      <a:pt x="327" y="603"/>
                    </a:lnTo>
                    <a:close/>
                    <a:moveTo>
                      <a:pt x="315" y="612"/>
                    </a:moveTo>
                    <a:lnTo>
                      <a:pt x="315" y="606"/>
                    </a:lnTo>
                    <a:lnTo>
                      <a:pt x="318" y="606"/>
                    </a:lnTo>
                    <a:lnTo>
                      <a:pt x="318" y="606"/>
                    </a:lnTo>
                    <a:lnTo>
                      <a:pt x="315" y="612"/>
                    </a:lnTo>
                    <a:lnTo>
                      <a:pt x="315" y="612"/>
                    </a:lnTo>
                    <a:lnTo>
                      <a:pt x="315" y="612"/>
                    </a:lnTo>
                    <a:lnTo>
                      <a:pt x="315" y="612"/>
                    </a:lnTo>
                    <a:close/>
                    <a:moveTo>
                      <a:pt x="303" y="619"/>
                    </a:moveTo>
                    <a:lnTo>
                      <a:pt x="306" y="622"/>
                    </a:lnTo>
                    <a:lnTo>
                      <a:pt x="304" y="622"/>
                    </a:lnTo>
                    <a:lnTo>
                      <a:pt x="301" y="620"/>
                    </a:lnTo>
                    <a:lnTo>
                      <a:pt x="303" y="619"/>
                    </a:lnTo>
                    <a:lnTo>
                      <a:pt x="303" y="619"/>
                    </a:lnTo>
                    <a:lnTo>
                      <a:pt x="303" y="619"/>
                    </a:lnTo>
                    <a:lnTo>
                      <a:pt x="303" y="619"/>
                    </a:lnTo>
                    <a:close/>
                    <a:moveTo>
                      <a:pt x="4" y="678"/>
                    </a:moveTo>
                    <a:lnTo>
                      <a:pt x="0" y="681"/>
                    </a:lnTo>
                    <a:lnTo>
                      <a:pt x="4" y="680"/>
                    </a:lnTo>
                    <a:lnTo>
                      <a:pt x="4" y="678"/>
                    </a:lnTo>
                    <a:lnTo>
                      <a:pt x="4" y="678"/>
                    </a:lnTo>
                    <a:lnTo>
                      <a:pt x="4" y="678"/>
                    </a:lnTo>
                    <a:lnTo>
                      <a:pt x="4" y="678"/>
                    </a:lnTo>
                    <a:close/>
                    <a:moveTo>
                      <a:pt x="5" y="669"/>
                    </a:moveTo>
                    <a:lnTo>
                      <a:pt x="4" y="671"/>
                    </a:lnTo>
                    <a:lnTo>
                      <a:pt x="5" y="674"/>
                    </a:lnTo>
                    <a:lnTo>
                      <a:pt x="7" y="671"/>
                    </a:lnTo>
                    <a:lnTo>
                      <a:pt x="5" y="669"/>
                    </a:lnTo>
                    <a:lnTo>
                      <a:pt x="5" y="669"/>
                    </a:lnTo>
                    <a:lnTo>
                      <a:pt x="5" y="669"/>
                    </a:lnTo>
                    <a:lnTo>
                      <a:pt x="5" y="669"/>
                    </a:lnTo>
                    <a:close/>
                    <a:moveTo>
                      <a:pt x="11" y="662"/>
                    </a:moveTo>
                    <a:lnTo>
                      <a:pt x="11" y="666"/>
                    </a:lnTo>
                    <a:lnTo>
                      <a:pt x="11" y="660"/>
                    </a:lnTo>
                    <a:lnTo>
                      <a:pt x="11" y="662"/>
                    </a:lnTo>
                    <a:lnTo>
                      <a:pt x="11" y="662"/>
                    </a:lnTo>
                    <a:lnTo>
                      <a:pt x="11" y="662"/>
                    </a:lnTo>
                    <a:lnTo>
                      <a:pt x="11" y="662"/>
                    </a:lnTo>
                    <a:close/>
                    <a:moveTo>
                      <a:pt x="30" y="666"/>
                    </a:moveTo>
                    <a:lnTo>
                      <a:pt x="26" y="660"/>
                    </a:lnTo>
                    <a:lnTo>
                      <a:pt x="25" y="660"/>
                    </a:lnTo>
                    <a:lnTo>
                      <a:pt x="21" y="662"/>
                    </a:lnTo>
                    <a:lnTo>
                      <a:pt x="23" y="662"/>
                    </a:lnTo>
                    <a:lnTo>
                      <a:pt x="26" y="666"/>
                    </a:lnTo>
                    <a:lnTo>
                      <a:pt x="23" y="666"/>
                    </a:lnTo>
                    <a:lnTo>
                      <a:pt x="25" y="669"/>
                    </a:lnTo>
                    <a:lnTo>
                      <a:pt x="26" y="669"/>
                    </a:lnTo>
                    <a:lnTo>
                      <a:pt x="30" y="666"/>
                    </a:lnTo>
                    <a:lnTo>
                      <a:pt x="30" y="666"/>
                    </a:lnTo>
                    <a:lnTo>
                      <a:pt x="30" y="666"/>
                    </a:lnTo>
                    <a:lnTo>
                      <a:pt x="30" y="666"/>
                    </a:lnTo>
                    <a:lnTo>
                      <a:pt x="30" y="666"/>
                    </a:lnTo>
                    <a:close/>
                    <a:moveTo>
                      <a:pt x="33" y="671"/>
                    </a:moveTo>
                    <a:lnTo>
                      <a:pt x="33" y="674"/>
                    </a:lnTo>
                    <a:lnTo>
                      <a:pt x="38" y="669"/>
                    </a:lnTo>
                    <a:lnTo>
                      <a:pt x="38" y="666"/>
                    </a:lnTo>
                    <a:lnTo>
                      <a:pt x="42" y="662"/>
                    </a:lnTo>
                    <a:lnTo>
                      <a:pt x="38" y="662"/>
                    </a:lnTo>
                    <a:lnTo>
                      <a:pt x="37" y="666"/>
                    </a:lnTo>
                    <a:lnTo>
                      <a:pt x="37" y="669"/>
                    </a:lnTo>
                    <a:lnTo>
                      <a:pt x="33" y="671"/>
                    </a:lnTo>
                    <a:lnTo>
                      <a:pt x="33" y="671"/>
                    </a:lnTo>
                    <a:lnTo>
                      <a:pt x="33" y="671"/>
                    </a:lnTo>
                    <a:lnTo>
                      <a:pt x="33" y="671"/>
                    </a:lnTo>
                    <a:close/>
                    <a:moveTo>
                      <a:pt x="51" y="669"/>
                    </a:moveTo>
                    <a:lnTo>
                      <a:pt x="49" y="666"/>
                    </a:lnTo>
                    <a:lnTo>
                      <a:pt x="47" y="662"/>
                    </a:lnTo>
                    <a:lnTo>
                      <a:pt x="47" y="669"/>
                    </a:lnTo>
                    <a:lnTo>
                      <a:pt x="44" y="669"/>
                    </a:lnTo>
                    <a:lnTo>
                      <a:pt x="42" y="674"/>
                    </a:lnTo>
                    <a:lnTo>
                      <a:pt x="45" y="674"/>
                    </a:lnTo>
                    <a:lnTo>
                      <a:pt x="51" y="669"/>
                    </a:lnTo>
                    <a:lnTo>
                      <a:pt x="51" y="669"/>
                    </a:lnTo>
                    <a:lnTo>
                      <a:pt x="51" y="669"/>
                    </a:lnTo>
                    <a:lnTo>
                      <a:pt x="51" y="669"/>
                    </a:lnTo>
                    <a:close/>
                    <a:moveTo>
                      <a:pt x="91" y="669"/>
                    </a:moveTo>
                    <a:lnTo>
                      <a:pt x="91" y="666"/>
                    </a:lnTo>
                    <a:lnTo>
                      <a:pt x="94" y="662"/>
                    </a:lnTo>
                    <a:lnTo>
                      <a:pt x="92" y="660"/>
                    </a:lnTo>
                    <a:lnTo>
                      <a:pt x="91" y="659"/>
                    </a:lnTo>
                    <a:lnTo>
                      <a:pt x="87" y="660"/>
                    </a:lnTo>
                    <a:lnTo>
                      <a:pt x="87" y="662"/>
                    </a:lnTo>
                    <a:lnTo>
                      <a:pt x="87" y="666"/>
                    </a:lnTo>
                    <a:lnTo>
                      <a:pt x="84" y="662"/>
                    </a:lnTo>
                    <a:lnTo>
                      <a:pt x="82" y="666"/>
                    </a:lnTo>
                    <a:lnTo>
                      <a:pt x="80" y="666"/>
                    </a:lnTo>
                    <a:lnTo>
                      <a:pt x="77" y="666"/>
                    </a:lnTo>
                    <a:lnTo>
                      <a:pt x="75" y="666"/>
                    </a:lnTo>
                    <a:lnTo>
                      <a:pt x="78" y="669"/>
                    </a:lnTo>
                    <a:lnTo>
                      <a:pt x="80" y="669"/>
                    </a:lnTo>
                    <a:lnTo>
                      <a:pt x="84" y="669"/>
                    </a:lnTo>
                    <a:lnTo>
                      <a:pt x="87" y="666"/>
                    </a:lnTo>
                    <a:lnTo>
                      <a:pt x="91" y="669"/>
                    </a:lnTo>
                    <a:lnTo>
                      <a:pt x="91" y="669"/>
                    </a:lnTo>
                    <a:lnTo>
                      <a:pt x="91" y="669"/>
                    </a:lnTo>
                    <a:lnTo>
                      <a:pt x="91" y="669"/>
                    </a:lnTo>
                    <a:close/>
                    <a:moveTo>
                      <a:pt x="98" y="669"/>
                    </a:moveTo>
                    <a:lnTo>
                      <a:pt x="106" y="669"/>
                    </a:lnTo>
                    <a:lnTo>
                      <a:pt x="106" y="669"/>
                    </a:lnTo>
                    <a:lnTo>
                      <a:pt x="110" y="671"/>
                    </a:lnTo>
                    <a:lnTo>
                      <a:pt x="106" y="674"/>
                    </a:lnTo>
                    <a:lnTo>
                      <a:pt x="98" y="671"/>
                    </a:lnTo>
                    <a:lnTo>
                      <a:pt x="96" y="671"/>
                    </a:lnTo>
                    <a:lnTo>
                      <a:pt x="94" y="669"/>
                    </a:lnTo>
                    <a:lnTo>
                      <a:pt x="94" y="669"/>
                    </a:lnTo>
                    <a:lnTo>
                      <a:pt x="98" y="669"/>
                    </a:lnTo>
                    <a:lnTo>
                      <a:pt x="98" y="669"/>
                    </a:lnTo>
                    <a:lnTo>
                      <a:pt x="98" y="669"/>
                    </a:lnTo>
                    <a:lnTo>
                      <a:pt x="98" y="669"/>
                    </a:lnTo>
                    <a:close/>
                    <a:moveTo>
                      <a:pt x="125" y="666"/>
                    </a:moveTo>
                    <a:lnTo>
                      <a:pt x="122" y="662"/>
                    </a:lnTo>
                    <a:lnTo>
                      <a:pt x="117" y="662"/>
                    </a:lnTo>
                    <a:lnTo>
                      <a:pt x="117" y="666"/>
                    </a:lnTo>
                    <a:lnTo>
                      <a:pt x="122" y="666"/>
                    </a:lnTo>
                    <a:lnTo>
                      <a:pt x="125" y="666"/>
                    </a:lnTo>
                    <a:lnTo>
                      <a:pt x="125" y="666"/>
                    </a:lnTo>
                    <a:lnTo>
                      <a:pt x="125" y="666"/>
                    </a:lnTo>
                    <a:lnTo>
                      <a:pt x="125" y="666"/>
                    </a:lnTo>
                    <a:close/>
                    <a:moveTo>
                      <a:pt x="143" y="662"/>
                    </a:moveTo>
                    <a:lnTo>
                      <a:pt x="143" y="659"/>
                    </a:lnTo>
                    <a:lnTo>
                      <a:pt x="141" y="662"/>
                    </a:lnTo>
                    <a:lnTo>
                      <a:pt x="143" y="662"/>
                    </a:lnTo>
                    <a:lnTo>
                      <a:pt x="143" y="662"/>
                    </a:lnTo>
                    <a:lnTo>
                      <a:pt x="143" y="662"/>
                    </a:lnTo>
                    <a:lnTo>
                      <a:pt x="143" y="662"/>
                    </a:lnTo>
                    <a:close/>
                    <a:moveTo>
                      <a:pt x="157" y="659"/>
                    </a:moveTo>
                    <a:lnTo>
                      <a:pt x="153" y="655"/>
                    </a:lnTo>
                    <a:lnTo>
                      <a:pt x="151" y="657"/>
                    </a:lnTo>
                    <a:lnTo>
                      <a:pt x="150" y="660"/>
                    </a:lnTo>
                    <a:lnTo>
                      <a:pt x="155" y="657"/>
                    </a:lnTo>
                    <a:lnTo>
                      <a:pt x="157" y="659"/>
                    </a:lnTo>
                    <a:lnTo>
                      <a:pt x="157" y="659"/>
                    </a:lnTo>
                    <a:lnTo>
                      <a:pt x="157" y="659"/>
                    </a:lnTo>
                    <a:lnTo>
                      <a:pt x="157" y="659"/>
                    </a:lnTo>
                    <a:close/>
                    <a:moveTo>
                      <a:pt x="164" y="657"/>
                    </a:moveTo>
                    <a:lnTo>
                      <a:pt x="164" y="655"/>
                    </a:lnTo>
                    <a:lnTo>
                      <a:pt x="160" y="657"/>
                    </a:lnTo>
                    <a:lnTo>
                      <a:pt x="164" y="659"/>
                    </a:lnTo>
                    <a:lnTo>
                      <a:pt x="164" y="657"/>
                    </a:lnTo>
                    <a:lnTo>
                      <a:pt x="164" y="657"/>
                    </a:lnTo>
                    <a:lnTo>
                      <a:pt x="164" y="657"/>
                    </a:lnTo>
                    <a:lnTo>
                      <a:pt x="164" y="657"/>
                    </a:lnTo>
                    <a:close/>
                    <a:moveTo>
                      <a:pt x="165" y="652"/>
                    </a:moveTo>
                    <a:lnTo>
                      <a:pt x="165" y="650"/>
                    </a:lnTo>
                    <a:lnTo>
                      <a:pt x="164" y="652"/>
                    </a:lnTo>
                    <a:lnTo>
                      <a:pt x="165" y="652"/>
                    </a:lnTo>
                    <a:lnTo>
                      <a:pt x="165" y="652"/>
                    </a:lnTo>
                    <a:lnTo>
                      <a:pt x="165" y="652"/>
                    </a:lnTo>
                    <a:lnTo>
                      <a:pt x="165" y="652"/>
                    </a:lnTo>
                    <a:close/>
                    <a:moveTo>
                      <a:pt x="169" y="653"/>
                    </a:moveTo>
                    <a:lnTo>
                      <a:pt x="169" y="657"/>
                    </a:lnTo>
                    <a:lnTo>
                      <a:pt x="172" y="655"/>
                    </a:lnTo>
                    <a:lnTo>
                      <a:pt x="171" y="652"/>
                    </a:lnTo>
                    <a:lnTo>
                      <a:pt x="169" y="653"/>
                    </a:lnTo>
                    <a:lnTo>
                      <a:pt x="169" y="653"/>
                    </a:lnTo>
                    <a:lnTo>
                      <a:pt x="169" y="653"/>
                    </a:lnTo>
                    <a:lnTo>
                      <a:pt x="169" y="653"/>
                    </a:lnTo>
                    <a:close/>
                    <a:moveTo>
                      <a:pt x="207" y="634"/>
                    </a:moveTo>
                    <a:lnTo>
                      <a:pt x="209" y="638"/>
                    </a:lnTo>
                    <a:lnTo>
                      <a:pt x="210" y="640"/>
                    </a:lnTo>
                    <a:lnTo>
                      <a:pt x="207" y="643"/>
                    </a:lnTo>
                    <a:lnTo>
                      <a:pt x="205" y="646"/>
                    </a:lnTo>
                    <a:lnTo>
                      <a:pt x="200" y="646"/>
                    </a:lnTo>
                    <a:lnTo>
                      <a:pt x="195" y="652"/>
                    </a:lnTo>
                    <a:lnTo>
                      <a:pt x="191" y="652"/>
                    </a:lnTo>
                    <a:lnTo>
                      <a:pt x="188" y="657"/>
                    </a:lnTo>
                    <a:lnTo>
                      <a:pt x="179" y="657"/>
                    </a:lnTo>
                    <a:lnTo>
                      <a:pt x="183" y="653"/>
                    </a:lnTo>
                    <a:lnTo>
                      <a:pt x="186" y="653"/>
                    </a:lnTo>
                    <a:lnTo>
                      <a:pt x="188" y="650"/>
                    </a:lnTo>
                    <a:lnTo>
                      <a:pt x="191" y="648"/>
                    </a:lnTo>
                    <a:lnTo>
                      <a:pt x="191" y="646"/>
                    </a:lnTo>
                    <a:lnTo>
                      <a:pt x="193" y="643"/>
                    </a:lnTo>
                    <a:lnTo>
                      <a:pt x="197" y="643"/>
                    </a:lnTo>
                    <a:lnTo>
                      <a:pt x="198" y="638"/>
                    </a:lnTo>
                    <a:lnTo>
                      <a:pt x="198" y="638"/>
                    </a:lnTo>
                    <a:lnTo>
                      <a:pt x="202" y="638"/>
                    </a:lnTo>
                    <a:lnTo>
                      <a:pt x="202" y="638"/>
                    </a:lnTo>
                    <a:lnTo>
                      <a:pt x="207" y="634"/>
                    </a:lnTo>
                    <a:lnTo>
                      <a:pt x="207" y="634"/>
                    </a:lnTo>
                    <a:lnTo>
                      <a:pt x="207" y="634"/>
                    </a:lnTo>
                    <a:lnTo>
                      <a:pt x="207" y="634"/>
                    </a:lnTo>
                    <a:close/>
                    <a:moveTo>
                      <a:pt x="233" y="624"/>
                    </a:moveTo>
                    <a:lnTo>
                      <a:pt x="233" y="624"/>
                    </a:lnTo>
                    <a:lnTo>
                      <a:pt x="230" y="627"/>
                    </a:lnTo>
                    <a:lnTo>
                      <a:pt x="230" y="631"/>
                    </a:lnTo>
                    <a:lnTo>
                      <a:pt x="231" y="633"/>
                    </a:lnTo>
                    <a:lnTo>
                      <a:pt x="230" y="634"/>
                    </a:lnTo>
                    <a:lnTo>
                      <a:pt x="226" y="633"/>
                    </a:lnTo>
                    <a:lnTo>
                      <a:pt x="223" y="634"/>
                    </a:lnTo>
                    <a:lnTo>
                      <a:pt x="224" y="638"/>
                    </a:lnTo>
                    <a:lnTo>
                      <a:pt x="223" y="638"/>
                    </a:lnTo>
                    <a:lnTo>
                      <a:pt x="219" y="640"/>
                    </a:lnTo>
                    <a:lnTo>
                      <a:pt x="217" y="640"/>
                    </a:lnTo>
                    <a:lnTo>
                      <a:pt x="214" y="643"/>
                    </a:lnTo>
                    <a:lnTo>
                      <a:pt x="210" y="643"/>
                    </a:lnTo>
                    <a:lnTo>
                      <a:pt x="209" y="643"/>
                    </a:lnTo>
                    <a:lnTo>
                      <a:pt x="210" y="646"/>
                    </a:lnTo>
                    <a:lnTo>
                      <a:pt x="216" y="646"/>
                    </a:lnTo>
                    <a:lnTo>
                      <a:pt x="221" y="646"/>
                    </a:lnTo>
                    <a:lnTo>
                      <a:pt x="224" y="640"/>
                    </a:lnTo>
                    <a:lnTo>
                      <a:pt x="224" y="643"/>
                    </a:lnTo>
                    <a:lnTo>
                      <a:pt x="226" y="643"/>
                    </a:lnTo>
                    <a:lnTo>
                      <a:pt x="228" y="640"/>
                    </a:lnTo>
                    <a:lnTo>
                      <a:pt x="228" y="638"/>
                    </a:lnTo>
                    <a:lnTo>
                      <a:pt x="231" y="638"/>
                    </a:lnTo>
                    <a:lnTo>
                      <a:pt x="231" y="640"/>
                    </a:lnTo>
                    <a:lnTo>
                      <a:pt x="233" y="640"/>
                    </a:lnTo>
                    <a:lnTo>
                      <a:pt x="237" y="638"/>
                    </a:lnTo>
                    <a:lnTo>
                      <a:pt x="242" y="634"/>
                    </a:lnTo>
                    <a:lnTo>
                      <a:pt x="242" y="634"/>
                    </a:lnTo>
                    <a:lnTo>
                      <a:pt x="237" y="633"/>
                    </a:lnTo>
                    <a:lnTo>
                      <a:pt x="242" y="631"/>
                    </a:lnTo>
                    <a:lnTo>
                      <a:pt x="238" y="627"/>
                    </a:lnTo>
                    <a:lnTo>
                      <a:pt x="237" y="626"/>
                    </a:lnTo>
                    <a:lnTo>
                      <a:pt x="233" y="624"/>
                    </a:lnTo>
                    <a:lnTo>
                      <a:pt x="233" y="624"/>
                    </a:lnTo>
                    <a:lnTo>
                      <a:pt x="233" y="624"/>
                    </a:lnTo>
                    <a:lnTo>
                      <a:pt x="233" y="624"/>
                    </a:lnTo>
                    <a:close/>
                    <a:moveTo>
                      <a:pt x="245" y="629"/>
                    </a:moveTo>
                    <a:lnTo>
                      <a:pt x="245" y="627"/>
                    </a:lnTo>
                    <a:lnTo>
                      <a:pt x="242" y="626"/>
                    </a:lnTo>
                    <a:lnTo>
                      <a:pt x="242" y="627"/>
                    </a:lnTo>
                    <a:lnTo>
                      <a:pt x="245" y="629"/>
                    </a:lnTo>
                    <a:lnTo>
                      <a:pt x="245" y="629"/>
                    </a:lnTo>
                    <a:lnTo>
                      <a:pt x="245" y="629"/>
                    </a:lnTo>
                    <a:lnTo>
                      <a:pt x="245" y="629"/>
                    </a:lnTo>
                    <a:close/>
                    <a:moveTo>
                      <a:pt x="264" y="626"/>
                    </a:moveTo>
                    <a:lnTo>
                      <a:pt x="261" y="624"/>
                    </a:lnTo>
                    <a:lnTo>
                      <a:pt x="264" y="624"/>
                    </a:lnTo>
                    <a:lnTo>
                      <a:pt x="266" y="626"/>
                    </a:lnTo>
                    <a:lnTo>
                      <a:pt x="264" y="627"/>
                    </a:lnTo>
                    <a:lnTo>
                      <a:pt x="264" y="626"/>
                    </a:lnTo>
                    <a:lnTo>
                      <a:pt x="264" y="626"/>
                    </a:lnTo>
                    <a:lnTo>
                      <a:pt x="264" y="626"/>
                    </a:lnTo>
                    <a:lnTo>
                      <a:pt x="264" y="626"/>
                    </a:lnTo>
                    <a:close/>
                    <a:moveTo>
                      <a:pt x="256" y="627"/>
                    </a:moveTo>
                    <a:lnTo>
                      <a:pt x="259" y="626"/>
                    </a:lnTo>
                    <a:lnTo>
                      <a:pt x="261" y="627"/>
                    </a:lnTo>
                    <a:lnTo>
                      <a:pt x="256" y="627"/>
                    </a:lnTo>
                    <a:lnTo>
                      <a:pt x="256" y="627"/>
                    </a:lnTo>
                    <a:lnTo>
                      <a:pt x="256" y="627"/>
                    </a:lnTo>
                    <a:lnTo>
                      <a:pt x="256" y="627"/>
                    </a:lnTo>
                    <a:close/>
                    <a:moveTo>
                      <a:pt x="256" y="624"/>
                    </a:moveTo>
                    <a:lnTo>
                      <a:pt x="256" y="620"/>
                    </a:lnTo>
                    <a:lnTo>
                      <a:pt x="256" y="619"/>
                    </a:lnTo>
                    <a:lnTo>
                      <a:pt x="256" y="619"/>
                    </a:lnTo>
                    <a:lnTo>
                      <a:pt x="259" y="622"/>
                    </a:lnTo>
                    <a:lnTo>
                      <a:pt x="256" y="624"/>
                    </a:lnTo>
                    <a:lnTo>
                      <a:pt x="256" y="624"/>
                    </a:lnTo>
                    <a:lnTo>
                      <a:pt x="256" y="624"/>
                    </a:lnTo>
                    <a:lnTo>
                      <a:pt x="256" y="624"/>
                    </a:lnTo>
                    <a:close/>
                    <a:moveTo>
                      <a:pt x="249" y="620"/>
                    </a:moveTo>
                    <a:lnTo>
                      <a:pt x="245" y="622"/>
                    </a:lnTo>
                    <a:lnTo>
                      <a:pt x="245" y="624"/>
                    </a:lnTo>
                    <a:lnTo>
                      <a:pt x="249" y="627"/>
                    </a:lnTo>
                    <a:lnTo>
                      <a:pt x="252" y="626"/>
                    </a:lnTo>
                    <a:lnTo>
                      <a:pt x="252" y="624"/>
                    </a:lnTo>
                    <a:lnTo>
                      <a:pt x="250" y="622"/>
                    </a:lnTo>
                    <a:lnTo>
                      <a:pt x="249" y="620"/>
                    </a:lnTo>
                    <a:lnTo>
                      <a:pt x="249" y="620"/>
                    </a:lnTo>
                    <a:lnTo>
                      <a:pt x="249" y="620"/>
                    </a:lnTo>
                    <a:lnTo>
                      <a:pt x="249" y="620"/>
                    </a:lnTo>
                    <a:close/>
                    <a:moveTo>
                      <a:pt x="407" y="481"/>
                    </a:moveTo>
                    <a:lnTo>
                      <a:pt x="407" y="480"/>
                    </a:lnTo>
                    <a:lnTo>
                      <a:pt x="409" y="478"/>
                    </a:lnTo>
                    <a:lnTo>
                      <a:pt x="409" y="481"/>
                    </a:lnTo>
                    <a:lnTo>
                      <a:pt x="407" y="481"/>
                    </a:lnTo>
                    <a:lnTo>
                      <a:pt x="407" y="481"/>
                    </a:lnTo>
                    <a:lnTo>
                      <a:pt x="407" y="481"/>
                    </a:lnTo>
                    <a:lnTo>
                      <a:pt x="407" y="481"/>
                    </a:lnTo>
                    <a:close/>
                    <a:moveTo>
                      <a:pt x="400" y="483"/>
                    </a:moveTo>
                    <a:lnTo>
                      <a:pt x="398" y="481"/>
                    </a:lnTo>
                    <a:lnTo>
                      <a:pt x="398" y="478"/>
                    </a:lnTo>
                    <a:lnTo>
                      <a:pt x="402" y="478"/>
                    </a:lnTo>
                    <a:lnTo>
                      <a:pt x="405" y="474"/>
                    </a:lnTo>
                    <a:lnTo>
                      <a:pt x="405" y="478"/>
                    </a:lnTo>
                    <a:lnTo>
                      <a:pt x="402" y="481"/>
                    </a:lnTo>
                    <a:lnTo>
                      <a:pt x="400" y="483"/>
                    </a:lnTo>
                    <a:lnTo>
                      <a:pt x="400" y="483"/>
                    </a:lnTo>
                    <a:lnTo>
                      <a:pt x="400" y="483"/>
                    </a:lnTo>
                    <a:lnTo>
                      <a:pt x="400" y="483"/>
                    </a:lnTo>
                    <a:close/>
                    <a:moveTo>
                      <a:pt x="270" y="612"/>
                    </a:moveTo>
                    <a:lnTo>
                      <a:pt x="270" y="610"/>
                    </a:lnTo>
                    <a:lnTo>
                      <a:pt x="271" y="606"/>
                    </a:lnTo>
                    <a:lnTo>
                      <a:pt x="273" y="610"/>
                    </a:lnTo>
                    <a:lnTo>
                      <a:pt x="277" y="606"/>
                    </a:lnTo>
                    <a:lnTo>
                      <a:pt x="278" y="606"/>
                    </a:lnTo>
                    <a:lnTo>
                      <a:pt x="280" y="600"/>
                    </a:lnTo>
                    <a:lnTo>
                      <a:pt x="282" y="600"/>
                    </a:lnTo>
                    <a:lnTo>
                      <a:pt x="283" y="603"/>
                    </a:lnTo>
                    <a:lnTo>
                      <a:pt x="287" y="601"/>
                    </a:lnTo>
                    <a:lnTo>
                      <a:pt x="289" y="601"/>
                    </a:lnTo>
                    <a:lnTo>
                      <a:pt x="292" y="601"/>
                    </a:lnTo>
                    <a:lnTo>
                      <a:pt x="292" y="600"/>
                    </a:lnTo>
                    <a:lnTo>
                      <a:pt x="297" y="600"/>
                    </a:lnTo>
                    <a:lnTo>
                      <a:pt x="299" y="603"/>
                    </a:lnTo>
                    <a:lnTo>
                      <a:pt x="297" y="606"/>
                    </a:lnTo>
                    <a:lnTo>
                      <a:pt x="303" y="610"/>
                    </a:lnTo>
                    <a:lnTo>
                      <a:pt x="303" y="612"/>
                    </a:lnTo>
                    <a:lnTo>
                      <a:pt x="299" y="612"/>
                    </a:lnTo>
                    <a:lnTo>
                      <a:pt x="296" y="612"/>
                    </a:lnTo>
                    <a:lnTo>
                      <a:pt x="290" y="615"/>
                    </a:lnTo>
                    <a:lnTo>
                      <a:pt x="287" y="612"/>
                    </a:lnTo>
                    <a:lnTo>
                      <a:pt x="282" y="612"/>
                    </a:lnTo>
                    <a:lnTo>
                      <a:pt x="278" y="615"/>
                    </a:lnTo>
                    <a:lnTo>
                      <a:pt x="277" y="615"/>
                    </a:lnTo>
                    <a:lnTo>
                      <a:pt x="273" y="617"/>
                    </a:lnTo>
                    <a:lnTo>
                      <a:pt x="270" y="615"/>
                    </a:lnTo>
                    <a:lnTo>
                      <a:pt x="270" y="612"/>
                    </a:lnTo>
                    <a:lnTo>
                      <a:pt x="270" y="612"/>
                    </a:lnTo>
                    <a:lnTo>
                      <a:pt x="270" y="612"/>
                    </a:lnTo>
                    <a:close/>
                  </a:path>
                </a:pathLst>
              </a:custGeom>
              <a:solidFill>
                <a:srgbClr val="0098C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7" name="Freeform 41"/>
              <p:cNvSpPr>
                <a:spLocks noEditPoints="1"/>
              </p:cNvSpPr>
              <p:nvPr/>
            </p:nvSpPr>
            <p:spPr bwMode="auto">
              <a:xfrm>
                <a:off x="1249363" y="2646363"/>
                <a:ext cx="1530350" cy="908050"/>
              </a:xfrm>
              <a:custGeom>
                <a:avLst/>
                <a:gdLst/>
                <a:ahLst/>
                <a:cxnLst>
                  <a:cxn ang="0">
                    <a:pos x="561" y="57"/>
                  </a:cxn>
                  <a:cxn ang="0">
                    <a:pos x="676" y="110"/>
                  </a:cxn>
                  <a:cxn ang="0">
                    <a:pos x="806" y="174"/>
                  </a:cxn>
                  <a:cxn ang="0">
                    <a:pos x="907" y="143"/>
                  </a:cxn>
                  <a:cxn ang="0">
                    <a:pos x="952" y="116"/>
                  </a:cxn>
                  <a:cxn ang="0">
                    <a:pos x="957" y="170"/>
                  </a:cxn>
                  <a:cxn ang="0">
                    <a:pos x="928" y="179"/>
                  </a:cxn>
                  <a:cxn ang="0">
                    <a:pos x="900" y="193"/>
                  </a:cxn>
                  <a:cxn ang="0">
                    <a:pos x="895" y="226"/>
                  </a:cxn>
                  <a:cxn ang="0">
                    <a:pos x="874" y="243"/>
                  </a:cxn>
                  <a:cxn ang="0">
                    <a:pos x="825" y="263"/>
                  </a:cxn>
                  <a:cxn ang="0">
                    <a:pos x="808" y="294"/>
                  </a:cxn>
                  <a:cxn ang="0">
                    <a:pos x="803" y="299"/>
                  </a:cxn>
                  <a:cxn ang="0">
                    <a:pos x="787" y="320"/>
                  </a:cxn>
                  <a:cxn ang="0">
                    <a:pos x="784" y="287"/>
                  </a:cxn>
                  <a:cxn ang="0">
                    <a:pos x="780" y="311"/>
                  </a:cxn>
                  <a:cxn ang="0">
                    <a:pos x="780" y="323"/>
                  </a:cxn>
                  <a:cxn ang="0">
                    <a:pos x="770" y="334"/>
                  </a:cxn>
                  <a:cxn ang="0">
                    <a:pos x="775" y="356"/>
                  </a:cxn>
                  <a:cxn ang="0">
                    <a:pos x="784" y="365"/>
                  </a:cxn>
                  <a:cxn ang="0">
                    <a:pos x="768" y="377"/>
                  </a:cxn>
                  <a:cxn ang="0">
                    <a:pos x="740" y="402"/>
                  </a:cxn>
                  <a:cxn ang="0">
                    <a:pos x="699" y="426"/>
                  </a:cxn>
                  <a:cxn ang="0">
                    <a:pos x="676" y="471"/>
                  </a:cxn>
                  <a:cxn ang="0">
                    <a:pos x="688" y="548"/>
                  </a:cxn>
                  <a:cxn ang="0">
                    <a:pos x="660" y="556"/>
                  </a:cxn>
                  <a:cxn ang="0">
                    <a:pos x="648" y="532"/>
                  </a:cxn>
                  <a:cxn ang="0">
                    <a:pos x="645" y="494"/>
                  </a:cxn>
                  <a:cxn ang="0">
                    <a:pos x="617" y="482"/>
                  </a:cxn>
                  <a:cxn ang="0">
                    <a:pos x="601" y="471"/>
                  </a:cxn>
                  <a:cxn ang="0">
                    <a:pos x="570" y="468"/>
                  </a:cxn>
                  <a:cxn ang="0">
                    <a:pos x="532" y="478"/>
                  </a:cxn>
                  <a:cxn ang="0">
                    <a:pos x="535" y="494"/>
                  </a:cxn>
                  <a:cxn ang="0">
                    <a:pos x="507" y="490"/>
                  </a:cxn>
                  <a:cxn ang="0">
                    <a:pos x="481" y="482"/>
                  </a:cxn>
                  <a:cxn ang="0">
                    <a:pos x="445" y="483"/>
                  </a:cxn>
                  <a:cxn ang="0">
                    <a:pos x="414" y="502"/>
                  </a:cxn>
                  <a:cxn ang="0">
                    <a:pos x="398" y="553"/>
                  </a:cxn>
                  <a:cxn ang="0">
                    <a:pos x="367" y="525"/>
                  </a:cxn>
                  <a:cxn ang="0">
                    <a:pos x="348" y="482"/>
                  </a:cxn>
                  <a:cxn ang="0">
                    <a:pos x="316" y="482"/>
                  </a:cxn>
                  <a:cxn ang="0">
                    <a:pos x="292" y="482"/>
                  </a:cxn>
                  <a:cxn ang="0">
                    <a:pos x="282" y="461"/>
                  </a:cxn>
                  <a:cxn ang="0">
                    <a:pos x="259" y="431"/>
                  </a:cxn>
                  <a:cxn ang="0">
                    <a:pos x="68" y="377"/>
                  </a:cxn>
                  <a:cxn ang="0">
                    <a:pos x="37" y="351"/>
                  </a:cxn>
                  <a:cxn ang="0">
                    <a:pos x="23" y="306"/>
                  </a:cxn>
                  <a:cxn ang="0">
                    <a:pos x="23" y="283"/>
                  </a:cxn>
                  <a:cxn ang="0">
                    <a:pos x="16" y="283"/>
                  </a:cxn>
                  <a:cxn ang="0">
                    <a:pos x="4" y="224"/>
                  </a:cxn>
                  <a:cxn ang="0">
                    <a:pos x="11" y="165"/>
                  </a:cxn>
                  <a:cxn ang="0">
                    <a:pos x="42" y="80"/>
                  </a:cxn>
                  <a:cxn ang="0">
                    <a:pos x="45" y="70"/>
                  </a:cxn>
                  <a:cxn ang="0">
                    <a:pos x="49" y="33"/>
                  </a:cxn>
                  <a:cxn ang="0">
                    <a:pos x="71" y="35"/>
                  </a:cxn>
                  <a:cxn ang="0">
                    <a:pos x="73" y="50"/>
                  </a:cxn>
                  <a:cxn ang="0">
                    <a:pos x="90" y="10"/>
                  </a:cxn>
                  <a:cxn ang="0">
                    <a:pos x="883" y="243"/>
                  </a:cxn>
                  <a:cxn ang="0">
                    <a:pos x="860" y="252"/>
                  </a:cxn>
                  <a:cxn ang="0">
                    <a:pos x="831" y="257"/>
                  </a:cxn>
                  <a:cxn ang="0">
                    <a:pos x="412" y="511"/>
                  </a:cxn>
                  <a:cxn ang="0">
                    <a:pos x="400" y="542"/>
                  </a:cxn>
                </a:cxnLst>
                <a:rect l="0" t="0" r="r" b="b"/>
                <a:pathLst>
                  <a:path w="964" h="572">
                    <a:moveTo>
                      <a:pt x="85" y="0"/>
                    </a:moveTo>
                    <a:lnTo>
                      <a:pt x="527" y="43"/>
                    </a:lnTo>
                    <a:lnTo>
                      <a:pt x="530" y="45"/>
                    </a:lnTo>
                    <a:lnTo>
                      <a:pt x="532" y="45"/>
                    </a:lnTo>
                    <a:lnTo>
                      <a:pt x="539" y="47"/>
                    </a:lnTo>
                    <a:lnTo>
                      <a:pt x="539" y="49"/>
                    </a:lnTo>
                    <a:lnTo>
                      <a:pt x="539" y="52"/>
                    </a:lnTo>
                    <a:lnTo>
                      <a:pt x="540" y="52"/>
                    </a:lnTo>
                    <a:lnTo>
                      <a:pt x="544" y="54"/>
                    </a:lnTo>
                    <a:lnTo>
                      <a:pt x="544" y="54"/>
                    </a:lnTo>
                    <a:lnTo>
                      <a:pt x="547" y="56"/>
                    </a:lnTo>
                    <a:lnTo>
                      <a:pt x="549" y="57"/>
                    </a:lnTo>
                    <a:lnTo>
                      <a:pt x="549" y="57"/>
                    </a:lnTo>
                    <a:lnTo>
                      <a:pt x="554" y="56"/>
                    </a:lnTo>
                    <a:lnTo>
                      <a:pt x="558" y="57"/>
                    </a:lnTo>
                    <a:lnTo>
                      <a:pt x="561" y="57"/>
                    </a:lnTo>
                    <a:lnTo>
                      <a:pt x="563" y="61"/>
                    </a:lnTo>
                    <a:lnTo>
                      <a:pt x="565" y="61"/>
                    </a:lnTo>
                    <a:lnTo>
                      <a:pt x="566" y="64"/>
                    </a:lnTo>
                    <a:lnTo>
                      <a:pt x="573" y="64"/>
                    </a:lnTo>
                    <a:lnTo>
                      <a:pt x="577" y="66"/>
                    </a:lnTo>
                    <a:lnTo>
                      <a:pt x="580" y="70"/>
                    </a:lnTo>
                    <a:lnTo>
                      <a:pt x="580" y="70"/>
                    </a:lnTo>
                    <a:lnTo>
                      <a:pt x="586" y="70"/>
                    </a:lnTo>
                    <a:lnTo>
                      <a:pt x="589" y="70"/>
                    </a:lnTo>
                    <a:lnTo>
                      <a:pt x="591" y="70"/>
                    </a:lnTo>
                    <a:lnTo>
                      <a:pt x="593" y="73"/>
                    </a:lnTo>
                    <a:lnTo>
                      <a:pt x="601" y="73"/>
                    </a:lnTo>
                    <a:lnTo>
                      <a:pt x="603" y="75"/>
                    </a:lnTo>
                    <a:lnTo>
                      <a:pt x="606" y="76"/>
                    </a:lnTo>
                    <a:lnTo>
                      <a:pt x="608" y="78"/>
                    </a:lnTo>
                    <a:lnTo>
                      <a:pt x="676" y="110"/>
                    </a:lnTo>
                    <a:lnTo>
                      <a:pt x="681" y="115"/>
                    </a:lnTo>
                    <a:lnTo>
                      <a:pt x="692" y="123"/>
                    </a:lnTo>
                    <a:lnTo>
                      <a:pt x="704" y="176"/>
                    </a:lnTo>
                    <a:lnTo>
                      <a:pt x="702" y="198"/>
                    </a:lnTo>
                    <a:lnTo>
                      <a:pt x="699" y="202"/>
                    </a:lnTo>
                    <a:lnTo>
                      <a:pt x="699" y="207"/>
                    </a:lnTo>
                    <a:lnTo>
                      <a:pt x="695" y="210"/>
                    </a:lnTo>
                    <a:lnTo>
                      <a:pt x="688" y="214"/>
                    </a:lnTo>
                    <a:lnTo>
                      <a:pt x="685" y="217"/>
                    </a:lnTo>
                    <a:lnTo>
                      <a:pt x="688" y="224"/>
                    </a:lnTo>
                    <a:lnTo>
                      <a:pt x="747" y="207"/>
                    </a:lnTo>
                    <a:lnTo>
                      <a:pt x="752" y="203"/>
                    </a:lnTo>
                    <a:lnTo>
                      <a:pt x="756" y="196"/>
                    </a:lnTo>
                    <a:lnTo>
                      <a:pt x="787" y="186"/>
                    </a:lnTo>
                    <a:lnTo>
                      <a:pt x="803" y="176"/>
                    </a:lnTo>
                    <a:lnTo>
                      <a:pt x="806" y="174"/>
                    </a:lnTo>
                    <a:lnTo>
                      <a:pt x="810" y="174"/>
                    </a:lnTo>
                    <a:lnTo>
                      <a:pt x="817" y="167"/>
                    </a:lnTo>
                    <a:lnTo>
                      <a:pt x="820" y="162"/>
                    </a:lnTo>
                    <a:lnTo>
                      <a:pt x="825" y="162"/>
                    </a:lnTo>
                    <a:lnTo>
                      <a:pt x="829" y="158"/>
                    </a:lnTo>
                    <a:lnTo>
                      <a:pt x="834" y="156"/>
                    </a:lnTo>
                    <a:lnTo>
                      <a:pt x="883" y="158"/>
                    </a:lnTo>
                    <a:lnTo>
                      <a:pt x="888" y="155"/>
                    </a:lnTo>
                    <a:lnTo>
                      <a:pt x="888" y="155"/>
                    </a:lnTo>
                    <a:lnTo>
                      <a:pt x="890" y="153"/>
                    </a:lnTo>
                    <a:lnTo>
                      <a:pt x="891" y="153"/>
                    </a:lnTo>
                    <a:lnTo>
                      <a:pt x="895" y="153"/>
                    </a:lnTo>
                    <a:lnTo>
                      <a:pt x="898" y="151"/>
                    </a:lnTo>
                    <a:lnTo>
                      <a:pt x="898" y="151"/>
                    </a:lnTo>
                    <a:lnTo>
                      <a:pt x="902" y="143"/>
                    </a:lnTo>
                    <a:lnTo>
                      <a:pt x="907" y="143"/>
                    </a:lnTo>
                    <a:lnTo>
                      <a:pt x="911" y="137"/>
                    </a:lnTo>
                    <a:lnTo>
                      <a:pt x="911" y="134"/>
                    </a:lnTo>
                    <a:lnTo>
                      <a:pt x="912" y="130"/>
                    </a:lnTo>
                    <a:lnTo>
                      <a:pt x="916" y="127"/>
                    </a:lnTo>
                    <a:lnTo>
                      <a:pt x="916" y="125"/>
                    </a:lnTo>
                    <a:lnTo>
                      <a:pt x="919" y="120"/>
                    </a:lnTo>
                    <a:lnTo>
                      <a:pt x="926" y="115"/>
                    </a:lnTo>
                    <a:lnTo>
                      <a:pt x="928" y="111"/>
                    </a:lnTo>
                    <a:lnTo>
                      <a:pt x="930" y="110"/>
                    </a:lnTo>
                    <a:lnTo>
                      <a:pt x="930" y="110"/>
                    </a:lnTo>
                    <a:lnTo>
                      <a:pt x="933" y="110"/>
                    </a:lnTo>
                    <a:lnTo>
                      <a:pt x="935" y="111"/>
                    </a:lnTo>
                    <a:lnTo>
                      <a:pt x="938" y="111"/>
                    </a:lnTo>
                    <a:lnTo>
                      <a:pt x="944" y="111"/>
                    </a:lnTo>
                    <a:lnTo>
                      <a:pt x="945" y="111"/>
                    </a:lnTo>
                    <a:lnTo>
                      <a:pt x="952" y="116"/>
                    </a:lnTo>
                    <a:lnTo>
                      <a:pt x="952" y="122"/>
                    </a:lnTo>
                    <a:lnTo>
                      <a:pt x="949" y="144"/>
                    </a:lnTo>
                    <a:lnTo>
                      <a:pt x="947" y="146"/>
                    </a:lnTo>
                    <a:lnTo>
                      <a:pt x="949" y="146"/>
                    </a:lnTo>
                    <a:lnTo>
                      <a:pt x="950" y="151"/>
                    </a:lnTo>
                    <a:lnTo>
                      <a:pt x="952" y="151"/>
                    </a:lnTo>
                    <a:lnTo>
                      <a:pt x="952" y="153"/>
                    </a:lnTo>
                    <a:lnTo>
                      <a:pt x="950" y="155"/>
                    </a:lnTo>
                    <a:lnTo>
                      <a:pt x="952" y="156"/>
                    </a:lnTo>
                    <a:lnTo>
                      <a:pt x="950" y="158"/>
                    </a:lnTo>
                    <a:lnTo>
                      <a:pt x="950" y="160"/>
                    </a:lnTo>
                    <a:lnTo>
                      <a:pt x="952" y="160"/>
                    </a:lnTo>
                    <a:lnTo>
                      <a:pt x="952" y="160"/>
                    </a:lnTo>
                    <a:lnTo>
                      <a:pt x="956" y="162"/>
                    </a:lnTo>
                    <a:lnTo>
                      <a:pt x="956" y="167"/>
                    </a:lnTo>
                    <a:lnTo>
                      <a:pt x="957" y="170"/>
                    </a:lnTo>
                    <a:lnTo>
                      <a:pt x="959" y="167"/>
                    </a:lnTo>
                    <a:lnTo>
                      <a:pt x="964" y="170"/>
                    </a:lnTo>
                    <a:lnTo>
                      <a:pt x="961" y="174"/>
                    </a:lnTo>
                    <a:lnTo>
                      <a:pt x="957" y="174"/>
                    </a:lnTo>
                    <a:lnTo>
                      <a:pt x="956" y="170"/>
                    </a:lnTo>
                    <a:lnTo>
                      <a:pt x="952" y="174"/>
                    </a:lnTo>
                    <a:lnTo>
                      <a:pt x="950" y="174"/>
                    </a:lnTo>
                    <a:lnTo>
                      <a:pt x="947" y="174"/>
                    </a:lnTo>
                    <a:lnTo>
                      <a:pt x="945" y="176"/>
                    </a:lnTo>
                    <a:lnTo>
                      <a:pt x="942" y="174"/>
                    </a:lnTo>
                    <a:lnTo>
                      <a:pt x="940" y="179"/>
                    </a:lnTo>
                    <a:lnTo>
                      <a:pt x="937" y="179"/>
                    </a:lnTo>
                    <a:lnTo>
                      <a:pt x="937" y="174"/>
                    </a:lnTo>
                    <a:lnTo>
                      <a:pt x="933" y="174"/>
                    </a:lnTo>
                    <a:lnTo>
                      <a:pt x="930" y="177"/>
                    </a:lnTo>
                    <a:lnTo>
                      <a:pt x="928" y="179"/>
                    </a:lnTo>
                    <a:lnTo>
                      <a:pt x="926" y="176"/>
                    </a:lnTo>
                    <a:lnTo>
                      <a:pt x="928" y="174"/>
                    </a:lnTo>
                    <a:lnTo>
                      <a:pt x="923" y="177"/>
                    </a:lnTo>
                    <a:lnTo>
                      <a:pt x="919" y="183"/>
                    </a:lnTo>
                    <a:lnTo>
                      <a:pt x="917" y="184"/>
                    </a:lnTo>
                    <a:lnTo>
                      <a:pt x="916" y="183"/>
                    </a:lnTo>
                    <a:lnTo>
                      <a:pt x="914" y="188"/>
                    </a:lnTo>
                    <a:lnTo>
                      <a:pt x="912" y="188"/>
                    </a:lnTo>
                    <a:lnTo>
                      <a:pt x="911" y="183"/>
                    </a:lnTo>
                    <a:lnTo>
                      <a:pt x="911" y="188"/>
                    </a:lnTo>
                    <a:lnTo>
                      <a:pt x="907" y="189"/>
                    </a:lnTo>
                    <a:lnTo>
                      <a:pt x="907" y="188"/>
                    </a:lnTo>
                    <a:lnTo>
                      <a:pt x="907" y="186"/>
                    </a:lnTo>
                    <a:lnTo>
                      <a:pt x="905" y="189"/>
                    </a:lnTo>
                    <a:lnTo>
                      <a:pt x="902" y="189"/>
                    </a:lnTo>
                    <a:lnTo>
                      <a:pt x="900" y="193"/>
                    </a:lnTo>
                    <a:lnTo>
                      <a:pt x="893" y="198"/>
                    </a:lnTo>
                    <a:lnTo>
                      <a:pt x="891" y="203"/>
                    </a:lnTo>
                    <a:lnTo>
                      <a:pt x="890" y="207"/>
                    </a:lnTo>
                    <a:lnTo>
                      <a:pt x="888" y="210"/>
                    </a:lnTo>
                    <a:lnTo>
                      <a:pt x="888" y="210"/>
                    </a:lnTo>
                    <a:lnTo>
                      <a:pt x="888" y="214"/>
                    </a:lnTo>
                    <a:lnTo>
                      <a:pt x="888" y="214"/>
                    </a:lnTo>
                    <a:lnTo>
                      <a:pt x="888" y="216"/>
                    </a:lnTo>
                    <a:lnTo>
                      <a:pt x="883" y="221"/>
                    </a:lnTo>
                    <a:lnTo>
                      <a:pt x="883" y="224"/>
                    </a:lnTo>
                    <a:lnTo>
                      <a:pt x="888" y="224"/>
                    </a:lnTo>
                    <a:lnTo>
                      <a:pt x="888" y="229"/>
                    </a:lnTo>
                    <a:lnTo>
                      <a:pt x="890" y="233"/>
                    </a:lnTo>
                    <a:lnTo>
                      <a:pt x="895" y="233"/>
                    </a:lnTo>
                    <a:lnTo>
                      <a:pt x="897" y="229"/>
                    </a:lnTo>
                    <a:lnTo>
                      <a:pt x="895" y="226"/>
                    </a:lnTo>
                    <a:lnTo>
                      <a:pt x="897" y="226"/>
                    </a:lnTo>
                    <a:lnTo>
                      <a:pt x="898" y="231"/>
                    </a:lnTo>
                    <a:lnTo>
                      <a:pt x="897" y="235"/>
                    </a:lnTo>
                    <a:lnTo>
                      <a:pt x="888" y="240"/>
                    </a:lnTo>
                    <a:lnTo>
                      <a:pt x="888" y="238"/>
                    </a:lnTo>
                    <a:lnTo>
                      <a:pt x="888" y="236"/>
                    </a:lnTo>
                    <a:lnTo>
                      <a:pt x="884" y="233"/>
                    </a:lnTo>
                    <a:lnTo>
                      <a:pt x="883" y="240"/>
                    </a:lnTo>
                    <a:lnTo>
                      <a:pt x="879" y="243"/>
                    </a:lnTo>
                    <a:lnTo>
                      <a:pt x="878" y="242"/>
                    </a:lnTo>
                    <a:lnTo>
                      <a:pt x="878" y="240"/>
                    </a:lnTo>
                    <a:lnTo>
                      <a:pt x="878" y="236"/>
                    </a:lnTo>
                    <a:lnTo>
                      <a:pt x="874" y="233"/>
                    </a:lnTo>
                    <a:lnTo>
                      <a:pt x="874" y="236"/>
                    </a:lnTo>
                    <a:lnTo>
                      <a:pt x="874" y="242"/>
                    </a:lnTo>
                    <a:lnTo>
                      <a:pt x="874" y="243"/>
                    </a:lnTo>
                    <a:lnTo>
                      <a:pt x="872" y="243"/>
                    </a:lnTo>
                    <a:lnTo>
                      <a:pt x="865" y="243"/>
                    </a:lnTo>
                    <a:lnTo>
                      <a:pt x="860" y="243"/>
                    </a:lnTo>
                    <a:lnTo>
                      <a:pt x="857" y="243"/>
                    </a:lnTo>
                    <a:lnTo>
                      <a:pt x="851" y="243"/>
                    </a:lnTo>
                    <a:lnTo>
                      <a:pt x="848" y="243"/>
                    </a:lnTo>
                    <a:lnTo>
                      <a:pt x="848" y="243"/>
                    </a:lnTo>
                    <a:lnTo>
                      <a:pt x="843" y="249"/>
                    </a:lnTo>
                    <a:lnTo>
                      <a:pt x="839" y="249"/>
                    </a:lnTo>
                    <a:lnTo>
                      <a:pt x="834" y="249"/>
                    </a:lnTo>
                    <a:lnTo>
                      <a:pt x="829" y="252"/>
                    </a:lnTo>
                    <a:lnTo>
                      <a:pt x="829" y="252"/>
                    </a:lnTo>
                    <a:lnTo>
                      <a:pt x="829" y="256"/>
                    </a:lnTo>
                    <a:lnTo>
                      <a:pt x="824" y="257"/>
                    </a:lnTo>
                    <a:lnTo>
                      <a:pt x="825" y="261"/>
                    </a:lnTo>
                    <a:lnTo>
                      <a:pt x="825" y="263"/>
                    </a:lnTo>
                    <a:lnTo>
                      <a:pt x="825" y="264"/>
                    </a:lnTo>
                    <a:lnTo>
                      <a:pt x="825" y="268"/>
                    </a:lnTo>
                    <a:lnTo>
                      <a:pt x="825" y="268"/>
                    </a:lnTo>
                    <a:lnTo>
                      <a:pt x="824" y="271"/>
                    </a:lnTo>
                    <a:lnTo>
                      <a:pt x="825" y="271"/>
                    </a:lnTo>
                    <a:lnTo>
                      <a:pt x="824" y="275"/>
                    </a:lnTo>
                    <a:lnTo>
                      <a:pt x="822" y="280"/>
                    </a:lnTo>
                    <a:lnTo>
                      <a:pt x="820" y="280"/>
                    </a:lnTo>
                    <a:lnTo>
                      <a:pt x="818" y="280"/>
                    </a:lnTo>
                    <a:lnTo>
                      <a:pt x="817" y="285"/>
                    </a:lnTo>
                    <a:lnTo>
                      <a:pt x="815" y="287"/>
                    </a:lnTo>
                    <a:lnTo>
                      <a:pt x="815" y="289"/>
                    </a:lnTo>
                    <a:lnTo>
                      <a:pt x="811" y="289"/>
                    </a:lnTo>
                    <a:lnTo>
                      <a:pt x="811" y="290"/>
                    </a:lnTo>
                    <a:lnTo>
                      <a:pt x="808" y="294"/>
                    </a:lnTo>
                    <a:lnTo>
                      <a:pt x="808" y="294"/>
                    </a:lnTo>
                    <a:lnTo>
                      <a:pt x="806" y="296"/>
                    </a:lnTo>
                    <a:lnTo>
                      <a:pt x="808" y="290"/>
                    </a:lnTo>
                    <a:lnTo>
                      <a:pt x="806" y="289"/>
                    </a:lnTo>
                    <a:lnTo>
                      <a:pt x="803" y="289"/>
                    </a:lnTo>
                    <a:lnTo>
                      <a:pt x="801" y="285"/>
                    </a:lnTo>
                    <a:lnTo>
                      <a:pt x="799" y="283"/>
                    </a:lnTo>
                    <a:lnTo>
                      <a:pt x="801" y="280"/>
                    </a:lnTo>
                    <a:lnTo>
                      <a:pt x="806" y="275"/>
                    </a:lnTo>
                    <a:lnTo>
                      <a:pt x="803" y="275"/>
                    </a:lnTo>
                    <a:lnTo>
                      <a:pt x="799" y="280"/>
                    </a:lnTo>
                    <a:lnTo>
                      <a:pt x="798" y="283"/>
                    </a:lnTo>
                    <a:lnTo>
                      <a:pt x="798" y="285"/>
                    </a:lnTo>
                    <a:lnTo>
                      <a:pt x="799" y="287"/>
                    </a:lnTo>
                    <a:lnTo>
                      <a:pt x="799" y="292"/>
                    </a:lnTo>
                    <a:lnTo>
                      <a:pt x="801" y="294"/>
                    </a:lnTo>
                    <a:lnTo>
                      <a:pt x="803" y="299"/>
                    </a:lnTo>
                    <a:lnTo>
                      <a:pt x="803" y="303"/>
                    </a:lnTo>
                    <a:lnTo>
                      <a:pt x="801" y="311"/>
                    </a:lnTo>
                    <a:lnTo>
                      <a:pt x="796" y="313"/>
                    </a:lnTo>
                    <a:lnTo>
                      <a:pt x="794" y="320"/>
                    </a:lnTo>
                    <a:lnTo>
                      <a:pt x="792" y="323"/>
                    </a:lnTo>
                    <a:lnTo>
                      <a:pt x="792" y="325"/>
                    </a:lnTo>
                    <a:lnTo>
                      <a:pt x="791" y="327"/>
                    </a:lnTo>
                    <a:lnTo>
                      <a:pt x="791" y="325"/>
                    </a:lnTo>
                    <a:lnTo>
                      <a:pt x="791" y="323"/>
                    </a:lnTo>
                    <a:lnTo>
                      <a:pt x="787" y="330"/>
                    </a:lnTo>
                    <a:lnTo>
                      <a:pt x="785" y="330"/>
                    </a:lnTo>
                    <a:lnTo>
                      <a:pt x="785" y="334"/>
                    </a:lnTo>
                    <a:lnTo>
                      <a:pt x="785" y="330"/>
                    </a:lnTo>
                    <a:lnTo>
                      <a:pt x="785" y="327"/>
                    </a:lnTo>
                    <a:lnTo>
                      <a:pt x="787" y="323"/>
                    </a:lnTo>
                    <a:lnTo>
                      <a:pt x="787" y="320"/>
                    </a:lnTo>
                    <a:lnTo>
                      <a:pt x="789" y="318"/>
                    </a:lnTo>
                    <a:lnTo>
                      <a:pt x="789" y="316"/>
                    </a:lnTo>
                    <a:lnTo>
                      <a:pt x="792" y="315"/>
                    </a:lnTo>
                    <a:lnTo>
                      <a:pt x="787" y="315"/>
                    </a:lnTo>
                    <a:lnTo>
                      <a:pt x="785" y="313"/>
                    </a:lnTo>
                    <a:lnTo>
                      <a:pt x="787" y="311"/>
                    </a:lnTo>
                    <a:lnTo>
                      <a:pt x="787" y="311"/>
                    </a:lnTo>
                    <a:lnTo>
                      <a:pt x="785" y="311"/>
                    </a:lnTo>
                    <a:lnTo>
                      <a:pt x="785" y="308"/>
                    </a:lnTo>
                    <a:lnTo>
                      <a:pt x="784" y="311"/>
                    </a:lnTo>
                    <a:lnTo>
                      <a:pt x="780" y="306"/>
                    </a:lnTo>
                    <a:lnTo>
                      <a:pt x="780" y="303"/>
                    </a:lnTo>
                    <a:lnTo>
                      <a:pt x="784" y="299"/>
                    </a:lnTo>
                    <a:lnTo>
                      <a:pt x="784" y="296"/>
                    </a:lnTo>
                    <a:lnTo>
                      <a:pt x="784" y="290"/>
                    </a:lnTo>
                    <a:lnTo>
                      <a:pt x="784" y="287"/>
                    </a:lnTo>
                    <a:lnTo>
                      <a:pt x="787" y="285"/>
                    </a:lnTo>
                    <a:lnTo>
                      <a:pt x="785" y="283"/>
                    </a:lnTo>
                    <a:lnTo>
                      <a:pt x="787" y="280"/>
                    </a:lnTo>
                    <a:lnTo>
                      <a:pt x="785" y="280"/>
                    </a:lnTo>
                    <a:lnTo>
                      <a:pt x="785" y="280"/>
                    </a:lnTo>
                    <a:lnTo>
                      <a:pt x="785" y="283"/>
                    </a:lnTo>
                    <a:lnTo>
                      <a:pt x="780" y="287"/>
                    </a:lnTo>
                    <a:lnTo>
                      <a:pt x="780" y="289"/>
                    </a:lnTo>
                    <a:lnTo>
                      <a:pt x="778" y="289"/>
                    </a:lnTo>
                    <a:lnTo>
                      <a:pt x="780" y="290"/>
                    </a:lnTo>
                    <a:lnTo>
                      <a:pt x="780" y="292"/>
                    </a:lnTo>
                    <a:lnTo>
                      <a:pt x="780" y="297"/>
                    </a:lnTo>
                    <a:lnTo>
                      <a:pt x="780" y="299"/>
                    </a:lnTo>
                    <a:lnTo>
                      <a:pt x="780" y="303"/>
                    </a:lnTo>
                    <a:lnTo>
                      <a:pt x="780" y="306"/>
                    </a:lnTo>
                    <a:lnTo>
                      <a:pt x="780" y="311"/>
                    </a:lnTo>
                    <a:lnTo>
                      <a:pt x="778" y="311"/>
                    </a:lnTo>
                    <a:lnTo>
                      <a:pt x="775" y="306"/>
                    </a:lnTo>
                    <a:lnTo>
                      <a:pt x="770" y="306"/>
                    </a:lnTo>
                    <a:lnTo>
                      <a:pt x="768" y="303"/>
                    </a:lnTo>
                    <a:lnTo>
                      <a:pt x="766" y="303"/>
                    </a:lnTo>
                    <a:lnTo>
                      <a:pt x="766" y="303"/>
                    </a:lnTo>
                    <a:lnTo>
                      <a:pt x="768" y="297"/>
                    </a:lnTo>
                    <a:lnTo>
                      <a:pt x="765" y="299"/>
                    </a:lnTo>
                    <a:lnTo>
                      <a:pt x="765" y="303"/>
                    </a:lnTo>
                    <a:lnTo>
                      <a:pt x="768" y="306"/>
                    </a:lnTo>
                    <a:lnTo>
                      <a:pt x="770" y="308"/>
                    </a:lnTo>
                    <a:lnTo>
                      <a:pt x="773" y="311"/>
                    </a:lnTo>
                    <a:lnTo>
                      <a:pt x="778" y="315"/>
                    </a:lnTo>
                    <a:lnTo>
                      <a:pt x="780" y="316"/>
                    </a:lnTo>
                    <a:lnTo>
                      <a:pt x="780" y="318"/>
                    </a:lnTo>
                    <a:lnTo>
                      <a:pt x="780" y="323"/>
                    </a:lnTo>
                    <a:lnTo>
                      <a:pt x="777" y="322"/>
                    </a:lnTo>
                    <a:lnTo>
                      <a:pt x="777" y="320"/>
                    </a:lnTo>
                    <a:lnTo>
                      <a:pt x="775" y="318"/>
                    </a:lnTo>
                    <a:lnTo>
                      <a:pt x="777" y="323"/>
                    </a:lnTo>
                    <a:lnTo>
                      <a:pt x="780" y="325"/>
                    </a:lnTo>
                    <a:lnTo>
                      <a:pt x="780" y="329"/>
                    </a:lnTo>
                    <a:lnTo>
                      <a:pt x="780" y="329"/>
                    </a:lnTo>
                    <a:lnTo>
                      <a:pt x="780" y="330"/>
                    </a:lnTo>
                    <a:lnTo>
                      <a:pt x="775" y="330"/>
                    </a:lnTo>
                    <a:lnTo>
                      <a:pt x="780" y="334"/>
                    </a:lnTo>
                    <a:lnTo>
                      <a:pt x="778" y="334"/>
                    </a:lnTo>
                    <a:lnTo>
                      <a:pt x="777" y="334"/>
                    </a:lnTo>
                    <a:lnTo>
                      <a:pt x="775" y="330"/>
                    </a:lnTo>
                    <a:lnTo>
                      <a:pt x="770" y="330"/>
                    </a:lnTo>
                    <a:lnTo>
                      <a:pt x="768" y="330"/>
                    </a:lnTo>
                    <a:lnTo>
                      <a:pt x="770" y="334"/>
                    </a:lnTo>
                    <a:lnTo>
                      <a:pt x="773" y="334"/>
                    </a:lnTo>
                    <a:lnTo>
                      <a:pt x="775" y="334"/>
                    </a:lnTo>
                    <a:lnTo>
                      <a:pt x="777" y="337"/>
                    </a:lnTo>
                    <a:lnTo>
                      <a:pt x="780" y="337"/>
                    </a:lnTo>
                    <a:lnTo>
                      <a:pt x="780" y="337"/>
                    </a:lnTo>
                    <a:lnTo>
                      <a:pt x="784" y="339"/>
                    </a:lnTo>
                    <a:lnTo>
                      <a:pt x="784" y="343"/>
                    </a:lnTo>
                    <a:lnTo>
                      <a:pt x="784" y="346"/>
                    </a:lnTo>
                    <a:lnTo>
                      <a:pt x="780" y="344"/>
                    </a:lnTo>
                    <a:lnTo>
                      <a:pt x="780" y="346"/>
                    </a:lnTo>
                    <a:lnTo>
                      <a:pt x="780" y="348"/>
                    </a:lnTo>
                    <a:lnTo>
                      <a:pt x="784" y="351"/>
                    </a:lnTo>
                    <a:lnTo>
                      <a:pt x="780" y="353"/>
                    </a:lnTo>
                    <a:lnTo>
                      <a:pt x="780" y="353"/>
                    </a:lnTo>
                    <a:lnTo>
                      <a:pt x="778" y="353"/>
                    </a:lnTo>
                    <a:lnTo>
                      <a:pt x="775" y="356"/>
                    </a:lnTo>
                    <a:lnTo>
                      <a:pt x="772" y="356"/>
                    </a:lnTo>
                    <a:lnTo>
                      <a:pt x="770" y="356"/>
                    </a:lnTo>
                    <a:lnTo>
                      <a:pt x="768" y="353"/>
                    </a:lnTo>
                    <a:lnTo>
                      <a:pt x="766" y="353"/>
                    </a:lnTo>
                    <a:lnTo>
                      <a:pt x="766" y="358"/>
                    </a:lnTo>
                    <a:lnTo>
                      <a:pt x="766" y="362"/>
                    </a:lnTo>
                    <a:lnTo>
                      <a:pt x="770" y="358"/>
                    </a:lnTo>
                    <a:lnTo>
                      <a:pt x="777" y="358"/>
                    </a:lnTo>
                    <a:lnTo>
                      <a:pt x="778" y="358"/>
                    </a:lnTo>
                    <a:lnTo>
                      <a:pt x="778" y="363"/>
                    </a:lnTo>
                    <a:lnTo>
                      <a:pt x="780" y="365"/>
                    </a:lnTo>
                    <a:lnTo>
                      <a:pt x="780" y="362"/>
                    </a:lnTo>
                    <a:lnTo>
                      <a:pt x="784" y="358"/>
                    </a:lnTo>
                    <a:lnTo>
                      <a:pt x="784" y="358"/>
                    </a:lnTo>
                    <a:lnTo>
                      <a:pt x="784" y="362"/>
                    </a:lnTo>
                    <a:lnTo>
                      <a:pt x="784" y="365"/>
                    </a:lnTo>
                    <a:lnTo>
                      <a:pt x="784" y="365"/>
                    </a:lnTo>
                    <a:lnTo>
                      <a:pt x="780" y="369"/>
                    </a:lnTo>
                    <a:lnTo>
                      <a:pt x="778" y="372"/>
                    </a:lnTo>
                    <a:lnTo>
                      <a:pt x="777" y="372"/>
                    </a:lnTo>
                    <a:lnTo>
                      <a:pt x="775" y="370"/>
                    </a:lnTo>
                    <a:lnTo>
                      <a:pt x="772" y="372"/>
                    </a:lnTo>
                    <a:lnTo>
                      <a:pt x="770" y="367"/>
                    </a:lnTo>
                    <a:lnTo>
                      <a:pt x="770" y="370"/>
                    </a:lnTo>
                    <a:lnTo>
                      <a:pt x="768" y="370"/>
                    </a:lnTo>
                    <a:lnTo>
                      <a:pt x="765" y="370"/>
                    </a:lnTo>
                    <a:lnTo>
                      <a:pt x="763" y="370"/>
                    </a:lnTo>
                    <a:lnTo>
                      <a:pt x="765" y="372"/>
                    </a:lnTo>
                    <a:lnTo>
                      <a:pt x="768" y="372"/>
                    </a:lnTo>
                    <a:lnTo>
                      <a:pt x="770" y="374"/>
                    </a:lnTo>
                    <a:lnTo>
                      <a:pt x="768" y="376"/>
                    </a:lnTo>
                    <a:lnTo>
                      <a:pt x="768" y="377"/>
                    </a:lnTo>
                    <a:lnTo>
                      <a:pt x="765" y="379"/>
                    </a:lnTo>
                    <a:lnTo>
                      <a:pt x="761" y="379"/>
                    </a:lnTo>
                    <a:lnTo>
                      <a:pt x="763" y="381"/>
                    </a:lnTo>
                    <a:lnTo>
                      <a:pt x="768" y="381"/>
                    </a:lnTo>
                    <a:lnTo>
                      <a:pt x="772" y="379"/>
                    </a:lnTo>
                    <a:lnTo>
                      <a:pt x="772" y="379"/>
                    </a:lnTo>
                    <a:lnTo>
                      <a:pt x="773" y="381"/>
                    </a:lnTo>
                    <a:lnTo>
                      <a:pt x="770" y="384"/>
                    </a:lnTo>
                    <a:lnTo>
                      <a:pt x="766" y="384"/>
                    </a:lnTo>
                    <a:lnTo>
                      <a:pt x="766" y="381"/>
                    </a:lnTo>
                    <a:lnTo>
                      <a:pt x="765" y="381"/>
                    </a:lnTo>
                    <a:lnTo>
                      <a:pt x="763" y="384"/>
                    </a:lnTo>
                    <a:lnTo>
                      <a:pt x="761" y="384"/>
                    </a:lnTo>
                    <a:lnTo>
                      <a:pt x="752" y="388"/>
                    </a:lnTo>
                    <a:lnTo>
                      <a:pt x="742" y="395"/>
                    </a:lnTo>
                    <a:lnTo>
                      <a:pt x="740" y="402"/>
                    </a:lnTo>
                    <a:lnTo>
                      <a:pt x="739" y="402"/>
                    </a:lnTo>
                    <a:lnTo>
                      <a:pt x="737" y="400"/>
                    </a:lnTo>
                    <a:lnTo>
                      <a:pt x="733" y="402"/>
                    </a:lnTo>
                    <a:lnTo>
                      <a:pt x="730" y="403"/>
                    </a:lnTo>
                    <a:lnTo>
                      <a:pt x="723" y="412"/>
                    </a:lnTo>
                    <a:lnTo>
                      <a:pt x="723" y="416"/>
                    </a:lnTo>
                    <a:lnTo>
                      <a:pt x="719" y="416"/>
                    </a:lnTo>
                    <a:lnTo>
                      <a:pt x="718" y="416"/>
                    </a:lnTo>
                    <a:lnTo>
                      <a:pt x="718" y="417"/>
                    </a:lnTo>
                    <a:lnTo>
                      <a:pt x="714" y="421"/>
                    </a:lnTo>
                    <a:lnTo>
                      <a:pt x="712" y="421"/>
                    </a:lnTo>
                    <a:lnTo>
                      <a:pt x="711" y="421"/>
                    </a:lnTo>
                    <a:lnTo>
                      <a:pt x="711" y="422"/>
                    </a:lnTo>
                    <a:lnTo>
                      <a:pt x="707" y="422"/>
                    </a:lnTo>
                    <a:lnTo>
                      <a:pt x="704" y="426"/>
                    </a:lnTo>
                    <a:lnTo>
                      <a:pt x="699" y="426"/>
                    </a:lnTo>
                    <a:lnTo>
                      <a:pt x="699" y="428"/>
                    </a:lnTo>
                    <a:lnTo>
                      <a:pt x="695" y="428"/>
                    </a:lnTo>
                    <a:lnTo>
                      <a:pt x="695" y="429"/>
                    </a:lnTo>
                    <a:lnTo>
                      <a:pt x="690" y="429"/>
                    </a:lnTo>
                    <a:lnTo>
                      <a:pt x="690" y="431"/>
                    </a:lnTo>
                    <a:lnTo>
                      <a:pt x="690" y="431"/>
                    </a:lnTo>
                    <a:lnTo>
                      <a:pt x="690" y="435"/>
                    </a:lnTo>
                    <a:lnTo>
                      <a:pt x="688" y="438"/>
                    </a:lnTo>
                    <a:lnTo>
                      <a:pt x="688" y="438"/>
                    </a:lnTo>
                    <a:lnTo>
                      <a:pt x="685" y="440"/>
                    </a:lnTo>
                    <a:lnTo>
                      <a:pt x="681" y="440"/>
                    </a:lnTo>
                    <a:lnTo>
                      <a:pt x="679" y="445"/>
                    </a:lnTo>
                    <a:lnTo>
                      <a:pt x="676" y="450"/>
                    </a:lnTo>
                    <a:lnTo>
                      <a:pt x="676" y="456"/>
                    </a:lnTo>
                    <a:lnTo>
                      <a:pt x="676" y="466"/>
                    </a:lnTo>
                    <a:lnTo>
                      <a:pt x="676" y="471"/>
                    </a:lnTo>
                    <a:lnTo>
                      <a:pt x="676" y="478"/>
                    </a:lnTo>
                    <a:lnTo>
                      <a:pt x="676" y="483"/>
                    </a:lnTo>
                    <a:lnTo>
                      <a:pt x="679" y="490"/>
                    </a:lnTo>
                    <a:lnTo>
                      <a:pt x="679" y="494"/>
                    </a:lnTo>
                    <a:lnTo>
                      <a:pt x="681" y="502"/>
                    </a:lnTo>
                    <a:lnTo>
                      <a:pt x="685" y="504"/>
                    </a:lnTo>
                    <a:lnTo>
                      <a:pt x="685" y="508"/>
                    </a:lnTo>
                    <a:lnTo>
                      <a:pt x="685" y="513"/>
                    </a:lnTo>
                    <a:lnTo>
                      <a:pt x="681" y="516"/>
                    </a:lnTo>
                    <a:lnTo>
                      <a:pt x="685" y="520"/>
                    </a:lnTo>
                    <a:lnTo>
                      <a:pt x="685" y="530"/>
                    </a:lnTo>
                    <a:lnTo>
                      <a:pt x="688" y="532"/>
                    </a:lnTo>
                    <a:lnTo>
                      <a:pt x="690" y="537"/>
                    </a:lnTo>
                    <a:lnTo>
                      <a:pt x="688" y="539"/>
                    </a:lnTo>
                    <a:lnTo>
                      <a:pt x="688" y="541"/>
                    </a:lnTo>
                    <a:lnTo>
                      <a:pt x="688" y="548"/>
                    </a:lnTo>
                    <a:lnTo>
                      <a:pt x="688" y="548"/>
                    </a:lnTo>
                    <a:lnTo>
                      <a:pt x="688" y="553"/>
                    </a:lnTo>
                    <a:lnTo>
                      <a:pt x="685" y="556"/>
                    </a:lnTo>
                    <a:lnTo>
                      <a:pt x="685" y="562"/>
                    </a:lnTo>
                    <a:lnTo>
                      <a:pt x="681" y="565"/>
                    </a:lnTo>
                    <a:lnTo>
                      <a:pt x="679" y="569"/>
                    </a:lnTo>
                    <a:lnTo>
                      <a:pt x="679" y="570"/>
                    </a:lnTo>
                    <a:lnTo>
                      <a:pt x="676" y="572"/>
                    </a:lnTo>
                    <a:lnTo>
                      <a:pt x="672" y="570"/>
                    </a:lnTo>
                    <a:lnTo>
                      <a:pt x="671" y="569"/>
                    </a:lnTo>
                    <a:lnTo>
                      <a:pt x="667" y="567"/>
                    </a:lnTo>
                    <a:lnTo>
                      <a:pt x="669" y="567"/>
                    </a:lnTo>
                    <a:lnTo>
                      <a:pt x="666" y="563"/>
                    </a:lnTo>
                    <a:lnTo>
                      <a:pt x="666" y="560"/>
                    </a:lnTo>
                    <a:lnTo>
                      <a:pt x="666" y="556"/>
                    </a:lnTo>
                    <a:lnTo>
                      <a:pt x="660" y="556"/>
                    </a:lnTo>
                    <a:lnTo>
                      <a:pt x="659" y="556"/>
                    </a:lnTo>
                    <a:lnTo>
                      <a:pt x="659" y="553"/>
                    </a:lnTo>
                    <a:lnTo>
                      <a:pt x="659" y="548"/>
                    </a:lnTo>
                    <a:lnTo>
                      <a:pt x="653" y="544"/>
                    </a:lnTo>
                    <a:lnTo>
                      <a:pt x="653" y="544"/>
                    </a:lnTo>
                    <a:lnTo>
                      <a:pt x="657" y="542"/>
                    </a:lnTo>
                    <a:lnTo>
                      <a:pt x="657" y="539"/>
                    </a:lnTo>
                    <a:lnTo>
                      <a:pt x="659" y="536"/>
                    </a:lnTo>
                    <a:lnTo>
                      <a:pt x="657" y="537"/>
                    </a:lnTo>
                    <a:lnTo>
                      <a:pt x="653" y="536"/>
                    </a:lnTo>
                    <a:lnTo>
                      <a:pt x="653" y="537"/>
                    </a:lnTo>
                    <a:lnTo>
                      <a:pt x="653" y="539"/>
                    </a:lnTo>
                    <a:lnTo>
                      <a:pt x="653" y="536"/>
                    </a:lnTo>
                    <a:lnTo>
                      <a:pt x="652" y="536"/>
                    </a:lnTo>
                    <a:lnTo>
                      <a:pt x="652" y="534"/>
                    </a:lnTo>
                    <a:lnTo>
                      <a:pt x="648" y="532"/>
                    </a:lnTo>
                    <a:lnTo>
                      <a:pt x="648" y="529"/>
                    </a:lnTo>
                    <a:lnTo>
                      <a:pt x="648" y="525"/>
                    </a:lnTo>
                    <a:lnTo>
                      <a:pt x="652" y="522"/>
                    </a:lnTo>
                    <a:lnTo>
                      <a:pt x="652" y="516"/>
                    </a:lnTo>
                    <a:lnTo>
                      <a:pt x="650" y="516"/>
                    </a:lnTo>
                    <a:lnTo>
                      <a:pt x="648" y="516"/>
                    </a:lnTo>
                    <a:lnTo>
                      <a:pt x="648" y="520"/>
                    </a:lnTo>
                    <a:lnTo>
                      <a:pt x="646" y="522"/>
                    </a:lnTo>
                    <a:lnTo>
                      <a:pt x="646" y="522"/>
                    </a:lnTo>
                    <a:lnTo>
                      <a:pt x="643" y="520"/>
                    </a:lnTo>
                    <a:lnTo>
                      <a:pt x="643" y="516"/>
                    </a:lnTo>
                    <a:lnTo>
                      <a:pt x="646" y="509"/>
                    </a:lnTo>
                    <a:lnTo>
                      <a:pt x="650" y="502"/>
                    </a:lnTo>
                    <a:lnTo>
                      <a:pt x="650" y="497"/>
                    </a:lnTo>
                    <a:lnTo>
                      <a:pt x="648" y="494"/>
                    </a:lnTo>
                    <a:lnTo>
                      <a:pt x="645" y="494"/>
                    </a:lnTo>
                    <a:lnTo>
                      <a:pt x="643" y="490"/>
                    </a:lnTo>
                    <a:lnTo>
                      <a:pt x="643" y="490"/>
                    </a:lnTo>
                    <a:lnTo>
                      <a:pt x="641" y="490"/>
                    </a:lnTo>
                    <a:lnTo>
                      <a:pt x="639" y="489"/>
                    </a:lnTo>
                    <a:lnTo>
                      <a:pt x="639" y="485"/>
                    </a:lnTo>
                    <a:lnTo>
                      <a:pt x="638" y="485"/>
                    </a:lnTo>
                    <a:lnTo>
                      <a:pt x="636" y="482"/>
                    </a:lnTo>
                    <a:lnTo>
                      <a:pt x="634" y="476"/>
                    </a:lnTo>
                    <a:lnTo>
                      <a:pt x="631" y="475"/>
                    </a:lnTo>
                    <a:lnTo>
                      <a:pt x="629" y="475"/>
                    </a:lnTo>
                    <a:lnTo>
                      <a:pt x="626" y="475"/>
                    </a:lnTo>
                    <a:lnTo>
                      <a:pt x="622" y="476"/>
                    </a:lnTo>
                    <a:lnTo>
                      <a:pt x="622" y="476"/>
                    </a:lnTo>
                    <a:lnTo>
                      <a:pt x="622" y="478"/>
                    </a:lnTo>
                    <a:lnTo>
                      <a:pt x="620" y="476"/>
                    </a:lnTo>
                    <a:lnTo>
                      <a:pt x="617" y="482"/>
                    </a:lnTo>
                    <a:lnTo>
                      <a:pt x="613" y="482"/>
                    </a:lnTo>
                    <a:lnTo>
                      <a:pt x="608" y="483"/>
                    </a:lnTo>
                    <a:lnTo>
                      <a:pt x="606" y="482"/>
                    </a:lnTo>
                    <a:lnTo>
                      <a:pt x="606" y="480"/>
                    </a:lnTo>
                    <a:lnTo>
                      <a:pt x="608" y="482"/>
                    </a:lnTo>
                    <a:lnTo>
                      <a:pt x="608" y="480"/>
                    </a:lnTo>
                    <a:lnTo>
                      <a:pt x="608" y="478"/>
                    </a:lnTo>
                    <a:lnTo>
                      <a:pt x="606" y="476"/>
                    </a:lnTo>
                    <a:lnTo>
                      <a:pt x="603" y="475"/>
                    </a:lnTo>
                    <a:lnTo>
                      <a:pt x="603" y="475"/>
                    </a:lnTo>
                    <a:lnTo>
                      <a:pt x="606" y="475"/>
                    </a:lnTo>
                    <a:lnTo>
                      <a:pt x="606" y="475"/>
                    </a:lnTo>
                    <a:lnTo>
                      <a:pt x="603" y="471"/>
                    </a:lnTo>
                    <a:lnTo>
                      <a:pt x="603" y="471"/>
                    </a:lnTo>
                    <a:lnTo>
                      <a:pt x="601" y="468"/>
                    </a:lnTo>
                    <a:lnTo>
                      <a:pt x="601" y="471"/>
                    </a:lnTo>
                    <a:lnTo>
                      <a:pt x="603" y="475"/>
                    </a:lnTo>
                    <a:lnTo>
                      <a:pt x="600" y="471"/>
                    </a:lnTo>
                    <a:lnTo>
                      <a:pt x="596" y="468"/>
                    </a:lnTo>
                    <a:lnTo>
                      <a:pt x="593" y="468"/>
                    </a:lnTo>
                    <a:lnTo>
                      <a:pt x="587" y="468"/>
                    </a:lnTo>
                    <a:lnTo>
                      <a:pt x="587" y="468"/>
                    </a:lnTo>
                    <a:lnTo>
                      <a:pt x="593" y="468"/>
                    </a:lnTo>
                    <a:lnTo>
                      <a:pt x="594" y="466"/>
                    </a:lnTo>
                    <a:lnTo>
                      <a:pt x="594" y="466"/>
                    </a:lnTo>
                    <a:lnTo>
                      <a:pt x="589" y="466"/>
                    </a:lnTo>
                    <a:lnTo>
                      <a:pt x="586" y="468"/>
                    </a:lnTo>
                    <a:lnTo>
                      <a:pt x="584" y="468"/>
                    </a:lnTo>
                    <a:lnTo>
                      <a:pt x="580" y="468"/>
                    </a:lnTo>
                    <a:lnTo>
                      <a:pt x="579" y="466"/>
                    </a:lnTo>
                    <a:lnTo>
                      <a:pt x="575" y="468"/>
                    </a:lnTo>
                    <a:lnTo>
                      <a:pt x="570" y="468"/>
                    </a:lnTo>
                    <a:lnTo>
                      <a:pt x="568" y="468"/>
                    </a:lnTo>
                    <a:lnTo>
                      <a:pt x="565" y="466"/>
                    </a:lnTo>
                    <a:lnTo>
                      <a:pt x="563" y="462"/>
                    </a:lnTo>
                    <a:lnTo>
                      <a:pt x="565" y="462"/>
                    </a:lnTo>
                    <a:lnTo>
                      <a:pt x="561" y="462"/>
                    </a:lnTo>
                    <a:lnTo>
                      <a:pt x="561" y="466"/>
                    </a:lnTo>
                    <a:lnTo>
                      <a:pt x="561" y="466"/>
                    </a:lnTo>
                    <a:lnTo>
                      <a:pt x="558" y="466"/>
                    </a:lnTo>
                    <a:lnTo>
                      <a:pt x="556" y="466"/>
                    </a:lnTo>
                    <a:lnTo>
                      <a:pt x="549" y="466"/>
                    </a:lnTo>
                    <a:lnTo>
                      <a:pt x="540" y="468"/>
                    </a:lnTo>
                    <a:lnTo>
                      <a:pt x="539" y="471"/>
                    </a:lnTo>
                    <a:lnTo>
                      <a:pt x="532" y="475"/>
                    </a:lnTo>
                    <a:lnTo>
                      <a:pt x="530" y="476"/>
                    </a:lnTo>
                    <a:lnTo>
                      <a:pt x="530" y="480"/>
                    </a:lnTo>
                    <a:lnTo>
                      <a:pt x="532" y="478"/>
                    </a:lnTo>
                    <a:lnTo>
                      <a:pt x="535" y="476"/>
                    </a:lnTo>
                    <a:lnTo>
                      <a:pt x="535" y="476"/>
                    </a:lnTo>
                    <a:lnTo>
                      <a:pt x="535" y="478"/>
                    </a:lnTo>
                    <a:lnTo>
                      <a:pt x="539" y="480"/>
                    </a:lnTo>
                    <a:lnTo>
                      <a:pt x="539" y="480"/>
                    </a:lnTo>
                    <a:lnTo>
                      <a:pt x="532" y="483"/>
                    </a:lnTo>
                    <a:lnTo>
                      <a:pt x="532" y="485"/>
                    </a:lnTo>
                    <a:lnTo>
                      <a:pt x="535" y="489"/>
                    </a:lnTo>
                    <a:lnTo>
                      <a:pt x="539" y="490"/>
                    </a:lnTo>
                    <a:lnTo>
                      <a:pt x="544" y="494"/>
                    </a:lnTo>
                    <a:lnTo>
                      <a:pt x="542" y="494"/>
                    </a:lnTo>
                    <a:lnTo>
                      <a:pt x="540" y="494"/>
                    </a:lnTo>
                    <a:lnTo>
                      <a:pt x="539" y="497"/>
                    </a:lnTo>
                    <a:lnTo>
                      <a:pt x="539" y="494"/>
                    </a:lnTo>
                    <a:lnTo>
                      <a:pt x="539" y="494"/>
                    </a:lnTo>
                    <a:lnTo>
                      <a:pt x="535" y="494"/>
                    </a:lnTo>
                    <a:lnTo>
                      <a:pt x="535" y="490"/>
                    </a:lnTo>
                    <a:lnTo>
                      <a:pt x="530" y="490"/>
                    </a:lnTo>
                    <a:lnTo>
                      <a:pt x="530" y="485"/>
                    </a:lnTo>
                    <a:lnTo>
                      <a:pt x="527" y="485"/>
                    </a:lnTo>
                    <a:lnTo>
                      <a:pt x="527" y="489"/>
                    </a:lnTo>
                    <a:lnTo>
                      <a:pt x="527" y="494"/>
                    </a:lnTo>
                    <a:lnTo>
                      <a:pt x="525" y="494"/>
                    </a:lnTo>
                    <a:lnTo>
                      <a:pt x="523" y="494"/>
                    </a:lnTo>
                    <a:lnTo>
                      <a:pt x="521" y="490"/>
                    </a:lnTo>
                    <a:lnTo>
                      <a:pt x="518" y="494"/>
                    </a:lnTo>
                    <a:lnTo>
                      <a:pt x="516" y="494"/>
                    </a:lnTo>
                    <a:lnTo>
                      <a:pt x="511" y="494"/>
                    </a:lnTo>
                    <a:lnTo>
                      <a:pt x="509" y="490"/>
                    </a:lnTo>
                    <a:lnTo>
                      <a:pt x="507" y="490"/>
                    </a:lnTo>
                    <a:lnTo>
                      <a:pt x="504" y="490"/>
                    </a:lnTo>
                    <a:lnTo>
                      <a:pt x="507" y="490"/>
                    </a:lnTo>
                    <a:lnTo>
                      <a:pt x="507" y="489"/>
                    </a:lnTo>
                    <a:lnTo>
                      <a:pt x="507" y="485"/>
                    </a:lnTo>
                    <a:lnTo>
                      <a:pt x="504" y="485"/>
                    </a:lnTo>
                    <a:lnTo>
                      <a:pt x="504" y="485"/>
                    </a:lnTo>
                    <a:lnTo>
                      <a:pt x="504" y="482"/>
                    </a:lnTo>
                    <a:lnTo>
                      <a:pt x="502" y="482"/>
                    </a:lnTo>
                    <a:lnTo>
                      <a:pt x="500" y="482"/>
                    </a:lnTo>
                    <a:lnTo>
                      <a:pt x="499" y="482"/>
                    </a:lnTo>
                    <a:lnTo>
                      <a:pt x="499" y="480"/>
                    </a:lnTo>
                    <a:lnTo>
                      <a:pt x="497" y="478"/>
                    </a:lnTo>
                    <a:lnTo>
                      <a:pt x="494" y="480"/>
                    </a:lnTo>
                    <a:lnTo>
                      <a:pt x="494" y="482"/>
                    </a:lnTo>
                    <a:lnTo>
                      <a:pt x="494" y="483"/>
                    </a:lnTo>
                    <a:lnTo>
                      <a:pt x="490" y="485"/>
                    </a:lnTo>
                    <a:lnTo>
                      <a:pt x="481" y="483"/>
                    </a:lnTo>
                    <a:lnTo>
                      <a:pt x="481" y="482"/>
                    </a:lnTo>
                    <a:lnTo>
                      <a:pt x="473" y="480"/>
                    </a:lnTo>
                    <a:lnTo>
                      <a:pt x="467" y="480"/>
                    </a:lnTo>
                    <a:lnTo>
                      <a:pt x="462" y="482"/>
                    </a:lnTo>
                    <a:lnTo>
                      <a:pt x="459" y="482"/>
                    </a:lnTo>
                    <a:lnTo>
                      <a:pt x="457" y="483"/>
                    </a:lnTo>
                    <a:lnTo>
                      <a:pt x="454" y="485"/>
                    </a:lnTo>
                    <a:lnTo>
                      <a:pt x="450" y="485"/>
                    </a:lnTo>
                    <a:lnTo>
                      <a:pt x="452" y="485"/>
                    </a:lnTo>
                    <a:lnTo>
                      <a:pt x="450" y="482"/>
                    </a:lnTo>
                    <a:lnTo>
                      <a:pt x="452" y="478"/>
                    </a:lnTo>
                    <a:lnTo>
                      <a:pt x="452" y="475"/>
                    </a:lnTo>
                    <a:lnTo>
                      <a:pt x="450" y="476"/>
                    </a:lnTo>
                    <a:lnTo>
                      <a:pt x="447" y="480"/>
                    </a:lnTo>
                    <a:lnTo>
                      <a:pt x="445" y="480"/>
                    </a:lnTo>
                    <a:lnTo>
                      <a:pt x="443" y="478"/>
                    </a:lnTo>
                    <a:lnTo>
                      <a:pt x="445" y="483"/>
                    </a:lnTo>
                    <a:lnTo>
                      <a:pt x="445" y="485"/>
                    </a:lnTo>
                    <a:lnTo>
                      <a:pt x="447" y="490"/>
                    </a:lnTo>
                    <a:lnTo>
                      <a:pt x="445" y="490"/>
                    </a:lnTo>
                    <a:lnTo>
                      <a:pt x="441" y="490"/>
                    </a:lnTo>
                    <a:lnTo>
                      <a:pt x="436" y="497"/>
                    </a:lnTo>
                    <a:lnTo>
                      <a:pt x="429" y="499"/>
                    </a:lnTo>
                    <a:lnTo>
                      <a:pt x="427" y="499"/>
                    </a:lnTo>
                    <a:lnTo>
                      <a:pt x="424" y="502"/>
                    </a:lnTo>
                    <a:lnTo>
                      <a:pt x="422" y="502"/>
                    </a:lnTo>
                    <a:lnTo>
                      <a:pt x="424" y="499"/>
                    </a:lnTo>
                    <a:lnTo>
                      <a:pt x="422" y="497"/>
                    </a:lnTo>
                    <a:lnTo>
                      <a:pt x="421" y="499"/>
                    </a:lnTo>
                    <a:lnTo>
                      <a:pt x="419" y="497"/>
                    </a:lnTo>
                    <a:lnTo>
                      <a:pt x="415" y="499"/>
                    </a:lnTo>
                    <a:lnTo>
                      <a:pt x="417" y="501"/>
                    </a:lnTo>
                    <a:lnTo>
                      <a:pt x="414" y="502"/>
                    </a:lnTo>
                    <a:lnTo>
                      <a:pt x="412" y="501"/>
                    </a:lnTo>
                    <a:lnTo>
                      <a:pt x="412" y="506"/>
                    </a:lnTo>
                    <a:lnTo>
                      <a:pt x="408" y="508"/>
                    </a:lnTo>
                    <a:lnTo>
                      <a:pt x="408" y="506"/>
                    </a:lnTo>
                    <a:lnTo>
                      <a:pt x="405" y="511"/>
                    </a:lnTo>
                    <a:lnTo>
                      <a:pt x="408" y="513"/>
                    </a:lnTo>
                    <a:lnTo>
                      <a:pt x="403" y="516"/>
                    </a:lnTo>
                    <a:lnTo>
                      <a:pt x="400" y="516"/>
                    </a:lnTo>
                    <a:lnTo>
                      <a:pt x="403" y="522"/>
                    </a:lnTo>
                    <a:lnTo>
                      <a:pt x="400" y="525"/>
                    </a:lnTo>
                    <a:lnTo>
                      <a:pt x="398" y="530"/>
                    </a:lnTo>
                    <a:lnTo>
                      <a:pt x="396" y="536"/>
                    </a:lnTo>
                    <a:lnTo>
                      <a:pt x="398" y="539"/>
                    </a:lnTo>
                    <a:lnTo>
                      <a:pt x="398" y="544"/>
                    </a:lnTo>
                    <a:lnTo>
                      <a:pt x="398" y="548"/>
                    </a:lnTo>
                    <a:lnTo>
                      <a:pt x="398" y="553"/>
                    </a:lnTo>
                    <a:lnTo>
                      <a:pt x="394" y="556"/>
                    </a:lnTo>
                    <a:lnTo>
                      <a:pt x="394" y="555"/>
                    </a:lnTo>
                    <a:lnTo>
                      <a:pt x="393" y="553"/>
                    </a:lnTo>
                    <a:lnTo>
                      <a:pt x="389" y="553"/>
                    </a:lnTo>
                    <a:lnTo>
                      <a:pt x="386" y="553"/>
                    </a:lnTo>
                    <a:lnTo>
                      <a:pt x="381" y="548"/>
                    </a:lnTo>
                    <a:lnTo>
                      <a:pt x="377" y="548"/>
                    </a:lnTo>
                    <a:lnTo>
                      <a:pt x="377" y="544"/>
                    </a:lnTo>
                    <a:lnTo>
                      <a:pt x="374" y="544"/>
                    </a:lnTo>
                    <a:lnTo>
                      <a:pt x="372" y="544"/>
                    </a:lnTo>
                    <a:lnTo>
                      <a:pt x="372" y="544"/>
                    </a:lnTo>
                    <a:lnTo>
                      <a:pt x="370" y="542"/>
                    </a:lnTo>
                    <a:lnTo>
                      <a:pt x="370" y="539"/>
                    </a:lnTo>
                    <a:lnTo>
                      <a:pt x="367" y="529"/>
                    </a:lnTo>
                    <a:lnTo>
                      <a:pt x="367" y="527"/>
                    </a:lnTo>
                    <a:lnTo>
                      <a:pt x="367" y="525"/>
                    </a:lnTo>
                    <a:lnTo>
                      <a:pt x="367" y="525"/>
                    </a:lnTo>
                    <a:lnTo>
                      <a:pt x="367" y="522"/>
                    </a:lnTo>
                    <a:lnTo>
                      <a:pt x="363" y="516"/>
                    </a:lnTo>
                    <a:lnTo>
                      <a:pt x="361" y="513"/>
                    </a:lnTo>
                    <a:lnTo>
                      <a:pt x="361" y="511"/>
                    </a:lnTo>
                    <a:lnTo>
                      <a:pt x="358" y="509"/>
                    </a:lnTo>
                    <a:lnTo>
                      <a:pt x="358" y="508"/>
                    </a:lnTo>
                    <a:lnTo>
                      <a:pt x="358" y="506"/>
                    </a:lnTo>
                    <a:lnTo>
                      <a:pt x="355" y="499"/>
                    </a:lnTo>
                    <a:lnTo>
                      <a:pt x="355" y="497"/>
                    </a:lnTo>
                    <a:lnTo>
                      <a:pt x="353" y="497"/>
                    </a:lnTo>
                    <a:lnTo>
                      <a:pt x="353" y="494"/>
                    </a:lnTo>
                    <a:lnTo>
                      <a:pt x="353" y="490"/>
                    </a:lnTo>
                    <a:lnTo>
                      <a:pt x="351" y="490"/>
                    </a:lnTo>
                    <a:lnTo>
                      <a:pt x="349" y="485"/>
                    </a:lnTo>
                    <a:lnTo>
                      <a:pt x="348" y="482"/>
                    </a:lnTo>
                    <a:lnTo>
                      <a:pt x="344" y="478"/>
                    </a:lnTo>
                    <a:lnTo>
                      <a:pt x="342" y="476"/>
                    </a:lnTo>
                    <a:lnTo>
                      <a:pt x="339" y="475"/>
                    </a:lnTo>
                    <a:lnTo>
                      <a:pt x="337" y="475"/>
                    </a:lnTo>
                    <a:lnTo>
                      <a:pt x="335" y="475"/>
                    </a:lnTo>
                    <a:lnTo>
                      <a:pt x="335" y="475"/>
                    </a:lnTo>
                    <a:lnTo>
                      <a:pt x="332" y="475"/>
                    </a:lnTo>
                    <a:lnTo>
                      <a:pt x="330" y="475"/>
                    </a:lnTo>
                    <a:lnTo>
                      <a:pt x="327" y="475"/>
                    </a:lnTo>
                    <a:lnTo>
                      <a:pt x="325" y="475"/>
                    </a:lnTo>
                    <a:lnTo>
                      <a:pt x="325" y="475"/>
                    </a:lnTo>
                    <a:lnTo>
                      <a:pt x="323" y="475"/>
                    </a:lnTo>
                    <a:lnTo>
                      <a:pt x="323" y="475"/>
                    </a:lnTo>
                    <a:lnTo>
                      <a:pt x="320" y="475"/>
                    </a:lnTo>
                    <a:lnTo>
                      <a:pt x="318" y="476"/>
                    </a:lnTo>
                    <a:lnTo>
                      <a:pt x="316" y="482"/>
                    </a:lnTo>
                    <a:lnTo>
                      <a:pt x="315" y="483"/>
                    </a:lnTo>
                    <a:lnTo>
                      <a:pt x="315" y="485"/>
                    </a:lnTo>
                    <a:lnTo>
                      <a:pt x="315" y="485"/>
                    </a:lnTo>
                    <a:lnTo>
                      <a:pt x="313" y="485"/>
                    </a:lnTo>
                    <a:lnTo>
                      <a:pt x="309" y="489"/>
                    </a:lnTo>
                    <a:lnTo>
                      <a:pt x="309" y="490"/>
                    </a:lnTo>
                    <a:lnTo>
                      <a:pt x="308" y="490"/>
                    </a:lnTo>
                    <a:lnTo>
                      <a:pt x="308" y="490"/>
                    </a:lnTo>
                    <a:lnTo>
                      <a:pt x="308" y="489"/>
                    </a:lnTo>
                    <a:lnTo>
                      <a:pt x="302" y="485"/>
                    </a:lnTo>
                    <a:lnTo>
                      <a:pt x="301" y="485"/>
                    </a:lnTo>
                    <a:lnTo>
                      <a:pt x="299" y="485"/>
                    </a:lnTo>
                    <a:lnTo>
                      <a:pt x="295" y="483"/>
                    </a:lnTo>
                    <a:lnTo>
                      <a:pt x="294" y="483"/>
                    </a:lnTo>
                    <a:lnTo>
                      <a:pt x="292" y="482"/>
                    </a:lnTo>
                    <a:lnTo>
                      <a:pt x="292" y="482"/>
                    </a:lnTo>
                    <a:lnTo>
                      <a:pt x="292" y="480"/>
                    </a:lnTo>
                    <a:lnTo>
                      <a:pt x="290" y="478"/>
                    </a:lnTo>
                    <a:lnTo>
                      <a:pt x="288" y="480"/>
                    </a:lnTo>
                    <a:lnTo>
                      <a:pt x="287" y="478"/>
                    </a:lnTo>
                    <a:lnTo>
                      <a:pt x="287" y="478"/>
                    </a:lnTo>
                    <a:lnTo>
                      <a:pt x="287" y="476"/>
                    </a:lnTo>
                    <a:lnTo>
                      <a:pt x="285" y="475"/>
                    </a:lnTo>
                    <a:lnTo>
                      <a:pt x="285" y="471"/>
                    </a:lnTo>
                    <a:lnTo>
                      <a:pt x="282" y="468"/>
                    </a:lnTo>
                    <a:lnTo>
                      <a:pt x="282" y="466"/>
                    </a:lnTo>
                    <a:lnTo>
                      <a:pt x="282" y="466"/>
                    </a:lnTo>
                    <a:lnTo>
                      <a:pt x="285" y="466"/>
                    </a:lnTo>
                    <a:lnTo>
                      <a:pt x="285" y="462"/>
                    </a:lnTo>
                    <a:lnTo>
                      <a:pt x="282" y="462"/>
                    </a:lnTo>
                    <a:lnTo>
                      <a:pt x="282" y="461"/>
                    </a:lnTo>
                    <a:lnTo>
                      <a:pt x="282" y="461"/>
                    </a:lnTo>
                    <a:lnTo>
                      <a:pt x="280" y="459"/>
                    </a:lnTo>
                    <a:lnTo>
                      <a:pt x="280" y="454"/>
                    </a:lnTo>
                    <a:lnTo>
                      <a:pt x="278" y="452"/>
                    </a:lnTo>
                    <a:lnTo>
                      <a:pt x="275" y="450"/>
                    </a:lnTo>
                    <a:lnTo>
                      <a:pt x="273" y="450"/>
                    </a:lnTo>
                    <a:lnTo>
                      <a:pt x="275" y="449"/>
                    </a:lnTo>
                    <a:lnTo>
                      <a:pt x="275" y="447"/>
                    </a:lnTo>
                    <a:lnTo>
                      <a:pt x="271" y="445"/>
                    </a:lnTo>
                    <a:lnTo>
                      <a:pt x="268" y="443"/>
                    </a:lnTo>
                    <a:lnTo>
                      <a:pt x="269" y="443"/>
                    </a:lnTo>
                    <a:lnTo>
                      <a:pt x="268" y="440"/>
                    </a:lnTo>
                    <a:lnTo>
                      <a:pt x="266" y="440"/>
                    </a:lnTo>
                    <a:lnTo>
                      <a:pt x="266" y="440"/>
                    </a:lnTo>
                    <a:lnTo>
                      <a:pt x="264" y="435"/>
                    </a:lnTo>
                    <a:lnTo>
                      <a:pt x="262" y="433"/>
                    </a:lnTo>
                    <a:lnTo>
                      <a:pt x="259" y="431"/>
                    </a:lnTo>
                    <a:lnTo>
                      <a:pt x="231" y="429"/>
                    </a:lnTo>
                    <a:lnTo>
                      <a:pt x="231" y="435"/>
                    </a:lnTo>
                    <a:lnTo>
                      <a:pt x="182" y="435"/>
                    </a:lnTo>
                    <a:lnTo>
                      <a:pt x="123" y="409"/>
                    </a:lnTo>
                    <a:lnTo>
                      <a:pt x="123" y="407"/>
                    </a:lnTo>
                    <a:lnTo>
                      <a:pt x="123" y="403"/>
                    </a:lnTo>
                    <a:lnTo>
                      <a:pt x="82" y="407"/>
                    </a:lnTo>
                    <a:lnTo>
                      <a:pt x="82" y="403"/>
                    </a:lnTo>
                    <a:lnTo>
                      <a:pt x="82" y="398"/>
                    </a:lnTo>
                    <a:lnTo>
                      <a:pt x="82" y="393"/>
                    </a:lnTo>
                    <a:lnTo>
                      <a:pt x="77" y="384"/>
                    </a:lnTo>
                    <a:lnTo>
                      <a:pt x="73" y="381"/>
                    </a:lnTo>
                    <a:lnTo>
                      <a:pt x="71" y="381"/>
                    </a:lnTo>
                    <a:lnTo>
                      <a:pt x="70" y="381"/>
                    </a:lnTo>
                    <a:lnTo>
                      <a:pt x="68" y="381"/>
                    </a:lnTo>
                    <a:lnTo>
                      <a:pt x="68" y="377"/>
                    </a:lnTo>
                    <a:lnTo>
                      <a:pt x="68" y="376"/>
                    </a:lnTo>
                    <a:lnTo>
                      <a:pt x="63" y="376"/>
                    </a:lnTo>
                    <a:lnTo>
                      <a:pt x="59" y="376"/>
                    </a:lnTo>
                    <a:lnTo>
                      <a:pt x="56" y="372"/>
                    </a:lnTo>
                    <a:lnTo>
                      <a:pt x="56" y="369"/>
                    </a:lnTo>
                    <a:lnTo>
                      <a:pt x="54" y="367"/>
                    </a:lnTo>
                    <a:lnTo>
                      <a:pt x="49" y="367"/>
                    </a:lnTo>
                    <a:lnTo>
                      <a:pt x="47" y="365"/>
                    </a:lnTo>
                    <a:lnTo>
                      <a:pt x="44" y="363"/>
                    </a:lnTo>
                    <a:lnTo>
                      <a:pt x="40" y="363"/>
                    </a:lnTo>
                    <a:lnTo>
                      <a:pt x="37" y="363"/>
                    </a:lnTo>
                    <a:lnTo>
                      <a:pt x="33" y="362"/>
                    </a:lnTo>
                    <a:lnTo>
                      <a:pt x="33" y="358"/>
                    </a:lnTo>
                    <a:lnTo>
                      <a:pt x="33" y="358"/>
                    </a:lnTo>
                    <a:lnTo>
                      <a:pt x="33" y="356"/>
                    </a:lnTo>
                    <a:lnTo>
                      <a:pt x="37" y="351"/>
                    </a:lnTo>
                    <a:lnTo>
                      <a:pt x="33" y="348"/>
                    </a:lnTo>
                    <a:lnTo>
                      <a:pt x="31" y="344"/>
                    </a:lnTo>
                    <a:lnTo>
                      <a:pt x="31" y="344"/>
                    </a:lnTo>
                    <a:lnTo>
                      <a:pt x="33" y="343"/>
                    </a:lnTo>
                    <a:lnTo>
                      <a:pt x="31" y="341"/>
                    </a:lnTo>
                    <a:lnTo>
                      <a:pt x="28" y="337"/>
                    </a:lnTo>
                    <a:lnTo>
                      <a:pt x="24" y="330"/>
                    </a:lnTo>
                    <a:lnTo>
                      <a:pt x="23" y="325"/>
                    </a:lnTo>
                    <a:lnTo>
                      <a:pt x="21" y="322"/>
                    </a:lnTo>
                    <a:lnTo>
                      <a:pt x="21" y="320"/>
                    </a:lnTo>
                    <a:lnTo>
                      <a:pt x="21" y="316"/>
                    </a:lnTo>
                    <a:lnTo>
                      <a:pt x="19" y="313"/>
                    </a:lnTo>
                    <a:lnTo>
                      <a:pt x="19" y="311"/>
                    </a:lnTo>
                    <a:lnTo>
                      <a:pt x="21" y="311"/>
                    </a:lnTo>
                    <a:lnTo>
                      <a:pt x="23" y="311"/>
                    </a:lnTo>
                    <a:lnTo>
                      <a:pt x="23" y="306"/>
                    </a:lnTo>
                    <a:lnTo>
                      <a:pt x="21" y="306"/>
                    </a:lnTo>
                    <a:lnTo>
                      <a:pt x="19" y="303"/>
                    </a:lnTo>
                    <a:lnTo>
                      <a:pt x="17" y="299"/>
                    </a:lnTo>
                    <a:lnTo>
                      <a:pt x="16" y="299"/>
                    </a:lnTo>
                    <a:lnTo>
                      <a:pt x="16" y="297"/>
                    </a:lnTo>
                    <a:lnTo>
                      <a:pt x="17" y="294"/>
                    </a:lnTo>
                    <a:lnTo>
                      <a:pt x="16" y="292"/>
                    </a:lnTo>
                    <a:lnTo>
                      <a:pt x="17" y="290"/>
                    </a:lnTo>
                    <a:lnTo>
                      <a:pt x="17" y="289"/>
                    </a:lnTo>
                    <a:lnTo>
                      <a:pt x="19" y="287"/>
                    </a:lnTo>
                    <a:lnTo>
                      <a:pt x="21" y="287"/>
                    </a:lnTo>
                    <a:lnTo>
                      <a:pt x="23" y="290"/>
                    </a:lnTo>
                    <a:lnTo>
                      <a:pt x="24" y="292"/>
                    </a:lnTo>
                    <a:lnTo>
                      <a:pt x="24" y="290"/>
                    </a:lnTo>
                    <a:lnTo>
                      <a:pt x="23" y="289"/>
                    </a:lnTo>
                    <a:lnTo>
                      <a:pt x="23" y="283"/>
                    </a:lnTo>
                    <a:lnTo>
                      <a:pt x="21" y="283"/>
                    </a:lnTo>
                    <a:lnTo>
                      <a:pt x="21" y="280"/>
                    </a:lnTo>
                    <a:lnTo>
                      <a:pt x="23" y="280"/>
                    </a:lnTo>
                    <a:lnTo>
                      <a:pt x="24" y="280"/>
                    </a:lnTo>
                    <a:lnTo>
                      <a:pt x="28" y="280"/>
                    </a:lnTo>
                    <a:lnTo>
                      <a:pt x="28" y="280"/>
                    </a:lnTo>
                    <a:lnTo>
                      <a:pt x="26" y="280"/>
                    </a:lnTo>
                    <a:lnTo>
                      <a:pt x="24" y="276"/>
                    </a:lnTo>
                    <a:lnTo>
                      <a:pt x="23" y="276"/>
                    </a:lnTo>
                    <a:lnTo>
                      <a:pt x="21" y="275"/>
                    </a:lnTo>
                    <a:lnTo>
                      <a:pt x="21" y="276"/>
                    </a:lnTo>
                    <a:lnTo>
                      <a:pt x="17" y="275"/>
                    </a:lnTo>
                    <a:lnTo>
                      <a:pt x="17" y="280"/>
                    </a:lnTo>
                    <a:lnTo>
                      <a:pt x="17" y="283"/>
                    </a:lnTo>
                    <a:lnTo>
                      <a:pt x="17" y="283"/>
                    </a:lnTo>
                    <a:lnTo>
                      <a:pt x="16" y="283"/>
                    </a:lnTo>
                    <a:lnTo>
                      <a:pt x="16" y="280"/>
                    </a:lnTo>
                    <a:lnTo>
                      <a:pt x="11" y="276"/>
                    </a:lnTo>
                    <a:lnTo>
                      <a:pt x="11" y="275"/>
                    </a:lnTo>
                    <a:lnTo>
                      <a:pt x="11" y="271"/>
                    </a:lnTo>
                    <a:lnTo>
                      <a:pt x="11" y="269"/>
                    </a:lnTo>
                    <a:lnTo>
                      <a:pt x="5" y="259"/>
                    </a:lnTo>
                    <a:lnTo>
                      <a:pt x="4" y="256"/>
                    </a:lnTo>
                    <a:lnTo>
                      <a:pt x="5" y="254"/>
                    </a:lnTo>
                    <a:lnTo>
                      <a:pt x="5" y="252"/>
                    </a:lnTo>
                    <a:lnTo>
                      <a:pt x="5" y="249"/>
                    </a:lnTo>
                    <a:lnTo>
                      <a:pt x="4" y="247"/>
                    </a:lnTo>
                    <a:lnTo>
                      <a:pt x="4" y="243"/>
                    </a:lnTo>
                    <a:lnTo>
                      <a:pt x="5" y="242"/>
                    </a:lnTo>
                    <a:lnTo>
                      <a:pt x="5" y="236"/>
                    </a:lnTo>
                    <a:lnTo>
                      <a:pt x="5" y="229"/>
                    </a:lnTo>
                    <a:lnTo>
                      <a:pt x="4" y="224"/>
                    </a:lnTo>
                    <a:lnTo>
                      <a:pt x="0" y="221"/>
                    </a:lnTo>
                    <a:lnTo>
                      <a:pt x="0" y="216"/>
                    </a:lnTo>
                    <a:lnTo>
                      <a:pt x="2" y="212"/>
                    </a:lnTo>
                    <a:lnTo>
                      <a:pt x="9" y="209"/>
                    </a:lnTo>
                    <a:lnTo>
                      <a:pt x="9" y="203"/>
                    </a:lnTo>
                    <a:lnTo>
                      <a:pt x="9" y="203"/>
                    </a:lnTo>
                    <a:lnTo>
                      <a:pt x="9" y="202"/>
                    </a:lnTo>
                    <a:lnTo>
                      <a:pt x="9" y="198"/>
                    </a:lnTo>
                    <a:lnTo>
                      <a:pt x="11" y="196"/>
                    </a:lnTo>
                    <a:lnTo>
                      <a:pt x="11" y="189"/>
                    </a:lnTo>
                    <a:lnTo>
                      <a:pt x="11" y="184"/>
                    </a:lnTo>
                    <a:lnTo>
                      <a:pt x="11" y="181"/>
                    </a:lnTo>
                    <a:lnTo>
                      <a:pt x="12" y="179"/>
                    </a:lnTo>
                    <a:lnTo>
                      <a:pt x="9" y="176"/>
                    </a:lnTo>
                    <a:lnTo>
                      <a:pt x="9" y="170"/>
                    </a:lnTo>
                    <a:lnTo>
                      <a:pt x="11" y="165"/>
                    </a:lnTo>
                    <a:lnTo>
                      <a:pt x="11" y="158"/>
                    </a:lnTo>
                    <a:lnTo>
                      <a:pt x="12" y="155"/>
                    </a:lnTo>
                    <a:lnTo>
                      <a:pt x="16" y="151"/>
                    </a:lnTo>
                    <a:lnTo>
                      <a:pt x="17" y="146"/>
                    </a:lnTo>
                    <a:lnTo>
                      <a:pt x="19" y="144"/>
                    </a:lnTo>
                    <a:lnTo>
                      <a:pt x="21" y="139"/>
                    </a:lnTo>
                    <a:lnTo>
                      <a:pt x="24" y="136"/>
                    </a:lnTo>
                    <a:lnTo>
                      <a:pt x="28" y="130"/>
                    </a:lnTo>
                    <a:lnTo>
                      <a:pt x="28" y="122"/>
                    </a:lnTo>
                    <a:lnTo>
                      <a:pt x="33" y="115"/>
                    </a:lnTo>
                    <a:lnTo>
                      <a:pt x="33" y="106"/>
                    </a:lnTo>
                    <a:lnTo>
                      <a:pt x="37" y="96"/>
                    </a:lnTo>
                    <a:lnTo>
                      <a:pt x="38" y="92"/>
                    </a:lnTo>
                    <a:lnTo>
                      <a:pt x="42" y="89"/>
                    </a:lnTo>
                    <a:lnTo>
                      <a:pt x="42" y="85"/>
                    </a:lnTo>
                    <a:lnTo>
                      <a:pt x="42" y="80"/>
                    </a:lnTo>
                    <a:lnTo>
                      <a:pt x="45" y="78"/>
                    </a:lnTo>
                    <a:lnTo>
                      <a:pt x="45" y="75"/>
                    </a:lnTo>
                    <a:lnTo>
                      <a:pt x="45" y="75"/>
                    </a:lnTo>
                    <a:lnTo>
                      <a:pt x="49" y="75"/>
                    </a:lnTo>
                    <a:lnTo>
                      <a:pt x="54" y="76"/>
                    </a:lnTo>
                    <a:lnTo>
                      <a:pt x="56" y="78"/>
                    </a:lnTo>
                    <a:lnTo>
                      <a:pt x="59" y="76"/>
                    </a:lnTo>
                    <a:lnTo>
                      <a:pt x="61" y="80"/>
                    </a:lnTo>
                    <a:lnTo>
                      <a:pt x="63" y="83"/>
                    </a:lnTo>
                    <a:lnTo>
                      <a:pt x="63" y="78"/>
                    </a:lnTo>
                    <a:lnTo>
                      <a:pt x="59" y="76"/>
                    </a:lnTo>
                    <a:lnTo>
                      <a:pt x="56" y="76"/>
                    </a:lnTo>
                    <a:lnTo>
                      <a:pt x="56" y="73"/>
                    </a:lnTo>
                    <a:lnTo>
                      <a:pt x="50" y="73"/>
                    </a:lnTo>
                    <a:lnTo>
                      <a:pt x="45" y="71"/>
                    </a:lnTo>
                    <a:lnTo>
                      <a:pt x="45" y="70"/>
                    </a:lnTo>
                    <a:lnTo>
                      <a:pt x="45" y="70"/>
                    </a:lnTo>
                    <a:lnTo>
                      <a:pt x="47" y="70"/>
                    </a:lnTo>
                    <a:lnTo>
                      <a:pt x="49" y="66"/>
                    </a:lnTo>
                    <a:lnTo>
                      <a:pt x="49" y="64"/>
                    </a:lnTo>
                    <a:lnTo>
                      <a:pt x="50" y="61"/>
                    </a:lnTo>
                    <a:lnTo>
                      <a:pt x="47" y="61"/>
                    </a:lnTo>
                    <a:lnTo>
                      <a:pt x="45" y="57"/>
                    </a:lnTo>
                    <a:lnTo>
                      <a:pt x="47" y="56"/>
                    </a:lnTo>
                    <a:lnTo>
                      <a:pt x="49" y="56"/>
                    </a:lnTo>
                    <a:lnTo>
                      <a:pt x="50" y="54"/>
                    </a:lnTo>
                    <a:lnTo>
                      <a:pt x="50" y="52"/>
                    </a:lnTo>
                    <a:lnTo>
                      <a:pt x="47" y="52"/>
                    </a:lnTo>
                    <a:lnTo>
                      <a:pt x="47" y="50"/>
                    </a:lnTo>
                    <a:lnTo>
                      <a:pt x="49" y="45"/>
                    </a:lnTo>
                    <a:lnTo>
                      <a:pt x="47" y="40"/>
                    </a:lnTo>
                    <a:lnTo>
                      <a:pt x="49" y="33"/>
                    </a:lnTo>
                    <a:lnTo>
                      <a:pt x="47" y="26"/>
                    </a:lnTo>
                    <a:lnTo>
                      <a:pt x="47" y="23"/>
                    </a:lnTo>
                    <a:lnTo>
                      <a:pt x="50" y="16"/>
                    </a:lnTo>
                    <a:lnTo>
                      <a:pt x="50" y="12"/>
                    </a:lnTo>
                    <a:lnTo>
                      <a:pt x="52" y="12"/>
                    </a:lnTo>
                    <a:lnTo>
                      <a:pt x="59" y="19"/>
                    </a:lnTo>
                    <a:lnTo>
                      <a:pt x="63" y="23"/>
                    </a:lnTo>
                    <a:lnTo>
                      <a:pt x="71" y="23"/>
                    </a:lnTo>
                    <a:lnTo>
                      <a:pt x="73" y="24"/>
                    </a:lnTo>
                    <a:lnTo>
                      <a:pt x="75" y="28"/>
                    </a:lnTo>
                    <a:lnTo>
                      <a:pt x="77" y="26"/>
                    </a:lnTo>
                    <a:lnTo>
                      <a:pt x="78" y="26"/>
                    </a:lnTo>
                    <a:lnTo>
                      <a:pt x="78" y="30"/>
                    </a:lnTo>
                    <a:lnTo>
                      <a:pt x="78" y="30"/>
                    </a:lnTo>
                    <a:lnTo>
                      <a:pt x="75" y="33"/>
                    </a:lnTo>
                    <a:lnTo>
                      <a:pt x="71" y="35"/>
                    </a:lnTo>
                    <a:lnTo>
                      <a:pt x="71" y="38"/>
                    </a:lnTo>
                    <a:lnTo>
                      <a:pt x="75" y="38"/>
                    </a:lnTo>
                    <a:lnTo>
                      <a:pt x="77" y="33"/>
                    </a:lnTo>
                    <a:lnTo>
                      <a:pt x="78" y="33"/>
                    </a:lnTo>
                    <a:lnTo>
                      <a:pt x="82" y="30"/>
                    </a:lnTo>
                    <a:lnTo>
                      <a:pt x="82" y="33"/>
                    </a:lnTo>
                    <a:lnTo>
                      <a:pt x="78" y="35"/>
                    </a:lnTo>
                    <a:lnTo>
                      <a:pt x="77" y="40"/>
                    </a:lnTo>
                    <a:lnTo>
                      <a:pt x="77" y="43"/>
                    </a:lnTo>
                    <a:lnTo>
                      <a:pt x="77" y="45"/>
                    </a:lnTo>
                    <a:lnTo>
                      <a:pt x="75" y="43"/>
                    </a:lnTo>
                    <a:lnTo>
                      <a:pt x="73" y="45"/>
                    </a:lnTo>
                    <a:lnTo>
                      <a:pt x="71" y="43"/>
                    </a:lnTo>
                    <a:lnTo>
                      <a:pt x="70" y="47"/>
                    </a:lnTo>
                    <a:lnTo>
                      <a:pt x="71" y="49"/>
                    </a:lnTo>
                    <a:lnTo>
                      <a:pt x="73" y="50"/>
                    </a:lnTo>
                    <a:lnTo>
                      <a:pt x="78" y="47"/>
                    </a:lnTo>
                    <a:lnTo>
                      <a:pt x="78" y="43"/>
                    </a:lnTo>
                    <a:lnTo>
                      <a:pt x="78" y="42"/>
                    </a:lnTo>
                    <a:lnTo>
                      <a:pt x="78" y="38"/>
                    </a:lnTo>
                    <a:lnTo>
                      <a:pt x="82" y="38"/>
                    </a:lnTo>
                    <a:lnTo>
                      <a:pt x="82" y="33"/>
                    </a:lnTo>
                    <a:lnTo>
                      <a:pt x="85" y="30"/>
                    </a:lnTo>
                    <a:lnTo>
                      <a:pt x="90" y="28"/>
                    </a:lnTo>
                    <a:lnTo>
                      <a:pt x="87" y="26"/>
                    </a:lnTo>
                    <a:lnTo>
                      <a:pt x="87" y="23"/>
                    </a:lnTo>
                    <a:lnTo>
                      <a:pt x="85" y="23"/>
                    </a:lnTo>
                    <a:lnTo>
                      <a:pt x="87" y="19"/>
                    </a:lnTo>
                    <a:lnTo>
                      <a:pt x="90" y="17"/>
                    </a:lnTo>
                    <a:lnTo>
                      <a:pt x="85" y="16"/>
                    </a:lnTo>
                    <a:lnTo>
                      <a:pt x="85" y="12"/>
                    </a:lnTo>
                    <a:lnTo>
                      <a:pt x="90" y="10"/>
                    </a:lnTo>
                    <a:lnTo>
                      <a:pt x="90" y="10"/>
                    </a:lnTo>
                    <a:lnTo>
                      <a:pt x="85" y="7"/>
                    </a:lnTo>
                    <a:lnTo>
                      <a:pt x="85" y="0"/>
                    </a:lnTo>
                    <a:lnTo>
                      <a:pt x="85" y="0"/>
                    </a:lnTo>
                    <a:lnTo>
                      <a:pt x="85" y="0"/>
                    </a:lnTo>
                    <a:lnTo>
                      <a:pt x="85" y="0"/>
                    </a:lnTo>
                    <a:close/>
                    <a:moveTo>
                      <a:pt x="883" y="243"/>
                    </a:moveTo>
                    <a:lnTo>
                      <a:pt x="883" y="243"/>
                    </a:lnTo>
                    <a:lnTo>
                      <a:pt x="888" y="243"/>
                    </a:lnTo>
                    <a:lnTo>
                      <a:pt x="888" y="243"/>
                    </a:lnTo>
                    <a:lnTo>
                      <a:pt x="890" y="243"/>
                    </a:lnTo>
                    <a:lnTo>
                      <a:pt x="888" y="242"/>
                    </a:lnTo>
                    <a:lnTo>
                      <a:pt x="884" y="242"/>
                    </a:lnTo>
                    <a:lnTo>
                      <a:pt x="884" y="242"/>
                    </a:lnTo>
                    <a:lnTo>
                      <a:pt x="883" y="243"/>
                    </a:lnTo>
                    <a:lnTo>
                      <a:pt x="883" y="243"/>
                    </a:lnTo>
                    <a:lnTo>
                      <a:pt x="883" y="243"/>
                    </a:lnTo>
                    <a:lnTo>
                      <a:pt x="883" y="243"/>
                    </a:lnTo>
                    <a:close/>
                    <a:moveTo>
                      <a:pt x="831" y="257"/>
                    </a:moveTo>
                    <a:lnTo>
                      <a:pt x="829" y="257"/>
                    </a:lnTo>
                    <a:lnTo>
                      <a:pt x="834" y="257"/>
                    </a:lnTo>
                    <a:lnTo>
                      <a:pt x="834" y="256"/>
                    </a:lnTo>
                    <a:lnTo>
                      <a:pt x="838" y="256"/>
                    </a:lnTo>
                    <a:lnTo>
                      <a:pt x="841" y="256"/>
                    </a:lnTo>
                    <a:lnTo>
                      <a:pt x="846" y="254"/>
                    </a:lnTo>
                    <a:lnTo>
                      <a:pt x="848" y="254"/>
                    </a:lnTo>
                    <a:lnTo>
                      <a:pt x="853" y="254"/>
                    </a:lnTo>
                    <a:lnTo>
                      <a:pt x="857" y="252"/>
                    </a:lnTo>
                    <a:lnTo>
                      <a:pt x="857" y="252"/>
                    </a:lnTo>
                    <a:lnTo>
                      <a:pt x="862" y="252"/>
                    </a:lnTo>
                    <a:lnTo>
                      <a:pt x="864" y="249"/>
                    </a:lnTo>
                    <a:lnTo>
                      <a:pt x="860" y="252"/>
                    </a:lnTo>
                    <a:lnTo>
                      <a:pt x="860" y="249"/>
                    </a:lnTo>
                    <a:lnTo>
                      <a:pt x="857" y="252"/>
                    </a:lnTo>
                    <a:lnTo>
                      <a:pt x="857" y="249"/>
                    </a:lnTo>
                    <a:lnTo>
                      <a:pt x="857" y="249"/>
                    </a:lnTo>
                    <a:lnTo>
                      <a:pt x="857" y="249"/>
                    </a:lnTo>
                    <a:lnTo>
                      <a:pt x="853" y="249"/>
                    </a:lnTo>
                    <a:lnTo>
                      <a:pt x="848" y="249"/>
                    </a:lnTo>
                    <a:lnTo>
                      <a:pt x="843" y="252"/>
                    </a:lnTo>
                    <a:lnTo>
                      <a:pt x="839" y="252"/>
                    </a:lnTo>
                    <a:lnTo>
                      <a:pt x="834" y="252"/>
                    </a:lnTo>
                    <a:lnTo>
                      <a:pt x="831" y="252"/>
                    </a:lnTo>
                    <a:lnTo>
                      <a:pt x="829" y="256"/>
                    </a:lnTo>
                    <a:lnTo>
                      <a:pt x="829" y="257"/>
                    </a:lnTo>
                    <a:lnTo>
                      <a:pt x="831" y="257"/>
                    </a:lnTo>
                    <a:lnTo>
                      <a:pt x="831" y="257"/>
                    </a:lnTo>
                    <a:lnTo>
                      <a:pt x="831" y="257"/>
                    </a:lnTo>
                    <a:lnTo>
                      <a:pt x="831" y="257"/>
                    </a:lnTo>
                    <a:close/>
                    <a:moveTo>
                      <a:pt x="85" y="17"/>
                    </a:moveTo>
                    <a:lnTo>
                      <a:pt x="82" y="19"/>
                    </a:lnTo>
                    <a:lnTo>
                      <a:pt x="82" y="24"/>
                    </a:lnTo>
                    <a:lnTo>
                      <a:pt x="82" y="30"/>
                    </a:lnTo>
                    <a:lnTo>
                      <a:pt x="85" y="30"/>
                    </a:lnTo>
                    <a:lnTo>
                      <a:pt x="82" y="23"/>
                    </a:lnTo>
                    <a:lnTo>
                      <a:pt x="82" y="19"/>
                    </a:lnTo>
                    <a:lnTo>
                      <a:pt x="85" y="19"/>
                    </a:lnTo>
                    <a:lnTo>
                      <a:pt x="85" y="17"/>
                    </a:lnTo>
                    <a:lnTo>
                      <a:pt x="85" y="17"/>
                    </a:lnTo>
                    <a:lnTo>
                      <a:pt x="85" y="17"/>
                    </a:lnTo>
                    <a:lnTo>
                      <a:pt x="85" y="17"/>
                    </a:lnTo>
                    <a:close/>
                    <a:moveTo>
                      <a:pt x="408" y="516"/>
                    </a:moveTo>
                    <a:lnTo>
                      <a:pt x="408" y="513"/>
                    </a:lnTo>
                    <a:lnTo>
                      <a:pt x="412" y="511"/>
                    </a:lnTo>
                    <a:lnTo>
                      <a:pt x="414" y="508"/>
                    </a:lnTo>
                    <a:lnTo>
                      <a:pt x="412" y="509"/>
                    </a:lnTo>
                    <a:lnTo>
                      <a:pt x="408" y="516"/>
                    </a:lnTo>
                    <a:lnTo>
                      <a:pt x="408" y="516"/>
                    </a:lnTo>
                    <a:lnTo>
                      <a:pt x="408" y="516"/>
                    </a:lnTo>
                    <a:lnTo>
                      <a:pt x="408" y="516"/>
                    </a:lnTo>
                    <a:close/>
                    <a:moveTo>
                      <a:pt x="403" y="525"/>
                    </a:moveTo>
                    <a:lnTo>
                      <a:pt x="405" y="525"/>
                    </a:lnTo>
                    <a:lnTo>
                      <a:pt x="407" y="520"/>
                    </a:lnTo>
                    <a:lnTo>
                      <a:pt x="407" y="516"/>
                    </a:lnTo>
                    <a:lnTo>
                      <a:pt x="403" y="525"/>
                    </a:lnTo>
                    <a:lnTo>
                      <a:pt x="403" y="525"/>
                    </a:lnTo>
                    <a:lnTo>
                      <a:pt x="403" y="525"/>
                    </a:lnTo>
                    <a:lnTo>
                      <a:pt x="403" y="525"/>
                    </a:lnTo>
                    <a:close/>
                    <a:moveTo>
                      <a:pt x="400" y="548"/>
                    </a:moveTo>
                    <a:lnTo>
                      <a:pt x="400" y="542"/>
                    </a:lnTo>
                    <a:lnTo>
                      <a:pt x="400" y="536"/>
                    </a:lnTo>
                    <a:lnTo>
                      <a:pt x="403" y="527"/>
                    </a:lnTo>
                    <a:lnTo>
                      <a:pt x="400" y="534"/>
                    </a:lnTo>
                    <a:lnTo>
                      <a:pt x="400" y="542"/>
                    </a:lnTo>
                    <a:lnTo>
                      <a:pt x="400" y="542"/>
                    </a:lnTo>
                    <a:lnTo>
                      <a:pt x="400" y="548"/>
                    </a:lnTo>
                    <a:lnTo>
                      <a:pt x="400" y="548"/>
                    </a:lnTo>
                    <a:lnTo>
                      <a:pt x="400" y="548"/>
                    </a:lnTo>
                    <a:lnTo>
                      <a:pt x="400" y="548"/>
                    </a:lnTo>
                    <a:close/>
                  </a:path>
                </a:pathLst>
              </a:custGeom>
              <a:solidFill>
                <a:srgbClr val="0098C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67" name="Groupe 211"/>
            <p:cNvGrpSpPr/>
            <p:nvPr/>
          </p:nvGrpSpPr>
          <p:grpSpPr>
            <a:xfrm>
              <a:off x="1382713" y="3289301"/>
              <a:ext cx="2152650" cy="2760662"/>
              <a:chOff x="1382713" y="3289301"/>
              <a:chExt cx="2152650" cy="2760662"/>
            </a:xfrm>
          </p:grpSpPr>
          <p:sp>
            <p:nvSpPr>
              <p:cNvPr id="659" name="Freeform 42"/>
              <p:cNvSpPr>
                <a:spLocks/>
              </p:cNvSpPr>
              <p:nvPr/>
            </p:nvSpPr>
            <p:spPr bwMode="auto">
              <a:xfrm>
                <a:off x="1990725" y="3770313"/>
                <a:ext cx="107950" cy="115888"/>
              </a:xfrm>
              <a:custGeom>
                <a:avLst/>
                <a:gdLst/>
                <a:ahLst/>
                <a:cxnLst>
                  <a:cxn ang="0">
                    <a:pos x="35" y="73"/>
                  </a:cxn>
                  <a:cxn ang="0">
                    <a:pos x="37" y="67"/>
                  </a:cxn>
                  <a:cxn ang="0">
                    <a:pos x="46" y="64"/>
                  </a:cxn>
                  <a:cxn ang="0">
                    <a:pos x="49" y="61"/>
                  </a:cxn>
                  <a:cxn ang="0">
                    <a:pos x="51" y="54"/>
                  </a:cxn>
                  <a:cxn ang="0">
                    <a:pos x="60" y="45"/>
                  </a:cxn>
                  <a:cxn ang="0">
                    <a:pos x="65" y="41"/>
                  </a:cxn>
                  <a:cxn ang="0">
                    <a:pos x="68" y="38"/>
                  </a:cxn>
                  <a:cxn ang="0">
                    <a:pos x="68" y="34"/>
                  </a:cxn>
                  <a:cxn ang="0">
                    <a:pos x="63" y="38"/>
                  </a:cxn>
                  <a:cxn ang="0">
                    <a:pos x="60" y="34"/>
                  </a:cxn>
                  <a:cxn ang="0">
                    <a:pos x="56" y="33"/>
                  </a:cxn>
                  <a:cxn ang="0">
                    <a:pos x="53" y="33"/>
                  </a:cxn>
                  <a:cxn ang="0">
                    <a:pos x="53" y="0"/>
                  </a:cxn>
                  <a:cxn ang="0">
                    <a:pos x="23" y="10"/>
                  </a:cxn>
                  <a:cxn ang="0">
                    <a:pos x="20" y="12"/>
                  </a:cxn>
                  <a:cxn ang="0">
                    <a:pos x="23" y="17"/>
                  </a:cxn>
                  <a:cxn ang="0">
                    <a:pos x="27" y="19"/>
                  </a:cxn>
                  <a:cxn ang="0">
                    <a:pos x="28" y="22"/>
                  </a:cxn>
                  <a:cxn ang="0">
                    <a:pos x="33" y="26"/>
                  </a:cxn>
                  <a:cxn ang="0">
                    <a:pos x="35" y="27"/>
                  </a:cxn>
                  <a:cxn ang="0">
                    <a:pos x="11" y="31"/>
                  </a:cxn>
                  <a:cxn ang="0">
                    <a:pos x="2" y="50"/>
                  </a:cxn>
                  <a:cxn ang="0">
                    <a:pos x="2" y="54"/>
                  </a:cxn>
                  <a:cxn ang="0">
                    <a:pos x="4" y="54"/>
                  </a:cxn>
                  <a:cxn ang="0">
                    <a:pos x="2" y="57"/>
                  </a:cxn>
                  <a:cxn ang="0">
                    <a:pos x="0" y="59"/>
                  </a:cxn>
                  <a:cxn ang="0">
                    <a:pos x="6" y="64"/>
                  </a:cxn>
                  <a:cxn ang="0">
                    <a:pos x="9" y="69"/>
                  </a:cxn>
                  <a:cxn ang="0">
                    <a:pos x="23" y="73"/>
                  </a:cxn>
                  <a:cxn ang="0">
                    <a:pos x="33" y="73"/>
                  </a:cxn>
                  <a:cxn ang="0">
                    <a:pos x="33" y="73"/>
                  </a:cxn>
                </a:cxnLst>
                <a:rect l="0" t="0" r="r" b="b"/>
                <a:pathLst>
                  <a:path w="68" h="73">
                    <a:moveTo>
                      <a:pt x="33" y="73"/>
                    </a:moveTo>
                    <a:lnTo>
                      <a:pt x="35" y="73"/>
                    </a:lnTo>
                    <a:lnTo>
                      <a:pt x="35" y="71"/>
                    </a:lnTo>
                    <a:lnTo>
                      <a:pt x="37" y="67"/>
                    </a:lnTo>
                    <a:lnTo>
                      <a:pt x="42" y="64"/>
                    </a:lnTo>
                    <a:lnTo>
                      <a:pt x="46" y="64"/>
                    </a:lnTo>
                    <a:lnTo>
                      <a:pt x="46" y="64"/>
                    </a:lnTo>
                    <a:lnTo>
                      <a:pt x="49" y="61"/>
                    </a:lnTo>
                    <a:lnTo>
                      <a:pt x="53" y="55"/>
                    </a:lnTo>
                    <a:lnTo>
                      <a:pt x="51" y="54"/>
                    </a:lnTo>
                    <a:lnTo>
                      <a:pt x="54" y="50"/>
                    </a:lnTo>
                    <a:lnTo>
                      <a:pt x="60" y="45"/>
                    </a:lnTo>
                    <a:lnTo>
                      <a:pt x="60" y="45"/>
                    </a:lnTo>
                    <a:lnTo>
                      <a:pt x="65" y="41"/>
                    </a:lnTo>
                    <a:lnTo>
                      <a:pt x="66" y="40"/>
                    </a:lnTo>
                    <a:lnTo>
                      <a:pt x="68" y="38"/>
                    </a:lnTo>
                    <a:lnTo>
                      <a:pt x="68" y="36"/>
                    </a:lnTo>
                    <a:lnTo>
                      <a:pt x="68" y="34"/>
                    </a:lnTo>
                    <a:lnTo>
                      <a:pt x="65" y="34"/>
                    </a:lnTo>
                    <a:lnTo>
                      <a:pt x="63" y="38"/>
                    </a:lnTo>
                    <a:lnTo>
                      <a:pt x="63" y="34"/>
                    </a:lnTo>
                    <a:lnTo>
                      <a:pt x="60" y="34"/>
                    </a:lnTo>
                    <a:lnTo>
                      <a:pt x="58" y="33"/>
                    </a:lnTo>
                    <a:lnTo>
                      <a:pt x="56" y="33"/>
                    </a:lnTo>
                    <a:lnTo>
                      <a:pt x="56" y="33"/>
                    </a:lnTo>
                    <a:lnTo>
                      <a:pt x="53" y="33"/>
                    </a:lnTo>
                    <a:lnTo>
                      <a:pt x="53" y="0"/>
                    </a:lnTo>
                    <a:lnTo>
                      <a:pt x="53" y="0"/>
                    </a:lnTo>
                    <a:lnTo>
                      <a:pt x="23" y="0"/>
                    </a:lnTo>
                    <a:lnTo>
                      <a:pt x="23" y="10"/>
                    </a:lnTo>
                    <a:lnTo>
                      <a:pt x="16" y="10"/>
                    </a:lnTo>
                    <a:lnTo>
                      <a:pt x="20" y="12"/>
                    </a:lnTo>
                    <a:lnTo>
                      <a:pt x="20" y="14"/>
                    </a:lnTo>
                    <a:lnTo>
                      <a:pt x="23" y="17"/>
                    </a:lnTo>
                    <a:lnTo>
                      <a:pt x="27" y="19"/>
                    </a:lnTo>
                    <a:lnTo>
                      <a:pt x="27" y="19"/>
                    </a:lnTo>
                    <a:lnTo>
                      <a:pt x="28" y="22"/>
                    </a:lnTo>
                    <a:lnTo>
                      <a:pt x="28" y="22"/>
                    </a:lnTo>
                    <a:lnTo>
                      <a:pt x="30" y="26"/>
                    </a:lnTo>
                    <a:lnTo>
                      <a:pt x="33" y="26"/>
                    </a:lnTo>
                    <a:lnTo>
                      <a:pt x="35" y="26"/>
                    </a:lnTo>
                    <a:lnTo>
                      <a:pt x="35" y="27"/>
                    </a:lnTo>
                    <a:lnTo>
                      <a:pt x="33" y="31"/>
                    </a:lnTo>
                    <a:lnTo>
                      <a:pt x="11" y="31"/>
                    </a:lnTo>
                    <a:lnTo>
                      <a:pt x="2" y="48"/>
                    </a:lnTo>
                    <a:lnTo>
                      <a:pt x="2" y="50"/>
                    </a:lnTo>
                    <a:lnTo>
                      <a:pt x="2" y="50"/>
                    </a:lnTo>
                    <a:lnTo>
                      <a:pt x="2" y="54"/>
                    </a:lnTo>
                    <a:lnTo>
                      <a:pt x="4" y="54"/>
                    </a:lnTo>
                    <a:lnTo>
                      <a:pt x="4" y="54"/>
                    </a:lnTo>
                    <a:lnTo>
                      <a:pt x="4" y="55"/>
                    </a:lnTo>
                    <a:lnTo>
                      <a:pt x="2" y="57"/>
                    </a:lnTo>
                    <a:lnTo>
                      <a:pt x="0" y="59"/>
                    </a:lnTo>
                    <a:lnTo>
                      <a:pt x="0" y="59"/>
                    </a:lnTo>
                    <a:lnTo>
                      <a:pt x="4" y="62"/>
                    </a:lnTo>
                    <a:lnTo>
                      <a:pt x="6" y="64"/>
                    </a:lnTo>
                    <a:lnTo>
                      <a:pt x="9" y="64"/>
                    </a:lnTo>
                    <a:lnTo>
                      <a:pt x="9" y="69"/>
                    </a:lnTo>
                    <a:lnTo>
                      <a:pt x="20" y="73"/>
                    </a:lnTo>
                    <a:lnTo>
                      <a:pt x="23" y="73"/>
                    </a:lnTo>
                    <a:lnTo>
                      <a:pt x="27" y="73"/>
                    </a:lnTo>
                    <a:lnTo>
                      <a:pt x="33" y="73"/>
                    </a:lnTo>
                    <a:lnTo>
                      <a:pt x="33" y="73"/>
                    </a:lnTo>
                    <a:lnTo>
                      <a:pt x="33" y="73"/>
                    </a:lnTo>
                    <a:close/>
                  </a:path>
                </a:pathLst>
              </a:custGeom>
              <a:solidFill>
                <a:srgbClr val="B70C3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0" name="Freeform 43"/>
              <p:cNvSpPr>
                <a:spLocks noEditPoints="1"/>
              </p:cNvSpPr>
              <p:nvPr/>
            </p:nvSpPr>
            <p:spPr bwMode="auto">
              <a:xfrm>
                <a:off x="1382713" y="3289301"/>
                <a:ext cx="771525" cy="574675"/>
              </a:xfrm>
              <a:custGeom>
                <a:avLst/>
                <a:gdLst/>
                <a:ahLst/>
                <a:cxnLst>
                  <a:cxn ang="0">
                    <a:pos x="182" y="35"/>
                  </a:cxn>
                  <a:cxn ang="0">
                    <a:pos x="196" y="49"/>
                  </a:cxn>
                  <a:cxn ang="0">
                    <a:pos x="201" y="71"/>
                  </a:cxn>
                  <a:cxn ang="0">
                    <a:pos x="215" y="80"/>
                  </a:cxn>
                  <a:cxn ang="0">
                    <a:pos x="231" y="80"/>
                  </a:cxn>
                  <a:cxn ang="0">
                    <a:pos x="251" y="70"/>
                  </a:cxn>
                  <a:cxn ang="0">
                    <a:pos x="269" y="92"/>
                  </a:cxn>
                  <a:cxn ang="0">
                    <a:pos x="283" y="122"/>
                  </a:cxn>
                  <a:cxn ang="0">
                    <a:pos x="302" y="148"/>
                  </a:cxn>
                  <a:cxn ang="0">
                    <a:pos x="314" y="153"/>
                  </a:cxn>
                  <a:cxn ang="0">
                    <a:pos x="305" y="171"/>
                  </a:cxn>
                  <a:cxn ang="0">
                    <a:pos x="298" y="214"/>
                  </a:cxn>
                  <a:cxn ang="0">
                    <a:pos x="304" y="242"/>
                  </a:cxn>
                  <a:cxn ang="0">
                    <a:pos x="331" y="284"/>
                  </a:cxn>
                  <a:cxn ang="0">
                    <a:pos x="368" y="290"/>
                  </a:cxn>
                  <a:cxn ang="0">
                    <a:pos x="397" y="294"/>
                  </a:cxn>
                  <a:cxn ang="0">
                    <a:pos x="413" y="270"/>
                  </a:cxn>
                  <a:cxn ang="0">
                    <a:pos x="458" y="235"/>
                  </a:cxn>
                  <a:cxn ang="0">
                    <a:pos x="479" y="252"/>
                  </a:cxn>
                  <a:cxn ang="0">
                    <a:pos x="467" y="278"/>
                  </a:cxn>
                  <a:cxn ang="0">
                    <a:pos x="460" y="285"/>
                  </a:cxn>
                  <a:cxn ang="0">
                    <a:pos x="441" y="303"/>
                  </a:cxn>
                  <a:cxn ang="0">
                    <a:pos x="403" y="317"/>
                  </a:cxn>
                  <a:cxn ang="0">
                    <a:pos x="392" y="334"/>
                  </a:cxn>
                  <a:cxn ang="0">
                    <a:pos x="378" y="358"/>
                  </a:cxn>
                  <a:cxn ang="0">
                    <a:pos x="345" y="330"/>
                  </a:cxn>
                  <a:cxn ang="0">
                    <a:pos x="345" y="330"/>
                  </a:cxn>
                  <a:cxn ang="0">
                    <a:pos x="338" y="334"/>
                  </a:cxn>
                  <a:cxn ang="0">
                    <a:pos x="283" y="332"/>
                  </a:cxn>
                  <a:cxn ang="0">
                    <a:pos x="246" y="317"/>
                  </a:cxn>
                  <a:cxn ang="0">
                    <a:pos x="203" y="297"/>
                  </a:cxn>
                  <a:cxn ang="0">
                    <a:pos x="173" y="277"/>
                  </a:cxn>
                  <a:cxn ang="0">
                    <a:pos x="166" y="252"/>
                  </a:cxn>
                  <a:cxn ang="0">
                    <a:pos x="165" y="216"/>
                  </a:cxn>
                  <a:cxn ang="0">
                    <a:pos x="130" y="172"/>
                  </a:cxn>
                  <a:cxn ang="0">
                    <a:pos x="111" y="150"/>
                  </a:cxn>
                  <a:cxn ang="0">
                    <a:pos x="114" y="134"/>
                  </a:cxn>
                  <a:cxn ang="0">
                    <a:pos x="93" y="108"/>
                  </a:cxn>
                  <a:cxn ang="0">
                    <a:pos x="76" y="91"/>
                  </a:cxn>
                  <a:cxn ang="0">
                    <a:pos x="64" y="61"/>
                  </a:cxn>
                  <a:cxn ang="0">
                    <a:pos x="53" y="30"/>
                  </a:cxn>
                  <a:cxn ang="0">
                    <a:pos x="34" y="35"/>
                  </a:cxn>
                  <a:cxn ang="0">
                    <a:pos x="48" y="80"/>
                  </a:cxn>
                  <a:cxn ang="0">
                    <a:pos x="64" y="106"/>
                  </a:cxn>
                  <a:cxn ang="0">
                    <a:pos x="74" y="125"/>
                  </a:cxn>
                  <a:cxn ang="0">
                    <a:pos x="83" y="157"/>
                  </a:cxn>
                  <a:cxn ang="0">
                    <a:pos x="92" y="176"/>
                  </a:cxn>
                  <a:cxn ang="0">
                    <a:pos x="97" y="204"/>
                  </a:cxn>
                  <a:cxn ang="0">
                    <a:pos x="71" y="172"/>
                  </a:cxn>
                  <a:cxn ang="0">
                    <a:pos x="59" y="136"/>
                  </a:cxn>
                  <a:cxn ang="0">
                    <a:pos x="41" y="122"/>
                  </a:cxn>
                  <a:cxn ang="0">
                    <a:pos x="26" y="103"/>
                  </a:cxn>
                  <a:cxn ang="0">
                    <a:pos x="36" y="94"/>
                  </a:cxn>
                  <a:cxn ang="0">
                    <a:pos x="17" y="64"/>
                  </a:cxn>
                  <a:cxn ang="0">
                    <a:pos x="10" y="33"/>
                  </a:cxn>
                  <a:cxn ang="0">
                    <a:pos x="0" y="4"/>
                  </a:cxn>
                  <a:cxn ang="0">
                    <a:pos x="90" y="172"/>
                  </a:cxn>
                  <a:cxn ang="0">
                    <a:pos x="307" y="165"/>
                  </a:cxn>
                  <a:cxn ang="0">
                    <a:pos x="307" y="172"/>
                  </a:cxn>
                </a:cxnLst>
                <a:rect l="0" t="0" r="r" b="b"/>
                <a:pathLst>
                  <a:path w="486" h="362">
                    <a:moveTo>
                      <a:pt x="0" y="4"/>
                    </a:moveTo>
                    <a:lnTo>
                      <a:pt x="39" y="0"/>
                    </a:lnTo>
                    <a:lnTo>
                      <a:pt x="41" y="4"/>
                    </a:lnTo>
                    <a:lnTo>
                      <a:pt x="39" y="4"/>
                    </a:lnTo>
                    <a:lnTo>
                      <a:pt x="98" y="30"/>
                    </a:lnTo>
                    <a:lnTo>
                      <a:pt x="147" y="31"/>
                    </a:lnTo>
                    <a:lnTo>
                      <a:pt x="147" y="26"/>
                    </a:lnTo>
                    <a:lnTo>
                      <a:pt x="173" y="26"/>
                    </a:lnTo>
                    <a:lnTo>
                      <a:pt x="178" y="30"/>
                    </a:lnTo>
                    <a:lnTo>
                      <a:pt x="180" y="31"/>
                    </a:lnTo>
                    <a:lnTo>
                      <a:pt x="182" y="35"/>
                    </a:lnTo>
                    <a:lnTo>
                      <a:pt x="182" y="35"/>
                    </a:lnTo>
                    <a:lnTo>
                      <a:pt x="184" y="35"/>
                    </a:lnTo>
                    <a:lnTo>
                      <a:pt x="185" y="38"/>
                    </a:lnTo>
                    <a:lnTo>
                      <a:pt x="184" y="40"/>
                    </a:lnTo>
                    <a:lnTo>
                      <a:pt x="187" y="42"/>
                    </a:lnTo>
                    <a:lnTo>
                      <a:pt x="189" y="44"/>
                    </a:lnTo>
                    <a:lnTo>
                      <a:pt x="189" y="45"/>
                    </a:lnTo>
                    <a:lnTo>
                      <a:pt x="189" y="45"/>
                    </a:lnTo>
                    <a:lnTo>
                      <a:pt x="189" y="45"/>
                    </a:lnTo>
                    <a:lnTo>
                      <a:pt x="192" y="49"/>
                    </a:lnTo>
                    <a:lnTo>
                      <a:pt x="196" y="49"/>
                    </a:lnTo>
                    <a:lnTo>
                      <a:pt x="196" y="54"/>
                    </a:lnTo>
                    <a:lnTo>
                      <a:pt x="198" y="56"/>
                    </a:lnTo>
                    <a:lnTo>
                      <a:pt x="198" y="56"/>
                    </a:lnTo>
                    <a:lnTo>
                      <a:pt x="198" y="57"/>
                    </a:lnTo>
                    <a:lnTo>
                      <a:pt x="201" y="59"/>
                    </a:lnTo>
                    <a:lnTo>
                      <a:pt x="201" y="61"/>
                    </a:lnTo>
                    <a:lnTo>
                      <a:pt x="198" y="63"/>
                    </a:lnTo>
                    <a:lnTo>
                      <a:pt x="198" y="63"/>
                    </a:lnTo>
                    <a:lnTo>
                      <a:pt x="198" y="64"/>
                    </a:lnTo>
                    <a:lnTo>
                      <a:pt x="201" y="68"/>
                    </a:lnTo>
                    <a:lnTo>
                      <a:pt x="201" y="71"/>
                    </a:lnTo>
                    <a:lnTo>
                      <a:pt x="203" y="71"/>
                    </a:lnTo>
                    <a:lnTo>
                      <a:pt x="203" y="75"/>
                    </a:lnTo>
                    <a:lnTo>
                      <a:pt x="203" y="75"/>
                    </a:lnTo>
                    <a:lnTo>
                      <a:pt x="204" y="75"/>
                    </a:lnTo>
                    <a:lnTo>
                      <a:pt x="206" y="75"/>
                    </a:lnTo>
                    <a:lnTo>
                      <a:pt x="208" y="75"/>
                    </a:lnTo>
                    <a:lnTo>
                      <a:pt x="208" y="77"/>
                    </a:lnTo>
                    <a:lnTo>
                      <a:pt x="208" y="77"/>
                    </a:lnTo>
                    <a:lnTo>
                      <a:pt x="210" y="80"/>
                    </a:lnTo>
                    <a:lnTo>
                      <a:pt x="211" y="80"/>
                    </a:lnTo>
                    <a:lnTo>
                      <a:pt x="215" y="80"/>
                    </a:lnTo>
                    <a:lnTo>
                      <a:pt x="215" y="82"/>
                    </a:lnTo>
                    <a:lnTo>
                      <a:pt x="218" y="82"/>
                    </a:lnTo>
                    <a:lnTo>
                      <a:pt x="224" y="84"/>
                    </a:lnTo>
                    <a:lnTo>
                      <a:pt x="224" y="85"/>
                    </a:lnTo>
                    <a:lnTo>
                      <a:pt x="224" y="85"/>
                    </a:lnTo>
                    <a:lnTo>
                      <a:pt x="225" y="85"/>
                    </a:lnTo>
                    <a:lnTo>
                      <a:pt x="225" y="84"/>
                    </a:lnTo>
                    <a:lnTo>
                      <a:pt x="229" y="82"/>
                    </a:lnTo>
                    <a:lnTo>
                      <a:pt x="231" y="82"/>
                    </a:lnTo>
                    <a:lnTo>
                      <a:pt x="231" y="80"/>
                    </a:lnTo>
                    <a:lnTo>
                      <a:pt x="231" y="80"/>
                    </a:lnTo>
                    <a:lnTo>
                      <a:pt x="232" y="77"/>
                    </a:lnTo>
                    <a:lnTo>
                      <a:pt x="234" y="71"/>
                    </a:lnTo>
                    <a:lnTo>
                      <a:pt x="236" y="71"/>
                    </a:lnTo>
                    <a:lnTo>
                      <a:pt x="239" y="71"/>
                    </a:lnTo>
                    <a:lnTo>
                      <a:pt x="239" y="71"/>
                    </a:lnTo>
                    <a:lnTo>
                      <a:pt x="241" y="71"/>
                    </a:lnTo>
                    <a:lnTo>
                      <a:pt x="241" y="71"/>
                    </a:lnTo>
                    <a:lnTo>
                      <a:pt x="243" y="70"/>
                    </a:lnTo>
                    <a:lnTo>
                      <a:pt x="246" y="70"/>
                    </a:lnTo>
                    <a:lnTo>
                      <a:pt x="248" y="70"/>
                    </a:lnTo>
                    <a:lnTo>
                      <a:pt x="251" y="70"/>
                    </a:lnTo>
                    <a:lnTo>
                      <a:pt x="251" y="70"/>
                    </a:lnTo>
                    <a:lnTo>
                      <a:pt x="253" y="71"/>
                    </a:lnTo>
                    <a:lnTo>
                      <a:pt x="255" y="71"/>
                    </a:lnTo>
                    <a:lnTo>
                      <a:pt x="258" y="71"/>
                    </a:lnTo>
                    <a:lnTo>
                      <a:pt x="260" y="75"/>
                    </a:lnTo>
                    <a:lnTo>
                      <a:pt x="264" y="77"/>
                    </a:lnTo>
                    <a:lnTo>
                      <a:pt x="265" y="80"/>
                    </a:lnTo>
                    <a:lnTo>
                      <a:pt x="265" y="85"/>
                    </a:lnTo>
                    <a:lnTo>
                      <a:pt x="269" y="85"/>
                    </a:lnTo>
                    <a:lnTo>
                      <a:pt x="269" y="89"/>
                    </a:lnTo>
                    <a:lnTo>
                      <a:pt x="269" y="92"/>
                    </a:lnTo>
                    <a:lnTo>
                      <a:pt x="269" y="94"/>
                    </a:lnTo>
                    <a:lnTo>
                      <a:pt x="271" y="94"/>
                    </a:lnTo>
                    <a:lnTo>
                      <a:pt x="272" y="103"/>
                    </a:lnTo>
                    <a:lnTo>
                      <a:pt x="274" y="103"/>
                    </a:lnTo>
                    <a:lnTo>
                      <a:pt x="274" y="104"/>
                    </a:lnTo>
                    <a:lnTo>
                      <a:pt x="277" y="106"/>
                    </a:lnTo>
                    <a:lnTo>
                      <a:pt x="277" y="110"/>
                    </a:lnTo>
                    <a:lnTo>
                      <a:pt x="279" y="113"/>
                    </a:lnTo>
                    <a:lnTo>
                      <a:pt x="283" y="117"/>
                    </a:lnTo>
                    <a:lnTo>
                      <a:pt x="283" y="120"/>
                    </a:lnTo>
                    <a:lnTo>
                      <a:pt x="283" y="122"/>
                    </a:lnTo>
                    <a:lnTo>
                      <a:pt x="283" y="122"/>
                    </a:lnTo>
                    <a:lnTo>
                      <a:pt x="283" y="125"/>
                    </a:lnTo>
                    <a:lnTo>
                      <a:pt x="286" y="134"/>
                    </a:lnTo>
                    <a:lnTo>
                      <a:pt x="286" y="137"/>
                    </a:lnTo>
                    <a:lnTo>
                      <a:pt x="288" y="141"/>
                    </a:lnTo>
                    <a:lnTo>
                      <a:pt x="288" y="141"/>
                    </a:lnTo>
                    <a:lnTo>
                      <a:pt x="288" y="141"/>
                    </a:lnTo>
                    <a:lnTo>
                      <a:pt x="291" y="141"/>
                    </a:lnTo>
                    <a:lnTo>
                      <a:pt x="293" y="143"/>
                    </a:lnTo>
                    <a:lnTo>
                      <a:pt x="297" y="144"/>
                    </a:lnTo>
                    <a:lnTo>
                      <a:pt x="302" y="148"/>
                    </a:lnTo>
                    <a:lnTo>
                      <a:pt x="305" y="148"/>
                    </a:lnTo>
                    <a:lnTo>
                      <a:pt x="309" y="148"/>
                    </a:lnTo>
                    <a:lnTo>
                      <a:pt x="310" y="150"/>
                    </a:lnTo>
                    <a:lnTo>
                      <a:pt x="310" y="153"/>
                    </a:lnTo>
                    <a:lnTo>
                      <a:pt x="310" y="153"/>
                    </a:lnTo>
                    <a:lnTo>
                      <a:pt x="314" y="153"/>
                    </a:lnTo>
                    <a:lnTo>
                      <a:pt x="314" y="148"/>
                    </a:lnTo>
                    <a:lnTo>
                      <a:pt x="316" y="144"/>
                    </a:lnTo>
                    <a:lnTo>
                      <a:pt x="316" y="148"/>
                    </a:lnTo>
                    <a:lnTo>
                      <a:pt x="314" y="153"/>
                    </a:lnTo>
                    <a:lnTo>
                      <a:pt x="314" y="153"/>
                    </a:lnTo>
                    <a:lnTo>
                      <a:pt x="314" y="157"/>
                    </a:lnTo>
                    <a:lnTo>
                      <a:pt x="310" y="160"/>
                    </a:lnTo>
                    <a:lnTo>
                      <a:pt x="310" y="164"/>
                    </a:lnTo>
                    <a:lnTo>
                      <a:pt x="309" y="164"/>
                    </a:lnTo>
                    <a:lnTo>
                      <a:pt x="309" y="162"/>
                    </a:lnTo>
                    <a:lnTo>
                      <a:pt x="309" y="158"/>
                    </a:lnTo>
                    <a:lnTo>
                      <a:pt x="307" y="158"/>
                    </a:lnTo>
                    <a:lnTo>
                      <a:pt x="307" y="164"/>
                    </a:lnTo>
                    <a:lnTo>
                      <a:pt x="304" y="167"/>
                    </a:lnTo>
                    <a:lnTo>
                      <a:pt x="307" y="167"/>
                    </a:lnTo>
                    <a:lnTo>
                      <a:pt x="305" y="171"/>
                    </a:lnTo>
                    <a:lnTo>
                      <a:pt x="304" y="176"/>
                    </a:lnTo>
                    <a:lnTo>
                      <a:pt x="302" y="176"/>
                    </a:lnTo>
                    <a:lnTo>
                      <a:pt x="302" y="179"/>
                    </a:lnTo>
                    <a:lnTo>
                      <a:pt x="304" y="181"/>
                    </a:lnTo>
                    <a:lnTo>
                      <a:pt x="302" y="183"/>
                    </a:lnTo>
                    <a:lnTo>
                      <a:pt x="304" y="186"/>
                    </a:lnTo>
                    <a:lnTo>
                      <a:pt x="300" y="195"/>
                    </a:lnTo>
                    <a:lnTo>
                      <a:pt x="302" y="198"/>
                    </a:lnTo>
                    <a:lnTo>
                      <a:pt x="300" y="207"/>
                    </a:lnTo>
                    <a:lnTo>
                      <a:pt x="298" y="212"/>
                    </a:lnTo>
                    <a:lnTo>
                      <a:pt x="298" y="214"/>
                    </a:lnTo>
                    <a:lnTo>
                      <a:pt x="300" y="221"/>
                    </a:lnTo>
                    <a:lnTo>
                      <a:pt x="300" y="224"/>
                    </a:lnTo>
                    <a:lnTo>
                      <a:pt x="304" y="231"/>
                    </a:lnTo>
                    <a:lnTo>
                      <a:pt x="304" y="237"/>
                    </a:lnTo>
                    <a:lnTo>
                      <a:pt x="304" y="237"/>
                    </a:lnTo>
                    <a:lnTo>
                      <a:pt x="302" y="231"/>
                    </a:lnTo>
                    <a:lnTo>
                      <a:pt x="298" y="226"/>
                    </a:lnTo>
                    <a:lnTo>
                      <a:pt x="298" y="230"/>
                    </a:lnTo>
                    <a:lnTo>
                      <a:pt x="300" y="231"/>
                    </a:lnTo>
                    <a:lnTo>
                      <a:pt x="304" y="240"/>
                    </a:lnTo>
                    <a:lnTo>
                      <a:pt x="304" y="242"/>
                    </a:lnTo>
                    <a:lnTo>
                      <a:pt x="302" y="244"/>
                    </a:lnTo>
                    <a:lnTo>
                      <a:pt x="305" y="247"/>
                    </a:lnTo>
                    <a:lnTo>
                      <a:pt x="305" y="249"/>
                    </a:lnTo>
                    <a:lnTo>
                      <a:pt x="314" y="261"/>
                    </a:lnTo>
                    <a:lnTo>
                      <a:pt x="316" y="264"/>
                    </a:lnTo>
                    <a:lnTo>
                      <a:pt x="319" y="270"/>
                    </a:lnTo>
                    <a:lnTo>
                      <a:pt x="319" y="271"/>
                    </a:lnTo>
                    <a:lnTo>
                      <a:pt x="319" y="275"/>
                    </a:lnTo>
                    <a:lnTo>
                      <a:pt x="326" y="282"/>
                    </a:lnTo>
                    <a:lnTo>
                      <a:pt x="330" y="285"/>
                    </a:lnTo>
                    <a:lnTo>
                      <a:pt x="331" y="284"/>
                    </a:lnTo>
                    <a:lnTo>
                      <a:pt x="337" y="285"/>
                    </a:lnTo>
                    <a:lnTo>
                      <a:pt x="337" y="285"/>
                    </a:lnTo>
                    <a:lnTo>
                      <a:pt x="342" y="289"/>
                    </a:lnTo>
                    <a:lnTo>
                      <a:pt x="345" y="294"/>
                    </a:lnTo>
                    <a:lnTo>
                      <a:pt x="347" y="297"/>
                    </a:lnTo>
                    <a:lnTo>
                      <a:pt x="350" y="294"/>
                    </a:lnTo>
                    <a:lnTo>
                      <a:pt x="357" y="294"/>
                    </a:lnTo>
                    <a:lnTo>
                      <a:pt x="359" y="297"/>
                    </a:lnTo>
                    <a:lnTo>
                      <a:pt x="361" y="297"/>
                    </a:lnTo>
                    <a:lnTo>
                      <a:pt x="368" y="292"/>
                    </a:lnTo>
                    <a:lnTo>
                      <a:pt x="368" y="290"/>
                    </a:lnTo>
                    <a:lnTo>
                      <a:pt x="373" y="290"/>
                    </a:lnTo>
                    <a:lnTo>
                      <a:pt x="378" y="290"/>
                    </a:lnTo>
                    <a:lnTo>
                      <a:pt x="382" y="287"/>
                    </a:lnTo>
                    <a:lnTo>
                      <a:pt x="385" y="287"/>
                    </a:lnTo>
                    <a:lnTo>
                      <a:pt x="390" y="289"/>
                    </a:lnTo>
                    <a:lnTo>
                      <a:pt x="390" y="287"/>
                    </a:lnTo>
                    <a:lnTo>
                      <a:pt x="396" y="289"/>
                    </a:lnTo>
                    <a:lnTo>
                      <a:pt x="392" y="290"/>
                    </a:lnTo>
                    <a:lnTo>
                      <a:pt x="390" y="292"/>
                    </a:lnTo>
                    <a:lnTo>
                      <a:pt x="394" y="294"/>
                    </a:lnTo>
                    <a:lnTo>
                      <a:pt x="397" y="294"/>
                    </a:lnTo>
                    <a:lnTo>
                      <a:pt x="397" y="294"/>
                    </a:lnTo>
                    <a:lnTo>
                      <a:pt x="399" y="294"/>
                    </a:lnTo>
                    <a:lnTo>
                      <a:pt x="403" y="290"/>
                    </a:lnTo>
                    <a:lnTo>
                      <a:pt x="403" y="285"/>
                    </a:lnTo>
                    <a:lnTo>
                      <a:pt x="404" y="282"/>
                    </a:lnTo>
                    <a:lnTo>
                      <a:pt x="401" y="284"/>
                    </a:lnTo>
                    <a:lnTo>
                      <a:pt x="401" y="284"/>
                    </a:lnTo>
                    <a:lnTo>
                      <a:pt x="408" y="278"/>
                    </a:lnTo>
                    <a:lnTo>
                      <a:pt x="410" y="278"/>
                    </a:lnTo>
                    <a:lnTo>
                      <a:pt x="413" y="275"/>
                    </a:lnTo>
                    <a:lnTo>
                      <a:pt x="413" y="270"/>
                    </a:lnTo>
                    <a:lnTo>
                      <a:pt x="420" y="263"/>
                    </a:lnTo>
                    <a:lnTo>
                      <a:pt x="418" y="261"/>
                    </a:lnTo>
                    <a:lnTo>
                      <a:pt x="420" y="252"/>
                    </a:lnTo>
                    <a:lnTo>
                      <a:pt x="427" y="244"/>
                    </a:lnTo>
                    <a:lnTo>
                      <a:pt x="423" y="244"/>
                    </a:lnTo>
                    <a:lnTo>
                      <a:pt x="423" y="240"/>
                    </a:lnTo>
                    <a:lnTo>
                      <a:pt x="436" y="238"/>
                    </a:lnTo>
                    <a:lnTo>
                      <a:pt x="449" y="238"/>
                    </a:lnTo>
                    <a:lnTo>
                      <a:pt x="451" y="235"/>
                    </a:lnTo>
                    <a:lnTo>
                      <a:pt x="455" y="235"/>
                    </a:lnTo>
                    <a:lnTo>
                      <a:pt x="458" y="235"/>
                    </a:lnTo>
                    <a:lnTo>
                      <a:pt x="460" y="233"/>
                    </a:lnTo>
                    <a:lnTo>
                      <a:pt x="460" y="231"/>
                    </a:lnTo>
                    <a:lnTo>
                      <a:pt x="467" y="231"/>
                    </a:lnTo>
                    <a:lnTo>
                      <a:pt x="476" y="233"/>
                    </a:lnTo>
                    <a:lnTo>
                      <a:pt x="477" y="233"/>
                    </a:lnTo>
                    <a:lnTo>
                      <a:pt x="477" y="231"/>
                    </a:lnTo>
                    <a:lnTo>
                      <a:pt x="481" y="230"/>
                    </a:lnTo>
                    <a:lnTo>
                      <a:pt x="486" y="237"/>
                    </a:lnTo>
                    <a:lnTo>
                      <a:pt x="486" y="242"/>
                    </a:lnTo>
                    <a:lnTo>
                      <a:pt x="482" y="244"/>
                    </a:lnTo>
                    <a:lnTo>
                      <a:pt x="479" y="252"/>
                    </a:lnTo>
                    <a:lnTo>
                      <a:pt x="470" y="257"/>
                    </a:lnTo>
                    <a:lnTo>
                      <a:pt x="469" y="261"/>
                    </a:lnTo>
                    <a:lnTo>
                      <a:pt x="469" y="266"/>
                    </a:lnTo>
                    <a:lnTo>
                      <a:pt x="465" y="268"/>
                    </a:lnTo>
                    <a:lnTo>
                      <a:pt x="463" y="270"/>
                    </a:lnTo>
                    <a:lnTo>
                      <a:pt x="467" y="271"/>
                    </a:lnTo>
                    <a:lnTo>
                      <a:pt x="469" y="271"/>
                    </a:lnTo>
                    <a:lnTo>
                      <a:pt x="469" y="271"/>
                    </a:lnTo>
                    <a:lnTo>
                      <a:pt x="465" y="277"/>
                    </a:lnTo>
                    <a:lnTo>
                      <a:pt x="465" y="278"/>
                    </a:lnTo>
                    <a:lnTo>
                      <a:pt x="467" y="278"/>
                    </a:lnTo>
                    <a:lnTo>
                      <a:pt x="469" y="277"/>
                    </a:lnTo>
                    <a:lnTo>
                      <a:pt x="470" y="277"/>
                    </a:lnTo>
                    <a:lnTo>
                      <a:pt x="469" y="280"/>
                    </a:lnTo>
                    <a:lnTo>
                      <a:pt x="465" y="290"/>
                    </a:lnTo>
                    <a:lnTo>
                      <a:pt x="463" y="297"/>
                    </a:lnTo>
                    <a:lnTo>
                      <a:pt x="463" y="297"/>
                    </a:lnTo>
                    <a:lnTo>
                      <a:pt x="460" y="294"/>
                    </a:lnTo>
                    <a:lnTo>
                      <a:pt x="455" y="292"/>
                    </a:lnTo>
                    <a:lnTo>
                      <a:pt x="455" y="290"/>
                    </a:lnTo>
                    <a:lnTo>
                      <a:pt x="458" y="289"/>
                    </a:lnTo>
                    <a:lnTo>
                      <a:pt x="460" y="285"/>
                    </a:lnTo>
                    <a:lnTo>
                      <a:pt x="455" y="285"/>
                    </a:lnTo>
                    <a:lnTo>
                      <a:pt x="453" y="290"/>
                    </a:lnTo>
                    <a:lnTo>
                      <a:pt x="449" y="292"/>
                    </a:lnTo>
                    <a:lnTo>
                      <a:pt x="449" y="292"/>
                    </a:lnTo>
                    <a:lnTo>
                      <a:pt x="448" y="292"/>
                    </a:lnTo>
                    <a:lnTo>
                      <a:pt x="446" y="294"/>
                    </a:lnTo>
                    <a:lnTo>
                      <a:pt x="446" y="294"/>
                    </a:lnTo>
                    <a:lnTo>
                      <a:pt x="444" y="297"/>
                    </a:lnTo>
                    <a:lnTo>
                      <a:pt x="443" y="299"/>
                    </a:lnTo>
                    <a:lnTo>
                      <a:pt x="443" y="303"/>
                    </a:lnTo>
                    <a:lnTo>
                      <a:pt x="441" y="303"/>
                    </a:lnTo>
                    <a:lnTo>
                      <a:pt x="441" y="303"/>
                    </a:lnTo>
                    <a:lnTo>
                      <a:pt x="441" y="303"/>
                    </a:lnTo>
                    <a:lnTo>
                      <a:pt x="441" y="299"/>
                    </a:lnTo>
                    <a:lnTo>
                      <a:pt x="437" y="299"/>
                    </a:lnTo>
                    <a:lnTo>
                      <a:pt x="437" y="303"/>
                    </a:lnTo>
                    <a:lnTo>
                      <a:pt x="436" y="303"/>
                    </a:lnTo>
                    <a:lnTo>
                      <a:pt x="406" y="303"/>
                    </a:lnTo>
                    <a:lnTo>
                      <a:pt x="406" y="313"/>
                    </a:lnTo>
                    <a:lnTo>
                      <a:pt x="397" y="313"/>
                    </a:lnTo>
                    <a:lnTo>
                      <a:pt x="401" y="315"/>
                    </a:lnTo>
                    <a:lnTo>
                      <a:pt x="403" y="317"/>
                    </a:lnTo>
                    <a:lnTo>
                      <a:pt x="404" y="320"/>
                    </a:lnTo>
                    <a:lnTo>
                      <a:pt x="408" y="322"/>
                    </a:lnTo>
                    <a:lnTo>
                      <a:pt x="410" y="322"/>
                    </a:lnTo>
                    <a:lnTo>
                      <a:pt x="410" y="325"/>
                    </a:lnTo>
                    <a:lnTo>
                      <a:pt x="410" y="325"/>
                    </a:lnTo>
                    <a:lnTo>
                      <a:pt x="413" y="329"/>
                    </a:lnTo>
                    <a:lnTo>
                      <a:pt x="415" y="329"/>
                    </a:lnTo>
                    <a:lnTo>
                      <a:pt x="418" y="329"/>
                    </a:lnTo>
                    <a:lnTo>
                      <a:pt x="418" y="330"/>
                    </a:lnTo>
                    <a:lnTo>
                      <a:pt x="415" y="334"/>
                    </a:lnTo>
                    <a:lnTo>
                      <a:pt x="392" y="334"/>
                    </a:lnTo>
                    <a:lnTo>
                      <a:pt x="383" y="351"/>
                    </a:lnTo>
                    <a:lnTo>
                      <a:pt x="383" y="351"/>
                    </a:lnTo>
                    <a:lnTo>
                      <a:pt x="383" y="353"/>
                    </a:lnTo>
                    <a:lnTo>
                      <a:pt x="383" y="355"/>
                    </a:lnTo>
                    <a:lnTo>
                      <a:pt x="385" y="357"/>
                    </a:lnTo>
                    <a:lnTo>
                      <a:pt x="385" y="357"/>
                    </a:lnTo>
                    <a:lnTo>
                      <a:pt x="385" y="358"/>
                    </a:lnTo>
                    <a:lnTo>
                      <a:pt x="383" y="360"/>
                    </a:lnTo>
                    <a:lnTo>
                      <a:pt x="382" y="362"/>
                    </a:lnTo>
                    <a:lnTo>
                      <a:pt x="382" y="362"/>
                    </a:lnTo>
                    <a:lnTo>
                      <a:pt x="378" y="358"/>
                    </a:lnTo>
                    <a:lnTo>
                      <a:pt x="375" y="355"/>
                    </a:lnTo>
                    <a:lnTo>
                      <a:pt x="373" y="351"/>
                    </a:lnTo>
                    <a:lnTo>
                      <a:pt x="370" y="351"/>
                    </a:lnTo>
                    <a:lnTo>
                      <a:pt x="359" y="343"/>
                    </a:lnTo>
                    <a:lnTo>
                      <a:pt x="357" y="341"/>
                    </a:lnTo>
                    <a:lnTo>
                      <a:pt x="357" y="339"/>
                    </a:lnTo>
                    <a:lnTo>
                      <a:pt x="354" y="334"/>
                    </a:lnTo>
                    <a:lnTo>
                      <a:pt x="350" y="332"/>
                    </a:lnTo>
                    <a:lnTo>
                      <a:pt x="347" y="330"/>
                    </a:lnTo>
                    <a:lnTo>
                      <a:pt x="347" y="330"/>
                    </a:lnTo>
                    <a:lnTo>
                      <a:pt x="345" y="330"/>
                    </a:lnTo>
                    <a:lnTo>
                      <a:pt x="345" y="332"/>
                    </a:lnTo>
                    <a:lnTo>
                      <a:pt x="352" y="334"/>
                    </a:lnTo>
                    <a:lnTo>
                      <a:pt x="356" y="339"/>
                    </a:lnTo>
                    <a:lnTo>
                      <a:pt x="356" y="339"/>
                    </a:lnTo>
                    <a:lnTo>
                      <a:pt x="354" y="337"/>
                    </a:lnTo>
                    <a:lnTo>
                      <a:pt x="347" y="334"/>
                    </a:lnTo>
                    <a:lnTo>
                      <a:pt x="345" y="332"/>
                    </a:lnTo>
                    <a:lnTo>
                      <a:pt x="342" y="332"/>
                    </a:lnTo>
                    <a:lnTo>
                      <a:pt x="342" y="332"/>
                    </a:lnTo>
                    <a:lnTo>
                      <a:pt x="342" y="332"/>
                    </a:lnTo>
                    <a:lnTo>
                      <a:pt x="345" y="330"/>
                    </a:lnTo>
                    <a:lnTo>
                      <a:pt x="345" y="330"/>
                    </a:lnTo>
                    <a:lnTo>
                      <a:pt x="342" y="330"/>
                    </a:lnTo>
                    <a:lnTo>
                      <a:pt x="338" y="330"/>
                    </a:lnTo>
                    <a:lnTo>
                      <a:pt x="338" y="329"/>
                    </a:lnTo>
                    <a:lnTo>
                      <a:pt x="338" y="329"/>
                    </a:lnTo>
                    <a:lnTo>
                      <a:pt x="333" y="330"/>
                    </a:lnTo>
                    <a:lnTo>
                      <a:pt x="333" y="332"/>
                    </a:lnTo>
                    <a:lnTo>
                      <a:pt x="338" y="332"/>
                    </a:lnTo>
                    <a:lnTo>
                      <a:pt x="342" y="332"/>
                    </a:lnTo>
                    <a:lnTo>
                      <a:pt x="342" y="334"/>
                    </a:lnTo>
                    <a:lnTo>
                      <a:pt x="338" y="334"/>
                    </a:lnTo>
                    <a:lnTo>
                      <a:pt x="333" y="334"/>
                    </a:lnTo>
                    <a:lnTo>
                      <a:pt x="331" y="334"/>
                    </a:lnTo>
                    <a:lnTo>
                      <a:pt x="326" y="337"/>
                    </a:lnTo>
                    <a:lnTo>
                      <a:pt x="323" y="337"/>
                    </a:lnTo>
                    <a:lnTo>
                      <a:pt x="314" y="343"/>
                    </a:lnTo>
                    <a:lnTo>
                      <a:pt x="310" y="343"/>
                    </a:lnTo>
                    <a:lnTo>
                      <a:pt x="302" y="339"/>
                    </a:lnTo>
                    <a:lnTo>
                      <a:pt x="297" y="336"/>
                    </a:lnTo>
                    <a:lnTo>
                      <a:pt x="291" y="336"/>
                    </a:lnTo>
                    <a:lnTo>
                      <a:pt x="286" y="334"/>
                    </a:lnTo>
                    <a:lnTo>
                      <a:pt x="283" y="332"/>
                    </a:lnTo>
                    <a:lnTo>
                      <a:pt x="281" y="332"/>
                    </a:lnTo>
                    <a:lnTo>
                      <a:pt x="277" y="332"/>
                    </a:lnTo>
                    <a:lnTo>
                      <a:pt x="274" y="330"/>
                    </a:lnTo>
                    <a:lnTo>
                      <a:pt x="271" y="325"/>
                    </a:lnTo>
                    <a:lnTo>
                      <a:pt x="271" y="325"/>
                    </a:lnTo>
                    <a:lnTo>
                      <a:pt x="269" y="325"/>
                    </a:lnTo>
                    <a:lnTo>
                      <a:pt x="264" y="325"/>
                    </a:lnTo>
                    <a:lnTo>
                      <a:pt x="260" y="325"/>
                    </a:lnTo>
                    <a:lnTo>
                      <a:pt x="257" y="322"/>
                    </a:lnTo>
                    <a:lnTo>
                      <a:pt x="253" y="320"/>
                    </a:lnTo>
                    <a:lnTo>
                      <a:pt x="246" y="317"/>
                    </a:lnTo>
                    <a:lnTo>
                      <a:pt x="237" y="315"/>
                    </a:lnTo>
                    <a:lnTo>
                      <a:pt x="232" y="310"/>
                    </a:lnTo>
                    <a:lnTo>
                      <a:pt x="231" y="310"/>
                    </a:lnTo>
                    <a:lnTo>
                      <a:pt x="224" y="303"/>
                    </a:lnTo>
                    <a:lnTo>
                      <a:pt x="220" y="297"/>
                    </a:lnTo>
                    <a:lnTo>
                      <a:pt x="218" y="299"/>
                    </a:lnTo>
                    <a:lnTo>
                      <a:pt x="218" y="299"/>
                    </a:lnTo>
                    <a:lnTo>
                      <a:pt x="215" y="299"/>
                    </a:lnTo>
                    <a:lnTo>
                      <a:pt x="208" y="297"/>
                    </a:lnTo>
                    <a:lnTo>
                      <a:pt x="206" y="297"/>
                    </a:lnTo>
                    <a:lnTo>
                      <a:pt x="203" y="297"/>
                    </a:lnTo>
                    <a:lnTo>
                      <a:pt x="201" y="297"/>
                    </a:lnTo>
                    <a:lnTo>
                      <a:pt x="198" y="294"/>
                    </a:lnTo>
                    <a:lnTo>
                      <a:pt x="196" y="292"/>
                    </a:lnTo>
                    <a:lnTo>
                      <a:pt x="192" y="287"/>
                    </a:lnTo>
                    <a:lnTo>
                      <a:pt x="189" y="284"/>
                    </a:lnTo>
                    <a:lnTo>
                      <a:pt x="184" y="282"/>
                    </a:lnTo>
                    <a:lnTo>
                      <a:pt x="184" y="280"/>
                    </a:lnTo>
                    <a:lnTo>
                      <a:pt x="185" y="277"/>
                    </a:lnTo>
                    <a:lnTo>
                      <a:pt x="184" y="277"/>
                    </a:lnTo>
                    <a:lnTo>
                      <a:pt x="180" y="278"/>
                    </a:lnTo>
                    <a:lnTo>
                      <a:pt x="173" y="277"/>
                    </a:lnTo>
                    <a:lnTo>
                      <a:pt x="173" y="275"/>
                    </a:lnTo>
                    <a:lnTo>
                      <a:pt x="170" y="275"/>
                    </a:lnTo>
                    <a:lnTo>
                      <a:pt x="170" y="275"/>
                    </a:lnTo>
                    <a:lnTo>
                      <a:pt x="170" y="270"/>
                    </a:lnTo>
                    <a:lnTo>
                      <a:pt x="166" y="266"/>
                    </a:lnTo>
                    <a:lnTo>
                      <a:pt x="166" y="263"/>
                    </a:lnTo>
                    <a:lnTo>
                      <a:pt x="163" y="261"/>
                    </a:lnTo>
                    <a:lnTo>
                      <a:pt x="161" y="254"/>
                    </a:lnTo>
                    <a:lnTo>
                      <a:pt x="161" y="252"/>
                    </a:lnTo>
                    <a:lnTo>
                      <a:pt x="163" y="252"/>
                    </a:lnTo>
                    <a:lnTo>
                      <a:pt x="166" y="252"/>
                    </a:lnTo>
                    <a:lnTo>
                      <a:pt x="166" y="249"/>
                    </a:lnTo>
                    <a:lnTo>
                      <a:pt x="166" y="249"/>
                    </a:lnTo>
                    <a:lnTo>
                      <a:pt x="165" y="249"/>
                    </a:lnTo>
                    <a:lnTo>
                      <a:pt x="165" y="247"/>
                    </a:lnTo>
                    <a:lnTo>
                      <a:pt x="170" y="244"/>
                    </a:lnTo>
                    <a:lnTo>
                      <a:pt x="170" y="240"/>
                    </a:lnTo>
                    <a:lnTo>
                      <a:pt x="170" y="237"/>
                    </a:lnTo>
                    <a:lnTo>
                      <a:pt x="166" y="226"/>
                    </a:lnTo>
                    <a:lnTo>
                      <a:pt x="165" y="221"/>
                    </a:lnTo>
                    <a:lnTo>
                      <a:pt x="165" y="217"/>
                    </a:lnTo>
                    <a:lnTo>
                      <a:pt x="165" y="216"/>
                    </a:lnTo>
                    <a:lnTo>
                      <a:pt x="165" y="212"/>
                    </a:lnTo>
                    <a:lnTo>
                      <a:pt x="158" y="205"/>
                    </a:lnTo>
                    <a:lnTo>
                      <a:pt x="158" y="202"/>
                    </a:lnTo>
                    <a:lnTo>
                      <a:pt x="152" y="195"/>
                    </a:lnTo>
                    <a:lnTo>
                      <a:pt x="147" y="190"/>
                    </a:lnTo>
                    <a:lnTo>
                      <a:pt x="144" y="183"/>
                    </a:lnTo>
                    <a:lnTo>
                      <a:pt x="138" y="179"/>
                    </a:lnTo>
                    <a:lnTo>
                      <a:pt x="137" y="176"/>
                    </a:lnTo>
                    <a:lnTo>
                      <a:pt x="137" y="176"/>
                    </a:lnTo>
                    <a:lnTo>
                      <a:pt x="132" y="172"/>
                    </a:lnTo>
                    <a:lnTo>
                      <a:pt x="130" y="172"/>
                    </a:lnTo>
                    <a:lnTo>
                      <a:pt x="128" y="171"/>
                    </a:lnTo>
                    <a:lnTo>
                      <a:pt x="132" y="171"/>
                    </a:lnTo>
                    <a:lnTo>
                      <a:pt x="132" y="167"/>
                    </a:lnTo>
                    <a:lnTo>
                      <a:pt x="132" y="165"/>
                    </a:lnTo>
                    <a:lnTo>
                      <a:pt x="130" y="162"/>
                    </a:lnTo>
                    <a:lnTo>
                      <a:pt x="128" y="158"/>
                    </a:lnTo>
                    <a:lnTo>
                      <a:pt x="126" y="158"/>
                    </a:lnTo>
                    <a:lnTo>
                      <a:pt x="125" y="158"/>
                    </a:lnTo>
                    <a:lnTo>
                      <a:pt x="118" y="153"/>
                    </a:lnTo>
                    <a:lnTo>
                      <a:pt x="114" y="150"/>
                    </a:lnTo>
                    <a:lnTo>
                      <a:pt x="111" y="150"/>
                    </a:lnTo>
                    <a:lnTo>
                      <a:pt x="109" y="148"/>
                    </a:lnTo>
                    <a:lnTo>
                      <a:pt x="107" y="144"/>
                    </a:lnTo>
                    <a:lnTo>
                      <a:pt x="109" y="141"/>
                    </a:lnTo>
                    <a:lnTo>
                      <a:pt x="112" y="137"/>
                    </a:lnTo>
                    <a:lnTo>
                      <a:pt x="116" y="137"/>
                    </a:lnTo>
                    <a:lnTo>
                      <a:pt x="118" y="139"/>
                    </a:lnTo>
                    <a:lnTo>
                      <a:pt x="118" y="137"/>
                    </a:lnTo>
                    <a:lnTo>
                      <a:pt x="118" y="134"/>
                    </a:lnTo>
                    <a:lnTo>
                      <a:pt x="118" y="134"/>
                    </a:lnTo>
                    <a:lnTo>
                      <a:pt x="116" y="134"/>
                    </a:lnTo>
                    <a:lnTo>
                      <a:pt x="114" y="134"/>
                    </a:lnTo>
                    <a:lnTo>
                      <a:pt x="112" y="131"/>
                    </a:lnTo>
                    <a:lnTo>
                      <a:pt x="109" y="127"/>
                    </a:lnTo>
                    <a:lnTo>
                      <a:pt x="107" y="127"/>
                    </a:lnTo>
                    <a:lnTo>
                      <a:pt x="104" y="127"/>
                    </a:lnTo>
                    <a:lnTo>
                      <a:pt x="102" y="125"/>
                    </a:lnTo>
                    <a:lnTo>
                      <a:pt x="104" y="122"/>
                    </a:lnTo>
                    <a:lnTo>
                      <a:pt x="102" y="122"/>
                    </a:lnTo>
                    <a:lnTo>
                      <a:pt x="98" y="122"/>
                    </a:lnTo>
                    <a:lnTo>
                      <a:pt x="93" y="115"/>
                    </a:lnTo>
                    <a:lnTo>
                      <a:pt x="93" y="111"/>
                    </a:lnTo>
                    <a:lnTo>
                      <a:pt x="93" y="108"/>
                    </a:lnTo>
                    <a:lnTo>
                      <a:pt x="93" y="104"/>
                    </a:lnTo>
                    <a:lnTo>
                      <a:pt x="93" y="103"/>
                    </a:lnTo>
                    <a:lnTo>
                      <a:pt x="90" y="104"/>
                    </a:lnTo>
                    <a:lnTo>
                      <a:pt x="90" y="103"/>
                    </a:lnTo>
                    <a:lnTo>
                      <a:pt x="86" y="103"/>
                    </a:lnTo>
                    <a:lnTo>
                      <a:pt x="86" y="103"/>
                    </a:lnTo>
                    <a:lnTo>
                      <a:pt x="83" y="99"/>
                    </a:lnTo>
                    <a:lnTo>
                      <a:pt x="83" y="97"/>
                    </a:lnTo>
                    <a:lnTo>
                      <a:pt x="81" y="94"/>
                    </a:lnTo>
                    <a:lnTo>
                      <a:pt x="79" y="92"/>
                    </a:lnTo>
                    <a:lnTo>
                      <a:pt x="76" y="91"/>
                    </a:lnTo>
                    <a:lnTo>
                      <a:pt x="76" y="87"/>
                    </a:lnTo>
                    <a:lnTo>
                      <a:pt x="76" y="84"/>
                    </a:lnTo>
                    <a:lnTo>
                      <a:pt x="74" y="84"/>
                    </a:lnTo>
                    <a:lnTo>
                      <a:pt x="71" y="77"/>
                    </a:lnTo>
                    <a:lnTo>
                      <a:pt x="71" y="75"/>
                    </a:lnTo>
                    <a:lnTo>
                      <a:pt x="69" y="75"/>
                    </a:lnTo>
                    <a:lnTo>
                      <a:pt x="69" y="75"/>
                    </a:lnTo>
                    <a:lnTo>
                      <a:pt x="69" y="71"/>
                    </a:lnTo>
                    <a:lnTo>
                      <a:pt x="71" y="71"/>
                    </a:lnTo>
                    <a:lnTo>
                      <a:pt x="65" y="64"/>
                    </a:lnTo>
                    <a:lnTo>
                      <a:pt x="64" y="61"/>
                    </a:lnTo>
                    <a:lnTo>
                      <a:pt x="65" y="59"/>
                    </a:lnTo>
                    <a:lnTo>
                      <a:pt x="64" y="54"/>
                    </a:lnTo>
                    <a:lnTo>
                      <a:pt x="62" y="52"/>
                    </a:lnTo>
                    <a:lnTo>
                      <a:pt x="62" y="45"/>
                    </a:lnTo>
                    <a:lnTo>
                      <a:pt x="60" y="42"/>
                    </a:lnTo>
                    <a:lnTo>
                      <a:pt x="60" y="40"/>
                    </a:lnTo>
                    <a:lnTo>
                      <a:pt x="62" y="37"/>
                    </a:lnTo>
                    <a:lnTo>
                      <a:pt x="62" y="35"/>
                    </a:lnTo>
                    <a:lnTo>
                      <a:pt x="59" y="33"/>
                    </a:lnTo>
                    <a:lnTo>
                      <a:pt x="57" y="33"/>
                    </a:lnTo>
                    <a:lnTo>
                      <a:pt x="53" y="30"/>
                    </a:lnTo>
                    <a:lnTo>
                      <a:pt x="52" y="30"/>
                    </a:lnTo>
                    <a:lnTo>
                      <a:pt x="52" y="30"/>
                    </a:lnTo>
                    <a:lnTo>
                      <a:pt x="48" y="30"/>
                    </a:lnTo>
                    <a:lnTo>
                      <a:pt x="46" y="30"/>
                    </a:lnTo>
                    <a:lnTo>
                      <a:pt x="43" y="23"/>
                    </a:lnTo>
                    <a:lnTo>
                      <a:pt x="38" y="23"/>
                    </a:lnTo>
                    <a:lnTo>
                      <a:pt x="36" y="17"/>
                    </a:lnTo>
                    <a:lnTo>
                      <a:pt x="36" y="23"/>
                    </a:lnTo>
                    <a:lnTo>
                      <a:pt x="38" y="26"/>
                    </a:lnTo>
                    <a:lnTo>
                      <a:pt x="36" y="30"/>
                    </a:lnTo>
                    <a:lnTo>
                      <a:pt x="34" y="35"/>
                    </a:lnTo>
                    <a:lnTo>
                      <a:pt x="34" y="42"/>
                    </a:lnTo>
                    <a:lnTo>
                      <a:pt x="36" y="52"/>
                    </a:lnTo>
                    <a:lnTo>
                      <a:pt x="34" y="56"/>
                    </a:lnTo>
                    <a:lnTo>
                      <a:pt x="36" y="57"/>
                    </a:lnTo>
                    <a:lnTo>
                      <a:pt x="38" y="63"/>
                    </a:lnTo>
                    <a:lnTo>
                      <a:pt x="38" y="66"/>
                    </a:lnTo>
                    <a:lnTo>
                      <a:pt x="39" y="66"/>
                    </a:lnTo>
                    <a:lnTo>
                      <a:pt x="41" y="70"/>
                    </a:lnTo>
                    <a:lnTo>
                      <a:pt x="46" y="71"/>
                    </a:lnTo>
                    <a:lnTo>
                      <a:pt x="48" y="77"/>
                    </a:lnTo>
                    <a:lnTo>
                      <a:pt x="48" y="80"/>
                    </a:lnTo>
                    <a:lnTo>
                      <a:pt x="48" y="82"/>
                    </a:lnTo>
                    <a:lnTo>
                      <a:pt x="52" y="84"/>
                    </a:lnTo>
                    <a:lnTo>
                      <a:pt x="52" y="85"/>
                    </a:lnTo>
                    <a:lnTo>
                      <a:pt x="52" y="89"/>
                    </a:lnTo>
                    <a:lnTo>
                      <a:pt x="53" y="91"/>
                    </a:lnTo>
                    <a:lnTo>
                      <a:pt x="57" y="92"/>
                    </a:lnTo>
                    <a:lnTo>
                      <a:pt x="59" y="94"/>
                    </a:lnTo>
                    <a:lnTo>
                      <a:pt x="59" y="99"/>
                    </a:lnTo>
                    <a:lnTo>
                      <a:pt x="59" y="103"/>
                    </a:lnTo>
                    <a:lnTo>
                      <a:pt x="62" y="106"/>
                    </a:lnTo>
                    <a:lnTo>
                      <a:pt x="64" y="106"/>
                    </a:lnTo>
                    <a:lnTo>
                      <a:pt x="67" y="111"/>
                    </a:lnTo>
                    <a:lnTo>
                      <a:pt x="67" y="118"/>
                    </a:lnTo>
                    <a:lnTo>
                      <a:pt x="69" y="118"/>
                    </a:lnTo>
                    <a:lnTo>
                      <a:pt x="71" y="120"/>
                    </a:lnTo>
                    <a:lnTo>
                      <a:pt x="69" y="122"/>
                    </a:lnTo>
                    <a:lnTo>
                      <a:pt x="69" y="125"/>
                    </a:lnTo>
                    <a:lnTo>
                      <a:pt x="71" y="129"/>
                    </a:lnTo>
                    <a:lnTo>
                      <a:pt x="74" y="127"/>
                    </a:lnTo>
                    <a:lnTo>
                      <a:pt x="74" y="125"/>
                    </a:lnTo>
                    <a:lnTo>
                      <a:pt x="74" y="125"/>
                    </a:lnTo>
                    <a:lnTo>
                      <a:pt x="74" y="125"/>
                    </a:lnTo>
                    <a:lnTo>
                      <a:pt x="74" y="127"/>
                    </a:lnTo>
                    <a:lnTo>
                      <a:pt x="79" y="131"/>
                    </a:lnTo>
                    <a:lnTo>
                      <a:pt x="79" y="137"/>
                    </a:lnTo>
                    <a:lnTo>
                      <a:pt x="79" y="139"/>
                    </a:lnTo>
                    <a:lnTo>
                      <a:pt x="79" y="144"/>
                    </a:lnTo>
                    <a:lnTo>
                      <a:pt x="79" y="144"/>
                    </a:lnTo>
                    <a:lnTo>
                      <a:pt x="79" y="148"/>
                    </a:lnTo>
                    <a:lnTo>
                      <a:pt x="81" y="150"/>
                    </a:lnTo>
                    <a:lnTo>
                      <a:pt x="81" y="153"/>
                    </a:lnTo>
                    <a:lnTo>
                      <a:pt x="83" y="157"/>
                    </a:lnTo>
                    <a:lnTo>
                      <a:pt x="83" y="157"/>
                    </a:lnTo>
                    <a:lnTo>
                      <a:pt x="81" y="160"/>
                    </a:lnTo>
                    <a:lnTo>
                      <a:pt x="85" y="164"/>
                    </a:lnTo>
                    <a:lnTo>
                      <a:pt x="85" y="167"/>
                    </a:lnTo>
                    <a:lnTo>
                      <a:pt x="83" y="171"/>
                    </a:lnTo>
                    <a:lnTo>
                      <a:pt x="83" y="172"/>
                    </a:lnTo>
                    <a:lnTo>
                      <a:pt x="86" y="176"/>
                    </a:lnTo>
                    <a:lnTo>
                      <a:pt x="88" y="179"/>
                    </a:lnTo>
                    <a:lnTo>
                      <a:pt x="90" y="179"/>
                    </a:lnTo>
                    <a:lnTo>
                      <a:pt x="92" y="179"/>
                    </a:lnTo>
                    <a:lnTo>
                      <a:pt x="92" y="176"/>
                    </a:lnTo>
                    <a:lnTo>
                      <a:pt x="92" y="176"/>
                    </a:lnTo>
                    <a:lnTo>
                      <a:pt x="93" y="179"/>
                    </a:lnTo>
                    <a:lnTo>
                      <a:pt x="93" y="179"/>
                    </a:lnTo>
                    <a:lnTo>
                      <a:pt x="97" y="181"/>
                    </a:lnTo>
                    <a:lnTo>
                      <a:pt x="98" y="183"/>
                    </a:lnTo>
                    <a:lnTo>
                      <a:pt x="98" y="186"/>
                    </a:lnTo>
                    <a:lnTo>
                      <a:pt x="102" y="188"/>
                    </a:lnTo>
                    <a:lnTo>
                      <a:pt x="102" y="191"/>
                    </a:lnTo>
                    <a:lnTo>
                      <a:pt x="104" y="193"/>
                    </a:lnTo>
                    <a:lnTo>
                      <a:pt x="104" y="195"/>
                    </a:lnTo>
                    <a:lnTo>
                      <a:pt x="102" y="202"/>
                    </a:lnTo>
                    <a:lnTo>
                      <a:pt x="97" y="204"/>
                    </a:lnTo>
                    <a:lnTo>
                      <a:pt x="93" y="202"/>
                    </a:lnTo>
                    <a:lnTo>
                      <a:pt x="93" y="198"/>
                    </a:lnTo>
                    <a:lnTo>
                      <a:pt x="92" y="198"/>
                    </a:lnTo>
                    <a:lnTo>
                      <a:pt x="90" y="195"/>
                    </a:lnTo>
                    <a:lnTo>
                      <a:pt x="90" y="191"/>
                    </a:lnTo>
                    <a:lnTo>
                      <a:pt x="88" y="188"/>
                    </a:lnTo>
                    <a:lnTo>
                      <a:pt x="85" y="188"/>
                    </a:lnTo>
                    <a:lnTo>
                      <a:pt x="81" y="184"/>
                    </a:lnTo>
                    <a:lnTo>
                      <a:pt x="79" y="183"/>
                    </a:lnTo>
                    <a:lnTo>
                      <a:pt x="79" y="181"/>
                    </a:lnTo>
                    <a:lnTo>
                      <a:pt x="71" y="172"/>
                    </a:lnTo>
                    <a:lnTo>
                      <a:pt x="69" y="171"/>
                    </a:lnTo>
                    <a:lnTo>
                      <a:pt x="65" y="171"/>
                    </a:lnTo>
                    <a:lnTo>
                      <a:pt x="65" y="167"/>
                    </a:lnTo>
                    <a:lnTo>
                      <a:pt x="64" y="167"/>
                    </a:lnTo>
                    <a:lnTo>
                      <a:pt x="60" y="165"/>
                    </a:lnTo>
                    <a:lnTo>
                      <a:pt x="60" y="162"/>
                    </a:lnTo>
                    <a:lnTo>
                      <a:pt x="62" y="157"/>
                    </a:lnTo>
                    <a:lnTo>
                      <a:pt x="64" y="153"/>
                    </a:lnTo>
                    <a:lnTo>
                      <a:pt x="64" y="144"/>
                    </a:lnTo>
                    <a:lnTo>
                      <a:pt x="60" y="139"/>
                    </a:lnTo>
                    <a:lnTo>
                      <a:pt x="59" y="136"/>
                    </a:lnTo>
                    <a:lnTo>
                      <a:pt x="57" y="136"/>
                    </a:lnTo>
                    <a:lnTo>
                      <a:pt x="57" y="136"/>
                    </a:lnTo>
                    <a:lnTo>
                      <a:pt x="48" y="129"/>
                    </a:lnTo>
                    <a:lnTo>
                      <a:pt x="48" y="125"/>
                    </a:lnTo>
                    <a:lnTo>
                      <a:pt x="48" y="122"/>
                    </a:lnTo>
                    <a:lnTo>
                      <a:pt x="48" y="122"/>
                    </a:lnTo>
                    <a:lnTo>
                      <a:pt x="46" y="125"/>
                    </a:lnTo>
                    <a:lnTo>
                      <a:pt x="43" y="125"/>
                    </a:lnTo>
                    <a:lnTo>
                      <a:pt x="41" y="125"/>
                    </a:lnTo>
                    <a:lnTo>
                      <a:pt x="39" y="122"/>
                    </a:lnTo>
                    <a:lnTo>
                      <a:pt x="41" y="122"/>
                    </a:lnTo>
                    <a:lnTo>
                      <a:pt x="38" y="122"/>
                    </a:lnTo>
                    <a:lnTo>
                      <a:pt x="36" y="122"/>
                    </a:lnTo>
                    <a:lnTo>
                      <a:pt x="36" y="120"/>
                    </a:lnTo>
                    <a:lnTo>
                      <a:pt x="31" y="118"/>
                    </a:lnTo>
                    <a:lnTo>
                      <a:pt x="29" y="117"/>
                    </a:lnTo>
                    <a:lnTo>
                      <a:pt x="29" y="113"/>
                    </a:lnTo>
                    <a:lnTo>
                      <a:pt x="26" y="110"/>
                    </a:lnTo>
                    <a:lnTo>
                      <a:pt x="26" y="110"/>
                    </a:lnTo>
                    <a:lnTo>
                      <a:pt x="20" y="104"/>
                    </a:lnTo>
                    <a:lnTo>
                      <a:pt x="22" y="103"/>
                    </a:lnTo>
                    <a:lnTo>
                      <a:pt x="26" y="103"/>
                    </a:lnTo>
                    <a:lnTo>
                      <a:pt x="29" y="104"/>
                    </a:lnTo>
                    <a:lnTo>
                      <a:pt x="32" y="104"/>
                    </a:lnTo>
                    <a:lnTo>
                      <a:pt x="34" y="106"/>
                    </a:lnTo>
                    <a:lnTo>
                      <a:pt x="36" y="104"/>
                    </a:lnTo>
                    <a:lnTo>
                      <a:pt x="36" y="103"/>
                    </a:lnTo>
                    <a:lnTo>
                      <a:pt x="34" y="103"/>
                    </a:lnTo>
                    <a:lnTo>
                      <a:pt x="32" y="103"/>
                    </a:lnTo>
                    <a:lnTo>
                      <a:pt x="34" y="99"/>
                    </a:lnTo>
                    <a:lnTo>
                      <a:pt x="38" y="99"/>
                    </a:lnTo>
                    <a:lnTo>
                      <a:pt x="38" y="97"/>
                    </a:lnTo>
                    <a:lnTo>
                      <a:pt x="36" y="94"/>
                    </a:lnTo>
                    <a:lnTo>
                      <a:pt x="36" y="94"/>
                    </a:lnTo>
                    <a:lnTo>
                      <a:pt x="39" y="92"/>
                    </a:lnTo>
                    <a:lnTo>
                      <a:pt x="36" y="87"/>
                    </a:lnTo>
                    <a:lnTo>
                      <a:pt x="34" y="87"/>
                    </a:lnTo>
                    <a:lnTo>
                      <a:pt x="32" y="82"/>
                    </a:lnTo>
                    <a:lnTo>
                      <a:pt x="29" y="77"/>
                    </a:lnTo>
                    <a:lnTo>
                      <a:pt x="29" y="75"/>
                    </a:lnTo>
                    <a:lnTo>
                      <a:pt x="26" y="71"/>
                    </a:lnTo>
                    <a:lnTo>
                      <a:pt x="22" y="66"/>
                    </a:lnTo>
                    <a:lnTo>
                      <a:pt x="20" y="68"/>
                    </a:lnTo>
                    <a:lnTo>
                      <a:pt x="17" y="64"/>
                    </a:lnTo>
                    <a:lnTo>
                      <a:pt x="15" y="59"/>
                    </a:lnTo>
                    <a:lnTo>
                      <a:pt x="15" y="52"/>
                    </a:lnTo>
                    <a:lnTo>
                      <a:pt x="13" y="52"/>
                    </a:lnTo>
                    <a:lnTo>
                      <a:pt x="12" y="49"/>
                    </a:lnTo>
                    <a:lnTo>
                      <a:pt x="12" y="45"/>
                    </a:lnTo>
                    <a:lnTo>
                      <a:pt x="13" y="45"/>
                    </a:lnTo>
                    <a:lnTo>
                      <a:pt x="12" y="42"/>
                    </a:lnTo>
                    <a:lnTo>
                      <a:pt x="8" y="38"/>
                    </a:lnTo>
                    <a:lnTo>
                      <a:pt x="8" y="37"/>
                    </a:lnTo>
                    <a:lnTo>
                      <a:pt x="10" y="35"/>
                    </a:lnTo>
                    <a:lnTo>
                      <a:pt x="10" y="33"/>
                    </a:lnTo>
                    <a:lnTo>
                      <a:pt x="6" y="30"/>
                    </a:lnTo>
                    <a:lnTo>
                      <a:pt x="3" y="26"/>
                    </a:lnTo>
                    <a:lnTo>
                      <a:pt x="3" y="23"/>
                    </a:lnTo>
                    <a:lnTo>
                      <a:pt x="6" y="21"/>
                    </a:lnTo>
                    <a:lnTo>
                      <a:pt x="3" y="17"/>
                    </a:lnTo>
                    <a:lnTo>
                      <a:pt x="3" y="16"/>
                    </a:lnTo>
                    <a:lnTo>
                      <a:pt x="0" y="7"/>
                    </a:lnTo>
                    <a:lnTo>
                      <a:pt x="0" y="4"/>
                    </a:lnTo>
                    <a:lnTo>
                      <a:pt x="0" y="4"/>
                    </a:lnTo>
                    <a:lnTo>
                      <a:pt x="0" y="4"/>
                    </a:lnTo>
                    <a:lnTo>
                      <a:pt x="0" y="4"/>
                    </a:lnTo>
                    <a:close/>
                    <a:moveTo>
                      <a:pt x="86" y="165"/>
                    </a:moveTo>
                    <a:lnTo>
                      <a:pt x="88" y="164"/>
                    </a:lnTo>
                    <a:lnTo>
                      <a:pt x="88" y="162"/>
                    </a:lnTo>
                    <a:lnTo>
                      <a:pt x="86" y="158"/>
                    </a:lnTo>
                    <a:lnTo>
                      <a:pt x="85" y="160"/>
                    </a:lnTo>
                    <a:lnTo>
                      <a:pt x="86" y="162"/>
                    </a:lnTo>
                    <a:lnTo>
                      <a:pt x="86" y="165"/>
                    </a:lnTo>
                    <a:lnTo>
                      <a:pt x="86" y="165"/>
                    </a:lnTo>
                    <a:lnTo>
                      <a:pt x="86" y="165"/>
                    </a:lnTo>
                    <a:lnTo>
                      <a:pt x="86" y="165"/>
                    </a:lnTo>
                    <a:close/>
                    <a:moveTo>
                      <a:pt x="90" y="172"/>
                    </a:moveTo>
                    <a:lnTo>
                      <a:pt x="90" y="176"/>
                    </a:lnTo>
                    <a:lnTo>
                      <a:pt x="92" y="176"/>
                    </a:lnTo>
                    <a:lnTo>
                      <a:pt x="92" y="172"/>
                    </a:lnTo>
                    <a:lnTo>
                      <a:pt x="90" y="172"/>
                    </a:lnTo>
                    <a:lnTo>
                      <a:pt x="90" y="172"/>
                    </a:lnTo>
                    <a:lnTo>
                      <a:pt x="90" y="172"/>
                    </a:lnTo>
                    <a:lnTo>
                      <a:pt x="90" y="172"/>
                    </a:lnTo>
                    <a:close/>
                    <a:moveTo>
                      <a:pt x="307" y="167"/>
                    </a:moveTo>
                    <a:lnTo>
                      <a:pt x="309" y="167"/>
                    </a:lnTo>
                    <a:lnTo>
                      <a:pt x="309" y="165"/>
                    </a:lnTo>
                    <a:lnTo>
                      <a:pt x="307" y="165"/>
                    </a:lnTo>
                    <a:lnTo>
                      <a:pt x="307" y="167"/>
                    </a:lnTo>
                    <a:lnTo>
                      <a:pt x="307" y="167"/>
                    </a:lnTo>
                    <a:lnTo>
                      <a:pt x="307" y="167"/>
                    </a:lnTo>
                    <a:lnTo>
                      <a:pt x="307" y="167"/>
                    </a:lnTo>
                    <a:close/>
                    <a:moveTo>
                      <a:pt x="307" y="172"/>
                    </a:moveTo>
                    <a:lnTo>
                      <a:pt x="307" y="172"/>
                    </a:lnTo>
                    <a:lnTo>
                      <a:pt x="309" y="171"/>
                    </a:lnTo>
                    <a:lnTo>
                      <a:pt x="307" y="171"/>
                    </a:lnTo>
                    <a:lnTo>
                      <a:pt x="307" y="172"/>
                    </a:lnTo>
                    <a:lnTo>
                      <a:pt x="307" y="172"/>
                    </a:lnTo>
                    <a:lnTo>
                      <a:pt x="307" y="172"/>
                    </a:lnTo>
                    <a:lnTo>
                      <a:pt x="307" y="172"/>
                    </a:lnTo>
                    <a:close/>
                    <a:moveTo>
                      <a:pt x="305" y="179"/>
                    </a:moveTo>
                    <a:lnTo>
                      <a:pt x="307" y="176"/>
                    </a:lnTo>
                    <a:lnTo>
                      <a:pt x="305" y="172"/>
                    </a:lnTo>
                    <a:lnTo>
                      <a:pt x="305" y="179"/>
                    </a:lnTo>
                    <a:lnTo>
                      <a:pt x="305" y="179"/>
                    </a:lnTo>
                    <a:lnTo>
                      <a:pt x="305" y="179"/>
                    </a:lnTo>
                    <a:close/>
                  </a:path>
                </a:pathLst>
              </a:custGeom>
              <a:solidFill>
                <a:srgbClr val="B7013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1" name="Freeform 44"/>
              <p:cNvSpPr>
                <a:spLocks noEditPoints="1"/>
              </p:cNvSpPr>
              <p:nvPr/>
            </p:nvSpPr>
            <p:spPr bwMode="auto">
              <a:xfrm>
                <a:off x="2476500" y="4119563"/>
                <a:ext cx="1058863" cy="1116013"/>
              </a:xfrm>
              <a:custGeom>
                <a:avLst/>
                <a:gdLst/>
                <a:ahLst/>
                <a:cxnLst>
                  <a:cxn ang="0">
                    <a:pos x="393" y="98"/>
                  </a:cxn>
                  <a:cxn ang="0">
                    <a:pos x="400" y="87"/>
                  </a:cxn>
                  <a:cxn ang="0">
                    <a:pos x="409" y="82"/>
                  </a:cxn>
                  <a:cxn ang="0">
                    <a:pos x="405" y="87"/>
                  </a:cxn>
                  <a:cxn ang="0">
                    <a:pos x="412" y="93"/>
                  </a:cxn>
                  <a:cxn ang="0">
                    <a:pos x="402" y="56"/>
                  </a:cxn>
                  <a:cxn ang="0">
                    <a:pos x="367" y="39"/>
                  </a:cxn>
                  <a:cxn ang="0">
                    <a:pos x="341" y="56"/>
                  </a:cxn>
                  <a:cxn ang="0">
                    <a:pos x="304" y="49"/>
                  </a:cxn>
                  <a:cxn ang="0">
                    <a:pos x="285" y="56"/>
                  </a:cxn>
                  <a:cxn ang="0">
                    <a:pos x="245" y="58"/>
                  </a:cxn>
                  <a:cxn ang="0">
                    <a:pos x="242" y="18"/>
                  </a:cxn>
                  <a:cxn ang="0">
                    <a:pos x="216" y="13"/>
                  </a:cxn>
                  <a:cxn ang="0">
                    <a:pos x="160" y="23"/>
                  </a:cxn>
                  <a:cxn ang="0">
                    <a:pos x="153" y="68"/>
                  </a:cxn>
                  <a:cxn ang="0">
                    <a:pos x="99" y="63"/>
                  </a:cxn>
                  <a:cxn ang="0">
                    <a:pos x="66" y="86"/>
                  </a:cxn>
                  <a:cxn ang="0">
                    <a:pos x="56" y="164"/>
                  </a:cxn>
                  <a:cxn ang="0">
                    <a:pos x="11" y="197"/>
                  </a:cxn>
                  <a:cxn ang="0">
                    <a:pos x="14" y="251"/>
                  </a:cxn>
                  <a:cxn ang="0">
                    <a:pos x="59" y="279"/>
                  </a:cxn>
                  <a:cxn ang="0">
                    <a:pos x="105" y="279"/>
                  </a:cxn>
                  <a:cxn ang="0">
                    <a:pos x="150" y="286"/>
                  </a:cxn>
                  <a:cxn ang="0">
                    <a:pos x="204" y="322"/>
                  </a:cxn>
                  <a:cxn ang="0">
                    <a:pos x="270" y="387"/>
                  </a:cxn>
                  <a:cxn ang="0">
                    <a:pos x="287" y="475"/>
                  </a:cxn>
                  <a:cxn ang="0">
                    <a:pos x="343" y="512"/>
                  </a:cxn>
                  <a:cxn ang="0">
                    <a:pos x="360" y="553"/>
                  </a:cxn>
                  <a:cxn ang="0">
                    <a:pos x="329" y="593"/>
                  </a:cxn>
                  <a:cxn ang="0">
                    <a:pos x="304" y="633"/>
                  </a:cxn>
                  <a:cxn ang="0">
                    <a:pos x="351" y="658"/>
                  </a:cxn>
                  <a:cxn ang="0">
                    <a:pos x="379" y="703"/>
                  </a:cxn>
                  <a:cxn ang="0">
                    <a:pos x="402" y="653"/>
                  </a:cxn>
                  <a:cxn ang="0">
                    <a:pos x="414" y="633"/>
                  </a:cxn>
                  <a:cxn ang="0">
                    <a:pos x="400" y="663"/>
                  </a:cxn>
                  <a:cxn ang="0">
                    <a:pos x="445" y="593"/>
                  </a:cxn>
                  <a:cxn ang="0">
                    <a:pos x="443" y="555"/>
                  </a:cxn>
                  <a:cxn ang="0">
                    <a:pos x="466" y="527"/>
                  </a:cxn>
                  <a:cxn ang="0">
                    <a:pos x="509" y="496"/>
                  </a:cxn>
                  <a:cxn ang="0">
                    <a:pos x="523" y="496"/>
                  </a:cxn>
                  <a:cxn ang="0">
                    <a:pos x="555" y="489"/>
                  </a:cxn>
                  <a:cxn ang="0">
                    <a:pos x="581" y="449"/>
                  </a:cxn>
                  <a:cxn ang="0">
                    <a:pos x="598" y="380"/>
                  </a:cxn>
                  <a:cxn ang="0">
                    <a:pos x="600" y="320"/>
                  </a:cxn>
                  <a:cxn ang="0">
                    <a:pos x="603" y="315"/>
                  </a:cxn>
                  <a:cxn ang="0">
                    <a:pos x="643" y="268"/>
                  </a:cxn>
                  <a:cxn ang="0">
                    <a:pos x="659" y="195"/>
                  </a:cxn>
                  <a:cxn ang="0">
                    <a:pos x="595" y="147"/>
                  </a:cxn>
                  <a:cxn ang="0">
                    <a:pos x="546" y="138"/>
                  </a:cxn>
                  <a:cxn ang="0">
                    <a:pos x="516" y="136"/>
                  </a:cxn>
                  <a:cxn ang="0">
                    <a:pos x="501" y="143"/>
                  </a:cxn>
                  <a:cxn ang="0">
                    <a:pos x="482" y="117"/>
                  </a:cxn>
                  <a:cxn ang="0">
                    <a:pos x="454" y="105"/>
                  </a:cxn>
                  <a:cxn ang="0">
                    <a:pos x="419" y="131"/>
                  </a:cxn>
                  <a:cxn ang="0">
                    <a:pos x="417" y="126"/>
                  </a:cxn>
                  <a:cxn ang="0">
                    <a:pos x="419" y="120"/>
                  </a:cxn>
                  <a:cxn ang="0">
                    <a:pos x="409" y="94"/>
                  </a:cxn>
                  <a:cxn ang="0">
                    <a:pos x="383" y="114"/>
                  </a:cxn>
                  <a:cxn ang="0">
                    <a:pos x="389" y="89"/>
                  </a:cxn>
                  <a:cxn ang="0">
                    <a:pos x="400" y="58"/>
                  </a:cxn>
                </a:cxnLst>
                <a:rect l="0" t="0" r="r" b="b"/>
                <a:pathLst>
                  <a:path w="667" h="703">
                    <a:moveTo>
                      <a:pt x="389" y="101"/>
                    </a:moveTo>
                    <a:lnTo>
                      <a:pt x="391" y="101"/>
                    </a:lnTo>
                    <a:lnTo>
                      <a:pt x="395" y="100"/>
                    </a:lnTo>
                    <a:lnTo>
                      <a:pt x="395" y="100"/>
                    </a:lnTo>
                    <a:lnTo>
                      <a:pt x="395" y="101"/>
                    </a:lnTo>
                    <a:lnTo>
                      <a:pt x="391" y="101"/>
                    </a:lnTo>
                    <a:lnTo>
                      <a:pt x="389" y="101"/>
                    </a:lnTo>
                    <a:lnTo>
                      <a:pt x="389" y="101"/>
                    </a:lnTo>
                    <a:lnTo>
                      <a:pt x="389" y="101"/>
                    </a:lnTo>
                    <a:lnTo>
                      <a:pt x="389" y="101"/>
                    </a:lnTo>
                    <a:close/>
                    <a:moveTo>
                      <a:pt x="388" y="101"/>
                    </a:moveTo>
                    <a:lnTo>
                      <a:pt x="388" y="101"/>
                    </a:lnTo>
                    <a:lnTo>
                      <a:pt x="389" y="101"/>
                    </a:lnTo>
                    <a:lnTo>
                      <a:pt x="393" y="98"/>
                    </a:lnTo>
                    <a:lnTo>
                      <a:pt x="395" y="98"/>
                    </a:lnTo>
                    <a:lnTo>
                      <a:pt x="396" y="94"/>
                    </a:lnTo>
                    <a:lnTo>
                      <a:pt x="396" y="93"/>
                    </a:lnTo>
                    <a:lnTo>
                      <a:pt x="396" y="93"/>
                    </a:lnTo>
                    <a:lnTo>
                      <a:pt x="395" y="93"/>
                    </a:lnTo>
                    <a:lnTo>
                      <a:pt x="393" y="93"/>
                    </a:lnTo>
                    <a:lnTo>
                      <a:pt x="389" y="96"/>
                    </a:lnTo>
                    <a:lnTo>
                      <a:pt x="388" y="101"/>
                    </a:lnTo>
                    <a:lnTo>
                      <a:pt x="388" y="101"/>
                    </a:lnTo>
                    <a:lnTo>
                      <a:pt x="388" y="101"/>
                    </a:lnTo>
                    <a:lnTo>
                      <a:pt x="388" y="101"/>
                    </a:lnTo>
                    <a:close/>
                    <a:moveTo>
                      <a:pt x="402" y="89"/>
                    </a:moveTo>
                    <a:lnTo>
                      <a:pt x="400" y="87"/>
                    </a:lnTo>
                    <a:lnTo>
                      <a:pt x="400" y="87"/>
                    </a:lnTo>
                    <a:lnTo>
                      <a:pt x="400" y="89"/>
                    </a:lnTo>
                    <a:lnTo>
                      <a:pt x="400" y="91"/>
                    </a:lnTo>
                    <a:lnTo>
                      <a:pt x="400" y="91"/>
                    </a:lnTo>
                    <a:lnTo>
                      <a:pt x="402" y="89"/>
                    </a:lnTo>
                    <a:lnTo>
                      <a:pt x="402" y="89"/>
                    </a:lnTo>
                    <a:lnTo>
                      <a:pt x="402" y="89"/>
                    </a:lnTo>
                    <a:lnTo>
                      <a:pt x="402" y="89"/>
                    </a:lnTo>
                    <a:close/>
                    <a:moveTo>
                      <a:pt x="402" y="86"/>
                    </a:moveTo>
                    <a:lnTo>
                      <a:pt x="400" y="82"/>
                    </a:lnTo>
                    <a:lnTo>
                      <a:pt x="402" y="82"/>
                    </a:lnTo>
                    <a:lnTo>
                      <a:pt x="403" y="82"/>
                    </a:lnTo>
                    <a:lnTo>
                      <a:pt x="409" y="79"/>
                    </a:lnTo>
                    <a:lnTo>
                      <a:pt x="409" y="79"/>
                    </a:lnTo>
                    <a:lnTo>
                      <a:pt x="409" y="82"/>
                    </a:lnTo>
                    <a:lnTo>
                      <a:pt x="405" y="82"/>
                    </a:lnTo>
                    <a:lnTo>
                      <a:pt x="403" y="86"/>
                    </a:lnTo>
                    <a:lnTo>
                      <a:pt x="402" y="86"/>
                    </a:lnTo>
                    <a:lnTo>
                      <a:pt x="402" y="86"/>
                    </a:lnTo>
                    <a:lnTo>
                      <a:pt x="402" y="86"/>
                    </a:lnTo>
                    <a:lnTo>
                      <a:pt x="402" y="86"/>
                    </a:lnTo>
                    <a:close/>
                    <a:moveTo>
                      <a:pt x="402" y="89"/>
                    </a:moveTo>
                    <a:lnTo>
                      <a:pt x="403" y="89"/>
                    </a:lnTo>
                    <a:lnTo>
                      <a:pt x="409" y="89"/>
                    </a:lnTo>
                    <a:lnTo>
                      <a:pt x="410" y="91"/>
                    </a:lnTo>
                    <a:lnTo>
                      <a:pt x="412" y="89"/>
                    </a:lnTo>
                    <a:lnTo>
                      <a:pt x="412" y="87"/>
                    </a:lnTo>
                    <a:lnTo>
                      <a:pt x="410" y="86"/>
                    </a:lnTo>
                    <a:lnTo>
                      <a:pt x="405" y="87"/>
                    </a:lnTo>
                    <a:lnTo>
                      <a:pt x="403" y="87"/>
                    </a:lnTo>
                    <a:lnTo>
                      <a:pt x="402" y="89"/>
                    </a:lnTo>
                    <a:lnTo>
                      <a:pt x="402" y="89"/>
                    </a:lnTo>
                    <a:lnTo>
                      <a:pt x="402" y="89"/>
                    </a:lnTo>
                    <a:lnTo>
                      <a:pt x="402" y="89"/>
                    </a:lnTo>
                    <a:close/>
                    <a:moveTo>
                      <a:pt x="412" y="93"/>
                    </a:moveTo>
                    <a:lnTo>
                      <a:pt x="416" y="91"/>
                    </a:lnTo>
                    <a:lnTo>
                      <a:pt x="416" y="91"/>
                    </a:lnTo>
                    <a:lnTo>
                      <a:pt x="419" y="89"/>
                    </a:lnTo>
                    <a:lnTo>
                      <a:pt x="419" y="91"/>
                    </a:lnTo>
                    <a:lnTo>
                      <a:pt x="419" y="94"/>
                    </a:lnTo>
                    <a:lnTo>
                      <a:pt x="416" y="94"/>
                    </a:lnTo>
                    <a:lnTo>
                      <a:pt x="412" y="93"/>
                    </a:lnTo>
                    <a:lnTo>
                      <a:pt x="412" y="93"/>
                    </a:lnTo>
                    <a:lnTo>
                      <a:pt x="412" y="93"/>
                    </a:lnTo>
                    <a:lnTo>
                      <a:pt x="412" y="93"/>
                    </a:lnTo>
                    <a:close/>
                    <a:moveTo>
                      <a:pt x="402" y="56"/>
                    </a:moveTo>
                    <a:lnTo>
                      <a:pt x="400" y="54"/>
                    </a:lnTo>
                    <a:lnTo>
                      <a:pt x="400" y="51"/>
                    </a:lnTo>
                    <a:lnTo>
                      <a:pt x="400" y="49"/>
                    </a:lnTo>
                    <a:lnTo>
                      <a:pt x="402" y="51"/>
                    </a:lnTo>
                    <a:lnTo>
                      <a:pt x="403" y="54"/>
                    </a:lnTo>
                    <a:lnTo>
                      <a:pt x="403" y="58"/>
                    </a:lnTo>
                    <a:lnTo>
                      <a:pt x="403" y="58"/>
                    </a:lnTo>
                    <a:lnTo>
                      <a:pt x="402" y="56"/>
                    </a:lnTo>
                    <a:lnTo>
                      <a:pt x="402" y="56"/>
                    </a:lnTo>
                    <a:lnTo>
                      <a:pt x="402" y="56"/>
                    </a:lnTo>
                    <a:lnTo>
                      <a:pt x="402" y="56"/>
                    </a:lnTo>
                    <a:close/>
                    <a:moveTo>
                      <a:pt x="386" y="23"/>
                    </a:moveTo>
                    <a:lnTo>
                      <a:pt x="386" y="23"/>
                    </a:lnTo>
                    <a:lnTo>
                      <a:pt x="384" y="20"/>
                    </a:lnTo>
                    <a:lnTo>
                      <a:pt x="383" y="14"/>
                    </a:lnTo>
                    <a:lnTo>
                      <a:pt x="381" y="16"/>
                    </a:lnTo>
                    <a:lnTo>
                      <a:pt x="383" y="18"/>
                    </a:lnTo>
                    <a:lnTo>
                      <a:pt x="381" y="21"/>
                    </a:lnTo>
                    <a:lnTo>
                      <a:pt x="377" y="23"/>
                    </a:lnTo>
                    <a:lnTo>
                      <a:pt x="377" y="23"/>
                    </a:lnTo>
                    <a:lnTo>
                      <a:pt x="377" y="23"/>
                    </a:lnTo>
                    <a:lnTo>
                      <a:pt x="374" y="23"/>
                    </a:lnTo>
                    <a:lnTo>
                      <a:pt x="372" y="32"/>
                    </a:lnTo>
                    <a:lnTo>
                      <a:pt x="367" y="35"/>
                    </a:lnTo>
                    <a:lnTo>
                      <a:pt x="367" y="39"/>
                    </a:lnTo>
                    <a:lnTo>
                      <a:pt x="363" y="46"/>
                    </a:lnTo>
                    <a:lnTo>
                      <a:pt x="360" y="51"/>
                    </a:lnTo>
                    <a:lnTo>
                      <a:pt x="358" y="54"/>
                    </a:lnTo>
                    <a:lnTo>
                      <a:pt x="355" y="54"/>
                    </a:lnTo>
                    <a:lnTo>
                      <a:pt x="355" y="56"/>
                    </a:lnTo>
                    <a:lnTo>
                      <a:pt x="355" y="58"/>
                    </a:lnTo>
                    <a:lnTo>
                      <a:pt x="350" y="63"/>
                    </a:lnTo>
                    <a:lnTo>
                      <a:pt x="350" y="60"/>
                    </a:lnTo>
                    <a:lnTo>
                      <a:pt x="350" y="56"/>
                    </a:lnTo>
                    <a:lnTo>
                      <a:pt x="346" y="54"/>
                    </a:lnTo>
                    <a:lnTo>
                      <a:pt x="346" y="54"/>
                    </a:lnTo>
                    <a:lnTo>
                      <a:pt x="344" y="54"/>
                    </a:lnTo>
                    <a:lnTo>
                      <a:pt x="343" y="54"/>
                    </a:lnTo>
                    <a:lnTo>
                      <a:pt x="341" y="56"/>
                    </a:lnTo>
                    <a:lnTo>
                      <a:pt x="337" y="56"/>
                    </a:lnTo>
                    <a:lnTo>
                      <a:pt x="336" y="54"/>
                    </a:lnTo>
                    <a:lnTo>
                      <a:pt x="336" y="51"/>
                    </a:lnTo>
                    <a:lnTo>
                      <a:pt x="334" y="51"/>
                    </a:lnTo>
                    <a:lnTo>
                      <a:pt x="332" y="49"/>
                    </a:lnTo>
                    <a:lnTo>
                      <a:pt x="332" y="47"/>
                    </a:lnTo>
                    <a:lnTo>
                      <a:pt x="330" y="47"/>
                    </a:lnTo>
                    <a:lnTo>
                      <a:pt x="327" y="44"/>
                    </a:lnTo>
                    <a:lnTo>
                      <a:pt x="323" y="44"/>
                    </a:lnTo>
                    <a:lnTo>
                      <a:pt x="320" y="46"/>
                    </a:lnTo>
                    <a:lnTo>
                      <a:pt x="311" y="46"/>
                    </a:lnTo>
                    <a:lnTo>
                      <a:pt x="308" y="44"/>
                    </a:lnTo>
                    <a:lnTo>
                      <a:pt x="304" y="46"/>
                    </a:lnTo>
                    <a:lnTo>
                      <a:pt x="304" y="49"/>
                    </a:lnTo>
                    <a:lnTo>
                      <a:pt x="308" y="51"/>
                    </a:lnTo>
                    <a:lnTo>
                      <a:pt x="308" y="54"/>
                    </a:lnTo>
                    <a:lnTo>
                      <a:pt x="310" y="58"/>
                    </a:lnTo>
                    <a:lnTo>
                      <a:pt x="310" y="60"/>
                    </a:lnTo>
                    <a:lnTo>
                      <a:pt x="306" y="60"/>
                    </a:lnTo>
                    <a:lnTo>
                      <a:pt x="301" y="58"/>
                    </a:lnTo>
                    <a:lnTo>
                      <a:pt x="301" y="56"/>
                    </a:lnTo>
                    <a:lnTo>
                      <a:pt x="301" y="56"/>
                    </a:lnTo>
                    <a:lnTo>
                      <a:pt x="301" y="56"/>
                    </a:lnTo>
                    <a:lnTo>
                      <a:pt x="301" y="56"/>
                    </a:lnTo>
                    <a:lnTo>
                      <a:pt x="292" y="56"/>
                    </a:lnTo>
                    <a:lnTo>
                      <a:pt x="290" y="58"/>
                    </a:lnTo>
                    <a:lnTo>
                      <a:pt x="290" y="56"/>
                    </a:lnTo>
                    <a:lnTo>
                      <a:pt x="285" y="56"/>
                    </a:lnTo>
                    <a:lnTo>
                      <a:pt x="282" y="58"/>
                    </a:lnTo>
                    <a:lnTo>
                      <a:pt x="278" y="63"/>
                    </a:lnTo>
                    <a:lnTo>
                      <a:pt x="273" y="63"/>
                    </a:lnTo>
                    <a:lnTo>
                      <a:pt x="270" y="65"/>
                    </a:lnTo>
                    <a:lnTo>
                      <a:pt x="268" y="67"/>
                    </a:lnTo>
                    <a:lnTo>
                      <a:pt x="266" y="68"/>
                    </a:lnTo>
                    <a:lnTo>
                      <a:pt x="261" y="70"/>
                    </a:lnTo>
                    <a:lnTo>
                      <a:pt x="261" y="68"/>
                    </a:lnTo>
                    <a:lnTo>
                      <a:pt x="259" y="68"/>
                    </a:lnTo>
                    <a:lnTo>
                      <a:pt x="256" y="72"/>
                    </a:lnTo>
                    <a:lnTo>
                      <a:pt x="254" y="70"/>
                    </a:lnTo>
                    <a:lnTo>
                      <a:pt x="247" y="65"/>
                    </a:lnTo>
                    <a:lnTo>
                      <a:pt x="245" y="63"/>
                    </a:lnTo>
                    <a:lnTo>
                      <a:pt x="245" y="58"/>
                    </a:lnTo>
                    <a:lnTo>
                      <a:pt x="242" y="54"/>
                    </a:lnTo>
                    <a:lnTo>
                      <a:pt x="238" y="51"/>
                    </a:lnTo>
                    <a:lnTo>
                      <a:pt x="238" y="49"/>
                    </a:lnTo>
                    <a:lnTo>
                      <a:pt x="238" y="47"/>
                    </a:lnTo>
                    <a:lnTo>
                      <a:pt x="238" y="46"/>
                    </a:lnTo>
                    <a:lnTo>
                      <a:pt x="238" y="42"/>
                    </a:lnTo>
                    <a:lnTo>
                      <a:pt x="240" y="39"/>
                    </a:lnTo>
                    <a:lnTo>
                      <a:pt x="240" y="35"/>
                    </a:lnTo>
                    <a:lnTo>
                      <a:pt x="242" y="28"/>
                    </a:lnTo>
                    <a:lnTo>
                      <a:pt x="242" y="23"/>
                    </a:lnTo>
                    <a:lnTo>
                      <a:pt x="247" y="21"/>
                    </a:lnTo>
                    <a:lnTo>
                      <a:pt x="247" y="20"/>
                    </a:lnTo>
                    <a:lnTo>
                      <a:pt x="242" y="20"/>
                    </a:lnTo>
                    <a:lnTo>
                      <a:pt x="242" y="18"/>
                    </a:lnTo>
                    <a:lnTo>
                      <a:pt x="240" y="14"/>
                    </a:lnTo>
                    <a:lnTo>
                      <a:pt x="237" y="14"/>
                    </a:lnTo>
                    <a:lnTo>
                      <a:pt x="233" y="13"/>
                    </a:lnTo>
                    <a:lnTo>
                      <a:pt x="235" y="11"/>
                    </a:lnTo>
                    <a:lnTo>
                      <a:pt x="238" y="7"/>
                    </a:lnTo>
                    <a:lnTo>
                      <a:pt x="238" y="4"/>
                    </a:lnTo>
                    <a:lnTo>
                      <a:pt x="235" y="0"/>
                    </a:lnTo>
                    <a:lnTo>
                      <a:pt x="231" y="0"/>
                    </a:lnTo>
                    <a:lnTo>
                      <a:pt x="228" y="0"/>
                    </a:lnTo>
                    <a:lnTo>
                      <a:pt x="228" y="0"/>
                    </a:lnTo>
                    <a:lnTo>
                      <a:pt x="228" y="0"/>
                    </a:lnTo>
                    <a:lnTo>
                      <a:pt x="228" y="4"/>
                    </a:lnTo>
                    <a:lnTo>
                      <a:pt x="224" y="6"/>
                    </a:lnTo>
                    <a:lnTo>
                      <a:pt x="216" y="13"/>
                    </a:lnTo>
                    <a:lnTo>
                      <a:pt x="211" y="13"/>
                    </a:lnTo>
                    <a:lnTo>
                      <a:pt x="202" y="16"/>
                    </a:lnTo>
                    <a:lnTo>
                      <a:pt x="200" y="14"/>
                    </a:lnTo>
                    <a:lnTo>
                      <a:pt x="197" y="16"/>
                    </a:lnTo>
                    <a:lnTo>
                      <a:pt x="190" y="21"/>
                    </a:lnTo>
                    <a:lnTo>
                      <a:pt x="184" y="23"/>
                    </a:lnTo>
                    <a:lnTo>
                      <a:pt x="183" y="21"/>
                    </a:lnTo>
                    <a:lnTo>
                      <a:pt x="174" y="23"/>
                    </a:lnTo>
                    <a:lnTo>
                      <a:pt x="169" y="23"/>
                    </a:lnTo>
                    <a:lnTo>
                      <a:pt x="164" y="20"/>
                    </a:lnTo>
                    <a:lnTo>
                      <a:pt x="158" y="20"/>
                    </a:lnTo>
                    <a:lnTo>
                      <a:pt x="153" y="18"/>
                    </a:lnTo>
                    <a:lnTo>
                      <a:pt x="155" y="21"/>
                    </a:lnTo>
                    <a:lnTo>
                      <a:pt x="160" y="23"/>
                    </a:lnTo>
                    <a:lnTo>
                      <a:pt x="164" y="27"/>
                    </a:lnTo>
                    <a:lnTo>
                      <a:pt x="165" y="28"/>
                    </a:lnTo>
                    <a:lnTo>
                      <a:pt x="160" y="37"/>
                    </a:lnTo>
                    <a:lnTo>
                      <a:pt x="162" y="40"/>
                    </a:lnTo>
                    <a:lnTo>
                      <a:pt x="160" y="46"/>
                    </a:lnTo>
                    <a:lnTo>
                      <a:pt x="169" y="49"/>
                    </a:lnTo>
                    <a:lnTo>
                      <a:pt x="174" y="49"/>
                    </a:lnTo>
                    <a:lnTo>
                      <a:pt x="179" y="49"/>
                    </a:lnTo>
                    <a:lnTo>
                      <a:pt x="179" y="51"/>
                    </a:lnTo>
                    <a:lnTo>
                      <a:pt x="174" y="54"/>
                    </a:lnTo>
                    <a:lnTo>
                      <a:pt x="165" y="54"/>
                    </a:lnTo>
                    <a:lnTo>
                      <a:pt x="165" y="58"/>
                    </a:lnTo>
                    <a:lnTo>
                      <a:pt x="164" y="63"/>
                    </a:lnTo>
                    <a:lnTo>
                      <a:pt x="153" y="68"/>
                    </a:lnTo>
                    <a:lnTo>
                      <a:pt x="151" y="72"/>
                    </a:lnTo>
                    <a:lnTo>
                      <a:pt x="146" y="74"/>
                    </a:lnTo>
                    <a:lnTo>
                      <a:pt x="141" y="79"/>
                    </a:lnTo>
                    <a:lnTo>
                      <a:pt x="134" y="79"/>
                    </a:lnTo>
                    <a:lnTo>
                      <a:pt x="131" y="79"/>
                    </a:lnTo>
                    <a:lnTo>
                      <a:pt x="124" y="74"/>
                    </a:lnTo>
                    <a:lnTo>
                      <a:pt x="118" y="70"/>
                    </a:lnTo>
                    <a:lnTo>
                      <a:pt x="113" y="70"/>
                    </a:lnTo>
                    <a:lnTo>
                      <a:pt x="113" y="67"/>
                    </a:lnTo>
                    <a:lnTo>
                      <a:pt x="113" y="63"/>
                    </a:lnTo>
                    <a:lnTo>
                      <a:pt x="110" y="58"/>
                    </a:lnTo>
                    <a:lnTo>
                      <a:pt x="108" y="56"/>
                    </a:lnTo>
                    <a:lnTo>
                      <a:pt x="105" y="56"/>
                    </a:lnTo>
                    <a:lnTo>
                      <a:pt x="99" y="63"/>
                    </a:lnTo>
                    <a:lnTo>
                      <a:pt x="98" y="63"/>
                    </a:lnTo>
                    <a:lnTo>
                      <a:pt x="96" y="60"/>
                    </a:lnTo>
                    <a:lnTo>
                      <a:pt x="92" y="60"/>
                    </a:lnTo>
                    <a:lnTo>
                      <a:pt x="92" y="63"/>
                    </a:lnTo>
                    <a:lnTo>
                      <a:pt x="73" y="63"/>
                    </a:lnTo>
                    <a:lnTo>
                      <a:pt x="70" y="68"/>
                    </a:lnTo>
                    <a:lnTo>
                      <a:pt x="73" y="72"/>
                    </a:lnTo>
                    <a:lnTo>
                      <a:pt x="78" y="74"/>
                    </a:lnTo>
                    <a:lnTo>
                      <a:pt x="80" y="79"/>
                    </a:lnTo>
                    <a:lnTo>
                      <a:pt x="78" y="79"/>
                    </a:lnTo>
                    <a:lnTo>
                      <a:pt x="82" y="82"/>
                    </a:lnTo>
                    <a:lnTo>
                      <a:pt x="80" y="86"/>
                    </a:lnTo>
                    <a:lnTo>
                      <a:pt x="77" y="82"/>
                    </a:lnTo>
                    <a:lnTo>
                      <a:pt x="66" y="86"/>
                    </a:lnTo>
                    <a:lnTo>
                      <a:pt x="66" y="96"/>
                    </a:lnTo>
                    <a:lnTo>
                      <a:pt x="70" y="100"/>
                    </a:lnTo>
                    <a:lnTo>
                      <a:pt x="75" y="105"/>
                    </a:lnTo>
                    <a:lnTo>
                      <a:pt x="78" y="114"/>
                    </a:lnTo>
                    <a:lnTo>
                      <a:pt x="78" y="117"/>
                    </a:lnTo>
                    <a:lnTo>
                      <a:pt x="78" y="120"/>
                    </a:lnTo>
                    <a:lnTo>
                      <a:pt x="70" y="157"/>
                    </a:lnTo>
                    <a:lnTo>
                      <a:pt x="66" y="164"/>
                    </a:lnTo>
                    <a:lnTo>
                      <a:pt x="66" y="166"/>
                    </a:lnTo>
                    <a:lnTo>
                      <a:pt x="66" y="169"/>
                    </a:lnTo>
                    <a:lnTo>
                      <a:pt x="61" y="167"/>
                    </a:lnTo>
                    <a:lnTo>
                      <a:pt x="63" y="167"/>
                    </a:lnTo>
                    <a:lnTo>
                      <a:pt x="58" y="164"/>
                    </a:lnTo>
                    <a:lnTo>
                      <a:pt x="56" y="164"/>
                    </a:lnTo>
                    <a:lnTo>
                      <a:pt x="52" y="164"/>
                    </a:lnTo>
                    <a:lnTo>
                      <a:pt x="51" y="164"/>
                    </a:lnTo>
                    <a:lnTo>
                      <a:pt x="51" y="167"/>
                    </a:lnTo>
                    <a:lnTo>
                      <a:pt x="40" y="173"/>
                    </a:lnTo>
                    <a:lnTo>
                      <a:pt x="30" y="173"/>
                    </a:lnTo>
                    <a:lnTo>
                      <a:pt x="28" y="174"/>
                    </a:lnTo>
                    <a:lnTo>
                      <a:pt x="26" y="176"/>
                    </a:lnTo>
                    <a:lnTo>
                      <a:pt x="23" y="180"/>
                    </a:lnTo>
                    <a:lnTo>
                      <a:pt x="19" y="181"/>
                    </a:lnTo>
                    <a:lnTo>
                      <a:pt x="16" y="183"/>
                    </a:lnTo>
                    <a:lnTo>
                      <a:pt x="16" y="188"/>
                    </a:lnTo>
                    <a:lnTo>
                      <a:pt x="14" y="192"/>
                    </a:lnTo>
                    <a:lnTo>
                      <a:pt x="16" y="192"/>
                    </a:lnTo>
                    <a:lnTo>
                      <a:pt x="11" y="197"/>
                    </a:lnTo>
                    <a:lnTo>
                      <a:pt x="12" y="204"/>
                    </a:lnTo>
                    <a:lnTo>
                      <a:pt x="14" y="207"/>
                    </a:lnTo>
                    <a:lnTo>
                      <a:pt x="11" y="209"/>
                    </a:lnTo>
                    <a:lnTo>
                      <a:pt x="9" y="209"/>
                    </a:lnTo>
                    <a:lnTo>
                      <a:pt x="4" y="213"/>
                    </a:lnTo>
                    <a:lnTo>
                      <a:pt x="4" y="214"/>
                    </a:lnTo>
                    <a:lnTo>
                      <a:pt x="0" y="218"/>
                    </a:lnTo>
                    <a:lnTo>
                      <a:pt x="2" y="220"/>
                    </a:lnTo>
                    <a:lnTo>
                      <a:pt x="2" y="223"/>
                    </a:lnTo>
                    <a:lnTo>
                      <a:pt x="0" y="227"/>
                    </a:lnTo>
                    <a:lnTo>
                      <a:pt x="2" y="230"/>
                    </a:lnTo>
                    <a:lnTo>
                      <a:pt x="0" y="232"/>
                    </a:lnTo>
                    <a:lnTo>
                      <a:pt x="5" y="237"/>
                    </a:lnTo>
                    <a:lnTo>
                      <a:pt x="14" y="251"/>
                    </a:lnTo>
                    <a:lnTo>
                      <a:pt x="11" y="256"/>
                    </a:lnTo>
                    <a:lnTo>
                      <a:pt x="19" y="254"/>
                    </a:lnTo>
                    <a:lnTo>
                      <a:pt x="25" y="256"/>
                    </a:lnTo>
                    <a:lnTo>
                      <a:pt x="28" y="261"/>
                    </a:lnTo>
                    <a:lnTo>
                      <a:pt x="30" y="267"/>
                    </a:lnTo>
                    <a:lnTo>
                      <a:pt x="38" y="267"/>
                    </a:lnTo>
                    <a:lnTo>
                      <a:pt x="45" y="267"/>
                    </a:lnTo>
                    <a:lnTo>
                      <a:pt x="52" y="260"/>
                    </a:lnTo>
                    <a:lnTo>
                      <a:pt x="59" y="256"/>
                    </a:lnTo>
                    <a:lnTo>
                      <a:pt x="61" y="258"/>
                    </a:lnTo>
                    <a:lnTo>
                      <a:pt x="61" y="263"/>
                    </a:lnTo>
                    <a:lnTo>
                      <a:pt x="59" y="265"/>
                    </a:lnTo>
                    <a:lnTo>
                      <a:pt x="59" y="270"/>
                    </a:lnTo>
                    <a:lnTo>
                      <a:pt x="59" y="279"/>
                    </a:lnTo>
                    <a:lnTo>
                      <a:pt x="59" y="284"/>
                    </a:lnTo>
                    <a:lnTo>
                      <a:pt x="63" y="286"/>
                    </a:lnTo>
                    <a:lnTo>
                      <a:pt x="66" y="286"/>
                    </a:lnTo>
                    <a:lnTo>
                      <a:pt x="70" y="284"/>
                    </a:lnTo>
                    <a:lnTo>
                      <a:pt x="73" y="284"/>
                    </a:lnTo>
                    <a:lnTo>
                      <a:pt x="73" y="284"/>
                    </a:lnTo>
                    <a:lnTo>
                      <a:pt x="75" y="284"/>
                    </a:lnTo>
                    <a:lnTo>
                      <a:pt x="77" y="286"/>
                    </a:lnTo>
                    <a:lnTo>
                      <a:pt x="77" y="286"/>
                    </a:lnTo>
                    <a:lnTo>
                      <a:pt x="87" y="284"/>
                    </a:lnTo>
                    <a:lnTo>
                      <a:pt x="92" y="286"/>
                    </a:lnTo>
                    <a:lnTo>
                      <a:pt x="96" y="282"/>
                    </a:lnTo>
                    <a:lnTo>
                      <a:pt x="99" y="282"/>
                    </a:lnTo>
                    <a:lnTo>
                      <a:pt x="105" y="279"/>
                    </a:lnTo>
                    <a:lnTo>
                      <a:pt x="108" y="279"/>
                    </a:lnTo>
                    <a:lnTo>
                      <a:pt x="113" y="277"/>
                    </a:lnTo>
                    <a:lnTo>
                      <a:pt x="115" y="270"/>
                    </a:lnTo>
                    <a:lnTo>
                      <a:pt x="124" y="265"/>
                    </a:lnTo>
                    <a:lnTo>
                      <a:pt x="129" y="265"/>
                    </a:lnTo>
                    <a:lnTo>
                      <a:pt x="134" y="261"/>
                    </a:lnTo>
                    <a:lnTo>
                      <a:pt x="139" y="261"/>
                    </a:lnTo>
                    <a:lnTo>
                      <a:pt x="143" y="265"/>
                    </a:lnTo>
                    <a:lnTo>
                      <a:pt x="146" y="261"/>
                    </a:lnTo>
                    <a:lnTo>
                      <a:pt x="146" y="263"/>
                    </a:lnTo>
                    <a:lnTo>
                      <a:pt x="146" y="268"/>
                    </a:lnTo>
                    <a:lnTo>
                      <a:pt x="150" y="273"/>
                    </a:lnTo>
                    <a:lnTo>
                      <a:pt x="146" y="277"/>
                    </a:lnTo>
                    <a:lnTo>
                      <a:pt x="150" y="286"/>
                    </a:lnTo>
                    <a:lnTo>
                      <a:pt x="146" y="289"/>
                    </a:lnTo>
                    <a:lnTo>
                      <a:pt x="150" y="296"/>
                    </a:lnTo>
                    <a:lnTo>
                      <a:pt x="153" y="298"/>
                    </a:lnTo>
                    <a:lnTo>
                      <a:pt x="155" y="305"/>
                    </a:lnTo>
                    <a:lnTo>
                      <a:pt x="158" y="305"/>
                    </a:lnTo>
                    <a:lnTo>
                      <a:pt x="165" y="308"/>
                    </a:lnTo>
                    <a:lnTo>
                      <a:pt x="169" y="312"/>
                    </a:lnTo>
                    <a:lnTo>
                      <a:pt x="169" y="310"/>
                    </a:lnTo>
                    <a:lnTo>
                      <a:pt x="177" y="308"/>
                    </a:lnTo>
                    <a:lnTo>
                      <a:pt x="183" y="313"/>
                    </a:lnTo>
                    <a:lnTo>
                      <a:pt x="188" y="313"/>
                    </a:lnTo>
                    <a:lnTo>
                      <a:pt x="193" y="320"/>
                    </a:lnTo>
                    <a:lnTo>
                      <a:pt x="197" y="320"/>
                    </a:lnTo>
                    <a:lnTo>
                      <a:pt x="204" y="322"/>
                    </a:lnTo>
                    <a:lnTo>
                      <a:pt x="209" y="324"/>
                    </a:lnTo>
                    <a:lnTo>
                      <a:pt x="209" y="329"/>
                    </a:lnTo>
                    <a:lnTo>
                      <a:pt x="212" y="329"/>
                    </a:lnTo>
                    <a:lnTo>
                      <a:pt x="217" y="333"/>
                    </a:lnTo>
                    <a:lnTo>
                      <a:pt x="228" y="333"/>
                    </a:lnTo>
                    <a:lnTo>
                      <a:pt x="233" y="334"/>
                    </a:lnTo>
                    <a:lnTo>
                      <a:pt x="235" y="338"/>
                    </a:lnTo>
                    <a:lnTo>
                      <a:pt x="235" y="347"/>
                    </a:lnTo>
                    <a:lnTo>
                      <a:pt x="235" y="352"/>
                    </a:lnTo>
                    <a:lnTo>
                      <a:pt x="233" y="355"/>
                    </a:lnTo>
                    <a:lnTo>
                      <a:pt x="240" y="367"/>
                    </a:lnTo>
                    <a:lnTo>
                      <a:pt x="240" y="376"/>
                    </a:lnTo>
                    <a:lnTo>
                      <a:pt x="270" y="376"/>
                    </a:lnTo>
                    <a:lnTo>
                      <a:pt x="270" y="387"/>
                    </a:lnTo>
                    <a:lnTo>
                      <a:pt x="270" y="393"/>
                    </a:lnTo>
                    <a:lnTo>
                      <a:pt x="278" y="395"/>
                    </a:lnTo>
                    <a:lnTo>
                      <a:pt x="289" y="411"/>
                    </a:lnTo>
                    <a:lnTo>
                      <a:pt x="289" y="420"/>
                    </a:lnTo>
                    <a:lnTo>
                      <a:pt x="282" y="437"/>
                    </a:lnTo>
                    <a:lnTo>
                      <a:pt x="282" y="439"/>
                    </a:lnTo>
                    <a:lnTo>
                      <a:pt x="278" y="442"/>
                    </a:lnTo>
                    <a:lnTo>
                      <a:pt x="282" y="444"/>
                    </a:lnTo>
                    <a:lnTo>
                      <a:pt x="278" y="447"/>
                    </a:lnTo>
                    <a:lnTo>
                      <a:pt x="283" y="451"/>
                    </a:lnTo>
                    <a:lnTo>
                      <a:pt x="283" y="456"/>
                    </a:lnTo>
                    <a:lnTo>
                      <a:pt x="287" y="461"/>
                    </a:lnTo>
                    <a:lnTo>
                      <a:pt x="285" y="473"/>
                    </a:lnTo>
                    <a:lnTo>
                      <a:pt x="287" y="475"/>
                    </a:lnTo>
                    <a:lnTo>
                      <a:pt x="285" y="479"/>
                    </a:lnTo>
                    <a:lnTo>
                      <a:pt x="287" y="484"/>
                    </a:lnTo>
                    <a:lnTo>
                      <a:pt x="292" y="482"/>
                    </a:lnTo>
                    <a:lnTo>
                      <a:pt x="296" y="484"/>
                    </a:lnTo>
                    <a:lnTo>
                      <a:pt x="304" y="484"/>
                    </a:lnTo>
                    <a:lnTo>
                      <a:pt x="308" y="486"/>
                    </a:lnTo>
                    <a:lnTo>
                      <a:pt x="315" y="482"/>
                    </a:lnTo>
                    <a:lnTo>
                      <a:pt x="320" y="486"/>
                    </a:lnTo>
                    <a:lnTo>
                      <a:pt x="323" y="486"/>
                    </a:lnTo>
                    <a:lnTo>
                      <a:pt x="323" y="489"/>
                    </a:lnTo>
                    <a:lnTo>
                      <a:pt x="329" y="508"/>
                    </a:lnTo>
                    <a:lnTo>
                      <a:pt x="332" y="515"/>
                    </a:lnTo>
                    <a:lnTo>
                      <a:pt x="334" y="517"/>
                    </a:lnTo>
                    <a:lnTo>
                      <a:pt x="343" y="512"/>
                    </a:lnTo>
                    <a:lnTo>
                      <a:pt x="346" y="513"/>
                    </a:lnTo>
                    <a:lnTo>
                      <a:pt x="350" y="517"/>
                    </a:lnTo>
                    <a:lnTo>
                      <a:pt x="350" y="517"/>
                    </a:lnTo>
                    <a:lnTo>
                      <a:pt x="350" y="520"/>
                    </a:lnTo>
                    <a:lnTo>
                      <a:pt x="350" y="536"/>
                    </a:lnTo>
                    <a:lnTo>
                      <a:pt x="346" y="538"/>
                    </a:lnTo>
                    <a:lnTo>
                      <a:pt x="346" y="538"/>
                    </a:lnTo>
                    <a:lnTo>
                      <a:pt x="346" y="540"/>
                    </a:lnTo>
                    <a:lnTo>
                      <a:pt x="346" y="541"/>
                    </a:lnTo>
                    <a:lnTo>
                      <a:pt x="346" y="543"/>
                    </a:lnTo>
                    <a:lnTo>
                      <a:pt x="350" y="543"/>
                    </a:lnTo>
                    <a:lnTo>
                      <a:pt x="356" y="543"/>
                    </a:lnTo>
                    <a:lnTo>
                      <a:pt x="356" y="546"/>
                    </a:lnTo>
                    <a:lnTo>
                      <a:pt x="360" y="553"/>
                    </a:lnTo>
                    <a:lnTo>
                      <a:pt x="360" y="559"/>
                    </a:lnTo>
                    <a:lnTo>
                      <a:pt x="362" y="566"/>
                    </a:lnTo>
                    <a:lnTo>
                      <a:pt x="362" y="571"/>
                    </a:lnTo>
                    <a:lnTo>
                      <a:pt x="360" y="574"/>
                    </a:lnTo>
                    <a:lnTo>
                      <a:pt x="356" y="574"/>
                    </a:lnTo>
                    <a:lnTo>
                      <a:pt x="355" y="576"/>
                    </a:lnTo>
                    <a:lnTo>
                      <a:pt x="351" y="580"/>
                    </a:lnTo>
                    <a:lnTo>
                      <a:pt x="350" y="580"/>
                    </a:lnTo>
                    <a:lnTo>
                      <a:pt x="350" y="580"/>
                    </a:lnTo>
                    <a:lnTo>
                      <a:pt x="343" y="585"/>
                    </a:lnTo>
                    <a:lnTo>
                      <a:pt x="341" y="586"/>
                    </a:lnTo>
                    <a:lnTo>
                      <a:pt x="337" y="586"/>
                    </a:lnTo>
                    <a:lnTo>
                      <a:pt x="332" y="593"/>
                    </a:lnTo>
                    <a:lnTo>
                      <a:pt x="329" y="593"/>
                    </a:lnTo>
                    <a:lnTo>
                      <a:pt x="329" y="599"/>
                    </a:lnTo>
                    <a:lnTo>
                      <a:pt x="327" y="599"/>
                    </a:lnTo>
                    <a:lnTo>
                      <a:pt x="323" y="599"/>
                    </a:lnTo>
                    <a:lnTo>
                      <a:pt x="320" y="606"/>
                    </a:lnTo>
                    <a:lnTo>
                      <a:pt x="318" y="606"/>
                    </a:lnTo>
                    <a:lnTo>
                      <a:pt x="320" y="611"/>
                    </a:lnTo>
                    <a:lnTo>
                      <a:pt x="315" y="611"/>
                    </a:lnTo>
                    <a:lnTo>
                      <a:pt x="315" y="614"/>
                    </a:lnTo>
                    <a:lnTo>
                      <a:pt x="311" y="620"/>
                    </a:lnTo>
                    <a:lnTo>
                      <a:pt x="310" y="623"/>
                    </a:lnTo>
                    <a:lnTo>
                      <a:pt x="306" y="628"/>
                    </a:lnTo>
                    <a:lnTo>
                      <a:pt x="306" y="630"/>
                    </a:lnTo>
                    <a:lnTo>
                      <a:pt x="304" y="630"/>
                    </a:lnTo>
                    <a:lnTo>
                      <a:pt x="304" y="633"/>
                    </a:lnTo>
                    <a:lnTo>
                      <a:pt x="304" y="633"/>
                    </a:lnTo>
                    <a:lnTo>
                      <a:pt x="306" y="633"/>
                    </a:lnTo>
                    <a:lnTo>
                      <a:pt x="315" y="630"/>
                    </a:lnTo>
                    <a:lnTo>
                      <a:pt x="320" y="633"/>
                    </a:lnTo>
                    <a:lnTo>
                      <a:pt x="323" y="639"/>
                    </a:lnTo>
                    <a:lnTo>
                      <a:pt x="327" y="640"/>
                    </a:lnTo>
                    <a:lnTo>
                      <a:pt x="329" y="646"/>
                    </a:lnTo>
                    <a:lnTo>
                      <a:pt x="332" y="653"/>
                    </a:lnTo>
                    <a:lnTo>
                      <a:pt x="334" y="653"/>
                    </a:lnTo>
                    <a:lnTo>
                      <a:pt x="337" y="649"/>
                    </a:lnTo>
                    <a:lnTo>
                      <a:pt x="339" y="649"/>
                    </a:lnTo>
                    <a:lnTo>
                      <a:pt x="344" y="656"/>
                    </a:lnTo>
                    <a:lnTo>
                      <a:pt x="350" y="658"/>
                    </a:lnTo>
                    <a:lnTo>
                      <a:pt x="351" y="658"/>
                    </a:lnTo>
                    <a:lnTo>
                      <a:pt x="356" y="661"/>
                    </a:lnTo>
                    <a:lnTo>
                      <a:pt x="356" y="666"/>
                    </a:lnTo>
                    <a:lnTo>
                      <a:pt x="360" y="665"/>
                    </a:lnTo>
                    <a:lnTo>
                      <a:pt x="367" y="668"/>
                    </a:lnTo>
                    <a:lnTo>
                      <a:pt x="369" y="673"/>
                    </a:lnTo>
                    <a:lnTo>
                      <a:pt x="374" y="680"/>
                    </a:lnTo>
                    <a:lnTo>
                      <a:pt x="377" y="684"/>
                    </a:lnTo>
                    <a:lnTo>
                      <a:pt x="377" y="689"/>
                    </a:lnTo>
                    <a:lnTo>
                      <a:pt x="374" y="693"/>
                    </a:lnTo>
                    <a:lnTo>
                      <a:pt x="377" y="696"/>
                    </a:lnTo>
                    <a:lnTo>
                      <a:pt x="377" y="698"/>
                    </a:lnTo>
                    <a:lnTo>
                      <a:pt x="377" y="700"/>
                    </a:lnTo>
                    <a:lnTo>
                      <a:pt x="379" y="701"/>
                    </a:lnTo>
                    <a:lnTo>
                      <a:pt x="379" y="703"/>
                    </a:lnTo>
                    <a:lnTo>
                      <a:pt x="386" y="698"/>
                    </a:lnTo>
                    <a:lnTo>
                      <a:pt x="388" y="693"/>
                    </a:lnTo>
                    <a:lnTo>
                      <a:pt x="391" y="680"/>
                    </a:lnTo>
                    <a:lnTo>
                      <a:pt x="395" y="672"/>
                    </a:lnTo>
                    <a:lnTo>
                      <a:pt x="395" y="670"/>
                    </a:lnTo>
                    <a:lnTo>
                      <a:pt x="395" y="668"/>
                    </a:lnTo>
                    <a:lnTo>
                      <a:pt x="391" y="665"/>
                    </a:lnTo>
                    <a:lnTo>
                      <a:pt x="393" y="661"/>
                    </a:lnTo>
                    <a:lnTo>
                      <a:pt x="395" y="661"/>
                    </a:lnTo>
                    <a:lnTo>
                      <a:pt x="395" y="658"/>
                    </a:lnTo>
                    <a:lnTo>
                      <a:pt x="396" y="653"/>
                    </a:lnTo>
                    <a:lnTo>
                      <a:pt x="396" y="653"/>
                    </a:lnTo>
                    <a:lnTo>
                      <a:pt x="400" y="653"/>
                    </a:lnTo>
                    <a:lnTo>
                      <a:pt x="402" y="653"/>
                    </a:lnTo>
                    <a:lnTo>
                      <a:pt x="403" y="651"/>
                    </a:lnTo>
                    <a:lnTo>
                      <a:pt x="405" y="647"/>
                    </a:lnTo>
                    <a:lnTo>
                      <a:pt x="405" y="646"/>
                    </a:lnTo>
                    <a:lnTo>
                      <a:pt x="405" y="642"/>
                    </a:lnTo>
                    <a:lnTo>
                      <a:pt x="409" y="640"/>
                    </a:lnTo>
                    <a:lnTo>
                      <a:pt x="409" y="640"/>
                    </a:lnTo>
                    <a:lnTo>
                      <a:pt x="410" y="637"/>
                    </a:lnTo>
                    <a:lnTo>
                      <a:pt x="409" y="633"/>
                    </a:lnTo>
                    <a:lnTo>
                      <a:pt x="409" y="633"/>
                    </a:lnTo>
                    <a:lnTo>
                      <a:pt x="409" y="628"/>
                    </a:lnTo>
                    <a:lnTo>
                      <a:pt x="409" y="626"/>
                    </a:lnTo>
                    <a:lnTo>
                      <a:pt x="409" y="626"/>
                    </a:lnTo>
                    <a:lnTo>
                      <a:pt x="410" y="630"/>
                    </a:lnTo>
                    <a:lnTo>
                      <a:pt x="414" y="633"/>
                    </a:lnTo>
                    <a:lnTo>
                      <a:pt x="416" y="633"/>
                    </a:lnTo>
                    <a:lnTo>
                      <a:pt x="417" y="633"/>
                    </a:lnTo>
                    <a:lnTo>
                      <a:pt x="419" y="635"/>
                    </a:lnTo>
                    <a:lnTo>
                      <a:pt x="419" y="637"/>
                    </a:lnTo>
                    <a:lnTo>
                      <a:pt x="417" y="639"/>
                    </a:lnTo>
                    <a:lnTo>
                      <a:pt x="416" y="644"/>
                    </a:lnTo>
                    <a:lnTo>
                      <a:pt x="412" y="651"/>
                    </a:lnTo>
                    <a:lnTo>
                      <a:pt x="409" y="651"/>
                    </a:lnTo>
                    <a:lnTo>
                      <a:pt x="409" y="656"/>
                    </a:lnTo>
                    <a:lnTo>
                      <a:pt x="409" y="658"/>
                    </a:lnTo>
                    <a:lnTo>
                      <a:pt x="405" y="658"/>
                    </a:lnTo>
                    <a:lnTo>
                      <a:pt x="402" y="658"/>
                    </a:lnTo>
                    <a:lnTo>
                      <a:pt x="400" y="661"/>
                    </a:lnTo>
                    <a:lnTo>
                      <a:pt x="400" y="663"/>
                    </a:lnTo>
                    <a:lnTo>
                      <a:pt x="396" y="663"/>
                    </a:lnTo>
                    <a:lnTo>
                      <a:pt x="396" y="665"/>
                    </a:lnTo>
                    <a:lnTo>
                      <a:pt x="396" y="666"/>
                    </a:lnTo>
                    <a:lnTo>
                      <a:pt x="400" y="668"/>
                    </a:lnTo>
                    <a:lnTo>
                      <a:pt x="409" y="661"/>
                    </a:lnTo>
                    <a:lnTo>
                      <a:pt x="416" y="653"/>
                    </a:lnTo>
                    <a:lnTo>
                      <a:pt x="424" y="639"/>
                    </a:lnTo>
                    <a:lnTo>
                      <a:pt x="428" y="633"/>
                    </a:lnTo>
                    <a:lnTo>
                      <a:pt x="428" y="625"/>
                    </a:lnTo>
                    <a:lnTo>
                      <a:pt x="436" y="611"/>
                    </a:lnTo>
                    <a:lnTo>
                      <a:pt x="445" y="600"/>
                    </a:lnTo>
                    <a:lnTo>
                      <a:pt x="447" y="597"/>
                    </a:lnTo>
                    <a:lnTo>
                      <a:pt x="445" y="597"/>
                    </a:lnTo>
                    <a:lnTo>
                      <a:pt x="445" y="593"/>
                    </a:lnTo>
                    <a:lnTo>
                      <a:pt x="447" y="593"/>
                    </a:lnTo>
                    <a:lnTo>
                      <a:pt x="449" y="590"/>
                    </a:lnTo>
                    <a:lnTo>
                      <a:pt x="450" y="588"/>
                    </a:lnTo>
                    <a:lnTo>
                      <a:pt x="450" y="585"/>
                    </a:lnTo>
                    <a:lnTo>
                      <a:pt x="450" y="583"/>
                    </a:lnTo>
                    <a:lnTo>
                      <a:pt x="450" y="583"/>
                    </a:lnTo>
                    <a:lnTo>
                      <a:pt x="449" y="580"/>
                    </a:lnTo>
                    <a:lnTo>
                      <a:pt x="449" y="576"/>
                    </a:lnTo>
                    <a:lnTo>
                      <a:pt x="445" y="571"/>
                    </a:lnTo>
                    <a:lnTo>
                      <a:pt x="445" y="571"/>
                    </a:lnTo>
                    <a:lnTo>
                      <a:pt x="447" y="569"/>
                    </a:lnTo>
                    <a:lnTo>
                      <a:pt x="445" y="567"/>
                    </a:lnTo>
                    <a:lnTo>
                      <a:pt x="445" y="560"/>
                    </a:lnTo>
                    <a:lnTo>
                      <a:pt x="443" y="555"/>
                    </a:lnTo>
                    <a:lnTo>
                      <a:pt x="443" y="555"/>
                    </a:lnTo>
                    <a:lnTo>
                      <a:pt x="449" y="553"/>
                    </a:lnTo>
                    <a:lnTo>
                      <a:pt x="447" y="552"/>
                    </a:lnTo>
                    <a:lnTo>
                      <a:pt x="445" y="552"/>
                    </a:lnTo>
                    <a:lnTo>
                      <a:pt x="450" y="548"/>
                    </a:lnTo>
                    <a:lnTo>
                      <a:pt x="450" y="546"/>
                    </a:lnTo>
                    <a:lnTo>
                      <a:pt x="445" y="543"/>
                    </a:lnTo>
                    <a:lnTo>
                      <a:pt x="449" y="543"/>
                    </a:lnTo>
                    <a:lnTo>
                      <a:pt x="450" y="540"/>
                    </a:lnTo>
                    <a:lnTo>
                      <a:pt x="454" y="541"/>
                    </a:lnTo>
                    <a:lnTo>
                      <a:pt x="457" y="536"/>
                    </a:lnTo>
                    <a:lnTo>
                      <a:pt x="461" y="534"/>
                    </a:lnTo>
                    <a:lnTo>
                      <a:pt x="461" y="533"/>
                    </a:lnTo>
                    <a:lnTo>
                      <a:pt x="466" y="527"/>
                    </a:lnTo>
                    <a:lnTo>
                      <a:pt x="471" y="524"/>
                    </a:lnTo>
                    <a:lnTo>
                      <a:pt x="478" y="517"/>
                    </a:lnTo>
                    <a:lnTo>
                      <a:pt x="483" y="517"/>
                    </a:lnTo>
                    <a:lnTo>
                      <a:pt x="487" y="513"/>
                    </a:lnTo>
                    <a:lnTo>
                      <a:pt x="490" y="510"/>
                    </a:lnTo>
                    <a:lnTo>
                      <a:pt x="494" y="510"/>
                    </a:lnTo>
                    <a:lnTo>
                      <a:pt x="497" y="512"/>
                    </a:lnTo>
                    <a:lnTo>
                      <a:pt x="499" y="512"/>
                    </a:lnTo>
                    <a:lnTo>
                      <a:pt x="499" y="510"/>
                    </a:lnTo>
                    <a:lnTo>
                      <a:pt x="501" y="505"/>
                    </a:lnTo>
                    <a:lnTo>
                      <a:pt x="508" y="501"/>
                    </a:lnTo>
                    <a:lnTo>
                      <a:pt x="511" y="501"/>
                    </a:lnTo>
                    <a:lnTo>
                      <a:pt x="511" y="498"/>
                    </a:lnTo>
                    <a:lnTo>
                      <a:pt x="509" y="496"/>
                    </a:lnTo>
                    <a:lnTo>
                      <a:pt x="508" y="496"/>
                    </a:lnTo>
                    <a:lnTo>
                      <a:pt x="506" y="496"/>
                    </a:lnTo>
                    <a:lnTo>
                      <a:pt x="509" y="493"/>
                    </a:lnTo>
                    <a:lnTo>
                      <a:pt x="513" y="493"/>
                    </a:lnTo>
                    <a:lnTo>
                      <a:pt x="516" y="493"/>
                    </a:lnTo>
                    <a:lnTo>
                      <a:pt x="520" y="493"/>
                    </a:lnTo>
                    <a:lnTo>
                      <a:pt x="522" y="489"/>
                    </a:lnTo>
                    <a:lnTo>
                      <a:pt x="523" y="489"/>
                    </a:lnTo>
                    <a:lnTo>
                      <a:pt x="523" y="493"/>
                    </a:lnTo>
                    <a:lnTo>
                      <a:pt x="520" y="493"/>
                    </a:lnTo>
                    <a:lnTo>
                      <a:pt x="515" y="496"/>
                    </a:lnTo>
                    <a:lnTo>
                      <a:pt x="515" y="496"/>
                    </a:lnTo>
                    <a:lnTo>
                      <a:pt x="516" y="496"/>
                    </a:lnTo>
                    <a:lnTo>
                      <a:pt x="523" y="496"/>
                    </a:lnTo>
                    <a:lnTo>
                      <a:pt x="532" y="493"/>
                    </a:lnTo>
                    <a:lnTo>
                      <a:pt x="528" y="489"/>
                    </a:lnTo>
                    <a:lnTo>
                      <a:pt x="532" y="489"/>
                    </a:lnTo>
                    <a:lnTo>
                      <a:pt x="535" y="489"/>
                    </a:lnTo>
                    <a:lnTo>
                      <a:pt x="532" y="489"/>
                    </a:lnTo>
                    <a:lnTo>
                      <a:pt x="532" y="489"/>
                    </a:lnTo>
                    <a:lnTo>
                      <a:pt x="535" y="493"/>
                    </a:lnTo>
                    <a:lnTo>
                      <a:pt x="535" y="493"/>
                    </a:lnTo>
                    <a:lnTo>
                      <a:pt x="539" y="496"/>
                    </a:lnTo>
                    <a:lnTo>
                      <a:pt x="541" y="493"/>
                    </a:lnTo>
                    <a:lnTo>
                      <a:pt x="546" y="493"/>
                    </a:lnTo>
                    <a:lnTo>
                      <a:pt x="551" y="493"/>
                    </a:lnTo>
                    <a:lnTo>
                      <a:pt x="555" y="493"/>
                    </a:lnTo>
                    <a:lnTo>
                      <a:pt x="555" y="489"/>
                    </a:lnTo>
                    <a:lnTo>
                      <a:pt x="555" y="489"/>
                    </a:lnTo>
                    <a:lnTo>
                      <a:pt x="555" y="487"/>
                    </a:lnTo>
                    <a:lnTo>
                      <a:pt x="561" y="482"/>
                    </a:lnTo>
                    <a:lnTo>
                      <a:pt x="568" y="479"/>
                    </a:lnTo>
                    <a:lnTo>
                      <a:pt x="572" y="477"/>
                    </a:lnTo>
                    <a:lnTo>
                      <a:pt x="574" y="475"/>
                    </a:lnTo>
                    <a:lnTo>
                      <a:pt x="572" y="473"/>
                    </a:lnTo>
                    <a:lnTo>
                      <a:pt x="570" y="466"/>
                    </a:lnTo>
                    <a:lnTo>
                      <a:pt x="572" y="461"/>
                    </a:lnTo>
                    <a:lnTo>
                      <a:pt x="574" y="460"/>
                    </a:lnTo>
                    <a:lnTo>
                      <a:pt x="574" y="456"/>
                    </a:lnTo>
                    <a:lnTo>
                      <a:pt x="574" y="456"/>
                    </a:lnTo>
                    <a:lnTo>
                      <a:pt x="577" y="453"/>
                    </a:lnTo>
                    <a:lnTo>
                      <a:pt x="581" y="449"/>
                    </a:lnTo>
                    <a:lnTo>
                      <a:pt x="577" y="449"/>
                    </a:lnTo>
                    <a:lnTo>
                      <a:pt x="582" y="442"/>
                    </a:lnTo>
                    <a:lnTo>
                      <a:pt x="589" y="433"/>
                    </a:lnTo>
                    <a:lnTo>
                      <a:pt x="589" y="430"/>
                    </a:lnTo>
                    <a:lnTo>
                      <a:pt x="588" y="420"/>
                    </a:lnTo>
                    <a:lnTo>
                      <a:pt x="588" y="416"/>
                    </a:lnTo>
                    <a:lnTo>
                      <a:pt x="589" y="411"/>
                    </a:lnTo>
                    <a:lnTo>
                      <a:pt x="591" y="409"/>
                    </a:lnTo>
                    <a:lnTo>
                      <a:pt x="591" y="407"/>
                    </a:lnTo>
                    <a:lnTo>
                      <a:pt x="596" y="402"/>
                    </a:lnTo>
                    <a:lnTo>
                      <a:pt x="598" y="400"/>
                    </a:lnTo>
                    <a:lnTo>
                      <a:pt x="596" y="393"/>
                    </a:lnTo>
                    <a:lnTo>
                      <a:pt x="600" y="387"/>
                    </a:lnTo>
                    <a:lnTo>
                      <a:pt x="598" y="380"/>
                    </a:lnTo>
                    <a:lnTo>
                      <a:pt x="600" y="376"/>
                    </a:lnTo>
                    <a:lnTo>
                      <a:pt x="600" y="373"/>
                    </a:lnTo>
                    <a:lnTo>
                      <a:pt x="600" y="367"/>
                    </a:lnTo>
                    <a:lnTo>
                      <a:pt x="598" y="343"/>
                    </a:lnTo>
                    <a:lnTo>
                      <a:pt x="598" y="340"/>
                    </a:lnTo>
                    <a:lnTo>
                      <a:pt x="600" y="336"/>
                    </a:lnTo>
                    <a:lnTo>
                      <a:pt x="600" y="333"/>
                    </a:lnTo>
                    <a:lnTo>
                      <a:pt x="598" y="334"/>
                    </a:lnTo>
                    <a:lnTo>
                      <a:pt x="596" y="333"/>
                    </a:lnTo>
                    <a:lnTo>
                      <a:pt x="596" y="329"/>
                    </a:lnTo>
                    <a:lnTo>
                      <a:pt x="598" y="327"/>
                    </a:lnTo>
                    <a:lnTo>
                      <a:pt x="598" y="324"/>
                    </a:lnTo>
                    <a:lnTo>
                      <a:pt x="598" y="320"/>
                    </a:lnTo>
                    <a:lnTo>
                      <a:pt x="600" y="320"/>
                    </a:lnTo>
                    <a:lnTo>
                      <a:pt x="600" y="315"/>
                    </a:lnTo>
                    <a:lnTo>
                      <a:pt x="598" y="312"/>
                    </a:lnTo>
                    <a:lnTo>
                      <a:pt x="595" y="310"/>
                    </a:lnTo>
                    <a:lnTo>
                      <a:pt x="595" y="308"/>
                    </a:lnTo>
                    <a:lnTo>
                      <a:pt x="596" y="307"/>
                    </a:lnTo>
                    <a:lnTo>
                      <a:pt x="596" y="310"/>
                    </a:lnTo>
                    <a:lnTo>
                      <a:pt x="600" y="312"/>
                    </a:lnTo>
                    <a:lnTo>
                      <a:pt x="600" y="312"/>
                    </a:lnTo>
                    <a:lnTo>
                      <a:pt x="603" y="308"/>
                    </a:lnTo>
                    <a:lnTo>
                      <a:pt x="605" y="308"/>
                    </a:lnTo>
                    <a:lnTo>
                      <a:pt x="605" y="310"/>
                    </a:lnTo>
                    <a:lnTo>
                      <a:pt x="608" y="312"/>
                    </a:lnTo>
                    <a:lnTo>
                      <a:pt x="605" y="313"/>
                    </a:lnTo>
                    <a:lnTo>
                      <a:pt x="603" y="315"/>
                    </a:lnTo>
                    <a:lnTo>
                      <a:pt x="603" y="319"/>
                    </a:lnTo>
                    <a:lnTo>
                      <a:pt x="605" y="319"/>
                    </a:lnTo>
                    <a:lnTo>
                      <a:pt x="608" y="315"/>
                    </a:lnTo>
                    <a:lnTo>
                      <a:pt x="612" y="312"/>
                    </a:lnTo>
                    <a:lnTo>
                      <a:pt x="619" y="305"/>
                    </a:lnTo>
                    <a:lnTo>
                      <a:pt x="621" y="298"/>
                    </a:lnTo>
                    <a:lnTo>
                      <a:pt x="622" y="293"/>
                    </a:lnTo>
                    <a:lnTo>
                      <a:pt x="624" y="291"/>
                    </a:lnTo>
                    <a:lnTo>
                      <a:pt x="626" y="286"/>
                    </a:lnTo>
                    <a:lnTo>
                      <a:pt x="628" y="282"/>
                    </a:lnTo>
                    <a:lnTo>
                      <a:pt x="636" y="273"/>
                    </a:lnTo>
                    <a:lnTo>
                      <a:pt x="638" y="270"/>
                    </a:lnTo>
                    <a:lnTo>
                      <a:pt x="641" y="270"/>
                    </a:lnTo>
                    <a:lnTo>
                      <a:pt x="643" y="268"/>
                    </a:lnTo>
                    <a:lnTo>
                      <a:pt x="650" y="260"/>
                    </a:lnTo>
                    <a:lnTo>
                      <a:pt x="659" y="251"/>
                    </a:lnTo>
                    <a:lnTo>
                      <a:pt x="659" y="247"/>
                    </a:lnTo>
                    <a:lnTo>
                      <a:pt x="662" y="240"/>
                    </a:lnTo>
                    <a:lnTo>
                      <a:pt x="664" y="235"/>
                    </a:lnTo>
                    <a:lnTo>
                      <a:pt x="666" y="232"/>
                    </a:lnTo>
                    <a:lnTo>
                      <a:pt x="666" y="230"/>
                    </a:lnTo>
                    <a:lnTo>
                      <a:pt x="664" y="227"/>
                    </a:lnTo>
                    <a:lnTo>
                      <a:pt x="664" y="223"/>
                    </a:lnTo>
                    <a:lnTo>
                      <a:pt x="667" y="220"/>
                    </a:lnTo>
                    <a:lnTo>
                      <a:pt x="666" y="213"/>
                    </a:lnTo>
                    <a:lnTo>
                      <a:pt x="664" y="211"/>
                    </a:lnTo>
                    <a:lnTo>
                      <a:pt x="664" y="207"/>
                    </a:lnTo>
                    <a:lnTo>
                      <a:pt x="659" y="195"/>
                    </a:lnTo>
                    <a:lnTo>
                      <a:pt x="659" y="190"/>
                    </a:lnTo>
                    <a:lnTo>
                      <a:pt x="655" y="183"/>
                    </a:lnTo>
                    <a:lnTo>
                      <a:pt x="647" y="180"/>
                    </a:lnTo>
                    <a:lnTo>
                      <a:pt x="640" y="180"/>
                    </a:lnTo>
                    <a:lnTo>
                      <a:pt x="634" y="181"/>
                    </a:lnTo>
                    <a:lnTo>
                      <a:pt x="631" y="176"/>
                    </a:lnTo>
                    <a:lnTo>
                      <a:pt x="628" y="176"/>
                    </a:lnTo>
                    <a:lnTo>
                      <a:pt x="624" y="173"/>
                    </a:lnTo>
                    <a:lnTo>
                      <a:pt x="619" y="169"/>
                    </a:lnTo>
                    <a:lnTo>
                      <a:pt x="615" y="169"/>
                    </a:lnTo>
                    <a:lnTo>
                      <a:pt x="608" y="160"/>
                    </a:lnTo>
                    <a:lnTo>
                      <a:pt x="603" y="152"/>
                    </a:lnTo>
                    <a:lnTo>
                      <a:pt x="600" y="152"/>
                    </a:lnTo>
                    <a:lnTo>
                      <a:pt x="595" y="147"/>
                    </a:lnTo>
                    <a:lnTo>
                      <a:pt x="591" y="148"/>
                    </a:lnTo>
                    <a:lnTo>
                      <a:pt x="581" y="141"/>
                    </a:lnTo>
                    <a:lnTo>
                      <a:pt x="577" y="141"/>
                    </a:lnTo>
                    <a:lnTo>
                      <a:pt x="572" y="138"/>
                    </a:lnTo>
                    <a:lnTo>
                      <a:pt x="568" y="141"/>
                    </a:lnTo>
                    <a:lnTo>
                      <a:pt x="563" y="141"/>
                    </a:lnTo>
                    <a:lnTo>
                      <a:pt x="560" y="138"/>
                    </a:lnTo>
                    <a:lnTo>
                      <a:pt x="558" y="141"/>
                    </a:lnTo>
                    <a:lnTo>
                      <a:pt x="555" y="141"/>
                    </a:lnTo>
                    <a:lnTo>
                      <a:pt x="555" y="141"/>
                    </a:lnTo>
                    <a:lnTo>
                      <a:pt x="549" y="136"/>
                    </a:lnTo>
                    <a:lnTo>
                      <a:pt x="549" y="138"/>
                    </a:lnTo>
                    <a:lnTo>
                      <a:pt x="546" y="136"/>
                    </a:lnTo>
                    <a:lnTo>
                      <a:pt x="546" y="138"/>
                    </a:lnTo>
                    <a:lnTo>
                      <a:pt x="546" y="141"/>
                    </a:lnTo>
                    <a:lnTo>
                      <a:pt x="542" y="138"/>
                    </a:lnTo>
                    <a:lnTo>
                      <a:pt x="542" y="136"/>
                    </a:lnTo>
                    <a:lnTo>
                      <a:pt x="541" y="136"/>
                    </a:lnTo>
                    <a:lnTo>
                      <a:pt x="541" y="136"/>
                    </a:lnTo>
                    <a:lnTo>
                      <a:pt x="539" y="138"/>
                    </a:lnTo>
                    <a:lnTo>
                      <a:pt x="535" y="136"/>
                    </a:lnTo>
                    <a:lnTo>
                      <a:pt x="532" y="136"/>
                    </a:lnTo>
                    <a:lnTo>
                      <a:pt x="528" y="136"/>
                    </a:lnTo>
                    <a:lnTo>
                      <a:pt x="520" y="131"/>
                    </a:lnTo>
                    <a:lnTo>
                      <a:pt x="516" y="133"/>
                    </a:lnTo>
                    <a:lnTo>
                      <a:pt x="516" y="133"/>
                    </a:lnTo>
                    <a:lnTo>
                      <a:pt x="516" y="133"/>
                    </a:lnTo>
                    <a:lnTo>
                      <a:pt x="516" y="136"/>
                    </a:lnTo>
                    <a:lnTo>
                      <a:pt x="513" y="133"/>
                    </a:lnTo>
                    <a:lnTo>
                      <a:pt x="513" y="136"/>
                    </a:lnTo>
                    <a:lnTo>
                      <a:pt x="513" y="136"/>
                    </a:lnTo>
                    <a:lnTo>
                      <a:pt x="509" y="136"/>
                    </a:lnTo>
                    <a:lnTo>
                      <a:pt x="508" y="141"/>
                    </a:lnTo>
                    <a:lnTo>
                      <a:pt x="508" y="143"/>
                    </a:lnTo>
                    <a:lnTo>
                      <a:pt x="506" y="141"/>
                    </a:lnTo>
                    <a:lnTo>
                      <a:pt x="504" y="138"/>
                    </a:lnTo>
                    <a:lnTo>
                      <a:pt x="504" y="138"/>
                    </a:lnTo>
                    <a:lnTo>
                      <a:pt x="504" y="141"/>
                    </a:lnTo>
                    <a:lnTo>
                      <a:pt x="501" y="147"/>
                    </a:lnTo>
                    <a:lnTo>
                      <a:pt x="501" y="152"/>
                    </a:lnTo>
                    <a:lnTo>
                      <a:pt x="501" y="147"/>
                    </a:lnTo>
                    <a:lnTo>
                      <a:pt x="501" y="143"/>
                    </a:lnTo>
                    <a:lnTo>
                      <a:pt x="501" y="141"/>
                    </a:lnTo>
                    <a:lnTo>
                      <a:pt x="501" y="133"/>
                    </a:lnTo>
                    <a:lnTo>
                      <a:pt x="504" y="133"/>
                    </a:lnTo>
                    <a:lnTo>
                      <a:pt x="501" y="133"/>
                    </a:lnTo>
                    <a:lnTo>
                      <a:pt x="501" y="133"/>
                    </a:lnTo>
                    <a:lnTo>
                      <a:pt x="504" y="127"/>
                    </a:lnTo>
                    <a:lnTo>
                      <a:pt x="499" y="122"/>
                    </a:lnTo>
                    <a:lnTo>
                      <a:pt x="495" y="117"/>
                    </a:lnTo>
                    <a:lnTo>
                      <a:pt x="494" y="117"/>
                    </a:lnTo>
                    <a:lnTo>
                      <a:pt x="489" y="117"/>
                    </a:lnTo>
                    <a:lnTo>
                      <a:pt x="487" y="120"/>
                    </a:lnTo>
                    <a:lnTo>
                      <a:pt x="485" y="120"/>
                    </a:lnTo>
                    <a:lnTo>
                      <a:pt x="483" y="119"/>
                    </a:lnTo>
                    <a:lnTo>
                      <a:pt x="482" y="117"/>
                    </a:lnTo>
                    <a:lnTo>
                      <a:pt x="482" y="115"/>
                    </a:lnTo>
                    <a:lnTo>
                      <a:pt x="478" y="114"/>
                    </a:lnTo>
                    <a:lnTo>
                      <a:pt x="478" y="114"/>
                    </a:lnTo>
                    <a:lnTo>
                      <a:pt x="476" y="114"/>
                    </a:lnTo>
                    <a:lnTo>
                      <a:pt x="473" y="110"/>
                    </a:lnTo>
                    <a:lnTo>
                      <a:pt x="471" y="114"/>
                    </a:lnTo>
                    <a:lnTo>
                      <a:pt x="471" y="114"/>
                    </a:lnTo>
                    <a:lnTo>
                      <a:pt x="469" y="110"/>
                    </a:lnTo>
                    <a:lnTo>
                      <a:pt x="469" y="108"/>
                    </a:lnTo>
                    <a:lnTo>
                      <a:pt x="466" y="110"/>
                    </a:lnTo>
                    <a:lnTo>
                      <a:pt x="462" y="108"/>
                    </a:lnTo>
                    <a:lnTo>
                      <a:pt x="457" y="105"/>
                    </a:lnTo>
                    <a:lnTo>
                      <a:pt x="456" y="105"/>
                    </a:lnTo>
                    <a:lnTo>
                      <a:pt x="454" y="105"/>
                    </a:lnTo>
                    <a:lnTo>
                      <a:pt x="454" y="105"/>
                    </a:lnTo>
                    <a:lnTo>
                      <a:pt x="450" y="105"/>
                    </a:lnTo>
                    <a:lnTo>
                      <a:pt x="450" y="105"/>
                    </a:lnTo>
                    <a:lnTo>
                      <a:pt x="449" y="105"/>
                    </a:lnTo>
                    <a:lnTo>
                      <a:pt x="447" y="105"/>
                    </a:lnTo>
                    <a:lnTo>
                      <a:pt x="443" y="105"/>
                    </a:lnTo>
                    <a:lnTo>
                      <a:pt x="440" y="105"/>
                    </a:lnTo>
                    <a:lnTo>
                      <a:pt x="438" y="110"/>
                    </a:lnTo>
                    <a:lnTo>
                      <a:pt x="438" y="110"/>
                    </a:lnTo>
                    <a:lnTo>
                      <a:pt x="435" y="114"/>
                    </a:lnTo>
                    <a:lnTo>
                      <a:pt x="431" y="117"/>
                    </a:lnTo>
                    <a:lnTo>
                      <a:pt x="424" y="120"/>
                    </a:lnTo>
                    <a:lnTo>
                      <a:pt x="419" y="126"/>
                    </a:lnTo>
                    <a:lnTo>
                      <a:pt x="419" y="131"/>
                    </a:lnTo>
                    <a:lnTo>
                      <a:pt x="419" y="133"/>
                    </a:lnTo>
                    <a:lnTo>
                      <a:pt x="417" y="136"/>
                    </a:lnTo>
                    <a:lnTo>
                      <a:pt x="414" y="141"/>
                    </a:lnTo>
                    <a:lnTo>
                      <a:pt x="414" y="141"/>
                    </a:lnTo>
                    <a:lnTo>
                      <a:pt x="414" y="145"/>
                    </a:lnTo>
                    <a:lnTo>
                      <a:pt x="414" y="152"/>
                    </a:lnTo>
                    <a:lnTo>
                      <a:pt x="412" y="148"/>
                    </a:lnTo>
                    <a:lnTo>
                      <a:pt x="410" y="143"/>
                    </a:lnTo>
                    <a:lnTo>
                      <a:pt x="410" y="141"/>
                    </a:lnTo>
                    <a:lnTo>
                      <a:pt x="412" y="138"/>
                    </a:lnTo>
                    <a:lnTo>
                      <a:pt x="416" y="136"/>
                    </a:lnTo>
                    <a:lnTo>
                      <a:pt x="416" y="133"/>
                    </a:lnTo>
                    <a:lnTo>
                      <a:pt x="417" y="127"/>
                    </a:lnTo>
                    <a:lnTo>
                      <a:pt x="417" y="126"/>
                    </a:lnTo>
                    <a:lnTo>
                      <a:pt x="414" y="126"/>
                    </a:lnTo>
                    <a:lnTo>
                      <a:pt x="410" y="127"/>
                    </a:lnTo>
                    <a:lnTo>
                      <a:pt x="405" y="126"/>
                    </a:lnTo>
                    <a:lnTo>
                      <a:pt x="402" y="126"/>
                    </a:lnTo>
                    <a:lnTo>
                      <a:pt x="400" y="127"/>
                    </a:lnTo>
                    <a:lnTo>
                      <a:pt x="396" y="124"/>
                    </a:lnTo>
                    <a:lnTo>
                      <a:pt x="400" y="126"/>
                    </a:lnTo>
                    <a:lnTo>
                      <a:pt x="402" y="122"/>
                    </a:lnTo>
                    <a:lnTo>
                      <a:pt x="405" y="122"/>
                    </a:lnTo>
                    <a:lnTo>
                      <a:pt x="410" y="122"/>
                    </a:lnTo>
                    <a:lnTo>
                      <a:pt x="414" y="122"/>
                    </a:lnTo>
                    <a:lnTo>
                      <a:pt x="416" y="119"/>
                    </a:lnTo>
                    <a:lnTo>
                      <a:pt x="417" y="119"/>
                    </a:lnTo>
                    <a:lnTo>
                      <a:pt x="419" y="120"/>
                    </a:lnTo>
                    <a:lnTo>
                      <a:pt x="419" y="119"/>
                    </a:lnTo>
                    <a:lnTo>
                      <a:pt x="424" y="117"/>
                    </a:lnTo>
                    <a:lnTo>
                      <a:pt x="428" y="115"/>
                    </a:lnTo>
                    <a:lnTo>
                      <a:pt x="428" y="114"/>
                    </a:lnTo>
                    <a:lnTo>
                      <a:pt x="433" y="108"/>
                    </a:lnTo>
                    <a:lnTo>
                      <a:pt x="433" y="101"/>
                    </a:lnTo>
                    <a:lnTo>
                      <a:pt x="435" y="101"/>
                    </a:lnTo>
                    <a:lnTo>
                      <a:pt x="435" y="98"/>
                    </a:lnTo>
                    <a:lnTo>
                      <a:pt x="431" y="96"/>
                    </a:lnTo>
                    <a:lnTo>
                      <a:pt x="428" y="94"/>
                    </a:lnTo>
                    <a:lnTo>
                      <a:pt x="424" y="94"/>
                    </a:lnTo>
                    <a:lnTo>
                      <a:pt x="419" y="96"/>
                    </a:lnTo>
                    <a:lnTo>
                      <a:pt x="414" y="98"/>
                    </a:lnTo>
                    <a:lnTo>
                      <a:pt x="409" y="94"/>
                    </a:lnTo>
                    <a:lnTo>
                      <a:pt x="402" y="94"/>
                    </a:lnTo>
                    <a:lnTo>
                      <a:pt x="396" y="100"/>
                    </a:lnTo>
                    <a:lnTo>
                      <a:pt x="396" y="101"/>
                    </a:lnTo>
                    <a:lnTo>
                      <a:pt x="400" y="101"/>
                    </a:lnTo>
                    <a:lnTo>
                      <a:pt x="400" y="105"/>
                    </a:lnTo>
                    <a:lnTo>
                      <a:pt x="396" y="105"/>
                    </a:lnTo>
                    <a:lnTo>
                      <a:pt x="396" y="105"/>
                    </a:lnTo>
                    <a:lnTo>
                      <a:pt x="395" y="108"/>
                    </a:lnTo>
                    <a:lnTo>
                      <a:pt x="395" y="105"/>
                    </a:lnTo>
                    <a:lnTo>
                      <a:pt x="393" y="105"/>
                    </a:lnTo>
                    <a:lnTo>
                      <a:pt x="389" y="105"/>
                    </a:lnTo>
                    <a:lnTo>
                      <a:pt x="384" y="110"/>
                    </a:lnTo>
                    <a:lnTo>
                      <a:pt x="379" y="117"/>
                    </a:lnTo>
                    <a:lnTo>
                      <a:pt x="383" y="114"/>
                    </a:lnTo>
                    <a:lnTo>
                      <a:pt x="383" y="110"/>
                    </a:lnTo>
                    <a:lnTo>
                      <a:pt x="384" y="105"/>
                    </a:lnTo>
                    <a:lnTo>
                      <a:pt x="384" y="105"/>
                    </a:lnTo>
                    <a:lnTo>
                      <a:pt x="383" y="105"/>
                    </a:lnTo>
                    <a:lnTo>
                      <a:pt x="379" y="108"/>
                    </a:lnTo>
                    <a:lnTo>
                      <a:pt x="377" y="110"/>
                    </a:lnTo>
                    <a:lnTo>
                      <a:pt x="377" y="115"/>
                    </a:lnTo>
                    <a:lnTo>
                      <a:pt x="374" y="117"/>
                    </a:lnTo>
                    <a:lnTo>
                      <a:pt x="377" y="114"/>
                    </a:lnTo>
                    <a:lnTo>
                      <a:pt x="377" y="108"/>
                    </a:lnTo>
                    <a:lnTo>
                      <a:pt x="383" y="101"/>
                    </a:lnTo>
                    <a:lnTo>
                      <a:pt x="384" y="96"/>
                    </a:lnTo>
                    <a:lnTo>
                      <a:pt x="386" y="93"/>
                    </a:lnTo>
                    <a:lnTo>
                      <a:pt x="389" y="89"/>
                    </a:lnTo>
                    <a:lnTo>
                      <a:pt x="393" y="87"/>
                    </a:lnTo>
                    <a:lnTo>
                      <a:pt x="396" y="86"/>
                    </a:lnTo>
                    <a:lnTo>
                      <a:pt x="400" y="82"/>
                    </a:lnTo>
                    <a:lnTo>
                      <a:pt x="409" y="74"/>
                    </a:lnTo>
                    <a:lnTo>
                      <a:pt x="409" y="72"/>
                    </a:lnTo>
                    <a:lnTo>
                      <a:pt x="409" y="70"/>
                    </a:lnTo>
                    <a:lnTo>
                      <a:pt x="409" y="68"/>
                    </a:lnTo>
                    <a:lnTo>
                      <a:pt x="409" y="67"/>
                    </a:lnTo>
                    <a:lnTo>
                      <a:pt x="409" y="65"/>
                    </a:lnTo>
                    <a:lnTo>
                      <a:pt x="409" y="63"/>
                    </a:lnTo>
                    <a:lnTo>
                      <a:pt x="405" y="58"/>
                    </a:lnTo>
                    <a:lnTo>
                      <a:pt x="402" y="60"/>
                    </a:lnTo>
                    <a:lnTo>
                      <a:pt x="400" y="60"/>
                    </a:lnTo>
                    <a:lnTo>
                      <a:pt x="400" y="58"/>
                    </a:lnTo>
                    <a:lnTo>
                      <a:pt x="396" y="51"/>
                    </a:lnTo>
                    <a:lnTo>
                      <a:pt x="393" y="42"/>
                    </a:lnTo>
                    <a:lnTo>
                      <a:pt x="389" y="37"/>
                    </a:lnTo>
                    <a:lnTo>
                      <a:pt x="388" y="32"/>
                    </a:lnTo>
                    <a:lnTo>
                      <a:pt x="388" y="27"/>
                    </a:lnTo>
                    <a:lnTo>
                      <a:pt x="386" y="23"/>
                    </a:lnTo>
                    <a:lnTo>
                      <a:pt x="386" y="23"/>
                    </a:lnTo>
                    <a:lnTo>
                      <a:pt x="386" y="23"/>
                    </a:lnTo>
                    <a:close/>
                  </a:path>
                </a:pathLst>
              </a:custGeom>
              <a:solidFill>
                <a:srgbClr val="B7013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2" name="Freeform 45"/>
              <p:cNvSpPr>
                <a:spLocks/>
              </p:cNvSpPr>
              <p:nvPr/>
            </p:nvSpPr>
            <p:spPr bwMode="auto">
              <a:xfrm>
                <a:off x="2338388" y="3919538"/>
                <a:ext cx="325438" cy="463550"/>
              </a:xfrm>
              <a:custGeom>
                <a:avLst/>
                <a:gdLst/>
                <a:ahLst/>
                <a:cxnLst>
                  <a:cxn ang="0">
                    <a:pos x="165" y="240"/>
                  </a:cxn>
                  <a:cxn ang="0">
                    <a:pos x="164" y="210"/>
                  </a:cxn>
                  <a:cxn ang="0">
                    <a:pos x="165" y="200"/>
                  </a:cxn>
                  <a:cxn ang="0">
                    <a:pos x="179" y="187"/>
                  </a:cxn>
                  <a:cxn ang="0">
                    <a:pos x="195" y="184"/>
                  </a:cxn>
                  <a:cxn ang="0">
                    <a:pos x="205" y="196"/>
                  </a:cxn>
                  <a:cxn ang="0">
                    <a:pos x="197" y="175"/>
                  </a:cxn>
                  <a:cxn ang="0">
                    <a:pos x="192" y="172"/>
                  </a:cxn>
                  <a:cxn ang="0">
                    <a:pos x="190" y="144"/>
                  </a:cxn>
                  <a:cxn ang="0">
                    <a:pos x="192" y="125"/>
                  </a:cxn>
                  <a:cxn ang="0">
                    <a:pos x="197" y="109"/>
                  </a:cxn>
                  <a:cxn ang="0">
                    <a:pos x="183" y="109"/>
                  </a:cxn>
                  <a:cxn ang="0">
                    <a:pos x="172" y="107"/>
                  </a:cxn>
                  <a:cxn ang="0">
                    <a:pos x="141" y="93"/>
                  </a:cxn>
                  <a:cxn ang="0">
                    <a:pos x="124" y="93"/>
                  </a:cxn>
                  <a:cxn ang="0">
                    <a:pos x="113" y="85"/>
                  </a:cxn>
                  <a:cxn ang="0">
                    <a:pos x="105" y="55"/>
                  </a:cxn>
                  <a:cxn ang="0">
                    <a:pos x="105" y="45"/>
                  </a:cxn>
                  <a:cxn ang="0">
                    <a:pos x="113" y="22"/>
                  </a:cxn>
                  <a:cxn ang="0">
                    <a:pos x="132" y="8"/>
                  </a:cxn>
                  <a:cxn ang="0">
                    <a:pos x="136" y="3"/>
                  </a:cxn>
                  <a:cxn ang="0">
                    <a:pos x="124" y="3"/>
                  </a:cxn>
                  <a:cxn ang="0">
                    <a:pos x="117" y="7"/>
                  </a:cxn>
                  <a:cxn ang="0">
                    <a:pos x="98" y="19"/>
                  </a:cxn>
                  <a:cxn ang="0">
                    <a:pos x="84" y="26"/>
                  </a:cxn>
                  <a:cxn ang="0">
                    <a:pos x="80" y="26"/>
                  </a:cxn>
                  <a:cxn ang="0">
                    <a:pos x="66" y="26"/>
                  </a:cxn>
                  <a:cxn ang="0">
                    <a:pos x="58" y="43"/>
                  </a:cxn>
                  <a:cxn ang="0">
                    <a:pos x="53" y="53"/>
                  </a:cxn>
                  <a:cxn ang="0">
                    <a:pos x="39" y="64"/>
                  </a:cxn>
                  <a:cxn ang="0">
                    <a:pos x="39" y="80"/>
                  </a:cxn>
                  <a:cxn ang="0">
                    <a:pos x="32" y="73"/>
                  </a:cxn>
                  <a:cxn ang="0">
                    <a:pos x="28" y="74"/>
                  </a:cxn>
                  <a:cxn ang="0">
                    <a:pos x="19" y="90"/>
                  </a:cxn>
                  <a:cxn ang="0">
                    <a:pos x="25" y="102"/>
                  </a:cxn>
                  <a:cxn ang="0">
                    <a:pos x="28" y="113"/>
                  </a:cxn>
                  <a:cxn ang="0">
                    <a:pos x="28" y="123"/>
                  </a:cxn>
                  <a:cxn ang="0">
                    <a:pos x="25" y="144"/>
                  </a:cxn>
                  <a:cxn ang="0">
                    <a:pos x="33" y="151"/>
                  </a:cxn>
                  <a:cxn ang="0">
                    <a:pos x="23" y="168"/>
                  </a:cxn>
                  <a:cxn ang="0">
                    <a:pos x="2" y="191"/>
                  </a:cxn>
                  <a:cxn ang="0">
                    <a:pos x="21" y="205"/>
                  </a:cxn>
                  <a:cxn ang="0">
                    <a:pos x="35" y="217"/>
                  </a:cxn>
                  <a:cxn ang="0">
                    <a:pos x="47" y="212"/>
                  </a:cxn>
                  <a:cxn ang="0">
                    <a:pos x="59" y="219"/>
                  </a:cxn>
                  <a:cxn ang="0">
                    <a:pos x="73" y="224"/>
                  </a:cxn>
                  <a:cxn ang="0">
                    <a:pos x="84" y="240"/>
                  </a:cxn>
                  <a:cxn ang="0">
                    <a:pos x="98" y="253"/>
                  </a:cxn>
                  <a:cxn ang="0">
                    <a:pos x="106" y="260"/>
                  </a:cxn>
                  <a:cxn ang="0">
                    <a:pos x="127" y="259"/>
                  </a:cxn>
                  <a:cxn ang="0">
                    <a:pos x="143" y="260"/>
                  </a:cxn>
                  <a:cxn ang="0">
                    <a:pos x="141" y="286"/>
                  </a:cxn>
                  <a:cxn ang="0">
                    <a:pos x="152" y="292"/>
                  </a:cxn>
                </a:cxnLst>
                <a:rect l="0" t="0" r="r" b="b"/>
                <a:pathLst>
                  <a:path w="205" h="292">
                    <a:moveTo>
                      <a:pt x="152" y="292"/>
                    </a:moveTo>
                    <a:lnTo>
                      <a:pt x="155" y="283"/>
                    </a:lnTo>
                    <a:lnTo>
                      <a:pt x="165" y="246"/>
                    </a:lnTo>
                    <a:lnTo>
                      <a:pt x="165" y="245"/>
                    </a:lnTo>
                    <a:lnTo>
                      <a:pt x="165" y="240"/>
                    </a:lnTo>
                    <a:lnTo>
                      <a:pt x="162" y="231"/>
                    </a:lnTo>
                    <a:lnTo>
                      <a:pt x="155" y="227"/>
                    </a:lnTo>
                    <a:lnTo>
                      <a:pt x="152" y="224"/>
                    </a:lnTo>
                    <a:lnTo>
                      <a:pt x="152" y="213"/>
                    </a:lnTo>
                    <a:lnTo>
                      <a:pt x="164" y="210"/>
                    </a:lnTo>
                    <a:lnTo>
                      <a:pt x="167" y="212"/>
                    </a:lnTo>
                    <a:lnTo>
                      <a:pt x="169" y="210"/>
                    </a:lnTo>
                    <a:lnTo>
                      <a:pt x="165" y="206"/>
                    </a:lnTo>
                    <a:lnTo>
                      <a:pt x="167" y="205"/>
                    </a:lnTo>
                    <a:lnTo>
                      <a:pt x="165" y="200"/>
                    </a:lnTo>
                    <a:lnTo>
                      <a:pt x="159" y="200"/>
                    </a:lnTo>
                    <a:lnTo>
                      <a:pt x="157" y="196"/>
                    </a:lnTo>
                    <a:lnTo>
                      <a:pt x="159" y="189"/>
                    </a:lnTo>
                    <a:lnTo>
                      <a:pt x="178" y="189"/>
                    </a:lnTo>
                    <a:lnTo>
                      <a:pt x="179" y="187"/>
                    </a:lnTo>
                    <a:lnTo>
                      <a:pt x="183" y="187"/>
                    </a:lnTo>
                    <a:lnTo>
                      <a:pt x="185" y="189"/>
                    </a:lnTo>
                    <a:lnTo>
                      <a:pt x="186" y="189"/>
                    </a:lnTo>
                    <a:lnTo>
                      <a:pt x="190" y="184"/>
                    </a:lnTo>
                    <a:lnTo>
                      <a:pt x="195" y="184"/>
                    </a:lnTo>
                    <a:lnTo>
                      <a:pt x="197" y="186"/>
                    </a:lnTo>
                    <a:lnTo>
                      <a:pt x="200" y="189"/>
                    </a:lnTo>
                    <a:lnTo>
                      <a:pt x="200" y="194"/>
                    </a:lnTo>
                    <a:lnTo>
                      <a:pt x="200" y="196"/>
                    </a:lnTo>
                    <a:lnTo>
                      <a:pt x="205" y="196"/>
                    </a:lnTo>
                    <a:lnTo>
                      <a:pt x="205" y="194"/>
                    </a:lnTo>
                    <a:lnTo>
                      <a:pt x="200" y="186"/>
                    </a:lnTo>
                    <a:lnTo>
                      <a:pt x="197" y="180"/>
                    </a:lnTo>
                    <a:lnTo>
                      <a:pt x="200" y="179"/>
                    </a:lnTo>
                    <a:lnTo>
                      <a:pt x="197" y="175"/>
                    </a:lnTo>
                    <a:lnTo>
                      <a:pt x="197" y="173"/>
                    </a:lnTo>
                    <a:lnTo>
                      <a:pt x="195" y="172"/>
                    </a:lnTo>
                    <a:lnTo>
                      <a:pt x="195" y="172"/>
                    </a:lnTo>
                    <a:lnTo>
                      <a:pt x="193" y="172"/>
                    </a:lnTo>
                    <a:lnTo>
                      <a:pt x="192" y="172"/>
                    </a:lnTo>
                    <a:lnTo>
                      <a:pt x="190" y="168"/>
                    </a:lnTo>
                    <a:lnTo>
                      <a:pt x="197" y="160"/>
                    </a:lnTo>
                    <a:lnTo>
                      <a:pt x="192" y="149"/>
                    </a:lnTo>
                    <a:lnTo>
                      <a:pt x="192" y="149"/>
                    </a:lnTo>
                    <a:lnTo>
                      <a:pt x="190" y="144"/>
                    </a:lnTo>
                    <a:lnTo>
                      <a:pt x="190" y="140"/>
                    </a:lnTo>
                    <a:lnTo>
                      <a:pt x="192" y="135"/>
                    </a:lnTo>
                    <a:lnTo>
                      <a:pt x="192" y="133"/>
                    </a:lnTo>
                    <a:lnTo>
                      <a:pt x="190" y="126"/>
                    </a:lnTo>
                    <a:lnTo>
                      <a:pt x="192" y="125"/>
                    </a:lnTo>
                    <a:lnTo>
                      <a:pt x="197" y="123"/>
                    </a:lnTo>
                    <a:lnTo>
                      <a:pt x="197" y="121"/>
                    </a:lnTo>
                    <a:lnTo>
                      <a:pt x="197" y="118"/>
                    </a:lnTo>
                    <a:lnTo>
                      <a:pt x="197" y="114"/>
                    </a:lnTo>
                    <a:lnTo>
                      <a:pt x="197" y="109"/>
                    </a:lnTo>
                    <a:lnTo>
                      <a:pt x="195" y="107"/>
                    </a:lnTo>
                    <a:lnTo>
                      <a:pt x="192" y="107"/>
                    </a:lnTo>
                    <a:lnTo>
                      <a:pt x="192" y="109"/>
                    </a:lnTo>
                    <a:lnTo>
                      <a:pt x="186" y="109"/>
                    </a:lnTo>
                    <a:lnTo>
                      <a:pt x="183" y="109"/>
                    </a:lnTo>
                    <a:lnTo>
                      <a:pt x="179" y="109"/>
                    </a:lnTo>
                    <a:lnTo>
                      <a:pt x="178" y="109"/>
                    </a:lnTo>
                    <a:lnTo>
                      <a:pt x="174" y="109"/>
                    </a:lnTo>
                    <a:lnTo>
                      <a:pt x="172" y="109"/>
                    </a:lnTo>
                    <a:lnTo>
                      <a:pt x="172" y="107"/>
                    </a:lnTo>
                    <a:lnTo>
                      <a:pt x="167" y="109"/>
                    </a:lnTo>
                    <a:lnTo>
                      <a:pt x="155" y="95"/>
                    </a:lnTo>
                    <a:lnTo>
                      <a:pt x="152" y="93"/>
                    </a:lnTo>
                    <a:lnTo>
                      <a:pt x="146" y="93"/>
                    </a:lnTo>
                    <a:lnTo>
                      <a:pt x="141" y="93"/>
                    </a:lnTo>
                    <a:lnTo>
                      <a:pt x="139" y="95"/>
                    </a:lnTo>
                    <a:lnTo>
                      <a:pt x="134" y="93"/>
                    </a:lnTo>
                    <a:lnTo>
                      <a:pt x="132" y="93"/>
                    </a:lnTo>
                    <a:lnTo>
                      <a:pt x="127" y="95"/>
                    </a:lnTo>
                    <a:lnTo>
                      <a:pt x="124" y="93"/>
                    </a:lnTo>
                    <a:lnTo>
                      <a:pt x="120" y="92"/>
                    </a:lnTo>
                    <a:lnTo>
                      <a:pt x="117" y="90"/>
                    </a:lnTo>
                    <a:lnTo>
                      <a:pt x="113" y="86"/>
                    </a:lnTo>
                    <a:lnTo>
                      <a:pt x="113" y="85"/>
                    </a:lnTo>
                    <a:lnTo>
                      <a:pt x="113" y="85"/>
                    </a:lnTo>
                    <a:lnTo>
                      <a:pt x="113" y="81"/>
                    </a:lnTo>
                    <a:lnTo>
                      <a:pt x="115" y="78"/>
                    </a:lnTo>
                    <a:lnTo>
                      <a:pt x="115" y="74"/>
                    </a:lnTo>
                    <a:lnTo>
                      <a:pt x="112" y="69"/>
                    </a:lnTo>
                    <a:lnTo>
                      <a:pt x="105" y="55"/>
                    </a:lnTo>
                    <a:lnTo>
                      <a:pt x="101" y="55"/>
                    </a:lnTo>
                    <a:lnTo>
                      <a:pt x="98" y="59"/>
                    </a:lnTo>
                    <a:lnTo>
                      <a:pt x="101" y="53"/>
                    </a:lnTo>
                    <a:lnTo>
                      <a:pt x="101" y="50"/>
                    </a:lnTo>
                    <a:lnTo>
                      <a:pt x="105" y="45"/>
                    </a:lnTo>
                    <a:lnTo>
                      <a:pt x="101" y="41"/>
                    </a:lnTo>
                    <a:lnTo>
                      <a:pt x="105" y="38"/>
                    </a:lnTo>
                    <a:lnTo>
                      <a:pt x="108" y="31"/>
                    </a:lnTo>
                    <a:lnTo>
                      <a:pt x="110" y="27"/>
                    </a:lnTo>
                    <a:lnTo>
                      <a:pt x="113" y="22"/>
                    </a:lnTo>
                    <a:lnTo>
                      <a:pt x="117" y="22"/>
                    </a:lnTo>
                    <a:lnTo>
                      <a:pt x="119" y="20"/>
                    </a:lnTo>
                    <a:lnTo>
                      <a:pt x="124" y="13"/>
                    </a:lnTo>
                    <a:lnTo>
                      <a:pt x="132" y="10"/>
                    </a:lnTo>
                    <a:lnTo>
                      <a:pt x="132" y="8"/>
                    </a:lnTo>
                    <a:lnTo>
                      <a:pt x="134" y="8"/>
                    </a:lnTo>
                    <a:lnTo>
                      <a:pt x="134" y="8"/>
                    </a:lnTo>
                    <a:lnTo>
                      <a:pt x="138" y="7"/>
                    </a:lnTo>
                    <a:lnTo>
                      <a:pt x="138" y="5"/>
                    </a:lnTo>
                    <a:lnTo>
                      <a:pt x="136" y="3"/>
                    </a:lnTo>
                    <a:lnTo>
                      <a:pt x="129" y="0"/>
                    </a:lnTo>
                    <a:lnTo>
                      <a:pt x="127" y="0"/>
                    </a:lnTo>
                    <a:lnTo>
                      <a:pt x="127" y="0"/>
                    </a:lnTo>
                    <a:lnTo>
                      <a:pt x="127" y="3"/>
                    </a:lnTo>
                    <a:lnTo>
                      <a:pt x="124" y="3"/>
                    </a:lnTo>
                    <a:lnTo>
                      <a:pt x="120" y="3"/>
                    </a:lnTo>
                    <a:lnTo>
                      <a:pt x="120" y="3"/>
                    </a:lnTo>
                    <a:lnTo>
                      <a:pt x="117" y="3"/>
                    </a:lnTo>
                    <a:lnTo>
                      <a:pt x="115" y="5"/>
                    </a:lnTo>
                    <a:lnTo>
                      <a:pt x="117" y="7"/>
                    </a:lnTo>
                    <a:lnTo>
                      <a:pt x="117" y="8"/>
                    </a:lnTo>
                    <a:lnTo>
                      <a:pt x="112" y="12"/>
                    </a:lnTo>
                    <a:lnTo>
                      <a:pt x="105" y="15"/>
                    </a:lnTo>
                    <a:lnTo>
                      <a:pt x="101" y="17"/>
                    </a:lnTo>
                    <a:lnTo>
                      <a:pt x="98" y="19"/>
                    </a:lnTo>
                    <a:lnTo>
                      <a:pt x="92" y="19"/>
                    </a:lnTo>
                    <a:lnTo>
                      <a:pt x="87" y="19"/>
                    </a:lnTo>
                    <a:lnTo>
                      <a:pt x="82" y="20"/>
                    </a:lnTo>
                    <a:lnTo>
                      <a:pt x="84" y="22"/>
                    </a:lnTo>
                    <a:lnTo>
                      <a:pt x="84" y="26"/>
                    </a:lnTo>
                    <a:lnTo>
                      <a:pt x="84" y="27"/>
                    </a:lnTo>
                    <a:lnTo>
                      <a:pt x="80" y="31"/>
                    </a:lnTo>
                    <a:lnTo>
                      <a:pt x="79" y="31"/>
                    </a:lnTo>
                    <a:lnTo>
                      <a:pt x="80" y="26"/>
                    </a:lnTo>
                    <a:lnTo>
                      <a:pt x="80" y="26"/>
                    </a:lnTo>
                    <a:lnTo>
                      <a:pt x="82" y="26"/>
                    </a:lnTo>
                    <a:lnTo>
                      <a:pt x="79" y="26"/>
                    </a:lnTo>
                    <a:lnTo>
                      <a:pt x="75" y="22"/>
                    </a:lnTo>
                    <a:lnTo>
                      <a:pt x="73" y="22"/>
                    </a:lnTo>
                    <a:lnTo>
                      <a:pt x="66" y="26"/>
                    </a:lnTo>
                    <a:lnTo>
                      <a:pt x="66" y="27"/>
                    </a:lnTo>
                    <a:lnTo>
                      <a:pt x="61" y="33"/>
                    </a:lnTo>
                    <a:lnTo>
                      <a:pt x="56" y="41"/>
                    </a:lnTo>
                    <a:lnTo>
                      <a:pt x="56" y="45"/>
                    </a:lnTo>
                    <a:lnTo>
                      <a:pt x="58" y="43"/>
                    </a:lnTo>
                    <a:lnTo>
                      <a:pt x="59" y="45"/>
                    </a:lnTo>
                    <a:lnTo>
                      <a:pt x="59" y="48"/>
                    </a:lnTo>
                    <a:lnTo>
                      <a:pt x="58" y="50"/>
                    </a:lnTo>
                    <a:lnTo>
                      <a:pt x="56" y="53"/>
                    </a:lnTo>
                    <a:lnTo>
                      <a:pt x="53" y="53"/>
                    </a:lnTo>
                    <a:lnTo>
                      <a:pt x="51" y="53"/>
                    </a:lnTo>
                    <a:lnTo>
                      <a:pt x="47" y="59"/>
                    </a:lnTo>
                    <a:lnTo>
                      <a:pt x="46" y="59"/>
                    </a:lnTo>
                    <a:lnTo>
                      <a:pt x="42" y="64"/>
                    </a:lnTo>
                    <a:lnTo>
                      <a:pt x="39" y="64"/>
                    </a:lnTo>
                    <a:lnTo>
                      <a:pt x="37" y="64"/>
                    </a:lnTo>
                    <a:lnTo>
                      <a:pt x="37" y="67"/>
                    </a:lnTo>
                    <a:lnTo>
                      <a:pt x="40" y="71"/>
                    </a:lnTo>
                    <a:lnTo>
                      <a:pt x="40" y="76"/>
                    </a:lnTo>
                    <a:lnTo>
                      <a:pt x="39" y="80"/>
                    </a:lnTo>
                    <a:lnTo>
                      <a:pt x="37" y="80"/>
                    </a:lnTo>
                    <a:lnTo>
                      <a:pt x="33" y="76"/>
                    </a:lnTo>
                    <a:lnTo>
                      <a:pt x="33" y="74"/>
                    </a:lnTo>
                    <a:lnTo>
                      <a:pt x="35" y="73"/>
                    </a:lnTo>
                    <a:lnTo>
                      <a:pt x="32" y="73"/>
                    </a:lnTo>
                    <a:lnTo>
                      <a:pt x="32" y="69"/>
                    </a:lnTo>
                    <a:lnTo>
                      <a:pt x="28" y="66"/>
                    </a:lnTo>
                    <a:lnTo>
                      <a:pt x="28" y="67"/>
                    </a:lnTo>
                    <a:lnTo>
                      <a:pt x="28" y="71"/>
                    </a:lnTo>
                    <a:lnTo>
                      <a:pt x="28" y="74"/>
                    </a:lnTo>
                    <a:lnTo>
                      <a:pt x="28" y="80"/>
                    </a:lnTo>
                    <a:lnTo>
                      <a:pt x="25" y="85"/>
                    </a:lnTo>
                    <a:lnTo>
                      <a:pt x="25" y="85"/>
                    </a:lnTo>
                    <a:lnTo>
                      <a:pt x="23" y="85"/>
                    </a:lnTo>
                    <a:lnTo>
                      <a:pt x="19" y="90"/>
                    </a:lnTo>
                    <a:lnTo>
                      <a:pt x="21" y="90"/>
                    </a:lnTo>
                    <a:lnTo>
                      <a:pt x="21" y="95"/>
                    </a:lnTo>
                    <a:lnTo>
                      <a:pt x="21" y="99"/>
                    </a:lnTo>
                    <a:lnTo>
                      <a:pt x="25" y="104"/>
                    </a:lnTo>
                    <a:lnTo>
                      <a:pt x="25" y="102"/>
                    </a:lnTo>
                    <a:lnTo>
                      <a:pt x="28" y="102"/>
                    </a:lnTo>
                    <a:lnTo>
                      <a:pt x="28" y="104"/>
                    </a:lnTo>
                    <a:lnTo>
                      <a:pt x="28" y="107"/>
                    </a:lnTo>
                    <a:lnTo>
                      <a:pt x="28" y="109"/>
                    </a:lnTo>
                    <a:lnTo>
                      <a:pt x="28" y="113"/>
                    </a:lnTo>
                    <a:lnTo>
                      <a:pt x="28" y="113"/>
                    </a:lnTo>
                    <a:lnTo>
                      <a:pt x="28" y="118"/>
                    </a:lnTo>
                    <a:lnTo>
                      <a:pt x="28" y="120"/>
                    </a:lnTo>
                    <a:lnTo>
                      <a:pt x="25" y="121"/>
                    </a:lnTo>
                    <a:lnTo>
                      <a:pt x="28" y="123"/>
                    </a:lnTo>
                    <a:lnTo>
                      <a:pt x="28" y="126"/>
                    </a:lnTo>
                    <a:lnTo>
                      <a:pt x="28" y="132"/>
                    </a:lnTo>
                    <a:lnTo>
                      <a:pt x="28" y="140"/>
                    </a:lnTo>
                    <a:lnTo>
                      <a:pt x="25" y="142"/>
                    </a:lnTo>
                    <a:lnTo>
                      <a:pt x="25" y="144"/>
                    </a:lnTo>
                    <a:lnTo>
                      <a:pt x="28" y="149"/>
                    </a:lnTo>
                    <a:lnTo>
                      <a:pt x="30" y="146"/>
                    </a:lnTo>
                    <a:lnTo>
                      <a:pt x="28" y="149"/>
                    </a:lnTo>
                    <a:lnTo>
                      <a:pt x="32" y="151"/>
                    </a:lnTo>
                    <a:lnTo>
                      <a:pt x="33" y="151"/>
                    </a:lnTo>
                    <a:lnTo>
                      <a:pt x="33" y="153"/>
                    </a:lnTo>
                    <a:lnTo>
                      <a:pt x="32" y="154"/>
                    </a:lnTo>
                    <a:lnTo>
                      <a:pt x="30" y="158"/>
                    </a:lnTo>
                    <a:lnTo>
                      <a:pt x="25" y="165"/>
                    </a:lnTo>
                    <a:lnTo>
                      <a:pt x="23" y="168"/>
                    </a:lnTo>
                    <a:lnTo>
                      <a:pt x="18" y="172"/>
                    </a:lnTo>
                    <a:lnTo>
                      <a:pt x="11" y="173"/>
                    </a:lnTo>
                    <a:lnTo>
                      <a:pt x="6" y="177"/>
                    </a:lnTo>
                    <a:lnTo>
                      <a:pt x="2" y="186"/>
                    </a:lnTo>
                    <a:lnTo>
                      <a:pt x="2" y="191"/>
                    </a:lnTo>
                    <a:lnTo>
                      <a:pt x="0" y="194"/>
                    </a:lnTo>
                    <a:lnTo>
                      <a:pt x="6" y="196"/>
                    </a:lnTo>
                    <a:lnTo>
                      <a:pt x="11" y="200"/>
                    </a:lnTo>
                    <a:lnTo>
                      <a:pt x="18" y="205"/>
                    </a:lnTo>
                    <a:lnTo>
                      <a:pt x="21" y="205"/>
                    </a:lnTo>
                    <a:lnTo>
                      <a:pt x="25" y="208"/>
                    </a:lnTo>
                    <a:lnTo>
                      <a:pt x="25" y="212"/>
                    </a:lnTo>
                    <a:lnTo>
                      <a:pt x="25" y="213"/>
                    </a:lnTo>
                    <a:lnTo>
                      <a:pt x="30" y="215"/>
                    </a:lnTo>
                    <a:lnTo>
                      <a:pt x="35" y="217"/>
                    </a:lnTo>
                    <a:lnTo>
                      <a:pt x="39" y="219"/>
                    </a:lnTo>
                    <a:lnTo>
                      <a:pt x="44" y="219"/>
                    </a:lnTo>
                    <a:lnTo>
                      <a:pt x="46" y="219"/>
                    </a:lnTo>
                    <a:lnTo>
                      <a:pt x="46" y="215"/>
                    </a:lnTo>
                    <a:lnTo>
                      <a:pt x="47" y="212"/>
                    </a:lnTo>
                    <a:lnTo>
                      <a:pt x="51" y="213"/>
                    </a:lnTo>
                    <a:lnTo>
                      <a:pt x="56" y="215"/>
                    </a:lnTo>
                    <a:lnTo>
                      <a:pt x="56" y="217"/>
                    </a:lnTo>
                    <a:lnTo>
                      <a:pt x="58" y="219"/>
                    </a:lnTo>
                    <a:lnTo>
                      <a:pt x="59" y="219"/>
                    </a:lnTo>
                    <a:lnTo>
                      <a:pt x="59" y="219"/>
                    </a:lnTo>
                    <a:lnTo>
                      <a:pt x="61" y="219"/>
                    </a:lnTo>
                    <a:lnTo>
                      <a:pt x="63" y="222"/>
                    </a:lnTo>
                    <a:lnTo>
                      <a:pt x="70" y="224"/>
                    </a:lnTo>
                    <a:lnTo>
                      <a:pt x="73" y="224"/>
                    </a:lnTo>
                    <a:lnTo>
                      <a:pt x="75" y="227"/>
                    </a:lnTo>
                    <a:lnTo>
                      <a:pt x="79" y="229"/>
                    </a:lnTo>
                    <a:lnTo>
                      <a:pt x="79" y="233"/>
                    </a:lnTo>
                    <a:lnTo>
                      <a:pt x="82" y="240"/>
                    </a:lnTo>
                    <a:lnTo>
                      <a:pt x="84" y="240"/>
                    </a:lnTo>
                    <a:lnTo>
                      <a:pt x="92" y="241"/>
                    </a:lnTo>
                    <a:lnTo>
                      <a:pt x="96" y="246"/>
                    </a:lnTo>
                    <a:lnTo>
                      <a:pt x="96" y="250"/>
                    </a:lnTo>
                    <a:lnTo>
                      <a:pt x="98" y="250"/>
                    </a:lnTo>
                    <a:lnTo>
                      <a:pt x="98" y="253"/>
                    </a:lnTo>
                    <a:lnTo>
                      <a:pt x="101" y="259"/>
                    </a:lnTo>
                    <a:lnTo>
                      <a:pt x="101" y="259"/>
                    </a:lnTo>
                    <a:lnTo>
                      <a:pt x="101" y="260"/>
                    </a:lnTo>
                    <a:lnTo>
                      <a:pt x="105" y="262"/>
                    </a:lnTo>
                    <a:lnTo>
                      <a:pt x="106" y="260"/>
                    </a:lnTo>
                    <a:lnTo>
                      <a:pt x="110" y="262"/>
                    </a:lnTo>
                    <a:lnTo>
                      <a:pt x="115" y="262"/>
                    </a:lnTo>
                    <a:lnTo>
                      <a:pt x="117" y="260"/>
                    </a:lnTo>
                    <a:lnTo>
                      <a:pt x="120" y="259"/>
                    </a:lnTo>
                    <a:lnTo>
                      <a:pt x="127" y="259"/>
                    </a:lnTo>
                    <a:lnTo>
                      <a:pt x="129" y="260"/>
                    </a:lnTo>
                    <a:lnTo>
                      <a:pt x="136" y="259"/>
                    </a:lnTo>
                    <a:lnTo>
                      <a:pt x="139" y="259"/>
                    </a:lnTo>
                    <a:lnTo>
                      <a:pt x="141" y="260"/>
                    </a:lnTo>
                    <a:lnTo>
                      <a:pt x="143" y="260"/>
                    </a:lnTo>
                    <a:lnTo>
                      <a:pt x="146" y="262"/>
                    </a:lnTo>
                    <a:lnTo>
                      <a:pt x="148" y="264"/>
                    </a:lnTo>
                    <a:lnTo>
                      <a:pt x="152" y="264"/>
                    </a:lnTo>
                    <a:lnTo>
                      <a:pt x="152" y="266"/>
                    </a:lnTo>
                    <a:lnTo>
                      <a:pt x="141" y="286"/>
                    </a:lnTo>
                    <a:lnTo>
                      <a:pt x="141" y="286"/>
                    </a:lnTo>
                    <a:lnTo>
                      <a:pt x="146" y="286"/>
                    </a:lnTo>
                    <a:lnTo>
                      <a:pt x="150" y="286"/>
                    </a:lnTo>
                    <a:lnTo>
                      <a:pt x="152" y="288"/>
                    </a:lnTo>
                    <a:lnTo>
                      <a:pt x="152" y="292"/>
                    </a:lnTo>
                    <a:lnTo>
                      <a:pt x="152" y="292"/>
                    </a:lnTo>
                    <a:lnTo>
                      <a:pt x="152" y="292"/>
                    </a:lnTo>
                    <a:close/>
                  </a:path>
                </a:pathLst>
              </a:custGeom>
              <a:solidFill>
                <a:srgbClr val="B7013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3" name="Freeform 46"/>
              <p:cNvSpPr>
                <a:spLocks noEditPoints="1"/>
              </p:cNvSpPr>
              <p:nvPr/>
            </p:nvSpPr>
            <p:spPr bwMode="auto">
              <a:xfrm>
                <a:off x="2617788" y="4887913"/>
                <a:ext cx="438150" cy="1123950"/>
              </a:xfrm>
              <a:custGeom>
                <a:avLst/>
                <a:gdLst/>
                <a:ahLst/>
                <a:cxnLst>
                  <a:cxn ang="0">
                    <a:pos x="76" y="3"/>
                  </a:cxn>
                  <a:cxn ang="0">
                    <a:pos x="92" y="3"/>
                  </a:cxn>
                  <a:cxn ang="0">
                    <a:pos x="144" y="26"/>
                  </a:cxn>
                  <a:cxn ang="0">
                    <a:pos x="200" y="57"/>
                  </a:cxn>
                  <a:cxn ang="0">
                    <a:pos x="193" y="96"/>
                  </a:cxn>
                  <a:cxn ang="0">
                    <a:pos x="236" y="101"/>
                  </a:cxn>
                  <a:cxn ang="0">
                    <a:pos x="261" y="69"/>
                  </a:cxn>
                  <a:cxn ang="0">
                    <a:pos x="276" y="90"/>
                  </a:cxn>
                  <a:cxn ang="0">
                    <a:pos x="252" y="106"/>
                  </a:cxn>
                  <a:cxn ang="0">
                    <a:pos x="229" y="130"/>
                  </a:cxn>
                  <a:cxn ang="0">
                    <a:pos x="212" y="158"/>
                  </a:cxn>
                  <a:cxn ang="0">
                    <a:pos x="208" y="195"/>
                  </a:cxn>
                  <a:cxn ang="0">
                    <a:pos x="207" y="228"/>
                  </a:cxn>
                  <a:cxn ang="0">
                    <a:pos x="236" y="257"/>
                  </a:cxn>
                  <a:cxn ang="0">
                    <a:pos x="245" y="280"/>
                  </a:cxn>
                  <a:cxn ang="0">
                    <a:pos x="236" y="311"/>
                  </a:cxn>
                  <a:cxn ang="0">
                    <a:pos x="181" y="329"/>
                  </a:cxn>
                  <a:cxn ang="0">
                    <a:pos x="160" y="330"/>
                  </a:cxn>
                  <a:cxn ang="0">
                    <a:pos x="160" y="349"/>
                  </a:cxn>
                  <a:cxn ang="0">
                    <a:pos x="160" y="372"/>
                  </a:cxn>
                  <a:cxn ang="0">
                    <a:pos x="120" y="370"/>
                  </a:cxn>
                  <a:cxn ang="0">
                    <a:pos x="125" y="402"/>
                  </a:cxn>
                  <a:cxn ang="0">
                    <a:pos x="132" y="402"/>
                  </a:cxn>
                  <a:cxn ang="0">
                    <a:pos x="148" y="412"/>
                  </a:cxn>
                  <a:cxn ang="0">
                    <a:pos x="125" y="414"/>
                  </a:cxn>
                  <a:cxn ang="0">
                    <a:pos x="125" y="429"/>
                  </a:cxn>
                  <a:cxn ang="0">
                    <a:pos x="125" y="454"/>
                  </a:cxn>
                  <a:cxn ang="0">
                    <a:pos x="115" y="468"/>
                  </a:cxn>
                  <a:cxn ang="0">
                    <a:pos x="92" y="488"/>
                  </a:cxn>
                  <a:cxn ang="0">
                    <a:pos x="123" y="515"/>
                  </a:cxn>
                  <a:cxn ang="0">
                    <a:pos x="128" y="530"/>
                  </a:cxn>
                  <a:cxn ang="0">
                    <a:pos x="120" y="548"/>
                  </a:cxn>
                  <a:cxn ang="0">
                    <a:pos x="109" y="568"/>
                  </a:cxn>
                  <a:cxn ang="0">
                    <a:pos x="95" y="584"/>
                  </a:cxn>
                  <a:cxn ang="0">
                    <a:pos x="95" y="619"/>
                  </a:cxn>
                  <a:cxn ang="0">
                    <a:pos x="113" y="638"/>
                  </a:cxn>
                  <a:cxn ang="0">
                    <a:pos x="59" y="631"/>
                  </a:cxn>
                  <a:cxn ang="0">
                    <a:pos x="29" y="607"/>
                  </a:cxn>
                  <a:cxn ang="0">
                    <a:pos x="28" y="535"/>
                  </a:cxn>
                  <a:cxn ang="0">
                    <a:pos x="28" y="483"/>
                  </a:cxn>
                  <a:cxn ang="0">
                    <a:pos x="24" y="462"/>
                  </a:cxn>
                  <a:cxn ang="0">
                    <a:pos x="16" y="429"/>
                  </a:cxn>
                  <a:cxn ang="0">
                    <a:pos x="5" y="379"/>
                  </a:cxn>
                  <a:cxn ang="0">
                    <a:pos x="9" y="304"/>
                  </a:cxn>
                  <a:cxn ang="0">
                    <a:pos x="12" y="250"/>
                  </a:cxn>
                  <a:cxn ang="0">
                    <a:pos x="5" y="193"/>
                  </a:cxn>
                  <a:cxn ang="0">
                    <a:pos x="5" y="136"/>
                  </a:cxn>
                  <a:cxn ang="0">
                    <a:pos x="26" y="89"/>
                  </a:cxn>
                  <a:cxn ang="0">
                    <a:pos x="22" y="57"/>
                  </a:cxn>
                  <a:cxn ang="0">
                    <a:pos x="184" y="699"/>
                  </a:cxn>
                  <a:cxn ang="0">
                    <a:pos x="184" y="699"/>
                  </a:cxn>
                  <a:cxn ang="0">
                    <a:pos x="113" y="661"/>
                  </a:cxn>
                  <a:cxn ang="0">
                    <a:pos x="122" y="668"/>
                  </a:cxn>
                  <a:cxn ang="0">
                    <a:pos x="160" y="694"/>
                  </a:cxn>
                  <a:cxn ang="0">
                    <a:pos x="160" y="706"/>
                  </a:cxn>
                  <a:cxn ang="0">
                    <a:pos x="122" y="697"/>
                  </a:cxn>
                  <a:cxn ang="0">
                    <a:pos x="113" y="664"/>
                  </a:cxn>
                </a:cxnLst>
                <a:rect l="0" t="0" r="r" b="b"/>
                <a:pathLst>
                  <a:path w="276" h="708">
                    <a:moveTo>
                      <a:pt x="43" y="16"/>
                    </a:moveTo>
                    <a:lnTo>
                      <a:pt x="45" y="14"/>
                    </a:lnTo>
                    <a:lnTo>
                      <a:pt x="49" y="7"/>
                    </a:lnTo>
                    <a:lnTo>
                      <a:pt x="54" y="2"/>
                    </a:lnTo>
                    <a:lnTo>
                      <a:pt x="59" y="0"/>
                    </a:lnTo>
                    <a:lnTo>
                      <a:pt x="64" y="3"/>
                    </a:lnTo>
                    <a:lnTo>
                      <a:pt x="68" y="3"/>
                    </a:lnTo>
                    <a:lnTo>
                      <a:pt x="73" y="2"/>
                    </a:lnTo>
                    <a:lnTo>
                      <a:pt x="76" y="3"/>
                    </a:lnTo>
                    <a:lnTo>
                      <a:pt x="82" y="2"/>
                    </a:lnTo>
                    <a:lnTo>
                      <a:pt x="85" y="2"/>
                    </a:lnTo>
                    <a:lnTo>
                      <a:pt x="85" y="7"/>
                    </a:lnTo>
                    <a:lnTo>
                      <a:pt x="88" y="14"/>
                    </a:lnTo>
                    <a:lnTo>
                      <a:pt x="88" y="16"/>
                    </a:lnTo>
                    <a:lnTo>
                      <a:pt x="90" y="14"/>
                    </a:lnTo>
                    <a:lnTo>
                      <a:pt x="90" y="10"/>
                    </a:lnTo>
                    <a:lnTo>
                      <a:pt x="92" y="7"/>
                    </a:lnTo>
                    <a:lnTo>
                      <a:pt x="92" y="3"/>
                    </a:lnTo>
                    <a:lnTo>
                      <a:pt x="95" y="0"/>
                    </a:lnTo>
                    <a:lnTo>
                      <a:pt x="104" y="0"/>
                    </a:lnTo>
                    <a:lnTo>
                      <a:pt x="113" y="0"/>
                    </a:lnTo>
                    <a:lnTo>
                      <a:pt x="118" y="3"/>
                    </a:lnTo>
                    <a:lnTo>
                      <a:pt x="122" y="7"/>
                    </a:lnTo>
                    <a:lnTo>
                      <a:pt x="125" y="9"/>
                    </a:lnTo>
                    <a:lnTo>
                      <a:pt x="128" y="16"/>
                    </a:lnTo>
                    <a:lnTo>
                      <a:pt x="141" y="26"/>
                    </a:lnTo>
                    <a:lnTo>
                      <a:pt x="144" y="26"/>
                    </a:lnTo>
                    <a:lnTo>
                      <a:pt x="148" y="29"/>
                    </a:lnTo>
                    <a:lnTo>
                      <a:pt x="151" y="35"/>
                    </a:lnTo>
                    <a:lnTo>
                      <a:pt x="160" y="38"/>
                    </a:lnTo>
                    <a:lnTo>
                      <a:pt x="168" y="42"/>
                    </a:lnTo>
                    <a:lnTo>
                      <a:pt x="172" y="42"/>
                    </a:lnTo>
                    <a:lnTo>
                      <a:pt x="179" y="49"/>
                    </a:lnTo>
                    <a:lnTo>
                      <a:pt x="186" y="52"/>
                    </a:lnTo>
                    <a:lnTo>
                      <a:pt x="196" y="54"/>
                    </a:lnTo>
                    <a:lnTo>
                      <a:pt x="200" y="57"/>
                    </a:lnTo>
                    <a:lnTo>
                      <a:pt x="205" y="62"/>
                    </a:lnTo>
                    <a:lnTo>
                      <a:pt x="207" y="66"/>
                    </a:lnTo>
                    <a:lnTo>
                      <a:pt x="207" y="69"/>
                    </a:lnTo>
                    <a:lnTo>
                      <a:pt x="205" y="75"/>
                    </a:lnTo>
                    <a:lnTo>
                      <a:pt x="200" y="76"/>
                    </a:lnTo>
                    <a:lnTo>
                      <a:pt x="200" y="80"/>
                    </a:lnTo>
                    <a:lnTo>
                      <a:pt x="200" y="83"/>
                    </a:lnTo>
                    <a:lnTo>
                      <a:pt x="196" y="89"/>
                    </a:lnTo>
                    <a:lnTo>
                      <a:pt x="193" y="96"/>
                    </a:lnTo>
                    <a:lnTo>
                      <a:pt x="193" y="99"/>
                    </a:lnTo>
                    <a:lnTo>
                      <a:pt x="194" y="99"/>
                    </a:lnTo>
                    <a:lnTo>
                      <a:pt x="207" y="97"/>
                    </a:lnTo>
                    <a:lnTo>
                      <a:pt x="217" y="101"/>
                    </a:lnTo>
                    <a:lnTo>
                      <a:pt x="224" y="104"/>
                    </a:lnTo>
                    <a:lnTo>
                      <a:pt x="228" y="102"/>
                    </a:lnTo>
                    <a:lnTo>
                      <a:pt x="229" y="102"/>
                    </a:lnTo>
                    <a:lnTo>
                      <a:pt x="233" y="104"/>
                    </a:lnTo>
                    <a:lnTo>
                      <a:pt x="236" y="101"/>
                    </a:lnTo>
                    <a:lnTo>
                      <a:pt x="236" y="99"/>
                    </a:lnTo>
                    <a:lnTo>
                      <a:pt x="241" y="101"/>
                    </a:lnTo>
                    <a:lnTo>
                      <a:pt x="243" y="96"/>
                    </a:lnTo>
                    <a:lnTo>
                      <a:pt x="245" y="92"/>
                    </a:lnTo>
                    <a:lnTo>
                      <a:pt x="254" y="85"/>
                    </a:lnTo>
                    <a:lnTo>
                      <a:pt x="255" y="83"/>
                    </a:lnTo>
                    <a:lnTo>
                      <a:pt x="257" y="80"/>
                    </a:lnTo>
                    <a:lnTo>
                      <a:pt x="261" y="76"/>
                    </a:lnTo>
                    <a:lnTo>
                      <a:pt x="261" y="69"/>
                    </a:lnTo>
                    <a:lnTo>
                      <a:pt x="261" y="68"/>
                    </a:lnTo>
                    <a:lnTo>
                      <a:pt x="261" y="62"/>
                    </a:lnTo>
                    <a:lnTo>
                      <a:pt x="264" y="61"/>
                    </a:lnTo>
                    <a:lnTo>
                      <a:pt x="271" y="61"/>
                    </a:lnTo>
                    <a:lnTo>
                      <a:pt x="271" y="64"/>
                    </a:lnTo>
                    <a:lnTo>
                      <a:pt x="274" y="73"/>
                    </a:lnTo>
                    <a:lnTo>
                      <a:pt x="274" y="78"/>
                    </a:lnTo>
                    <a:lnTo>
                      <a:pt x="276" y="85"/>
                    </a:lnTo>
                    <a:lnTo>
                      <a:pt x="276" y="90"/>
                    </a:lnTo>
                    <a:lnTo>
                      <a:pt x="274" y="94"/>
                    </a:lnTo>
                    <a:lnTo>
                      <a:pt x="271" y="94"/>
                    </a:lnTo>
                    <a:lnTo>
                      <a:pt x="269" y="96"/>
                    </a:lnTo>
                    <a:lnTo>
                      <a:pt x="266" y="97"/>
                    </a:lnTo>
                    <a:lnTo>
                      <a:pt x="264" y="99"/>
                    </a:lnTo>
                    <a:lnTo>
                      <a:pt x="264" y="99"/>
                    </a:lnTo>
                    <a:lnTo>
                      <a:pt x="257" y="104"/>
                    </a:lnTo>
                    <a:lnTo>
                      <a:pt x="255" y="106"/>
                    </a:lnTo>
                    <a:lnTo>
                      <a:pt x="252" y="106"/>
                    </a:lnTo>
                    <a:lnTo>
                      <a:pt x="247" y="111"/>
                    </a:lnTo>
                    <a:lnTo>
                      <a:pt x="243" y="111"/>
                    </a:lnTo>
                    <a:lnTo>
                      <a:pt x="243" y="116"/>
                    </a:lnTo>
                    <a:lnTo>
                      <a:pt x="241" y="116"/>
                    </a:lnTo>
                    <a:lnTo>
                      <a:pt x="238" y="116"/>
                    </a:lnTo>
                    <a:lnTo>
                      <a:pt x="233" y="123"/>
                    </a:lnTo>
                    <a:lnTo>
                      <a:pt x="233" y="125"/>
                    </a:lnTo>
                    <a:lnTo>
                      <a:pt x="233" y="130"/>
                    </a:lnTo>
                    <a:lnTo>
                      <a:pt x="229" y="130"/>
                    </a:lnTo>
                    <a:lnTo>
                      <a:pt x="228" y="134"/>
                    </a:lnTo>
                    <a:lnTo>
                      <a:pt x="224" y="139"/>
                    </a:lnTo>
                    <a:lnTo>
                      <a:pt x="224" y="142"/>
                    </a:lnTo>
                    <a:lnTo>
                      <a:pt x="221" y="146"/>
                    </a:lnTo>
                    <a:lnTo>
                      <a:pt x="221" y="148"/>
                    </a:lnTo>
                    <a:lnTo>
                      <a:pt x="217" y="149"/>
                    </a:lnTo>
                    <a:lnTo>
                      <a:pt x="215" y="153"/>
                    </a:lnTo>
                    <a:lnTo>
                      <a:pt x="214" y="156"/>
                    </a:lnTo>
                    <a:lnTo>
                      <a:pt x="212" y="158"/>
                    </a:lnTo>
                    <a:lnTo>
                      <a:pt x="212" y="165"/>
                    </a:lnTo>
                    <a:lnTo>
                      <a:pt x="210" y="167"/>
                    </a:lnTo>
                    <a:lnTo>
                      <a:pt x="212" y="170"/>
                    </a:lnTo>
                    <a:lnTo>
                      <a:pt x="212" y="179"/>
                    </a:lnTo>
                    <a:lnTo>
                      <a:pt x="210" y="181"/>
                    </a:lnTo>
                    <a:lnTo>
                      <a:pt x="210" y="184"/>
                    </a:lnTo>
                    <a:lnTo>
                      <a:pt x="208" y="188"/>
                    </a:lnTo>
                    <a:lnTo>
                      <a:pt x="210" y="193"/>
                    </a:lnTo>
                    <a:lnTo>
                      <a:pt x="208" y="195"/>
                    </a:lnTo>
                    <a:lnTo>
                      <a:pt x="210" y="203"/>
                    </a:lnTo>
                    <a:lnTo>
                      <a:pt x="212" y="209"/>
                    </a:lnTo>
                    <a:lnTo>
                      <a:pt x="210" y="210"/>
                    </a:lnTo>
                    <a:lnTo>
                      <a:pt x="207" y="212"/>
                    </a:lnTo>
                    <a:lnTo>
                      <a:pt x="207" y="216"/>
                    </a:lnTo>
                    <a:lnTo>
                      <a:pt x="207" y="216"/>
                    </a:lnTo>
                    <a:lnTo>
                      <a:pt x="207" y="216"/>
                    </a:lnTo>
                    <a:lnTo>
                      <a:pt x="205" y="221"/>
                    </a:lnTo>
                    <a:lnTo>
                      <a:pt x="207" y="228"/>
                    </a:lnTo>
                    <a:lnTo>
                      <a:pt x="207" y="229"/>
                    </a:lnTo>
                    <a:lnTo>
                      <a:pt x="208" y="231"/>
                    </a:lnTo>
                    <a:lnTo>
                      <a:pt x="208" y="235"/>
                    </a:lnTo>
                    <a:lnTo>
                      <a:pt x="207" y="235"/>
                    </a:lnTo>
                    <a:lnTo>
                      <a:pt x="210" y="240"/>
                    </a:lnTo>
                    <a:lnTo>
                      <a:pt x="217" y="243"/>
                    </a:lnTo>
                    <a:lnTo>
                      <a:pt x="224" y="247"/>
                    </a:lnTo>
                    <a:lnTo>
                      <a:pt x="233" y="254"/>
                    </a:lnTo>
                    <a:lnTo>
                      <a:pt x="236" y="257"/>
                    </a:lnTo>
                    <a:lnTo>
                      <a:pt x="236" y="261"/>
                    </a:lnTo>
                    <a:lnTo>
                      <a:pt x="229" y="268"/>
                    </a:lnTo>
                    <a:lnTo>
                      <a:pt x="229" y="269"/>
                    </a:lnTo>
                    <a:lnTo>
                      <a:pt x="233" y="275"/>
                    </a:lnTo>
                    <a:lnTo>
                      <a:pt x="236" y="278"/>
                    </a:lnTo>
                    <a:lnTo>
                      <a:pt x="241" y="278"/>
                    </a:lnTo>
                    <a:lnTo>
                      <a:pt x="243" y="276"/>
                    </a:lnTo>
                    <a:lnTo>
                      <a:pt x="245" y="276"/>
                    </a:lnTo>
                    <a:lnTo>
                      <a:pt x="245" y="280"/>
                    </a:lnTo>
                    <a:lnTo>
                      <a:pt x="245" y="285"/>
                    </a:lnTo>
                    <a:lnTo>
                      <a:pt x="245" y="290"/>
                    </a:lnTo>
                    <a:lnTo>
                      <a:pt x="240" y="294"/>
                    </a:lnTo>
                    <a:lnTo>
                      <a:pt x="240" y="301"/>
                    </a:lnTo>
                    <a:lnTo>
                      <a:pt x="238" y="302"/>
                    </a:lnTo>
                    <a:lnTo>
                      <a:pt x="238" y="301"/>
                    </a:lnTo>
                    <a:lnTo>
                      <a:pt x="236" y="301"/>
                    </a:lnTo>
                    <a:lnTo>
                      <a:pt x="236" y="308"/>
                    </a:lnTo>
                    <a:lnTo>
                      <a:pt x="236" y="311"/>
                    </a:lnTo>
                    <a:lnTo>
                      <a:pt x="236" y="315"/>
                    </a:lnTo>
                    <a:lnTo>
                      <a:pt x="224" y="320"/>
                    </a:lnTo>
                    <a:lnTo>
                      <a:pt x="217" y="322"/>
                    </a:lnTo>
                    <a:lnTo>
                      <a:pt x="217" y="320"/>
                    </a:lnTo>
                    <a:lnTo>
                      <a:pt x="215" y="322"/>
                    </a:lnTo>
                    <a:lnTo>
                      <a:pt x="205" y="327"/>
                    </a:lnTo>
                    <a:lnTo>
                      <a:pt x="194" y="330"/>
                    </a:lnTo>
                    <a:lnTo>
                      <a:pt x="186" y="330"/>
                    </a:lnTo>
                    <a:lnTo>
                      <a:pt x="181" y="329"/>
                    </a:lnTo>
                    <a:lnTo>
                      <a:pt x="177" y="330"/>
                    </a:lnTo>
                    <a:lnTo>
                      <a:pt x="172" y="330"/>
                    </a:lnTo>
                    <a:lnTo>
                      <a:pt x="168" y="329"/>
                    </a:lnTo>
                    <a:lnTo>
                      <a:pt x="163" y="327"/>
                    </a:lnTo>
                    <a:lnTo>
                      <a:pt x="160" y="327"/>
                    </a:lnTo>
                    <a:lnTo>
                      <a:pt x="160" y="325"/>
                    </a:lnTo>
                    <a:lnTo>
                      <a:pt x="158" y="325"/>
                    </a:lnTo>
                    <a:lnTo>
                      <a:pt x="158" y="329"/>
                    </a:lnTo>
                    <a:lnTo>
                      <a:pt x="160" y="330"/>
                    </a:lnTo>
                    <a:lnTo>
                      <a:pt x="160" y="337"/>
                    </a:lnTo>
                    <a:lnTo>
                      <a:pt x="160" y="339"/>
                    </a:lnTo>
                    <a:lnTo>
                      <a:pt x="160" y="339"/>
                    </a:lnTo>
                    <a:lnTo>
                      <a:pt x="163" y="339"/>
                    </a:lnTo>
                    <a:lnTo>
                      <a:pt x="165" y="344"/>
                    </a:lnTo>
                    <a:lnTo>
                      <a:pt x="163" y="348"/>
                    </a:lnTo>
                    <a:lnTo>
                      <a:pt x="163" y="348"/>
                    </a:lnTo>
                    <a:lnTo>
                      <a:pt x="163" y="348"/>
                    </a:lnTo>
                    <a:lnTo>
                      <a:pt x="160" y="349"/>
                    </a:lnTo>
                    <a:lnTo>
                      <a:pt x="160" y="351"/>
                    </a:lnTo>
                    <a:lnTo>
                      <a:pt x="158" y="355"/>
                    </a:lnTo>
                    <a:lnTo>
                      <a:pt x="158" y="358"/>
                    </a:lnTo>
                    <a:lnTo>
                      <a:pt x="160" y="362"/>
                    </a:lnTo>
                    <a:lnTo>
                      <a:pt x="163" y="362"/>
                    </a:lnTo>
                    <a:lnTo>
                      <a:pt x="163" y="365"/>
                    </a:lnTo>
                    <a:lnTo>
                      <a:pt x="160" y="367"/>
                    </a:lnTo>
                    <a:lnTo>
                      <a:pt x="163" y="370"/>
                    </a:lnTo>
                    <a:lnTo>
                      <a:pt x="160" y="372"/>
                    </a:lnTo>
                    <a:lnTo>
                      <a:pt x="158" y="374"/>
                    </a:lnTo>
                    <a:lnTo>
                      <a:pt x="158" y="375"/>
                    </a:lnTo>
                    <a:lnTo>
                      <a:pt x="153" y="381"/>
                    </a:lnTo>
                    <a:lnTo>
                      <a:pt x="142" y="381"/>
                    </a:lnTo>
                    <a:lnTo>
                      <a:pt x="137" y="379"/>
                    </a:lnTo>
                    <a:lnTo>
                      <a:pt x="132" y="374"/>
                    </a:lnTo>
                    <a:lnTo>
                      <a:pt x="125" y="372"/>
                    </a:lnTo>
                    <a:lnTo>
                      <a:pt x="122" y="372"/>
                    </a:lnTo>
                    <a:lnTo>
                      <a:pt x="120" y="370"/>
                    </a:lnTo>
                    <a:lnTo>
                      <a:pt x="122" y="370"/>
                    </a:lnTo>
                    <a:lnTo>
                      <a:pt x="118" y="370"/>
                    </a:lnTo>
                    <a:lnTo>
                      <a:pt x="115" y="372"/>
                    </a:lnTo>
                    <a:lnTo>
                      <a:pt x="115" y="379"/>
                    </a:lnTo>
                    <a:lnTo>
                      <a:pt x="118" y="382"/>
                    </a:lnTo>
                    <a:lnTo>
                      <a:pt x="120" y="389"/>
                    </a:lnTo>
                    <a:lnTo>
                      <a:pt x="120" y="398"/>
                    </a:lnTo>
                    <a:lnTo>
                      <a:pt x="122" y="402"/>
                    </a:lnTo>
                    <a:lnTo>
                      <a:pt x="125" y="402"/>
                    </a:lnTo>
                    <a:lnTo>
                      <a:pt x="130" y="402"/>
                    </a:lnTo>
                    <a:lnTo>
                      <a:pt x="132" y="402"/>
                    </a:lnTo>
                    <a:lnTo>
                      <a:pt x="130" y="403"/>
                    </a:lnTo>
                    <a:lnTo>
                      <a:pt x="128" y="405"/>
                    </a:lnTo>
                    <a:lnTo>
                      <a:pt x="132" y="407"/>
                    </a:lnTo>
                    <a:lnTo>
                      <a:pt x="137" y="405"/>
                    </a:lnTo>
                    <a:lnTo>
                      <a:pt x="137" y="403"/>
                    </a:lnTo>
                    <a:lnTo>
                      <a:pt x="135" y="402"/>
                    </a:lnTo>
                    <a:lnTo>
                      <a:pt x="132" y="402"/>
                    </a:lnTo>
                    <a:lnTo>
                      <a:pt x="135" y="402"/>
                    </a:lnTo>
                    <a:lnTo>
                      <a:pt x="137" y="402"/>
                    </a:lnTo>
                    <a:lnTo>
                      <a:pt x="141" y="398"/>
                    </a:lnTo>
                    <a:lnTo>
                      <a:pt x="142" y="398"/>
                    </a:lnTo>
                    <a:lnTo>
                      <a:pt x="146" y="402"/>
                    </a:lnTo>
                    <a:lnTo>
                      <a:pt x="144" y="405"/>
                    </a:lnTo>
                    <a:lnTo>
                      <a:pt x="142" y="405"/>
                    </a:lnTo>
                    <a:lnTo>
                      <a:pt x="146" y="409"/>
                    </a:lnTo>
                    <a:lnTo>
                      <a:pt x="148" y="412"/>
                    </a:lnTo>
                    <a:lnTo>
                      <a:pt x="146" y="415"/>
                    </a:lnTo>
                    <a:lnTo>
                      <a:pt x="141" y="417"/>
                    </a:lnTo>
                    <a:lnTo>
                      <a:pt x="137" y="417"/>
                    </a:lnTo>
                    <a:lnTo>
                      <a:pt x="137" y="415"/>
                    </a:lnTo>
                    <a:lnTo>
                      <a:pt x="137" y="414"/>
                    </a:lnTo>
                    <a:lnTo>
                      <a:pt x="137" y="412"/>
                    </a:lnTo>
                    <a:lnTo>
                      <a:pt x="132" y="409"/>
                    </a:lnTo>
                    <a:lnTo>
                      <a:pt x="128" y="410"/>
                    </a:lnTo>
                    <a:lnTo>
                      <a:pt x="125" y="414"/>
                    </a:lnTo>
                    <a:lnTo>
                      <a:pt x="125" y="415"/>
                    </a:lnTo>
                    <a:lnTo>
                      <a:pt x="125" y="417"/>
                    </a:lnTo>
                    <a:lnTo>
                      <a:pt x="130" y="417"/>
                    </a:lnTo>
                    <a:lnTo>
                      <a:pt x="135" y="417"/>
                    </a:lnTo>
                    <a:lnTo>
                      <a:pt x="135" y="421"/>
                    </a:lnTo>
                    <a:lnTo>
                      <a:pt x="130" y="424"/>
                    </a:lnTo>
                    <a:lnTo>
                      <a:pt x="125" y="426"/>
                    </a:lnTo>
                    <a:lnTo>
                      <a:pt x="123" y="429"/>
                    </a:lnTo>
                    <a:lnTo>
                      <a:pt x="125" y="429"/>
                    </a:lnTo>
                    <a:lnTo>
                      <a:pt x="123" y="433"/>
                    </a:lnTo>
                    <a:lnTo>
                      <a:pt x="120" y="436"/>
                    </a:lnTo>
                    <a:lnTo>
                      <a:pt x="122" y="440"/>
                    </a:lnTo>
                    <a:lnTo>
                      <a:pt x="123" y="443"/>
                    </a:lnTo>
                    <a:lnTo>
                      <a:pt x="123" y="445"/>
                    </a:lnTo>
                    <a:lnTo>
                      <a:pt x="122" y="447"/>
                    </a:lnTo>
                    <a:lnTo>
                      <a:pt x="127" y="452"/>
                    </a:lnTo>
                    <a:lnTo>
                      <a:pt x="127" y="452"/>
                    </a:lnTo>
                    <a:lnTo>
                      <a:pt x="125" y="454"/>
                    </a:lnTo>
                    <a:lnTo>
                      <a:pt x="125" y="455"/>
                    </a:lnTo>
                    <a:lnTo>
                      <a:pt x="120" y="459"/>
                    </a:lnTo>
                    <a:lnTo>
                      <a:pt x="120" y="461"/>
                    </a:lnTo>
                    <a:lnTo>
                      <a:pt x="120" y="462"/>
                    </a:lnTo>
                    <a:lnTo>
                      <a:pt x="123" y="464"/>
                    </a:lnTo>
                    <a:lnTo>
                      <a:pt x="125" y="466"/>
                    </a:lnTo>
                    <a:lnTo>
                      <a:pt x="125" y="468"/>
                    </a:lnTo>
                    <a:lnTo>
                      <a:pt x="118" y="469"/>
                    </a:lnTo>
                    <a:lnTo>
                      <a:pt x="115" y="468"/>
                    </a:lnTo>
                    <a:lnTo>
                      <a:pt x="109" y="469"/>
                    </a:lnTo>
                    <a:lnTo>
                      <a:pt x="108" y="471"/>
                    </a:lnTo>
                    <a:lnTo>
                      <a:pt x="104" y="471"/>
                    </a:lnTo>
                    <a:lnTo>
                      <a:pt x="101" y="475"/>
                    </a:lnTo>
                    <a:lnTo>
                      <a:pt x="99" y="476"/>
                    </a:lnTo>
                    <a:lnTo>
                      <a:pt x="95" y="480"/>
                    </a:lnTo>
                    <a:lnTo>
                      <a:pt x="95" y="483"/>
                    </a:lnTo>
                    <a:lnTo>
                      <a:pt x="92" y="485"/>
                    </a:lnTo>
                    <a:lnTo>
                      <a:pt x="92" y="488"/>
                    </a:lnTo>
                    <a:lnTo>
                      <a:pt x="94" y="492"/>
                    </a:lnTo>
                    <a:lnTo>
                      <a:pt x="94" y="494"/>
                    </a:lnTo>
                    <a:lnTo>
                      <a:pt x="95" y="502"/>
                    </a:lnTo>
                    <a:lnTo>
                      <a:pt x="102" y="502"/>
                    </a:lnTo>
                    <a:lnTo>
                      <a:pt x="104" y="504"/>
                    </a:lnTo>
                    <a:lnTo>
                      <a:pt x="108" y="508"/>
                    </a:lnTo>
                    <a:lnTo>
                      <a:pt x="115" y="515"/>
                    </a:lnTo>
                    <a:lnTo>
                      <a:pt x="120" y="515"/>
                    </a:lnTo>
                    <a:lnTo>
                      <a:pt x="123" y="515"/>
                    </a:lnTo>
                    <a:lnTo>
                      <a:pt x="125" y="513"/>
                    </a:lnTo>
                    <a:lnTo>
                      <a:pt x="128" y="515"/>
                    </a:lnTo>
                    <a:lnTo>
                      <a:pt x="130" y="516"/>
                    </a:lnTo>
                    <a:lnTo>
                      <a:pt x="128" y="518"/>
                    </a:lnTo>
                    <a:lnTo>
                      <a:pt x="128" y="520"/>
                    </a:lnTo>
                    <a:lnTo>
                      <a:pt x="130" y="522"/>
                    </a:lnTo>
                    <a:lnTo>
                      <a:pt x="130" y="525"/>
                    </a:lnTo>
                    <a:lnTo>
                      <a:pt x="127" y="530"/>
                    </a:lnTo>
                    <a:lnTo>
                      <a:pt x="128" y="530"/>
                    </a:lnTo>
                    <a:lnTo>
                      <a:pt x="132" y="534"/>
                    </a:lnTo>
                    <a:lnTo>
                      <a:pt x="130" y="534"/>
                    </a:lnTo>
                    <a:lnTo>
                      <a:pt x="130" y="535"/>
                    </a:lnTo>
                    <a:lnTo>
                      <a:pt x="130" y="537"/>
                    </a:lnTo>
                    <a:lnTo>
                      <a:pt x="127" y="539"/>
                    </a:lnTo>
                    <a:lnTo>
                      <a:pt x="125" y="541"/>
                    </a:lnTo>
                    <a:lnTo>
                      <a:pt x="123" y="544"/>
                    </a:lnTo>
                    <a:lnTo>
                      <a:pt x="122" y="544"/>
                    </a:lnTo>
                    <a:lnTo>
                      <a:pt x="120" y="548"/>
                    </a:lnTo>
                    <a:lnTo>
                      <a:pt x="118" y="553"/>
                    </a:lnTo>
                    <a:lnTo>
                      <a:pt x="115" y="553"/>
                    </a:lnTo>
                    <a:lnTo>
                      <a:pt x="113" y="556"/>
                    </a:lnTo>
                    <a:lnTo>
                      <a:pt x="109" y="560"/>
                    </a:lnTo>
                    <a:lnTo>
                      <a:pt x="108" y="563"/>
                    </a:lnTo>
                    <a:lnTo>
                      <a:pt x="108" y="567"/>
                    </a:lnTo>
                    <a:lnTo>
                      <a:pt x="104" y="568"/>
                    </a:lnTo>
                    <a:lnTo>
                      <a:pt x="108" y="567"/>
                    </a:lnTo>
                    <a:lnTo>
                      <a:pt x="109" y="568"/>
                    </a:lnTo>
                    <a:lnTo>
                      <a:pt x="109" y="574"/>
                    </a:lnTo>
                    <a:lnTo>
                      <a:pt x="109" y="575"/>
                    </a:lnTo>
                    <a:lnTo>
                      <a:pt x="108" y="579"/>
                    </a:lnTo>
                    <a:lnTo>
                      <a:pt x="108" y="581"/>
                    </a:lnTo>
                    <a:lnTo>
                      <a:pt x="102" y="584"/>
                    </a:lnTo>
                    <a:lnTo>
                      <a:pt x="101" y="584"/>
                    </a:lnTo>
                    <a:lnTo>
                      <a:pt x="99" y="581"/>
                    </a:lnTo>
                    <a:lnTo>
                      <a:pt x="95" y="579"/>
                    </a:lnTo>
                    <a:lnTo>
                      <a:pt x="95" y="584"/>
                    </a:lnTo>
                    <a:lnTo>
                      <a:pt x="95" y="584"/>
                    </a:lnTo>
                    <a:lnTo>
                      <a:pt x="99" y="586"/>
                    </a:lnTo>
                    <a:lnTo>
                      <a:pt x="95" y="589"/>
                    </a:lnTo>
                    <a:lnTo>
                      <a:pt x="92" y="593"/>
                    </a:lnTo>
                    <a:lnTo>
                      <a:pt x="90" y="598"/>
                    </a:lnTo>
                    <a:lnTo>
                      <a:pt x="92" y="603"/>
                    </a:lnTo>
                    <a:lnTo>
                      <a:pt x="95" y="608"/>
                    </a:lnTo>
                    <a:lnTo>
                      <a:pt x="95" y="617"/>
                    </a:lnTo>
                    <a:lnTo>
                      <a:pt x="95" y="619"/>
                    </a:lnTo>
                    <a:lnTo>
                      <a:pt x="99" y="619"/>
                    </a:lnTo>
                    <a:lnTo>
                      <a:pt x="99" y="622"/>
                    </a:lnTo>
                    <a:lnTo>
                      <a:pt x="95" y="624"/>
                    </a:lnTo>
                    <a:lnTo>
                      <a:pt x="95" y="626"/>
                    </a:lnTo>
                    <a:lnTo>
                      <a:pt x="99" y="624"/>
                    </a:lnTo>
                    <a:lnTo>
                      <a:pt x="102" y="626"/>
                    </a:lnTo>
                    <a:lnTo>
                      <a:pt x="104" y="629"/>
                    </a:lnTo>
                    <a:lnTo>
                      <a:pt x="108" y="635"/>
                    </a:lnTo>
                    <a:lnTo>
                      <a:pt x="113" y="638"/>
                    </a:lnTo>
                    <a:lnTo>
                      <a:pt x="113" y="640"/>
                    </a:lnTo>
                    <a:lnTo>
                      <a:pt x="113" y="640"/>
                    </a:lnTo>
                    <a:lnTo>
                      <a:pt x="108" y="638"/>
                    </a:lnTo>
                    <a:lnTo>
                      <a:pt x="102" y="635"/>
                    </a:lnTo>
                    <a:lnTo>
                      <a:pt x="99" y="635"/>
                    </a:lnTo>
                    <a:lnTo>
                      <a:pt x="95" y="631"/>
                    </a:lnTo>
                    <a:lnTo>
                      <a:pt x="76" y="631"/>
                    </a:lnTo>
                    <a:lnTo>
                      <a:pt x="62" y="635"/>
                    </a:lnTo>
                    <a:lnTo>
                      <a:pt x="59" y="631"/>
                    </a:lnTo>
                    <a:lnTo>
                      <a:pt x="50" y="631"/>
                    </a:lnTo>
                    <a:lnTo>
                      <a:pt x="49" y="626"/>
                    </a:lnTo>
                    <a:lnTo>
                      <a:pt x="49" y="619"/>
                    </a:lnTo>
                    <a:lnTo>
                      <a:pt x="43" y="615"/>
                    </a:lnTo>
                    <a:lnTo>
                      <a:pt x="43" y="607"/>
                    </a:lnTo>
                    <a:lnTo>
                      <a:pt x="43" y="602"/>
                    </a:lnTo>
                    <a:lnTo>
                      <a:pt x="40" y="602"/>
                    </a:lnTo>
                    <a:lnTo>
                      <a:pt x="33" y="603"/>
                    </a:lnTo>
                    <a:lnTo>
                      <a:pt x="29" y="607"/>
                    </a:lnTo>
                    <a:lnTo>
                      <a:pt x="26" y="607"/>
                    </a:lnTo>
                    <a:lnTo>
                      <a:pt x="21" y="591"/>
                    </a:lnTo>
                    <a:lnTo>
                      <a:pt x="17" y="586"/>
                    </a:lnTo>
                    <a:lnTo>
                      <a:pt x="21" y="572"/>
                    </a:lnTo>
                    <a:lnTo>
                      <a:pt x="24" y="567"/>
                    </a:lnTo>
                    <a:lnTo>
                      <a:pt x="29" y="560"/>
                    </a:lnTo>
                    <a:lnTo>
                      <a:pt x="31" y="551"/>
                    </a:lnTo>
                    <a:lnTo>
                      <a:pt x="29" y="542"/>
                    </a:lnTo>
                    <a:lnTo>
                      <a:pt x="28" y="535"/>
                    </a:lnTo>
                    <a:lnTo>
                      <a:pt x="29" y="528"/>
                    </a:lnTo>
                    <a:lnTo>
                      <a:pt x="33" y="525"/>
                    </a:lnTo>
                    <a:lnTo>
                      <a:pt x="29" y="516"/>
                    </a:lnTo>
                    <a:lnTo>
                      <a:pt x="29" y="511"/>
                    </a:lnTo>
                    <a:lnTo>
                      <a:pt x="33" y="508"/>
                    </a:lnTo>
                    <a:lnTo>
                      <a:pt x="31" y="502"/>
                    </a:lnTo>
                    <a:lnTo>
                      <a:pt x="29" y="492"/>
                    </a:lnTo>
                    <a:lnTo>
                      <a:pt x="28" y="487"/>
                    </a:lnTo>
                    <a:lnTo>
                      <a:pt x="28" y="483"/>
                    </a:lnTo>
                    <a:lnTo>
                      <a:pt x="31" y="480"/>
                    </a:lnTo>
                    <a:lnTo>
                      <a:pt x="31" y="476"/>
                    </a:lnTo>
                    <a:lnTo>
                      <a:pt x="28" y="471"/>
                    </a:lnTo>
                    <a:lnTo>
                      <a:pt x="22" y="466"/>
                    </a:lnTo>
                    <a:lnTo>
                      <a:pt x="21" y="466"/>
                    </a:lnTo>
                    <a:lnTo>
                      <a:pt x="17" y="468"/>
                    </a:lnTo>
                    <a:lnTo>
                      <a:pt x="16" y="466"/>
                    </a:lnTo>
                    <a:lnTo>
                      <a:pt x="16" y="462"/>
                    </a:lnTo>
                    <a:lnTo>
                      <a:pt x="24" y="462"/>
                    </a:lnTo>
                    <a:lnTo>
                      <a:pt x="28" y="457"/>
                    </a:lnTo>
                    <a:lnTo>
                      <a:pt x="28" y="454"/>
                    </a:lnTo>
                    <a:lnTo>
                      <a:pt x="26" y="452"/>
                    </a:lnTo>
                    <a:lnTo>
                      <a:pt x="22" y="454"/>
                    </a:lnTo>
                    <a:lnTo>
                      <a:pt x="21" y="454"/>
                    </a:lnTo>
                    <a:lnTo>
                      <a:pt x="17" y="447"/>
                    </a:lnTo>
                    <a:lnTo>
                      <a:pt x="16" y="440"/>
                    </a:lnTo>
                    <a:lnTo>
                      <a:pt x="16" y="435"/>
                    </a:lnTo>
                    <a:lnTo>
                      <a:pt x="16" y="429"/>
                    </a:lnTo>
                    <a:lnTo>
                      <a:pt x="9" y="426"/>
                    </a:lnTo>
                    <a:lnTo>
                      <a:pt x="9" y="421"/>
                    </a:lnTo>
                    <a:lnTo>
                      <a:pt x="9" y="409"/>
                    </a:lnTo>
                    <a:lnTo>
                      <a:pt x="12" y="407"/>
                    </a:lnTo>
                    <a:lnTo>
                      <a:pt x="12" y="402"/>
                    </a:lnTo>
                    <a:lnTo>
                      <a:pt x="9" y="398"/>
                    </a:lnTo>
                    <a:lnTo>
                      <a:pt x="7" y="398"/>
                    </a:lnTo>
                    <a:lnTo>
                      <a:pt x="7" y="389"/>
                    </a:lnTo>
                    <a:lnTo>
                      <a:pt x="5" y="379"/>
                    </a:lnTo>
                    <a:lnTo>
                      <a:pt x="7" y="365"/>
                    </a:lnTo>
                    <a:lnTo>
                      <a:pt x="3" y="360"/>
                    </a:lnTo>
                    <a:lnTo>
                      <a:pt x="2" y="353"/>
                    </a:lnTo>
                    <a:lnTo>
                      <a:pt x="9" y="344"/>
                    </a:lnTo>
                    <a:lnTo>
                      <a:pt x="9" y="335"/>
                    </a:lnTo>
                    <a:lnTo>
                      <a:pt x="16" y="334"/>
                    </a:lnTo>
                    <a:lnTo>
                      <a:pt x="16" y="330"/>
                    </a:lnTo>
                    <a:lnTo>
                      <a:pt x="7" y="311"/>
                    </a:lnTo>
                    <a:lnTo>
                      <a:pt x="9" y="304"/>
                    </a:lnTo>
                    <a:lnTo>
                      <a:pt x="9" y="299"/>
                    </a:lnTo>
                    <a:lnTo>
                      <a:pt x="9" y="289"/>
                    </a:lnTo>
                    <a:lnTo>
                      <a:pt x="12" y="280"/>
                    </a:lnTo>
                    <a:lnTo>
                      <a:pt x="16" y="276"/>
                    </a:lnTo>
                    <a:lnTo>
                      <a:pt x="16" y="269"/>
                    </a:lnTo>
                    <a:lnTo>
                      <a:pt x="12" y="262"/>
                    </a:lnTo>
                    <a:lnTo>
                      <a:pt x="9" y="262"/>
                    </a:lnTo>
                    <a:lnTo>
                      <a:pt x="12" y="257"/>
                    </a:lnTo>
                    <a:lnTo>
                      <a:pt x="12" y="250"/>
                    </a:lnTo>
                    <a:lnTo>
                      <a:pt x="16" y="243"/>
                    </a:lnTo>
                    <a:lnTo>
                      <a:pt x="17" y="243"/>
                    </a:lnTo>
                    <a:lnTo>
                      <a:pt x="17" y="235"/>
                    </a:lnTo>
                    <a:lnTo>
                      <a:pt x="16" y="221"/>
                    </a:lnTo>
                    <a:lnTo>
                      <a:pt x="16" y="217"/>
                    </a:lnTo>
                    <a:lnTo>
                      <a:pt x="12" y="209"/>
                    </a:lnTo>
                    <a:lnTo>
                      <a:pt x="9" y="203"/>
                    </a:lnTo>
                    <a:lnTo>
                      <a:pt x="7" y="196"/>
                    </a:lnTo>
                    <a:lnTo>
                      <a:pt x="5" y="193"/>
                    </a:lnTo>
                    <a:lnTo>
                      <a:pt x="2" y="189"/>
                    </a:lnTo>
                    <a:lnTo>
                      <a:pt x="0" y="181"/>
                    </a:lnTo>
                    <a:lnTo>
                      <a:pt x="2" y="174"/>
                    </a:lnTo>
                    <a:lnTo>
                      <a:pt x="7" y="172"/>
                    </a:lnTo>
                    <a:lnTo>
                      <a:pt x="7" y="165"/>
                    </a:lnTo>
                    <a:lnTo>
                      <a:pt x="9" y="162"/>
                    </a:lnTo>
                    <a:lnTo>
                      <a:pt x="9" y="153"/>
                    </a:lnTo>
                    <a:lnTo>
                      <a:pt x="7" y="148"/>
                    </a:lnTo>
                    <a:lnTo>
                      <a:pt x="5" y="136"/>
                    </a:lnTo>
                    <a:lnTo>
                      <a:pt x="9" y="134"/>
                    </a:lnTo>
                    <a:lnTo>
                      <a:pt x="9" y="122"/>
                    </a:lnTo>
                    <a:lnTo>
                      <a:pt x="12" y="116"/>
                    </a:lnTo>
                    <a:lnTo>
                      <a:pt x="16" y="106"/>
                    </a:lnTo>
                    <a:lnTo>
                      <a:pt x="21" y="101"/>
                    </a:lnTo>
                    <a:lnTo>
                      <a:pt x="24" y="99"/>
                    </a:lnTo>
                    <a:lnTo>
                      <a:pt x="28" y="96"/>
                    </a:lnTo>
                    <a:lnTo>
                      <a:pt x="26" y="94"/>
                    </a:lnTo>
                    <a:lnTo>
                      <a:pt x="26" y="89"/>
                    </a:lnTo>
                    <a:lnTo>
                      <a:pt x="24" y="89"/>
                    </a:lnTo>
                    <a:lnTo>
                      <a:pt x="22" y="85"/>
                    </a:lnTo>
                    <a:lnTo>
                      <a:pt x="22" y="83"/>
                    </a:lnTo>
                    <a:lnTo>
                      <a:pt x="26" y="80"/>
                    </a:lnTo>
                    <a:lnTo>
                      <a:pt x="26" y="76"/>
                    </a:lnTo>
                    <a:lnTo>
                      <a:pt x="22" y="71"/>
                    </a:lnTo>
                    <a:lnTo>
                      <a:pt x="21" y="64"/>
                    </a:lnTo>
                    <a:lnTo>
                      <a:pt x="22" y="61"/>
                    </a:lnTo>
                    <a:lnTo>
                      <a:pt x="22" y="57"/>
                    </a:lnTo>
                    <a:lnTo>
                      <a:pt x="21" y="56"/>
                    </a:lnTo>
                    <a:lnTo>
                      <a:pt x="21" y="52"/>
                    </a:lnTo>
                    <a:lnTo>
                      <a:pt x="40" y="40"/>
                    </a:lnTo>
                    <a:lnTo>
                      <a:pt x="45" y="21"/>
                    </a:lnTo>
                    <a:lnTo>
                      <a:pt x="43" y="16"/>
                    </a:lnTo>
                    <a:lnTo>
                      <a:pt x="43" y="16"/>
                    </a:lnTo>
                    <a:lnTo>
                      <a:pt x="43" y="16"/>
                    </a:lnTo>
                    <a:lnTo>
                      <a:pt x="43" y="16"/>
                    </a:lnTo>
                    <a:close/>
                    <a:moveTo>
                      <a:pt x="184" y="699"/>
                    </a:moveTo>
                    <a:lnTo>
                      <a:pt x="188" y="701"/>
                    </a:lnTo>
                    <a:lnTo>
                      <a:pt x="191" y="699"/>
                    </a:lnTo>
                    <a:lnTo>
                      <a:pt x="194" y="697"/>
                    </a:lnTo>
                    <a:lnTo>
                      <a:pt x="196" y="694"/>
                    </a:lnTo>
                    <a:lnTo>
                      <a:pt x="194" y="694"/>
                    </a:lnTo>
                    <a:lnTo>
                      <a:pt x="191" y="697"/>
                    </a:lnTo>
                    <a:lnTo>
                      <a:pt x="186" y="697"/>
                    </a:lnTo>
                    <a:lnTo>
                      <a:pt x="184" y="699"/>
                    </a:lnTo>
                    <a:lnTo>
                      <a:pt x="184" y="699"/>
                    </a:lnTo>
                    <a:lnTo>
                      <a:pt x="184" y="699"/>
                    </a:lnTo>
                    <a:lnTo>
                      <a:pt x="184" y="699"/>
                    </a:lnTo>
                    <a:close/>
                    <a:moveTo>
                      <a:pt x="108" y="643"/>
                    </a:moveTo>
                    <a:lnTo>
                      <a:pt x="108" y="643"/>
                    </a:lnTo>
                    <a:lnTo>
                      <a:pt x="109" y="647"/>
                    </a:lnTo>
                    <a:lnTo>
                      <a:pt x="116" y="654"/>
                    </a:lnTo>
                    <a:lnTo>
                      <a:pt x="118" y="661"/>
                    </a:lnTo>
                    <a:lnTo>
                      <a:pt x="116" y="661"/>
                    </a:lnTo>
                    <a:lnTo>
                      <a:pt x="113" y="661"/>
                    </a:lnTo>
                    <a:lnTo>
                      <a:pt x="113" y="662"/>
                    </a:lnTo>
                    <a:lnTo>
                      <a:pt x="108" y="643"/>
                    </a:lnTo>
                    <a:lnTo>
                      <a:pt x="108" y="643"/>
                    </a:lnTo>
                    <a:lnTo>
                      <a:pt x="108" y="643"/>
                    </a:lnTo>
                    <a:lnTo>
                      <a:pt x="108" y="643"/>
                    </a:lnTo>
                    <a:close/>
                    <a:moveTo>
                      <a:pt x="113" y="664"/>
                    </a:moveTo>
                    <a:lnTo>
                      <a:pt x="116" y="666"/>
                    </a:lnTo>
                    <a:lnTo>
                      <a:pt x="120" y="664"/>
                    </a:lnTo>
                    <a:lnTo>
                      <a:pt x="122" y="668"/>
                    </a:lnTo>
                    <a:lnTo>
                      <a:pt x="125" y="675"/>
                    </a:lnTo>
                    <a:lnTo>
                      <a:pt x="128" y="675"/>
                    </a:lnTo>
                    <a:lnTo>
                      <a:pt x="132" y="678"/>
                    </a:lnTo>
                    <a:lnTo>
                      <a:pt x="132" y="683"/>
                    </a:lnTo>
                    <a:lnTo>
                      <a:pt x="137" y="683"/>
                    </a:lnTo>
                    <a:lnTo>
                      <a:pt x="149" y="688"/>
                    </a:lnTo>
                    <a:lnTo>
                      <a:pt x="151" y="688"/>
                    </a:lnTo>
                    <a:lnTo>
                      <a:pt x="158" y="690"/>
                    </a:lnTo>
                    <a:lnTo>
                      <a:pt x="160" y="694"/>
                    </a:lnTo>
                    <a:lnTo>
                      <a:pt x="165" y="695"/>
                    </a:lnTo>
                    <a:lnTo>
                      <a:pt x="172" y="694"/>
                    </a:lnTo>
                    <a:lnTo>
                      <a:pt x="174" y="694"/>
                    </a:lnTo>
                    <a:lnTo>
                      <a:pt x="174" y="697"/>
                    </a:lnTo>
                    <a:lnTo>
                      <a:pt x="172" y="701"/>
                    </a:lnTo>
                    <a:lnTo>
                      <a:pt x="168" y="699"/>
                    </a:lnTo>
                    <a:lnTo>
                      <a:pt x="165" y="699"/>
                    </a:lnTo>
                    <a:lnTo>
                      <a:pt x="165" y="702"/>
                    </a:lnTo>
                    <a:lnTo>
                      <a:pt x="160" y="706"/>
                    </a:lnTo>
                    <a:lnTo>
                      <a:pt x="158" y="708"/>
                    </a:lnTo>
                    <a:lnTo>
                      <a:pt x="153" y="706"/>
                    </a:lnTo>
                    <a:lnTo>
                      <a:pt x="149" y="704"/>
                    </a:lnTo>
                    <a:lnTo>
                      <a:pt x="142" y="702"/>
                    </a:lnTo>
                    <a:lnTo>
                      <a:pt x="137" y="702"/>
                    </a:lnTo>
                    <a:lnTo>
                      <a:pt x="130" y="702"/>
                    </a:lnTo>
                    <a:lnTo>
                      <a:pt x="125" y="704"/>
                    </a:lnTo>
                    <a:lnTo>
                      <a:pt x="123" y="704"/>
                    </a:lnTo>
                    <a:lnTo>
                      <a:pt x="122" y="697"/>
                    </a:lnTo>
                    <a:lnTo>
                      <a:pt x="130" y="697"/>
                    </a:lnTo>
                    <a:lnTo>
                      <a:pt x="132" y="695"/>
                    </a:lnTo>
                    <a:lnTo>
                      <a:pt x="137" y="695"/>
                    </a:lnTo>
                    <a:lnTo>
                      <a:pt x="137" y="694"/>
                    </a:lnTo>
                    <a:lnTo>
                      <a:pt x="132" y="695"/>
                    </a:lnTo>
                    <a:lnTo>
                      <a:pt x="128" y="695"/>
                    </a:lnTo>
                    <a:lnTo>
                      <a:pt x="122" y="695"/>
                    </a:lnTo>
                    <a:lnTo>
                      <a:pt x="120" y="695"/>
                    </a:lnTo>
                    <a:lnTo>
                      <a:pt x="113" y="664"/>
                    </a:lnTo>
                    <a:lnTo>
                      <a:pt x="113" y="664"/>
                    </a:lnTo>
                    <a:lnTo>
                      <a:pt x="113" y="664"/>
                    </a:lnTo>
                    <a:close/>
                  </a:path>
                </a:pathLst>
              </a:custGeom>
              <a:solidFill>
                <a:srgbClr val="B70132"/>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64" name="Freeform 47"/>
              <p:cNvSpPr>
                <a:spLocks noEditPoints="1"/>
              </p:cNvSpPr>
              <p:nvPr/>
            </p:nvSpPr>
            <p:spPr bwMode="auto">
              <a:xfrm>
                <a:off x="2562225" y="4754563"/>
                <a:ext cx="295275" cy="1295400"/>
              </a:xfrm>
              <a:custGeom>
                <a:avLst/>
                <a:gdLst/>
                <a:ahLst/>
                <a:cxnLst>
                  <a:cxn ang="0">
                    <a:pos x="122" y="781"/>
                  </a:cxn>
                  <a:cxn ang="0">
                    <a:pos x="129" y="800"/>
                  </a:cxn>
                  <a:cxn ang="0">
                    <a:pos x="144" y="774"/>
                  </a:cxn>
                  <a:cxn ang="0">
                    <a:pos x="123" y="738"/>
                  </a:cxn>
                  <a:cxn ang="0">
                    <a:pos x="96" y="717"/>
                  </a:cxn>
                  <a:cxn ang="0">
                    <a:pos x="68" y="586"/>
                  </a:cxn>
                  <a:cxn ang="0">
                    <a:pos x="45" y="493"/>
                  </a:cxn>
                  <a:cxn ang="0">
                    <a:pos x="49" y="334"/>
                  </a:cxn>
                  <a:cxn ang="0">
                    <a:pos x="63" y="180"/>
                  </a:cxn>
                  <a:cxn ang="0">
                    <a:pos x="52" y="46"/>
                  </a:cxn>
                  <a:cxn ang="0">
                    <a:pos x="19" y="28"/>
                  </a:cxn>
                  <a:cxn ang="0">
                    <a:pos x="24" y="148"/>
                  </a:cxn>
                  <a:cxn ang="0">
                    <a:pos x="14" y="242"/>
                  </a:cxn>
                  <a:cxn ang="0">
                    <a:pos x="18" y="331"/>
                  </a:cxn>
                  <a:cxn ang="0">
                    <a:pos x="2" y="390"/>
                  </a:cxn>
                  <a:cxn ang="0">
                    <a:pos x="9" y="468"/>
                  </a:cxn>
                  <a:cxn ang="0">
                    <a:pos x="35" y="494"/>
                  </a:cxn>
                  <a:cxn ang="0">
                    <a:pos x="45" y="545"/>
                  </a:cxn>
                  <a:cxn ang="0">
                    <a:pos x="24" y="581"/>
                  </a:cxn>
                  <a:cxn ang="0">
                    <a:pos x="12" y="600"/>
                  </a:cxn>
                  <a:cxn ang="0">
                    <a:pos x="28" y="612"/>
                  </a:cxn>
                  <a:cxn ang="0">
                    <a:pos x="37" y="637"/>
                  </a:cxn>
                  <a:cxn ang="0">
                    <a:pos x="42" y="670"/>
                  </a:cxn>
                  <a:cxn ang="0">
                    <a:pos x="59" y="710"/>
                  </a:cxn>
                  <a:cxn ang="0">
                    <a:pos x="77" y="713"/>
                  </a:cxn>
                  <a:cxn ang="0">
                    <a:pos x="73" y="724"/>
                  </a:cxn>
                  <a:cxn ang="0">
                    <a:pos x="82" y="739"/>
                  </a:cxn>
                  <a:cxn ang="0">
                    <a:pos x="87" y="741"/>
                  </a:cxn>
                  <a:cxn ang="0">
                    <a:pos x="108" y="741"/>
                  </a:cxn>
                  <a:cxn ang="0">
                    <a:pos x="110" y="769"/>
                  </a:cxn>
                  <a:cxn ang="0">
                    <a:pos x="144" y="724"/>
                  </a:cxn>
                  <a:cxn ang="0">
                    <a:pos x="12" y="513"/>
                  </a:cxn>
                  <a:cxn ang="0">
                    <a:pos x="26" y="494"/>
                  </a:cxn>
                  <a:cxn ang="0">
                    <a:pos x="30" y="531"/>
                  </a:cxn>
                  <a:cxn ang="0">
                    <a:pos x="18" y="536"/>
                  </a:cxn>
                  <a:cxn ang="0">
                    <a:pos x="24" y="548"/>
                  </a:cxn>
                  <a:cxn ang="0">
                    <a:pos x="18" y="546"/>
                  </a:cxn>
                  <a:cxn ang="0">
                    <a:pos x="24" y="571"/>
                  </a:cxn>
                  <a:cxn ang="0">
                    <a:pos x="30" y="548"/>
                  </a:cxn>
                  <a:cxn ang="0">
                    <a:pos x="19" y="559"/>
                  </a:cxn>
                  <a:cxn ang="0">
                    <a:pos x="28" y="635"/>
                  </a:cxn>
                  <a:cxn ang="0">
                    <a:pos x="24" y="639"/>
                  </a:cxn>
                  <a:cxn ang="0">
                    <a:pos x="19" y="656"/>
                  </a:cxn>
                  <a:cxn ang="0">
                    <a:pos x="33" y="668"/>
                  </a:cxn>
                  <a:cxn ang="0">
                    <a:pos x="37" y="673"/>
                  </a:cxn>
                  <a:cxn ang="0">
                    <a:pos x="33" y="687"/>
                  </a:cxn>
                  <a:cxn ang="0">
                    <a:pos x="37" y="686"/>
                  </a:cxn>
                  <a:cxn ang="0">
                    <a:pos x="47" y="705"/>
                  </a:cxn>
                  <a:cxn ang="0">
                    <a:pos x="45" y="717"/>
                  </a:cxn>
                  <a:cxn ang="0">
                    <a:pos x="49" y="732"/>
                  </a:cxn>
                  <a:cxn ang="0">
                    <a:pos x="57" y="724"/>
                  </a:cxn>
                  <a:cxn ang="0">
                    <a:pos x="59" y="738"/>
                  </a:cxn>
                  <a:cxn ang="0">
                    <a:pos x="77" y="755"/>
                  </a:cxn>
                  <a:cxn ang="0">
                    <a:pos x="87" y="776"/>
                  </a:cxn>
                  <a:cxn ang="0">
                    <a:pos x="96" y="766"/>
                  </a:cxn>
                  <a:cxn ang="0">
                    <a:pos x="117" y="776"/>
                  </a:cxn>
                  <a:cxn ang="0">
                    <a:pos x="127" y="769"/>
                  </a:cxn>
                  <a:cxn ang="0">
                    <a:pos x="115" y="797"/>
                  </a:cxn>
                  <a:cxn ang="0">
                    <a:pos x="146" y="793"/>
                  </a:cxn>
                  <a:cxn ang="0">
                    <a:pos x="158" y="799"/>
                  </a:cxn>
                  <a:cxn ang="0">
                    <a:pos x="139" y="802"/>
                  </a:cxn>
                </a:cxnLst>
                <a:rect l="0" t="0" r="r" b="b"/>
                <a:pathLst>
                  <a:path w="186" h="816">
                    <a:moveTo>
                      <a:pt x="158" y="788"/>
                    </a:moveTo>
                    <a:lnTo>
                      <a:pt x="158" y="783"/>
                    </a:lnTo>
                    <a:lnTo>
                      <a:pt x="155" y="783"/>
                    </a:lnTo>
                    <a:lnTo>
                      <a:pt x="151" y="781"/>
                    </a:lnTo>
                    <a:lnTo>
                      <a:pt x="146" y="779"/>
                    </a:lnTo>
                    <a:lnTo>
                      <a:pt x="139" y="776"/>
                    </a:lnTo>
                    <a:lnTo>
                      <a:pt x="132" y="774"/>
                    </a:lnTo>
                    <a:lnTo>
                      <a:pt x="132" y="776"/>
                    </a:lnTo>
                    <a:lnTo>
                      <a:pt x="136" y="778"/>
                    </a:lnTo>
                    <a:lnTo>
                      <a:pt x="132" y="779"/>
                    </a:lnTo>
                    <a:lnTo>
                      <a:pt x="132" y="778"/>
                    </a:lnTo>
                    <a:lnTo>
                      <a:pt x="125" y="776"/>
                    </a:lnTo>
                    <a:lnTo>
                      <a:pt x="123" y="774"/>
                    </a:lnTo>
                    <a:lnTo>
                      <a:pt x="122" y="774"/>
                    </a:lnTo>
                    <a:lnTo>
                      <a:pt x="123" y="776"/>
                    </a:lnTo>
                    <a:lnTo>
                      <a:pt x="130" y="779"/>
                    </a:lnTo>
                    <a:lnTo>
                      <a:pt x="132" y="781"/>
                    </a:lnTo>
                    <a:lnTo>
                      <a:pt x="129" y="781"/>
                    </a:lnTo>
                    <a:lnTo>
                      <a:pt x="129" y="781"/>
                    </a:lnTo>
                    <a:lnTo>
                      <a:pt x="129" y="783"/>
                    </a:lnTo>
                    <a:lnTo>
                      <a:pt x="127" y="783"/>
                    </a:lnTo>
                    <a:lnTo>
                      <a:pt x="125" y="781"/>
                    </a:lnTo>
                    <a:lnTo>
                      <a:pt x="122" y="779"/>
                    </a:lnTo>
                    <a:lnTo>
                      <a:pt x="122" y="781"/>
                    </a:lnTo>
                    <a:lnTo>
                      <a:pt x="122" y="783"/>
                    </a:lnTo>
                    <a:lnTo>
                      <a:pt x="120" y="783"/>
                    </a:lnTo>
                    <a:lnTo>
                      <a:pt x="113" y="783"/>
                    </a:lnTo>
                    <a:lnTo>
                      <a:pt x="113" y="785"/>
                    </a:lnTo>
                    <a:lnTo>
                      <a:pt x="113" y="786"/>
                    </a:lnTo>
                    <a:lnTo>
                      <a:pt x="113" y="786"/>
                    </a:lnTo>
                    <a:lnTo>
                      <a:pt x="110" y="786"/>
                    </a:lnTo>
                    <a:lnTo>
                      <a:pt x="108" y="786"/>
                    </a:lnTo>
                    <a:lnTo>
                      <a:pt x="108" y="788"/>
                    </a:lnTo>
                    <a:lnTo>
                      <a:pt x="113" y="788"/>
                    </a:lnTo>
                    <a:lnTo>
                      <a:pt x="115" y="788"/>
                    </a:lnTo>
                    <a:lnTo>
                      <a:pt x="115" y="788"/>
                    </a:lnTo>
                    <a:lnTo>
                      <a:pt x="117" y="786"/>
                    </a:lnTo>
                    <a:lnTo>
                      <a:pt x="118" y="788"/>
                    </a:lnTo>
                    <a:lnTo>
                      <a:pt x="122" y="788"/>
                    </a:lnTo>
                    <a:lnTo>
                      <a:pt x="123" y="788"/>
                    </a:lnTo>
                    <a:lnTo>
                      <a:pt x="125" y="792"/>
                    </a:lnTo>
                    <a:lnTo>
                      <a:pt x="125" y="792"/>
                    </a:lnTo>
                    <a:lnTo>
                      <a:pt x="127" y="793"/>
                    </a:lnTo>
                    <a:lnTo>
                      <a:pt x="123" y="793"/>
                    </a:lnTo>
                    <a:lnTo>
                      <a:pt x="122" y="797"/>
                    </a:lnTo>
                    <a:lnTo>
                      <a:pt x="125" y="800"/>
                    </a:lnTo>
                    <a:lnTo>
                      <a:pt x="127" y="800"/>
                    </a:lnTo>
                    <a:lnTo>
                      <a:pt x="129" y="800"/>
                    </a:lnTo>
                    <a:lnTo>
                      <a:pt x="132" y="804"/>
                    </a:lnTo>
                    <a:lnTo>
                      <a:pt x="132" y="804"/>
                    </a:lnTo>
                    <a:lnTo>
                      <a:pt x="132" y="802"/>
                    </a:lnTo>
                    <a:lnTo>
                      <a:pt x="132" y="800"/>
                    </a:lnTo>
                    <a:lnTo>
                      <a:pt x="129" y="799"/>
                    </a:lnTo>
                    <a:lnTo>
                      <a:pt x="129" y="797"/>
                    </a:lnTo>
                    <a:lnTo>
                      <a:pt x="129" y="797"/>
                    </a:lnTo>
                    <a:lnTo>
                      <a:pt x="132" y="797"/>
                    </a:lnTo>
                    <a:lnTo>
                      <a:pt x="132" y="797"/>
                    </a:lnTo>
                    <a:lnTo>
                      <a:pt x="132" y="797"/>
                    </a:lnTo>
                    <a:lnTo>
                      <a:pt x="132" y="793"/>
                    </a:lnTo>
                    <a:lnTo>
                      <a:pt x="130" y="793"/>
                    </a:lnTo>
                    <a:lnTo>
                      <a:pt x="136" y="792"/>
                    </a:lnTo>
                    <a:lnTo>
                      <a:pt x="139" y="788"/>
                    </a:lnTo>
                    <a:lnTo>
                      <a:pt x="153" y="792"/>
                    </a:lnTo>
                    <a:lnTo>
                      <a:pt x="155" y="792"/>
                    </a:lnTo>
                    <a:lnTo>
                      <a:pt x="155" y="788"/>
                    </a:lnTo>
                    <a:lnTo>
                      <a:pt x="158" y="788"/>
                    </a:lnTo>
                    <a:lnTo>
                      <a:pt x="158" y="788"/>
                    </a:lnTo>
                    <a:lnTo>
                      <a:pt x="158" y="788"/>
                    </a:lnTo>
                    <a:lnTo>
                      <a:pt x="158" y="788"/>
                    </a:lnTo>
                    <a:close/>
                    <a:moveTo>
                      <a:pt x="155" y="781"/>
                    </a:moveTo>
                    <a:lnTo>
                      <a:pt x="153" y="781"/>
                    </a:lnTo>
                    <a:lnTo>
                      <a:pt x="144" y="774"/>
                    </a:lnTo>
                    <a:lnTo>
                      <a:pt x="139" y="772"/>
                    </a:lnTo>
                    <a:lnTo>
                      <a:pt x="136" y="772"/>
                    </a:lnTo>
                    <a:lnTo>
                      <a:pt x="132" y="771"/>
                    </a:lnTo>
                    <a:lnTo>
                      <a:pt x="130" y="769"/>
                    </a:lnTo>
                    <a:lnTo>
                      <a:pt x="129" y="766"/>
                    </a:lnTo>
                    <a:lnTo>
                      <a:pt x="129" y="764"/>
                    </a:lnTo>
                    <a:lnTo>
                      <a:pt x="132" y="760"/>
                    </a:lnTo>
                    <a:lnTo>
                      <a:pt x="136" y="760"/>
                    </a:lnTo>
                    <a:lnTo>
                      <a:pt x="139" y="760"/>
                    </a:lnTo>
                    <a:lnTo>
                      <a:pt x="139" y="755"/>
                    </a:lnTo>
                    <a:lnTo>
                      <a:pt x="139" y="753"/>
                    </a:lnTo>
                    <a:lnTo>
                      <a:pt x="136" y="753"/>
                    </a:lnTo>
                    <a:lnTo>
                      <a:pt x="130" y="755"/>
                    </a:lnTo>
                    <a:lnTo>
                      <a:pt x="129" y="757"/>
                    </a:lnTo>
                    <a:lnTo>
                      <a:pt x="125" y="757"/>
                    </a:lnTo>
                    <a:lnTo>
                      <a:pt x="122" y="753"/>
                    </a:lnTo>
                    <a:lnTo>
                      <a:pt x="122" y="750"/>
                    </a:lnTo>
                    <a:lnTo>
                      <a:pt x="122" y="748"/>
                    </a:lnTo>
                    <a:lnTo>
                      <a:pt x="123" y="745"/>
                    </a:lnTo>
                    <a:lnTo>
                      <a:pt x="125" y="743"/>
                    </a:lnTo>
                    <a:lnTo>
                      <a:pt x="122" y="743"/>
                    </a:lnTo>
                    <a:lnTo>
                      <a:pt x="120" y="741"/>
                    </a:lnTo>
                    <a:lnTo>
                      <a:pt x="122" y="738"/>
                    </a:lnTo>
                    <a:lnTo>
                      <a:pt x="123" y="738"/>
                    </a:lnTo>
                    <a:lnTo>
                      <a:pt x="127" y="741"/>
                    </a:lnTo>
                    <a:lnTo>
                      <a:pt x="129" y="739"/>
                    </a:lnTo>
                    <a:lnTo>
                      <a:pt x="132" y="738"/>
                    </a:lnTo>
                    <a:lnTo>
                      <a:pt x="132" y="734"/>
                    </a:lnTo>
                    <a:lnTo>
                      <a:pt x="132" y="732"/>
                    </a:lnTo>
                    <a:lnTo>
                      <a:pt x="132" y="729"/>
                    </a:lnTo>
                    <a:lnTo>
                      <a:pt x="136" y="729"/>
                    </a:lnTo>
                    <a:lnTo>
                      <a:pt x="139" y="732"/>
                    </a:lnTo>
                    <a:lnTo>
                      <a:pt x="139" y="729"/>
                    </a:lnTo>
                    <a:lnTo>
                      <a:pt x="144" y="729"/>
                    </a:lnTo>
                    <a:lnTo>
                      <a:pt x="148" y="748"/>
                    </a:lnTo>
                    <a:lnTo>
                      <a:pt x="148" y="750"/>
                    </a:lnTo>
                    <a:lnTo>
                      <a:pt x="148" y="750"/>
                    </a:lnTo>
                    <a:lnTo>
                      <a:pt x="155" y="781"/>
                    </a:lnTo>
                    <a:lnTo>
                      <a:pt x="155" y="781"/>
                    </a:lnTo>
                    <a:lnTo>
                      <a:pt x="155" y="781"/>
                    </a:lnTo>
                    <a:lnTo>
                      <a:pt x="155" y="781"/>
                    </a:lnTo>
                    <a:close/>
                    <a:moveTo>
                      <a:pt x="144" y="724"/>
                    </a:moveTo>
                    <a:lnTo>
                      <a:pt x="139" y="719"/>
                    </a:lnTo>
                    <a:lnTo>
                      <a:pt x="136" y="719"/>
                    </a:lnTo>
                    <a:lnTo>
                      <a:pt x="132" y="717"/>
                    </a:lnTo>
                    <a:lnTo>
                      <a:pt x="113" y="717"/>
                    </a:lnTo>
                    <a:lnTo>
                      <a:pt x="99" y="719"/>
                    </a:lnTo>
                    <a:lnTo>
                      <a:pt x="96" y="717"/>
                    </a:lnTo>
                    <a:lnTo>
                      <a:pt x="87" y="717"/>
                    </a:lnTo>
                    <a:lnTo>
                      <a:pt x="87" y="710"/>
                    </a:lnTo>
                    <a:lnTo>
                      <a:pt x="85" y="705"/>
                    </a:lnTo>
                    <a:lnTo>
                      <a:pt x="80" y="701"/>
                    </a:lnTo>
                    <a:lnTo>
                      <a:pt x="80" y="691"/>
                    </a:lnTo>
                    <a:lnTo>
                      <a:pt x="80" y="686"/>
                    </a:lnTo>
                    <a:lnTo>
                      <a:pt x="77" y="686"/>
                    </a:lnTo>
                    <a:lnTo>
                      <a:pt x="70" y="689"/>
                    </a:lnTo>
                    <a:lnTo>
                      <a:pt x="68" y="692"/>
                    </a:lnTo>
                    <a:lnTo>
                      <a:pt x="64" y="692"/>
                    </a:lnTo>
                    <a:lnTo>
                      <a:pt x="57" y="675"/>
                    </a:lnTo>
                    <a:lnTo>
                      <a:pt x="56" y="670"/>
                    </a:lnTo>
                    <a:lnTo>
                      <a:pt x="57" y="656"/>
                    </a:lnTo>
                    <a:lnTo>
                      <a:pt x="63" y="651"/>
                    </a:lnTo>
                    <a:lnTo>
                      <a:pt x="68" y="646"/>
                    </a:lnTo>
                    <a:lnTo>
                      <a:pt x="68" y="635"/>
                    </a:lnTo>
                    <a:lnTo>
                      <a:pt x="68" y="626"/>
                    </a:lnTo>
                    <a:lnTo>
                      <a:pt x="64" y="619"/>
                    </a:lnTo>
                    <a:lnTo>
                      <a:pt x="68" y="612"/>
                    </a:lnTo>
                    <a:lnTo>
                      <a:pt x="70" y="609"/>
                    </a:lnTo>
                    <a:lnTo>
                      <a:pt x="68" y="600"/>
                    </a:lnTo>
                    <a:lnTo>
                      <a:pt x="68" y="595"/>
                    </a:lnTo>
                    <a:lnTo>
                      <a:pt x="70" y="592"/>
                    </a:lnTo>
                    <a:lnTo>
                      <a:pt x="68" y="586"/>
                    </a:lnTo>
                    <a:lnTo>
                      <a:pt x="68" y="576"/>
                    </a:lnTo>
                    <a:lnTo>
                      <a:pt x="64" y="571"/>
                    </a:lnTo>
                    <a:lnTo>
                      <a:pt x="64" y="567"/>
                    </a:lnTo>
                    <a:lnTo>
                      <a:pt x="68" y="564"/>
                    </a:lnTo>
                    <a:lnTo>
                      <a:pt x="68" y="560"/>
                    </a:lnTo>
                    <a:lnTo>
                      <a:pt x="64" y="555"/>
                    </a:lnTo>
                    <a:lnTo>
                      <a:pt x="59" y="550"/>
                    </a:lnTo>
                    <a:lnTo>
                      <a:pt x="57" y="550"/>
                    </a:lnTo>
                    <a:lnTo>
                      <a:pt x="56" y="552"/>
                    </a:lnTo>
                    <a:lnTo>
                      <a:pt x="54" y="550"/>
                    </a:lnTo>
                    <a:lnTo>
                      <a:pt x="54" y="546"/>
                    </a:lnTo>
                    <a:lnTo>
                      <a:pt x="63" y="546"/>
                    </a:lnTo>
                    <a:lnTo>
                      <a:pt x="64" y="541"/>
                    </a:lnTo>
                    <a:lnTo>
                      <a:pt x="64" y="538"/>
                    </a:lnTo>
                    <a:lnTo>
                      <a:pt x="64" y="536"/>
                    </a:lnTo>
                    <a:lnTo>
                      <a:pt x="59" y="538"/>
                    </a:lnTo>
                    <a:lnTo>
                      <a:pt x="57" y="538"/>
                    </a:lnTo>
                    <a:lnTo>
                      <a:pt x="56" y="531"/>
                    </a:lnTo>
                    <a:lnTo>
                      <a:pt x="52" y="524"/>
                    </a:lnTo>
                    <a:lnTo>
                      <a:pt x="52" y="519"/>
                    </a:lnTo>
                    <a:lnTo>
                      <a:pt x="52" y="512"/>
                    </a:lnTo>
                    <a:lnTo>
                      <a:pt x="47" y="510"/>
                    </a:lnTo>
                    <a:lnTo>
                      <a:pt x="45" y="505"/>
                    </a:lnTo>
                    <a:lnTo>
                      <a:pt x="45" y="493"/>
                    </a:lnTo>
                    <a:lnTo>
                      <a:pt x="49" y="491"/>
                    </a:lnTo>
                    <a:lnTo>
                      <a:pt x="51" y="486"/>
                    </a:lnTo>
                    <a:lnTo>
                      <a:pt x="47" y="482"/>
                    </a:lnTo>
                    <a:lnTo>
                      <a:pt x="45" y="480"/>
                    </a:lnTo>
                    <a:lnTo>
                      <a:pt x="45" y="472"/>
                    </a:lnTo>
                    <a:lnTo>
                      <a:pt x="42" y="461"/>
                    </a:lnTo>
                    <a:lnTo>
                      <a:pt x="45" y="447"/>
                    </a:lnTo>
                    <a:lnTo>
                      <a:pt x="40" y="444"/>
                    </a:lnTo>
                    <a:lnTo>
                      <a:pt x="40" y="437"/>
                    </a:lnTo>
                    <a:lnTo>
                      <a:pt x="45" y="428"/>
                    </a:lnTo>
                    <a:lnTo>
                      <a:pt x="47" y="418"/>
                    </a:lnTo>
                    <a:lnTo>
                      <a:pt x="52" y="416"/>
                    </a:lnTo>
                    <a:lnTo>
                      <a:pt x="54" y="413"/>
                    </a:lnTo>
                    <a:lnTo>
                      <a:pt x="45" y="393"/>
                    </a:lnTo>
                    <a:lnTo>
                      <a:pt x="45" y="386"/>
                    </a:lnTo>
                    <a:lnTo>
                      <a:pt x="45" y="381"/>
                    </a:lnTo>
                    <a:lnTo>
                      <a:pt x="45" y="371"/>
                    </a:lnTo>
                    <a:lnTo>
                      <a:pt x="49" y="362"/>
                    </a:lnTo>
                    <a:lnTo>
                      <a:pt x="52" y="359"/>
                    </a:lnTo>
                    <a:lnTo>
                      <a:pt x="52" y="353"/>
                    </a:lnTo>
                    <a:lnTo>
                      <a:pt x="49" y="345"/>
                    </a:lnTo>
                    <a:lnTo>
                      <a:pt x="45" y="345"/>
                    </a:lnTo>
                    <a:lnTo>
                      <a:pt x="51" y="339"/>
                    </a:lnTo>
                    <a:lnTo>
                      <a:pt x="49" y="334"/>
                    </a:lnTo>
                    <a:lnTo>
                      <a:pt x="52" y="326"/>
                    </a:lnTo>
                    <a:lnTo>
                      <a:pt x="56" y="326"/>
                    </a:lnTo>
                    <a:lnTo>
                      <a:pt x="56" y="317"/>
                    </a:lnTo>
                    <a:lnTo>
                      <a:pt x="54" y="303"/>
                    </a:lnTo>
                    <a:lnTo>
                      <a:pt x="52" y="300"/>
                    </a:lnTo>
                    <a:lnTo>
                      <a:pt x="51" y="291"/>
                    </a:lnTo>
                    <a:lnTo>
                      <a:pt x="47" y="286"/>
                    </a:lnTo>
                    <a:lnTo>
                      <a:pt x="45" y="279"/>
                    </a:lnTo>
                    <a:lnTo>
                      <a:pt x="42" y="275"/>
                    </a:lnTo>
                    <a:lnTo>
                      <a:pt x="40" y="270"/>
                    </a:lnTo>
                    <a:lnTo>
                      <a:pt x="37" y="263"/>
                    </a:lnTo>
                    <a:lnTo>
                      <a:pt x="40" y="256"/>
                    </a:lnTo>
                    <a:lnTo>
                      <a:pt x="45" y="254"/>
                    </a:lnTo>
                    <a:lnTo>
                      <a:pt x="45" y="246"/>
                    </a:lnTo>
                    <a:lnTo>
                      <a:pt x="45" y="242"/>
                    </a:lnTo>
                    <a:lnTo>
                      <a:pt x="47" y="235"/>
                    </a:lnTo>
                    <a:lnTo>
                      <a:pt x="45" y="230"/>
                    </a:lnTo>
                    <a:lnTo>
                      <a:pt x="42" y="218"/>
                    </a:lnTo>
                    <a:lnTo>
                      <a:pt x="45" y="216"/>
                    </a:lnTo>
                    <a:lnTo>
                      <a:pt x="47" y="202"/>
                    </a:lnTo>
                    <a:lnTo>
                      <a:pt x="51" y="199"/>
                    </a:lnTo>
                    <a:lnTo>
                      <a:pt x="54" y="186"/>
                    </a:lnTo>
                    <a:lnTo>
                      <a:pt x="59" y="183"/>
                    </a:lnTo>
                    <a:lnTo>
                      <a:pt x="63" y="180"/>
                    </a:lnTo>
                    <a:lnTo>
                      <a:pt x="64" y="176"/>
                    </a:lnTo>
                    <a:lnTo>
                      <a:pt x="64" y="176"/>
                    </a:lnTo>
                    <a:lnTo>
                      <a:pt x="64" y="171"/>
                    </a:lnTo>
                    <a:lnTo>
                      <a:pt x="63" y="169"/>
                    </a:lnTo>
                    <a:lnTo>
                      <a:pt x="59" y="167"/>
                    </a:lnTo>
                    <a:lnTo>
                      <a:pt x="59" y="164"/>
                    </a:lnTo>
                    <a:lnTo>
                      <a:pt x="64" y="160"/>
                    </a:lnTo>
                    <a:lnTo>
                      <a:pt x="64" y="157"/>
                    </a:lnTo>
                    <a:lnTo>
                      <a:pt x="59" y="152"/>
                    </a:lnTo>
                    <a:lnTo>
                      <a:pt x="59" y="146"/>
                    </a:lnTo>
                    <a:lnTo>
                      <a:pt x="59" y="143"/>
                    </a:lnTo>
                    <a:lnTo>
                      <a:pt x="59" y="140"/>
                    </a:lnTo>
                    <a:lnTo>
                      <a:pt x="57" y="136"/>
                    </a:lnTo>
                    <a:lnTo>
                      <a:pt x="57" y="133"/>
                    </a:lnTo>
                    <a:lnTo>
                      <a:pt x="78" y="120"/>
                    </a:lnTo>
                    <a:lnTo>
                      <a:pt x="82" y="101"/>
                    </a:lnTo>
                    <a:lnTo>
                      <a:pt x="80" y="96"/>
                    </a:lnTo>
                    <a:lnTo>
                      <a:pt x="78" y="98"/>
                    </a:lnTo>
                    <a:lnTo>
                      <a:pt x="77" y="100"/>
                    </a:lnTo>
                    <a:lnTo>
                      <a:pt x="71" y="100"/>
                    </a:lnTo>
                    <a:lnTo>
                      <a:pt x="59" y="65"/>
                    </a:lnTo>
                    <a:lnTo>
                      <a:pt x="51" y="60"/>
                    </a:lnTo>
                    <a:lnTo>
                      <a:pt x="49" y="54"/>
                    </a:lnTo>
                    <a:lnTo>
                      <a:pt x="52" y="46"/>
                    </a:lnTo>
                    <a:lnTo>
                      <a:pt x="51" y="42"/>
                    </a:lnTo>
                    <a:lnTo>
                      <a:pt x="54" y="37"/>
                    </a:lnTo>
                    <a:lnTo>
                      <a:pt x="52" y="33"/>
                    </a:lnTo>
                    <a:lnTo>
                      <a:pt x="45" y="28"/>
                    </a:lnTo>
                    <a:lnTo>
                      <a:pt x="42" y="25"/>
                    </a:lnTo>
                    <a:lnTo>
                      <a:pt x="40" y="18"/>
                    </a:lnTo>
                    <a:lnTo>
                      <a:pt x="40" y="16"/>
                    </a:lnTo>
                    <a:lnTo>
                      <a:pt x="40" y="13"/>
                    </a:lnTo>
                    <a:lnTo>
                      <a:pt x="40" y="9"/>
                    </a:lnTo>
                    <a:lnTo>
                      <a:pt x="40" y="9"/>
                    </a:lnTo>
                    <a:lnTo>
                      <a:pt x="37" y="6"/>
                    </a:lnTo>
                    <a:lnTo>
                      <a:pt x="37" y="0"/>
                    </a:lnTo>
                    <a:lnTo>
                      <a:pt x="33" y="0"/>
                    </a:lnTo>
                    <a:lnTo>
                      <a:pt x="31" y="2"/>
                    </a:lnTo>
                    <a:lnTo>
                      <a:pt x="30" y="6"/>
                    </a:lnTo>
                    <a:lnTo>
                      <a:pt x="33" y="9"/>
                    </a:lnTo>
                    <a:lnTo>
                      <a:pt x="31" y="11"/>
                    </a:lnTo>
                    <a:lnTo>
                      <a:pt x="28" y="14"/>
                    </a:lnTo>
                    <a:lnTo>
                      <a:pt x="26" y="13"/>
                    </a:lnTo>
                    <a:lnTo>
                      <a:pt x="21" y="16"/>
                    </a:lnTo>
                    <a:lnTo>
                      <a:pt x="18" y="18"/>
                    </a:lnTo>
                    <a:lnTo>
                      <a:pt x="19" y="20"/>
                    </a:lnTo>
                    <a:lnTo>
                      <a:pt x="19" y="25"/>
                    </a:lnTo>
                    <a:lnTo>
                      <a:pt x="19" y="28"/>
                    </a:lnTo>
                    <a:lnTo>
                      <a:pt x="19" y="33"/>
                    </a:lnTo>
                    <a:lnTo>
                      <a:pt x="23" y="46"/>
                    </a:lnTo>
                    <a:lnTo>
                      <a:pt x="23" y="51"/>
                    </a:lnTo>
                    <a:lnTo>
                      <a:pt x="21" y="54"/>
                    </a:lnTo>
                    <a:lnTo>
                      <a:pt x="19" y="56"/>
                    </a:lnTo>
                    <a:lnTo>
                      <a:pt x="21" y="61"/>
                    </a:lnTo>
                    <a:lnTo>
                      <a:pt x="23" y="68"/>
                    </a:lnTo>
                    <a:lnTo>
                      <a:pt x="24" y="73"/>
                    </a:lnTo>
                    <a:lnTo>
                      <a:pt x="24" y="84"/>
                    </a:lnTo>
                    <a:lnTo>
                      <a:pt x="24" y="84"/>
                    </a:lnTo>
                    <a:lnTo>
                      <a:pt x="23" y="87"/>
                    </a:lnTo>
                    <a:lnTo>
                      <a:pt x="24" y="100"/>
                    </a:lnTo>
                    <a:lnTo>
                      <a:pt x="24" y="101"/>
                    </a:lnTo>
                    <a:lnTo>
                      <a:pt x="21" y="103"/>
                    </a:lnTo>
                    <a:lnTo>
                      <a:pt x="19" y="105"/>
                    </a:lnTo>
                    <a:lnTo>
                      <a:pt x="19" y="112"/>
                    </a:lnTo>
                    <a:lnTo>
                      <a:pt x="21" y="113"/>
                    </a:lnTo>
                    <a:lnTo>
                      <a:pt x="23" y="112"/>
                    </a:lnTo>
                    <a:lnTo>
                      <a:pt x="24" y="113"/>
                    </a:lnTo>
                    <a:lnTo>
                      <a:pt x="23" y="115"/>
                    </a:lnTo>
                    <a:lnTo>
                      <a:pt x="23" y="133"/>
                    </a:lnTo>
                    <a:lnTo>
                      <a:pt x="24" y="141"/>
                    </a:lnTo>
                    <a:lnTo>
                      <a:pt x="26" y="146"/>
                    </a:lnTo>
                    <a:lnTo>
                      <a:pt x="24" y="148"/>
                    </a:lnTo>
                    <a:lnTo>
                      <a:pt x="21" y="153"/>
                    </a:lnTo>
                    <a:lnTo>
                      <a:pt x="21" y="159"/>
                    </a:lnTo>
                    <a:lnTo>
                      <a:pt x="24" y="166"/>
                    </a:lnTo>
                    <a:lnTo>
                      <a:pt x="24" y="169"/>
                    </a:lnTo>
                    <a:lnTo>
                      <a:pt x="24" y="176"/>
                    </a:lnTo>
                    <a:lnTo>
                      <a:pt x="23" y="180"/>
                    </a:lnTo>
                    <a:lnTo>
                      <a:pt x="23" y="185"/>
                    </a:lnTo>
                    <a:lnTo>
                      <a:pt x="23" y="186"/>
                    </a:lnTo>
                    <a:lnTo>
                      <a:pt x="23" y="190"/>
                    </a:lnTo>
                    <a:lnTo>
                      <a:pt x="19" y="193"/>
                    </a:lnTo>
                    <a:lnTo>
                      <a:pt x="19" y="199"/>
                    </a:lnTo>
                    <a:lnTo>
                      <a:pt x="18" y="202"/>
                    </a:lnTo>
                    <a:lnTo>
                      <a:pt x="19" y="207"/>
                    </a:lnTo>
                    <a:lnTo>
                      <a:pt x="18" y="207"/>
                    </a:lnTo>
                    <a:lnTo>
                      <a:pt x="18" y="214"/>
                    </a:lnTo>
                    <a:lnTo>
                      <a:pt x="18" y="218"/>
                    </a:lnTo>
                    <a:lnTo>
                      <a:pt x="19" y="223"/>
                    </a:lnTo>
                    <a:lnTo>
                      <a:pt x="19" y="228"/>
                    </a:lnTo>
                    <a:lnTo>
                      <a:pt x="21" y="230"/>
                    </a:lnTo>
                    <a:lnTo>
                      <a:pt x="19" y="233"/>
                    </a:lnTo>
                    <a:lnTo>
                      <a:pt x="18" y="235"/>
                    </a:lnTo>
                    <a:lnTo>
                      <a:pt x="19" y="239"/>
                    </a:lnTo>
                    <a:lnTo>
                      <a:pt x="18" y="242"/>
                    </a:lnTo>
                    <a:lnTo>
                      <a:pt x="14" y="242"/>
                    </a:lnTo>
                    <a:lnTo>
                      <a:pt x="14" y="247"/>
                    </a:lnTo>
                    <a:lnTo>
                      <a:pt x="18" y="253"/>
                    </a:lnTo>
                    <a:lnTo>
                      <a:pt x="18" y="256"/>
                    </a:lnTo>
                    <a:lnTo>
                      <a:pt x="19" y="266"/>
                    </a:lnTo>
                    <a:lnTo>
                      <a:pt x="19" y="270"/>
                    </a:lnTo>
                    <a:lnTo>
                      <a:pt x="18" y="273"/>
                    </a:lnTo>
                    <a:lnTo>
                      <a:pt x="18" y="275"/>
                    </a:lnTo>
                    <a:lnTo>
                      <a:pt x="23" y="282"/>
                    </a:lnTo>
                    <a:lnTo>
                      <a:pt x="23" y="287"/>
                    </a:lnTo>
                    <a:lnTo>
                      <a:pt x="21" y="293"/>
                    </a:lnTo>
                    <a:lnTo>
                      <a:pt x="21" y="294"/>
                    </a:lnTo>
                    <a:lnTo>
                      <a:pt x="23" y="298"/>
                    </a:lnTo>
                    <a:lnTo>
                      <a:pt x="21" y="298"/>
                    </a:lnTo>
                    <a:lnTo>
                      <a:pt x="21" y="301"/>
                    </a:lnTo>
                    <a:lnTo>
                      <a:pt x="23" y="303"/>
                    </a:lnTo>
                    <a:lnTo>
                      <a:pt x="26" y="308"/>
                    </a:lnTo>
                    <a:lnTo>
                      <a:pt x="26" y="312"/>
                    </a:lnTo>
                    <a:lnTo>
                      <a:pt x="24" y="315"/>
                    </a:lnTo>
                    <a:lnTo>
                      <a:pt x="21" y="317"/>
                    </a:lnTo>
                    <a:lnTo>
                      <a:pt x="19" y="322"/>
                    </a:lnTo>
                    <a:lnTo>
                      <a:pt x="19" y="322"/>
                    </a:lnTo>
                    <a:lnTo>
                      <a:pt x="21" y="326"/>
                    </a:lnTo>
                    <a:lnTo>
                      <a:pt x="19" y="327"/>
                    </a:lnTo>
                    <a:lnTo>
                      <a:pt x="18" y="331"/>
                    </a:lnTo>
                    <a:lnTo>
                      <a:pt x="18" y="334"/>
                    </a:lnTo>
                    <a:lnTo>
                      <a:pt x="18" y="339"/>
                    </a:lnTo>
                    <a:lnTo>
                      <a:pt x="18" y="341"/>
                    </a:lnTo>
                    <a:lnTo>
                      <a:pt x="18" y="345"/>
                    </a:lnTo>
                    <a:lnTo>
                      <a:pt x="14" y="345"/>
                    </a:lnTo>
                    <a:lnTo>
                      <a:pt x="14" y="350"/>
                    </a:lnTo>
                    <a:lnTo>
                      <a:pt x="14" y="353"/>
                    </a:lnTo>
                    <a:lnTo>
                      <a:pt x="14" y="353"/>
                    </a:lnTo>
                    <a:lnTo>
                      <a:pt x="14" y="357"/>
                    </a:lnTo>
                    <a:lnTo>
                      <a:pt x="12" y="359"/>
                    </a:lnTo>
                    <a:lnTo>
                      <a:pt x="12" y="364"/>
                    </a:lnTo>
                    <a:lnTo>
                      <a:pt x="12" y="367"/>
                    </a:lnTo>
                    <a:lnTo>
                      <a:pt x="11" y="369"/>
                    </a:lnTo>
                    <a:lnTo>
                      <a:pt x="11" y="373"/>
                    </a:lnTo>
                    <a:lnTo>
                      <a:pt x="9" y="374"/>
                    </a:lnTo>
                    <a:lnTo>
                      <a:pt x="9" y="378"/>
                    </a:lnTo>
                    <a:lnTo>
                      <a:pt x="11" y="379"/>
                    </a:lnTo>
                    <a:lnTo>
                      <a:pt x="11" y="381"/>
                    </a:lnTo>
                    <a:lnTo>
                      <a:pt x="7" y="385"/>
                    </a:lnTo>
                    <a:lnTo>
                      <a:pt x="5" y="385"/>
                    </a:lnTo>
                    <a:lnTo>
                      <a:pt x="4" y="385"/>
                    </a:lnTo>
                    <a:lnTo>
                      <a:pt x="0" y="385"/>
                    </a:lnTo>
                    <a:lnTo>
                      <a:pt x="0" y="386"/>
                    </a:lnTo>
                    <a:lnTo>
                      <a:pt x="2" y="390"/>
                    </a:lnTo>
                    <a:lnTo>
                      <a:pt x="2" y="395"/>
                    </a:lnTo>
                    <a:lnTo>
                      <a:pt x="4" y="400"/>
                    </a:lnTo>
                    <a:lnTo>
                      <a:pt x="7" y="402"/>
                    </a:lnTo>
                    <a:lnTo>
                      <a:pt x="9" y="407"/>
                    </a:lnTo>
                    <a:lnTo>
                      <a:pt x="7" y="409"/>
                    </a:lnTo>
                    <a:lnTo>
                      <a:pt x="14" y="421"/>
                    </a:lnTo>
                    <a:lnTo>
                      <a:pt x="14" y="421"/>
                    </a:lnTo>
                    <a:lnTo>
                      <a:pt x="14" y="425"/>
                    </a:lnTo>
                    <a:lnTo>
                      <a:pt x="14" y="430"/>
                    </a:lnTo>
                    <a:lnTo>
                      <a:pt x="14" y="439"/>
                    </a:lnTo>
                    <a:lnTo>
                      <a:pt x="14" y="439"/>
                    </a:lnTo>
                    <a:lnTo>
                      <a:pt x="14" y="440"/>
                    </a:lnTo>
                    <a:lnTo>
                      <a:pt x="14" y="444"/>
                    </a:lnTo>
                    <a:lnTo>
                      <a:pt x="12" y="444"/>
                    </a:lnTo>
                    <a:lnTo>
                      <a:pt x="11" y="444"/>
                    </a:lnTo>
                    <a:lnTo>
                      <a:pt x="9" y="446"/>
                    </a:lnTo>
                    <a:lnTo>
                      <a:pt x="11" y="449"/>
                    </a:lnTo>
                    <a:lnTo>
                      <a:pt x="12" y="451"/>
                    </a:lnTo>
                    <a:lnTo>
                      <a:pt x="11" y="458"/>
                    </a:lnTo>
                    <a:lnTo>
                      <a:pt x="11" y="461"/>
                    </a:lnTo>
                    <a:lnTo>
                      <a:pt x="9" y="463"/>
                    </a:lnTo>
                    <a:lnTo>
                      <a:pt x="11" y="465"/>
                    </a:lnTo>
                    <a:lnTo>
                      <a:pt x="11" y="468"/>
                    </a:lnTo>
                    <a:lnTo>
                      <a:pt x="9" y="468"/>
                    </a:lnTo>
                    <a:lnTo>
                      <a:pt x="11" y="468"/>
                    </a:lnTo>
                    <a:lnTo>
                      <a:pt x="14" y="477"/>
                    </a:lnTo>
                    <a:lnTo>
                      <a:pt x="18" y="479"/>
                    </a:lnTo>
                    <a:lnTo>
                      <a:pt x="18" y="482"/>
                    </a:lnTo>
                    <a:lnTo>
                      <a:pt x="23" y="484"/>
                    </a:lnTo>
                    <a:lnTo>
                      <a:pt x="28" y="484"/>
                    </a:lnTo>
                    <a:lnTo>
                      <a:pt x="28" y="479"/>
                    </a:lnTo>
                    <a:lnTo>
                      <a:pt x="30" y="477"/>
                    </a:lnTo>
                    <a:lnTo>
                      <a:pt x="33" y="477"/>
                    </a:lnTo>
                    <a:lnTo>
                      <a:pt x="35" y="480"/>
                    </a:lnTo>
                    <a:lnTo>
                      <a:pt x="37" y="480"/>
                    </a:lnTo>
                    <a:lnTo>
                      <a:pt x="37" y="479"/>
                    </a:lnTo>
                    <a:lnTo>
                      <a:pt x="37" y="482"/>
                    </a:lnTo>
                    <a:lnTo>
                      <a:pt x="33" y="486"/>
                    </a:lnTo>
                    <a:lnTo>
                      <a:pt x="33" y="487"/>
                    </a:lnTo>
                    <a:lnTo>
                      <a:pt x="37" y="489"/>
                    </a:lnTo>
                    <a:lnTo>
                      <a:pt x="37" y="487"/>
                    </a:lnTo>
                    <a:lnTo>
                      <a:pt x="37" y="491"/>
                    </a:lnTo>
                    <a:lnTo>
                      <a:pt x="37" y="496"/>
                    </a:lnTo>
                    <a:lnTo>
                      <a:pt x="40" y="499"/>
                    </a:lnTo>
                    <a:lnTo>
                      <a:pt x="40" y="499"/>
                    </a:lnTo>
                    <a:lnTo>
                      <a:pt x="37" y="496"/>
                    </a:lnTo>
                    <a:lnTo>
                      <a:pt x="37" y="494"/>
                    </a:lnTo>
                    <a:lnTo>
                      <a:pt x="35" y="494"/>
                    </a:lnTo>
                    <a:lnTo>
                      <a:pt x="33" y="496"/>
                    </a:lnTo>
                    <a:lnTo>
                      <a:pt x="33" y="496"/>
                    </a:lnTo>
                    <a:lnTo>
                      <a:pt x="37" y="499"/>
                    </a:lnTo>
                    <a:lnTo>
                      <a:pt x="37" y="499"/>
                    </a:lnTo>
                    <a:lnTo>
                      <a:pt x="35" y="501"/>
                    </a:lnTo>
                    <a:lnTo>
                      <a:pt x="33" y="503"/>
                    </a:lnTo>
                    <a:lnTo>
                      <a:pt x="35" y="508"/>
                    </a:lnTo>
                    <a:lnTo>
                      <a:pt x="37" y="510"/>
                    </a:lnTo>
                    <a:lnTo>
                      <a:pt x="35" y="513"/>
                    </a:lnTo>
                    <a:lnTo>
                      <a:pt x="35" y="515"/>
                    </a:lnTo>
                    <a:lnTo>
                      <a:pt x="35" y="517"/>
                    </a:lnTo>
                    <a:lnTo>
                      <a:pt x="31" y="519"/>
                    </a:lnTo>
                    <a:lnTo>
                      <a:pt x="33" y="522"/>
                    </a:lnTo>
                    <a:lnTo>
                      <a:pt x="37" y="524"/>
                    </a:lnTo>
                    <a:lnTo>
                      <a:pt x="35" y="527"/>
                    </a:lnTo>
                    <a:lnTo>
                      <a:pt x="35" y="531"/>
                    </a:lnTo>
                    <a:lnTo>
                      <a:pt x="33" y="533"/>
                    </a:lnTo>
                    <a:lnTo>
                      <a:pt x="33" y="536"/>
                    </a:lnTo>
                    <a:lnTo>
                      <a:pt x="35" y="536"/>
                    </a:lnTo>
                    <a:lnTo>
                      <a:pt x="37" y="538"/>
                    </a:lnTo>
                    <a:lnTo>
                      <a:pt x="40" y="539"/>
                    </a:lnTo>
                    <a:lnTo>
                      <a:pt x="40" y="541"/>
                    </a:lnTo>
                    <a:lnTo>
                      <a:pt x="42" y="543"/>
                    </a:lnTo>
                    <a:lnTo>
                      <a:pt x="45" y="545"/>
                    </a:lnTo>
                    <a:lnTo>
                      <a:pt x="45" y="550"/>
                    </a:lnTo>
                    <a:lnTo>
                      <a:pt x="40" y="555"/>
                    </a:lnTo>
                    <a:lnTo>
                      <a:pt x="37" y="555"/>
                    </a:lnTo>
                    <a:lnTo>
                      <a:pt x="35" y="555"/>
                    </a:lnTo>
                    <a:lnTo>
                      <a:pt x="35" y="559"/>
                    </a:lnTo>
                    <a:lnTo>
                      <a:pt x="37" y="562"/>
                    </a:lnTo>
                    <a:lnTo>
                      <a:pt x="35" y="564"/>
                    </a:lnTo>
                    <a:lnTo>
                      <a:pt x="35" y="567"/>
                    </a:lnTo>
                    <a:lnTo>
                      <a:pt x="37" y="567"/>
                    </a:lnTo>
                    <a:lnTo>
                      <a:pt x="35" y="571"/>
                    </a:lnTo>
                    <a:lnTo>
                      <a:pt x="31" y="576"/>
                    </a:lnTo>
                    <a:lnTo>
                      <a:pt x="31" y="581"/>
                    </a:lnTo>
                    <a:lnTo>
                      <a:pt x="33" y="581"/>
                    </a:lnTo>
                    <a:lnTo>
                      <a:pt x="33" y="583"/>
                    </a:lnTo>
                    <a:lnTo>
                      <a:pt x="33" y="588"/>
                    </a:lnTo>
                    <a:lnTo>
                      <a:pt x="30" y="590"/>
                    </a:lnTo>
                    <a:lnTo>
                      <a:pt x="30" y="595"/>
                    </a:lnTo>
                    <a:lnTo>
                      <a:pt x="28" y="592"/>
                    </a:lnTo>
                    <a:lnTo>
                      <a:pt x="30" y="590"/>
                    </a:lnTo>
                    <a:lnTo>
                      <a:pt x="31" y="586"/>
                    </a:lnTo>
                    <a:lnTo>
                      <a:pt x="30" y="583"/>
                    </a:lnTo>
                    <a:lnTo>
                      <a:pt x="31" y="581"/>
                    </a:lnTo>
                    <a:lnTo>
                      <a:pt x="30" y="581"/>
                    </a:lnTo>
                    <a:lnTo>
                      <a:pt x="24" y="581"/>
                    </a:lnTo>
                    <a:lnTo>
                      <a:pt x="21" y="583"/>
                    </a:lnTo>
                    <a:lnTo>
                      <a:pt x="19" y="583"/>
                    </a:lnTo>
                    <a:lnTo>
                      <a:pt x="19" y="583"/>
                    </a:lnTo>
                    <a:lnTo>
                      <a:pt x="23" y="581"/>
                    </a:lnTo>
                    <a:lnTo>
                      <a:pt x="24" y="579"/>
                    </a:lnTo>
                    <a:lnTo>
                      <a:pt x="24" y="574"/>
                    </a:lnTo>
                    <a:lnTo>
                      <a:pt x="23" y="574"/>
                    </a:lnTo>
                    <a:lnTo>
                      <a:pt x="19" y="576"/>
                    </a:lnTo>
                    <a:lnTo>
                      <a:pt x="14" y="576"/>
                    </a:lnTo>
                    <a:lnTo>
                      <a:pt x="12" y="574"/>
                    </a:lnTo>
                    <a:lnTo>
                      <a:pt x="11" y="576"/>
                    </a:lnTo>
                    <a:lnTo>
                      <a:pt x="11" y="578"/>
                    </a:lnTo>
                    <a:lnTo>
                      <a:pt x="12" y="581"/>
                    </a:lnTo>
                    <a:lnTo>
                      <a:pt x="14" y="581"/>
                    </a:lnTo>
                    <a:lnTo>
                      <a:pt x="14" y="583"/>
                    </a:lnTo>
                    <a:lnTo>
                      <a:pt x="12" y="583"/>
                    </a:lnTo>
                    <a:lnTo>
                      <a:pt x="11" y="586"/>
                    </a:lnTo>
                    <a:lnTo>
                      <a:pt x="9" y="588"/>
                    </a:lnTo>
                    <a:lnTo>
                      <a:pt x="7" y="592"/>
                    </a:lnTo>
                    <a:lnTo>
                      <a:pt x="2" y="595"/>
                    </a:lnTo>
                    <a:lnTo>
                      <a:pt x="2" y="597"/>
                    </a:lnTo>
                    <a:lnTo>
                      <a:pt x="7" y="602"/>
                    </a:lnTo>
                    <a:lnTo>
                      <a:pt x="11" y="602"/>
                    </a:lnTo>
                    <a:lnTo>
                      <a:pt x="12" y="600"/>
                    </a:lnTo>
                    <a:lnTo>
                      <a:pt x="11" y="599"/>
                    </a:lnTo>
                    <a:lnTo>
                      <a:pt x="7" y="597"/>
                    </a:lnTo>
                    <a:lnTo>
                      <a:pt x="7" y="595"/>
                    </a:lnTo>
                    <a:lnTo>
                      <a:pt x="9" y="592"/>
                    </a:lnTo>
                    <a:lnTo>
                      <a:pt x="14" y="592"/>
                    </a:lnTo>
                    <a:lnTo>
                      <a:pt x="14" y="590"/>
                    </a:lnTo>
                    <a:lnTo>
                      <a:pt x="14" y="595"/>
                    </a:lnTo>
                    <a:lnTo>
                      <a:pt x="18" y="597"/>
                    </a:lnTo>
                    <a:lnTo>
                      <a:pt x="21" y="597"/>
                    </a:lnTo>
                    <a:lnTo>
                      <a:pt x="23" y="595"/>
                    </a:lnTo>
                    <a:lnTo>
                      <a:pt x="24" y="597"/>
                    </a:lnTo>
                    <a:lnTo>
                      <a:pt x="26" y="599"/>
                    </a:lnTo>
                    <a:lnTo>
                      <a:pt x="31" y="600"/>
                    </a:lnTo>
                    <a:lnTo>
                      <a:pt x="33" y="602"/>
                    </a:lnTo>
                    <a:lnTo>
                      <a:pt x="31" y="604"/>
                    </a:lnTo>
                    <a:lnTo>
                      <a:pt x="30" y="606"/>
                    </a:lnTo>
                    <a:lnTo>
                      <a:pt x="31" y="606"/>
                    </a:lnTo>
                    <a:lnTo>
                      <a:pt x="30" y="609"/>
                    </a:lnTo>
                    <a:lnTo>
                      <a:pt x="28" y="611"/>
                    </a:lnTo>
                    <a:lnTo>
                      <a:pt x="30" y="612"/>
                    </a:lnTo>
                    <a:lnTo>
                      <a:pt x="33" y="614"/>
                    </a:lnTo>
                    <a:lnTo>
                      <a:pt x="31" y="614"/>
                    </a:lnTo>
                    <a:lnTo>
                      <a:pt x="30" y="614"/>
                    </a:lnTo>
                    <a:lnTo>
                      <a:pt x="28" y="612"/>
                    </a:lnTo>
                    <a:lnTo>
                      <a:pt x="26" y="614"/>
                    </a:lnTo>
                    <a:lnTo>
                      <a:pt x="26" y="614"/>
                    </a:lnTo>
                    <a:lnTo>
                      <a:pt x="28" y="618"/>
                    </a:lnTo>
                    <a:lnTo>
                      <a:pt x="30" y="619"/>
                    </a:lnTo>
                    <a:lnTo>
                      <a:pt x="35" y="619"/>
                    </a:lnTo>
                    <a:lnTo>
                      <a:pt x="37" y="618"/>
                    </a:lnTo>
                    <a:lnTo>
                      <a:pt x="40" y="619"/>
                    </a:lnTo>
                    <a:lnTo>
                      <a:pt x="42" y="619"/>
                    </a:lnTo>
                    <a:lnTo>
                      <a:pt x="45" y="618"/>
                    </a:lnTo>
                    <a:lnTo>
                      <a:pt x="45" y="623"/>
                    </a:lnTo>
                    <a:lnTo>
                      <a:pt x="45" y="623"/>
                    </a:lnTo>
                    <a:lnTo>
                      <a:pt x="42" y="623"/>
                    </a:lnTo>
                    <a:lnTo>
                      <a:pt x="40" y="623"/>
                    </a:lnTo>
                    <a:lnTo>
                      <a:pt x="40" y="625"/>
                    </a:lnTo>
                    <a:lnTo>
                      <a:pt x="37" y="623"/>
                    </a:lnTo>
                    <a:lnTo>
                      <a:pt x="31" y="623"/>
                    </a:lnTo>
                    <a:lnTo>
                      <a:pt x="31" y="626"/>
                    </a:lnTo>
                    <a:lnTo>
                      <a:pt x="31" y="628"/>
                    </a:lnTo>
                    <a:lnTo>
                      <a:pt x="35" y="630"/>
                    </a:lnTo>
                    <a:lnTo>
                      <a:pt x="35" y="633"/>
                    </a:lnTo>
                    <a:lnTo>
                      <a:pt x="37" y="633"/>
                    </a:lnTo>
                    <a:lnTo>
                      <a:pt x="40" y="633"/>
                    </a:lnTo>
                    <a:lnTo>
                      <a:pt x="40" y="635"/>
                    </a:lnTo>
                    <a:lnTo>
                      <a:pt x="37" y="637"/>
                    </a:lnTo>
                    <a:lnTo>
                      <a:pt x="37" y="639"/>
                    </a:lnTo>
                    <a:lnTo>
                      <a:pt x="37" y="640"/>
                    </a:lnTo>
                    <a:lnTo>
                      <a:pt x="37" y="642"/>
                    </a:lnTo>
                    <a:lnTo>
                      <a:pt x="37" y="642"/>
                    </a:lnTo>
                    <a:lnTo>
                      <a:pt x="35" y="646"/>
                    </a:lnTo>
                    <a:lnTo>
                      <a:pt x="37" y="652"/>
                    </a:lnTo>
                    <a:lnTo>
                      <a:pt x="40" y="654"/>
                    </a:lnTo>
                    <a:lnTo>
                      <a:pt x="40" y="659"/>
                    </a:lnTo>
                    <a:lnTo>
                      <a:pt x="40" y="663"/>
                    </a:lnTo>
                    <a:lnTo>
                      <a:pt x="45" y="663"/>
                    </a:lnTo>
                    <a:lnTo>
                      <a:pt x="45" y="658"/>
                    </a:lnTo>
                    <a:lnTo>
                      <a:pt x="45" y="651"/>
                    </a:lnTo>
                    <a:lnTo>
                      <a:pt x="47" y="651"/>
                    </a:lnTo>
                    <a:lnTo>
                      <a:pt x="49" y="651"/>
                    </a:lnTo>
                    <a:lnTo>
                      <a:pt x="47" y="651"/>
                    </a:lnTo>
                    <a:lnTo>
                      <a:pt x="45" y="658"/>
                    </a:lnTo>
                    <a:lnTo>
                      <a:pt x="45" y="661"/>
                    </a:lnTo>
                    <a:lnTo>
                      <a:pt x="47" y="663"/>
                    </a:lnTo>
                    <a:lnTo>
                      <a:pt x="49" y="663"/>
                    </a:lnTo>
                    <a:lnTo>
                      <a:pt x="49" y="663"/>
                    </a:lnTo>
                    <a:lnTo>
                      <a:pt x="45" y="665"/>
                    </a:lnTo>
                    <a:lnTo>
                      <a:pt x="42" y="666"/>
                    </a:lnTo>
                    <a:lnTo>
                      <a:pt x="42" y="668"/>
                    </a:lnTo>
                    <a:lnTo>
                      <a:pt x="42" y="670"/>
                    </a:lnTo>
                    <a:lnTo>
                      <a:pt x="42" y="673"/>
                    </a:lnTo>
                    <a:lnTo>
                      <a:pt x="40" y="675"/>
                    </a:lnTo>
                    <a:lnTo>
                      <a:pt x="40" y="679"/>
                    </a:lnTo>
                    <a:lnTo>
                      <a:pt x="40" y="682"/>
                    </a:lnTo>
                    <a:lnTo>
                      <a:pt x="45" y="684"/>
                    </a:lnTo>
                    <a:lnTo>
                      <a:pt x="51" y="686"/>
                    </a:lnTo>
                    <a:lnTo>
                      <a:pt x="52" y="687"/>
                    </a:lnTo>
                    <a:lnTo>
                      <a:pt x="52" y="689"/>
                    </a:lnTo>
                    <a:lnTo>
                      <a:pt x="51" y="689"/>
                    </a:lnTo>
                    <a:lnTo>
                      <a:pt x="52" y="692"/>
                    </a:lnTo>
                    <a:lnTo>
                      <a:pt x="52" y="694"/>
                    </a:lnTo>
                    <a:lnTo>
                      <a:pt x="56" y="691"/>
                    </a:lnTo>
                    <a:lnTo>
                      <a:pt x="56" y="694"/>
                    </a:lnTo>
                    <a:lnTo>
                      <a:pt x="56" y="696"/>
                    </a:lnTo>
                    <a:lnTo>
                      <a:pt x="52" y="698"/>
                    </a:lnTo>
                    <a:lnTo>
                      <a:pt x="51" y="699"/>
                    </a:lnTo>
                    <a:lnTo>
                      <a:pt x="52" y="701"/>
                    </a:lnTo>
                    <a:lnTo>
                      <a:pt x="54" y="701"/>
                    </a:lnTo>
                    <a:lnTo>
                      <a:pt x="54" y="701"/>
                    </a:lnTo>
                    <a:lnTo>
                      <a:pt x="57" y="705"/>
                    </a:lnTo>
                    <a:lnTo>
                      <a:pt x="59" y="705"/>
                    </a:lnTo>
                    <a:lnTo>
                      <a:pt x="59" y="705"/>
                    </a:lnTo>
                    <a:lnTo>
                      <a:pt x="59" y="706"/>
                    </a:lnTo>
                    <a:lnTo>
                      <a:pt x="59" y="710"/>
                    </a:lnTo>
                    <a:lnTo>
                      <a:pt x="59" y="710"/>
                    </a:lnTo>
                    <a:lnTo>
                      <a:pt x="57" y="710"/>
                    </a:lnTo>
                    <a:lnTo>
                      <a:pt x="56" y="710"/>
                    </a:lnTo>
                    <a:lnTo>
                      <a:pt x="56" y="712"/>
                    </a:lnTo>
                    <a:lnTo>
                      <a:pt x="59" y="715"/>
                    </a:lnTo>
                    <a:lnTo>
                      <a:pt x="59" y="715"/>
                    </a:lnTo>
                    <a:lnTo>
                      <a:pt x="59" y="719"/>
                    </a:lnTo>
                    <a:lnTo>
                      <a:pt x="63" y="720"/>
                    </a:lnTo>
                    <a:lnTo>
                      <a:pt x="64" y="724"/>
                    </a:lnTo>
                    <a:lnTo>
                      <a:pt x="68" y="724"/>
                    </a:lnTo>
                    <a:lnTo>
                      <a:pt x="64" y="719"/>
                    </a:lnTo>
                    <a:lnTo>
                      <a:pt x="68" y="717"/>
                    </a:lnTo>
                    <a:lnTo>
                      <a:pt x="64" y="713"/>
                    </a:lnTo>
                    <a:lnTo>
                      <a:pt x="68" y="717"/>
                    </a:lnTo>
                    <a:lnTo>
                      <a:pt x="68" y="719"/>
                    </a:lnTo>
                    <a:lnTo>
                      <a:pt x="71" y="722"/>
                    </a:lnTo>
                    <a:lnTo>
                      <a:pt x="71" y="719"/>
                    </a:lnTo>
                    <a:lnTo>
                      <a:pt x="75" y="717"/>
                    </a:lnTo>
                    <a:lnTo>
                      <a:pt x="75" y="713"/>
                    </a:lnTo>
                    <a:lnTo>
                      <a:pt x="71" y="713"/>
                    </a:lnTo>
                    <a:lnTo>
                      <a:pt x="68" y="712"/>
                    </a:lnTo>
                    <a:lnTo>
                      <a:pt x="68" y="712"/>
                    </a:lnTo>
                    <a:lnTo>
                      <a:pt x="70" y="712"/>
                    </a:lnTo>
                    <a:lnTo>
                      <a:pt x="77" y="713"/>
                    </a:lnTo>
                    <a:lnTo>
                      <a:pt x="77" y="713"/>
                    </a:lnTo>
                    <a:lnTo>
                      <a:pt x="80" y="713"/>
                    </a:lnTo>
                    <a:lnTo>
                      <a:pt x="80" y="712"/>
                    </a:lnTo>
                    <a:lnTo>
                      <a:pt x="77" y="710"/>
                    </a:lnTo>
                    <a:lnTo>
                      <a:pt x="70" y="710"/>
                    </a:lnTo>
                    <a:lnTo>
                      <a:pt x="70" y="706"/>
                    </a:lnTo>
                    <a:lnTo>
                      <a:pt x="71" y="706"/>
                    </a:lnTo>
                    <a:lnTo>
                      <a:pt x="77" y="710"/>
                    </a:lnTo>
                    <a:lnTo>
                      <a:pt x="82" y="712"/>
                    </a:lnTo>
                    <a:lnTo>
                      <a:pt x="82" y="717"/>
                    </a:lnTo>
                    <a:lnTo>
                      <a:pt x="82" y="719"/>
                    </a:lnTo>
                    <a:lnTo>
                      <a:pt x="82" y="722"/>
                    </a:lnTo>
                    <a:lnTo>
                      <a:pt x="82" y="726"/>
                    </a:lnTo>
                    <a:lnTo>
                      <a:pt x="82" y="729"/>
                    </a:lnTo>
                    <a:lnTo>
                      <a:pt x="80" y="729"/>
                    </a:lnTo>
                    <a:lnTo>
                      <a:pt x="82" y="727"/>
                    </a:lnTo>
                    <a:lnTo>
                      <a:pt x="80" y="720"/>
                    </a:lnTo>
                    <a:lnTo>
                      <a:pt x="77" y="719"/>
                    </a:lnTo>
                    <a:lnTo>
                      <a:pt x="75" y="720"/>
                    </a:lnTo>
                    <a:lnTo>
                      <a:pt x="75" y="724"/>
                    </a:lnTo>
                    <a:lnTo>
                      <a:pt x="77" y="726"/>
                    </a:lnTo>
                    <a:lnTo>
                      <a:pt x="75" y="729"/>
                    </a:lnTo>
                    <a:lnTo>
                      <a:pt x="75" y="727"/>
                    </a:lnTo>
                    <a:lnTo>
                      <a:pt x="73" y="724"/>
                    </a:lnTo>
                    <a:lnTo>
                      <a:pt x="71" y="724"/>
                    </a:lnTo>
                    <a:lnTo>
                      <a:pt x="68" y="726"/>
                    </a:lnTo>
                    <a:lnTo>
                      <a:pt x="64" y="726"/>
                    </a:lnTo>
                    <a:lnTo>
                      <a:pt x="63" y="727"/>
                    </a:lnTo>
                    <a:lnTo>
                      <a:pt x="64" y="729"/>
                    </a:lnTo>
                    <a:lnTo>
                      <a:pt x="64" y="732"/>
                    </a:lnTo>
                    <a:lnTo>
                      <a:pt x="68" y="738"/>
                    </a:lnTo>
                    <a:lnTo>
                      <a:pt x="68" y="738"/>
                    </a:lnTo>
                    <a:lnTo>
                      <a:pt x="68" y="739"/>
                    </a:lnTo>
                    <a:lnTo>
                      <a:pt x="68" y="741"/>
                    </a:lnTo>
                    <a:lnTo>
                      <a:pt x="68" y="741"/>
                    </a:lnTo>
                    <a:lnTo>
                      <a:pt x="70" y="738"/>
                    </a:lnTo>
                    <a:lnTo>
                      <a:pt x="71" y="739"/>
                    </a:lnTo>
                    <a:lnTo>
                      <a:pt x="75" y="739"/>
                    </a:lnTo>
                    <a:lnTo>
                      <a:pt x="75" y="741"/>
                    </a:lnTo>
                    <a:lnTo>
                      <a:pt x="71" y="743"/>
                    </a:lnTo>
                    <a:lnTo>
                      <a:pt x="70" y="745"/>
                    </a:lnTo>
                    <a:lnTo>
                      <a:pt x="70" y="746"/>
                    </a:lnTo>
                    <a:lnTo>
                      <a:pt x="75" y="746"/>
                    </a:lnTo>
                    <a:lnTo>
                      <a:pt x="80" y="750"/>
                    </a:lnTo>
                    <a:lnTo>
                      <a:pt x="82" y="748"/>
                    </a:lnTo>
                    <a:lnTo>
                      <a:pt x="82" y="746"/>
                    </a:lnTo>
                    <a:lnTo>
                      <a:pt x="82" y="743"/>
                    </a:lnTo>
                    <a:lnTo>
                      <a:pt x="82" y="739"/>
                    </a:lnTo>
                    <a:lnTo>
                      <a:pt x="82" y="738"/>
                    </a:lnTo>
                    <a:lnTo>
                      <a:pt x="80" y="738"/>
                    </a:lnTo>
                    <a:lnTo>
                      <a:pt x="77" y="738"/>
                    </a:lnTo>
                    <a:lnTo>
                      <a:pt x="78" y="738"/>
                    </a:lnTo>
                    <a:lnTo>
                      <a:pt x="80" y="738"/>
                    </a:lnTo>
                    <a:lnTo>
                      <a:pt x="80" y="732"/>
                    </a:lnTo>
                    <a:lnTo>
                      <a:pt x="82" y="732"/>
                    </a:lnTo>
                    <a:lnTo>
                      <a:pt x="85" y="734"/>
                    </a:lnTo>
                    <a:lnTo>
                      <a:pt x="87" y="732"/>
                    </a:lnTo>
                    <a:lnTo>
                      <a:pt x="87" y="734"/>
                    </a:lnTo>
                    <a:lnTo>
                      <a:pt x="90" y="738"/>
                    </a:lnTo>
                    <a:lnTo>
                      <a:pt x="90" y="734"/>
                    </a:lnTo>
                    <a:lnTo>
                      <a:pt x="92" y="732"/>
                    </a:lnTo>
                    <a:lnTo>
                      <a:pt x="96" y="734"/>
                    </a:lnTo>
                    <a:lnTo>
                      <a:pt x="99" y="734"/>
                    </a:lnTo>
                    <a:lnTo>
                      <a:pt x="103" y="734"/>
                    </a:lnTo>
                    <a:lnTo>
                      <a:pt x="103" y="734"/>
                    </a:lnTo>
                    <a:lnTo>
                      <a:pt x="101" y="738"/>
                    </a:lnTo>
                    <a:lnTo>
                      <a:pt x="99" y="738"/>
                    </a:lnTo>
                    <a:lnTo>
                      <a:pt x="97" y="738"/>
                    </a:lnTo>
                    <a:lnTo>
                      <a:pt x="94" y="738"/>
                    </a:lnTo>
                    <a:lnTo>
                      <a:pt x="92" y="738"/>
                    </a:lnTo>
                    <a:lnTo>
                      <a:pt x="87" y="741"/>
                    </a:lnTo>
                    <a:lnTo>
                      <a:pt x="87" y="741"/>
                    </a:lnTo>
                    <a:lnTo>
                      <a:pt x="85" y="741"/>
                    </a:lnTo>
                    <a:lnTo>
                      <a:pt x="82" y="743"/>
                    </a:lnTo>
                    <a:lnTo>
                      <a:pt x="82" y="746"/>
                    </a:lnTo>
                    <a:lnTo>
                      <a:pt x="82" y="748"/>
                    </a:lnTo>
                    <a:lnTo>
                      <a:pt x="82" y="750"/>
                    </a:lnTo>
                    <a:lnTo>
                      <a:pt x="82" y="752"/>
                    </a:lnTo>
                    <a:lnTo>
                      <a:pt x="82" y="752"/>
                    </a:lnTo>
                    <a:lnTo>
                      <a:pt x="82" y="753"/>
                    </a:lnTo>
                    <a:lnTo>
                      <a:pt x="82" y="755"/>
                    </a:lnTo>
                    <a:lnTo>
                      <a:pt x="87" y="757"/>
                    </a:lnTo>
                    <a:lnTo>
                      <a:pt x="90" y="760"/>
                    </a:lnTo>
                    <a:lnTo>
                      <a:pt x="90" y="760"/>
                    </a:lnTo>
                    <a:lnTo>
                      <a:pt x="90" y="757"/>
                    </a:lnTo>
                    <a:lnTo>
                      <a:pt x="90" y="755"/>
                    </a:lnTo>
                    <a:lnTo>
                      <a:pt x="92" y="753"/>
                    </a:lnTo>
                    <a:lnTo>
                      <a:pt x="96" y="753"/>
                    </a:lnTo>
                    <a:lnTo>
                      <a:pt x="96" y="752"/>
                    </a:lnTo>
                    <a:lnTo>
                      <a:pt x="92" y="748"/>
                    </a:lnTo>
                    <a:lnTo>
                      <a:pt x="97" y="746"/>
                    </a:lnTo>
                    <a:lnTo>
                      <a:pt x="101" y="745"/>
                    </a:lnTo>
                    <a:lnTo>
                      <a:pt x="103" y="739"/>
                    </a:lnTo>
                    <a:lnTo>
                      <a:pt x="106" y="739"/>
                    </a:lnTo>
                    <a:lnTo>
                      <a:pt x="106" y="739"/>
                    </a:lnTo>
                    <a:lnTo>
                      <a:pt x="108" y="741"/>
                    </a:lnTo>
                    <a:lnTo>
                      <a:pt x="110" y="741"/>
                    </a:lnTo>
                    <a:lnTo>
                      <a:pt x="110" y="741"/>
                    </a:lnTo>
                    <a:lnTo>
                      <a:pt x="108" y="743"/>
                    </a:lnTo>
                    <a:lnTo>
                      <a:pt x="106" y="746"/>
                    </a:lnTo>
                    <a:lnTo>
                      <a:pt x="106" y="748"/>
                    </a:lnTo>
                    <a:lnTo>
                      <a:pt x="103" y="752"/>
                    </a:lnTo>
                    <a:lnTo>
                      <a:pt x="103" y="755"/>
                    </a:lnTo>
                    <a:lnTo>
                      <a:pt x="104" y="757"/>
                    </a:lnTo>
                    <a:lnTo>
                      <a:pt x="103" y="757"/>
                    </a:lnTo>
                    <a:lnTo>
                      <a:pt x="99" y="760"/>
                    </a:lnTo>
                    <a:lnTo>
                      <a:pt x="99" y="757"/>
                    </a:lnTo>
                    <a:lnTo>
                      <a:pt x="101" y="757"/>
                    </a:lnTo>
                    <a:lnTo>
                      <a:pt x="101" y="753"/>
                    </a:lnTo>
                    <a:lnTo>
                      <a:pt x="99" y="753"/>
                    </a:lnTo>
                    <a:lnTo>
                      <a:pt x="97" y="753"/>
                    </a:lnTo>
                    <a:lnTo>
                      <a:pt x="97" y="757"/>
                    </a:lnTo>
                    <a:lnTo>
                      <a:pt x="96" y="755"/>
                    </a:lnTo>
                    <a:lnTo>
                      <a:pt x="94" y="757"/>
                    </a:lnTo>
                    <a:lnTo>
                      <a:pt x="92" y="757"/>
                    </a:lnTo>
                    <a:lnTo>
                      <a:pt x="96" y="760"/>
                    </a:lnTo>
                    <a:lnTo>
                      <a:pt x="101" y="766"/>
                    </a:lnTo>
                    <a:lnTo>
                      <a:pt x="106" y="766"/>
                    </a:lnTo>
                    <a:lnTo>
                      <a:pt x="110" y="769"/>
                    </a:lnTo>
                    <a:lnTo>
                      <a:pt x="110" y="769"/>
                    </a:lnTo>
                    <a:lnTo>
                      <a:pt x="113" y="769"/>
                    </a:lnTo>
                    <a:lnTo>
                      <a:pt x="113" y="769"/>
                    </a:lnTo>
                    <a:lnTo>
                      <a:pt x="117" y="764"/>
                    </a:lnTo>
                    <a:lnTo>
                      <a:pt x="115" y="757"/>
                    </a:lnTo>
                    <a:lnTo>
                      <a:pt x="115" y="757"/>
                    </a:lnTo>
                    <a:lnTo>
                      <a:pt x="115" y="753"/>
                    </a:lnTo>
                    <a:lnTo>
                      <a:pt x="115" y="750"/>
                    </a:lnTo>
                    <a:lnTo>
                      <a:pt x="115" y="745"/>
                    </a:lnTo>
                    <a:lnTo>
                      <a:pt x="115" y="739"/>
                    </a:lnTo>
                    <a:lnTo>
                      <a:pt x="115" y="738"/>
                    </a:lnTo>
                    <a:lnTo>
                      <a:pt x="120" y="734"/>
                    </a:lnTo>
                    <a:lnTo>
                      <a:pt x="123" y="732"/>
                    </a:lnTo>
                    <a:lnTo>
                      <a:pt x="125" y="729"/>
                    </a:lnTo>
                    <a:lnTo>
                      <a:pt x="130" y="729"/>
                    </a:lnTo>
                    <a:lnTo>
                      <a:pt x="130" y="729"/>
                    </a:lnTo>
                    <a:lnTo>
                      <a:pt x="130" y="726"/>
                    </a:lnTo>
                    <a:lnTo>
                      <a:pt x="132" y="722"/>
                    </a:lnTo>
                    <a:lnTo>
                      <a:pt x="136" y="722"/>
                    </a:lnTo>
                    <a:lnTo>
                      <a:pt x="139" y="724"/>
                    </a:lnTo>
                    <a:lnTo>
                      <a:pt x="144" y="724"/>
                    </a:lnTo>
                    <a:lnTo>
                      <a:pt x="144" y="724"/>
                    </a:lnTo>
                    <a:lnTo>
                      <a:pt x="144" y="724"/>
                    </a:lnTo>
                    <a:lnTo>
                      <a:pt x="144" y="724"/>
                    </a:lnTo>
                    <a:lnTo>
                      <a:pt x="144" y="724"/>
                    </a:lnTo>
                    <a:close/>
                    <a:moveTo>
                      <a:pt x="177" y="814"/>
                    </a:moveTo>
                    <a:lnTo>
                      <a:pt x="177" y="816"/>
                    </a:lnTo>
                    <a:lnTo>
                      <a:pt x="181" y="814"/>
                    </a:lnTo>
                    <a:lnTo>
                      <a:pt x="177" y="814"/>
                    </a:lnTo>
                    <a:lnTo>
                      <a:pt x="177" y="814"/>
                    </a:lnTo>
                    <a:lnTo>
                      <a:pt x="177" y="814"/>
                    </a:lnTo>
                    <a:lnTo>
                      <a:pt x="177" y="814"/>
                    </a:lnTo>
                    <a:lnTo>
                      <a:pt x="177" y="814"/>
                    </a:lnTo>
                    <a:lnTo>
                      <a:pt x="177" y="814"/>
                    </a:lnTo>
                    <a:close/>
                    <a:moveTo>
                      <a:pt x="23" y="501"/>
                    </a:moveTo>
                    <a:lnTo>
                      <a:pt x="19" y="499"/>
                    </a:lnTo>
                    <a:lnTo>
                      <a:pt x="18" y="499"/>
                    </a:lnTo>
                    <a:lnTo>
                      <a:pt x="18" y="503"/>
                    </a:lnTo>
                    <a:lnTo>
                      <a:pt x="23" y="508"/>
                    </a:lnTo>
                    <a:lnTo>
                      <a:pt x="21" y="508"/>
                    </a:lnTo>
                    <a:lnTo>
                      <a:pt x="24" y="512"/>
                    </a:lnTo>
                    <a:lnTo>
                      <a:pt x="23" y="512"/>
                    </a:lnTo>
                    <a:lnTo>
                      <a:pt x="19" y="512"/>
                    </a:lnTo>
                    <a:lnTo>
                      <a:pt x="19" y="513"/>
                    </a:lnTo>
                    <a:lnTo>
                      <a:pt x="19" y="517"/>
                    </a:lnTo>
                    <a:lnTo>
                      <a:pt x="19" y="519"/>
                    </a:lnTo>
                    <a:lnTo>
                      <a:pt x="14" y="519"/>
                    </a:lnTo>
                    <a:lnTo>
                      <a:pt x="11" y="519"/>
                    </a:lnTo>
                    <a:lnTo>
                      <a:pt x="12" y="513"/>
                    </a:lnTo>
                    <a:lnTo>
                      <a:pt x="11" y="503"/>
                    </a:lnTo>
                    <a:lnTo>
                      <a:pt x="11" y="499"/>
                    </a:lnTo>
                    <a:lnTo>
                      <a:pt x="9" y="499"/>
                    </a:lnTo>
                    <a:lnTo>
                      <a:pt x="7" y="496"/>
                    </a:lnTo>
                    <a:lnTo>
                      <a:pt x="9" y="494"/>
                    </a:lnTo>
                    <a:lnTo>
                      <a:pt x="11" y="493"/>
                    </a:lnTo>
                    <a:lnTo>
                      <a:pt x="11" y="489"/>
                    </a:lnTo>
                    <a:lnTo>
                      <a:pt x="11" y="487"/>
                    </a:lnTo>
                    <a:lnTo>
                      <a:pt x="11" y="486"/>
                    </a:lnTo>
                    <a:lnTo>
                      <a:pt x="12" y="484"/>
                    </a:lnTo>
                    <a:lnTo>
                      <a:pt x="14" y="484"/>
                    </a:lnTo>
                    <a:lnTo>
                      <a:pt x="18" y="486"/>
                    </a:lnTo>
                    <a:lnTo>
                      <a:pt x="21" y="489"/>
                    </a:lnTo>
                    <a:lnTo>
                      <a:pt x="21" y="494"/>
                    </a:lnTo>
                    <a:lnTo>
                      <a:pt x="21" y="496"/>
                    </a:lnTo>
                    <a:lnTo>
                      <a:pt x="21" y="499"/>
                    </a:lnTo>
                    <a:lnTo>
                      <a:pt x="18" y="496"/>
                    </a:lnTo>
                    <a:lnTo>
                      <a:pt x="23" y="499"/>
                    </a:lnTo>
                    <a:lnTo>
                      <a:pt x="23" y="501"/>
                    </a:lnTo>
                    <a:lnTo>
                      <a:pt x="23" y="501"/>
                    </a:lnTo>
                    <a:lnTo>
                      <a:pt x="23" y="501"/>
                    </a:lnTo>
                    <a:lnTo>
                      <a:pt x="23" y="501"/>
                    </a:lnTo>
                    <a:lnTo>
                      <a:pt x="23" y="501"/>
                    </a:lnTo>
                    <a:close/>
                    <a:moveTo>
                      <a:pt x="26" y="494"/>
                    </a:moveTo>
                    <a:lnTo>
                      <a:pt x="28" y="494"/>
                    </a:lnTo>
                    <a:lnTo>
                      <a:pt x="30" y="496"/>
                    </a:lnTo>
                    <a:lnTo>
                      <a:pt x="28" y="496"/>
                    </a:lnTo>
                    <a:lnTo>
                      <a:pt x="26" y="494"/>
                    </a:lnTo>
                    <a:lnTo>
                      <a:pt x="26" y="494"/>
                    </a:lnTo>
                    <a:lnTo>
                      <a:pt x="26" y="494"/>
                    </a:lnTo>
                    <a:lnTo>
                      <a:pt x="26" y="494"/>
                    </a:lnTo>
                    <a:close/>
                    <a:moveTo>
                      <a:pt x="5" y="527"/>
                    </a:moveTo>
                    <a:lnTo>
                      <a:pt x="7" y="526"/>
                    </a:lnTo>
                    <a:lnTo>
                      <a:pt x="11" y="526"/>
                    </a:lnTo>
                    <a:lnTo>
                      <a:pt x="12" y="527"/>
                    </a:lnTo>
                    <a:lnTo>
                      <a:pt x="9" y="527"/>
                    </a:lnTo>
                    <a:lnTo>
                      <a:pt x="5" y="527"/>
                    </a:lnTo>
                    <a:lnTo>
                      <a:pt x="5" y="527"/>
                    </a:lnTo>
                    <a:lnTo>
                      <a:pt x="5" y="527"/>
                    </a:lnTo>
                    <a:lnTo>
                      <a:pt x="5" y="527"/>
                    </a:lnTo>
                    <a:close/>
                    <a:moveTo>
                      <a:pt x="30" y="531"/>
                    </a:moveTo>
                    <a:lnTo>
                      <a:pt x="33" y="527"/>
                    </a:lnTo>
                    <a:lnTo>
                      <a:pt x="33" y="531"/>
                    </a:lnTo>
                    <a:lnTo>
                      <a:pt x="31" y="533"/>
                    </a:lnTo>
                    <a:lnTo>
                      <a:pt x="30" y="531"/>
                    </a:lnTo>
                    <a:lnTo>
                      <a:pt x="30" y="531"/>
                    </a:lnTo>
                    <a:lnTo>
                      <a:pt x="30" y="531"/>
                    </a:lnTo>
                    <a:lnTo>
                      <a:pt x="30" y="531"/>
                    </a:lnTo>
                    <a:close/>
                    <a:moveTo>
                      <a:pt x="24" y="531"/>
                    </a:moveTo>
                    <a:lnTo>
                      <a:pt x="26" y="531"/>
                    </a:lnTo>
                    <a:lnTo>
                      <a:pt x="28" y="533"/>
                    </a:lnTo>
                    <a:lnTo>
                      <a:pt x="24" y="536"/>
                    </a:lnTo>
                    <a:lnTo>
                      <a:pt x="24" y="533"/>
                    </a:lnTo>
                    <a:lnTo>
                      <a:pt x="23" y="531"/>
                    </a:lnTo>
                    <a:lnTo>
                      <a:pt x="24" y="531"/>
                    </a:lnTo>
                    <a:lnTo>
                      <a:pt x="24" y="531"/>
                    </a:lnTo>
                    <a:lnTo>
                      <a:pt x="24" y="531"/>
                    </a:lnTo>
                    <a:lnTo>
                      <a:pt x="24" y="531"/>
                    </a:lnTo>
                    <a:close/>
                    <a:moveTo>
                      <a:pt x="18" y="527"/>
                    </a:moveTo>
                    <a:lnTo>
                      <a:pt x="18" y="527"/>
                    </a:lnTo>
                    <a:lnTo>
                      <a:pt x="21" y="527"/>
                    </a:lnTo>
                    <a:lnTo>
                      <a:pt x="18" y="531"/>
                    </a:lnTo>
                    <a:lnTo>
                      <a:pt x="18" y="527"/>
                    </a:lnTo>
                    <a:lnTo>
                      <a:pt x="18" y="527"/>
                    </a:lnTo>
                    <a:lnTo>
                      <a:pt x="18" y="527"/>
                    </a:lnTo>
                    <a:lnTo>
                      <a:pt x="18" y="527"/>
                    </a:lnTo>
                    <a:close/>
                    <a:moveTo>
                      <a:pt x="18" y="536"/>
                    </a:moveTo>
                    <a:lnTo>
                      <a:pt x="18" y="536"/>
                    </a:lnTo>
                    <a:lnTo>
                      <a:pt x="19" y="536"/>
                    </a:lnTo>
                    <a:lnTo>
                      <a:pt x="19" y="538"/>
                    </a:lnTo>
                    <a:lnTo>
                      <a:pt x="18" y="536"/>
                    </a:lnTo>
                    <a:lnTo>
                      <a:pt x="18" y="536"/>
                    </a:lnTo>
                    <a:lnTo>
                      <a:pt x="18" y="536"/>
                    </a:lnTo>
                    <a:lnTo>
                      <a:pt x="18" y="536"/>
                    </a:lnTo>
                    <a:close/>
                    <a:moveTo>
                      <a:pt x="14" y="539"/>
                    </a:moveTo>
                    <a:lnTo>
                      <a:pt x="14" y="538"/>
                    </a:lnTo>
                    <a:lnTo>
                      <a:pt x="18" y="538"/>
                    </a:lnTo>
                    <a:lnTo>
                      <a:pt x="18" y="539"/>
                    </a:lnTo>
                    <a:lnTo>
                      <a:pt x="18" y="541"/>
                    </a:lnTo>
                    <a:lnTo>
                      <a:pt x="14" y="541"/>
                    </a:lnTo>
                    <a:lnTo>
                      <a:pt x="14" y="541"/>
                    </a:lnTo>
                    <a:lnTo>
                      <a:pt x="14" y="539"/>
                    </a:lnTo>
                    <a:lnTo>
                      <a:pt x="14" y="539"/>
                    </a:lnTo>
                    <a:lnTo>
                      <a:pt x="14" y="539"/>
                    </a:lnTo>
                    <a:lnTo>
                      <a:pt x="14" y="539"/>
                    </a:lnTo>
                    <a:close/>
                    <a:moveTo>
                      <a:pt x="11" y="545"/>
                    </a:moveTo>
                    <a:lnTo>
                      <a:pt x="12" y="548"/>
                    </a:lnTo>
                    <a:lnTo>
                      <a:pt x="11" y="550"/>
                    </a:lnTo>
                    <a:lnTo>
                      <a:pt x="9" y="548"/>
                    </a:lnTo>
                    <a:lnTo>
                      <a:pt x="11" y="545"/>
                    </a:lnTo>
                    <a:lnTo>
                      <a:pt x="11" y="545"/>
                    </a:lnTo>
                    <a:lnTo>
                      <a:pt x="11" y="545"/>
                    </a:lnTo>
                    <a:lnTo>
                      <a:pt x="11" y="545"/>
                    </a:lnTo>
                    <a:close/>
                    <a:moveTo>
                      <a:pt x="26" y="545"/>
                    </a:moveTo>
                    <a:lnTo>
                      <a:pt x="28" y="548"/>
                    </a:lnTo>
                    <a:lnTo>
                      <a:pt x="24" y="548"/>
                    </a:lnTo>
                    <a:lnTo>
                      <a:pt x="26" y="545"/>
                    </a:lnTo>
                    <a:lnTo>
                      <a:pt x="26" y="545"/>
                    </a:lnTo>
                    <a:lnTo>
                      <a:pt x="26" y="545"/>
                    </a:lnTo>
                    <a:lnTo>
                      <a:pt x="26" y="545"/>
                    </a:lnTo>
                    <a:close/>
                    <a:moveTo>
                      <a:pt x="21" y="543"/>
                    </a:moveTo>
                    <a:lnTo>
                      <a:pt x="24" y="541"/>
                    </a:lnTo>
                    <a:lnTo>
                      <a:pt x="24" y="546"/>
                    </a:lnTo>
                    <a:lnTo>
                      <a:pt x="21" y="543"/>
                    </a:lnTo>
                    <a:lnTo>
                      <a:pt x="21" y="543"/>
                    </a:lnTo>
                    <a:lnTo>
                      <a:pt x="21" y="543"/>
                    </a:lnTo>
                    <a:lnTo>
                      <a:pt x="21" y="543"/>
                    </a:lnTo>
                    <a:close/>
                    <a:moveTo>
                      <a:pt x="14" y="569"/>
                    </a:moveTo>
                    <a:lnTo>
                      <a:pt x="14" y="569"/>
                    </a:lnTo>
                    <a:lnTo>
                      <a:pt x="18" y="572"/>
                    </a:lnTo>
                    <a:lnTo>
                      <a:pt x="14" y="572"/>
                    </a:lnTo>
                    <a:lnTo>
                      <a:pt x="14" y="569"/>
                    </a:lnTo>
                    <a:lnTo>
                      <a:pt x="14" y="569"/>
                    </a:lnTo>
                    <a:lnTo>
                      <a:pt x="14" y="569"/>
                    </a:lnTo>
                    <a:lnTo>
                      <a:pt x="14" y="569"/>
                    </a:lnTo>
                    <a:close/>
                    <a:moveTo>
                      <a:pt x="14" y="548"/>
                    </a:moveTo>
                    <a:lnTo>
                      <a:pt x="14" y="545"/>
                    </a:lnTo>
                    <a:lnTo>
                      <a:pt x="14" y="543"/>
                    </a:lnTo>
                    <a:lnTo>
                      <a:pt x="18" y="543"/>
                    </a:lnTo>
                    <a:lnTo>
                      <a:pt x="18" y="546"/>
                    </a:lnTo>
                    <a:lnTo>
                      <a:pt x="18" y="546"/>
                    </a:lnTo>
                    <a:lnTo>
                      <a:pt x="14" y="548"/>
                    </a:lnTo>
                    <a:lnTo>
                      <a:pt x="14" y="548"/>
                    </a:lnTo>
                    <a:lnTo>
                      <a:pt x="14" y="548"/>
                    </a:lnTo>
                    <a:lnTo>
                      <a:pt x="14" y="548"/>
                    </a:lnTo>
                    <a:close/>
                    <a:moveTo>
                      <a:pt x="7" y="553"/>
                    </a:moveTo>
                    <a:lnTo>
                      <a:pt x="4" y="552"/>
                    </a:lnTo>
                    <a:lnTo>
                      <a:pt x="4" y="550"/>
                    </a:lnTo>
                    <a:lnTo>
                      <a:pt x="7" y="550"/>
                    </a:lnTo>
                    <a:lnTo>
                      <a:pt x="9" y="552"/>
                    </a:lnTo>
                    <a:lnTo>
                      <a:pt x="7" y="553"/>
                    </a:lnTo>
                    <a:lnTo>
                      <a:pt x="7" y="553"/>
                    </a:lnTo>
                    <a:lnTo>
                      <a:pt x="7" y="553"/>
                    </a:lnTo>
                    <a:lnTo>
                      <a:pt x="7" y="553"/>
                    </a:lnTo>
                    <a:close/>
                    <a:moveTo>
                      <a:pt x="19" y="564"/>
                    </a:moveTo>
                    <a:lnTo>
                      <a:pt x="21" y="564"/>
                    </a:lnTo>
                    <a:lnTo>
                      <a:pt x="21" y="567"/>
                    </a:lnTo>
                    <a:lnTo>
                      <a:pt x="19" y="564"/>
                    </a:lnTo>
                    <a:lnTo>
                      <a:pt x="19" y="564"/>
                    </a:lnTo>
                    <a:lnTo>
                      <a:pt x="19" y="564"/>
                    </a:lnTo>
                    <a:lnTo>
                      <a:pt x="19" y="564"/>
                    </a:lnTo>
                    <a:close/>
                    <a:moveTo>
                      <a:pt x="23" y="569"/>
                    </a:moveTo>
                    <a:lnTo>
                      <a:pt x="26" y="569"/>
                    </a:lnTo>
                    <a:lnTo>
                      <a:pt x="24" y="571"/>
                    </a:lnTo>
                    <a:lnTo>
                      <a:pt x="23" y="569"/>
                    </a:lnTo>
                    <a:lnTo>
                      <a:pt x="23" y="569"/>
                    </a:lnTo>
                    <a:lnTo>
                      <a:pt x="23" y="569"/>
                    </a:lnTo>
                    <a:lnTo>
                      <a:pt x="23" y="569"/>
                    </a:lnTo>
                    <a:close/>
                    <a:moveTo>
                      <a:pt x="30" y="538"/>
                    </a:moveTo>
                    <a:lnTo>
                      <a:pt x="31" y="538"/>
                    </a:lnTo>
                    <a:lnTo>
                      <a:pt x="35" y="539"/>
                    </a:lnTo>
                    <a:lnTo>
                      <a:pt x="31" y="539"/>
                    </a:lnTo>
                    <a:lnTo>
                      <a:pt x="30" y="538"/>
                    </a:lnTo>
                    <a:lnTo>
                      <a:pt x="30" y="538"/>
                    </a:lnTo>
                    <a:lnTo>
                      <a:pt x="30" y="538"/>
                    </a:lnTo>
                    <a:lnTo>
                      <a:pt x="30" y="538"/>
                    </a:lnTo>
                    <a:close/>
                    <a:moveTo>
                      <a:pt x="37" y="541"/>
                    </a:moveTo>
                    <a:lnTo>
                      <a:pt x="37" y="541"/>
                    </a:lnTo>
                    <a:lnTo>
                      <a:pt x="40" y="545"/>
                    </a:lnTo>
                    <a:lnTo>
                      <a:pt x="42" y="548"/>
                    </a:lnTo>
                    <a:lnTo>
                      <a:pt x="40" y="550"/>
                    </a:lnTo>
                    <a:lnTo>
                      <a:pt x="40" y="553"/>
                    </a:lnTo>
                    <a:lnTo>
                      <a:pt x="37" y="553"/>
                    </a:lnTo>
                    <a:lnTo>
                      <a:pt x="37" y="553"/>
                    </a:lnTo>
                    <a:lnTo>
                      <a:pt x="33" y="552"/>
                    </a:lnTo>
                    <a:lnTo>
                      <a:pt x="31" y="555"/>
                    </a:lnTo>
                    <a:lnTo>
                      <a:pt x="31" y="552"/>
                    </a:lnTo>
                    <a:lnTo>
                      <a:pt x="30" y="548"/>
                    </a:lnTo>
                    <a:lnTo>
                      <a:pt x="31" y="543"/>
                    </a:lnTo>
                    <a:lnTo>
                      <a:pt x="37" y="541"/>
                    </a:lnTo>
                    <a:lnTo>
                      <a:pt x="37" y="541"/>
                    </a:lnTo>
                    <a:lnTo>
                      <a:pt x="37" y="541"/>
                    </a:lnTo>
                    <a:lnTo>
                      <a:pt x="37" y="541"/>
                    </a:lnTo>
                    <a:close/>
                    <a:moveTo>
                      <a:pt x="18" y="552"/>
                    </a:moveTo>
                    <a:lnTo>
                      <a:pt x="18" y="550"/>
                    </a:lnTo>
                    <a:lnTo>
                      <a:pt x="24" y="550"/>
                    </a:lnTo>
                    <a:lnTo>
                      <a:pt x="23" y="552"/>
                    </a:lnTo>
                    <a:lnTo>
                      <a:pt x="18" y="552"/>
                    </a:lnTo>
                    <a:lnTo>
                      <a:pt x="18" y="553"/>
                    </a:lnTo>
                    <a:lnTo>
                      <a:pt x="18" y="553"/>
                    </a:lnTo>
                    <a:lnTo>
                      <a:pt x="18" y="552"/>
                    </a:lnTo>
                    <a:lnTo>
                      <a:pt x="18" y="552"/>
                    </a:lnTo>
                    <a:lnTo>
                      <a:pt x="18" y="552"/>
                    </a:lnTo>
                    <a:lnTo>
                      <a:pt x="18" y="552"/>
                    </a:lnTo>
                    <a:close/>
                    <a:moveTo>
                      <a:pt x="19" y="559"/>
                    </a:moveTo>
                    <a:lnTo>
                      <a:pt x="18" y="555"/>
                    </a:lnTo>
                    <a:lnTo>
                      <a:pt x="23" y="555"/>
                    </a:lnTo>
                    <a:lnTo>
                      <a:pt x="24" y="555"/>
                    </a:lnTo>
                    <a:lnTo>
                      <a:pt x="24" y="559"/>
                    </a:lnTo>
                    <a:lnTo>
                      <a:pt x="19" y="559"/>
                    </a:lnTo>
                    <a:lnTo>
                      <a:pt x="19" y="559"/>
                    </a:lnTo>
                    <a:lnTo>
                      <a:pt x="19" y="559"/>
                    </a:lnTo>
                    <a:lnTo>
                      <a:pt x="19" y="559"/>
                    </a:lnTo>
                    <a:close/>
                    <a:moveTo>
                      <a:pt x="21" y="560"/>
                    </a:moveTo>
                    <a:lnTo>
                      <a:pt x="24" y="559"/>
                    </a:lnTo>
                    <a:lnTo>
                      <a:pt x="28" y="559"/>
                    </a:lnTo>
                    <a:lnTo>
                      <a:pt x="28" y="564"/>
                    </a:lnTo>
                    <a:lnTo>
                      <a:pt x="26" y="567"/>
                    </a:lnTo>
                    <a:lnTo>
                      <a:pt x="24" y="566"/>
                    </a:lnTo>
                    <a:lnTo>
                      <a:pt x="23" y="562"/>
                    </a:lnTo>
                    <a:lnTo>
                      <a:pt x="21" y="560"/>
                    </a:lnTo>
                    <a:lnTo>
                      <a:pt x="21" y="560"/>
                    </a:lnTo>
                    <a:lnTo>
                      <a:pt x="21" y="560"/>
                    </a:lnTo>
                    <a:lnTo>
                      <a:pt x="21" y="560"/>
                    </a:lnTo>
                    <a:close/>
                    <a:moveTo>
                      <a:pt x="18" y="569"/>
                    </a:moveTo>
                    <a:lnTo>
                      <a:pt x="18" y="567"/>
                    </a:lnTo>
                    <a:lnTo>
                      <a:pt x="19" y="569"/>
                    </a:lnTo>
                    <a:lnTo>
                      <a:pt x="21" y="569"/>
                    </a:lnTo>
                    <a:lnTo>
                      <a:pt x="23" y="572"/>
                    </a:lnTo>
                    <a:lnTo>
                      <a:pt x="19" y="572"/>
                    </a:lnTo>
                    <a:lnTo>
                      <a:pt x="18" y="569"/>
                    </a:lnTo>
                    <a:lnTo>
                      <a:pt x="18" y="569"/>
                    </a:lnTo>
                    <a:lnTo>
                      <a:pt x="18" y="569"/>
                    </a:lnTo>
                    <a:lnTo>
                      <a:pt x="18" y="569"/>
                    </a:lnTo>
                    <a:close/>
                    <a:moveTo>
                      <a:pt x="26" y="637"/>
                    </a:moveTo>
                    <a:lnTo>
                      <a:pt x="28" y="635"/>
                    </a:lnTo>
                    <a:lnTo>
                      <a:pt x="26" y="633"/>
                    </a:lnTo>
                    <a:lnTo>
                      <a:pt x="24" y="635"/>
                    </a:lnTo>
                    <a:lnTo>
                      <a:pt x="21" y="628"/>
                    </a:lnTo>
                    <a:lnTo>
                      <a:pt x="18" y="625"/>
                    </a:lnTo>
                    <a:lnTo>
                      <a:pt x="19" y="623"/>
                    </a:lnTo>
                    <a:lnTo>
                      <a:pt x="23" y="623"/>
                    </a:lnTo>
                    <a:lnTo>
                      <a:pt x="24" y="623"/>
                    </a:lnTo>
                    <a:lnTo>
                      <a:pt x="26" y="626"/>
                    </a:lnTo>
                    <a:lnTo>
                      <a:pt x="30" y="628"/>
                    </a:lnTo>
                    <a:lnTo>
                      <a:pt x="30" y="632"/>
                    </a:lnTo>
                    <a:lnTo>
                      <a:pt x="31" y="635"/>
                    </a:lnTo>
                    <a:lnTo>
                      <a:pt x="33" y="640"/>
                    </a:lnTo>
                    <a:lnTo>
                      <a:pt x="30" y="640"/>
                    </a:lnTo>
                    <a:lnTo>
                      <a:pt x="26" y="640"/>
                    </a:lnTo>
                    <a:lnTo>
                      <a:pt x="26" y="637"/>
                    </a:lnTo>
                    <a:lnTo>
                      <a:pt x="26" y="637"/>
                    </a:lnTo>
                    <a:lnTo>
                      <a:pt x="26" y="637"/>
                    </a:lnTo>
                    <a:lnTo>
                      <a:pt x="26" y="637"/>
                    </a:lnTo>
                    <a:close/>
                    <a:moveTo>
                      <a:pt x="14" y="630"/>
                    </a:moveTo>
                    <a:lnTo>
                      <a:pt x="14" y="628"/>
                    </a:lnTo>
                    <a:lnTo>
                      <a:pt x="14" y="626"/>
                    </a:lnTo>
                    <a:lnTo>
                      <a:pt x="18" y="626"/>
                    </a:lnTo>
                    <a:lnTo>
                      <a:pt x="21" y="635"/>
                    </a:lnTo>
                    <a:lnTo>
                      <a:pt x="24" y="639"/>
                    </a:lnTo>
                    <a:lnTo>
                      <a:pt x="24" y="642"/>
                    </a:lnTo>
                    <a:lnTo>
                      <a:pt x="23" y="646"/>
                    </a:lnTo>
                    <a:lnTo>
                      <a:pt x="19" y="642"/>
                    </a:lnTo>
                    <a:lnTo>
                      <a:pt x="19" y="639"/>
                    </a:lnTo>
                    <a:lnTo>
                      <a:pt x="19" y="637"/>
                    </a:lnTo>
                    <a:lnTo>
                      <a:pt x="18" y="635"/>
                    </a:lnTo>
                    <a:lnTo>
                      <a:pt x="14" y="633"/>
                    </a:lnTo>
                    <a:lnTo>
                      <a:pt x="14" y="630"/>
                    </a:lnTo>
                    <a:lnTo>
                      <a:pt x="14" y="630"/>
                    </a:lnTo>
                    <a:lnTo>
                      <a:pt x="14" y="630"/>
                    </a:lnTo>
                    <a:lnTo>
                      <a:pt x="14" y="630"/>
                    </a:lnTo>
                    <a:close/>
                    <a:moveTo>
                      <a:pt x="14" y="635"/>
                    </a:moveTo>
                    <a:lnTo>
                      <a:pt x="14" y="637"/>
                    </a:lnTo>
                    <a:lnTo>
                      <a:pt x="18" y="637"/>
                    </a:lnTo>
                    <a:lnTo>
                      <a:pt x="18" y="640"/>
                    </a:lnTo>
                    <a:lnTo>
                      <a:pt x="18" y="642"/>
                    </a:lnTo>
                    <a:lnTo>
                      <a:pt x="18" y="642"/>
                    </a:lnTo>
                    <a:lnTo>
                      <a:pt x="18" y="642"/>
                    </a:lnTo>
                    <a:lnTo>
                      <a:pt x="14" y="640"/>
                    </a:lnTo>
                    <a:lnTo>
                      <a:pt x="14" y="635"/>
                    </a:lnTo>
                    <a:lnTo>
                      <a:pt x="14" y="635"/>
                    </a:lnTo>
                    <a:lnTo>
                      <a:pt x="14" y="635"/>
                    </a:lnTo>
                    <a:lnTo>
                      <a:pt x="14" y="635"/>
                    </a:lnTo>
                    <a:close/>
                    <a:moveTo>
                      <a:pt x="19" y="656"/>
                    </a:moveTo>
                    <a:lnTo>
                      <a:pt x="18" y="654"/>
                    </a:lnTo>
                    <a:lnTo>
                      <a:pt x="19" y="652"/>
                    </a:lnTo>
                    <a:lnTo>
                      <a:pt x="18" y="646"/>
                    </a:lnTo>
                    <a:lnTo>
                      <a:pt x="19" y="646"/>
                    </a:lnTo>
                    <a:lnTo>
                      <a:pt x="19" y="646"/>
                    </a:lnTo>
                    <a:lnTo>
                      <a:pt x="23" y="647"/>
                    </a:lnTo>
                    <a:lnTo>
                      <a:pt x="24" y="651"/>
                    </a:lnTo>
                    <a:lnTo>
                      <a:pt x="23" y="651"/>
                    </a:lnTo>
                    <a:lnTo>
                      <a:pt x="19" y="656"/>
                    </a:lnTo>
                    <a:lnTo>
                      <a:pt x="19" y="656"/>
                    </a:lnTo>
                    <a:lnTo>
                      <a:pt x="19" y="656"/>
                    </a:lnTo>
                    <a:lnTo>
                      <a:pt x="19" y="656"/>
                    </a:lnTo>
                    <a:close/>
                    <a:moveTo>
                      <a:pt x="24" y="670"/>
                    </a:moveTo>
                    <a:lnTo>
                      <a:pt x="23" y="670"/>
                    </a:lnTo>
                    <a:lnTo>
                      <a:pt x="21" y="668"/>
                    </a:lnTo>
                    <a:lnTo>
                      <a:pt x="21" y="666"/>
                    </a:lnTo>
                    <a:lnTo>
                      <a:pt x="19" y="665"/>
                    </a:lnTo>
                    <a:lnTo>
                      <a:pt x="23" y="663"/>
                    </a:lnTo>
                    <a:lnTo>
                      <a:pt x="24" y="666"/>
                    </a:lnTo>
                    <a:lnTo>
                      <a:pt x="24" y="670"/>
                    </a:lnTo>
                    <a:lnTo>
                      <a:pt x="24" y="670"/>
                    </a:lnTo>
                    <a:lnTo>
                      <a:pt x="24" y="670"/>
                    </a:lnTo>
                    <a:lnTo>
                      <a:pt x="24" y="670"/>
                    </a:lnTo>
                    <a:close/>
                    <a:moveTo>
                      <a:pt x="33" y="668"/>
                    </a:moveTo>
                    <a:lnTo>
                      <a:pt x="33" y="670"/>
                    </a:lnTo>
                    <a:lnTo>
                      <a:pt x="31" y="670"/>
                    </a:lnTo>
                    <a:lnTo>
                      <a:pt x="28" y="670"/>
                    </a:lnTo>
                    <a:lnTo>
                      <a:pt x="26" y="665"/>
                    </a:lnTo>
                    <a:lnTo>
                      <a:pt x="23" y="658"/>
                    </a:lnTo>
                    <a:lnTo>
                      <a:pt x="26" y="658"/>
                    </a:lnTo>
                    <a:lnTo>
                      <a:pt x="30" y="656"/>
                    </a:lnTo>
                    <a:lnTo>
                      <a:pt x="30" y="652"/>
                    </a:lnTo>
                    <a:lnTo>
                      <a:pt x="28" y="654"/>
                    </a:lnTo>
                    <a:lnTo>
                      <a:pt x="26" y="654"/>
                    </a:lnTo>
                    <a:lnTo>
                      <a:pt x="26" y="652"/>
                    </a:lnTo>
                    <a:lnTo>
                      <a:pt x="26" y="651"/>
                    </a:lnTo>
                    <a:lnTo>
                      <a:pt x="24" y="647"/>
                    </a:lnTo>
                    <a:lnTo>
                      <a:pt x="24" y="646"/>
                    </a:lnTo>
                    <a:lnTo>
                      <a:pt x="26" y="642"/>
                    </a:lnTo>
                    <a:lnTo>
                      <a:pt x="31" y="642"/>
                    </a:lnTo>
                    <a:lnTo>
                      <a:pt x="35" y="646"/>
                    </a:lnTo>
                    <a:lnTo>
                      <a:pt x="37" y="651"/>
                    </a:lnTo>
                    <a:lnTo>
                      <a:pt x="37" y="656"/>
                    </a:lnTo>
                    <a:lnTo>
                      <a:pt x="37" y="663"/>
                    </a:lnTo>
                    <a:lnTo>
                      <a:pt x="37" y="663"/>
                    </a:lnTo>
                    <a:lnTo>
                      <a:pt x="40" y="668"/>
                    </a:lnTo>
                    <a:lnTo>
                      <a:pt x="40" y="673"/>
                    </a:lnTo>
                    <a:lnTo>
                      <a:pt x="37" y="673"/>
                    </a:lnTo>
                    <a:lnTo>
                      <a:pt x="35" y="673"/>
                    </a:lnTo>
                    <a:lnTo>
                      <a:pt x="35" y="670"/>
                    </a:lnTo>
                    <a:lnTo>
                      <a:pt x="33" y="668"/>
                    </a:lnTo>
                    <a:lnTo>
                      <a:pt x="33" y="668"/>
                    </a:lnTo>
                    <a:lnTo>
                      <a:pt x="33" y="668"/>
                    </a:lnTo>
                    <a:lnTo>
                      <a:pt x="33" y="668"/>
                    </a:lnTo>
                    <a:close/>
                    <a:moveTo>
                      <a:pt x="31" y="684"/>
                    </a:moveTo>
                    <a:lnTo>
                      <a:pt x="30" y="682"/>
                    </a:lnTo>
                    <a:lnTo>
                      <a:pt x="28" y="682"/>
                    </a:lnTo>
                    <a:lnTo>
                      <a:pt x="30" y="679"/>
                    </a:lnTo>
                    <a:lnTo>
                      <a:pt x="30" y="677"/>
                    </a:lnTo>
                    <a:lnTo>
                      <a:pt x="30" y="675"/>
                    </a:lnTo>
                    <a:lnTo>
                      <a:pt x="31" y="677"/>
                    </a:lnTo>
                    <a:lnTo>
                      <a:pt x="35" y="677"/>
                    </a:lnTo>
                    <a:lnTo>
                      <a:pt x="35" y="682"/>
                    </a:lnTo>
                    <a:lnTo>
                      <a:pt x="35" y="682"/>
                    </a:lnTo>
                    <a:lnTo>
                      <a:pt x="33" y="684"/>
                    </a:lnTo>
                    <a:lnTo>
                      <a:pt x="31" y="684"/>
                    </a:lnTo>
                    <a:lnTo>
                      <a:pt x="31" y="684"/>
                    </a:lnTo>
                    <a:lnTo>
                      <a:pt x="31" y="684"/>
                    </a:lnTo>
                    <a:lnTo>
                      <a:pt x="31" y="684"/>
                    </a:lnTo>
                    <a:close/>
                    <a:moveTo>
                      <a:pt x="28" y="689"/>
                    </a:moveTo>
                    <a:lnTo>
                      <a:pt x="28" y="687"/>
                    </a:lnTo>
                    <a:lnTo>
                      <a:pt x="33" y="687"/>
                    </a:lnTo>
                    <a:lnTo>
                      <a:pt x="30" y="689"/>
                    </a:lnTo>
                    <a:lnTo>
                      <a:pt x="28" y="689"/>
                    </a:lnTo>
                    <a:lnTo>
                      <a:pt x="28" y="689"/>
                    </a:lnTo>
                    <a:lnTo>
                      <a:pt x="28" y="689"/>
                    </a:lnTo>
                    <a:lnTo>
                      <a:pt x="28" y="689"/>
                    </a:lnTo>
                    <a:close/>
                    <a:moveTo>
                      <a:pt x="35" y="687"/>
                    </a:moveTo>
                    <a:lnTo>
                      <a:pt x="37" y="689"/>
                    </a:lnTo>
                    <a:lnTo>
                      <a:pt x="37" y="692"/>
                    </a:lnTo>
                    <a:lnTo>
                      <a:pt x="37" y="694"/>
                    </a:lnTo>
                    <a:lnTo>
                      <a:pt x="35" y="691"/>
                    </a:lnTo>
                    <a:lnTo>
                      <a:pt x="35" y="687"/>
                    </a:lnTo>
                    <a:lnTo>
                      <a:pt x="35" y="687"/>
                    </a:lnTo>
                    <a:lnTo>
                      <a:pt x="35" y="687"/>
                    </a:lnTo>
                    <a:lnTo>
                      <a:pt x="35" y="687"/>
                    </a:lnTo>
                    <a:close/>
                    <a:moveTo>
                      <a:pt x="37" y="686"/>
                    </a:moveTo>
                    <a:lnTo>
                      <a:pt x="37" y="684"/>
                    </a:lnTo>
                    <a:lnTo>
                      <a:pt x="40" y="684"/>
                    </a:lnTo>
                    <a:lnTo>
                      <a:pt x="40" y="687"/>
                    </a:lnTo>
                    <a:lnTo>
                      <a:pt x="45" y="687"/>
                    </a:lnTo>
                    <a:lnTo>
                      <a:pt x="45" y="692"/>
                    </a:lnTo>
                    <a:lnTo>
                      <a:pt x="47" y="696"/>
                    </a:lnTo>
                    <a:lnTo>
                      <a:pt x="45" y="691"/>
                    </a:lnTo>
                    <a:lnTo>
                      <a:pt x="40" y="691"/>
                    </a:lnTo>
                    <a:lnTo>
                      <a:pt x="37" y="686"/>
                    </a:lnTo>
                    <a:lnTo>
                      <a:pt x="37" y="686"/>
                    </a:lnTo>
                    <a:lnTo>
                      <a:pt x="37" y="686"/>
                    </a:lnTo>
                    <a:lnTo>
                      <a:pt x="37" y="686"/>
                    </a:lnTo>
                    <a:close/>
                    <a:moveTo>
                      <a:pt x="37" y="692"/>
                    </a:moveTo>
                    <a:lnTo>
                      <a:pt x="40" y="692"/>
                    </a:lnTo>
                    <a:lnTo>
                      <a:pt x="42" y="694"/>
                    </a:lnTo>
                    <a:lnTo>
                      <a:pt x="45" y="699"/>
                    </a:lnTo>
                    <a:lnTo>
                      <a:pt x="45" y="701"/>
                    </a:lnTo>
                    <a:lnTo>
                      <a:pt x="42" y="701"/>
                    </a:lnTo>
                    <a:lnTo>
                      <a:pt x="37" y="696"/>
                    </a:lnTo>
                    <a:lnTo>
                      <a:pt x="37" y="692"/>
                    </a:lnTo>
                    <a:lnTo>
                      <a:pt x="37" y="692"/>
                    </a:lnTo>
                    <a:lnTo>
                      <a:pt x="37" y="692"/>
                    </a:lnTo>
                    <a:lnTo>
                      <a:pt x="37" y="692"/>
                    </a:lnTo>
                    <a:close/>
                    <a:moveTo>
                      <a:pt x="40" y="710"/>
                    </a:moveTo>
                    <a:lnTo>
                      <a:pt x="37" y="710"/>
                    </a:lnTo>
                    <a:lnTo>
                      <a:pt x="35" y="710"/>
                    </a:lnTo>
                    <a:lnTo>
                      <a:pt x="37" y="706"/>
                    </a:lnTo>
                    <a:lnTo>
                      <a:pt x="37" y="705"/>
                    </a:lnTo>
                    <a:lnTo>
                      <a:pt x="37" y="701"/>
                    </a:lnTo>
                    <a:lnTo>
                      <a:pt x="37" y="701"/>
                    </a:lnTo>
                    <a:lnTo>
                      <a:pt x="40" y="701"/>
                    </a:lnTo>
                    <a:lnTo>
                      <a:pt x="42" y="701"/>
                    </a:lnTo>
                    <a:lnTo>
                      <a:pt x="47" y="705"/>
                    </a:lnTo>
                    <a:lnTo>
                      <a:pt x="47" y="706"/>
                    </a:lnTo>
                    <a:lnTo>
                      <a:pt x="45" y="706"/>
                    </a:lnTo>
                    <a:lnTo>
                      <a:pt x="45" y="710"/>
                    </a:lnTo>
                    <a:lnTo>
                      <a:pt x="40" y="710"/>
                    </a:lnTo>
                    <a:lnTo>
                      <a:pt x="40" y="710"/>
                    </a:lnTo>
                    <a:lnTo>
                      <a:pt x="40" y="710"/>
                    </a:lnTo>
                    <a:lnTo>
                      <a:pt x="40" y="710"/>
                    </a:lnTo>
                    <a:close/>
                    <a:moveTo>
                      <a:pt x="45" y="724"/>
                    </a:moveTo>
                    <a:lnTo>
                      <a:pt x="42" y="724"/>
                    </a:lnTo>
                    <a:lnTo>
                      <a:pt x="40" y="722"/>
                    </a:lnTo>
                    <a:lnTo>
                      <a:pt x="40" y="719"/>
                    </a:lnTo>
                    <a:lnTo>
                      <a:pt x="40" y="717"/>
                    </a:lnTo>
                    <a:lnTo>
                      <a:pt x="42" y="717"/>
                    </a:lnTo>
                    <a:lnTo>
                      <a:pt x="42" y="715"/>
                    </a:lnTo>
                    <a:lnTo>
                      <a:pt x="40" y="713"/>
                    </a:lnTo>
                    <a:lnTo>
                      <a:pt x="45" y="713"/>
                    </a:lnTo>
                    <a:lnTo>
                      <a:pt x="45" y="715"/>
                    </a:lnTo>
                    <a:lnTo>
                      <a:pt x="45" y="719"/>
                    </a:lnTo>
                    <a:lnTo>
                      <a:pt x="42" y="720"/>
                    </a:lnTo>
                    <a:lnTo>
                      <a:pt x="45" y="724"/>
                    </a:lnTo>
                    <a:lnTo>
                      <a:pt x="45" y="724"/>
                    </a:lnTo>
                    <a:lnTo>
                      <a:pt x="45" y="724"/>
                    </a:lnTo>
                    <a:lnTo>
                      <a:pt x="45" y="724"/>
                    </a:lnTo>
                    <a:close/>
                    <a:moveTo>
                      <a:pt x="45" y="717"/>
                    </a:moveTo>
                    <a:lnTo>
                      <a:pt x="45" y="715"/>
                    </a:lnTo>
                    <a:lnTo>
                      <a:pt x="47" y="715"/>
                    </a:lnTo>
                    <a:lnTo>
                      <a:pt x="49" y="717"/>
                    </a:lnTo>
                    <a:lnTo>
                      <a:pt x="51" y="719"/>
                    </a:lnTo>
                    <a:lnTo>
                      <a:pt x="51" y="722"/>
                    </a:lnTo>
                    <a:lnTo>
                      <a:pt x="49" y="724"/>
                    </a:lnTo>
                    <a:lnTo>
                      <a:pt x="47" y="722"/>
                    </a:lnTo>
                    <a:lnTo>
                      <a:pt x="47" y="722"/>
                    </a:lnTo>
                    <a:lnTo>
                      <a:pt x="45" y="720"/>
                    </a:lnTo>
                    <a:lnTo>
                      <a:pt x="45" y="717"/>
                    </a:lnTo>
                    <a:lnTo>
                      <a:pt x="45" y="717"/>
                    </a:lnTo>
                    <a:lnTo>
                      <a:pt x="45" y="717"/>
                    </a:lnTo>
                    <a:lnTo>
                      <a:pt x="45" y="717"/>
                    </a:lnTo>
                    <a:close/>
                    <a:moveTo>
                      <a:pt x="51" y="719"/>
                    </a:moveTo>
                    <a:lnTo>
                      <a:pt x="56" y="720"/>
                    </a:lnTo>
                    <a:lnTo>
                      <a:pt x="56" y="724"/>
                    </a:lnTo>
                    <a:lnTo>
                      <a:pt x="54" y="724"/>
                    </a:lnTo>
                    <a:lnTo>
                      <a:pt x="52" y="722"/>
                    </a:lnTo>
                    <a:lnTo>
                      <a:pt x="51" y="719"/>
                    </a:lnTo>
                    <a:lnTo>
                      <a:pt x="51" y="719"/>
                    </a:lnTo>
                    <a:lnTo>
                      <a:pt x="51" y="719"/>
                    </a:lnTo>
                    <a:lnTo>
                      <a:pt x="51" y="719"/>
                    </a:lnTo>
                    <a:close/>
                    <a:moveTo>
                      <a:pt x="51" y="729"/>
                    </a:moveTo>
                    <a:lnTo>
                      <a:pt x="49" y="732"/>
                    </a:lnTo>
                    <a:lnTo>
                      <a:pt x="47" y="729"/>
                    </a:lnTo>
                    <a:lnTo>
                      <a:pt x="49" y="729"/>
                    </a:lnTo>
                    <a:lnTo>
                      <a:pt x="49" y="726"/>
                    </a:lnTo>
                    <a:lnTo>
                      <a:pt x="51" y="726"/>
                    </a:lnTo>
                    <a:lnTo>
                      <a:pt x="52" y="727"/>
                    </a:lnTo>
                    <a:lnTo>
                      <a:pt x="51" y="729"/>
                    </a:lnTo>
                    <a:lnTo>
                      <a:pt x="51" y="729"/>
                    </a:lnTo>
                    <a:lnTo>
                      <a:pt x="51" y="729"/>
                    </a:lnTo>
                    <a:lnTo>
                      <a:pt x="51" y="729"/>
                    </a:lnTo>
                    <a:close/>
                    <a:moveTo>
                      <a:pt x="59" y="722"/>
                    </a:moveTo>
                    <a:lnTo>
                      <a:pt x="56" y="720"/>
                    </a:lnTo>
                    <a:lnTo>
                      <a:pt x="54" y="717"/>
                    </a:lnTo>
                    <a:lnTo>
                      <a:pt x="54" y="712"/>
                    </a:lnTo>
                    <a:lnTo>
                      <a:pt x="56" y="712"/>
                    </a:lnTo>
                    <a:lnTo>
                      <a:pt x="57" y="717"/>
                    </a:lnTo>
                    <a:lnTo>
                      <a:pt x="59" y="720"/>
                    </a:lnTo>
                    <a:lnTo>
                      <a:pt x="59" y="722"/>
                    </a:lnTo>
                    <a:lnTo>
                      <a:pt x="59" y="722"/>
                    </a:lnTo>
                    <a:lnTo>
                      <a:pt x="59" y="722"/>
                    </a:lnTo>
                    <a:lnTo>
                      <a:pt x="59" y="722"/>
                    </a:lnTo>
                    <a:lnTo>
                      <a:pt x="59" y="722"/>
                    </a:lnTo>
                    <a:close/>
                    <a:moveTo>
                      <a:pt x="59" y="727"/>
                    </a:moveTo>
                    <a:lnTo>
                      <a:pt x="57" y="726"/>
                    </a:lnTo>
                    <a:lnTo>
                      <a:pt x="57" y="724"/>
                    </a:lnTo>
                    <a:lnTo>
                      <a:pt x="59" y="724"/>
                    </a:lnTo>
                    <a:lnTo>
                      <a:pt x="59" y="727"/>
                    </a:lnTo>
                    <a:lnTo>
                      <a:pt x="59" y="727"/>
                    </a:lnTo>
                    <a:lnTo>
                      <a:pt x="59" y="727"/>
                    </a:lnTo>
                    <a:lnTo>
                      <a:pt x="59" y="727"/>
                    </a:lnTo>
                    <a:lnTo>
                      <a:pt x="59" y="727"/>
                    </a:lnTo>
                    <a:close/>
                    <a:moveTo>
                      <a:pt x="59" y="732"/>
                    </a:moveTo>
                    <a:lnTo>
                      <a:pt x="57" y="729"/>
                    </a:lnTo>
                    <a:lnTo>
                      <a:pt x="56" y="727"/>
                    </a:lnTo>
                    <a:lnTo>
                      <a:pt x="57" y="727"/>
                    </a:lnTo>
                    <a:lnTo>
                      <a:pt x="63" y="729"/>
                    </a:lnTo>
                    <a:lnTo>
                      <a:pt x="63" y="732"/>
                    </a:lnTo>
                    <a:lnTo>
                      <a:pt x="59" y="732"/>
                    </a:lnTo>
                    <a:lnTo>
                      <a:pt x="59" y="732"/>
                    </a:lnTo>
                    <a:lnTo>
                      <a:pt x="59" y="732"/>
                    </a:lnTo>
                    <a:lnTo>
                      <a:pt x="59" y="732"/>
                    </a:lnTo>
                    <a:close/>
                    <a:moveTo>
                      <a:pt x="64" y="741"/>
                    </a:moveTo>
                    <a:lnTo>
                      <a:pt x="64" y="739"/>
                    </a:lnTo>
                    <a:lnTo>
                      <a:pt x="63" y="739"/>
                    </a:lnTo>
                    <a:lnTo>
                      <a:pt x="59" y="738"/>
                    </a:lnTo>
                    <a:lnTo>
                      <a:pt x="57" y="738"/>
                    </a:lnTo>
                    <a:lnTo>
                      <a:pt x="56" y="738"/>
                    </a:lnTo>
                    <a:lnTo>
                      <a:pt x="59" y="734"/>
                    </a:lnTo>
                    <a:lnTo>
                      <a:pt x="59" y="738"/>
                    </a:lnTo>
                    <a:lnTo>
                      <a:pt x="64" y="734"/>
                    </a:lnTo>
                    <a:lnTo>
                      <a:pt x="68" y="738"/>
                    </a:lnTo>
                    <a:lnTo>
                      <a:pt x="64" y="741"/>
                    </a:lnTo>
                    <a:lnTo>
                      <a:pt x="64" y="741"/>
                    </a:lnTo>
                    <a:lnTo>
                      <a:pt x="64" y="741"/>
                    </a:lnTo>
                    <a:lnTo>
                      <a:pt x="64" y="741"/>
                    </a:lnTo>
                    <a:close/>
                    <a:moveTo>
                      <a:pt x="75" y="757"/>
                    </a:moveTo>
                    <a:lnTo>
                      <a:pt x="70" y="757"/>
                    </a:lnTo>
                    <a:lnTo>
                      <a:pt x="68" y="757"/>
                    </a:lnTo>
                    <a:lnTo>
                      <a:pt x="68" y="757"/>
                    </a:lnTo>
                    <a:lnTo>
                      <a:pt x="64" y="755"/>
                    </a:lnTo>
                    <a:lnTo>
                      <a:pt x="59" y="753"/>
                    </a:lnTo>
                    <a:lnTo>
                      <a:pt x="57" y="753"/>
                    </a:lnTo>
                    <a:lnTo>
                      <a:pt x="54" y="748"/>
                    </a:lnTo>
                    <a:lnTo>
                      <a:pt x="54" y="745"/>
                    </a:lnTo>
                    <a:lnTo>
                      <a:pt x="54" y="743"/>
                    </a:lnTo>
                    <a:lnTo>
                      <a:pt x="56" y="745"/>
                    </a:lnTo>
                    <a:lnTo>
                      <a:pt x="59" y="750"/>
                    </a:lnTo>
                    <a:lnTo>
                      <a:pt x="63" y="752"/>
                    </a:lnTo>
                    <a:lnTo>
                      <a:pt x="64" y="752"/>
                    </a:lnTo>
                    <a:lnTo>
                      <a:pt x="68" y="752"/>
                    </a:lnTo>
                    <a:lnTo>
                      <a:pt x="70" y="753"/>
                    </a:lnTo>
                    <a:lnTo>
                      <a:pt x="75" y="753"/>
                    </a:lnTo>
                    <a:lnTo>
                      <a:pt x="77" y="755"/>
                    </a:lnTo>
                    <a:lnTo>
                      <a:pt x="80" y="757"/>
                    </a:lnTo>
                    <a:lnTo>
                      <a:pt x="82" y="757"/>
                    </a:lnTo>
                    <a:lnTo>
                      <a:pt x="82" y="760"/>
                    </a:lnTo>
                    <a:lnTo>
                      <a:pt x="82" y="760"/>
                    </a:lnTo>
                    <a:lnTo>
                      <a:pt x="78" y="760"/>
                    </a:lnTo>
                    <a:lnTo>
                      <a:pt x="75" y="757"/>
                    </a:lnTo>
                    <a:lnTo>
                      <a:pt x="75" y="757"/>
                    </a:lnTo>
                    <a:lnTo>
                      <a:pt x="75" y="757"/>
                    </a:lnTo>
                    <a:lnTo>
                      <a:pt x="75" y="757"/>
                    </a:lnTo>
                    <a:close/>
                    <a:moveTo>
                      <a:pt x="64" y="760"/>
                    </a:moveTo>
                    <a:lnTo>
                      <a:pt x="64" y="760"/>
                    </a:lnTo>
                    <a:lnTo>
                      <a:pt x="64" y="764"/>
                    </a:lnTo>
                    <a:lnTo>
                      <a:pt x="63" y="760"/>
                    </a:lnTo>
                    <a:lnTo>
                      <a:pt x="64" y="760"/>
                    </a:lnTo>
                    <a:lnTo>
                      <a:pt x="64" y="760"/>
                    </a:lnTo>
                    <a:lnTo>
                      <a:pt x="64" y="760"/>
                    </a:lnTo>
                    <a:lnTo>
                      <a:pt x="64" y="760"/>
                    </a:lnTo>
                    <a:close/>
                    <a:moveTo>
                      <a:pt x="87" y="776"/>
                    </a:moveTo>
                    <a:lnTo>
                      <a:pt x="87" y="776"/>
                    </a:lnTo>
                    <a:lnTo>
                      <a:pt x="90" y="776"/>
                    </a:lnTo>
                    <a:lnTo>
                      <a:pt x="87" y="774"/>
                    </a:lnTo>
                    <a:lnTo>
                      <a:pt x="87" y="774"/>
                    </a:lnTo>
                    <a:lnTo>
                      <a:pt x="87" y="776"/>
                    </a:lnTo>
                    <a:lnTo>
                      <a:pt x="87" y="776"/>
                    </a:lnTo>
                    <a:lnTo>
                      <a:pt x="87" y="776"/>
                    </a:lnTo>
                    <a:lnTo>
                      <a:pt x="87" y="776"/>
                    </a:lnTo>
                    <a:close/>
                    <a:moveTo>
                      <a:pt x="96" y="778"/>
                    </a:moveTo>
                    <a:lnTo>
                      <a:pt x="92" y="778"/>
                    </a:lnTo>
                    <a:lnTo>
                      <a:pt x="90" y="776"/>
                    </a:lnTo>
                    <a:lnTo>
                      <a:pt x="90" y="774"/>
                    </a:lnTo>
                    <a:lnTo>
                      <a:pt x="90" y="772"/>
                    </a:lnTo>
                    <a:lnTo>
                      <a:pt x="85" y="772"/>
                    </a:lnTo>
                    <a:lnTo>
                      <a:pt x="82" y="772"/>
                    </a:lnTo>
                    <a:lnTo>
                      <a:pt x="80" y="769"/>
                    </a:lnTo>
                    <a:lnTo>
                      <a:pt x="77" y="769"/>
                    </a:lnTo>
                    <a:lnTo>
                      <a:pt x="75" y="764"/>
                    </a:lnTo>
                    <a:lnTo>
                      <a:pt x="71" y="764"/>
                    </a:lnTo>
                    <a:lnTo>
                      <a:pt x="71" y="760"/>
                    </a:lnTo>
                    <a:lnTo>
                      <a:pt x="73" y="760"/>
                    </a:lnTo>
                    <a:lnTo>
                      <a:pt x="75" y="760"/>
                    </a:lnTo>
                    <a:lnTo>
                      <a:pt x="77" y="760"/>
                    </a:lnTo>
                    <a:lnTo>
                      <a:pt x="78" y="764"/>
                    </a:lnTo>
                    <a:lnTo>
                      <a:pt x="82" y="760"/>
                    </a:lnTo>
                    <a:lnTo>
                      <a:pt x="85" y="760"/>
                    </a:lnTo>
                    <a:lnTo>
                      <a:pt x="90" y="764"/>
                    </a:lnTo>
                    <a:lnTo>
                      <a:pt x="92" y="766"/>
                    </a:lnTo>
                    <a:lnTo>
                      <a:pt x="92" y="769"/>
                    </a:lnTo>
                    <a:lnTo>
                      <a:pt x="96" y="766"/>
                    </a:lnTo>
                    <a:lnTo>
                      <a:pt x="99" y="769"/>
                    </a:lnTo>
                    <a:lnTo>
                      <a:pt x="99" y="769"/>
                    </a:lnTo>
                    <a:lnTo>
                      <a:pt x="97" y="769"/>
                    </a:lnTo>
                    <a:lnTo>
                      <a:pt x="96" y="771"/>
                    </a:lnTo>
                    <a:lnTo>
                      <a:pt x="97" y="771"/>
                    </a:lnTo>
                    <a:lnTo>
                      <a:pt x="97" y="772"/>
                    </a:lnTo>
                    <a:lnTo>
                      <a:pt x="94" y="776"/>
                    </a:lnTo>
                    <a:lnTo>
                      <a:pt x="96" y="778"/>
                    </a:lnTo>
                    <a:lnTo>
                      <a:pt x="96" y="778"/>
                    </a:lnTo>
                    <a:lnTo>
                      <a:pt x="96" y="778"/>
                    </a:lnTo>
                    <a:lnTo>
                      <a:pt x="96" y="778"/>
                    </a:lnTo>
                    <a:close/>
                    <a:moveTo>
                      <a:pt x="99" y="776"/>
                    </a:moveTo>
                    <a:lnTo>
                      <a:pt x="97" y="779"/>
                    </a:lnTo>
                    <a:lnTo>
                      <a:pt x="97" y="781"/>
                    </a:lnTo>
                    <a:lnTo>
                      <a:pt x="101" y="779"/>
                    </a:lnTo>
                    <a:lnTo>
                      <a:pt x="101" y="778"/>
                    </a:lnTo>
                    <a:lnTo>
                      <a:pt x="103" y="776"/>
                    </a:lnTo>
                    <a:lnTo>
                      <a:pt x="101" y="776"/>
                    </a:lnTo>
                    <a:lnTo>
                      <a:pt x="99" y="776"/>
                    </a:lnTo>
                    <a:lnTo>
                      <a:pt x="99" y="776"/>
                    </a:lnTo>
                    <a:lnTo>
                      <a:pt x="99" y="776"/>
                    </a:lnTo>
                    <a:lnTo>
                      <a:pt x="99" y="776"/>
                    </a:lnTo>
                    <a:close/>
                    <a:moveTo>
                      <a:pt x="118" y="772"/>
                    </a:moveTo>
                    <a:lnTo>
                      <a:pt x="117" y="776"/>
                    </a:lnTo>
                    <a:lnTo>
                      <a:pt x="118" y="778"/>
                    </a:lnTo>
                    <a:lnTo>
                      <a:pt x="117" y="779"/>
                    </a:lnTo>
                    <a:lnTo>
                      <a:pt x="113" y="779"/>
                    </a:lnTo>
                    <a:lnTo>
                      <a:pt x="113" y="778"/>
                    </a:lnTo>
                    <a:lnTo>
                      <a:pt x="110" y="778"/>
                    </a:lnTo>
                    <a:lnTo>
                      <a:pt x="110" y="776"/>
                    </a:lnTo>
                    <a:lnTo>
                      <a:pt x="106" y="776"/>
                    </a:lnTo>
                    <a:lnTo>
                      <a:pt x="104" y="778"/>
                    </a:lnTo>
                    <a:lnTo>
                      <a:pt x="103" y="774"/>
                    </a:lnTo>
                    <a:lnTo>
                      <a:pt x="101" y="774"/>
                    </a:lnTo>
                    <a:lnTo>
                      <a:pt x="101" y="771"/>
                    </a:lnTo>
                    <a:lnTo>
                      <a:pt x="106" y="771"/>
                    </a:lnTo>
                    <a:lnTo>
                      <a:pt x="108" y="771"/>
                    </a:lnTo>
                    <a:lnTo>
                      <a:pt x="113" y="772"/>
                    </a:lnTo>
                    <a:lnTo>
                      <a:pt x="113" y="774"/>
                    </a:lnTo>
                    <a:lnTo>
                      <a:pt x="115" y="772"/>
                    </a:lnTo>
                    <a:lnTo>
                      <a:pt x="117" y="772"/>
                    </a:lnTo>
                    <a:lnTo>
                      <a:pt x="118" y="772"/>
                    </a:lnTo>
                    <a:lnTo>
                      <a:pt x="118" y="772"/>
                    </a:lnTo>
                    <a:lnTo>
                      <a:pt x="118" y="772"/>
                    </a:lnTo>
                    <a:lnTo>
                      <a:pt x="118" y="772"/>
                    </a:lnTo>
                    <a:close/>
                    <a:moveTo>
                      <a:pt x="129" y="772"/>
                    </a:moveTo>
                    <a:lnTo>
                      <a:pt x="125" y="769"/>
                    </a:lnTo>
                    <a:lnTo>
                      <a:pt x="127" y="769"/>
                    </a:lnTo>
                    <a:lnTo>
                      <a:pt x="125" y="764"/>
                    </a:lnTo>
                    <a:lnTo>
                      <a:pt x="125" y="764"/>
                    </a:lnTo>
                    <a:lnTo>
                      <a:pt x="123" y="760"/>
                    </a:lnTo>
                    <a:lnTo>
                      <a:pt x="123" y="757"/>
                    </a:lnTo>
                    <a:lnTo>
                      <a:pt x="120" y="757"/>
                    </a:lnTo>
                    <a:lnTo>
                      <a:pt x="120" y="760"/>
                    </a:lnTo>
                    <a:lnTo>
                      <a:pt x="118" y="764"/>
                    </a:lnTo>
                    <a:lnTo>
                      <a:pt x="120" y="766"/>
                    </a:lnTo>
                    <a:lnTo>
                      <a:pt x="120" y="769"/>
                    </a:lnTo>
                    <a:lnTo>
                      <a:pt x="120" y="769"/>
                    </a:lnTo>
                    <a:lnTo>
                      <a:pt x="122" y="771"/>
                    </a:lnTo>
                    <a:lnTo>
                      <a:pt x="125" y="772"/>
                    </a:lnTo>
                    <a:lnTo>
                      <a:pt x="127" y="774"/>
                    </a:lnTo>
                    <a:lnTo>
                      <a:pt x="129" y="772"/>
                    </a:lnTo>
                    <a:lnTo>
                      <a:pt x="129" y="772"/>
                    </a:lnTo>
                    <a:lnTo>
                      <a:pt x="129" y="772"/>
                    </a:lnTo>
                    <a:lnTo>
                      <a:pt x="129" y="772"/>
                    </a:lnTo>
                    <a:close/>
                    <a:moveTo>
                      <a:pt x="115" y="797"/>
                    </a:moveTo>
                    <a:lnTo>
                      <a:pt x="118" y="797"/>
                    </a:lnTo>
                    <a:lnTo>
                      <a:pt x="120" y="797"/>
                    </a:lnTo>
                    <a:lnTo>
                      <a:pt x="117" y="799"/>
                    </a:lnTo>
                    <a:lnTo>
                      <a:pt x="115" y="797"/>
                    </a:lnTo>
                    <a:lnTo>
                      <a:pt x="115" y="797"/>
                    </a:lnTo>
                    <a:lnTo>
                      <a:pt x="115" y="797"/>
                    </a:lnTo>
                    <a:lnTo>
                      <a:pt x="115" y="797"/>
                    </a:lnTo>
                    <a:close/>
                    <a:moveTo>
                      <a:pt x="117" y="793"/>
                    </a:moveTo>
                    <a:lnTo>
                      <a:pt x="115" y="793"/>
                    </a:lnTo>
                    <a:lnTo>
                      <a:pt x="117" y="792"/>
                    </a:lnTo>
                    <a:lnTo>
                      <a:pt x="118" y="792"/>
                    </a:lnTo>
                    <a:lnTo>
                      <a:pt x="118" y="793"/>
                    </a:lnTo>
                    <a:lnTo>
                      <a:pt x="117" y="793"/>
                    </a:lnTo>
                    <a:lnTo>
                      <a:pt x="117" y="793"/>
                    </a:lnTo>
                    <a:lnTo>
                      <a:pt x="117" y="793"/>
                    </a:lnTo>
                    <a:lnTo>
                      <a:pt x="117" y="793"/>
                    </a:lnTo>
                    <a:close/>
                    <a:moveTo>
                      <a:pt x="184" y="812"/>
                    </a:moveTo>
                    <a:lnTo>
                      <a:pt x="181" y="811"/>
                    </a:lnTo>
                    <a:lnTo>
                      <a:pt x="184" y="809"/>
                    </a:lnTo>
                    <a:lnTo>
                      <a:pt x="181" y="807"/>
                    </a:lnTo>
                    <a:lnTo>
                      <a:pt x="186" y="807"/>
                    </a:lnTo>
                    <a:lnTo>
                      <a:pt x="186" y="811"/>
                    </a:lnTo>
                    <a:lnTo>
                      <a:pt x="186" y="812"/>
                    </a:lnTo>
                    <a:lnTo>
                      <a:pt x="184" y="812"/>
                    </a:lnTo>
                    <a:lnTo>
                      <a:pt x="184" y="812"/>
                    </a:lnTo>
                    <a:lnTo>
                      <a:pt x="184" y="812"/>
                    </a:lnTo>
                    <a:lnTo>
                      <a:pt x="184" y="812"/>
                    </a:lnTo>
                    <a:close/>
                    <a:moveTo>
                      <a:pt x="141" y="797"/>
                    </a:moveTo>
                    <a:lnTo>
                      <a:pt x="144" y="793"/>
                    </a:lnTo>
                    <a:lnTo>
                      <a:pt x="146" y="793"/>
                    </a:lnTo>
                    <a:lnTo>
                      <a:pt x="148" y="793"/>
                    </a:lnTo>
                    <a:lnTo>
                      <a:pt x="151" y="793"/>
                    </a:lnTo>
                    <a:lnTo>
                      <a:pt x="158" y="792"/>
                    </a:lnTo>
                    <a:lnTo>
                      <a:pt x="163" y="792"/>
                    </a:lnTo>
                    <a:lnTo>
                      <a:pt x="169" y="792"/>
                    </a:lnTo>
                    <a:lnTo>
                      <a:pt x="174" y="792"/>
                    </a:lnTo>
                    <a:lnTo>
                      <a:pt x="177" y="792"/>
                    </a:lnTo>
                    <a:lnTo>
                      <a:pt x="181" y="792"/>
                    </a:lnTo>
                    <a:lnTo>
                      <a:pt x="181" y="793"/>
                    </a:lnTo>
                    <a:lnTo>
                      <a:pt x="184" y="797"/>
                    </a:lnTo>
                    <a:lnTo>
                      <a:pt x="181" y="797"/>
                    </a:lnTo>
                    <a:lnTo>
                      <a:pt x="181" y="799"/>
                    </a:lnTo>
                    <a:lnTo>
                      <a:pt x="177" y="797"/>
                    </a:lnTo>
                    <a:lnTo>
                      <a:pt x="177" y="797"/>
                    </a:lnTo>
                    <a:lnTo>
                      <a:pt x="174" y="799"/>
                    </a:lnTo>
                    <a:lnTo>
                      <a:pt x="169" y="799"/>
                    </a:lnTo>
                    <a:lnTo>
                      <a:pt x="167" y="797"/>
                    </a:lnTo>
                    <a:lnTo>
                      <a:pt x="167" y="793"/>
                    </a:lnTo>
                    <a:lnTo>
                      <a:pt x="163" y="793"/>
                    </a:lnTo>
                    <a:lnTo>
                      <a:pt x="162" y="797"/>
                    </a:lnTo>
                    <a:lnTo>
                      <a:pt x="158" y="797"/>
                    </a:lnTo>
                    <a:lnTo>
                      <a:pt x="155" y="797"/>
                    </a:lnTo>
                    <a:lnTo>
                      <a:pt x="158" y="799"/>
                    </a:lnTo>
                    <a:lnTo>
                      <a:pt x="158" y="799"/>
                    </a:lnTo>
                    <a:lnTo>
                      <a:pt x="163" y="800"/>
                    </a:lnTo>
                    <a:lnTo>
                      <a:pt x="163" y="800"/>
                    </a:lnTo>
                    <a:lnTo>
                      <a:pt x="163" y="802"/>
                    </a:lnTo>
                    <a:lnTo>
                      <a:pt x="167" y="804"/>
                    </a:lnTo>
                    <a:lnTo>
                      <a:pt x="170" y="807"/>
                    </a:lnTo>
                    <a:lnTo>
                      <a:pt x="170" y="811"/>
                    </a:lnTo>
                    <a:lnTo>
                      <a:pt x="169" y="809"/>
                    </a:lnTo>
                    <a:lnTo>
                      <a:pt x="167" y="806"/>
                    </a:lnTo>
                    <a:lnTo>
                      <a:pt x="163" y="806"/>
                    </a:lnTo>
                    <a:lnTo>
                      <a:pt x="158" y="807"/>
                    </a:lnTo>
                    <a:lnTo>
                      <a:pt x="158" y="806"/>
                    </a:lnTo>
                    <a:lnTo>
                      <a:pt x="155" y="802"/>
                    </a:lnTo>
                    <a:lnTo>
                      <a:pt x="153" y="802"/>
                    </a:lnTo>
                    <a:lnTo>
                      <a:pt x="153" y="804"/>
                    </a:lnTo>
                    <a:lnTo>
                      <a:pt x="155" y="806"/>
                    </a:lnTo>
                    <a:lnTo>
                      <a:pt x="155" y="809"/>
                    </a:lnTo>
                    <a:lnTo>
                      <a:pt x="153" y="809"/>
                    </a:lnTo>
                    <a:lnTo>
                      <a:pt x="150" y="806"/>
                    </a:lnTo>
                    <a:lnTo>
                      <a:pt x="148" y="807"/>
                    </a:lnTo>
                    <a:lnTo>
                      <a:pt x="146" y="806"/>
                    </a:lnTo>
                    <a:lnTo>
                      <a:pt x="144" y="804"/>
                    </a:lnTo>
                    <a:lnTo>
                      <a:pt x="144" y="802"/>
                    </a:lnTo>
                    <a:lnTo>
                      <a:pt x="144" y="804"/>
                    </a:lnTo>
                    <a:lnTo>
                      <a:pt x="139" y="802"/>
                    </a:lnTo>
                    <a:lnTo>
                      <a:pt x="139" y="800"/>
                    </a:lnTo>
                    <a:lnTo>
                      <a:pt x="144" y="799"/>
                    </a:lnTo>
                    <a:lnTo>
                      <a:pt x="148" y="797"/>
                    </a:lnTo>
                    <a:lnTo>
                      <a:pt x="144" y="797"/>
                    </a:lnTo>
                    <a:lnTo>
                      <a:pt x="144" y="797"/>
                    </a:lnTo>
                    <a:lnTo>
                      <a:pt x="141" y="797"/>
                    </a:lnTo>
                    <a:lnTo>
                      <a:pt x="141" y="797"/>
                    </a:lnTo>
                    <a:lnTo>
                      <a:pt x="141" y="797"/>
                    </a:lnTo>
                    <a:close/>
                  </a:path>
                </a:pathLst>
              </a:custGeom>
              <a:solidFill>
                <a:srgbClr val="B70132"/>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468" name="Freeform 5"/>
            <p:cNvSpPr>
              <a:spLocks noEditPoints="1"/>
            </p:cNvSpPr>
            <p:nvPr/>
          </p:nvSpPr>
          <p:spPr bwMode="auto">
            <a:xfrm>
              <a:off x="6100763" y="2436813"/>
              <a:ext cx="1763713" cy="1311275"/>
            </a:xfrm>
            <a:custGeom>
              <a:avLst/>
              <a:gdLst/>
              <a:ahLst/>
              <a:cxnLst>
                <a:cxn ang="0">
                  <a:pos x="828" y="109"/>
                </a:cxn>
                <a:cxn ang="0">
                  <a:pos x="836" y="78"/>
                </a:cxn>
                <a:cxn ang="0">
                  <a:pos x="840" y="38"/>
                </a:cxn>
                <a:cxn ang="0">
                  <a:pos x="834" y="14"/>
                </a:cxn>
                <a:cxn ang="0">
                  <a:pos x="867" y="3"/>
                </a:cxn>
                <a:cxn ang="0">
                  <a:pos x="900" y="5"/>
                </a:cxn>
                <a:cxn ang="0">
                  <a:pos x="918" y="17"/>
                </a:cxn>
                <a:cxn ang="0">
                  <a:pos x="935" y="38"/>
                </a:cxn>
                <a:cxn ang="0">
                  <a:pos x="961" y="69"/>
                </a:cxn>
                <a:cxn ang="0">
                  <a:pos x="984" y="99"/>
                </a:cxn>
                <a:cxn ang="0">
                  <a:pos x="1006" y="101"/>
                </a:cxn>
                <a:cxn ang="0">
                  <a:pos x="1029" y="116"/>
                </a:cxn>
                <a:cxn ang="0">
                  <a:pos x="1039" y="137"/>
                </a:cxn>
                <a:cxn ang="0">
                  <a:pos x="1073" y="142"/>
                </a:cxn>
                <a:cxn ang="0">
                  <a:pos x="1095" y="120"/>
                </a:cxn>
                <a:cxn ang="0">
                  <a:pos x="1106" y="148"/>
                </a:cxn>
                <a:cxn ang="0">
                  <a:pos x="1107" y="177"/>
                </a:cxn>
                <a:cxn ang="0">
                  <a:pos x="1106" y="203"/>
                </a:cxn>
                <a:cxn ang="0">
                  <a:pos x="1076" y="219"/>
                </a:cxn>
                <a:cxn ang="0">
                  <a:pos x="1086" y="264"/>
                </a:cxn>
                <a:cxn ang="0">
                  <a:pos x="1003" y="356"/>
                </a:cxn>
                <a:cxn ang="0">
                  <a:pos x="963" y="382"/>
                </a:cxn>
                <a:cxn ang="0">
                  <a:pos x="963" y="372"/>
                </a:cxn>
                <a:cxn ang="0">
                  <a:pos x="963" y="344"/>
                </a:cxn>
                <a:cxn ang="0">
                  <a:pos x="923" y="356"/>
                </a:cxn>
                <a:cxn ang="0">
                  <a:pos x="895" y="388"/>
                </a:cxn>
                <a:cxn ang="0">
                  <a:pos x="918" y="410"/>
                </a:cxn>
                <a:cxn ang="0">
                  <a:pos x="944" y="410"/>
                </a:cxn>
                <a:cxn ang="0">
                  <a:pos x="986" y="419"/>
                </a:cxn>
                <a:cxn ang="0">
                  <a:pos x="963" y="436"/>
                </a:cxn>
                <a:cxn ang="0">
                  <a:pos x="940" y="461"/>
                </a:cxn>
                <a:cxn ang="0">
                  <a:pos x="972" y="514"/>
                </a:cxn>
                <a:cxn ang="0">
                  <a:pos x="979" y="542"/>
                </a:cxn>
                <a:cxn ang="0">
                  <a:pos x="949" y="539"/>
                </a:cxn>
                <a:cxn ang="0">
                  <a:pos x="991" y="572"/>
                </a:cxn>
                <a:cxn ang="0">
                  <a:pos x="991" y="579"/>
                </a:cxn>
                <a:cxn ang="0">
                  <a:pos x="1006" y="591"/>
                </a:cxn>
                <a:cxn ang="0">
                  <a:pos x="1003" y="607"/>
                </a:cxn>
                <a:cxn ang="0">
                  <a:pos x="994" y="628"/>
                </a:cxn>
                <a:cxn ang="0">
                  <a:pos x="991" y="648"/>
                </a:cxn>
                <a:cxn ang="0">
                  <a:pos x="979" y="662"/>
                </a:cxn>
                <a:cxn ang="0">
                  <a:pos x="979" y="683"/>
                </a:cxn>
                <a:cxn ang="0">
                  <a:pos x="968" y="690"/>
                </a:cxn>
                <a:cxn ang="0">
                  <a:pos x="956" y="706"/>
                </a:cxn>
                <a:cxn ang="0">
                  <a:pos x="944" y="716"/>
                </a:cxn>
                <a:cxn ang="0">
                  <a:pos x="923" y="737"/>
                </a:cxn>
                <a:cxn ang="0">
                  <a:pos x="899" y="744"/>
                </a:cxn>
                <a:cxn ang="0">
                  <a:pos x="881" y="749"/>
                </a:cxn>
                <a:cxn ang="0">
                  <a:pos x="848" y="763"/>
                </a:cxn>
                <a:cxn ang="0">
                  <a:pos x="836" y="768"/>
                </a:cxn>
                <a:cxn ang="0">
                  <a:pos x="829" y="784"/>
                </a:cxn>
                <a:cxn ang="0">
                  <a:pos x="812" y="761"/>
                </a:cxn>
                <a:cxn ang="0">
                  <a:pos x="682" y="779"/>
                </a:cxn>
                <a:cxn ang="0">
                  <a:pos x="949" y="725"/>
                </a:cxn>
                <a:cxn ang="0">
                  <a:pos x="980" y="678"/>
                </a:cxn>
                <a:cxn ang="0">
                  <a:pos x="994" y="551"/>
                </a:cxn>
                <a:cxn ang="0">
                  <a:pos x="1013" y="737"/>
                </a:cxn>
                <a:cxn ang="0">
                  <a:pos x="1019" y="681"/>
                </a:cxn>
                <a:cxn ang="0">
                  <a:pos x="996" y="730"/>
                </a:cxn>
                <a:cxn ang="0">
                  <a:pos x="836" y="772"/>
                </a:cxn>
                <a:cxn ang="0">
                  <a:pos x="824" y="793"/>
                </a:cxn>
                <a:cxn ang="0">
                  <a:pos x="831" y="821"/>
                </a:cxn>
                <a:cxn ang="0">
                  <a:pos x="840" y="791"/>
                </a:cxn>
              </a:cxnLst>
              <a:rect l="0" t="0" r="r" b="b"/>
              <a:pathLst>
                <a:path w="1111" h="826">
                  <a:moveTo>
                    <a:pt x="336" y="175"/>
                  </a:moveTo>
                  <a:lnTo>
                    <a:pt x="341" y="175"/>
                  </a:lnTo>
                  <a:lnTo>
                    <a:pt x="344" y="177"/>
                  </a:lnTo>
                  <a:lnTo>
                    <a:pt x="346" y="177"/>
                  </a:lnTo>
                  <a:lnTo>
                    <a:pt x="497" y="181"/>
                  </a:lnTo>
                  <a:lnTo>
                    <a:pt x="763" y="153"/>
                  </a:lnTo>
                  <a:lnTo>
                    <a:pt x="798" y="116"/>
                  </a:lnTo>
                  <a:lnTo>
                    <a:pt x="805" y="115"/>
                  </a:lnTo>
                  <a:lnTo>
                    <a:pt x="805" y="115"/>
                  </a:lnTo>
                  <a:lnTo>
                    <a:pt x="808" y="116"/>
                  </a:lnTo>
                  <a:lnTo>
                    <a:pt x="812" y="116"/>
                  </a:lnTo>
                  <a:lnTo>
                    <a:pt x="817" y="116"/>
                  </a:lnTo>
                  <a:lnTo>
                    <a:pt x="817" y="118"/>
                  </a:lnTo>
                  <a:lnTo>
                    <a:pt x="819" y="118"/>
                  </a:lnTo>
                  <a:lnTo>
                    <a:pt x="828" y="109"/>
                  </a:lnTo>
                  <a:lnTo>
                    <a:pt x="833" y="109"/>
                  </a:lnTo>
                  <a:lnTo>
                    <a:pt x="836" y="106"/>
                  </a:lnTo>
                  <a:lnTo>
                    <a:pt x="840" y="106"/>
                  </a:lnTo>
                  <a:lnTo>
                    <a:pt x="841" y="101"/>
                  </a:lnTo>
                  <a:lnTo>
                    <a:pt x="840" y="97"/>
                  </a:lnTo>
                  <a:lnTo>
                    <a:pt x="840" y="97"/>
                  </a:lnTo>
                  <a:lnTo>
                    <a:pt x="840" y="97"/>
                  </a:lnTo>
                  <a:lnTo>
                    <a:pt x="836" y="97"/>
                  </a:lnTo>
                  <a:lnTo>
                    <a:pt x="836" y="97"/>
                  </a:lnTo>
                  <a:lnTo>
                    <a:pt x="836" y="92"/>
                  </a:lnTo>
                  <a:lnTo>
                    <a:pt x="836" y="90"/>
                  </a:lnTo>
                  <a:lnTo>
                    <a:pt x="836" y="85"/>
                  </a:lnTo>
                  <a:lnTo>
                    <a:pt x="834" y="82"/>
                  </a:lnTo>
                  <a:lnTo>
                    <a:pt x="836" y="82"/>
                  </a:lnTo>
                  <a:lnTo>
                    <a:pt x="836" y="78"/>
                  </a:lnTo>
                  <a:lnTo>
                    <a:pt x="836" y="76"/>
                  </a:lnTo>
                  <a:lnTo>
                    <a:pt x="836" y="75"/>
                  </a:lnTo>
                  <a:lnTo>
                    <a:pt x="836" y="71"/>
                  </a:lnTo>
                  <a:lnTo>
                    <a:pt x="836" y="68"/>
                  </a:lnTo>
                  <a:lnTo>
                    <a:pt x="834" y="66"/>
                  </a:lnTo>
                  <a:lnTo>
                    <a:pt x="834" y="62"/>
                  </a:lnTo>
                  <a:lnTo>
                    <a:pt x="836" y="59"/>
                  </a:lnTo>
                  <a:lnTo>
                    <a:pt x="840" y="59"/>
                  </a:lnTo>
                  <a:lnTo>
                    <a:pt x="840" y="54"/>
                  </a:lnTo>
                  <a:lnTo>
                    <a:pt x="840" y="50"/>
                  </a:lnTo>
                  <a:lnTo>
                    <a:pt x="845" y="48"/>
                  </a:lnTo>
                  <a:lnTo>
                    <a:pt x="845" y="45"/>
                  </a:lnTo>
                  <a:lnTo>
                    <a:pt x="841" y="43"/>
                  </a:lnTo>
                  <a:lnTo>
                    <a:pt x="841" y="40"/>
                  </a:lnTo>
                  <a:lnTo>
                    <a:pt x="840" y="38"/>
                  </a:lnTo>
                  <a:lnTo>
                    <a:pt x="840" y="35"/>
                  </a:lnTo>
                  <a:lnTo>
                    <a:pt x="836" y="31"/>
                  </a:lnTo>
                  <a:lnTo>
                    <a:pt x="834" y="31"/>
                  </a:lnTo>
                  <a:lnTo>
                    <a:pt x="833" y="31"/>
                  </a:lnTo>
                  <a:lnTo>
                    <a:pt x="829" y="33"/>
                  </a:lnTo>
                  <a:lnTo>
                    <a:pt x="826" y="33"/>
                  </a:lnTo>
                  <a:lnTo>
                    <a:pt x="826" y="31"/>
                  </a:lnTo>
                  <a:lnTo>
                    <a:pt x="826" y="28"/>
                  </a:lnTo>
                  <a:lnTo>
                    <a:pt x="826" y="28"/>
                  </a:lnTo>
                  <a:lnTo>
                    <a:pt x="826" y="26"/>
                  </a:lnTo>
                  <a:lnTo>
                    <a:pt x="828" y="22"/>
                  </a:lnTo>
                  <a:lnTo>
                    <a:pt x="829" y="19"/>
                  </a:lnTo>
                  <a:lnTo>
                    <a:pt x="831" y="17"/>
                  </a:lnTo>
                  <a:lnTo>
                    <a:pt x="831" y="15"/>
                  </a:lnTo>
                  <a:lnTo>
                    <a:pt x="834" y="14"/>
                  </a:lnTo>
                  <a:lnTo>
                    <a:pt x="836" y="12"/>
                  </a:lnTo>
                  <a:lnTo>
                    <a:pt x="840" y="12"/>
                  </a:lnTo>
                  <a:lnTo>
                    <a:pt x="841" y="12"/>
                  </a:lnTo>
                  <a:lnTo>
                    <a:pt x="841" y="10"/>
                  </a:lnTo>
                  <a:lnTo>
                    <a:pt x="845" y="12"/>
                  </a:lnTo>
                  <a:lnTo>
                    <a:pt x="847" y="10"/>
                  </a:lnTo>
                  <a:lnTo>
                    <a:pt x="848" y="7"/>
                  </a:lnTo>
                  <a:lnTo>
                    <a:pt x="852" y="7"/>
                  </a:lnTo>
                  <a:lnTo>
                    <a:pt x="854" y="5"/>
                  </a:lnTo>
                  <a:lnTo>
                    <a:pt x="857" y="5"/>
                  </a:lnTo>
                  <a:lnTo>
                    <a:pt x="861" y="5"/>
                  </a:lnTo>
                  <a:lnTo>
                    <a:pt x="864" y="5"/>
                  </a:lnTo>
                  <a:lnTo>
                    <a:pt x="864" y="3"/>
                  </a:lnTo>
                  <a:lnTo>
                    <a:pt x="867" y="3"/>
                  </a:lnTo>
                  <a:lnTo>
                    <a:pt x="867" y="3"/>
                  </a:lnTo>
                  <a:lnTo>
                    <a:pt x="871" y="0"/>
                  </a:lnTo>
                  <a:lnTo>
                    <a:pt x="873" y="0"/>
                  </a:lnTo>
                  <a:lnTo>
                    <a:pt x="874" y="0"/>
                  </a:lnTo>
                  <a:lnTo>
                    <a:pt x="878" y="0"/>
                  </a:lnTo>
                  <a:lnTo>
                    <a:pt x="880" y="3"/>
                  </a:lnTo>
                  <a:lnTo>
                    <a:pt x="885" y="3"/>
                  </a:lnTo>
                  <a:lnTo>
                    <a:pt x="887" y="5"/>
                  </a:lnTo>
                  <a:lnTo>
                    <a:pt x="887" y="7"/>
                  </a:lnTo>
                  <a:lnTo>
                    <a:pt x="892" y="7"/>
                  </a:lnTo>
                  <a:lnTo>
                    <a:pt x="895" y="5"/>
                  </a:lnTo>
                  <a:lnTo>
                    <a:pt x="895" y="7"/>
                  </a:lnTo>
                  <a:lnTo>
                    <a:pt x="899" y="8"/>
                  </a:lnTo>
                  <a:lnTo>
                    <a:pt x="899" y="8"/>
                  </a:lnTo>
                  <a:lnTo>
                    <a:pt x="899" y="5"/>
                  </a:lnTo>
                  <a:lnTo>
                    <a:pt x="900" y="5"/>
                  </a:lnTo>
                  <a:lnTo>
                    <a:pt x="902" y="5"/>
                  </a:lnTo>
                  <a:lnTo>
                    <a:pt x="906" y="5"/>
                  </a:lnTo>
                  <a:lnTo>
                    <a:pt x="906" y="5"/>
                  </a:lnTo>
                  <a:lnTo>
                    <a:pt x="907" y="7"/>
                  </a:lnTo>
                  <a:lnTo>
                    <a:pt x="909" y="7"/>
                  </a:lnTo>
                  <a:lnTo>
                    <a:pt x="913" y="7"/>
                  </a:lnTo>
                  <a:lnTo>
                    <a:pt x="913" y="8"/>
                  </a:lnTo>
                  <a:lnTo>
                    <a:pt x="913" y="10"/>
                  </a:lnTo>
                  <a:lnTo>
                    <a:pt x="914" y="12"/>
                  </a:lnTo>
                  <a:lnTo>
                    <a:pt x="914" y="14"/>
                  </a:lnTo>
                  <a:lnTo>
                    <a:pt x="914" y="14"/>
                  </a:lnTo>
                  <a:lnTo>
                    <a:pt x="918" y="12"/>
                  </a:lnTo>
                  <a:lnTo>
                    <a:pt x="921" y="14"/>
                  </a:lnTo>
                  <a:lnTo>
                    <a:pt x="921" y="15"/>
                  </a:lnTo>
                  <a:lnTo>
                    <a:pt x="918" y="17"/>
                  </a:lnTo>
                  <a:lnTo>
                    <a:pt x="921" y="19"/>
                  </a:lnTo>
                  <a:lnTo>
                    <a:pt x="923" y="19"/>
                  </a:lnTo>
                  <a:lnTo>
                    <a:pt x="925" y="19"/>
                  </a:lnTo>
                  <a:lnTo>
                    <a:pt x="925" y="19"/>
                  </a:lnTo>
                  <a:lnTo>
                    <a:pt x="925" y="22"/>
                  </a:lnTo>
                  <a:lnTo>
                    <a:pt x="928" y="22"/>
                  </a:lnTo>
                  <a:lnTo>
                    <a:pt x="928" y="22"/>
                  </a:lnTo>
                  <a:lnTo>
                    <a:pt x="928" y="28"/>
                  </a:lnTo>
                  <a:lnTo>
                    <a:pt x="930" y="28"/>
                  </a:lnTo>
                  <a:lnTo>
                    <a:pt x="930" y="31"/>
                  </a:lnTo>
                  <a:lnTo>
                    <a:pt x="930" y="31"/>
                  </a:lnTo>
                  <a:lnTo>
                    <a:pt x="935" y="31"/>
                  </a:lnTo>
                  <a:lnTo>
                    <a:pt x="935" y="33"/>
                  </a:lnTo>
                  <a:lnTo>
                    <a:pt x="935" y="36"/>
                  </a:lnTo>
                  <a:lnTo>
                    <a:pt x="935" y="38"/>
                  </a:lnTo>
                  <a:lnTo>
                    <a:pt x="937" y="40"/>
                  </a:lnTo>
                  <a:lnTo>
                    <a:pt x="940" y="43"/>
                  </a:lnTo>
                  <a:lnTo>
                    <a:pt x="940" y="45"/>
                  </a:lnTo>
                  <a:lnTo>
                    <a:pt x="944" y="48"/>
                  </a:lnTo>
                  <a:lnTo>
                    <a:pt x="944" y="50"/>
                  </a:lnTo>
                  <a:lnTo>
                    <a:pt x="946" y="50"/>
                  </a:lnTo>
                  <a:lnTo>
                    <a:pt x="949" y="54"/>
                  </a:lnTo>
                  <a:lnTo>
                    <a:pt x="949" y="54"/>
                  </a:lnTo>
                  <a:lnTo>
                    <a:pt x="946" y="55"/>
                  </a:lnTo>
                  <a:lnTo>
                    <a:pt x="949" y="59"/>
                  </a:lnTo>
                  <a:lnTo>
                    <a:pt x="949" y="55"/>
                  </a:lnTo>
                  <a:lnTo>
                    <a:pt x="951" y="59"/>
                  </a:lnTo>
                  <a:lnTo>
                    <a:pt x="951" y="61"/>
                  </a:lnTo>
                  <a:lnTo>
                    <a:pt x="954" y="66"/>
                  </a:lnTo>
                  <a:lnTo>
                    <a:pt x="961" y="69"/>
                  </a:lnTo>
                  <a:lnTo>
                    <a:pt x="963" y="73"/>
                  </a:lnTo>
                  <a:lnTo>
                    <a:pt x="963" y="76"/>
                  </a:lnTo>
                  <a:lnTo>
                    <a:pt x="965" y="78"/>
                  </a:lnTo>
                  <a:lnTo>
                    <a:pt x="965" y="82"/>
                  </a:lnTo>
                  <a:lnTo>
                    <a:pt x="967" y="82"/>
                  </a:lnTo>
                  <a:lnTo>
                    <a:pt x="968" y="82"/>
                  </a:lnTo>
                  <a:lnTo>
                    <a:pt x="968" y="85"/>
                  </a:lnTo>
                  <a:lnTo>
                    <a:pt x="968" y="87"/>
                  </a:lnTo>
                  <a:lnTo>
                    <a:pt x="972" y="90"/>
                  </a:lnTo>
                  <a:lnTo>
                    <a:pt x="973" y="95"/>
                  </a:lnTo>
                  <a:lnTo>
                    <a:pt x="977" y="95"/>
                  </a:lnTo>
                  <a:lnTo>
                    <a:pt x="979" y="99"/>
                  </a:lnTo>
                  <a:lnTo>
                    <a:pt x="980" y="99"/>
                  </a:lnTo>
                  <a:lnTo>
                    <a:pt x="982" y="97"/>
                  </a:lnTo>
                  <a:lnTo>
                    <a:pt x="984" y="99"/>
                  </a:lnTo>
                  <a:lnTo>
                    <a:pt x="986" y="99"/>
                  </a:lnTo>
                  <a:lnTo>
                    <a:pt x="989" y="99"/>
                  </a:lnTo>
                  <a:lnTo>
                    <a:pt x="991" y="97"/>
                  </a:lnTo>
                  <a:lnTo>
                    <a:pt x="994" y="97"/>
                  </a:lnTo>
                  <a:lnTo>
                    <a:pt x="994" y="99"/>
                  </a:lnTo>
                  <a:lnTo>
                    <a:pt x="991" y="99"/>
                  </a:lnTo>
                  <a:lnTo>
                    <a:pt x="994" y="101"/>
                  </a:lnTo>
                  <a:lnTo>
                    <a:pt x="996" y="101"/>
                  </a:lnTo>
                  <a:lnTo>
                    <a:pt x="1000" y="101"/>
                  </a:lnTo>
                  <a:lnTo>
                    <a:pt x="1000" y="104"/>
                  </a:lnTo>
                  <a:lnTo>
                    <a:pt x="1001" y="104"/>
                  </a:lnTo>
                  <a:lnTo>
                    <a:pt x="1001" y="104"/>
                  </a:lnTo>
                  <a:lnTo>
                    <a:pt x="1003" y="101"/>
                  </a:lnTo>
                  <a:lnTo>
                    <a:pt x="1005" y="104"/>
                  </a:lnTo>
                  <a:lnTo>
                    <a:pt x="1006" y="101"/>
                  </a:lnTo>
                  <a:lnTo>
                    <a:pt x="1008" y="101"/>
                  </a:lnTo>
                  <a:lnTo>
                    <a:pt x="1010" y="101"/>
                  </a:lnTo>
                  <a:lnTo>
                    <a:pt x="1010" y="104"/>
                  </a:lnTo>
                  <a:lnTo>
                    <a:pt x="1012" y="106"/>
                  </a:lnTo>
                  <a:lnTo>
                    <a:pt x="1013" y="106"/>
                  </a:lnTo>
                  <a:lnTo>
                    <a:pt x="1013" y="106"/>
                  </a:lnTo>
                  <a:lnTo>
                    <a:pt x="1017" y="109"/>
                  </a:lnTo>
                  <a:lnTo>
                    <a:pt x="1017" y="109"/>
                  </a:lnTo>
                  <a:lnTo>
                    <a:pt x="1019" y="109"/>
                  </a:lnTo>
                  <a:lnTo>
                    <a:pt x="1019" y="113"/>
                  </a:lnTo>
                  <a:lnTo>
                    <a:pt x="1022" y="113"/>
                  </a:lnTo>
                  <a:lnTo>
                    <a:pt x="1022" y="115"/>
                  </a:lnTo>
                  <a:lnTo>
                    <a:pt x="1024" y="115"/>
                  </a:lnTo>
                  <a:lnTo>
                    <a:pt x="1026" y="116"/>
                  </a:lnTo>
                  <a:lnTo>
                    <a:pt x="1029" y="116"/>
                  </a:lnTo>
                  <a:lnTo>
                    <a:pt x="1031" y="116"/>
                  </a:lnTo>
                  <a:lnTo>
                    <a:pt x="1033" y="116"/>
                  </a:lnTo>
                  <a:lnTo>
                    <a:pt x="1034" y="115"/>
                  </a:lnTo>
                  <a:lnTo>
                    <a:pt x="1036" y="115"/>
                  </a:lnTo>
                  <a:lnTo>
                    <a:pt x="1038" y="115"/>
                  </a:lnTo>
                  <a:lnTo>
                    <a:pt x="1038" y="116"/>
                  </a:lnTo>
                  <a:lnTo>
                    <a:pt x="1036" y="120"/>
                  </a:lnTo>
                  <a:lnTo>
                    <a:pt x="1036" y="122"/>
                  </a:lnTo>
                  <a:lnTo>
                    <a:pt x="1036" y="123"/>
                  </a:lnTo>
                  <a:lnTo>
                    <a:pt x="1039" y="123"/>
                  </a:lnTo>
                  <a:lnTo>
                    <a:pt x="1039" y="127"/>
                  </a:lnTo>
                  <a:lnTo>
                    <a:pt x="1041" y="130"/>
                  </a:lnTo>
                  <a:lnTo>
                    <a:pt x="1039" y="132"/>
                  </a:lnTo>
                  <a:lnTo>
                    <a:pt x="1039" y="132"/>
                  </a:lnTo>
                  <a:lnTo>
                    <a:pt x="1039" y="137"/>
                  </a:lnTo>
                  <a:lnTo>
                    <a:pt x="1041" y="141"/>
                  </a:lnTo>
                  <a:lnTo>
                    <a:pt x="1045" y="141"/>
                  </a:lnTo>
                  <a:lnTo>
                    <a:pt x="1045" y="144"/>
                  </a:lnTo>
                  <a:lnTo>
                    <a:pt x="1048" y="146"/>
                  </a:lnTo>
                  <a:lnTo>
                    <a:pt x="1050" y="146"/>
                  </a:lnTo>
                  <a:lnTo>
                    <a:pt x="1053" y="144"/>
                  </a:lnTo>
                  <a:lnTo>
                    <a:pt x="1053" y="144"/>
                  </a:lnTo>
                  <a:lnTo>
                    <a:pt x="1055" y="146"/>
                  </a:lnTo>
                  <a:lnTo>
                    <a:pt x="1057" y="148"/>
                  </a:lnTo>
                  <a:lnTo>
                    <a:pt x="1059" y="148"/>
                  </a:lnTo>
                  <a:lnTo>
                    <a:pt x="1060" y="146"/>
                  </a:lnTo>
                  <a:lnTo>
                    <a:pt x="1064" y="146"/>
                  </a:lnTo>
                  <a:lnTo>
                    <a:pt x="1064" y="146"/>
                  </a:lnTo>
                  <a:lnTo>
                    <a:pt x="1071" y="144"/>
                  </a:lnTo>
                  <a:lnTo>
                    <a:pt x="1073" y="142"/>
                  </a:lnTo>
                  <a:lnTo>
                    <a:pt x="1073" y="142"/>
                  </a:lnTo>
                  <a:lnTo>
                    <a:pt x="1073" y="141"/>
                  </a:lnTo>
                  <a:lnTo>
                    <a:pt x="1073" y="137"/>
                  </a:lnTo>
                  <a:lnTo>
                    <a:pt x="1076" y="137"/>
                  </a:lnTo>
                  <a:lnTo>
                    <a:pt x="1076" y="132"/>
                  </a:lnTo>
                  <a:lnTo>
                    <a:pt x="1076" y="132"/>
                  </a:lnTo>
                  <a:lnTo>
                    <a:pt x="1079" y="132"/>
                  </a:lnTo>
                  <a:lnTo>
                    <a:pt x="1083" y="132"/>
                  </a:lnTo>
                  <a:lnTo>
                    <a:pt x="1083" y="128"/>
                  </a:lnTo>
                  <a:lnTo>
                    <a:pt x="1085" y="127"/>
                  </a:lnTo>
                  <a:lnTo>
                    <a:pt x="1086" y="127"/>
                  </a:lnTo>
                  <a:lnTo>
                    <a:pt x="1088" y="123"/>
                  </a:lnTo>
                  <a:lnTo>
                    <a:pt x="1090" y="122"/>
                  </a:lnTo>
                  <a:lnTo>
                    <a:pt x="1093" y="122"/>
                  </a:lnTo>
                  <a:lnTo>
                    <a:pt x="1095" y="120"/>
                  </a:lnTo>
                  <a:lnTo>
                    <a:pt x="1099" y="122"/>
                  </a:lnTo>
                  <a:lnTo>
                    <a:pt x="1099" y="123"/>
                  </a:lnTo>
                  <a:lnTo>
                    <a:pt x="1100" y="123"/>
                  </a:lnTo>
                  <a:lnTo>
                    <a:pt x="1104" y="125"/>
                  </a:lnTo>
                  <a:lnTo>
                    <a:pt x="1104" y="128"/>
                  </a:lnTo>
                  <a:lnTo>
                    <a:pt x="1104" y="130"/>
                  </a:lnTo>
                  <a:lnTo>
                    <a:pt x="1104" y="132"/>
                  </a:lnTo>
                  <a:lnTo>
                    <a:pt x="1106" y="135"/>
                  </a:lnTo>
                  <a:lnTo>
                    <a:pt x="1106" y="137"/>
                  </a:lnTo>
                  <a:lnTo>
                    <a:pt x="1107" y="137"/>
                  </a:lnTo>
                  <a:lnTo>
                    <a:pt x="1111" y="141"/>
                  </a:lnTo>
                  <a:lnTo>
                    <a:pt x="1109" y="142"/>
                  </a:lnTo>
                  <a:lnTo>
                    <a:pt x="1109" y="146"/>
                  </a:lnTo>
                  <a:lnTo>
                    <a:pt x="1109" y="148"/>
                  </a:lnTo>
                  <a:lnTo>
                    <a:pt x="1106" y="148"/>
                  </a:lnTo>
                  <a:lnTo>
                    <a:pt x="1104" y="151"/>
                  </a:lnTo>
                  <a:lnTo>
                    <a:pt x="1104" y="153"/>
                  </a:lnTo>
                  <a:lnTo>
                    <a:pt x="1106" y="155"/>
                  </a:lnTo>
                  <a:lnTo>
                    <a:pt x="1106" y="156"/>
                  </a:lnTo>
                  <a:lnTo>
                    <a:pt x="1106" y="158"/>
                  </a:lnTo>
                  <a:lnTo>
                    <a:pt x="1104" y="160"/>
                  </a:lnTo>
                  <a:lnTo>
                    <a:pt x="1106" y="163"/>
                  </a:lnTo>
                  <a:lnTo>
                    <a:pt x="1107" y="163"/>
                  </a:lnTo>
                  <a:lnTo>
                    <a:pt x="1107" y="165"/>
                  </a:lnTo>
                  <a:lnTo>
                    <a:pt x="1107" y="165"/>
                  </a:lnTo>
                  <a:lnTo>
                    <a:pt x="1107" y="168"/>
                  </a:lnTo>
                  <a:lnTo>
                    <a:pt x="1107" y="168"/>
                  </a:lnTo>
                  <a:lnTo>
                    <a:pt x="1106" y="168"/>
                  </a:lnTo>
                  <a:lnTo>
                    <a:pt x="1106" y="172"/>
                  </a:lnTo>
                  <a:lnTo>
                    <a:pt x="1107" y="177"/>
                  </a:lnTo>
                  <a:lnTo>
                    <a:pt x="1109" y="179"/>
                  </a:lnTo>
                  <a:lnTo>
                    <a:pt x="1109" y="179"/>
                  </a:lnTo>
                  <a:lnTo>
                    <a:pt x="1107" y="181"/>
                  </a:lnTo>
                  <a:lnTo>
                    <a:pt x="1106" y="184"/>
                  </a:lnTo>
                  <a:lnTo>
                    <a:pt x="1107" y="186"/>
                  </a:lnTo>
                  <a:lnTo>
                    <a:pt x="1107" y="188"/>
                  </a:lnTo>
                  <a:lnTo>
                    <a:pt x="1109" y="188"/>
                  </a:lnTo>
                  <a:lnTo>
                    <a:pt x="1106" y="191"/>
                  </a:lnTo>
                  <a:lnTo>
                    <a:pt x="1106" y="191"/>
                  </a:lnTo>
                  <a:lnTo>
                    <a:pt x="1106" y="191"/>
                  </a:lnTo>
                  <a:lnTo>
                    <a:pt x="1107" y="196"/>
                  </a:lnTo>
                  <a:lnTo>
                    <a:pt x="1106" y="196"/>
                  </a:lnTo>
                  <a:lnTo>
                    <a:pt x="1104" y="200"/>
                  </a:lnTo>
                  <a:lnTo>
                    <a:pt x="1104" y="202"/>
                  </a:lnTo>
                  <a:lnTo>
                    <a:pt x="1106" y="203"/>
                  </a:lnTo>
                  <a:lnTo>
                    <a:pt x="1104" y="205"/>
                  </a:lnTo>
                  <a:lnTo>
                    <a:pt x="1106" y="207"/>
                  </a:lnTo>
                  <a:lnTo>
                    <a:pt x="1106" y="208"/>
                  </a:lnTo>
                  <a:lnTo>
                    <a:pt x="1106" y="212"/>
                  </a:lnTo>
                  <a:lnTo>
                    <a:pt x="1106" y="214"/>
                  </a:lnTo>
                  <a:lnTo>
                    <a:pt x="1104" y="214"/>
                  </a:lnTo>
                  <a:lnTo>
                    <a:pt x="1100" y="212"/>
                  </a:lnTo>
                  <a:lnTo>
                    <a:pt x="1092" y="210"/>
                  </a:lnTo>
                  <a:lnTo>
                    <a:pt x="1088" y="210"/>
                  </a:lnTo>
                  <a:lnTo>
                    <a:pt x="1086" y="208"/>
                  </a:lnTo>
                  <a:lnTo>
                    <a:pt x="1085" y="208"/>
                  </a:lnTo>
                  <a:lnTo>
                    <a:pt x="1081" y="214"/>
                  </a:lnTo>
                  <a:lnTo>
                    <a:pt x="1081" y="217"/>
                  </a:lnTo>
                  <a:lnTo>
                    <a:pt x="1079" y="219"/>
                  </a:lnTo>
                  <a:lnTo>
                    <a:pt x="1076" y="219"/>
                  </a:lnTo>
                  <a:lnTo>
                    <a:pt x="1076" y="219"/>
                  </a:lnTo>
                  <a:lnTo>
                    <a:pt x="1076" y="222"/>
                  </a:lnTo>
                  <a:lnTo>
                    <a:pt x="1076" y="224"/>
                  </a:lnTo>
                  <a:lnTo>
                    <a:pt x="1079" y="231"/>
                  </a:lnTo>
                  <a:lnTo>
                    <a:pt x="1079" y="233"/>
                  </a:lnTo>
                  <a:lnTo>
                    <a:pt x="1081" y="235"/>
                  </a:lnTo>
                  <a:lnTo>
                    <a:pt x="1083" y="238"/>
                  </a:lnTo>
                  <a:lnTo>
                    <a:pt x="1083" y="242"/>
                  </a:lnTo>
                  <a:lnTo>
                    <a:pt x="1085" y="247"/>
                  </a:lnTo>
                  <a:lnTo>
                    <a:pt x="1085" y="247"/>
                  </a:lnTo>
                  <a:lnTo>
                    <a:pt x="1085" y="254"/>
                  </a:lnTo>
                  <a:lnTo>
                    <a:pt x="1086" y="255"/>
                  </a:lnTo>
                  <a:lnTo>
                    <a:pt x="1086" y="259"/>
                  </a:lnTo>
                  <a:lnTo>
                    <a:pt x="1086" y="262"/>
                  </a:lnTo>
                  <a:lnTo>
                    <a:pt x="1086" y="264"/>
                  </a:lnTo>
                  <a:lnTo>
                    <a:pt x="1086" y="266"/>
                  </a:lnTo>
                  <a:lnTo>
                    <a:pt x="1086" y="268"/>
                  </a:lnTo>
                  <a:lnTo>
                    <a:pt x="1086" y="269"/>
                  </a:lnTo>
                  <a:lnTo>
                    <a:pt x="1085" y="269"/>
                  </a:lnTo>
                  <a:lnTo>
                    <a:pt x="1081" y="269"/>
                  </a:lnTo>
                  <a:lnTo>
                    <a:pt x="1078" y="269"/>
                  </a:lnTo>
                  <a:lnTo>
                    <a:pt x="1078" y="273"/>
                  </a:lnTo>
                  <a:lnTo>
                    <a:pt x="1079" y="275"/>
                  </a:lnTo>
                  <a:lnTo>
                    <a:pt x="1079" y="278"/>
                  </a:lnTo>
                  <a:lnTo>
                    <a:pt x="1079" y="278"/>
                  </a:lnTo>
                  <a:lnTo>
                    <a:pt x="1079" y="281"/>
                  </a:lnTo>
                  <a:lnTo>
                    <a:pt x="1064" y="292"/>
                  </a:lnTo>
                  <a:lnTo>
                    <a:pt x="1060" y="318"/>
                  </a:lnTo>
                  <a:lnTo>
                    <a:pt x="1012" y="355"/>
                  </a:lnTo>
                  <a:lnTo>
                    <a:pt x="1003" y="356"/>
                  </a:lnTo>
                  <a:lnTo>
                    <a:pt x="1001" y="356"/>
                  </a:lnTo>
                  <a:lnTo>
                    <a:pt x="1001" y="355"/>
                  </a:lnTo>
                  <a:lnTo>
                    <a:pt x="996" y="360"/>
                  </a:lnTo>
                  <a:lnTo>
                    <a:pt x="991" y="360"/>
                  </a:lnTo>
                  <a:lnTo>
                    <a:pt x="991" y="360"/>
                  </a:lnTo>
                  <a:lnTo>
                    <a:pt x="989" y="360"/>
                  </a:lnTo>
                  <a:lnTo>
                    <a:pt x="984" y="361"/>
                  </a:lnTo>
                  <a:lnTo>
                    <a:pt x="980" y="361"/>
                  </a:lnTo>
                  <a:lnTo>
                    <a:pt x="979" y="365"/>
                  </a:lnTo>
                  <a:lnTo>
                    <a:pt x="977" y="365"/>
                  </a:lnTo>
                  <a:lnTo>
                    <a:pt x="972" y="370"/>
                  </a:lnTo>
                  <a:lnTo>
                    <a:pt x="967" y="374"/>
                  </a:lnTo>
                  <a:lnTo>
                    <a:pt x="968" y="379"/>
                  </a:lnTo>
                  <a:lnTo>
                    <a:pt x="968" y="379"/>
                  </a:lnTo>
                  <a:lnTo>
                    <a:pt x="963" y="382"/>
                  </a:lnTo>
                  <a:lnTo>
                    <a:pt x="960" y="384"/>
                  </a:lnTo>
                  <a:lnTo>
                    <a:pt x="958" y="384"/>
                  </a:lnTo>
                  <a:lnTo>
                    <a:pt x="954" y="388"/>
                  </a:lnTo>
                  <a:lnTo>
                    <a:pt x="953" y="388"/>
                  </a:lnTo>
                  <a:lnTo>
                    <a:pt x="953" y="384"/>
                  </a:lnTo>
                  <a:lnTo>
                    <a:pt x="949" y="384"/>
                  </a:lnTo>
                  <a:lnTo>
                    <a:pt x="951" y="382"/>
                  </a:lnTo>
                  <a:lnTo>
                    <a:pt x="954" y="382"/>
                  </a:lnTo>
                  <a:lnTo>
                    <a:pt x="956" y="379"/>
                  </a:lnTo>
                  <a:lnTo>
                    <a:pt x="960" y="379"/>
                  </a:lnTo>
                  <a:lnTo>
                    <a:pt x="961" y="379"/>
                  </a:lnTo>
                  <a:lnTo>
                    <a:pt x="961" y="377"/>
                  </a:lnTo>
                  <a:lnTo>
                    <a:pt x="960" y="375"/>
                  </a:lnTo>
                  <a:lnTo>
                    <a:pt x="960" y="374"/>
                  </a:lnTo>
                  <a:lnTo>
                    <a:pt x="963" y="372"/>
                  </a:lnTo>
                  <a:lnTo>
                    <a:pt x="965" y="368"/>
                  </a:lnTo>
                  <a:lnTo>
                    <a:pt x="960" y="372"/>
                  </a:lnTo>
                  <a:lnTo>
                    <a:pt x="956" y="374"/>
                  </a:lnTo>
                  <a:lnTo>
                    <a:pt x="954" y="372"/>
                  </a:lnTo>
                  <a:lnTo>
                    <a:pt x="954" y="368"/>
                  </a:lnTo>
                  <a:lnTo>
                    <a:pt x="956" y="368"/>
                  </a:lnTo>
                  <a:lnTo>
                    <a:pt x="956" y="368"/>
                  </a:lnTo>
                  <a:lnTo>
                    <a:pt x="953" y="361"/>
                  </a:lnTo>
                  <a:lnTo>
                    <a:pt x="953" y="360"/>
                  </a:lnTo>
                  <a:lnTo>
                    <a:pt x="953" y="356"/>
                  </a:lnTo>
                  <a:lnTo>
                    <a:pt x="956" y="356"/>
                  </a:lnTo>
                  <a:lnTo>
                    <a:pt x="956" y="353"/>
                  </a:lnTo>
                  <a:lnTo>
                    <a:pt x="960" y="348"/>
                  </a:lnTo>
                  <a:lnTo>
                    <a:pt x="961" y="346"/>
                  </a:lnTo>
                  <a:lnTo>
                    <a:pt x="963" y="344"/>
                  </a:lnTo>
                  <a:lnTo>
                    <a:pt x="963" y="341"/>
                  </a:lnTo>
                  <a:lnTo>
                    <a:pt x="954" y="337"/>
                  </a:lnTo>
                  <a:lnTo>
                    <a:pt x="949" y="332"/>
                  </a:lnTo>
                  <a:lnTo>
                    <a:pt x="949" y="334"/>
                  </a:lnTo>
                  <a:lnTo>
                    <a:pt x="946" y="334"/>
                  </a:lnTo>
                  <a:lnTo>
                    <a:pt x="944" y="332"/>
                  </a:lnTo>
                  <a:lnTo>
                    <a:pt x="940" y="332"/>
                  </a:lnTo>
                  <a:lnTo>
                    <a:pt x="937" y="337"/>
                  </a:lnTo>
                  <a:lnTo>
                    <a:pt x="937" y="337"/>
                  </a:lnTo>
                  <a:lnTo>
                    <a:pt x="937" y="341"/>
                  </a:lnTo>
                  <a:lnTo>
                    <a:pt x="932" y="346"/>
                  </a:lnTo>
                  <a:lnTo>
                    <a:pt x="932" y="353"/>
                  </a:lnTo>
                  <a:lnTo>
                    <a:pt x="930" y="353"/>
                  </a:lnTo>
                  <a:lnTo>
                    <a:pt x="927" y="356"/>
                  </a:lnTo>
                  <a:lnTo>
                    <a:pt x="923" y="356"/>
                  </a:lnTo>
                  <a:lnTo>
                    <a:pt x="918" y="360"/>
                  </a:lnTo>
                  <a:lnTo>
                    <a:pt x="914" y="368"/>
                  </a:lnTo>
                  <a:lnTo>
                    <a:pt x="914" y="372"/>
                  </a:lnTo>
                  <a:lnTo>
                    <a:pt x="914" y="372"/>
                  </a:lnTo>
                  <a:lnTo>
                    <a:pt x="918" y="377"/>
                  </a:lnTo>
                  <a:lnTo>
                    <a:pt x="914" y="377"/>
                  </a:lnTo>
                  <a:lnTo>
                    <a:pt x="914" y="379"/>
                  </a:lnTo>
                  <a:lnTo>
                    <a:pt x="914" y="382"/>
                  </a:lnTo>
                  <a:lnTo>
                    <a:pt x="909" y="382"/>
                  </a:lnTo>
                  <a:lnTo>
                    <a:pt x="904" y="382"/>
                  </a:lnTo>
                  <a:lnTo>
                    <a:pt x="899" y="379"/>
                  </a:lnTo>
                  <a:lnTo>
                    <a:pt x="895" y="382"/>
                  </a:lnTo>
                  <a:lnTo>
                    <a:pt x="895" y="384"/>
                  </a:lnTo>
                  <a:lnTo>
                    <a:pt x="895" y="388"/>
                  </a:lnTo>
                  <a:lnTo>
                    <a:pt x="895" y="388"/>
                  </a:lnTo>
                  <a:lnTo>
                    <a:pt x="895" y="391"/>
                  </a:lnTo>
                  <a:lnTo>
                    <a:pt x="892" y="391"/>
                  </a:lnTo>
                  <a:lnTo>
                    <a:pt x="895" y="395"/>
                  </a:lnTo>
                  <a:lnTo>
                    <a:pt x="895" y="400"/>
                  </a:lnTo>
                  <a:lnTo>
                    <a:pt x="899" y="401"/>
                  </a:lnTo>
                  <a:lnTo>
                    <a:pt x="904" y="405"/>
                  </a:lnTo>
                  <a:lnTo>
                    <a:pt x="904" y="407"/>
                  </a:lnTo>
                  <a:lnTo>
                    <a:pt x="907" y="410"/>
                  </a:lnTo>
                  <a:lnTo>
                    <a:pt x="907" y="410"/>
                  </a:lnTo>
                  <a:lnTo>
                    <a:pt x="909" y="410"/>
                  </a:lnTo>
                  <a:lnTo>
                    <a:pt x="909" y="410"/>
                  </a:lnTo>
                  <a:lnTo>
                    <a:pt x="913" y="410"/>
                  </a:lnTo>
                  <a:lnTo>
                    <a:pt x="913" y="410"/>
                  </a:lnTo>
                  <a:lnTo>
                    <a:pt x="914" y="410"/>
                  </a:lnTo>
                  <a:lnTo>
                    <a:pt x="918" y="410"/>
                  </a:lnTo>
                  <a:lnTo>
                    <a:pt x="918" y="414"/>
                  </a:lnTo>
                  <a:lnTo>
                    <a:pt x="918" y="419"/>
                  </a:lnTo>
                  <a:lnTo>
                    <a:pt x="923" y="428"/>
                  </a:lnTo>
                  <a:lnTo>
                    <a:pt x="928" y="428"/>
                  </a:lnTo>
                  <a:lnTo>
                    <a:pt x="932" y="426"/>
                  </a:lnTo>
                  <a:lnTo>
                    <a:pt x="935" y="428"/>
                  </a:lnTo>
                  <a:lnTo>
                    <a:pt x="937" y="426"/>
                  </a:lnTo>
                  <a:lnTo>
                    <a:pt x="937" y="422"/>
                  </a:lnTo>
                  <a:lnTo>
                    <a:pt x="937" y="419"/>
                  </a:lnTo>
                  <a:lnTo>
                    <a:pt x="935" y="419"/>
                  </a:lnTo>
                  <a:lnTo>
                    <a:pt x="940" y="419"/>
                  </a:lnTo>
                  <a:lnTo>
                    <a:pt x="944" y="415"/>
                  </a:lnTo>
                  <a:lnTo>
                    <a:pt x="944" y="414"/>
                  </a:lnTo>
                  <a:lnTo>
                    <a:pt x="940" y="410"/>
                  </a:lnTo>
                  <a:lnTo>
                    <a:pt x="944" y="410"/>
                  </a:lnTo>
                  <a:lnTo>
                    <a:pt x="953" y="407"/>
                  </a:lnTo>
                  <a:lnTo>
                    <a:pt x="954" y="410"/>
                  </a:lnTo>
                  <a:lnTo>
                    <a:pt x="956" y="410"/>
                  </a:lnTo>
                  <a:lnTo>
                    <a:pt x="958" y="414"/>
                  </a:lnTo>
                  <a:lnTo>
                    <a:pt x="960" y="415"/>
                  </a:lnTo>
                  <a:lnTo>
                    <a:pt x="963" y="415"/>
                  </a:lnTo>
                  <a:lnTo>
                    <a:pt x="972" y="415"/>
                  </a:lnTo>
                  <a:lnTo>
                    <a:pt x="973" y="415"/>
                  </a:lnTo>
                  <a:lnTo>
                    <a:pt x="979" y="415"/>
                  </a:lnTo>
                  <a:lnTo>
                    <a:pt x="977" y="415"/>
                  </a:lnTo>
                  <a:lnTo>
                    <a:pt x="982" y="415"/>
                  </a:lnTo>
                  <a:lnTo>
                    <a:pt x="987" y="415"/>
                  </a:lnTo>
                  <a:lnTo>
                    <a:pt x="989" y="415"/>
                  </a:lnTo>
                  <a:lnTo>
                    <a:pt x="986" y="415"/>
                  </a:lnTo>
                  <a:lnTo>
                    <a:pt x="986" y="419"/>
                  </a:lnTo>
                  <a:lnTo>
                    <a:pt x="987" y="422"/>
                  </a:lnTo>
                  <a:lnTo>
                    <a:pt x="986" y="422"/>
                  </a:lnTo>
                  <a:lnTo>
                    <a:pt x="984" y="424"/>
                  </a:lnTo>
                  <a:lnTo>
                    <a:pt x="984" y="428"/>
                  </a:lnTo>
                  <a:lnTo>
                    <a:pt x="987" y="428"/>
                  </a:lnTo>
                  <a:lnTo>
                    <a:pt x="987" y="429"/>
                  </a:lnTo>
                  <a:lnTo>
                    <a:pt x="982" y="433"/>
                  </a:lnTo>
                  <a:lnTo>
                    <a:pt x="979" y="431"/>
                  </a:lnTo>
                  <a:lnTo>
                    <a:pt x="977" y="428"/>
                  </a:lnTo>
                  <a:lnTo>
                    <a:pt x="977" y="431"/>
                  </a:lnTo>
                  <a:lnTo>
                    <a:pt x="975" y="428"/>
                  </a:lnTo>
                  <a:lnTo>
                    <a:pt x="972" y="433"/>
                  </a:lnTo>
                  <a:lnTo>
                    <a:pt x="968" y="433"/>
                  </a:lnTo>
                  <a:lnTo>
                    <a:pt x="967" y="436"/>
                  </a:lnTo>
                  <a:lnTo>
                    <a:pt x="963" y="436"/>
                  </a:lnTo>
                  <a:lnTo>
                    <a:pt x="963" y="438"/>
                  </a:lnTo>
                  <a:lnTo>
                    <a:pt x="960" y="436"/>
                  </a:lnTo>
                  <a:lnTo>
                    <a:pt x="956" y="436"/>
                  </a:lnTo>
                  <a:lnTo>
                    <a:pt x="960" y="438"/>
                  </a:lnTo>
                  <a:lnTo>
                    <a:pt x="960" y="441"/>
                  </a:lnTo>
                  <a:lnTo>
                    <a:pt x="956" y="443"/>
                  </a:lnTo>
                  <a:lnTo>
                    <a:pt x="956" y="447"/>
                  </a:lnTo>
                  <a:lnTo>
                    <a:pt x="951" y="447"/>
                  </a:lnTo>
                  <a:lnTo>
                    <a:pt x="949" y="448"/>
                  </a:lnTo>
                  <a:lnTo>
                    <a:pt x="949" y="450"/>
                  </a:lnTo>
                  <a:lnTo>
                    <a:pt x="953" y="452"/>
                  </a:lnTo>
                  <a:lnTo>
                    <a:pt x="949" y="455"/>
                  </a:lnTo>
                  <a:lnTo>
                    <a:pt x="949" y="455"/>
                  </a:lnTo>
                  <a:lnTo>
                    <a:pt x="944" y="461"/>
                  </a:lnTo>
                  <a:lnTo>
                    <a:pt x="940" y="461"/>
                  </a:lnTo>
                  <a:lnTo>
                    <a:pt x="940" y="461"/>
                  </a:lnTo>
                  <a:lnTo>
                    <a:pt x="940" y="466"/>
                  </a:lnTo>
                  <a:lnTo>
                    <a:pt x="940" y="469"/>
                  </a:lnTo>
                  <a:lnTo>
                    <a:pt x="940" y="475"/>
                  </a:lnTo>
                  <a:lnTo>
                    <a:pt x="940" y="483"/>
                  </a:lnTo>
                  <a:lnTo>
                    <a:pt x="940" y="483"/>
                  </a:lnTo>
                  <a:lnTo>
                    <a:pt x="949" y="487"/>
                  </a:lnTo>
                  <a:lnTo>
                    <a:pt x="949" y="490"/>
                  </a:lnTo>
                  <a:lnTo>
                    <a:pt x="953" y="488"/>
                  </a:lnTo>
                  <a:lnTo>
                    <a:pt x="963" y="494"/>
                  </a:lnTo>
                  <a:lnTo>
                    <a:pt x="968" y="502"/>
                  </a:lnTo>
                  <a:lnTo>
                    <a:pt x="968" y="506"/>
                  </a:lnTo>
                  <a:lnTo>
                    <a:pt x="968" y="508"/>
                  </a:lnTo>
                  <a:lnTo>
                    <a:pt x="972" y="509"/>
                  </a:lnTo>
                  <a:lnTo>
                    <a:pt x="972" y="514"/>
                  </a:lnTo>
                  <a:lnTo>
                    <a:pt x="977" y="520"/>
                  </a:lnTo>
                  <a:lnTo>
                    <a:pt x="977" y="525"/>
                  </a:lnTo>
                  <a:lnTo>
                    <a:pt x="982" y="530"/>
                  </a:lnTo>
                  <a:lnTo>
                    <a:pt x="986" y="532"/>
                  </a:lnTo>
                  <a:lnTo>
                    <a:pt x="989" y="530"/>
                  </a:lnTo>
                  <a:lnTo>
                    <a:pt x="991" y="532"/>
                  </a:lnTo>
                  <a:lnTo>
                    <a:pt x="991" y="534"/>
                  </a:lnTo>
                  <a:lnTo>
                    <a:pt x="994" y="539"/>
                  </a:lnTo>
                  <a:lnTo>
                    <a:pt x="996" y="541"/>
                  </a:lnTo>
                  <a:lnTo>
                    <a:pt x="1000" y="546"/>
                  </a:lnTo>
                  <a:lnTo>
                    <a:pt x="996" y="546"/>
                  </a:lnTo>
                  <a:lnTo>
                    <a:pt x="991" y="544"/>
                  </a:lnTo>
                  <a:lnTo>
                    <a:pt x="986" y="548"/>
                  </a:lnTo>
                  <a:lnTo>
                    <a:pt x="982" y="542"/>
                  </a:lnTo>
                  <a:lnTo>
                    <a:pt x="979" y="542"/>
                  </a:lnTo>
                  <a:lnTo>
                    <a:pt x="975" y="541"/>
                  </a:lnTo>
                  <a:lnTo>
                    <a:pt x="968" y="539"/>
                  </a:lnTo>
                  <a:lnTo>
                    <a:pt x="968" y="542"/>
                  </a:lnTo>
                  <a:lnTo>
                    <a:pt x="965" y="542"/>
                  </a:lnTo>
                  <a:lnTo>
                    <a:pt x="963" y="541"/>
                  </a:lnTo>
                  <a:lnTo>
                    <a:pt x="960" y="535"/>
                  </a:lnTo>
                  <a:lnTo>
                    <a:pt x="956" y="537"/>
                  </a:lnTo>
                  <a:lnTo>
                    <a:pt x="953" y="535"/>
                  </a:lnTo>
                  <a:lnTo>
                    <a:pt x="953" y="537"/>
                  </a:lnTo>
                  <a:lnTo>
                    <a:pt x="949" y="537"/>
                  </a:lnTo>
                  <a:lnTo>
                    <a:pt x="949" y="537"/>
                  </a:lnTo>
                  <a:lnTo>
                    <a:pt x="944" y="537"/>
                  </a:lnTo>
                  <a:lnTo>
                    <a:pt x="940" y="546"/>
                  </a:lnTo>
                  <a:lnTo>
                    <a:pt x="946" y="541"/>
                  </a:lnTo>
                  <a:lnTo>
                    <a:pt x="949" y="539"/>
                  </a:lnTo>
                  <a:lnTo>
                    <a:pt x="954" y="539"/>
                  </a:lnTo>
                  <a:lnTo>
                    <a:pt x="958" y="537"/>
                  </a:lnTo>
                  <a:lnTo>
                    <a:pt x="960" y="539"/>
                  </a:lnTo>
                  <a:lnTo>
                    <a:pt x="960" y="541"/>
                  </a:lnTo>
                  <a:lnTo>
                    <a:pt x="965" y="544"/>
                  </a:lnTo>
                  <a:lnTo>
                    <a:pt x="967" y="546"/>
                  </a:lnTo>
                  <a:lnTo>
                    <a:pt x="972" y="541"/>
                  </a:lnTo>
                  <a:lnTo>
                    <a:pt x="975" y="541"/>
                  </a:lnTo>
                  <a:lnTo>
                    <a:pt x="982" y="548"/>
                  </a:lnTo>
                  <a:lnTo>
                    <a:pt x="989" y="551"/>
                  </a:lnTo>
                  <a:lnTo>
                    <a:pt x="996" y="556"/>
                  </a:lnTo>
                  <a:lnTo>
                    <a:pt x="1000" y="563"/>
                  </a:lnTo>
                  <a:lnTo>
                    <a:pt x="1000" y="565"/>
                  </a:lnTo>
                  <a:lnTo>
                    <a:pt x="996" y="567"/>
                  </a:lnTo>
                  <a:lnTo>
                    <a:pt x="991" y="572"/>
                  </a:lnTo>
                  <a:lnTo>
                    <a:pt x="991" y="570"/>
                  </a:lnTo>
                  <a:lnTo>
                    <a:pt x="989" y="572"/>
                  </a:lnTo>
                  <a:lnTo>
                    <a:pt x="989" y="575"/>
                  </a:lnTo>
                  <a:lnTo>
                    <a:pt x="986" y="575"/>
                  </a:lnTo>
                  <a:lnTo>
                    <a:pt x="980" y="575"/>
                  </a:lnTo>
                  <a:lnTo>
                    <a:pt x="979" y="575"/>
                  </a:lnTo>
                  <a:lnTo>
                    <a:pt x="977" y="575"/>
                  </a:lnTo>
                  <a:lnTo>
                    <a:pt x="972" y="579"/>
                  </a:lnTo>
                  <a:lnTo>
                    <a:pt x="972" y="584"/>
                  </a:lnTo>
                  <a:lnTo>
                    <a:pt x="973" y="579"/>
                  </a:lnTo>
                  <a:lnTo>
                    <a:pt x="977" y="579"/>
                  </a:lnTo>
                  <a:lnTo>
                    <a:pt x="980" y="575"/>
                  </a:lnTo>
                  <a:lnTo>
                    <a:pt x="984" y="581"/>
                  </a:lnTo>
                  <a:lnTo>
                    <a:pt x="987" y="584"/>
                  </a:lnTo>
                  <a:lnTo>
                    <a:pt x="991" y="579"/>
                  </a:lnTo>
                  <a:lnTo>
                    <a:pt x="994" y="579"/>
                  </a:lnTo>
                  <a:lnTo>
                    <a:pt x="1001" y="588"/>
                  </a:lnTo>
                  <a:lnTo>
                    <a:pt x="1001" y="584"/>
                  </a:lnTo>
                  <a:lnTo>
                    <a:pt x="1003" y="588"/>
                  </a:lnTo>
                  <a:lnTo>
                    <a:pt x="1006" y="588"/>
                  </a:lnTo>
                  <a:lnTo>
                    <a:pt x="1008" y="588"/>
                  </a:lnTo>
                  <a:lnTo>
                    <a:pt x="1000" y="594"/>
                  </a:lnTo>
                  <a:lnTo>
                    <a:pt x="994" y="594"/>
                  </a:lnTo>
                  <a:lnTo>
                    <a:pt x="994" y="598"/>
                  </a:lnTo>
                  <a:lnTo>
                    <a:pt x="996" y="600"/>
                  </a:lnTo>
                  <a:lnTo>
                    <a:pt x="1001" y="594"/>
                  </a:lnTo>
                  <a:lnTo>
                    <a:pt x="1005" y="596"/>
                  </a:lnTo>
                  <a:lnTo>
                    <a:pt x="1005" y="594"/>
                  </a:lnTo>
                  <a:lnTo>
                    <a:pt x="1005" y="593"/>
                  </a:lnTo>
                  <a:lnTo>
                    <a:pt x="1006" y="591"/>
                  </a:lnTo>
                  <a:lnTo>
                    <a:pt x="1008" y="593"/>
                  </a:lnTo>
                  <a:lnTo>
                    <a:pt x="1010" y="598"/>
                  </a:lnTo>
                  <a:lnTo>
                    <a:pt x="1010" y="600"/>
                  </a:lnTo>
                  <a:lnTo>
                    <a:pt x="1008" y="601"/>
                  </a:lnTo>
                  <a:lnTo>
                    <a:pt x="1008" y="600"/>
                  </a:lnTo>
                  <a:lnTo>
                    <a:pt x="1006" y="600"/>
                  </a:lnTo>
                  <a:lnTo>
                    <a:pt x="1005" y="601"/>
                  </a:lnTo>
                  <a:lnTo>
                    <a:pt x="1005" y="601"/>
                  </a:lnTo>
                  <a:lnTo>
                    <a:pt x="1001" y="601"/>
                  </a:lnTo>
                  <a:lnTo>
                    <a:pt x="996" y="605"/>
                  </a:lnTo>
                  <a:lnTo>
                    <a:pt x="996" y="607"/>
                  </a:lnTo>
                  <a:lnTo>
                    <a:pt x="1003" y="605"/>
                  </a:lnTo>
                  <a:lnTo>
                    <a:pt x="1005" y="607"/>
                  </a:lnTo>
                  <a:lnTo>
                    <a:pt x="1005" y="607"/>
                  </a:lnTo>
                  <a:lnTo>
                    <a:pt x="1003" y="607"/>
                  </a:lnTo>
                  <a:lnTo>
                    <a:pt x="1000" y="610"/>
                  </a:lnTo>
                  <a:lnTo>
                    <a:pt x="1003" y="610"/>
                  </a:lnTo>
                  <a:lnTo>
                    <a:pt x="1005" y="612"/>
                  </a:lnTo>
                  <a:lnTo>
                    <a:pt x="1001" y="615"/>
                  </a:lnTo>
                  <a:lnTo>
                    <a:pt x="1000" y="615"/>
                  </a:lnTo>
                  <a:lnTo>
                    <a:pt x="1000" y="615"/>
                  </a:lnTo>
                  <a:lnTo>
                    <a:pt x="1000" y="617"/>
                  </a:lnTo>
                  <a:lnTo>
                    <a:pt x="1003" y="617"/>
                  </a:lnTo>
                  <a:lnTo>
                    <a:pt x="1005" y="621"/>
                  </a:lnTo>
                  <a:lnTo>
                    <a:pt x="1003" y="622"/>
                  </a:lnTo>
                  <a:lnTo>
                    <a:pt x="1001" y="626"/>
                  </a:lnTo>
                  <a:lnTo>
                    <a:pt x="1001" y="624"/>
                  </a:lnTo>
                  <a:lnTo>
                    <a:pt x="1000" y="621"/>
                  </a:lnTo>
                  <a:lnTo>
                    <a:pt x="1000" y="622"/>
                  </a:lnTo>
                  <a:lnTo>
                    <a:pt x="994" y="628"/>
                  </a:lnTo>
                  <a:lnTo>
                    <a:pt x="994" y="629"/>
                  </a:lnTo>
                  <a:lnTo>
                    <a:pt x="989" y="628"/>
                  </a:lnTo>
                  <a:lnTo>
                    <a:pt x="991" y="629"/>
                  </a:lnTo>
                  <a:lnTo>
                    <a:pt x="991" y="633"/>
                  </a:lnTo>
                  <a:lnTo>
                    <a:pt x="994" y="634"/>
                  </a:lnTo>
                  <a:lnTo>
                    <a:pt x="991" y="634"/>
                  </a:lnTo>
                  <a:lnTo>
                    <a:pt x="991" y="638"/>
                  </a:lnTo>
                  <a:lnTo>
                    <a:pt x="991" y="638"/>
                  </a:lnTo>
                  <a:lnTo>
                    <a:pt x="991" y="640"/>
                  </a:lnTo>
                  <a:lnTo>
                    <a:pt x="991" y="643"/>
                  </a:lnTo>
                  <a:lnTo>
                    <a:pt x="989" y="645"/>
                  </a:lnTo>
                  <a:lnTo>
                    <a:pt x="987" y="641"/>
                  </a:lnTo>
                  <a:lnTo>
                    <a:pt x="986" y="645"/>
                  </a:lnTo>
                  <a:lnTo>
                    <a:pt x="989" y="645"/>
                  </a:lnTo>
                  <a:lnTo>
                    <a:pt x="991" y="648"/>
                  </a:lnTo>
                  <a:lnTo>
                    <a:pt x="987" y="648"/>
                  </a:lnTo>
                  <a:lnTo>
                    <a:pt x="987" y="650"/>
                  </a:lnTo>
                  <a:lnTo>
                    <a:pt x="982" y="655"/>
                  </a:lnTo>
                  <a:lnTo>
                    <a:pt x="980" y="655"/>
                  </a:lnTo>
                  <a:lnTo>
                    <a:pt x="980" y="652"/>
                  </a:lnTo>
                  <a:lnTo>
                    <a:pt x="979" y="652"/>
                  </a:lnTo>
                  <a:lnTo>
                    <a:pt x="977" y="652"/>
                  </a:lnTo>
                  <a:lnTo>
                    <a:pt x="977" y="654"/>
                  </a:lnTo>
                  <a:lnTo>
                    <a:pt x="973" y="654"/>
                  </a:lnTo>
                  <a:lnTo>
                    <a:pt x="975" y="655"/>
                  </a:lnTo>
                  <a:lnTo>
                    <a:pt x="973" y="657"/>
                  </a:lnTo>
                  <a:lnTo>
                    <a:pt x="977" y="657"/>
                  </a:lnTo>
                  <a:lnTo>
                    <a:pt x="979" y="661"/>
                  </a:lnTo>
                  <a:lnTo>
                    <a:pt x="975" y="661"/>
                  </a:lnTo>
                  <a:lnTo>
                    <a:pt x="979" y="662"/>
                  </a:lnTo>
                  <a:lnTo>
                    <a:pt x="982" y="662"/>
                  </a:lnTo>
                  <a:lnTo>
                    <a:pt x="984" y="662"/>
                  </a:lnTo>
                  <a:lnTo>
                    <a:pt x="977" y="666"/>
                  </a:lnTo>
                  <a:lnTo>
                    <a:pt x="973" y="668"/>
                  </a:lnTo>
                  <a:lnTo>
                    <a:pt x="973" y="671"/>
                  </a:lnTo>
                  <a:lnTo>
                    <a:pt x="975" y="669"/>
                  </a:lnTo>
                  <a:lnTo>
                    <a:pt x="977" y="669"/>
                  </a:lnTo>
                  <a:lnTo>
                    <a:pt x="979" y="671"/>
                  </a:lnTo>
                  <a:lnTo>
                    <a:pt x="975" y="674"/>
                  </a:lnTo>
                  <a:lnTo>
                    <a:pt x="979" y="676"/>
                  </a:lnTo>
                  <a:lnTo>
                    <a:pt x="979" y="678"/>
                  </a:lnTo>
                  <a:lnTo>
                    <a:pt x="975" y="680"/>
                  </a:lnTo>
                  <a:lnTo>
                    <a:pt x="977" y="681"/>
                  </a:lnTo>
                  <a:lnTo>
                    <a:pt x="979" y="681"/>
                  </a:lnTo>
                  <a:lnTo>
                    <a:pt x="979" y="683"/>
                  </a:lnTo>
                  <a:lnTo>
                    <a:pt x="979" y="688"/>
                  </a:lnTo>
                  <a:lnTo>
                    <a:pt x="977" y="685"/>
                  </a:lnTo>
                  <a:lnTo>
                    <a:pt x="975" y="685"/>
                  </a:lnTo>
                  <a:lnTo>
                    <a:pt x="975" y="683"/>
                  </a:lnTo>
                  <a:lnTo>
                    <a:pt x="972" y="680"/>
                  </a:lnTo>
                  <a:lnTo>
                    <a:pt x="972" y="683"/>
                  </a:lnTo>
                  <a:lnTo>
                    <a:pt x="972" y="683"/>
                  </a:lnTo>
                  <a:lnTo>
                    <a:pt x="968" y="685"/>
                  </a:lnTo>
                  <a:lnTo>
                    <a:pt x="972" y="688"/>
                  </a:lnTo>
                  <a:lnTo>
                    <a:pt x="972" y="690"/>
                  </a:lnTo>
                  <a:lnTo>
                    <a:pt x="972" y="688"/>
                  </a:lnTo>
                  <a:lnTo>
                    <a:pt x="968" y="688"/>
                  </a:lnTo>
                  <a:lnTo>
                    <a:pt x="968" y="685"/>
                  </a:lnTo>
                  <a:lnTo>
                    <a:pt x="967" y="688"/>
                  </a:lnTo>
                  <a:lnTo>
                    <a:pt x="968" y="690"/>
                  </a:lnTo>
                  <a:lnTo>
                    <a:pt x="968" y="694"/>
                  </a:lnTo>
                  <a:lnTo>
                    <a:pt x="972" y="694"/>
                  </a:lnTo>
                  <a:lnTo>
                    <a:pt x="972" y="694"/>
                  </a:lnTo>
                  <a:lnTo>
                    <a:pt x="968" y="694"/>
                  </a:lnTo>
                  <a:lnTo>
                    <a:pt x="967" y="694"/>
                  </a:lnTo>
                  <a:lnTo>
                    <a:pt x="967" y="694"/>
                  </a:lnTo>
                  <a:lnTo>
                    <a:pt x="967" y="697"/>
                  </a:lnTo>
                  <a:lnTo>
                    <a:pt x="968" y="697"/>
                  </a:lnTo>
                  <a:lnTo>
                    <a:pt x="968" y="701"/>
                  </a:lnTo>
                  <a:lnTo>
                    <a:pt x="963" y="697"/>
                  </a:lnTo>
                  <a:lnTo>
                    <a:pt x="961" y="699"/>
                  </a:lnTo>
                  <a:lnTo>
                    <a:pt x="960" y="699"/>
                  </a:lnTo>
                  <a:lnTo>
                    <a:pt x="958" y="702"/>
                  </a:lnTo>
                  <a:lnTo>
                    <a:pt x="951" y="702"/>
                  </a:lnTo>
                  <a:lnTo>
                    <a:pt x="956" y="706"/>
                  </a:lnTo>
                  <a:lnTo>
                    <a:pt x="960" y="704"/>
                  </a:lnTo>
                  <a:lnTo>
                    <a:pt x="961" y="706"/>
                  </a:lnTo>
                  <a:lnTo>
                    <a:pt x="961" y="708"/>
                  </a:lnTo>
                  <a:lnTo>
                    <a:pt x="958" y="709"/>
                  </a:lnTo>
                  <a:lnTo>
                    <a:pt x="958" y="713"/>
                  </a:lnTo>
                  <a:lnTo>
                    <a:pt x="956" y="709"/>
                  </a:lnTo>
                  <a:lnTo>
                    <a:pt x="954" y="713"/>
                  </a:lnTo>
                  <a:lnTo>
                    <a:pt x="953" y="714"/>
                  </a:lnTo>
                  <a:lnTo>
                    <a:pt x="953" y="713"/>
                  </a:lnTo>
                  <a:lnTo>
                    <a:pt x="951" y="713"/>
                  </a:lnTo>
                  <a:lnTo>
                    <a:pt x="951" y="716"/>
                  </a:lnTo>
                  <a:lnTo>
                    <a:pt x="949" y="716"/>
                  </a:lnTo>
                  <a:lnTo>
                    <a:pt x="949" y="720"/>
                  </a:lnTo>
                  <a:lnTo>
                    <a:pt x="944" y="720"/>
                  </a:lnTo>
                  <a:lnTo>
                    <a:pt x="944" y="716"/>
                  </a:lnTo>
                  <a:lnTo>
                    <a:pt x="940" y="716"/>
                  </a:lnTo>
                  <a:lnTo>
                    <a:pt x="937" y="721"/>
                  </a:lnTo>
                  <a:lnTo>
                    <a:pt x="937" y="720"/>
                  </a:lnTo>
                  <a:lnTo>
                    <a:pt x="937" y="721"/>
                  </a:lnTo>
                  <a:lnTo>
                    <a:pt x="937" y="727"/>
                  </a:lnTo>
                  <a:lnTo>
                    <a:pt x="937" y="728"/>
                  </a:lnTo>
                  <a:lnTo>
                    <a:pt x="937" y="730"/>
                  </a:lnTo>
                  <a:lnTo>
                    <a:pt x="935" y="732"/>
                  </a:lnTo>
                  <a:lnTo>
                    <a:pt x="934" y="732"/>
                  </a:lnTo>
                  <a:lnTo>
                    <a:pt x="932" y="734"/>
                  </a:lnTo>
                  <a:lnTo>
                    <a:pt x="932" y="730"/>
                  </a:lnTo>
                  <a:lnTo>
                    <a:pt x="930" y="732"/>
                  </a:lnTo>
                  <a:lnTo>
                    <a:pt x="928" y="735"/>
                  </a:lnTo>
                  <a:lnTo>
                    <a:pt x="923" y="735"/>
                  </a:lnTo>
                  <a:lnTo>
                    <a:pt x="923" y="737"/>
                  </a:lnTo>
                  <a:lnTo>
                    <a:pt x="921" y="737"/>
                  </a:lnTo>
                  <a:lnTo>
                    <a:pt x="921" y="735"/>
                  </a:lnTo>
                  <a:lnTo>
                    <a:pt x="918" y="735"/>
                  </a:lnTo>
                  <a:lnTo>
                    <a:pt x="918" y="739"/>
                  </a:lnTo>
                  <a:lnTo>
                    <a:pt x="918" y="741"/>
                  </a:lnTo>
                  <a:lnTo>
                    <a:pt x="914" y="737"/>
                  </a:lnTo>
                  <a:lnTo>
                    <a:pt x="913" y="735"/>
                  </a:lnTo>
                  <a:lnTo>
                    <a:pt x="913" y="737"/>
                  </a:lnTo>
                  <a:lnTo>
                    <a:pt x="909" y="737"/>
                  </a:lnTo>
                  <a:lnTo>
                    <a:pt x="909" y="741"/>
                  </a:lnTo>
                  <a:lnTo>
                    <a:pt x="906" y="741"/>
                  </a:lnTo>
                  <a:lnTo>
                    <a:pt x="904" y="739"/>
                  </a:lnTo>
                  <a:lnTo>
                    <a:pt x="902" y="741"/>
                  </a:lnTo>
                  <a:lnTo>
                    <a:pt x="899" y="742"/>
                  </a:lnTo>
                  <a:lnTo>
                    <a:pt x="899" y="744"/>
                  </a:lnTo>
                  <a:lnTo>
                    <a:pt x="892" y="748"/>
                  </a:lnTo>
                  <a:lnTo>
                    <a:pt x="892" y="748"/>
                  </a:lnTo>
                  <a:lnTo>
                    <a:pt x="895" y="744"/>
                  </a:lnTo>
                  <a:lnTo>
                    <a:pt x="895" y="744"/>
                  </a:lnTo>
                  <a:lnTo>
                    <a:pt x="895" y="744"/>
                  </a:lnTo>
                  <a:lnTo>
                    <a:pt x="890" y="741"/>
                  </a:lnTo>
                  <a:lnTo>
                    <a:pt x="890" y="739"/>
                  </a:lnTo>
                  <a:lnTo>
                    <a:pt x="887" y="735"/>
                  </a:lnTo>
                  <a:lnTo>
                    <a:pt x="885" y="734"/>
                  </a:lnTo>
                  <a:lnTo>
                    <a:pt x="885" y="735"/>
                  </a:lnTo>
                  <a:lnTo>
                    <a:pt x="885" y="739"/>
                  </a:lnTo>
                  <a:lnTo>
                    <a:pt x="885" y="742"/>
                  </a:lnTo>
                  <a:lnTo>
                    <a:pt x="887" y="744"/>
                  </a:lnTo>
                  <a:lnTo>
                    <a:pt x="883" y="748"/>
                  </a:lnTo>
                  <a:lnTo>
                    <a:pt x="881" y="749"/>
                  </a:lnTo>
                  <a:lnTo>
                    <a:pt x="880" y="753"/>
                  </a:lnTo>
                  <a:lnTo>
                    <a:pt x="878" y="749"/>
                  </a:lnTo>
                  <a:lnTo>
                    <a:pt x="878" y="748"/>
                  </a:lnTo>
                  <a:lnTo>
                    <a:pt x="876" y="749"/>
                  </a:lnTo>
                  <a:lnTo>
                    <a:pt x="874" y="753"/>
                  </a:lnTo>
                  <a:lnTo>
                    <a:pt x="871" y="756"/>
                  </a:lnTo>
                  <a:lnTo>
                    <a:pt x="867" y="758"/>
                  </a:lnTo>
                  <a:lnTo>
                    <a:pt x="867" y="758"/>
                  </a:lnTo>
                  <a:lnTo>
                    <a:pt x="864" y="758"/>
                  </a:lnTo>
                  <a:lnTo>
                    <a:pt x="861" y="758"/>
                  </a:lnTo>
                  <a:lnTo>
                    <a:pt x="857" y="758"/>
                  </a:lnTo>
                  <a:lnTo>
                    <a:pt x="859" y="761"/>
                  </a:lnTo>
                  <a:lnTo>
                    <a:pt x="854" y="763"/>
                  </a:lnTo>
                  <a:lnTo>
                    <a:pt x="850" y="765"/>
                  </a:lnTo>
                  <a:lnTo>
                    <a:pt x="848" y="763"/>
                  </a:lnTo>
                  <a:lnTo>
                    <a:pt x="847" y="765"/>
                  </a:lnTo>
                  <a:lnTo>
                    <a:pt x="845" y="767"/>
                  </a:lnTo>
                  <a:lnTo>
                    <a:pt x="841" y="768"/>
                  </a:lnTo>
                  <a:lnTo>
                    <a:pt x="840" y="768"/>
                  </a:lnTo>
                  <a:lnTo>
                    <a:pt x="841" y="767"/>
                  </a:lnTo>
                  <a:lnTo>
                    <a:pt x="840" y="767"/>
                  </a:lnTo>
                  <a:lnTo>
                    <a:pt x="840" y="767"/>
                  </a:lnTo>
                  <a:lnTo>
                    <a:pt x="840" y="765"/>
                  </a:lnTo>
                  <a:lnTo>
                    <a:pt x="840" y="765"/>
                  </a:lnTo>
                  <a:lnTo>
                    <a:pt x="840" y="765"/>
                  </a:lnTo>
                  <a:lnTo>
                    <a:pt x="840" y="763"/>
                  </a:lnTo>
                  <a:lnTo>
                    <a:pt x="836" y="765"/>
                  </a:lnTo>
                  <a:lnTo>
                    <a:pt x="836" y="765"/>
                  </a:lnTo>
                  <a:lnTo>
                    <a:pt x="836" y="767"/>
                  </a:lnTo>
                  <a:lnTo>
                    <a:pt x="836" y="768"/>
                  </a:lnTo>
                  <a:lnTo>
                    <a:pt x="834" y="772"/>
                  </a:lnTo>
                  <a:lnTo>
                    <a:pt x="834" y="772"/>
                  </a:lnTo>
                  <a:lnTo>
                    <a:pt x="834" y="775"/>
                  </a:lnTo>
                  <a:lnTo>
                    <a:pt x="836" y="775"/>
                  </a:lnTo>
                  <a:lnTo>
                    <a:pt x="840" y="779"/>
                  </a:lnTo>
                  <a:lnTo>
                    <a:pt x="840" y="779"/>
                  </a:lnTo>
                  <a:lnTo>
                    <a:pt x="840" y="779"/>
                  </a:lnTo>
                  <a:lnTo>
                    <a:pt x="840" y="781"/>
                  </a:lnTo>
                  <a:lnTo>
                    <a:pt x="836" y="784"/>
                  </a:lnTo>
                  <a:lnTo>
                    <a:pt x="836" y="784"/>
                  </a:lnTo>
                  <a:lnTo>
                    <a:pt x="836" y="784"/>
                  </a:lnTo>
                  <a:lnTo>
                    <a:pt x="833" y="784"/>
                  </a:lnTo>
                  <a:lnTo>
                    <a:pt x="831" y="786"/>
                  </a:lnTo>
                  <a:lnTo>
                    <a:pt x="829" y="786"/>
                  </a:lnTo>
                  <a:lnTo>
                    <a:pt x="829" y="784"/>
                  </a:lnTo>
                  <a:lnTo>
                    <a:pt x="829" y="781"/>
                  </a:lnTo>
                  <a:lnTo>
                    <a:pt x="828" y="779"/>
                  </a:lnTo>
                  <a:lnTo>
                    <a:pt x="822" y="775"/>
                  </a:lnTo>
                  <a:lnTo>
                    <a:pt x="822" y="772"/>
                  </a:lnTo>
                  <a:lnTo>
                    <a:pt x="826" y="768"/>
                  </a:lnTo>
                  <a:lnTo>
                    <a:pt x="826" y="767"/>
                  </a:lnTo>
                  <a:lnTo>
                    <a:pt x="829" y="765"/>
                  </a:lnTo>
                  <a:lnTo>
                    <a:pt x="828" y="765"/>
                  </a:lnTo>
                  <a:lnTo>
                    <a:pt x="826" y="763"/>
                  </a:lnTo>
                  <a:lnTo>
                    <a:pt x="824" y="765"/>
                  </a:lnTo>
                  <a:lnTo>
                    <a:pt x="821" y="761"/>
                  </a:lnTo>
                  <a:lnTo>
                    <a:pt x="819" y="765"/>
                  </a:lnTo>
                  <a:lnTo>
                    <a:pt x="817" y="765"/>
                  </a:lnTo>
                  <a:lnTo>
                    <a:pt x="817" y="765"/>
                  </a:lnTo>
                  <a:lnTo>
                    <a:pt x="812" y="761"/>
                  </a:lnTo>
                  <a:lnTo>
                    <a:pt x="810" y="763"/>
                  </a:lnTo>
                  <a:lnTo>
                    <a:pt x="805" y="760"/>
                  </a:lnTo>
                  <a:lnTo>
                    <a:pt x="805" y="756"/>
                  </a:lnTo>
                  <a:lnTo>
                    <a:pt x="805" y="760"/>
                  </a:lnTo>
                  <a:lnTo>
                    <a:pt x="805" y="761"/>
                  </a:lnTo>
                  <a:lnTo>
                    <a:pt x="801" y="763"/>
                  </a:lnTo>
                  <a:lnTo>
                    <a:pt x="800" y="761"/>
                  </a:lnTo>
                  <a:lnTo>
                    <a:pt x="798" y="763"/>
                  </a:lnTo>
                  <a:lnTo>
                    <a:pt x="796" y="761"/>
                  </a:lnTo>
                  <a:lnTo>
                    <a:pt x="796" y="761"/>
                  </a:lnTo>
                  <a:lnTo>
                    <a:pt x="796" y="761"/>
                  </a:lnTo>
                  <a:lnTo>
                    <a:pt x="794" y="761"/>
                  </a:lnTo>
                  <a:lnTo>
                    <a:pt x="777" y="763"/>
                  </a:lnTo>
                  <a:lnTo>
                    <a:pt x="741" y="748"/>
                  </a:lnTo>
                  <a:lnTo>
                    <a:pt x="682" y="779"/>
                  </a:lnTo>
                  <a:lnTo>
                    <a:pt x="640" y="765"/>
                  </a:lnTo>
                  <a:lnTo>
                    <a:pt x="539" y="692"/>
                  </a:lnTo>
                  <a:lnTo>
                    <a:pt x="327" y="671"/>
                  </a:lnTo>
                  <a:lnTo>
                    <a:pt x="214" y="565"/>
                  </a:lnTo>
                  <a:lnTo>
                    <a:pt x="0" y="471"/>
                  </a:lnTo>
                  <a:lnTo>
                    <a:pt x="18" y="288"/>
                  </a:lnTo>
                  <a:lnTo>
                    <a:pt x="159" y="212"/>
                  </a:lnTo>
                  <a:lnTo>
                    <a:pt x="324" y="177"/>
                  </a:lnTo>
                  <a:lnTo>
                    <a:pt x="336" y="175"/>
                  </a:lnTo>
                  <a:lnTo>
                    <a:pt x="336" y="175"/>
                  </a:lnTo>
                  <a:lnTo>
                    <a:pt x="336" y="175"/>
                  </a:lnTo>
                  <a:lnTo>
                    <a:pt x="336" y="175"/>
                  </a:lnTo>
                  <a:close/>
                  <a:moveTo>
                    <a:pt x="944" y="721"/>
                  </a:moveTo>
                  <a:lnTo>
                    <a:pt x="944" y="725"/>
                  </a:lnTo>
                  <a:lnTo>
                    <a:pt x="949" y="725"/>
                  </a:lnTo>
                  <a:lnTo>
                    <a:pt x="949" y="725"/>
                  </a:lnTo>
                  <a:lnTo>
                    <a:pt x="946" y="721"/>
                  </a:lnTo>
                  <a:lnTo>
                    <a:pt x="944" y="721"/>
                  </a:lnTo>
                  <a:lnTo>
                    <a:pt x="944" y="721"/>
                  </a:lnTo>
                  <a:lnTo>
                    <a:pt x="944" y="721"/>
                  </a:lnTo>
                  <a:lnTo>
                    <a:pt x="944" y="721"/>
                  </a:lnTo>
                  <a:close/>
                  <a:moveTo>
                    <a:pt x="980" y="678"/>
                  </a:moveTo>
                  <a:lnTo>
                    <a:pt x="982" y="683"/>
                  </a:lnTo>
                  <a:lnTo>
                    <a:pt x="984" y="681"/>
                  </a:lnTo>
                  <a:lnTo>
                    <a:pt x="984" y="680"/>
                  </a:lnTo>
                  <a:lnTo>
                    <a:pt x="982" y="678"/>
                  </a:lnTo>
                  <a:lnTo>
                    <a:pt x="980" y="678"/>
                  </a:lnTo>
                  <a:lnTo>
                    <a:pt x="980" y="678"/>
                  </a:lnTo>
                  <a:lnTo>
                    <a:pt x="980" y="678"/>
                  </a:lnTo>
                  <a:lnTo>
                    <a:pt x="980" y="678"/>
                  </a:lnTo>
                  <a:close/>
                  <a:moveTo>
                    <a:pt x="1006" y="579"/>
                  </a:moveTo>
                  <a:lnTo>
                    <a:pt x="1008" y="581"/>
                  </a:lnTo>
                  <a:lnTo>
                    <a:pt x="1012" y="584"/>
                  </a:lnTo>
                  <a:lnTo>
                    <a:pt x="1013" y="584"/>
                  </a:lnTo>
                  <a:lnTo>
                    <a:pt x="1013" y="581"/>
                  </a:lnTo>
                  <a:lnTo>
                    <a:pt x="1010" y="579"/>
                  </a:lnTo>
                  <a:lnTo>
                    <a:pt x="1008" y="579"/>
                  </a:lnTo>
                  <a:lnTo>
                    <a:pt x="1006" y="579"/>
                  </a:lnTo>
                  <a:lnTo>
                    <a:pt x="1006" y="579"/>
                  </a:lnTo>
                  <a:lnTo>
                    <a:pt x="1006" y="579"/>
                  </a:lnTo>
                  <a:lnTo>
                    <a:pt x="1006" y="579"/>
                  </a:lnTo>
                  <a:close/>
                  <a:moveTo>
                    <a:pt x="989" y="546"/>
                  </a:moveTo>
                  <a:lnTo>
                    <a:pt x="989" y="548"/>
                  </a:lnTo>
                  <a:lnTo>
                    <a:pt x="991" y="551"/>
                  </a:lnTo>
                  <a:lnTo>
                    <a:pt x="994" y="551"/>
                  </a:lnTo>
                  <a:lnTo>
                    <a:pt x="996" y="553"/>
                  </a:lnTo>
                  <a:lnTo>
                    <a:pt x="996" y="548"/>
                  </a:lnTo>
                  <a:lnTo>
                    <a:pt x="994" y="548"/>
                  </a:lnTo>
                  <a:lnTo>
                    <a:pt x="991" y="548"/>
                  </a:lnTo>
                  <a:lnTo>
                    <a:pt x="989" y="546"/>
                  </a:lnTo>
                  <a:lnTo>
                    <a:pt x="989" y="546"/>
                  </a:lnTo>
                  <a:lnTo>
                    <a:pt x="989" y="546"/>
                  </a:lnTo>
                  <a:lnTo>
                    <a:pt x="989" y="546"/>
                  </a:lnTo>
                  <a:close/>
                  <a:moveTo>
                    <a:pt x="1010" y="753"/>
                  </a:moveTo>
                  <a:lnTo>
                    <a:pt x="1012" y="753"/>
                  </a:lnTo>
                  <a:lnTo>
                    <a:pt x="1013" y="753"/>
                  </a:lnTo>
                  <a:lnTo>
                    <a:pt x="1013" y="749"/>
                  </a:lnTo>
                  <a:lnTo>
                    <a:pt x="1013" y="744"/>
                  </a:lnTo>
                  <a:lnTo>
                    <a:pt x="1013" y="741"/>
                  </a:lnTo>
                  <a:lnTo>
                    <a:pt x="1013" y="737"/>
                  </a:lnTo>
                  <a:lnTo>
                    <a:pt x="1019" y="730"/>
                  </a:lnTo>
                  <a:lnTo>
                    <a:pt x="1019" y="725"/>
                  </a:lnTo>
                  <a:lnTo>
                    <a:pt x="1022" y="725"/>
                  </a:lnTo>
                  <a:lnTo>
                    <a:pt x="1019" y="725"/>
                  </a:lnTo>
                  <a:lnTo>
                    <a:pt x="1022" y="716"/>
                  </a:lnTo>
                  <a:lnTo>
                    <a:pt x="1022" y="713"/>
                  </a:lnTo>
                  <a:lnTo>
                    <a:pt x="1019" y="708"/>
                  </a:lnTo>
                  <a:lnTo>
                    <a:pt x="1022" y="704"/>
                  </a:lnTo>
                  <a:lnTo>
                    <a:pt x="1022" y="697"/>
                  </a:lnTo>
                  <a:lnTo>
                    <a:pt x="1024" y="692"/>
                  </a:lnTo>
                  <a:lnTo>
                    <a:pt x="1024" y="692"/>
                  </a:lnTo>
                  <a:lnTo>
                    <a:pt x="1024" y="688"/>
                  </a:lnTo>
                  <a:lnTo>
                    <a:pt x="1022" y="685"/>
                  </a:lnTo>
                  <a:lnTo>
                    <a:pt x="1022" y="685"/>
                  </a:lnTo>
                  <a:lnTo>
                    <a:pt x="1019" y="681"/>
                  </a:lnTo>
                  <a:lnTo>
                    <a:pt x="1013" y="681"/>
                  </a:lnTo>
                  <a:lnTo>
                    <a:pt x="1013" y="681"/>
                  </a:lnTo>
                  <a:lnTo>
                    <a:pt x="1013" y="685"/>
                  </a:lnTo>
                  <a:lnTo>
                    <a:pt x="1010" y="685"/>
                  </a:lnTo>
                  <a:lnTo>
                    <a:pt x="1006" y="690"/>
                  </a:lnTo>
                  <a:lnTo>
                    <a:pt x="1003" y="697"/>
                  </a:lnTo>
                  <a:lnTo>
                    <a:pt x="1003" y="697"/>
                  </a:lnTo>
                  <a:lnTo>
                    <a:pt x="1003" y="699"/>
                  </a:lnTo>
                  <a:lnTo>
                    <a:pt x="1001" y="701"/>
                  </a:lnTo>
                  <a:lnTo>
                    <a:pt x="1000" y="708"/>
                  </a:lnTo>
                  <a:lnTo>
                    <a:pt x="996" y="714"/>
                  </a:lnTo>
                  <a:lnTo>
                    <a:pt x="994" y="716"/>
                  </a:lnTo>
                  <a:lnTo>
                    <a:pt x="994" y="716"/>
                  </a:lnTo>
                  <a:lnTo>
                    <a:pt x="996" y="725"/>
                  </a:lnTo>
                  <a:lnTo>
                    <a:pt x="996" y="730"/>
                  </a:lnTo>
                  <a:lnTo>
                    <a:pt x="1000" y="732"/>
                  </a:lnTo>
                  <a:lnTo>
                    <a:pt x="1000" y="734"/>
                  </a:lnTo>
                  <a:lnTo>
                    <a:pt x="1000" y="734"/>
                  </a:lnTo>
                  <a:lnTo>
                    <a:pt x="1000" y="735"/>
                  </a:lnTo>
                  <a:lnTo>
                    <a:pt x="1000" y="739"/>
                  </a:lnTo>
                  <a:lnTo>
                    <a:pt x="1001" y="739"/>
                  </a:lnTo>
                  <a:lnTo>
                    <a:pt x="1001" y="742"/>
                  </a:lnTo>
                  <a:lnTo>
                    <a:pt x="1006" y="744"/>
                  </a:lnTo>
                  <a:lnTo>
                    <a:pt x="1010" y="748"/>
                  </a:lnTo>
                  <a:lnTo>
                    <a:pt x="1010" y="749"/>
                  </a:lnTo>
                  <a:lnTo>
                    <a:pt x="1010" y="753"/>
                  </a:lnTo>
                  <a:lnTo>
                    <a:pt x="1010" y="753"/>
                  </a:lnTo>
                  <a:lnTo>
                    <a:pt x="1010" y="753"/>
                  </a:lnTo>
                  <a:lnTo>
                    <a:pt x="1010" y="753"/>
                  </a:lnTo>
                  <a:close/>
                  <a:moveTo>
                    <a:pt x="836" y="772"/>
                  </a:moveTo>
                  <a:lnTo>
                    <a:pt x="840" y="772"/>
                  </a:lnTo>
                  <a:lnTo>
                    <a:pt x="841" y="772"/>
                  </a:lnTo>
                  <a:lnTo>
                    <a:pt x="845" y="775"/>
                  </a:lnTo>
                  <a:lnTo>
                    <a:pt x="845" y="772"/>
                  </a:lnTo>
                  <a:lnTo>
                    <a:pt x="841" y="772"/>
                  </a:lnTo>
                  <a:lnTo>
                    <a:pt x="836" y="772"/>
                  </a:lnTo>
                  <a:lnTo>
                    <a:pt x="836" y="772"/>
                  </a:lnTo>
                  <a:lnTo>
                    <a:pt x="836" y="772"/>
                  </a:lnTo>
                  <a:lnTo>
                    <a:pt x="836" y="772"/>
                  </a:lnTo>
                  <a:close/>
                  <a:moveTo>
                    <a:pt x="840" y="789"/>
                  </a:moveTo>
                  <a:lnTo>
                    <a:pt x="834" y="789"/>
                  </a:lnTo>
                  <a:lnTo>
                    <a:pt x="833" y="789"/>
                  </a:lnTo>
                  <a:lnTo>
                    <a:pt x="831" y="791"/>
                  </a:lnTo>
                  <a:lnTo>
                    <a:pt x="828" y="791"/>
                  </a:lnTo>
                  <a:lnTo>
                    <a:pt x="824" y="793"/>
                  </a:lnTo>
                  <a:lnTo>
                    <a:pt x="821" y="793"/>
                  </a:lnTo>
                  <a:lnTo>
                    <a:pt x="819" y="794"/>
                  </a:lnTo>
                  <a:lnTo>
                    <a:pt x="814" y="800"/>
                  </a:lnTo>
                  <a:lnTo>
                    <a:pt x="812" y="803"/>
                  </a:lnTo>
                  <a:lnTo>
                    <a:pt x="814" y="807"/>
                  </a:lnTo>
                  <a:lnTo>
                    <a:pt x="814" y="814"/>
                  </a:lnTo>
                  <a:lnTo>
                    <a:pt x="814" y="817"/>
                  </a:lnTo>
                  <a:lnTo>
                    <a:pt x="814" y="819"/>
                  </a:lnTo>
                  <a:lnTo>
                    <a:pt x="817" y="822"/>
                  </a:lnTo>
                  <a:lnTo>
                    <a:pt x="821" y="822"/>
                  </a:lnTo>
                  <a:lnTo>
                    <a:pt x="822" y="824"/>
                  </a:lnTo>
                  <a:lnTo>
                    <a:pt x="826" y="824"/>
                  </a:lnTo>
                  <a:lnTo>
                    <a:pt x="829" y="826"/>
                  </a:lnTo>
                  <a:lnTo>
                    <a:pt x="831" y="824"/>
                  </a:lnTo>
                  <a:lnTo>
                    <a:pt x="831" y="821"/>
                  </a:lnTo>
                  <a:lnTo>
                    <a:pt x="834" y="821"/>
                  </a:lnTo>
                  <a:lnTo>
                    <a:pt x="836" y="822"/>
                  </a:lnTo>
                  <a:lnTo>
                    <a:pt x="840" y="819"/>
                  </a:lnTo>
                  <a:lnTo>
                    <a:pt x="840" y="817"/>
                  </a:lnTo>
                  <a:lnTo>
                    <a:pt x="841" y="815"/>
                  </a:lnTo>
                  <a:lnTo>
                    <a:pt x="845" y="814"/>
                  </a:lnTo>
                  <a:lnTo>
                    <a:pt x="845" y="810"/>
                  </a:lnTo>
                  <a:lnTo>
                    <a:pt x="845" y="807"/>
                  </a:lnTo>
                  <a:lnTo>
                    <a:pt x="847" y="803"/>
                  </a:lnTo>
                  <a:lnTo>
                    <a:pt x="848" y="801"/>
                  </a:lnTo>
                  <a:lnTo>
                    <a:pt x="850" y="798"/>
                  </a:lnTo>
                  <a:lnTo>
                    <a:pt x="850" y="793"/>
                  </a:lnTo>
                  <a:lnTo>
                    <a:pt x="845" y="791"/>
                  </a:lnTo>
                  <a:lnTo>
                    <a:pt x="841" y="789"/>
                  </a:lnTo>
                  <a:lnTo>
                    <a:pt x="840" y="791"/>
                  </a:lnTo>
                  <a:lnTo>
                    <a:pt x="840" y="791"/>
                  </a:lnTo>
                  <a:lnTo>
                    <a:pt x="840" y="789"/>
                  </a:lnTo>
                  <a:lnTo>
                    <a:pt x="840" y="789"/>
                  </a:lnTo>
                  <a:lnTo>
                    <a:pt x="840" y="789"/>
                  </a:lnTo>
                  <a:lnTo>
                    <a:pt x="840" y="789"/>
                  </a:lnTo>
                  <a:close/>
                </a:path>
              </a:pathLst>
            </a:custGeom>
            <a:solidFill>
              <a:srgbClr val="691E7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469" name="Groupe 220"/>
            <p:cNvGrpSpPr/>
            <p:nvPr/>
          </p:nvGrpSpPr>
          <p:grpSpPr>
            <a:xfrm>
              <a:off x="4200525" y="901701"/>
              <a:ext cx="4411663" cy="2332037"/>
              <a:chOff x="4200525" y="901701"/>
              <a:chExt cx="4411663" cy="2332037"/>
            </a:xfrm>
          </p:grpSpPr>
          <p:sp>
            <p:nvSpPr>
              <p:cNvPr id="635" name="Freeform 6"/>
              <p:cNvSpPr>
                <a:spLocks noEditPoints="1"/>
              </p:cNvSpPr>
              <p:nvPr/>
            </p:nvSpPr>
            <p:spPr bwMode="auto">
              <a:xfrm>
                <a:off x="5049838" y="901701"/>
                <a:ext cx="3562350" cy="2163763"/>
              </a:xfrm>
              <a:custGeom>
                <a:avLst/>
                <a:gdLst/>
                <a:ahLst/>
                <a:cxnLst>
                  <a:cxn ang="0">
                    <a:pos x="1712" y="1113"/>
                  </a:cxn>
                  <a:cxn ang="0">
                    <a:pos x="1557" y="975"/>
                  </a:cxn>
                  <a:cxn ang="0">
                    <a:pos x="1357" y="1113"/>
                  </a:cxn>
                  <a:cxn ang="0">
                    <a:pos x="1048" y="1104"/>
                  </a:cxn>
                  <a:cxn ang="0">
                    <a:pos x="732" y="1047"/>
                  </a:cxn>
                  <a:cxn ang="0">
                    <a:pos x="569" y="1120"/>
                  </a:cxn>
                  <a:cxn ang="0">
                    <a:pos x="400" y="1240"/>
                  </a:cxn>
                  <a:cxn ang="0">
                    <a:pos x="259" y="1309"/>
                  </a:cxn>
                  <a:cxn ang="0">
                    <a:pos x="115" y="1087"/>
                  </a:cxn>
                  <a:cxn ang="0">
                    <a:pos x="26" y="706"/>
                  </a:cxn>
                  <a:cxn ang="0">
                    <a:pos x="160" y="682"/>
                  </a:cxn>
                  <a:cxn ang="0">
                    <a:pos x="152" y="814"/>
                  </a:cxn>
                  <a:cxn ang="0">
                    <a:pos x="261" y="715"/>
                  </a:cxn>
                  <a:cxn ang="0">
                    <a:pos x="430" y="647"/>
                  </a:cxn>
                  <a:cxn ang="0">
                    <a:pos x="506" y="463"/>
                  </a:cxn>
                  <a:cxn ang="0">
                    <a:pos x="635" y="652"/>
                  </a:cxn>
                  <a:cxn ang="0">
                    <a:pos x="622" y="516"/>
                  </a:cxn>
                  <a:cxn ang="0">
                    <a:pos x="728" y="529"/>
                  </a:cxn>
                  <a:cxn ang="0">
                    <a:pos x="695" y="313"/>
                  </a:cxn>
                  <a:cxn ang="0">
                    <a:pos x="798" y="195"/>
                  </a:cxn>
                  <a:cxn ang="0">
                    <a:pos x="986" y="216"/>
                  </a:cxn>
                  <a:cxn ang="0">
                    <a:pos x="1010" y="299"/>
                  </a:cxn>
                  <a:cxn ang="0">
                    <a:pos x="1239" y="266"/>
                  </a:cxn>
                  <a:cxn ang="0">
                    <a:pos x="1411" y="303"/>
                  </a:cxn>
                  <a:cxn ang="0">
                    <a:pos x="1557" y="243"/>
                  </a:cxn>
                  <a:cxn ang="0">
                    <a:pos x="1886" y="250"/>
                  </a:cxn>
                  <a:cxn ang="0">
                    <a:pos x="2113" y="209"/>
                  </a:cxn>
                  <a:cxn ang="0">
                    <a:pos x="2216" y="273"/>
                  </a:cxn>
                  <a:cxn ang="0">
                    <a:pos x="2158" y="379"/>
                  </a:cxn>
                  <a:cxn ang="0">
                    <a:pos x="2165" y="522"/>
                  </a:cxn>
                  <a:cxn ang="0">
                    <a:pos x="2061" y="715"/>
                  </a:cxn>
                  <a:cxn ang="0">
                    <a:pos x="2082" y="956"/>
                  </a:cxn>
                  <a:cxn ang="0">
                    <a:pos x="1995" y="541"/>
                  </a:cxn>
                  <a:cxn ang="0">
                    <a:pos x="1924" y="690"/>
                  </a:cxn>
                  <a:cxn ang="0">
                    <a:pos x="1741" y="767"/>
                  </a:cxn>
                  <a:cxn ang="0">
                    <a:pos x="1827" y="972"/>
                  </a:cxn>
                  <a:cxn ang="0">
                    <a:pos x="106" y="165"/>
                  </a:cxn>
                  <a:cxn ang="0">
                    <a:pos x="131" y="160"/>
                  </a:cxn>
                  <a:cxn ang="0">
                    <a:pos x="214" y="92"/>
                  </a:cxn>
                  <a:cxn ang="0">
                    <a:pos x="219" y="137"/>
                  </a:cxn>
                  <a:cxn ang="0">
                    <a:pos x="209" y="169"/>
                  </a:cxn>
                  <a:cxn ang="0">
                    <a:pos x="247" y="172"/>
                  </a:cxn>
                  <a:cxn ang="0">
                    <a:pos x="278" y="118"/>
                  </a:cxn>
                  <a:cxn ang="0">
                    <a:pos x="379" y="374"/>
                  </a:cxn>
                  <a:cxn ang="0">
                    <a:pos x="298" y="400"/>
                  </a:cxn>
                  <a:cxn ang="0">
                    <a:pos x="365" y="565"/>
                  </a:cxn>
                  <a:cxn ang="0">
                    <a:pos x="325" y="574"/>
                  </a:cxn>
                  <a:cxn ang="0">
                    <a:pos x="355" y="656"/>
                  </a:cxn>
                  <a:cxn ang="0">
                    <a:pos x="410" y="588"/>
                  </a:cxn>
                  <a:cxn ang="0">
                    <a:pos x="570" y="421"/>
                  </a:cxn>
                  <a:cxn ang="0">
                    <a:pos x="664" y="363"/>
                  </a:cxn>
                  <a:cxn ang="0">
                    <a:pos x="735" y="238"/>
                  </a:cxn>
                  <a:cxn ang="0">
                    <a:pos x="605" y="82"/>
                  </a:cxn>
                  <a:cxn ang="0">
                    <a:pos x="1384" y="78"/>
                  </a:cxn>
                  <a:cxn ang="0">
                    <a:pos x="1295" y="77"/>
                  </a:cxn>
                  <a:cxn ang="0">
                    <a:pos x="1317" y="71"/>
                  </a:cxn>
                  <a:cxn ang="0">
                    <a:pos x="836" y="123"/>
                  </a:cxn>
                  <a:cxn ang="0">
                    <a:pos x="1411" y="183"/>
                  </a:cxn>
                  <a:cxn ang="0">
                    <a:pos x="1844" y="223"/>
                  </a:cxn>
                  <a:cxn ang="0">
                    <a:pos x="1844" y="930"/>
                  </a:cxn>
                  <a:cxn ang="0">
                    <a:pos x="1726" y="894"/>
                  </a:cxn>
                  <a:cxn ang="0">
                    <a:pos x="2066" y="975"/>
                  </a:cxn>
                  <a:cxn ang="0">
                    <a:pos x="2054" y="1095"/>
                  </a:cxn>
                </a:cxnLst>
                <a:rect l="0" t="0" r="r" b="b"/>
                <a:pathLst>
                  <a:path w="2244" h="1363">
                    <a:moveTo>
                      <a:pt x="1741" y="1250"/>
                    </a:moveTo>
                    <a:lnTo>
                      <a:pt x="1741" y="1250"/>
                    </a:lnTo>
                    <a:lnTo>
                      <a:pt x="1738" y="1248"/>
                    </a:lnTo>
                    <a:lnTo>
                      <a:pt x="1738" y="1248"/>
                    </a:lnTo>
                    <a:lnTo>
                      <a:pt x="1738" y="1247"/>
                    </a:lnTo>
                    <a:lnTo>
                      <a:pt x="1738" y="1245"/>
                    </a:lnTo>
                    <a:lnTo>
                      <a:pt x="1738" y="1242"/>
                    </a:lnTo>
                    <a:lnTo>
                      <a:pt x="1736" y="1240"/>
                    </a:lnTo>
                    <a:lnTo>
                      <a:pt x="1736" y="1238"/>
                    </a:lnTo>
                    <a:lnTo>
                      <a:pt x="1740" y="1238"/>
                    </a:lnTo>
                    <a:lnTo>
                      <a:pt x="1743" y="1238"/>
                    </a:lnTo>
                    <a:lnTo>
                      <a:pt x="1745" y="1238"/>
                    </a:lnTo>
                    <a:lnTo>
                      <a:pt x="1745" y="1235"/>
                    </a:lnTo>
                    <a:lnTo>
                      <a:pt x="1745" y="1233"/>
                    </a:lnTo>
                    <a:lnTo>
                      <a:pt x="1745" y="1231"/>
                    </a:lnTo>
                    <a:lnTo>
                      <a:pt x="1745" y="1231"/>
                    </a:lnTo>
                    <a:lnTo>
                      <a:pt x="1745" y="1226"/>
                    </a:lnTo>
                    <a:lnTo>
                      <a:pt x="1745" y="1222"/>
                    </a:lnTo>
                    <a:lnTo>
                      <a:pt x="1743" y="1222"/>
                    </a:lnTo>
                    <a:lnTo>
                      <a:pt x="1743" y="1215"/>
                    </a:lnTo>
                    <a:lnTo>
                      <a:pt x="1743" y="1214"/>
                    </a:lnTo>
                    <a:lnTo>
                      <a:pt x="1741" y="1209"/>
                    </a:lnTo>
                    <a:lnTo>
                      <a:pt x="1741" y="1205"/>
                    </a:lnTo>
                    <a:lnTo>
                      <a:pt x="1740" y="1202"/>
                    </a:lnTo>
                    <a:lnTo>
                      <a:pt x="1738" y="1200"/>
                    </a:lnTo>
                    <a:lnTo>
                      <a:pt x="1738" y="1200"/>
                    </a:lnTo>
                    <a:lnTo>
                      <a:pt x="1735" y="1191"/>
                    </a:lnTo>
                    <a:lnTo>
                      <a:pt x="1735" y="1189"/>
                    </a:lnTo>
                    <a:lnTo>
                      <a:pt x="1735" y="1188"/>
                    </a:lnTo>
                    <a:lnTo>
                      <a:pt x="1735" y="1186"/>
                    </a:lnTo>
                    <a:lnTo>
                      <a:pt x="1738" y="1186"/>
                    </a:lnTo>
                    <a:lnTo>
                      <a:pt x="1740" y="1184"/>
                    </a:lnTo>
                    <a:lnTo>
                      <a:pt x="1740" y="1181"/>
                    </a:lnTo>
                    <a:lnTo>
                      <a:pt x="1743" y="1175"/>
                    </a:lnTo>
                    <a:lnTo>
                      <a:pt x="1745" y="1175"/>
                    </a:lnTo>
                    <a:lnTo>
                      <a:pt x="1747" y="1177"/>
                    </a:lnTo>
                    <a:lnTo>
                      <a:pt x="1750" y="1177"/>
                    </a:lnTo>
                    <a:lnTo>
                      <a:pt x="1759" y="1179"/>
                    </a:lnTo>
                    <a:lnTo>
                      <a:pt x="1762" y="1181"/>
                    </a:lnTo>
                    <a:lnTo>
                      <a:pt x="1764" y="1181"/>
                    </a:lnTo>
                    <a:lnTo>
                      <a:pt x="1764" y="1179"/>
                    </a:lnTo>
                    <a:lnTo>
                      <a:pt x="1764" y="1175"/>
                    </a:lnTo>
                    <a:lnTo>
                      <a:pt x="1764" y="1174"/>
                    </a:lnTo>
                    <a:lnTo>
                      <a:pt x="1762" y="1172"/>
                    </a:lnTo>
                    <a:lnTo>
                      <a:pt x="1764" y="1172"/>
                    </a:lnTo>
                    <a:lnTo>
                      <a:pt x="1762" y="1169"/>
                    </a:lnTo>
                    <a:lnTo>
                      <a:pt x="1762" y="1169"/>
                    </a:lnTo>
                    <a:lnTo>
                      <a:pt x="1764" y="1163"/>
                    </a:lnTo>
                    <a:lnTo>
                      <a:pt x="1766" y="1163"/>
                    </a:lnTo>
                    <a:lnTo>
                      <a:pt x="1764" y="1160"/>
                    </a:lnTo>
                    <a:lnTo>
                      <a:pt x="1764" y="1158"/>
                    </a:lnTo>
                    <a:lnTo>
                      <a:pt x="1764" y="1158"/>
                    </a:lnTo>
                    <a:lnTo>
                      <a:pt x="1768" y="1156"/>
                    </a:lnTo>
                    <a:lnTo>
                      <a:pt x="1766" y="1155"/>
                    </a:lnTo>
                    <a:lnTo>
                      <a:pt x="1766" y="1153"/>
                    </a:lnTo>
                    <a:lnTo>
                      <a:pt x="1764" y="1151"/>
                    </a:lnTo>
                    <a:lnTo>
                      <a:pt x="1766" y="1148"/>
                    </a:lnTo>
                    <a:lnTo>
                      <a:pt x="1768" y="1146"/>
                    </a:lnTo>
                    <a:lnTo>
                      <a:pt x="1768" y="1146"/>
                    </a:lnTo>
                    <a:lnTo>
                      <a:pt x="1766" y="1144"/>
                    </a:lnTo>
                    <a:lnTo>
                      <a:pt x="1764" y="1141"/>
                    </a:lnTo>
                    <a:lnTo>
                      <a:pt x="1764" y="1135"/>
                    </a:lnTo>
                    <a:lnTo>
                      <a:pt x="1766" y="1135"/>
                    </a:lnTo>
                    <a:lnTo>
                      <a:pt x="1766" y="1135"/>
                    </a:lnTo>
                    <a:lnTo>
                      <a:pt x="1766" y="1132"/>
                    </a:lnTo>
                    <a:lnTo>
                      <a:pt x="1766" y="1132"/>
                    </a:lnTo>
                    <a:lnTo>
                      <a:pt x="1766" y="1130"/>
                    </a:lnTo>
                    <a:lnTo>
                      <a:pt x="1764" y="1130"/>
                    </a:lnTo>
                    <a:lnTo>
                      <a:pt x="1762" y="1129"/>
                    </a:lnTo>
                    <a:lnTo>
                      <a:pt x="1764" y="1125"/>
                    </a:lnTo>
                    <a:lnTo>
                      <a:pt x="1764" y="1123"/>
                    </a:lnTo>
                    <a:lnTo>
                      <a:pt x="1764" y="1122"/>
                    </a:lnTo>
                    <a:lnTo>
                      <a:pt x="1762" y="1120"/>
                    </a:lnTo>
                    <a:lnTo>
                      <a:pt x="1762" y="1118"/>
                    </a:lnTo>
                    <a:lnTo>
                      <a:pt x="1764" y="1115"/>
                    </a:lnTo>
                    <a:lnTo>
                      <a:pt x="1768" y="1115"/>
                    </a:lnTo>
                    <a:lnTo>
                      <a:pt x="1768" y="1113"/>
                    </a:lnTo>
                    <a:lnTo>
                      <a:pt x="1768" y="1109"/>
                    </a:lnTo>
                    <a:lnTo>
                      <a:pt x="1769" y="1108"/>
                    </a:lnTo>
                    <a:lnTo>
                      <a:pt x="1766" y="1104"/>
                    </a:lnTo>
                    <a:lnTo>
                      <a:pt x="1764" y="1104"/>
                    </a:lnTo>
                    <a:lnTo>
                      <a:pt x="1764" y="1102"/>
                    </a:lnTo>
                    <a:lnTo>
                      <a:pt x="1762" y="1099"/>
                    </a:lnTo>
                    <a:lnTo>
                      <a:pt x="1762" y="1097"/>
                    </a:lnTo>
                    <a:lnTo>
                      <a:pt x="1762" y="1095"/>
                    </a:lnTo>
                    <a:lnTo>
                      <a:pt x="1762" y="1092"/>
                    </a:lnTo>
                    <a:lnTo>
                      <a:pt x="1759" y="1090"/>
                    </a:lnTo>
                    <a:lnTo>
                      <a:pt x="1757" y="1090"/>
                    </a:lnTo>
                    <a:lnTo>
                      <a:pt x="1757" y="1089"/>
                    </a:lnTo>
                    <a:lnTo>
                      <a:pt x="1754" y="1087"/>
                    </a:lnTo>
                    <a:lnTo>
                      <a:pt x="1752" y="1089"/>
                    </a:lnTo>
                    <a:lnTo>
                      <a:pt x="1748" y="1089"/>
                    </a:lnTo>
                    <a:lnTo>
                      <a:pt x="1747" y="1090"/>
                    </a:lnTo>
                    <a:lnTo>
                      <a:pt x="1745" y="1094"/>
                    </a:lnTo>
                    <a:lnTo>
                      <a:pt x="1743" y="1094"/>
                    </a:lnTo>
                    <a:lnTo>
                      <a:pt x="1741" y="1095"/>
                    </a:lnTo>
                    <a:lnTo>
                      <a:pt x="1741" y="1099"/>
                    </a:lnTo>
                    <a:lnTo>
                      <a:pt x="1738" y="1099"/>
                    </a:lnTo>
                    <a:lnTo>
                      <a:pt x="1735" y="1099"/>
                    </a:lnTo>
                    <a:lnTo>
                      <a:pt x="1735" y="1101"/>
                    </a:lnTo>
                    <a:lnTo>
                      <a:pt x="1735" y="1104"/>
                    </a:lnTo>
                    <a:lnTo>
                      <a:pt x="1731" y="1104"/>
                    </a:lnTo>
                    <a:lnTo>
                      <a:pt x="1731" y="1109"/>
                    </a:lnTo>
                    <a:lnTo>
                      <a:pt x="1731" y="1109"/>
                    </a:lnTo>
                    <a:lnTo>
                      <a:pt x="1731" y="1109"/>
                    </a:lnTo>
                    <a:lnTo>
                      <a:pt x="1729" y="1113"/>
                    </a:lnTo>
                    <a:lnTo>
                      <a:pt x="1722" y="1113"/>
                    </a:lnTo>
                    <a:lnTo>
                      <a:pt x="1722" y="1113"/>
                    </a:lnTo>
                    <a:lnTo>
                      <a:pt x="1719" y="1113"/>
                    </a:lnTo>
                    <a:lnTo>
                      <a:pt x="1717" y="1115"/>
                    </a:lnTo>
                    <a:lnTo>
                      <a:pt x="1715" y="1115"/>
                    </a:lnTo>
                    <a:lnTo>
                      <a:pt x="1714" y="1113"/>
                    </a:lnTo>
                    <a:lnTo>
                      <a:pt x="1712" y="1113"/>
                    </a:lnTo>
                    <a:lnTo>
                      <a:pt x="1712" y="1113"/>
                    </a:lnTo>
                    <a:lnTo>
                      <a:pt x="1708" y="1113"/>
                    </a:lnTo>
                    <a:lnTo>
                      <a:pt x="1707" y="1113"/>
                    </a:lnTo>
                    <a:lnTo>
                      <a:pt x="1703" y="1113"/>
                    </a:lnTo>
                    <a:lnTo>
                      <a:pt x="1703" y="1109"/>
                    </a:lnTo>
                    <a:lnTo>
                      <a:pt x="1700" y="1108"/>
                    </a:lnTo>
                    <a:lnTo>
                      <a:pt x="1698" y="1104"/>
                    </a:lnTo>
                    <a:lnTo>
                      <a:pt x="1698" y="1101"/>
                    </a:lnTo>
                    <a:lnTo>
                      <a:pt x="1698" y="1101"/>
                    </a:lnTo>
                    <a:lnTo>
                      <a:pt x="1700" y="1097"/>
                    </a:lnTo>
                    <a:lnTo>
                      <a:pt x="1698" y="1094"/>
                    </a:lnTo>
                    <a:lnTo>
                      <a:pt x="1698" y="1090"/>
                    </a:lnTo>
                    <a:lnTo>
                      <a:pt x="1695" y="1090"/>
                    </a:lnTo>
                    <a:lnTo>
                      <a:pt x="1695" y="1089"/>
                    </a:lnTo>
                    <a:lnTo>
                      <a:pt x="1695" y="1087"/>
                    </a:lnTo>
                    <a:lnTo>
                      <a:pt x="1696" y="1085"/>
                    </a:lnTo>
                    <a:lnTo>
                      <a:pt x="1696" y="1082"/>
                    </a:lnTo>
                    <a:lnTo>
                      <a:pt x="1695" y="1082"/>
                    </a:lnTo>
                    <a:lnTo>
                      <a:pt x="1693" y="1082"/>
                    </a:lnTo>
                    <a:lnTo>
                      <a:pt x="1691" y="1085"/>
                    </a:lnTo>
                    <a:lnTo>
                      <a:pt x="1689" y="1085"/>
                    </a:lnTo>
                    <a:lnTo>
                      <a:pt x="1688" y="1085"/>
                    </a:lnTo>
                    <a:lnTo>
                      <a:pt x="1684" y="1085"/>
                    </a:lnTo>
                    <a:lnTo>
                      <a:pt x="1682" y="1082"/>
                    </a:lnTo>
                    <a:lnTo>
                      <a:pt x="1681" y="1082"/>
                    </a:lnTo>
                    <a:lnTo>
                      <a:pt x="1681" y="1082"/>
                    </a:lnTo>
                    <a:lnTo>
                      <a:pt x="1677" y="1080"/>
                    </a:lnTo>
                    <a:lnTo>
                      <a:pt x="1677" y="1078"/>
                    </a:lnTo>
                    <a:lnTo>
                      <a:pt x="1675" y="1076"/>
                    </a:lnTo>
                    <a:lnTo>
                      <a:pt x="1675" y="1076"/>
                    </a:lnTo>
                    <a:lnTo>
                      <a:pt x="1672" y="1073"/>
                    </a:lnTo>
                    <a:lnTo>
                      <a:pt x="1672" y="1073"/>
                    </a:lnTo>
                    <a:lnTo>
                      <a:pt x="1670" y="1073"/>
                    </a:lnTo>
                    <a:lnTo>
                      <a:pt x="1668" y="1071"/>
                    </a:lnTo>
                    <a:lnTo>
                      <a:pt x="1668" y="1069"/>
                    </a:lnTo>
                    <a:lnTo>
                      <a:pt x="1667" y="1068"/>
                    </a:lnTo>
                    <a:lnTo>
                      <a:pt x="1665" y="1068"/>
                    </a:lnTo>
                    <a:lnTo>
                      <a:pt x="1663" y="1071"/>
                    </a:lnTo>
                    <a:lnTo>
                      <a:pt x="1662" y="1069"/>
                    </a:lnTo>
                    <a:lnTo>
                      <a:pt x="1660" y="1071"/>
                    </a:lnTo>
                    <a:lnTo>
                      <a:pt x="1660" y="1071"/>
                    </a:lnTo>
                    <a:lnTo>
                      <a:pt x="1658" y="1071"/>
                    </a:lnTo>
                    <a:lnTo>
                      <a:pt x="1658" y="1069"/>
                    </a:lnTo>
                    <a:lnTo>
                      <a:pt x="1655" y="1068"/>
                    </a:lnTo>
                    <a:lnTo>
                      <a:pt x="1653" y="1068"/>
                    </a:lnTo>
                    <a:lnTo>
                      <a:pt x="1649" y="1066"/>
                    </a:lnTo>
                    <a:lnTo>
                      <a:pt x="1653" y="1066"/>
                    </a:lnTo>
                    <a:lnTo>
                      <a:pt x="1653" y="1064"/>
                    </a:lnTo>
                    <a:lnTo>
                      <a:pt x="1649" y="1064"/>
                    </a:lnTo>
                    <a:lnTo>
                      <a:pt x="1648" y="1066"/>
                    </a:lnTo>
                    <a:lnTo>
                      <a:pt x="1644" y="1066"/>
                    </a:lnTo>
                    <a:lnTo>
                      <a:pt x="1642" y="1066"/>
                    </a:lnTo>
                    <a:lnTo>
                      <a:pt x="1641" y="1064"/>
                    </a:lnTo>
                    <a:lnTo>
                      <a:pt x="1639" y="1066"/>
                    </a:lnTo>
                    <a:lnTo>
                      <a:pt x="1637" y="1066"/>
                    </a:lnTo>
                    <a:lnTo>
                      <a:pt x="1635" y="1062"/>
                    </a:lnTo>
                    <a:lnTo>
                      <a:pt x="1632" y="1062"/>
                    </a:lnTo>
                    <a:lnTo>
                      <a:pt x="1630" y="1057"/>
                    </a:lnTo>
                    <a:lnTo>
                      <a:pt x="1627" y="1054"/>
                    </a:lnTo>
                    <a:lnTo>
                      <a:pt x="1627" y="1054"/>
                    </a:lnTo>
                    <a:lnTo>
                      <a:pt x="1627" y="1050"/>
                    </a:lnTo>
                    <a:lnTo>
                      <a:pt x="1625" y="1050"/>
                    </a:lnTo>
                    <a:lnTo>
                      <a:pt x="1623" y="1049"/>
                    </a:lnTo>
                    <a:lnTo>
                      <a:pt x="1623" y="1045"/>
                    </a:lnTo>
                    <a:lnTo>
                      <a:pt x="1622" y="1043"/>
                    </a:lnTo>
                    <a:lnTo>
                      <a:pt x="1622" y="1040"/>
                    </a:lnTo>
                    <a:lnTo>
                      <a:pt x="1620" y="1036"/>
                    </a:lnTo>
                    <a:lnTo>
                      <a:pt x="1613" y="1035"/>
                    </a:lnTo>
                    <a:lnTo>
                      <a:pt x="1609" y="1028"/>
                    </a:lnTo>
                    <a:lnTo>
                      <a:pt x="1609" y="1026"/>
                    </a:lnTo>
                    <a:lnTo>
                      <a:pt x="1608" y="1022"/>
                    </a:lnTo>
                    <a:lnTo>
                      <a:pt x="1608" y="1026"/>
                    </a:lnTo>
                    <a:lnTo>
                      <a:pt x="1604" y="1022"/>
                    </a:lnTo>
                    <a:lnTo>
                      <a:pt x="1608" y="1022"/>
                    </a:lnTo>
                    <a:lnTo>
                      <a:pt x="1608" y="1021"/>
                    </a:lnTo>
                    <a:lnTo>
                      <a:pt x="1604" y="1019"/>
                    </a:lnTo>
                    <a:lnTo>
                      <a:pt x="1604" y="1017"/>
                    </a:lnTo>
                    <a:lnTo>
                      <a:pt x="1602" y="1015"/>
                    </a:lnTo>
                    <a:lnTo>
                      <a:pt x="1599" y="1012"/>
                    </a:lnTo>
                    <a:lnTo>
                      <a:pt x="1599" y="1010"/>
                    </a:lnTo>
                    <a:lnTo>
                      <a:pt x="1596" y="1007"/>
                    </a:lnTo>
                    <a:lnTo>
                      <a:pt x="1594" y="1005"/>
                    </a:lnTo>
                    <a:lnTo>
                      <a:pt x="1594" y="1003"/>
                    </a:lnTo>
                    <a:lnTo>
                      <a:pt x="1594" y="1000"/>
                    </a:lnTo>
                    <a:lnTo>
                      <a:pt x="1594" y="1000"/>
                    </a:lnTo>
                    <a:lnTo>
                      <a:pt x="1589" y="1000"/>
                    </a:lnTo>
                    <a:lnTo>
                      <a:pt x="1589" y="998"/>
                    </a:lnTo>
                    <a:lnTo>
                      <a:pt x="1589" y="995"/>
                    </a:lnTo>
                    <a:lnTo>
                      <a:pt x="1587" y="995"/>
                    </a:lnTo>
                    <a:lnTo>
                      <a:pt x="1587" y="991"/>
                    </a:lnTo>
                    <a:lnTo>
                      <a:pt x="1587" y="989"/>
                    </a:lnTo>
                    <a:lnTo>
                      <a:pt x="1583" y="989"/>
                    </a:lnTo>
                    <a:lnTo>
                      <a:pt x="1583" y="988"/>
                    </a:lnTo>
                    <a:lnTo>
                      <a:pt x="1583" y="986"/>
                    </a:lnTo>
                    <a:lnTo>
                      <a:pt x="1582" y="986"/>
                    </a:lnTo>
                    <a:lnTo>
                      <a:pt x="1580" y="986"/>
                    </a:lnTo>
                    <a:lnTo>
                      <a:pt x="1576" y="984"/>
                    </a:lnTo>
                    <a:lnTo>
                      <a:pt x="1580" y="982"/>
                    </a:lnTo>
                    <a:lnTo>
                      <a:pt x="1580" y="981"/>
                    </a:lnTo>
                    <a:lnTo>
                      <a:pt x="1576" y="979"/>
                    </a:lnTo>
                    <a:lnTo>
                      <a:pt x="1573" y="981"/>
                    </a:lnTo>
                    <a:lnTo>
                      <a:pt x="1573" y="981"/>
                    </a:lnTo>
                    <a:lnTo>
                      <a:pt x="1573" y="979"/>
                    </a:lnTo>
                    <a:lnTo>
                      <a:pt x="1571" y="977"/>
                    </a:lnTo>
                    <a:lnTo>
                      <a:pt x="1571" y="975"/>
                    </a:lnTo>
                    <a:lnTo>
                      <a:pt x="1571" y="975"/>
                    </a:lnTo>
                    <a:lnTo>
                      <a:pt x="1568" y="975"/>
                    </a:lnTo>
                    <a:lnTo>
                      <a:pt x="1566" y="975"/>
                    </a:lnTo>
                    <a:lnTo>
                      <a:pt x="1564" y="972"/>
                    </a:lnTo>
                    <a:lnTo>
                      <a:pt x="1564" y="972"/>
                    </a:lnTo>
                    <a:lnTo>
                      <a:pt x="1561" y="972"/>
                    </a:lnTo>
                    <a:lnTo>
                      <a:pt x="1559" y="972"/>
                    </a:lnTo>
                    <a:lnTo>
                      <a:pt x="1557" y="972"/>
                    </a:lnTo>
                    <a:lnTo>
                      <a:pt x="1557" y="975"/>
                    </a:lnTo>
                    <a:lnTo>
                      <a:pt x="1557" y="975"/>
                    </a:lnTo>
                    <a:lnTo>
                      <a:pt x="1554" y="975"/>
                    </a:lnTo>
                    <a:lnTo>
                      <a:pt x="1554" y="972"/>
                    </a:lnTo>
                    <a:lnTo>
                      <a:pt x="1550" y="975"/>
                    </a:lnTo>
                    <a:lnTo>
                      <a:pt x="1545" y="975"/>
                    </a:lnTo>
                    <a:lnTo>
                      <a:pt x="1545" y="972"/>
                    </a:lnTo>
                    <a:lnTo>
                      <a:pt x="1543" y="972"/>
                    </a:lnTo>
                    <a:lnTo>
                      <a:pt x="1538" y="972"/>
                    </a:lnTo>
                    <a:lnTo>
                      <a:pt x="1536" y="969"/>
                    </a:lnTo>
                    <a:lnTo>
                      <a:pt x="1535" y="969"/>
                    </a:lnTo>
                    <a:lnTo>
                      <a:pt x="1531" y="969"/>
                    </a:lnTo>
                    <a:lnTo>
                      <a:pt x="1529" y="969"/>
                    </a:lnTo>
                    <a:lnTo>
                      <a:pt x="1526" y="970"/>
                    </a:lnTo>
                    <a:lnTo>
                      <a:pt x="1526" y="972"/>
                    </a:lnTo>
                    <a:lnTo>
                      <a:pt x="1523" y="972"/>
                    </a:lnTo>
                    <a:lnTo>
                      <a:pt x="1523" y="972"/>
                    </a:lnTo>
                    <a:lnTo>
                      <a:pt x="1519" y="972"/>
                    </a:lnTo>
                    <a:lnTo>
                      <a:pt x="1516" y="972"/>
                    </a:lnTo>
                    <a:lnTo>
                      <a:pt x="1512" y="972"/>
                    </a:lnTo>
                    <a:lnTo>
                      <a:pt x="1510" y="975"/>
                    </a:lnTo>
                    <a:lnTo>
                      <a:pt x="1507" y="975"/>
                    </a:lnTo>
                    <a:lnTo>
                      <a:pt x="1505" y="977"/>
                    </a:lnTo>
                    <a:lnTo>
                      <a:pt x="1503" y="979"/>
                    </a:lnTo>
                    <a:lnTo>
                      <a:pt x="1500" y="977"/>
                    </a:lnTo>
                    <a:lnTo>
                      <a:pt x="1500" y="979"/>
                    </a:lnTo>
                    <a:lnTo>
                      <a:pt x="1500" y="979"/>
                    </a:lnTo>
                    <a:lnTo>
                      <a:pt x="1495" y="979"/>
                    </a:lnTo>
                    <a:lnTo>
                      <a:pt x="1493" y="981"/>
                    </a:lnTo>
                    <a:lnTo>
                      <a:pt x="1490" y="982"/>
                    </a:lnTo>
                    <a:lnTo>
                      <a:pt x="1490" y="984"/>
                    </a:lnTo>
                    <a:lnTo>
                      <a:pt x="1488" y="988"/>
                    </a:lnTo>
                    <a:lnTo>
                      <a:pt x="1486" y="991"/>
                    </a:lnTo>
                    <a:lnTo>
                      <a:pt x="1484" y="993"/>
                    </a:lnTo>
                    <a:lnTo>
                      <a:pt x="1484" y="995"/>
                    </a:lnTo>
                    <a:lnTo>
                      <a:pt x="1484" y="995"/>
                    </a:lnTo>
                    <a:lnTo>
                      <a:pt x="1484" y="1000"/>
                    </a:lnTo>
                    <a:lnTo>
                      <a:pt x="1484" y="1000"/>
                    </a:lnTo>
                    <a:lnTo>
                      <a:pt x="1488" y="1000"/>
                    </a:lnTo>
                    <a:lnTo>
                      <a:pt x="1491" y="1000"/>
                    </a:lnTo>
                    <a:lnTo>
                      <a:pt x="1493" y="998"/>
                    </a:lnTo>
                    <a:lnTo>
                      <a:pt x="1495" y="998"/>
                    </a:lnTo>
                    <a:lnTo>
                      <a:pt x="1498" y="1003"/>
                    </a:lnTo>
                    <a:lnTo>
                      <a:pt x="1500" y="1005"/>
                    </a:lnTo>
                    <a:lnTo>
                      <a:pt x="1500" y="1007"/>
                    </a:lnTo>
                    <a:lnTo>
                      <a:pt x="1500" y="1010"/>
                    </a:lnTo>
                    <a:lnTo>
                      <a:pt x="1503" y="1012"/>
                    </a:lnTo>
                    <a:lnTo>
                      <a:pt x="1503" y="1015"/>
                    </a:lnTo>
                    <a:lnTo>
                      <a:pt x="1500" y="1017"/>
                    </a:lnTo>
                    <a:lnTo>
                      <a:pt x="1498" y="1021"/>
                    </a:lnTo>
                    <a:lnTo>
                      <a:pt x="1498" y="1026"/>
                    </a:lnTo>
                    <a:lnTo>
                      <a:pt x="1495" y="1026"/>
                    </a:lnTo>
                    <a:lnTo>
                      <a:pt x="1493" y="1031"/>
                    </a:lnTo>
                    <a:lnTo>
                      <a:pt x="1493" y="1035"/>
                    </a:lnTo>
                    <a:lnTo>
                      <a:pt x="1495" y="1035"/>
                    </a:lnTo>
                    <a:lnTo>
                      <a:pt x="1495" y="1038"/>
                    </a:lnTo>
                    <a:lnTo>
                      <a:pt x="1495" y="1042"/>
                    </a:lnTo>
                    <a:lnTo>
                      <a:pt x="1495" y="1043"/>
                    </a:lnTo>
                    <a:lnTo>
                      <a:pt x="1495" y="1047"/>
                    </a:lnTo>
                    <a:lnTo>
                      <a:pt x="1495" y="1049"/>
                    </a:lnTo>
                    <a:lnTo>
                      <a:pt x="1493" y="1050"/>
                    </a:lnTo>
                    <a:lnTo>
                      <a:pt x="1495" y="1054"/>
                    </a:lnTo>
                    <a:lnTo>
                      <a:pt x="1495" y="1057"/>
                    </a:lnTo>
                    <a:lnTo>
                      <a:pt x="1495" y="1059"/>
                    </a:lnTo>
                    <a:lnTo>
                      <a:pt x="1495" y="1064"/>
                    </a:lnTo>
                    <a:lnTo>
                      <a:pt x="1495" y="1064"/>
                    </a:lnTo>
                    <a:lnTo>
                      <a:pt x="1498" y="1064"/>
                    </a:lnTo>
                    <a:lnTo>
                      <a:pt x="1498" y="1064"/>
                    </a:lnTo>
                    <a:lnTo>
                      <a:pt x="1500" y="1064"/>
                    </a:lnTo>
                    <a:lnTo>
                      <a:pt x="1500" y="1069"/>
                    </a:lnTo>
                    <a:lnTo>
                      <a:pt x="1500" y="1073"/>
                    </a:lnTo>
                    <a:lnTo>
                      <a:pt x="1495" y="1073"/>
                    </a:lnTo>
                    <a:lnTo>
                      <a:pt x="1491" y="1076"/>
                    </a:lnTo>
                    <a:lnTo>
                      <a:pt x="1486" y="1078"/>
                    </a:lnTo>
                    <a:lnTo>
                      <a:pt x="1477" y="1085"/>
                    </a:lnTo>
                    <a:lnTo>
                      <a:pt x="1476" y="1085"/>
                    </a:lnTo>
                    <a:lnTo>
                      <a:pt x="1476" y="1085"/>
                    </a:lnTo>
                    <a:lnTo>
                      <a:pt x="1470" y="1085"/>
                    </a:lnTo>
                    <a:lnTo>
                      <a:pt x="1467" y="1085"/>
                    </a:lnTo>
                    <a:lnTo>
                      <a:pt x="1465" y="1082"/>
                    </a:lnTo>
                    <a:lnTo>
                      <a:pt x="1463" y="1082"/>
                    </a:lnTo>
                    <a:lnTo>
                      <a:pt x="1462" y="1082"/>
                    </a:lnTo>
                    <a:lnTo>
                      <a:pt x="1460" y="1082"/>
                    </a:lnTo>
                    <a:lnTo>
                      <a:pt x="1453" y="1080"/>
                    </a:lnTo>
                    <a:lnTo>
                      <a:pt x="1446" y="1082"/>
                    </a:lnTo>
                    <a:lnTo>
                      <a:pt x="1446" y="1082"/>
                    </a:lnTo>
                    <a:lnTo>
                      <a:pt x="1444" y="1085"/>
                    </a:lnTo>
                    <a:lnTo>
                      <a:pt x="1441" y="1085"/>
                    </a:lnTo>
                    <a:lnTo>
                      <a:pt x="1439" y="1082"/>
                    </a:lnTo>
                    <a:lnTo>
                      <a:pt x="1436" y="1085"/>
                    </a:lnTo>
                    <a:lnTo>
                      <a:pt x="1432" y="1085"/>
                    </a:lnTo>
                    <a:lnTo>
                      <a:pt x="1430" y="1082"/>
                    </a:lnTo>
                    <a:lnTo>
                      <a:pt x="1427" y="1078"/>
                    </a:lnTo>
                    <a:lnTo>
                      <a:pt x="1423" y="1078"/>
                    </a:lnTo>
                    <a:lnTo>
                      <a:pt x="1418" y="1080"/>
                    </a:lnTo>
                    <a:lnTo>
                      <a:pt x="1418" y="1078"/>
                    </a:lnTo>
                    <a:lnTo>
                      <a:pt x="1415" y="1078"/>
                    </a:lnTo>
                    <a:lnTo>
                      <a:pt x="1413" y="1082"/>
                    </a:lnTo>
                    <a:lnTo>
                      <a:pt x="1411" y="1085"/>
                    </a:lnTo>
                    <a:lnTo>
                      <a:pt x="1408" y="1087"/>
                    </a:lnTo>
                    <a:lnTo>
                      <a:pt x="1404" y="1089"/>
                    </a:lnTo>
                    <a:lnTo>
                      <a:pt x="1403" y="1092"/>
                    </a:lnTo>
                    <a:lnTo>
                      <a:pt x="1403" y="1094"/>
                    </a:lnTo>
                    <a:lnTo>
                      <a:pt x="1401" y="1097"/>
                    </a:lnTo>
                    <a:lnTo>
                      <a:pt x="1399" y="1101"/>
                    </a:lnTo>
                    <a:lnTo>
                      <a:pt x="1390" y="1101"/>
                    </a:lnTo>
                    <a:lnTo>
                      <a:pt x="1389" y="1101"/>
                    </a:lnTo>
                    <a:lnTo>
                      <a:pt x="1385" y="1104"/>
                    </a:lnTo>
                    <a:lnTo>
                      <a:pt x="1380" y="1104"/>
                    </a:lnTo>
                    <a:lnTo>
                      <a:pt x="1377" y="1108"/>
                    </a:lnTo>
                    <a:lnTo>
                      <a:pt x="1371" y="1113"/>
                    </a:lnTo>
                    <a:lnTo>
                      <a:pt x="1371" y="1113"/>
                    </a:lnTo>
                    <a:lnTo>
                      <a:pt x="1368" y="1109"/>
                    </a:lnTo>
                    <a:lnTo>
                      <a:pt x="1363" y="1109"/>
                    </a:lnTo>
                    <a:lnTo>
                      <a:pt x="1361" y="1109"/>
                    </a:lnTo>
                    <a:lnTo>
                      <a:pt x="1357" y="1113"/>
                    </a:lnTo>
                    <a:lnTo>
                      <a:pt x="1345" y="1113"/>
                    </a:lnTo>
                    <a:lnTo>
                      <a:pt x="1340" y="1109"/>
                    </a:lnTo>
                    <a:lnTo>
                      <a:pt x="1333" y="1109"/>
                    </a:lnTo>
                    <a:lnTo>
                      <a:pt x="1330" y="1109"/>
                    </a:lnTo>
                    <a:lnTo>
                      <a:pt x="1326" y="1108"/>
                    </a:lnTo>
                    <a:lnTo>
                      <a:pt x="1326" y="1108"/>
                    </a:lnTo>
                    <a:lnTo>
                      <a:pt x="1321" y="1104"/>
                    </a:lnTo>
                    <a:lnTo>
                      <a:pt x="1317" y="1104"/>
                    </a:lnTo>
                    <a:lnTo>
                      <a:pt x="1317" y="1097"/>
                    </a:lnTo>
                    <a:lnTo>
                      <a:pt x="1314" y="1095"/>
                    </a:lnTo>
                    <a:lnTo>
                      <a:pt x="1312" y="1097"/>
                    </a:lnTo>
                    <a:lnTo>
                      <a:pt x="1307" y="1097"/>
                    </a:lnTo>
                    <a:lnTo>
                      <a:pt x="1300" y="1094"/>
                    </a:lnTo>
                    <a:lnTo>
                      <a:pt x="1298" y="1089"/>
                    </a:lnTo>
                    <a:lnTo>
                      <a:pt x="1291" y="1090"/>
                    </a:lnTo>
                    <a:lnTo>
                      <a:pt x="1286" y="1089"/>
                    </a:lnTo>
                    <a:lnTo>
                      <a:pt x="1283" y="1087"/>
                    </a:lnTo>
                    <a:lnTo>
                      <a:pt x="1278" y="1089"/>
                    </a:lnTo>
                    <a:lnTo>
                      <a:pt x="1272" y="1089"/>
                    </a:lnTo>
                    <a:lnTo>
                      <a:pt x="1269" y="1090"/>
                    </a:lnTo>
                    <a:lnTo>
                      <a:pt x="1264" y="1090"/>
                    </a:lnTo>
                    <a:lnTo>
                      <a:pt x="1258" y="1092"/>
                    </a:lnTo>
                    <a:lnTo>
                      <a:pt x="1255" y="1095"/>
                    </a:lnTo>
                    <a:lnTo>
                      <a:pt x="1253" y="1097"/>
                    </a:lnTo>
                    <a:lnTo>
                      <a:pt x="1251" y="1095"/>
                    </a:lnTo>
                    <a:lnTo>
                      <a:pt x="1248" y="1095"/>
                    </a:lnTo>
                    <a:lnTo>
                      <a:pt x="1246" y="1097"/>
                    </a:lnTo>
                    <a:lnTo>
                      <a:pt x="1241" y="1097"/>
                    </a:lnTo>
                    <a:lnTo>
                      <a:pt x="1241" y="1099"/>
                    </a:lnTo>
                    <a:lnTo>
                      <a:pt x="1238" y="1099"/>
                    </a:lnTo>
                    <a:lnTo>
                      <a:pt x="1232" y="1095"/>
                    </a:lnTo>
                    <a:lnTo>
                      <a:pt x="1227" y="1094"/>
                    </a:lnTo>
                    <a:lnTo>
                      <a:pt x="1225" y="1092"/>
                    </a:lnTo>
                    <a:lnTo>
                      <a:pt x="1222" y="1089"/>
                    </a:lnTo>
                    <a:lnTo>
                      <a:pt x="1222" y="1089"/>
                    </a:lnTo>
                    <a:lnTo>
                      <a:pt x="1218" y="1087"/>
                    </a:lnTo>
                    <a:lnTo>
                      <a:pt x="1218" y="1085"/>
                    </a:lnTo>
                    <a:lnTo>
                      <a:pt x="1218" y="1082"/>
                    </a:lnTo>
                    <a:lnTo>
                      <a:pt x="1217" y="1080"/>
                    </a:lnTo>
                    <a:lnTo>
                      <a:pt x="1217" y="1076"/>
                    </a:lnTo>
                    <a:lnTo>
                      <a:pt x="1213" y="1073"/>
                    </a:lnTo>
                    <a:lnTo>
                      <a:pt x="1213" y="1071"/>
                    </a:lnTo>
                    <a:lnTo>
                      <a:pt x="1213" y="1069"/>
                    </a:lnTo>
                    <a:lnTo>
                      <a:pt x="1210" y="1068"/>
                    </a:lnTo>
                    <a:lnTo>
                      <a:pt x="1203" y="1068"/>
                    </a:lnTo>
                    <a:lnTo>
                      <a:pt x="1199" y="1068"/>
                    </a:lnTo>
                    <a:lnTo>
                      <a:pt x="1196" y="1066"/>
                    </a:lnTo>
                    <a:lnTo>
                      <a:pt x="1194" y="1066"/>
                    </a:lnTo>
                    <a:lnTo>
                      <a:pt x="1191" y="1064"/>
                    </a:lnTo>
                    <a:lnTo>
                      <a:pt x="1187" y="1062"/>
                    </a:lnTo>
                    <a:lnTo>
                      <a:pt x="1184" y="1062"/>
                    </a:lnTo>
                    <a:lnTo>
                      <a:pt x="1178" y="1062"/>
                    </a:lnTo>
                    <a:lnTo>
                      <a:pt x="1175" y="1062"/>
                    </a:lnTo>
                    <a:lnTo>
                      <a:pt x="1173" y="1059"/>
                    </a:lnTo>
                    <a:lnTo>
                      <a:pt x="1168" y="1057"/>
                    </a:lnTo>
                    <a:lnTo>
                      <a:pt x="1165" y="1057"/>
                    </a:lnTo>
                    <a:lnTo>
                      <a:pt x="1163" y="1054"/>
                    </a:lnTo>
                    <a:lnTo>
                      <a:pt x="1159" y="1054"/>
                    </a:lnTo>
                    <a:lnTo>
                      <a:pt x="1158" y="1057"/>
                    </a:lnTo>
                    <a:lnTo>
                      <a:pt x="1158" y="1059"/>
                    </a:lnTo>
                    <a:lnTo>
                      <a:pt x="1158" y="1062"/>
                    </a:lnTo>
                    <a:lnTo>
                      <a:pt x="1156" y="1064"/>
                    </a:lnTo>
                    <a:lnTo>
                      <a:pt x="1154" y="1064"/>
                    </a:lnTo>
                    <a:lnTo>
                      <a:pt x="1152" y="1066"/>
                    </a:lnTo>
                    <a:lnTo>
                      <a:pt x="1151" y="1068"/>
                    </a:lnTo>
                    <a:lnTo>
                      <a:pt x="1151" y="1071"/>
                    </a:lnTo>
                    <a:lnTo>
                      <a:pt x="1145" y="1073"/>
                    </a:lnTo>
                    <a:lnTo>
                      <a:pt x="1145" y="1085"/>
                    </a:lnTo>
                    <a:lnTo>
                      <a:pt x="1149" y="1087"/>
                    </a:lnTo>
                    <a:lnTo>
                      <a:pt x="1152" y="1089"/>
                    </a:lnTo>
                    <a:lnTo>
                      <a:pt x="1154" y="1090"/>
                    </a:lnTo>
                    <a:lnTo>
                      <a:pt x="1158" y="1092"/>
                    </a:lnTo>
                    <a:lnTo>
                      <a:pt x="1159" y="1094"/>
                    </a:lnTo>
                    <a:lnTo>
                      <a:pt x="1158" y="1101"/>
                    </a:lnTo>
                    <a:lnTo>
                      <a:pt x="1158" y="1104"/>
                    </a:lnTo>
                    <a:lnTo>
                      <a:pt x="1159" y="1108"/>
                    </a:lnTo>
                    <a:lnTo>
                      <a:pt x="1163" y="1109"/>
                    </a:lnTo>
                    <a:lnTo>
                      <a:pt x="1159" y="1115"/>
                    </a:lnTo>
                    <a:lnTo>
                      <a:pt x="1154" y="1115"/>
                    </a:lnTo>
                    <a:lnTo>
                      <a:pt x="1151" y="1115"/>
                    </a:lnTo>
                    <a:lnTo>
                      <a:pt x="1149" y="1115"/>
                    </a:lnTo>
                    <a:lnTo>
                      <a:pt x="1145" y="1116"/>
                    </a:lnTo>
                    <a:lnTo>
                      <a:pt x="1144" y="1115"/>
                    </a:lnTo>
                    <a:lnTo>
                      <a:pt x="1137" y="1115"/>
                    </a:lnTo>
                    <a:lnTo>
                      <a:pt x="1133" y="1115"/>
                    </a:lnTo>
                    <a:lnTo>
                      <a:pt x="1132" y="1113"/>
                    </a:lnTo>
                    <a:lnTo>
                      <a:pt x="1128" y="1113"/>
                    </a:lnTo>
                    <a:lnTo>
                      <a:pt x="1125" y="1113"/>
                    </a:lnTo>
                    <a:lnTo>
                      <a:pt x="1121" y="1115"/>
                    </a:lnTo>
                    <a:lnTo>
                      <a:pt x="1118" y="1116"/>
                    </a:lnTo>
                    <a:lnTo>
                      <a:pt x="1114" y="1118"/>
                    </a:lnTo>
                    <a:lnTo>
                      <a:pt x="1109" y="1115"/>
                    </a:lnTo>
                    <a:lnTo>
                      <a:pt x="1107" y="1113"/>
                    </a:lnTo>
                    <a:lnTo>
                      <a:pt x="1097" y="1109"/>
                    </a:lnTo>
                    <a:lnTo>
                      <a:pt x="1097" y="1104"/>
                    </a:lnTo>
                    <a:lnTo>
                      <a:pt x="1095" y="1104"/>
                    </a:lnTo>
                    <a:lnTo>
                      <a:pt x="1095" y="1101"/>
                    </a:lnTo>
                    <a:lnTo>
                      <a:pt x="1090" y="1101"/>
                    </a:lnTo>
                    <a:lnTo>
                      <a:pt x="1086" y="1102"/>
                    </a:lnTo>
                    <a:lnTo>
                      <a:pt x="1085" y="1102"/>
                    </a:lnTo>
                    <a:lnTo>
                      <a:pt x="1083" y="1102"/>
                    </a:lnTo>
                    <a:lnTo>
                      <a:pt x="1079" y="1104"/>
                    </a:lnTo>
                    <a:lnTo>
                      <a:pt x="1078" y="1101"/>
                    </a:lnTo>
                    <a:lnTo>
                      <a:pt x="1076" y="1099"/>
                    </a:lnTo>
                    <a:lnTo>
                      <a:pt x="1074" y="1095"/>
                    </a:lnTo>
                    <a:lnTo>
                      <a:pt x="1072" y="1095"/>
                    </a:lnTo>
                    <a:lnTo>
                      <a:pt x="1071" y="1097"/>
                    </a:lnTo>
                    <a:lnTo>
                      <a:pt x="1067" y="1097"/>
                    </a:lnTo>
                    <a:lnTo>
                      <a:pt x="1064" y="1097"/>
                    </a:lnTo>
                    <a:lnTo>
                      <a:pt x="1062" y="1099"/>
                    </a:lnTo>
                    <a:lnTo>
                      <a:pt x="1055" y="1099"/>
                    </a:lnTo>
                    <a:lnTo>
                      <a:pt x="1052" y="1101"/>
                    </a:lnTo>
                    <a:lnTo>
                      <a:pt x="1050" y="1104"/>
                    </a:lnTo>
                    <a:lnTo>
                      <a:pt x="1048" y="1104"/>
                    </a:lnTo>
                    <a:lnTo>
                      <a:pt x="1041" y="1104"/>
                    </a:lnTo>
                    <a:lnTo>
                      <a:pt x="1041" y="1104"/>
                    </a:lnTo>
                    <a:lnTo>
                      <a:pt x="1041" y="1109"/>
                    </a:lnTo>
                    <a:lnTo>
                      <a:pt x="1045" y="1109"/>
                    </a:lnTo>
                    <a:lnTo>
                      <a:pt x="1041" y="1109"/>
                    </a:lnTo>
                    <a:lnTo>
                      <a:pt x="1039" y="1113"/>
                    </a:lnTo>
                    <a:lnTo>
                      <a:pt x="1036" y="1115"/>
                    </a:lnTo>
                    <a:lnTo>
                      <a:pt x="1033" y="1118"/>
                    </a:lnTo>
                    <a:lnTo>
                      <a:pt x="1033" y="1120"/>
                    </a:lnTo>
                    <a:lnTo>
                      <a:pt x="1029" y="1122"/>
                    </a:lnTo>
                    <a:lnTo>
                      <a:pt x="1029" y="1125"/>
                    </a:lnTo>
                    <a:lnTo>
                      <a:pt x="1027" y="1130"/>
                    </a:lnTo>
                    <a:lnTo>
                      <a:pt x="1022" y="1132"/>
                    </a:lnTo>
                    <a:lnTo>
                      <a:pt x="1019" y="1135"/>
                    </a:lnTo>
                    <a:lnTo>
                      <a:pt x="1019" y="1135"/>
                    </a:lnTo>
                    <a:lnTo>
                      <a:pt x="1010" y="1135"/>
                    </a:lnTo>
                    <a:lnTo>
                      <a:pt x="1008" y="1137"/>
                    </a:lnTo>
                    <a:lnTo>
                      <a:pt x="1005" y="1144"/>
                    </a:lnTo>
                    <a:lnTo>
                      <a:pt x="1005" y="1144"/>
                    </a:lnTo>
                    <a:lnTo>
                      <a:pt x="1003" y="1144"/>
                    </a:lnTo>
                    <a:lnTo>
                      <a:pt x="1000" y="1144"/>
                    </a:lnTo>
                    <a:lnTo>
                      <a:pt x="998" y="1144"/>
                    </a:lnTo>
                    <a:lnTo>
                      <a:pt x="996" y="1141"/>
                    </a:lnTo>
                    <a:lnTo>
                      <a:pt x="991" y="1141"/>
                    </a:lnTo>
                    <a:lnTo>
                      <a:pt x="987" y="1135"/>
                    </a:lnTo>
                    <a:lnTo>
                      <a:pt x="986" y="1135"/>
                    </a:lnTo>
                    <a:lnTo>
                      <a:pt x="986" y="1132"/>
                    </a:lnTo>
                    <a:lnTo>
                      <a:pt x="986" y="1129"/>
                    </a:lnTo>
                    <a:lnTo>
                      <a:pt x="986" y="1129"/>
                    </a:lnTo>
                    <a:lnTo>
                      <a:pt x="982" y="1130"/>
                    </a:lnTo>
                    <a:lnTo>
                      <a:pt x="980" y="1132"/>
                    </a:lnTo>
                    <a:lnTo>
                      <a:pt x="975" y="1135"/>
                    </a:lnTo>
                    <a:lnTo>
                      <a:pt x="967" y="1135"/>
                    </a:lnTo>
                    <a:lnTo>
                      <a:pt x="965" y="1135"/>
                    </a:lnTo>
                    <a:lnTo>
                      <a:pt x="963" y="1137"/>
                    </a:lnTo>
                    <a:lnTo>
                      <a:pt x="963" y="1135"/>
                    </a:lnTo>
                    <a:lnTo>
                      <a:pt x="960" y="1135"/>
                    </a:lnTo>
                    <a:lnTo>
                      <a:pt x="958" y="1135"/>
                    </a:lnTo>
                    <a:lnTo>
                      <a:pt x="956" y="1135"/>
                    </a:lnTo>
                    <a:lnTo>
                      <a:pt x="954" y="1132"/>
                    </a:lnTo>
                    <a:lnTo>
                      <a:pt x="954" y="1130"/>
                    </a:lnTo>
                    <a:lnTo>
                      <a:pt x="951" y="1129"/>
                    </a:lnTo>
                    <a:lnTo>
                      <a:pt x="954" y="1127"/>
                    </a:lnTo>
                    <a:lnTo>
                      <a:pt x="954" y="1123"/>
                    </a:lnTo>
                    <a:lnTo>
                      <a:pt x="951" y="1123"/>
                    </a:lnTo>
                    <a:lnTo>
                      <a:pt x="949" y="1123"/>
                    </a:lnTo>
                    <a:lnTo>
                      <a:pt x="946" y="1120"/>
                    </a:lnTo>
                    <a:lnTo>
                      <a:pt x="942" y="1118"/>
                    </a:lnTo>
                    <a:lnTo>
                      <a:pt x="940" y="1118"/>
                    </a:lnTo>
                    <a:lnTo>
                      <a:pt x="940" y="1115"/>
                    </a:lnTo>
                    <a:lnTo>
                      <a:pt x="935" y="1109"/>
                    </a:lnTo>
                    <a:lnTo>
                      <a:pt x="932" y="1108"/>
                    </a:lnTo>
                    <a:lnTo>
                      <a:pt x="927" y="1104"/>
                    </a:lnTo>
                    <a:lnTo>
                      <a:pt x="920" y="1104"/>
                    </a:lnTo>
                    <a:lnTo>
                      <a:pt x="914" y="1104"/>
                    </a:lnTo>
                    <a:lnTo>
                      <a:pt x="913" y="1108"/>
                    </a:lnTo>
                    <a:lnTo>
                      <a:pt x="914" y="1109"/>
                    </a:lnTo>
                    <a:lnTo>
                      <a:pt x="913" y="1109"/>
                    </a:lnTo>
                    <a:lnTo>
                      <a:pt x="909" y="1113"/>
                    </a:lnTo>
                    <a:lnTo>
                      <a:pt x="909" y="1113"/>
                    </a:lnTo>
                    <a:lnTo>
                      <a:pt x="904" y="1113"/>
                    </a:lnTo>
                    <a:lnTo>
                      <a:pt x="900" y="1109"/>
                    </a:lnTo>
                    <a:lnTo>
                      <a:pt x="897" y="1113"/>
                    </a:lnTo>
                    <a:lnTo>
                      <a:pt x="894" y="1113"/>
                    </a:lnTo>
                    <a:lnTo>
                      <a:pt x="892" y="1113"/>
                    </a:lnTo>
                    <a:lnTo>
                      <a:pt x="890" y="1109"/>
                    </a:lnTo>
                    <a:lnTo>
                      <a:pt x="887" y="1109"/>
                    </a:lnTo>
                    <a:lnTo>
                      <a:pt x="883" y="1108"/>
                    </a:lnTo>
                    <a:lnTo>
                      <a:pt x="887" y="1104"/>
                    </a:lnTo>
                    <a:lnTo>
                      <a:pt x="881" y="1102"/>
                    </a:lnTo>
                    <a:lnTo>
                      <a:pt x="878" y="1104"/>
                    </a:lnTo>
                    <a:lnTo>
                      <a:pt x="878" y="1108"/>
                    </a:lnTo>
                    <a:lnTo>
                      <a:pt x="878" y="1109"/>
                    </a:lnTo>
                    <a:lnTo>
                      <a:pt x="878" y="1109"/>
                    </a:lnTo>
                    <a:lnTo>
                      <a:pt x="876" y="1113"/>
                    </a:lnTo>
                    <a:lnTo>
                      <a:pt x="871" y="1113"/>
                    </a:lnTo>
                    <a:lnTo>
                      <a:pt x="827" y="1059"/>
                    </a:lnTo>
                    <a:lnTo>
                      <a:pt x="798" y="1036"/>
                    </a:lnTo>
                    <a:lnTo>
                      <a:pt x="798" y="1035"/>
                    </a:lnTo>
                    <a:lnTo>
                      <a:pt x="800" y="1035"/>
                    </a:lnTo>
                    <a:lnTo>
                      <a:pt x="801" y="1031"/>
                    </a:lnTo>
                    <a:lnTo>
                      <a:pt x="801" y="1026"/>
                    </a:lnTo>
                    <a:lnTo>
                      <a:pt x="801" y="1026"/>
                    </a:lnTo>
                    <a:lnTo>
                      <a:pt x="796" y="1028"/>
                    </a:lnTo>
                    <a:lnTo>
                      <a:pt x="793" y="1028"/>
                    </a:lnTo>
                    <a:lnTo>
                      <a:pt x="789" y="1031"/>
                    </a:lnTo>
                    <a:lnTo>
                      <a:pt x="788" y="1031"/>
                    </a:lnTo>
                    <a:lnTo>
                      <a:pt x="782" y="1036"/>
                    </a:lnTo>
                    <a:lnTo>
                      <a:pt x="782" y="1038"/>
                    </a:lnTo>
                    <a:lnTo>
                      <a:pt x="782" y="1042"/>
                    </a:lnTo>
                    <a:lnTo>
                      <a:pt x="779" y="1043"/>
                    </a:lnTo>
                    <a:lnTo>
                      <a:pt x="777" y="1047"/>
                    </a:lnTo>
                    <a:lnTo>
                      <a:pt x="772" y="1047"/>
                    </a:lnTo>
                    <a:lnTo>
                      <a:pt x="768" y="1049"/>
                    </a:lnTo>
                    <a:lnTo>
                      <a:pt x="768" y="1050"/>
                    </a:lnTo>
                    <a:lnTo>
                      <a:pt x="767" y="1054"/>
                    </a:lnTo>
                    <a:lnTo>
                      <a:pt x="765" y="1050"/>
                    </a:lnTo>
                    <a:lnTo>
                      <a:pt x="758" y="1050"/>
                    </a:lnTo>
                    <a:lnTo>
                      <a:pt x="755" y="1050"/>
                    </a:lnTo>
                    <a:lnTo>
                      <a:pt x="751" y="1054"/>
                    </a:lnTo>
                    <a:lnTo>
                      <a:pt x="751" y="1054"/>
                    </a:lnTo>
                    <a:lnTo>
                      <a:pt x="748" y="1050"/>
                    </a:lnTo>
                    <a:lnTo>
                      <a:pt x="748" y="1047"/>
                    </a:lnTo>
                    <a:lnTo>
                      <a:pt x="751" y="1045"/>
                    </a:lnTo>
                    <a:lnTo>
                      <a:pt x="751" y="1042"/>
                    </a:lnTo>
                    <a:lnTo>
                      <a:pt x="749" y="1040"/>
                    </a:lnTo>
                    <a:lnTo>
                      <a:pt x="748" y="1043"/>
                    </a:lnTo>
                    <a:lnTo>
                      <a:pt x="744" y="1043"/>
                    </a:lnTo>
                    <a:lnTo>
                      <a:pt x="737" y="1040"/>
                    </a:lnTo>
                    <a:lnTo>
                      <a:pt x="734" y="1040"/>
                    </a:lnTo>
                    <a:lnTo>
                      <a:pt x="735" y="1042"/>
                    </a:lnTo>
                    <a:lnTo>
                      <a:pt x="737" y="1043"/>
                    </a:lnTo>
                    <a:lnTo>
                      <a:pt x="734" y="1045"/>
                    </a:lnTo>
                    <a:lnTo>
                      <a:pt x="732" y="1047"/>
                    </a:lnTo>
                    <a:lnTo>
                      <a:pt x="732" y="1042"/>
                    </a:lnTo>
                    <a:lnTo>
                      <a:pt x="728" y="1036"/>
                    </a:lnTo>
                    <a:lnTo>
                      <a:pt x="723" y="1031"/>
                    </a:lnTo>
                    <a:lnTo>
                      <a:pt x="723" y="1031"/>
                    </a:lnTo>
                    <a:lnTo>
                      <a:pt x="723" y="1036"/>
                    </a:lnTo>
                    <a:lnTo>
                      <a:pt x="723" y="1038"/>
                    </a:lnTo>
                    <a:lnTo>
                      <a:pt x="722" y="1038"/>
                    </a:lnTo>
                    <a:lnTo>
                      <a:pt x="722" y="1035"/>
                    </a:lnTo>
                    <a:lnTo>
                      <a:pt x="718" y="1036"/>
                    </a:lnTo>
                    <a:lnTo>
                      <a:pt x="718" y="1040"/>
                    </a:lnTo>
                    <a:lnTo>
                      <a:pt x="716" y="1040"/>
                    </a:lnTo>
                    <a:lnTo>
                      <a:pt x="713" y="1038"/>
                    </a:lnTo>
                    <a:lnTo>
                      <a:pt x="709" y="1040"/>
                    </a:lnTo>
                    <a:lnTo>
                      <a:pt x="709" y="1038"/>
                    </a:lnTo>
                    <a:lnTo>
                      <a:pt x="706" y="1035"/>
                    </a:lnTo>
                    <a:lnTo>
                      <a:pt x="709" y="1035"/>
                    </a:lnTo>
                    <a:lnTo>
                      <a:pt x="709" y="1035"/>
                    </a:lnTo>
                    <a:lnTo>
                      <a:pt x="709" y="1031"/>
                    </a:lnTo>
                    <a:lnTo>
                      <a:pt x="709" y="1026"/>
                    </a:lnTo>
                    <a:lnTo>
                      <a:pt x="709" y="1026"/>
                    </a:lnTo>
                    <a:lnTo>
                      <a:pt x="706" y="1022"/>
                    </a:lnTo>
                    <a:lnTo>
                      <a:pt x="704" y="1021"/>
                    </a:lnTo>
                    <a:lnTo>
                      <a:pt x="704" y="1017"/>
                    </a:lnTo>
                    <a:lnTo>
                      <a:pt x="701" y="1017"/>
                    </a:lnTo>
                    <a:lnTo>
                      <a:pt x="701" y="1012"/>
                    </a:lnTo>
                    <a:lnTo>
                      <a:pt x="697" y="1012"/>
                    </a:lnTo>
                    <a:lnTo>
                      <a:pt x="694" y="1014"/>
                    </a:lnTo>
                    <a:lnTo>
                      <a:pt x="688" y="1014"/>
                    </a:lnTo>
                    <a:lnTo>
                      <a:pt x="685" y="1010"/>
                    </a:lnTo>
                    <a:lnTo>
                      <a:pt x="682" y="1012"/>
                    </a:lnTo>
                    <a:lnTo>
                      <a:pt x="676" y="1009"/>
                    </a:lnTo>
                    <a:lnTo>
                      <a:pt x="675" y="1010"/>
                    </a:lnTo>
                    <a:lnTo>
                      <a:pt x="669" y="1010"/>
                    </a:lnTo>
                    <a:lnTo>
                      <a:pt x="668" y="1012"/>
                    </a:lnTo>
                    <a:lnTo>
                      <a:pt x="668" y="1015"/>
                    </a:lnTo>
                    <a:lnTo>
                      <a:pt x="662" y="1015"/>
                    </a:lnTo>
                    <a:lnTo>
                      <a:pt x="661" y="1017"/>
                    </a:lnTo>
                    <a:lnTo>
                      <a:pt x="662" y="1019"/>
                    </a:lnTo>
                    <a:lnTo>
                      <a:pt x="662" y="1022"/>
                    </a:lnTo>
                    <a:lnTo>
                      <a:pt x="659" y="1022"/>
                    </a:lnTo>
                    <a:lnTo>
                      <a:pt x="655" y="1022"/>
                    </a:lnTo>
                    <a:lnTo>
                      <a:pt x="654" y="1026"/>
                    </a:lnTo>
                    <a:lnTo>
                      <a:pt x="650" y="1026"/>
                    </a:lnTo>
                    <a:lnTo>
                      <a:pt x="647" y="1026"/>
                    </a:lnTo>
                    <a:lnTo>
                      <a:pt x="647" y="1026"/>
                    </a:lnTo>
                    <a:lnTo>
                      <a:pt x="638" y="1031"/>
                    </a:lnTo>
                    <a:lnTo>
                      <a:pt x="635" y="1035"/>
                    </a:lnTo>
                    <a:lnTo>
                      <a:pt x="631" y="1035"/>
                    </a:lnTo>
                    <a:lnTo>
                      <a:pt x="629" y="1035"/>
                    </a:lnTo>
                    <a:lnTo>
                      <a:pt x="628" y="1031"/>
                    </a:lnTo>
                    <a:lnTo>
                      <a:pt x="624" y="1035"/>
                    </a:lnTo>
                    <a:lnTo>
                      <a:pt x="624" y="1036"/>
                    </a:lnTo>
                    <a:lnTo>
                      <a:pt x="622" y="1036"/>
                    </a:lnTo>
                    <a:lnTo>
                      <a:pt x="619" y="1038"/>
                    </a:lnTo>
                    <a:lnTo>
                      <a:pt x="619" y="1042"/>
                    </a:lnTo>
                    <a:lnTo>
                      <a:pt x="619" y="1043"/>
                    </a:lnTo>
                    <a:lnTo>
                      <a:pt x="616" y="1042"/>
                    </a:lnTo>
                    <a:lnTo>
                      <a:pt x="614" y="1043"/>
                    </a:lnTo>
                    <a:lnTo>
                      <a:pt x="610" y="1045"/>
                    </a:lnTo>
                    <a:lnTo>
                      <a:pt x="605" y="1045"/>
                    </a:lnTo>
                    <a:lnTo>
                      <a:pt x="602" y="1047"/>
                    </a:lnTo>
                    <a:lnTo>
                      <a:pt x="600" y="1049"/>
                    </a:lnTo>
                    <a:lnTo>
                      <a:pt x="596" y="1050"/>
                    </a:lnTo>
                    <a:lnTo>
                      <a:pt x="593" y="1050"/>
                    </a:lnTo>
                    <a:lnTo>
                      <a:pt x="588" y="1050"/>
                    </a:lnTo>
                    <a:lnTo>
                      <a:pt x="583" y="1054"/>
                    </a:lnTo>
                    <a:lnTo>
                      <a:pt x="581" y="1057"/>
                    </a:lnTo>
                    <a:lnTo>
                      <a:pt x="579" y="1057"/>
                    </a:lnTo>
                    <a:lnTo>
                      <a:pt x="577" y="1054"/>
                    </a:lnTo>
                    <a:lnTo>
                      <a:pt x="574" y="1054"/>
                    </a:lnTo>
                    <a:lnTo>
                      <a:pt x="574" y="1057"/>
                    </a:lnTo>
                    <a:lnTo>
                      <a:pt x="574" y="1059"/>
                    </a:lnTo>
                    <a:lnTo>
                      <a:pt x="572" y="1062"/>
                    </a:lnTo>
                    <a:lnTo>
                      <a:pt x="569" y="1057"/>
                    </a:lnTo>
                    <a:lnTo>
                      <a:pt x="563" y="1059"/>
                    </a:lnTo>
                    <a:lnTo>
                      <a:pt x="563" y="1057"/>
                    </a:lnTo>
                    <a:lnTo>
                      <a:pt x="560" y="1057"/>
                    </a:lnTo>
                    <a:lnTo>
                      <a:pt x="558" y="1059"/>
                    </a:lnTo>
                    <a:lnTo>
                      <a:pt x="555" y="1059"/>
                    </a:lnTo>
                    <a:lnTo>
                      <a:pt x="555" y="1059"/>
                    </a:lnTo>
                    <a:lnTo>
                      <a:pt x="555" y="1064"/>
                    </a:lnTo>
                    <a:lnTo>
                      <a:pt x="555" y="1066"/>
                    </a:lnTo>
                    <a:lnTo>
                      <a:pt x="556" y="1068"/>
                    </a:lnTo>
                    <a:lnTo>
                      <a:pt x="562" y="1066"/>
                    </a:lnTo>
                    <a:lnTo>
                      <a:pt x="563" y="1069"/>
                    </a:lnTo>
                    <a:lnTo>
                      <a:pt x="558" y="1069"/>
                    </a:lnTo>
                    <a:lnTo>
                      <a:pt x="556" y="1071"/>
                    </a:lnTo>
                    <a:lnTo>
                      <a:pt x="556" y="1073"/>
                    </a:lnTo>
                    <a:lnTo>
                      <a:pt x="562" y="1073"/>
                    </a:lnTo>
                    <a:lnTo>
                      <a:pt x="565" y="1076"/>
                    </a:lnTo>
                    <a:lnTo>
                      <a:pt x="567" y="1073"/>
                    </a:lnTo>
                    <a:lnTo>
                      <a:pt x="570" y="1073"/>
                    </a:lnTo>
                    <a:lnTo>
                      <a:pt x="574" y="1076"/>
                    </a:lnTo>
                    <a:lnTo>
                      <a:pt x="577" y="1078"/>
                    </a:lnTo>
                    <a:lnTo>
                      <a:pt x="577" y="1082"/>
                    </a:lnTo>
                    <a:lnTo>
                      <a:pt x="574" y="1082"/>
                    </a:lnTo>
                    <a:lnTo>
                      <a:pt x="572" y="1082"/>
                    </a:lnTo>
                    <a:lnTo>
                      <a:pt x="563" y="1082"/>
                    </a:lnTo>
                    <a:lnTo>
                      <a:pt x="560" y="1085"/>
                    </a:lnTo>
                    <a:lnTo>
                      <a:pt x="555" y="1090"/>
                    </a:lnTo>
                    <a:lnTo>
                      <a:pt x="556" y="1094"/>
                    </a:lnTo>
                    <a:lnTo>
                      <a:pt x="558" y="1095"/>
                    </a:lnTo>
                    <a:lnTo>
                      <a:pt x="560" y="1099"/>
                    </a:lnTo>
                    <a:lnTo>
                      <a:pt x="556" y="1102"/>
                    </a:lnTo>
                    <a:lnTo>
                      <a:pt x="556" y="1104"/>
                    </a:lnTo>
                    <a:lnTo>
                      <a:pt x="555" y="1104"/>
                    </a:lnTo>
                    <a:lnTo>
                      <a:pt x="555" y="1108"/>
                    </a:lnTo>
                    <a:lnTo>
                      <a:pt x="555" y="1109"/>
                    </a:lnTo>
                    <a:lnTo>
                      <a:pt x="555" y="1113"/>
                    </a:lnTo>
                    <a:lnTo>
                      <a:pt x="558" y="1113"/>
                    </a:lnTo>
                    <a:lnTo>
                      <a:pt x="560" y="1113"/>
                    </a:lnTo>
                    <a:lnTo>
                      <a:pt x="565" y="1115"/>
                    </a:lnTo>
                    <a:lnTo>
                      <a:pt x="565" y="1116"/>
                    </a:lnTo>
                    <a:lnTo>
                      <a:pt x="569" y="1120"/>
                    </a:lnTo>
                    <a:lnTo>
                      <a:pt x="574" y="1120"/>
                    </a:lnTo>
                    <a:lnTo>
                      <a:pt x="574" y="1122"/>
                    </a:lnTo>
                    <a:lnTo>
                      <a:pt x="577" y="1135"/>
                    </a:lnTo>
                    <a:lnTo>
                      <a:pt x="574" y="1137"/>
                    </a:lnTo>
                    <a:lnTo>
                      <a:pt x="569" y="1141"/>
                    </a:lnTo>
                    <a:lnTo>
                      <a:pt x="563" y="1137"/>
                    </a:lnTo>
                    <a:lnTo>
                      <a:pt x="558" y="1135"/>
                    </a:lnTo>
                    <a:lnTo>
                      <a:pt x="556" y="1135"/>
                    </a:lnTo>
                    <a:lnTo>
                      <a:pt x="556" y="1141"/>
                    </a:lnTo>
                    <a:lnTo>
                      <a:pt x="555" y="1144"/>
                    </a:lnTo>
                    <a:lnTo>
                      <a:pt x="551" y="1144"/>
                    </a:lnTo>
                    <a:lnTo>
                      <a:pt x="546" y="1141"/>
                    </a:lnTo>
                    <a:lnTo>
                      <a:pt x="539" y="1141"/>
                    </a:lnTo>
                    <a:lnTo>
                      <a:pt x="537" y="1141"/>
                    </a:lnTo>
                    <a:lnTo>
                      <a:pt x="536" y="1141"/>
                    </a:lnTo>
                    <a:lnTo>
                      <a:pt x="532" y="1141"/>
                    </a:lnTo>
                    <a:lnTo>
                      <a:pt x="529" y="1135"/>
                    </a:lnTo>
                    <a:lnTo>
                      <a:pt x="532" y="1135"/>
                    </a:lnTo>
                    <a:lnTo>
                      <a:pt x="532" y="1132"/>
                    </a:lnTo>
                    <a:lnTo>
                      <a:pt x="530" y="1132"/>
                    </a:lnTo>
                    <a:lnTo>
                      <a:pt x="527" y="1130"/>
                    </a:lnTo>
                    <a:lnTo>
                      <a:pt x="523" y="1132"/>
                    </a:lnTo>
                    <a:lnTo>
                      <a:pt x="520" y="1132"/>
                    </a:lnTo>
                    <a:lnTo>
                      <a:pt x="518" y="1132"/>
                    </a:lnTo>
                    <a:lnTo>
                      <a:pt x="520" y="1135"/>
                    </a:lnTo>
                    <a:lnTo>
                      <a:pt x="515" y="1135"/>
                    </a:lnTo>
                    <a:lnTo>
                      <a:pt x="513" y="1135"/>
                    </a:lnTo>
                    <a:lnTo>
                      <a:pt x="508" y="1130"/>
                    </a:lnTo>
                    <a:lnTo>
                      <a:pt x="504" y="1132"/>
                    </a:lnTo>
                    <a:lnTo>
                      <a:pt x="504" y="1132"/>
                    </a:lnTo>
                    <a:lnTo>
                      <a:pt x="501" y="1132"/>
                    </a:lnTo>
                    <a:lnTo>
                      <a:pt x="497" y="1132"/>
                    </a:lnTo>
                    <a:lnTo>
                      <a:pt x="497" y="1135"/>
                    </a:lnTo>
                    <a:lnTo>
                      <a:pt x="496" y="1135"/>
                    </a:lnTo>
                    <a:lnTo>
                      <a:pt x="492" y="1141"/>
                    </a:lnTo>
                    <a:lnTo>
                      <a:pt x="490" y="1144"/>
                    </a:lnTo>
                    <a:lnTo>
                      <a:pt x="487" y="1144"/>
                    </a:lnTo>
                    <a:lnTo>
                      <a:pt x="485" y="1141"/>
                    </a:lnTo>
                    <a:lnTo>
                      <a:pt x="478" y="1141"/>
                    </a:lnTo>
                    <a:lnTo>
                      <a:pt x="475" y="1135"/>
                    </a:lnTo>
                    <a:lnTo>
                      <a:pt x="473" y="1137"/>
                    </a:lnTo>
                    <a:lnTo>
                      <a:pt x="473" y="1144"/>
                    </a:lnTo>
                    <a:lnTo>
                      <a:pt x="470" y="1146"/>
                    </a:lnTo>
                    <a:lnTo>
                      <a:pt x="470" y="1146"/>
                    </a:lnTo>
                    <a:lnTo>
                      <a:pt x="470" y="1141"/>
                    </a:lnTo>
                    <a:lnTo>
                      <a:pt x="468" y="1141"/>
                    </a:lnTo>
                    <a:lnTo>
                      <a:pt x="464" y="1141"/>
                    </a:lnTo>
                    <a:lnTo>
                      <a:pt x="461" y="1135"/>
                    </a:lnTo>
                    <a:lnTo>
                      <a:pt x="457" y="1132"/>
                    </a:lnTo>
                    <a:lnTo>
                      <a:pt x="454" y="1132"/>
                    </a:lnTo>
                    <a:lnTo>
                      <a:pt x="450" y="1129"/>
                    </a:lnTo>
                    <a:lnTo>
                      <a:pt x="447" y="1127"/>
                    </a:lnTo>
                    <a:lnTo>
                      <a:pt x="447" y="1125"/>
                    </a:lnTo>
                    <a:lnTo>
                      <a:pt x="445" y="1125"/>
                    </a:lnTo>
                    <a:lnTo>
                      <a:pt x="438" y="1127"/>
                    </a:lnTo>
                    <a:lnTo>
                      <a:pt x="433" y="1123"/>
                    </a:lnTo>
                    <a:lnTo>
                      <a:pt x="431" y="1120"/>
                    </a:lnTo>
                    <a:lnTo>
                      <a:pt x="428" y="1120"/>
                    </a:lnTo>
                    <a:lnTo>
                      <a:pt x="424" y="1122"/>
                    </a:lnTo>
                    <a:lnTo>
                      <a:pt x="423" y="1122"/>
                    </a:lnTo>
                    <a:lnTo>
                      <a:pt x="423" y="1125"/>
                    </a:lnTo>
                    <a:lnTo>
                      <a:pt x="419" y="1127"/>
                    </a:lnTo>
                    <a:lnTo>
                      <a:pt x="419" y="1123"/>
                    </a:lnTo>
                    <a:lnTo>
                      <a:pt x="417" y="1125"/>
                    </a:lnTo>
                    <a:lnTo>
                      <a:pt x="416" y="1129"/>
                    </a:lnTo>
                    <a:lnTo>
                      <a:pt x="414" y="1130"/>
                    </a:lnTo>
                    <a:lnTo>
                      <a:pt x="410" y="1129"/>
                    </a:lnTo>
                    <a:lnTo>
                      <a:pt x="414" y="1125"/>
                    </a:lnTo>
                    <a:lnTo>
                      <a:pt x="414" y="1123"/>
                    </a:lnTo>
                    <a:lnTo>
                      <a:pt x="410" y="1122"/>
                    </a:lnTo>
                    <a:lnTo>
                      <a:pt x="405" y="1118"/>
                    </a:lnTo>
                    <a:lnTo>
                      <a:pt x="404" y="1120"/>
                    </a:lnTo>
                    <a:lnTo>
                      <a:pt x="405" y="1123"/>
                    </a:lnTo>
                    <a:lnTo>
                      <a:pt x="404" y="1127"/>
                    </a:lnTo>
                    <a:lnTo>
                      <a:pt x="400" y="1125"/>
                    </a:lnTo>
                    <a:lnTo>
                      <a:pt x="400" y="1129"/>
                    </a:lnTo>
                    <a:lnTo>
                      <a:pt x="397" y="1132"/>
                    </a:lnTo>
                    <a:lnTo>
                      <a:pt x="393" y="1132"/>
                    </a:lnTo>
                    <a:lnTo>
                      <a:pt x="388" y="1135"/>
                    </a:lnTo>
                    <a:lnTo>
                      <a:pt x="388" y="1141"/>
                    </a:lnTo>
                    <a:lnTo>
                      <a:pt x="391" y="1144"/>
                    </a:lnTo>
                    <a:lnTo>
                      <a:pt x="391" y="1146"/>
                    </a:lnTo>
                    <a:lnTo>
                      <a:pt x="384" y="1146"/>
                    </a:lnTo>
                    <a:lnTo>
                      <a:pt x="379" y="1148"/>
                    </a:lnTo>
                    <a:lnTo>
                      <a:pt x="384" y="1162"/>
                    </a:lnTo>
                    <a:lnTo>
                      <a:pt x="381" y="1163"/>
                    </a:lnTo>
                    <a:lnTo>
                      <a:pt x="383" y="1169"/>
                    </a:lnTo>
                    <a:lnTo>
                      <a:pt x="377" y="1169"/>
                    </a:lnTo>
                    <a:lnTo>
                      <a:pt x="371" y="1167"/>
                    </a:lnTo>
                    <a:lnTo>
                      <a:pt x="371" y="1163"/>
                    </a:lnTo>
                    <a:lnTo>
                      <a:pt x="362" y="1155"/>
                    </a:lnTo>
                    <a:lnTo>
                      <a:pt x="360" y="1158"/>
                    </a:lnTo>
                    <a:lnTo>
                      <a:pt x="360" y="1162"/>
                    </a:lnTo>
                    <a:lnTo>
                      <a:pt x="355" y="1169"/>
                    </a:lnTo>
                    <a:lnTo>
                      <a:pt x="351" y="1169"/>
                    </a:lnTo>
                    <a:lnTo>
                      <a:pt x="351" y="1177"/>
                    </a:lnTo>
                    <a:lnTo>
                      <a:pt x="355" y="1179"/>
                    </a:lnTo>
                    <a:lnTo>
                      <a:pt x="353" y="1191"/>
                    </a:lnTo>
                    <a:lnTo>
                      <a:pt x="350" y="1196"/>
                    </a:lnTo>
                    <a:lnTo>
                      <a:pt x="358" y="1200"/>
                    </a:lnTo>
                    <a:lnTo>
                      <a:pt x="360" y="1203"/>
                    </a:lnTo>
                    <a:lnTo>
                      <a:pt x="360" y="1207"/>
                    </a:lnTo>
                    <a:lnTo>
                      <a:pt x="365" y="1212"/>
                    </a:lnTo>
                    <a:lnTo>
                      <a:pt x="365" y="1209"/>
                    </a:lnTo>
                    <a:lnTo>
                      <a:pt x="377" y="1212"/>
                    </a:lnTo>
                    <a:lnTo>
                      <a:pt x="386" y="1219"/>
                    </a:lnTo>
                    <a:lnTo>
                      <a:pt x="393" y="1231"/>
                    </a:lnTo>
                    <a:lnTo>
                      <a:pt x="386" y="1231"/>
                    </a:lnTo>
                    <a:lnTo>
                      <a:pt x="386" y="1233"/>
                    </a:lnTo>
                    <a:lnTo>
                      <a:pt x="391" y="1238"/>
                    </a:lnTo>
                    <a:lnTo>
                      <a:pt x="397" y="1236"/>
                    </a:lnTo>
                    <a:lnTo>
                      <a:pt x="400" y="1240"/>
                    </a:lnTo>
                    <a:lnTo>
                      <a:pt x="400" y="1240"/>
                    </a:lnTo>
                    <a:lnTo>
                      <a:pt x="400" y="1240"/>
                    </a:lnTo>
                    <a:lnTo>
                      <a:pt x="400" y="1240"/>
                    </a:lnTo>
                    <a:lnTo>
                      <a:pt x="400" y="1242"/>
                    </a:lnTo>
                    <a:lnTo>
                      <a:pt x="397" y="1242"/>
                    </a:lnTo>
                    <a:lnTo>
                      <a:pt x="400" y="1245"/>
                    </a:lnTo>
                    <a:lnTo>
                      <a:pt x="400" y="1247"/>
                    </a:lnTo>
                    <a:lnTo>
                      <a:pt x="397" y="1247"/>
                    </a:lnTo>
                    <a:lnTo>
                      <a:pt x="400" y="1248"/>
                    </a:lnTo>
                    <a:lnTo>
                      <a:pt x="400" y="1250"/>
                    </a:lnTo>
                    <a:lnTo>
                      <a:pt x="397" y="1248"/>
                    </a:lnTo>
                    <a:lnTo>
                      <a:pt x="393" y="1250"/>
                    </a:lnTo>
                    <a:lnTo>
                      <a:pt x="391" y="1248"/>
                    </a:lnTo>
                    <a:lnTo>
                      <a:pt x="388" y="1248"/>
                    </a:lnTo>
                    <a:lnTo>
                      <a:pt x="393" y="1250"/>
                    </a:lnTo>
                    <a:lnTo>
                      <a:pt x="393" y="1254"/>
                    </a:lnTo>
                    <a:lnTo>
                      <a:pt x="393" y="1254"/>
                    </a:lnTo>
                    <a:lnTo>
                      <a:pt x="393" y="1254"/>
                    </a:lnTo>
                    <a:lnTo>
                      <a:pt x="393" y="1254"/>
                    </a:lnTo>
                    <a:lnTo>
                      <a:pt x="388" y="1254"/>
                    </a:lnTo>
                    <a:lnTo>
                      <a:pt x="388" y="1254"/>
                    </a:lnTo>
                    <a:lnTo>
                      <a:pt x="388" y="1254"/>
                    </a:lnTo>
                    <a:lnTo>
                      <a:pt x="386" y="1254"/>
                    </a:lnTo>
                    <a:lnTo>
                      <a:pt x="388" y="1254"/>
                    </a:lnTo>
                    <a:lnTo>
                      <a:pt x="388" y="1255"/>
                    </a:lnTo>
                    <a:lnTo>
                      <a:pt x="386" y="1257"/>
                    </a:lnTo>
                    <a:lnTo>
                      <a:pt x="384" y="1257"/>
                    </a:lnTo>
                    <a:lnTo>
                      <a:pt x="383" y="1257"/>
                    </a:lnTo>
                    <a:lnTo>
                      <a:pt x="381" y="1255"/>
                    </a:lnTo>
                    <a:lnTo>
                      <a:pt x="381" y="1259"/>
                    </a:lnTo>
                    <a:lnTo>
                      <a:pt x="379" y="1259"/>
                    </a:lnTo>
                    <a:lnTo>
                      <a:pt x="377" y="1257"/>
                    </a:lnTo>
                    <a:lnTo>
                      <a:pt x="377" y="1257"/>
                    </a:lnTo>
                    <a:lnTo>
                      <a:pt x="377" y="1259"/>
                    </a:lnTo>
                    <a:lnTo>
                      <a:pt x="374" y="1262"/>
                    </a:lnTo>
                    <a:lnTo>
                      <a:pt x="372" y="1266"/>
                    </a:lnTo>
                    <a:lnTo>
                      <a:pt x="371" y="1268"/>
                    </a:lnTo>
                    <a:lnTo>
                      <a:pt x="371" y="1271"/>
                    </a:lnTo>
                    <a:lnTo>
                      <a:pt x="369" y="1273"/>
                    </a:lnTo>
                    <a:lnTo>
                      <a:pt x="369" y="1282"/>
                    </a:lnTo>
                    <a:lnTo>
                      <a:pt x="369" y="1282"/>
                    </a:lnTo>
                    <a:lnTo>
                      <a:pt x="365" y="1283"/>
                    </a:lnTo>
                    <a:lnTo>
                      <a:pt x="369" y="1290"/>
                    </a:lnTo>
                    <a:lnTo>
                      <a:pt x="371" y="1290"/>
                    </a:lnTo>
                    <a:lnTo>
                      <a:pt x="372" y="1290"/>
                    </a:lnTo>
                    <a:lnTo>
                      <a:pt x="374" y="1294"/>
                    </a:lnTo>
                    <a:lnTo>
                      <a:pt x="377" y="1294"/>
                    </a:lnTo>
                    <a:lnTo>
                      <a:pt x="377" y="1301"/>
                    </a:lnTo>
                    <a:lnTo>
                      <a:pt x="383" y="1301"/>
                    </a:lnTo>
                    <a:lnTo>
                      <a:pt x="384" y="1301"/>
                    </a:lnTo>
                    <a:lnTo>
                      <a:pt x="386" y="1301"/>
                    </a:lnTo>
                    <a:lnTo>
                      <a:pt x="384" y="1304"/>
                    </a:lnTo>
                    <a:lnTo>
                      <a:pt x="384" y="1306"/>
                    </a:lnTo>
                    <a:lnTo>
                      <a:pt x="381" y="1304"/>
                    </a:lnTo>
                    <a:lnTo>
                      <a:pt x="381" y="1309"/>
                    </a:lnTo>
                    <a:lnTo>
                      <a:pt x="384" y="1309"/>
                    </a:lnTo>
                    <a:lnTo>
                      <a:pt x="384" y="1309"/>
                    </a:lnTo>
                    <a:lnTo>
                      <a:pt x="386" y="1313"/>
                    </a:lnTo>
                    <a:lnTo>
                      <a:pt x="386" y="1318"/>
                    </a:lnTo>
                    <a:lnTo>
                      <a:pt x="388" y="1322"/>
                    </a:lnTo>
                    <a:lnTo>
                      <a:pt x="388" y="1327"/>
                    </a:lnTo>
                    <a:lnTo>
                      <a:pt x="397" y="1332"/>
                    </a:lnTo>
                    <a:lnTo>
                      <a:pt x="405" y="1341"/>
                    </a:lnTo>
                    <a:lnTo>
                      <a:pt x="407" y="1342"/>
                    </a:lnTo>
                    <a:lnTo>
                      <a:pt x="405" y="1342"/>
                    </a:lnTo>
                    <a:lnTo>
                      <a:pt x="400" y="1349"/>
                    </a:lnTo>
                    <a:lnTo>
                      <a:pt x="397" y="1351"/>
                    </a:lnTo>
                    <a:lnTo>
                      <a:pt x="393" y="1355"/>
                    </a:lnTo>
                    <a:lnTo>
                      <a:pt x="386" y="1355"/>
                    </a:lnTo>
                    <a:lnTo>
                      <a:pt x="384" y="1349"/>
                    </a:lnTo>
                    <a:lnTo>
                      <a:pt x="377" y="1344"/>
                    </a:lnTo>
                    <a:lnTo>
                      <a:pt x="371" y="1342"/>
                    </a:lnTo>
                    <a:lnTo>
                      <a:pt x="369" y="1349"/>
                    </a:lnTo>
                    <a:lnTo>
                      <a:pt x="374" y="1351"/>
                    </a:lnTo>
                    <a:lnTo>
                      <a:pt x="377" y="1356"/>
                    </a:lnTo>
                    <a:lnTo>
                      <a:pt x="374" y="1363"/>
                    </a:lnTo>
                    <a:lnTo>
                      <a:pt x="369" y="1360"/>
                    </a:lnTo>
                    <a:lnTo>
                      <a:pt x="364" y="1358"/>
                    </a:lnTo>
                    <a:lnTo>
                      <a:pt x="353" y="1351"/>
                    </a:lnTo>
                    <a:lnTo>
                      <a:pt x="346" y="1356"/>
                    </a:lnTo>
                    <a:lnTo>
                      <a:pt x="346" y="1358"/>
                    </a:lnTo>
                    <a:lnTo>
                      <a:pt x="350" y="1360"/>
                    </a:lnTo>
                    <a:lnTo>
                      <a:pt x="346" y="1358"/>
                    </a:lnTo>
                    <a:lnTo>
                      <a:pt x="336" y="1358"/>
                    </a:lnTo>
                    <a:lnTo>
                      <a:pt x="334" y="1358"/>
                    </a:lnTo>
                    <a:lnTo>
                      <a:pt x="325" y="1360"/>
                    </a:lnTo>
                    <a:lnTo>
                      <a:pt x="320" y="1360"/>
                    </a:lnTo>
                    <a:lnTo>
                      <a:pt x="320" y="1360"/>
                    </a:lnTo>
                    <a:lnTo>
                      <a:pt x="318" y="1360"/>
                    </a:lnTo>
                    <a:lnTo>
                      <a:pt x="311" y="1355"/>
                    </a:lnTo>
                    <a:lnTo>
                      <a:pt x="308" y="1351"/>
                    </a:lnTo>
                    <a:lnTo>
                      <a:pt x="304" y="1355"/>
                    </a:lnTo>
                    <a:lnTo>
                      <a:pt x="303" y="1356"/>
                    </a:lnTo>
                    <a:lnTo>
                      <a:pt x="298" y="1355"/>
                    </a:lnTo>
                    <a:lnTo>
                      <a:pt x="296" y="1356"/>
                    </a:lnTo>
                    <a:lnTo>
                      <a:pt x="296" y="1355"/>
                    </a:lnTo>
                    <a:lnTo>
                      <a:pt x="296" y="1351"/>
                    </a:lnTo>
                    <a:lnTo>
                      <a:pt x="292" y="1351"/>
                    </a:lnTo>
                    <a:lnTo>
                      <a:pt x="292" y="1351"/>
                    </a:lnTo>
                    <a:lnTo>
                      <a:pt x="292" y="1351"/>
                    </a:lnTo>
                    <a:lnTo>
                      <a:pt x="292" y="1348"/>
                    </a:lnTo>
                    <a:lnTo>
                      <a:pt x="292" y="1346"/>
                    </a:lnTo>
                    <a:lnTo>
                      <a:pt x="291" y="1341"/>
                    </a:lnTo>
                    <a:lnTo>
                      <a:pt x="291" y="1332"/>
                    </a:lnTo>
                    <a:lnTo>
                      <a:pt x="287" y="1332"/>
                    </a:lnTo>
                    <a:lnTo>
                      <a:pt x="284" y="1325"/>
                    </a:lnTo>
                    <a:lnTo>
                      <a:pt x="280" y="1325"/>
                    </a:lnTo>
                    <a:lnTo>
                      <a:pt x="278" y="1323"/>
                    </a:lnTo>
                    <a:lnTo>
                      <a:pt x="275" y="1318"/>
                    </a:lnTo>
                    <a:lnTo>
                      <a:pt x="273" y="1320"/>
                    </a:lnTo>
                    <a:lnTo>
                      <a:pt x="273" y="1318"/>
                    </a:lnTo>
                    <a:lnTo>
                      <a:pt x="268" y="1318"/>
                    </a:lnTo>
                    <a:lnTo>
                      <a:pt x="265" y="1315"/>
                    </a:lnTo>
                    <a:lnTo>
                      <a:pt x="265" y="1315"/>
                    </a:lnTo>
                    <a:lnTo>
                      <a:pt x="261" y="1313"/>
                    </a:lnTo>
                    <a:lnTo>
                      <a:pt x="259" y="1309"/>
                    </a:lnTo>
                    <a:lnTo>
                      <a:pt x="256" y="1309"/>
                    </a:lnTo>
                    <a:lnTo>
                      <a:pt x="254" y="1309"/>
                    </a:lnTo>
                    <a:lnTo>
                      <a:pt x="252" y="1306"/>
                    </a:lnTo>
                    <a:lnTo>
                      <a:pt x="249" y="1304"/>
                    </a:lnTo>
                    <a:lnTo>
                      <a:pt x="247" y="1301"/>
                    </a:lnTo>
                    <a:lnTo>
                      <a:pt x="237" y="1294"/>
                    </a:lnTo>
                    <a:lnTo>
                      <a:pt x="232" y="1292"/>
                    </a:lnTo>
                    <a:lnTo>
                      <a:pt x="225" y="1287"/>
                    </a:lnTo>
                    <a:lnTo>
                      <a:pt x="219" y="1288"/>
                    </a:lnTo>
                    <a:lnTo>
                      <a:pt x="214" y="1283"/>
                    </a:lnTo>
                    <a:lnTo>
                      <a:pt x="214" y="1282"/>
                    </a:lnTo>
                    <a:lnTo>
                      <a:pt x="211" y="1278"/>
                    </a:lnTo>
                    <a:lnTo>
                      <a:pt x="209" y="1278"/>
                    </a:lnTo>
                    <a:lnTo>
                      <a:pt x="205" y="1278"/>
                    </a:lnTo>
                    <a:lnTo>
                      <a:pt x="207" y="1276"/>
                    </a:lnTo>
                    <a:lnTo>
                      <a:pt x="211" y="1273"/>
                    </a:lnTo>
                    <a:lnTo>
                      <a:pt x="209" y="1273"/>
                    </a:lnTo>
                    <a:lnTo>
                      <a:pt x="209" y="1271"/>
                    </a:lnTo>
                    <a:lnTo>
                      <a:pt x="211" y="1271"/>
                    </a:lnTo>
                    <a:lnTo>
                      <a:pt x="214" y="1273"/>
                    </a:lnTo>
                    <a:lnTo>
                      <a:pt x="214" y="1273"/>
                    </a:lnTo>
                    <a:lnTo>
                      <a:pt x="219" y="1273"/>
                    </a:lnTo>
                    <a:lnTo>
                      <a:pt x="219" y="1269"/>
                    </a:lnTo>
                    <a:lnTo>
                      <a:pt x="219" y="1268"/>
                    </a:lnTo>
                    <a:lnTo>
                      <a:pt x="219" y="1264"/>
                    </a:lnTo>
                    <a:lnTo>
                      <a:pt x="221" y="1261"/>
                    </a:lnTo>
                    <a:lnTo>
                      <a:pt x="221" y="1259"/>
                    </a:lnTo>
                    <a:lnTo>
                      <a:pt x="223" y="1257"/>
                    </a:lnTo>
                    <a:lnTo>
                      <a:pt x="225" y="1257"/>
                    </a:lnTo>
                    <a:lnTo>
                      <a:pt x="226" y="1255"/>
                    </a:lnTo>
                    <a:lnTo>
                      <a:pt x="230" y="1255"/>
                    </a:lnTo>
                    <a:lnTo>
                      <a:pt x="230" y="1254"/>
                    </a:lnTo>
                    <a:lnTo>
                      <a:pt x="225" y="1254"/>
                    </a:lnTo>
                    <a:lnTo>
                      <a:pt x="225" y="1250"/>
                    </a:lnTo>
                    <a:lnTo>
                      <a:pt x="223" y="1254"/>
                    </a:lnTo>
                    <a:lnTo>
                      <a:pt x="219" y="1250"/>
                    </a:lnTo>
                    <a:lnTo>
                      <a:pt x="219" y="1245"/>
                    </a:lnTo>
                    <a:lnTo>
                      <a:pt x="223" y="1245"/>
                    </a:lnTo>
                    <a:lnTo>
                      <a:pt x="228" y="1245"/>
                    </a:lnTo>
                    <a:lnTo>
                      <a:pt x="230" y="1242"/>
                    </a:lnTo>
                    <a:lnTo>
                      <a:pt x="228" y="1242"/>
                    </a:lnTo>
                    <a:lnTo>
                      <a:pt x="226" y="1242"/>
                    </a:lnTo>
                    <a:lnTo>
                      <a:pt x="230" y="1238"/>
                    </a:lnTo>
                    <a:lnTo>
                      <a:pt x="238" y="1233"/>
                    </a:lnTo>
                    <a:lnTo>
                      <a:pt x="238" y="1231"/>
                    </a:lnTo>
                    <a:lnTo>
                      <a:pt x="238" y="1231"/>
                    </a:lnTo>
                    <a:lnTo>
                      <a:pt x="233" y="1231"/>
                    </a:lnTo>
                    <a:lnTo>
                      <a:pt x="230" y="1233"/>
                    </a:lnTo>
                    <a:lnTo>
                      <a:pt x="226" y="1231"/>
                    </a:lnTo>
                    <a:lnTo>
                      <a:pt x="226" y="1231"/>
                    </a:lnTo>
                    <a:lnTo>
                      <a:pt x="226" y="1231"/>
                    </a:lnTo>
                    <a:lnTo>
                      <a:pt x="226" y="1224"/>
                    </a:lnTo>
                    <a:lnTo>
                      <a:pt x="230" y="1222"/>
                    </a:lnTo>
                    <a:lnTo>
                      <a:pt x="233" y="1217"/>
                    </a:lnTo>
                    <a:lnTo>
                      <a:pt x="242" y="1217"/>
                    </a:lnTo>
                    <a:lnTo>
                      <a:pt x="245" y="1215"/>
                    </a:lnTo>
                    <a:lnTo>
                      <a:pt x="245" y="1210"/>
                    </a:lnTo>
                    <a:lnTo>
                      <a:pt x="245" y="1203"/>
                    </a:lnTo>
                    <a:lnTo>
                      <a:pt x="245" y="1200"/>
                    </a:lnTo>
                    <a:lnTo>
                      <a:pt x="238" y="1195"/>
                    </a:lnTo>
                    <a:lnTo>
                      <a:pt x="242" y="1188"/>
                    </a:lnTo>
                    <a:lnTo>
                      <a:pt x="245" y="1188"/>
                    </a:lnTo>
                    <a:lnTo>
                      <a:pt x="247" y="1184"/>
                    </a:lnTo>
                    <a:lnTo>
                      <a:pt x="247" y="1179"/>
                    </a:lnTo>
                    <a:lnTo>
                      <a:pt x="245" y="1177"/>
                    </a:lnTo>
                    <a:lnTo>
                      <a:pt x="245" y="1174"/>
                    </a:lnTo>
                    <a:lnTo>
                      <a:pt x="242" y="1175"/>
                    </a:lnTo>
                    <a:lnTo>
                      <a:pt x="237" y="1175"/>
                    </a:lnTo>
                    <a:lnTo>
                      <a:pt x="232" y="1172"/>
                    </a:lnTo>
                    <a:lnTo>
                      <a:pt x="228" y="1172"/>
                    </a:lnTo>
                    <a:lnTo>
                      <a:pt x="225" y="1172"/>
                    </a:lnTo>
                    <a:lnTo>
                      <a:pt x="219" y="1172"/>
                    </a:lnTo>
                    <a:lnTo>
                      <a:pt x="214" y="1169"/>
                    </a:lnTo>
                    <a:lnTo>
                      <a:pt x="211" y="1172"/>
                    </a:lnTo>
                    <a:lnTo>
                      <a:pt x="211" y="1169"/>
                    </a:lnTo>
                    <a:lnTo>
                      <a:pt x="205" y="1167"/>
                    </a:lnTo>
                    <a:lnTo>
                      <a:pt x="200" y="1156"/>
                    </a:lnTo>
                    <a:lnTo>
                      <a:pt x="198" y="1158"/>
                    </a:lnTo>
                    <a:lnTo>
                      <a:pt x="192" y="1162"/>
                    </a:lnTo>
                    <a:lnTo>
                      <a:pt x="188" y="1162"/>
                    </a:lnTo>
                    <a:lnTo>
                      <a:pt x="186" y="1163"/>
                    </a:lnTo>
                    <a:lnTo>
                      <a:pt x="181" y="1160"/>
                    </a:lnTo>
                    <a:lnTo>
                      <a:pt x="178" y="1163"/>
                    </a:lnTo>
                    <a:lnTo>
                      <a:pt x="169" y="1156"/>
                    </a:lnTo>
                    <a:lnTo>
                      <a:pt x="169" y="1149"/>
                    </a:lnTo>
                    <a:lnTo>
                      <a:pt x="169" y="1144"/>
                    </a:lnTo>
                    <a:lnTo>
                      <a:pt x="165" y="1144"/>
                    </a:lnTo>
                    <a:lnTo>
                      <a:pt x="165" y="1141"/>
                    </a:lnTo>
                    <a:lnTo>
                      <a:pt x="160" y="1137"/>
                    </a:lnTo>
                    <a:lnTo>
                      <a:pt x="152" y="1141"/>
                    </a:lnTo>
                    <a:lnTo>
                      <a:pt x="146" y="1132"/>
                    </a:lnTo>
                    <a:lnTo>
                      <a:pt x="148" y="1130"/>
                    </a:lnTo>
                    <a:lnTo>
                      <a:pt x="145" y="1127"/>
                    </a:lnTo>
                    <a:lnTo>
                      <a:pt x="141" y="1118"/>
                    </a:lnTo>
                    <a:lnTo>
                      <a:pt x="138" y="1118"/>
                    </a:lnTo>
                    <a:lnTo>
                      <a:pt x="134" y="1120"/>
                    </a:lnTo>
                    <a:lnTo>
                      <a:pt x="126" y="1120"/>
                    </a:lnTo>
                    <a:lnTo>
                      <a:pt x="119" y="1118"/>
                    </a:lnTo>
                    <a:lnTo>
                      <a:pt x="115" y="1120"/>
                    </a:lnTo>
                    <a:lnTo>
                      <a:pt x="115" y="1123"/>
                    </a:lnTo>
                    <a:lnTo>
                      <a:pt x="110" y="1125"/>
                    </a:lnTo>
                    <a:lnTo>
                      <a:pt x="106" y="1123"/>
                    </a:lnTo>
                    <a:lnTo>
                      <a:pt x="106" y="1120"/>
                    </a:lnTo>
                    <a:lnTo>
                      <a:pt x="105" y="1115"/>
                    </a:lnTo>
                    <a:lnTo>
                      <a:pt x="105" y="1109"/>
                    </a:lnTo>
                    <a:lnTo>
                      <a:pt x="101" y="1104"/>
                    </a:lnTo>
                    <a:lnTo>
                      <a:pt x="101" y="1101"/>
                    </a:lnTo>
                    <a:lnTo>
                      <a:pt x="103" y="1099"/>
                    </a:lnTo>
                    <a:lnTo>
                      <a:pt x="106" y="1102"/>
                    </a:lnTo>
                    <a:lnTo>
                      <a:pt x="115" y="1101"/>
                    </a:lnTo>
                    <a:lnTo>
                      <a:pt x="119" y="1094"/>
                    </a:lnTo>
                    <a:lnTo>
                      <a:pt x="120" y="1092"/>
                    </a:lnTo>
                    <a:lnTo>
                      <a:pt x="115" y="1090"/>
                    </a:lnTo>
                    <a:lnTo>
                      <a:pt x="115" y="1087"/>
                    </a:lnTo>
                    <a:lnTo>
                      <a:pt x="110" y="1082"/>
                    </a:lnTo>
                    <a:lnTo>
                      <a:pt x="103" y="1080"/>
                    </a:lnTo>
                    <a:lnTo>
                      <a:pt x="101" y="1073"/>
                    </a:lnTo>
                    <a:lnTo>
                      <a:pt x="98" y="1071"/>
                    </a:lnTo>
                    <a:lnTo>
                      <a:pt x="96" y="1064"/>
                    </a:lnTo>
                    <a:lnTo>
                      <a:pt x="91" y="1062"/>
                    </a:lnTo>
                    <a:lnTo>
                      <a:pt x="87" y="1057"/>
                    </a:lnTo>
                    <a:lnTo>
                      <a:pt x="87" y="1050"/>
                    </a:lnTo>
                    <a:lnTo>
                      <a:pt x="84" y="1049"/>
                    </a:lnTo>
                    <a:lnTo>
                      <a:pt x="87" y="1043"/>
                    </a:lnTo>
                    <a:lnTo>
                      <a:pt x="84" y="1040"/>
                    </a:lnTo>
                    <a:lnTo>
                      <a:pt x="79" y="1036"/>
                    </a:lnTo>
                    <a:lnTo>
                      <a:pt x="75" y="1036"/>
                    </a:lnTo>
                    <a:lnTo>
                      <a:pt x="73" y="1035"/>
                    </a:lnTo>
                    <a:lnTo>
                      <a:pt x="68" y="1035"/>
                    </a:lnTo>
                    <a:lnTo>
                      <a:pt x="65" y="1038"/>
                    </a:lnTo>
                    <a:lnTo>
                      <a:pt x="61" y="1035"/>
                    </a:lnTo>
                    <a:lnTo>
                      <a:pt x="56" y="1035"/>
                    </a:lnTo>
                    <a:lnTo>
                      <a:pt x="53" y="1035"/>
                    </a:lnTo>
                    <a:lnTo>
                      <a:pt x="49" y="1031"/>
                    </a:lnTo>
                    <a:lnTo>
                      <a:pt x="46" y="1031"/>
                    </a:lnTo>
                    <a:lnTo>
                      <a:pt x="42" y="1031"/>
                    </a:lnTo>
                    <a:lnTo>
                      <a:pt x="40" y="1031"/>
                    </a:lnTo>
                    <a:lnTo>
                      <a:pt x="40" y="1026"/>
                    </a:lnTo>
                    <a:lnTo>
                      <a:pt x="39" y="1022"/>
                    </a:lnTo>
                    <a:lnTo>
                      <a:pt x="37" y="1017"/>
                    </a:lnTo>
                    <a:lnTo>
                      <a:pt x="37" y="1015"/>
                    </a:lnTo>
                    <a:lnTo>
                      <a:pt x="33" y="1010"/>
                    </a:lnTo>
                    <a:lnTo>
                      <a:pt x="33" y="1009"/>
                    </a:lnTo>
                    <a:lnTo>
                      <a:pt x="33" y="1005"/>
                    </a:lnTo>
                    <a:lnTo>
                      <a:pt x="32" y="1005"/>
                    </a:lnTo>
                    <a:lnTo>
                      <a:pt x="33" y="1003"/>
                    </a:lnTo>
                    <a:lnTo>
                      <a:pt x="32" y="1000"/>
                    </a:lnTo>
                    <a:lnTo>
                      <a:pt x="28" y="1000"/>
                    </a:lnTo>
                    <a:lnTo>
                      <a:pt x="32" y="995"/>
                    </a:lnTo>
                    <a:lnTo>
                      <a:pt x="32" y="993"/>
                    </a:lnTo>
                    <a:lnTo>
                      <a:pt x="33" y="991"/>
                    </a:lnTo>
                    <a:lnTo>
                      <a:pt x="33" y="988"/>
                    </a:lnTo>
                    <a:lnTo>
                      <a:pt x="25" y="972"/>
                    </a:lnTo>
                    <a:lnTo>
                      <a:pt x="26" y="960"/>
                    </a:lnTo>
                    <a:lnTo>
                      <a:pt x="28" y="958"/>
                    </a:lnTo>
                    <a:lnTo>
                      <a:pt x="30" y="953"/>
                    </a:lnTo>
                    <a:lnTo>
                      <a:pt x="33" y="949"/>
                    </a:lnTo>
                    <a:lnTo>
                      <a:pt x="33" y="948"/>
                    </a:lnTo>
                    <a:lnTo>
                      <a:pt x="33" y="948"/>
                    </a:lnTo>
                    <a:lnTo>
                      <a:pt x="32" y="944"/>
                    </a:lnTo>
                    <a:lnTo>
                      <a:pt x="32" y="944"/>
                    </a:lnTo>
                    <a:lnTo>
                      <a:pt x="33" y="941"/>
                    </a:lnTo>
                    <a:lnTo>
                      <a:pt x="32" y="939"/>
                    </a:lnTo>
                    <a:lnTo>
                      <a:pt x="32" y="937"/>
                    </a:lnTo>
                    <a:lnTo>
                      <a:pt x="33" y="937"/>
                    </a:lnTo>
                    <a:lnTo>
                      <a:pt x="33" y="941"/>
                    </a:lnTo>
                    <a:lnTo>
                      <a:pt x="37" y="939"/>
                    </a:lnTo>
                    <a:lnTo>
                      <a:pt x="37" y="936"/>
                    </a:lnTo>
                    <a:lnTo>
                      <a:pt x="37" y="934"/>
                    </a:lnTo>
                    <a:lnTo>
                      <a:pt x="40" y="936"/>
                    </a:lnTo>
                    <a:lnTo>
                      <a:pt x="46" y="932"/>
                    </a:lnTo>
                    <a:lnTo>
                      <a:pt x="47" y="930"/>
                    </a:lnTo>
                    <a:lnTo>
                      <a:pt x="49" y="929"/>
                    </a:lnTo>
                    <a:lnTo>
                      <a:pt x="54" y="930"/>
                    </a:lnTo>
                    <a:lnTo>
                      <a:pt x="56" y="927"/>
                    </a:lnTo>
                    <a:lnTo>
                      <a:pt x="53" y="925"/>
                    </a:lnTo>
                    <a:lnTo>
                      <a:pt x="51" y="925"/>
                    </a:lnTo>
                    <a:lnTo>
                      <a:pt x="49" y="925"/>
                    </a:lnTo>
                    <a:lnTo>
                      <a:pt x="44" y="925"/>
                    </a:lnTo>
                    <a:lnTo>
                      <a:pt x="42" y="922"/>
                    </a:lnTo>
                    <a:lnTo>
                      <a:pt x="39" y="922"/>
                    </a:lnTo>
                    <a:lnTo>
                      <a:pt x="33" y="916"/>
                    </a:lnTo>
                    <a:lnTo>
                      <a:pt x="33" y="913"/>
                    </a:lnTo>
                    <a:lnTo>
                      <a:pt x="39" y="916"/>
                    </a:lnTo>
                    <a:lnTo>
                      <a:pt x="39" y="913"/>
                    </a:lnTo>
                    <a:lnTo>
                      <a:pt x="37" y="913"/>
                    </a:lnTo>
                    <a:lnTo>
                      <a:pt x="40" y="911"/>
                    </a:lnTo>
                    <a:lnTo>
                      <a:pt x="37" y="911"/>
                    </a:lnTo>
                    <a:lnTo>
                      <a:pt x="37" y="911"/>
                    </a:lnTo>
                    <a:lnTo>
                      <a:pt x="32" y="913"/>
                    </a:lnTo>
                    <a:lnTo>
                      <a:pt x="32" y="913"/>
                    </a:lnTo>
                    <a:lnTo>
                      <a:pt x="32" y="913"/>
                    </a:lnTo>
                    <a:lnTo>
                      <a:pt x="32" y="913"/>
                    </a:lnTo>
                    <a:lnTo>
                      <a:pt x="30" y="909"/>
                    </a:lnTo>
                    <a:lnTo>
                      <a:pt x="37" y="902"/>
                    </a:lnTo>
                    <a:lnTo>
                      <a:pt x="42" y="899"/>
                    </a:lnTo>
                    <a:lnTo>
                      <a:pt x="47" y="890"/>
                    </a:lnTo>
                    <a:lnTo>
                      <a:pt x="51" y="885"/>
                    </a:lnTo>
                    <a:lnTo>
                      <a:pt x="56" y="876"/>
                    </a:lnTo>
                    <a:lnTo>
                      <a:pt x="61" y="866"/>
                    </a:lnTo>
                    <a:lnTo>
                      <a:pt x="66" y="852"/>
                    </a:lnTo>
                    <a:lnTo>
                      <a:pt x="65" y="847"/>
                    </a:lnTo>
                    <a:lnTo>
                      <a:pt x="59" y="838"/>
                    </a:lnTo>
                    <a:lnTo>
                      <a:pt x="54" y="838"/>
                    </a:lnTo>
                    <a:lnTo>
                      <a:pt x="46" y="826"/>
                    </a:lnTo>
                    <a:lnTo>
                      <a:pt x="47" y="821"/>
                    </a:lnTo>
                    <a:lnTo>
                      <a:pt x="51" y="816"/>
                    </a:lnTo>
                    <a:lnTo>
                      <a:pt x="51" y="810"/>
                    </a:lnTo>
                    <a:lnTo>
                      <a:pt x="46" y="807"/>
                    </a:lnTo>
                    <a:lnTo>
                      <a:pt x="42" y="803"/>
                    </a:lnTo>
                    <a:lnTo>
                      <a:pt x="42" y="798"/>
                    </a:lnTo>
                    <a:lnTo>
                      <a:pt x="44" y="796"/>
                    </a:lnTo>
                    <a:lnTo>
                      <a:pt x="42" y="793"/>
                    </a:lnTo>
                    <a:lnTo>
                      <a:pt x="39" y="791"/>
                    </a:lnTo>
                    <a:lnTo>
                      <a:pt x="37" y="789"/>
                    </a:lnTo>
                    <a:lnTo>
                      <a:pt x="37" y="784"/>
                    </a:lnTo>
                    <a:lnTo>
                      <a:pt x="39" y="779"/>
                    </a:lnTo>
                    <a:lnTo>
                      <a:pt x="37" y="779"/>
                    </a:lnTo>
                    <a:lnTo>
                      <a:pt x="37" y="776"/>
                    </a:lnTo>
                    <a:lnTo>
                      <a:pt x="37" y="765"/>
                    </a:lnTo>
                    <a:lnTo>
                      <a:pt x="39" y="765"/>
                    </a:lnTo>
                    <a:lnTo>
                      <a:pt x="32" y="748"/>
                    </a:lnTo>
                    <a:lnTo>
                      <a:pt x="25" y="734"/>
                    </a:lnTo>
                    <a:lnTo>
                      <a:pt x="23" y="729"/>
                    </a:lnTo>
                    <a:lnTo>
                      <a:pt x="20" y="725"/>
                    </a:lnTo>
                    <a:lnTo>
                      <a:pt x="21" y="716"/>
                    </a:lnTo>
                    <a:lnTo>
                      <a:pt x="25" y="711"/>
                    </a:lnTo>
                    <a:lnTo>
                      <a:pt x="26" y="706"/>
                    </a:lnTo>
                    <a:lnTo>
                      <a:pt x="25" y="704"/>
                    </a:lnTo>
                    <a:lnTo>
                      <a:pt x="16" y="699"/>
                    </a:lnTo>
                    <a:lnTo>
                      <a:pt x="16" y="697"/>
                    </a:lnTo>
                    <a:lnTo>
                      <a:pt x="14" y="692"/>
                    </a:lnTo>
                    <a:lnTo>
                      <a:pt x="9" y="690"/>
                    </a:lnTo>
                    <a:lnTo>
                      <a:pt x="7" y="689"/>
                    </a:lnTo>
                    <a:lnTo>
                      <a:pt x="2" y="682"/>
                    </a:lnTo>
                    <a:lnTo>
                      <a:pt x="0" y="678"/>
                    </a:lnTo>
                    <a:lnTo>
                      <a:pt x="2" y="671"/>
                    </a:lnTo>
                    <a:lnTo>
                      <a:pt x="2" y="669"/>
                    </a:lnTo>
                    <a:lnTo>
                      <a:pt x="0" y="666"/>
                    </a:lnTo>
                    <a:lnTo>
                      <a:pt x="2" y="666"/>
                    </a:lnTo>
                    <a:lnTo>
                      <a:pt x="7" y="663"/>
                    </a:lnTo>
                    <a:lnTo>
                      <a:pt x="7" y="663"/>
                    </a:lnTo>
                    <a:lnTo>
                      <a:pt x="11" y="663"/>
                    </a:lnTo>
                    <a:lnTo>
                      <a:pt x="11" y="657"/>
                    </a:lnTo>
                    <a:lnTo>
                      <a:pt x="14" y="652"/>
                    </a:lnTo>
                    <a:lnTo>
                      <a:pt x="18" y="652"/>
                    </a:lnTo>
                    <a:lnTo>
                      <a:pt x="21" y="649"/>
                    </a:lnTo>
                    <a:lnTo>
                      <a:pt x="20" y="643"/>
                    </a:lnTo>
                    <a:lnTo>
                      <a:pt x="23" y="643"/>
                    </a:lnTo>
                    <a:lnTo>
                      <a:pt x="26" y="643"/>
                    </a:lnTo>
                    <a:lnTo>
                      <a:pt x="30" y="643"/>
                    </a:lnTo>
                    <a:lnTo>
                      <a:pt x="28" y="638"/>
                    </a:lnTo>
                    <a:lnTo>
                      <a:pt x="30" y="638"/>
                    </a:lnTo>
                    <a:lnTo>
                      <a:pt x="33" y="638"/>
                    </a:lnTo>
                    <a:lnTo>
                      <a:pt x="33" y="640"/>
                    </a:lnTo>
                    <a:lnTo>
                      <a:pt x="33" y="643"/>
                    </a:lnTo>
                    <a:lnTo>
                      <a:pt x="37" y="647"/>
                    </a:lnTo>
                    <a:lnTo>
                      <a:pt x="37" y="640"/>
                    </a:lnTo>
                    <a:lnTo>
                      <a:pt x="37" y="638"/>
                    </a:lnTo>
                    <a:lnTo>
                      <a:pt x="39" y="638"/>
                    </a:lnTo>
                    <a:lnTo>
                      <a:pt x="40" y="638"/>
                    </a:lnTo>
                    <a:lnTo>
                      <a:pt x="37" y="635"/>
                    </a:lnTo>
                    <a:lnTo>
                      <a:pt x="37" y="635"/>
                    </a:lnTo>
                    <a:lnTo>
                      <a:pt x="39" y="635"/>
                    </a:lnTo>
                    <a:lnTo>
                      <a:pt x="42" y="635"/>
                    </a:lnTo>
                    <a:lnTo>
                      <a:pt x="42" y="635"/>
                    </a:lnTo>
                    <a:lnTo>
                      <a:pt x="40" y="635"/>
                    </a:lnTo>
                    <a:lnTo>
                      <a:pt x="39" y="631"/>
                    </a:lnTo>
                    <a:lnTo>
                      <a:pt x="40" y="631"/>
                    </a:lnTo>
                    <a:lnTo>
                      <a:pt x="44" y="631"/>
                    </a:lnTo>
                    <a:lnTo>
                      <a:pt x="47" y="633"/>
                    </a:lnTo>
                    <a:lnTo>
                      <a:pt x="49" y="635"/>
                    </a:lnTo>
                    <a:lnTo>
                      <a:pt x="51" y="635"/>
                    </a:lnTo>
                    <a:lnTo>
                      <a:pt x="53" y="635"/>
                    </a:lnTo>
                    <a:lnTo>
                      <a:pt x="54" y="635"/>
                    </a:lnTo>
                    <a:lnTo>
                      <a:pt x="56" y="638"/>
                    </a:lnTo>
                    <a:lnTo>
                      <a:pt x="56" y="638"/>
                    </a:lnTo>
                    <a:lnTo>
                      <a:pt x="56" y="640"/>
                    </a:lnTo>
                    <a:lnTo>
                      <a:pt x="56" y="643"/>
                    </a:lnTo>
                    <a:lnTo>
                      <a:pt x="53" y="643"/>
                    </a:lnTo>
                    <a:lnTo>
                      <a:pt x="49" y="643"/>
                    </a:lnTo>
                    <a:lnTo>
                      <a:pt x="46" y="638"/>
                    </a:lnTo>
                    <a:lnTo>
                      <a:pt x="46" y="638"/>
                    </a:lnTo>
                    <a:lnTo>
                      <a:pt x="44" y="638"/>
                    </a:lnTo>
                    <a:lnTo>
                      <a:pt x="44" y="643"/>
                    </a:lnTo>
                    <a:lnTo>
                      <a:pt x="44" y="647"/>
                    </a:lnTo>
                    <a:lnTo>
                      <a:pt x="47" y="643"/>
                    </a:lnTo>
                    <a:lnTo>
                      <a:pt x="49" y="647"/>
                    </a:lnTo>
                    <a:lnTo>
                      <a:pt x="49" y="649"/>
                    </a:lnTo>
                    <a:lnTo>
                      <a:pt x="53" y="647"/>
                    </a:lnTo>
                    <a:lnTo>
                      <a:pt x="54" y="647"/>
                    </a:lnTo>
                    <a:lnTo>
                      <a:pt x="56" y="649"/>
                    </a:lnTo>
                    <a:lnTo>
                      <a:pt x="56" y="649"/>
                    </a:lnTo>
                    <a:lnTo>
                      <a:pt x="56" y="647"/>
                    </a:lnTo>
                    <a:lnTo>
                      <a:pt x="59" y="649"/>
                    </a:lnTo>
                    <a:lnTo>
                      <a:pt x="56" y="649"/>
                    </a:lnTo>
                    <a:lnTo>
                      <a:pt x="56" y="652"/>
                    </a:lnTo>
                    <a:lnTo>
                      <a:pt x="61" y="647"/>
                    </a:lnTo>
                    <a:lnTo>
                      <a:pt x="61" y="647"/>
                    </a:lnTo>
                    <a:lnTo>
                      <a:pt x="65" y="647"/>
                    </a:lnTo>
                    <a:lnTo>
                      <a:pt x="61" y="649"/>
                    </a:lnTo>
                    <a:lnTo>
                      <a:pt x="61" y="650"/>
                    </a:lnTo>
                    <a:lnTo>
                      <a:pt x="65" y="650"/>
                    </a:lnTo>
                    <a:lnTo>
                      <a:pt x="65" y="652"/>
                    </a:lnTo>
                    <a:lnTo>
                      <a:pt x="65" y="654"/>
                    </a:lnTo>
                    <a:lnTo>
                      <a:pt x="61" y="657"/>
                    </a:lnTo>
                    <a:lnTo>
                      <a:pt x="65" y="656"/>
                    </a:lnTo>
                    <a:lnTo>
                      <a:pt x="66" y="652"/>
                    </a:lnTo>
                    <a:lnTo>
                      <a:pt x="66" y="650"/>
                    </a:lnTo>
                    <a:lnTo>
                      <a:pt x="68" y="649"/>
                    </a:lnTo>
                    <a:lnTo>
                      <a:pt x="72" y="647"/>
                    </a:lnTo>
                    <a:lnTo>
                      <a:pt x="73" y="650"/>
                    </a:lnTo>
                    <a:lnTo>
                      <a:pt x="75" y="649"/>
                    </a:lnTo>
                    <a:lnTo>
                      <a:pt x="73" y="647"/>
                    </a:lnTo>
                    <a:lnTo>
                      <a:pt x="73" y="647"/>
                    </a:lnTo>
                    <a:lnTo>
                      <a:pt x="77" y="647"/>
                    </a:lnTo>
                    <a:lnTo>
                      <a:pt x="79" y="649"/>
                    </a:lnTo>
                    <a:lnTo>
                      <a:pt x="84" y="649"/>
                    </a:lnTo>
                    <a:lnTo>
                      <a:pt x="87" y="650"/>
                    </a:lnTo>
                    <a:lnTo>
                      <a:pt x="89" y="649"/>
                    </a:lnTo>
                    <a:lnTo>
                      <a:pt x="87" y="647"/>
                    </a:lnTo>
                    <a:lnTo>
                      <a:pt x="93" y="649"/>
                    </a:lnTo>
                    <a:lnTo>
                      <a:pt x="96" y="650"/>
                    </a:lnTo>
                    <a:lnTo>
                      <a:pt x="96" y="649"/>
                    </a:lnTo>
                    <a:lnTo>
                      <a:pt x="101" y="650"/>
                    </a:lnTo>
                    <a:lnTo>
                      <a:pt x="119" y="661"/>
                    </a:lnTo>
                    <a:lnTo>
                      <a:pt x="131" y="669"/>
                    </a:lnTo>
                    <a:lnTo>
                      <a:pt x="132" y="671"/>
                    </a:lnTo>
                    <a:lnTo>
                      <a:pt x="134" y="671"/>
                    </a:lnTo>
                    <a:lnTo>
                      <a:pt x="141" y="678"/>
                    </a:lnTo>
                    <a:lnTo>
                      <a:pt x="141" y="678"/>
                    </a:lnTo>
                    <a:lnTo>
                      <a:pt x="141" y="676"/>
                    </a:lnTo>
                    <a:lnTo>
                      <a:pt x="141" y="675"/>
                    </a:lnTo>
                    <a:lnTo>
                      <a:pt x="143" y="675"/>
                    </a:lnTo>
                    <a:lnTo>
                      <a:pt x="148" y="680"/>
                    </a:lnTo>
                    <a:lnTo>
                      <a:pt x="152" y="680"/>
                    </a:lnTo>
                    <a:lnTo>
                      <a:pt x="155" y="683"/>
                    </a:lnTo>
                    <a:lnTo>
                      <a:pt x="157" y="683"/>
                    </a:lnTo>
                    <a:lnTo>
                      <a:pt x="155" y="678"/>
                    </a:lnTo>
                    <a:lnTo>
                      <a:pt x="155" y="676"/>
                    </a:lnTo>
                    <a:lnTo>
                      <a:pt x="157" y="676"/>
                    </a:lnTo>
                    <a:lnTo>
                      <a:pt x="160" y="682"/>
                    </a:lnTo>
                    <a:lnTo>
                      <a:pt x="160" y="683"/>
                    </a:lnTo>
                    <a:lnTo>
                      <a:pt x="165" y="689"/>
                    </a:lnTo>
                    <a:lnTo>
                      <a:pt x="165" y="692"/>
                    </a:lnTo>
                    <a:lnTo>
                      <a:pt x="169" y="694"/>
                    </a:lnTo>
                    <a:lnTo>
                      <a:pt x="171" y="692"/>
                    </a:lnTo>
                    <a:lnTo>
                      <a:pt x="172" y="692"/>
                    </a:lnTo>
                    <a:lnTo>
                      <a:pt x="178" y="697"/>
                    </a:lnTo>
                    <a:lnTo>
                      <a:pt x="178" y="699"/>
                    </a:lnTo>
                    <a:lnTo>
                      <a:pt x="181" y="701"/>
                    </a:lnTo>
                    <a:lnTo>
                      <a:pt x="183" y="706"/>
                    </a:lnTo>
                    <a:lnTo>
                      <a:pt x="185" y="704"/>
                    </a:lnTo>
                    <a:lnTo>
                      <a:pt x="186" y="706"/>
                    </a:lnTo>
                    <a:lnTo>
                      <a:pt x="186" y="711"/>
                    </a:lnTo>
                    <a:lnTo>
                      <a:pt x="186" y="715"/>
                    </a:lnTo>
                    <a:lnTo>
                      <a:pt x="185" y="720"/>
                    </a:lnTo>
                    <a:lnTo>
                      <a:pt x="185" y="722"/>
                    </a:lnTo>
                    <a:lnTo>
                      <a:pt x="185" y="725"/>
                    </a:lnTo>
                    <a:lnTo>
                      <a:pt x="179" y="729"/>
                    </a:lnTo>
                    <a:lnTo>
                      <a:pt x="179" y="732"/>
                    </a:lnTo>
                    <a:lnTo>
                      <a:pt x="172" y="741"/>
                    </a:lnTo>
                    <a:lnTo>
                      <a:pt x="169" y="744"/>
                    </a:lnTo>
                    <a:lnTo>
                      <a:pt x="164" y="744"/>
                    </a:lnTo>
                    <a:lnTo>
                      <a:pt x="160" y="744"/>
                    </a:lnTo>
                    <a:lnTo>
                      <a:pt x="155" y="744"/>
                    </a:lnTo>
                    <a:lnTo>
                      <a:pt x="155" y="748"/>
                    </a:lnTo>
                    <a:lnTo>
                      <a:pt x="146" y="748"/>
                    </a:lnTo>
                    <a:lnTo>
                      <a:pt x="138" y="748"/>
                    </a:lnTo>
                    <a:lnTo>
                      <a:pt x="131" y="748"/>
                    </a:lnTo>
                    <a:lnTo>
                      <a:pt x="127" y="744"/>
                    </a:lnTo>
                    <a:lnTo>
                      <a:pt x="124" y="744"/>
                    </a:lnTo>
                    <a:lnTo>
                      <a:pt x="122" y="744"/>
                    </a:lnTo>
                    <a:lnTo>
                      <a:pt x="119" y="744"/>
                    </a:lnTo>
                    <a:lnTo>
                      <a:pt x="115" y="742"/>
                    </a:lnTo>
                    <a:lnTo>
                      <a:pt x="115" y="742"/>
                    </a:lnTo>
                    <a:lnTo>
                      <a:pt x="110" y="744"/>
                    </a:lnTo>
                    <a:lnTo>
                      <a:pt x="106" y="739"/>
                    </a:lnTo>
                    <a:lnTo>
                      <a:pt x="106" y="737"/>
                    </a:lnTo>
                    <a:lnTo>
                      <a:pt x="103" y="737"/>
                    </a:lnTo>
                    <a:lnTo>
                      <a:pt x="101" y="737"/>
                    </a:lnTo>
                    <a:lnTo>
                      <a:pt x="101" y="737"/>
                    </a:lnTo>
                    <a:lnTo>
                      <a:pt x="96" y="737"/>
                    </a:lnTo>
                    <a:lnTo>
                      <a:pt x="96" y="739"/>
                    </a:lnTo>
                    <a:lnTo>
                      <a:pt x="91" y="739"/>
                    </a:lnTo>
                    <a:lnTo>
                      <a:pt x="91" y="736"/>
                    </a:lnTo>
                    <a:lnTo>
                      <a:pt x="89" y="736"/>
                    </a:lnTo>
                    <a:lnTo>
                      <a:pt x="93" y="734"/>
                    </a:lnTo>
                    <a:lnTo>
                      <a:pt x="89" y="730"/>
                    </a:lnTo>
                    <a:lnTo>
                      <a:pt x="89" y="732"/>
                    </a:lnTo>
                    <a:lnTo>
                      <a:pt x="84" y="732"/>
                    </a:lnTo>
                    <a:lnTo>
                      <a:pt x="80" y="730"/>
                    </a:lnTo>
                    <a:lnTo>
                      <a:pt x="80" y="730"/>
                    </a:lnTo>
                    <a:lnTo>
                      <a:pt x="79" y="730"/>
                    </a:lnTo>
                    <a:lnTo>
                      <a:pt x="70" y="725"/>
                    </a:lnTo>
                    <a:lnTo>
                      <a:pt x="70" y="722"/>
                    </a:lnTo>
                    <a:lnTo>
                      <a:pt x="65" y="722"/>
                    </a:lnTo>
                    <a:lnTo>
                      <a:pt x="65" y="722"/>
                    </a:lnTo>
                    <a:lnTo>
                      <a:pt x="61" y="722"/>
                    </a:lnTo>
                    <a:lnTo>
                      <a:pt x="61" y="722"/>
                    </a:lnTo>
                    <a:lnTo>
                      <a:pt x="65" y="725"/>
                    </a:lnTo>
                    <a:lnTo>
                      <a:pt x="65" y="729"/>
                    </a:lnTo>
                    <a:lnTo>
                      <a:pt x="68" y="730"/>
                    </a:lnTo>
                    <a:lnTo>
                      <a:pt x="70" y="734"/>
                    </a:lnTo>
                    <a:lnTo>
                      <a:pt x="75" y="736"/>
                    </a:lnTo>
                    <a:lnTo>
                      <a:pt x="75" y="736"/>
                    </a:lnTo>
                    <a:lnTo>
                      <a:pt x="72" y="739"/>
                    </a:lnTo>
                    <a:lnTo>
                      <a:pt x="70" y="741"/>
                    </a:lnTo>
                    <a:lnTo>
                      <a:pt x="72" y="741"/>
                    </a:lnTo>
                    <a:lnTo>
                      <a:pt x="77" y="739"/>
                    </a:lnTo>
                    <a:lnTo>
                      <a:pt x="80" y="739"/>
                    </a:lnTo>
                    <a:lnTo>
                      <a:pt x="82" y="741"/>
                    </a:lnTo>
                    <a:lnTo>
                      <a:pt x="80" y="741"/>
                    </a:lnTo>
                    <a:lnTo>
                      <a:pt x="80" y="742"/>
                    </a:lnTo>
                    <a:lnTo>
                      <a:pt x="84" y="742"/>
                    </a:lnTo>
                    <a:lnTo>
                      <a:pt x="82" y="744"/>
                    </a:lnTo>
                    <a:lnTo>
                      <a:pt x="79" y="744"/>
                    </a:lnTo>
                    <a:lnTo>
                      <a:pt x="77" y="748"/>
                    </a:lnTo>
                    <a:lnTo>
                      <a:pt x="82" y="748"/>
                    </a:lnTo>
                    <a:lnTo>
                      <a:pt x="84" y="748"/>
                    </a:lnTo>
                    <a:lnTo>
                      <a:pt x="84" y="748"/>
                    </a:lnTo>
                    <a:lnTo>
                      <a:pt x="87" y="748"/>
                    </a:lnTo>
                    <a:lnTo>
                      <a:pt x="89" y="748"/>
                    </a:lnTo>
                    <a:lnTo>
                      <a:pt x="96" y="749"/>
                    </a:lnTo>
                    <a:lnTo>
                      <a:pt x="101" y="756"/>
                    </a:lnTo>
                    <a:lnTo>
                      <a:pt x="103" y="756"/>
                    </a:lnTo>
                    <a:lnTo>
                      <a:pt x="101" y="758"/>
                    </a:lnTo>
                    <a:lnTo>
                      <a:pt x="101" y="760"/>
                    </a:lnTo>
                    <a:lnTo>
                      <a:pt x="103" y="760"/>
                    </a:lnTo>
                    <a:lnTo>
                      <a:pt x="103" y="763"/>
                    </a:lnTo>
                    <a:lnTo>
                      <a:pt x="103" y="770"/>
                    </a:lnTo>
                    <a:lnTo>
                      <a:pt x="99" y="770"/>
                    </a:lnTo>
                    <a:lnTo>
                      <a:pt x="99" y="774"/>
                    </a:lnTo>
                    <a:lnTo>
                      <a:pt x="101" y="776"/>
                    </a:lnTo>
                    <a:lnTo>
                      <a:pt x="101" y="779"/>
                    </a:lnTo>
                    <a:lnTo>
                      <a:pt x="106" y="784"/>
                    </a:lnTo>
                    <a:lnTo>
                      <a:pt x="106" y="784"/>
                    </a:lnTo>
                    <a:lnTo>
                      <a:pt x="110" y="788"/>
                    </a:lnTo>
                    <a:lnTo>
                      <a:pt x="110" y="791"/>
                    </a:lnTo>
                    <a:lnTo>
                      <a:pt x="110" y="795"/>
                    </a:lnTo>
                    <a:lnTo>
                      <a:pt x="110" y="798"/>
                    </a:lnTo>
                    <a:lnTo>
                      <a:pt x="110" y="800"/>
                    </a:lnTo>
                    <a:lnTo>
                      <a:pt x="112" y="803"/>
                    </a:lnTo>
                    <a:lnTo>
                      <a:pt x="119" y="803"/>
                    </a:lnTo>
                    <a:lnTo>
                      <a:pt x="122" y="803"/>
                    </a:lnTo>
                    <a:lnTo>
                      <a:pt x="124" y="803"/>
                    </a:lnTo>
                    <a:lnTo>
                      <a:pt x="126" y="807"/>
                    </a:lnTo>
                    <a:lnTo>
                      <a:pt x="129" y="807"/>
                    </a:lnTo>
                    <a:lnTo>
                      <a:pt x="129" y="812"/>
                    </a:lnTo>
                    <a:lnTo>
                      <a:pt x="131" y="812"/>
                    </a:lnTo>
                    <a:lnTo>
                      <a:pt x="134" y="812"/>
                    </a:lnTo>
                    <a:lnTo>
                      <a:pt x="138" y="814"/>
                    </a:lnTo>
                    <a:lnTo>
                      <a:pt x="143" y="816"/>
                    </a:lnTo>
                    <a:lnTo>
                      <a:pt x="146" y="817"/>
                    </a:lnTo>
                    <a:lnTo>
                      <a:pt x="148" y="817"/>
                    </a:lnTo>
                    <a:lnTo>
                      <a:pt x="152" y="814"/>
                    </a:lnTo>
                    <a:lnTo>
                      <a:pt x="155" y="814"/>
                    </a:lnTo>
                    <a:lnTo>
                      <a:pt x="157" y="812"/>
                    </a:lnTo>
                    <a:lnTo>
                      <a:pt x="157" y="807"/>
                    </a:lnTo>
                    <a:lnTo>
                      <a:pt x="155" y="807"/>
                    </a:lnTo>
                    <a:lnTo>
                      <a:pt x="155" y="803"/>
                    </a:lnTo>
                    <a:lnTo>
                      <a:pt x="155" y="803"/>
                    </a:lnTo>
                    <a:lnTo>
                      <a:pt x="152" y="802"/>
                    </a:lnTo>
                    <a:lnTo>
                      <a:pt x="152" y="798"/>
                    </a:lnTo>
                    <a:lnTo>
                      <a:pt x="148" y="800"/>
                    </a:lnTo>
                    <a:lnTo>
                      <a:pt x="146" y="800"/>
                    </a:lnTo>
                    <a:lnTo>
                      <a:pt x="143" y="802"/>
                    </a:lnTo>
                    <a:lnTo>
                      <a:pt x="138" y="800"/>
                    </a:lnTo>
                    <a:lnTo>
                      <a:pt x="134" y="795"/>
                    </a:lnTo>
                    <a:lnTo>
                      <a:pt x="132" y="793"/>
                    </a:lnTo>
                    <a:lnTo>
                      <a:pt x="131" y="789"/>
                    </a:lnTo>
                    <a:lnTo>
                      <a:pt x="127" y="784"/>
                    </a:lnTo>
                    <a:lnTo>
                      <a:pt x="132" y="784"/>
                    </a:lnTo>
                    <a:lnTo>
                      <a:pt x="134" y="784"/>
                    </a:lnTo>
                    <a:lnTo>
                      <a:pt x="132" y="781"/>
                    </a:lnTo>
                    <a:lnTo>
                      <a:pt x="134" y="779"/>
                    </a:lnTo>
                    <a:lnTo>
                      <a:pt x="132" y="776"/>
                    </a:lnTo>
                    <a:lnTo>
                      <a:pt x="132" y="776"/>
                    </a:lnTo>
                    <a:lnTo>
                      <a:pt x="138" y="776"/>
                    </a:lnTo>
                    <a:lnTo>
                      <a:pt x="141" y="776"/>
                    </a:lnTo>
                    <a:lnTo>
                      <a:pt x="145" y="779"/>
                    </a:lnTo>
                    <a:lnTo>
                      <a:pt x="148" y="781"/>
                    </a:lnTo>
                    <a:lnTo>
                      <a:pt x="150" y="784"/>
                    </a:lnTo>
                    <a:lnTo>
                      <a:pt x="157" y="784"/>
                    </a:lnTo>
                    <a:lnTo>
                      <a:pt x="157" y="786"/>
                    </a:lnTo>
                    <a:lnTo>
                      <a:pt x="160" y="786"/>
                    </a:lnTo>
                    <a:lnTo>
                      <a:pt x="172" y="793"/>
                    </a:lnTo>
                    <a:lnTo>
                      <a:pt x="178" y="796"/>
                    </a:lnTo>
                    <a:lnTo>
                      <a:pt x="179" y="793"/>
                    </a:lnTo>
                    <a:lnTo>
                      <a:pt x="181" y="791"/>
                    </a:lnTo>
                    <a:lnTo>
                      <a:pt x="181" y="788"/>
                    </a:lnTo>
                    <a:lnTo>
                      <a:pt x="185" y="788"/>
                    </a:lnTo>
                    <a:lnTo>
                      <a:pt x="188" y="784"/>
                    </a:lnTo>
                    <a:lnTo>
                      <a:pt x="183" y="779"/>
                    </a:lnTo>
                    <a:lnTo>
                      <a:pt x="174" y="770"/>
                    </a:lnTo>
                    <a:lnTo>
                      <a:pt x="172" y="765"/>
                    </a:lnTo>
                    <a:lnTo>
                      <a:pt x="172" y="762"/>
                    </a:lnTo>
                    <a:lnTo>
                      <a:pt x="178" y="758"/>
                    </a:lnTo>
                    <a:lnTo>
                      <a:pt x="181" y="753"/>
                    </a:lnTo>
                    <a:lnTo>
                      <a:pt x="183" y="748"/>
                    </a:lnTo>
                    <a:lnTo>
                      <a:pt x="186" y="744"/>
                    </a:lnTo>
                    <a:lnTo>
                      <a:pt x="188" y="744"/>
                    </a:lnTo>
                    <a:lnTo>
                      <a:pt x="195" y="741"/>
                    </a:lnTo>
                    <a:lnTo>
                      <a:pt x="198" y="732"/>
                    </a:lnTo>
                    <a:lnTo>
                      <a:pt x="202" y="730"/>
                    </a:lnTo>
                    <a:lnTo>
                      <a:pt x="205" y="730"/>
                    </a:lnTo>
                    <a:lnTo>
                      <a:pt x="209" y="734"/>
                    </a:lnTo>
                    <a:lnTo>
                      <a:pt x="214" y="734"/>
                    </a:lnTo>
                    <a:lnTo>
                      <a:pt x="219" y="734"/>
                    </a:lnTo>
                    <a:lnTo>
                      <a:pt x="221" y="736"/>
                    </a:lnTo>
                    <a:lnTo>
                      <a:pt x="219" y="741"/>
                    </a:lnTo>
                    <a:lnTo>
                      <a:pt x="225" y="736"/>
                    </a:lnTo>
                    <a:lnTo>
                      <a:pt x="228" y="739"/>
                    </a:lnTo>
                    <a:lnTo>
                      <a:pt x="230" y="744"/>
                    </a:lnTo>
                    <a:lnTo>
                      <a:pt x="233" y="744"/>
                    </a:lnTo>
                    <a:lnTo>
                      <a:pt x="232" y="739"/>
                    </a:lnTo>
                    <a:lnTo>
                      <a:pt x="230" y="734"/>
                    </a:lnTo>
                    <a:lnTo>
                      <a:pt x="232" y="732"/>
                    </a:lnTo>
                    <a:lnTo>
                      <a:pt x="232" y="725"/>
                    </a:lnTo>
                    <a:lnTo>
                      <a:pt x="232" y="722"/>
                    </a:lnTo>
                    <a:lnTo>
                      <a:pt x="230" y="722"/>
                    </a:lnTo>
                    <a:lnTo>
                      <a:pt x="230" y="720"/>
                    </a:lnTo>
                    <a:lnTo>
                      <a:pt x="232" y="716"/>
                    </a:lnTo>
                    <a:lnTo>
                      <a:pt x="230" y="716"/>
                    </a:lnTo>
                    <a:lnTo>
                      <a:pt x="232" y="715"/>
                    </a:lnTo>
                    <a:lnTo>
                      <a:pt x="228" y="711"/>
                    </a:lnTo>
                    <a:lnTo>
                      <a:pt x="225" y="709"/>
                    </a:lnTo>
                    <a:lnTo>
                      <a:pt x="219" y="709"/>
                    </a:lnTo>
                    <a:lnTo>
                      <a:pt x="219" y="704"/>
                    </a:lnTo>
                    <a:lnTo>
                      <a:pt x="219" y="699"/>
                    </a:lnTo>
                    <a:lnTo>
                      <a:pt x="219" y="694"/>
                    </a:lnTo>
                    <a:lnTo>
                      <a:pt x="219" y="692"/>
                    </a:lnTo>
                    <a:lnTo>
                      <a:pt x="219" y="690"/>
                    </a:lnTo>
                    <a:lnTo>
                      <a:pt x="219" y="687"/>
                    </a:lnTo>
                    <a:lnTo>
                      <a:pt x="221" y="685"/>
                    </a:lnTo>
                    <a:lnTo>
                      <a:pt x="219" y="682"/>
                    </a:lnTo>
                    <a:lnTo>
                      <a:pt x="219" y="678"/>
                    </a:lnTo>
                    <a:lnTo>
                      <a:pt x="216" y="671"/>
                    </a:lnTo>
                    <a:lnTo>
                      <a:pt x="211" y="666"/>
                    </a:lnTo>
                    <a:lnTo>
                      <a:pt x="204" y="661"/>
                    </a:lnTo>
                    <a:lnTo>
                      <a:pt x="204" y="659"/>
                    </a:lnTo>
                    <a:lnTo>
                      <a:pt x="207" y="659"/>
                    </a:lnTo>
                    <a:lnTo>
                      <a:pt x="214" y="663"/>
                    </a:lnTo>
                    <a:lnTo>
                      <a:pt x="219" y="663"/>
                    </a:lnTo>
                    <a:lnTo>
                      <a:pt x="221" y="663"/>
                    </a:lnTo>
                    <a:lnTo>
                      <a:pt x="228" y="663"/>
                    </a:lnTo>
                    <a:lnTo>
                      <a:pt x="237" y="663"/>
                    </a:lnTo>
                    <a:lnTo>
                      <a:pt x="242" y="666"/>
                    </a:lnTo>
                    <a:lnTo>
                      <a:pt x="242" y="669"/>
                    </a:lnTo>
                    <a:lnTo>
                      <a:pt x="245" y="671"/>
                    </a:lnTo>
                    <a:lnTo>
                      <a:pt x="247" y="675"/>
                    </a:lnTo>
                    <a:lnTo>
                      <a:pt x="249" y="675"/>
                    </a:lnTo>
                    <a:lnTo>
                      <a:pt x="254" y="682"/>
                    </a:lnTo>
                    <a:lnTo>
                      <a:pt x="252" y="685"/>
                    </a:lnTo>
                    <a:lnTo>
                      <a:pt x="247" y="685"/>
                    </a:lnTo>
                    <a:lnTo>
                      <a:pt x="245" y="687"/>
                    </a:lnTo>
                    <a:lnTo>
                      <a:pt x="238" y="687"/>
                    </a:lnTo>
                    <a:lnTo>
                      <a:pt x="238" y="689"/>
                    </a:lnTo>
                    <a:lnTo>
                      <a:pt x="238" y="690"/>
                    </a:lnTo>
                    <a:lnTo>
                      <a:pt x="238" y="694"/>
                    </a:lnTo>
                    <a:lnTo>
                      <a:pt x="237" y="692"/>
                    </a:lnTo>
                    <a:lnTo>
                      <a:pt x="233" y="694"/>
                    </a:lnTo>
                    <a:lnTo>
                      <a:pt x="233" y="699"/>
                    </a:lnTo>
                    <a:lnTo>
                      <a:pt x="238" y="699"/>
                    </a:lnTo>
                    <a:lnTo>
                      <a:pt x="245" y="706"/>
                    </a:lnTo>
                    <a:lnTo>
                      <a:pt x="251" y="716"/>
                    </a:lnTo>
                    <a:lnTo>
                      <a:pt x="254" y="716"/>
                    </a:lnTo>
                    <a:lnTo>
                      <a:pt x="259" y="713"/>
                    </a:lnTo>
                    <a:lnTo>
                      <a:pt x="261" y="716"/>
                    </a:lnTo>
                    <a:lnTo>
                      <a:pt x="261" y="715"/>
                    </a:lnTo>
                    <a:lnTo>
                      <a:pt x="265" y="715"/>
                    </a:lnTo>
                    <a:lnTo>
                      <a:pt x="268" y="711"/>
                    </a:lnTo>
                    <a:lnTo>
                      <a:pt x="273" y="709"/>
                    </a:lnTo>
                    <a:lnTo>
                      <a:pt x="273" y="706"/>
                    </a:lnTo>
                    <a:lnTo>
                      <a:pt x="273" y="699"/>
                    </a:lnTo>
                    <a:lnTo>
                      <a:pt x="275" y="697"/>
                    </a:lnTo>
                    <a:lnTo>
                      <a:pt x="275" y="694"/>
                    </a:lnTo>
                    <a:lnTo>
                      <a:pt x="273" y="690"/>
                    </a:lnTo>
                    <a:lnTo>
                      <a:pt x="273" y="689"/>
                    </a:lnTo>
                    <a:lnTo>
                      <a:pt x="284" y="689"/>
                    </a:lnTo>
                    <a:lnTo>
                      <a:pt x="284" y="685"/>
                    </a:lnTo>
                    <a:lnTo>
                      <a:pt x="291" y="689"/>
                    </a:lnTo>
                    <a:lnTo>
                      <a:pt x="291" y="685"/>
                    </a:lnTo>
                    <a:lnTo>
                      <a:pt x="284" y="682"/>
                    </a:lnTo>
                    <a:lnTo>
                      <a:pt x="284" y="678"/>
                    </a:lnTo>
                    <a:lnTo>
                      <a:pt x="284" y="678"/>
                    </a:lnTo>
                    <a:lnTo>
                      <a:pt x="287" y="682"/>
                    </a:lnTo>
                    <a:lnTo>
                      <a:pt x="291" y="680"/>
                    </a:lnTo>
                    <a:lnTo>
                      <a:pt x="296" y="671"/>
                    </a:lnTo>
                    <a:lnTo>
                      <a:pt x="298" y="671"/>
                    </a:lnTo>
                    <a:lnTo>
                      <a:pt x="306" y="663"/>
                    </a:lnTo>
                    <a:lnTo>
                      <a:pt x="306" y="661"/>
                    </a:lnTo>
                    <a:lnTo>
                      <a:pt x="308" y="659"/>
                    </a:lnTo>
                    <a:lnTo>
                      <a:pt x="311" y="661"/>
                    </a:lnTo>
                    <a:lnTo>
                      <a:pt x="315" y="659"/>
                    </a:lnTo>
                    <a:lnTo>
                      <a:pt x="315" y="656"/>
                    </a:lnTo>
                    <a:lnTo>
                      <a:pt x="324" y="654"/>
                    </a:lnTo>
                    <a:lnTo>
                      <a:pt x="324" y="657"/>
                    </a:lnTo>
                    <a:lnTo>
                      <a:pt x="325" y="657"/>
                    </a:lnTo>
                    <a:lnTo>
                      <a:pt x="325" y="659"/>
                    </a:lnTo>
                    <a:lnTo>
                      <a:pt x="324" y="661"/>
                    </a:lnTo>
                    <a:lnTo>
                      <a:pt x="325" y="663"/>
                    </a:lnTo>
                    <a:lnTo>
                      <a:pt x="331" y="659"/>
                    </a:lnTo>
                    <a:lnTo>
                      <a:pt x="331" y="656"/>
                    </a:lnTo>
                    <a:lnTo>
                      <a:pt x="329" y="656"/>
                    </a:lnTo>
                    <a:lnTo>
                      <a:pt x="325" y="652"/>
                    </a:lnTo>
                    <a:lnTo>
                      <a:pt x="325" y="650"/>
                    </a:lnTo>
                    <a:lnTo>
                      <a:pt x="332" y="643"/>
                    </a:lnTo>
                    <a:lnTo>
                      <a:pt x="334" y="643"/>
                    </a:lnTo>
                    <a:lnTo>
                      <a:pt x="334" y="647"/>
                    </a:lnTo>
                    <a:lnTo>
                      <a:pt x="332" y="647"/>
                    </a:lnTo>
                    <a:lnTo>
                      <a:pt x="331" y="649"/>
                    </a:lnTo>
                    <a:lnTo>
                      <a:pt x="334" y="652"/>
                    </a:lnTo>
                    <a:lnTo>
                      <a:pt x="338" y="652"/>
                    </a:lnTo>
                    <a:lnTo>
                      <a:pt x="338" y="649"/>
                    </a:lnTo>
                    <a:lnTo>
                      <a:pt x="338" y="647"/>
                    </a:lnTo>
                    <a:lnTo>
                      <a:pt x="336" y="643"/>
                    </a:lnTo>
                    <a:lnTo>
                      <a:pt x="336" y="643"/>
                    </a:lnTo>
                    <a:lnTo>
                      <a:pt x="338" y="640"/>
                    </a:lnTo>
                    <a:lnTo>
                      <a:pt x="346" y="638"/>
                    </a:lnTo>
                    <a:lnTo>
                      <a:pt x="353" y="635"/>
                    </a:lnTo>
                    <a:lnTo>
                      <a:pt x="353" y="638"/>
                    </a:lnTo>
                    <a:lnTo>
                      <a:pt x="350" y="638"/>
                    </a:lnTo>
                    <a:lnTo>
                      <a:pt x="346" y="638"/>
                    </a:lnTo>
                    <a:lnTo>
                      <a:pt x="341" y="643"/>
                    </a:lnTo>
                    <a:lnTo>
                      <a:pt x="343" y="643"/>
                    </a:lnTo>
                    <a:lnTo>
                      <a:pt x="346" y="643"/>
                    </a:lnTo>
                    <a:lnTo>
                      <a:pt x="346" y="643"/>
                    </a:lnTo>
                    <a:lnTo>
                      <a:pt x="350" y="647"/>
                    </a:lnTo>
                    <a:lnTo>
                      <a:pt x="348" y="647"/>
                    </a:lnTo>
                    <a:lnTo>
                      <a:pt x="346" y="649"/>
                    </a:lnTo>
                    <a:lnTo>
                      <a:pt x="350" y="652"/>
                    </a:lnTo>
                    <a:lnTo>
                      <a:pt x="348" y="656"/>
                    </a:lnTo>
                    <a:lnTo>
                      <a:pt x="346" y="656"/>
                    </a:lnTo>
                    <a:lnTo>
                      <a:pt x="343" y="659"/>
                    </a:lnTo>
                    <a:lnTo>
                      <a:pt x="343" y="663"/>
                    </a:lnTo>
                    <a:lnTo>
                      <a:pt x="346" y="663"/>
                    </a:lnTo>
                    <a:lnTo>
                      <a:pt x="346" y="663"/>
                    </a:lnTo>
                    <a:lnTo>
                      <a:pt x="350" y="663"/>
                    </a:lnTo>
                    <a:lnTo>
                      <a:pt x="351" y="661"/>
                    </a:lnTo>
                    <a:lnTo>
                      <a:pt x="355" y="663"/>
                    </a:lnTo>
                    <a:lnTo>
                      <a:pt x="355" y="666"/>
                    </a:lnTo>
                    <a:lnTo>
                      <a:pt x="357" y="663"/>
                    </a:lnTo>
                    <a:lnTo>
                      <a:pt x="360" y="657"/>
                    </a:lnTo>
                    <a:lnTo>
                      <a:pt x="362" y="657"/>
                    </a:lnTo>
                    <a:lnTo>
                      <a:pt x="364" y="659"/>
                    </a:lnTo>
                    <a:lnTo>
                      <a:pt x="365" y="663"/>
                    </a:lnTo>
                    <a:lnTo>
                      <a:pt x="369" y="661"/>
                    </a:lnTo>
                    <a:lnTo>
                      <a:pt x="365" y="659"/>
                    </a:lnTo>
                    <a:lnTo>
                      <a:pt x="369" y="656"/>
                    </a:lnTo>
                    <a:lnTo>
                      <a:pt x="365" y="654"/>
                    </a:lnTo>
                    <a:lnTo>
                      <a:pt x="365" y="652"/>
                    </a:lnTo>
                    <a:lnTo>
                      <a:pt x="369" y="649"/>
                    </a:lnTo>
                    <a:lnTo>
                      <a:pt x="371" y="649"/>
                    </a:lnTo>
                    <a:lnTo>
                      <a:pt x="372" y="647"/>
                    </a:lnTo>
                    <a:lnTo>
                      <a:pt x="377" y="643"/>
                    </a:lnTo>
                    <a:lnTo>
                      <a:pt x="379" y="647"/>
                    </a:lnTo>
                    <a:lnTo>
                      <a:pt x="381" y="647"/>
                    </a:lnTo>
                    <a:lnTo>
                      <a:pt x="383" y="647"/>
                    </a:lnTo>
                    <a:lnTo>
                      <a:pt x="386" y="647"/>
                    </a:lnTo>
                    <a:lnTo>
                      <a:pt x="393" y="647"/>
                    </a:lnTo>
                    <a:lnTo>
                      <a:pt x="397" y="643"/>
                    </a:lnTo>
                    <a:lnTo>
                      <a:pt x="397" y="643"/>
                    </a:lnTo>
                    <a:lnTo>
                      <a:pt x="397" y="638"/>
                    </a:lnTo>
                    <a:lnTo>
                      <a:pt x="400" y="638"/>
                    </a:lnTo>
                    <a:lnTo>
                      <a:pt x="402" y="638"/>
                    </a:lnTo>
                    <a:lnTo>
                      <a:pt x="405" y="635"/>
                    </a:lnTo>
                    <a:lnTo>
                      <a:pt x="407" y="635"/>
                    </a:lnTo>
                    <a:lnTo>
                      <a:pt x="412" y="629"/>
                    </a:lnTo>
                    <a:lnTo>
                      <a:pt x="414" y="629"/>
                    </a:lnTo>
                    <a:lnTo>
                      <a:pt x="417" y="628"/>
                    </a:lnTo>
                    <a:lnTo>
                      <a:pt x="417" y="629"/>
                    </a:lnTo>
                    <a:lnTo>
                      <a:pt x="414" y="633"/>
                    </a:lnTo>
                    <a:lnTo>
                      <a:pt x="417" y="633"/>
                    </a:lnTo>
                    <a:lnTo>
                      <a:pt x="419" y="638"/>
                    </a:lnTo>
                    <a:lnTo>
                      <a:pt x="419" y="638"/>
                    </a:lnTo>
                    <a:lnTo>
                      <a:pt x="419" y="640"/>
                    </a:lnTo>
                    <a:lnTo>
                      <a:pt x="419" y="643"/>
                    </a:lnTo>
                    <a:lnTo>
                      <a:pt x="419" y="647"/>
                    </a:lnTo>
                    <a:lnTo>
                      <a:pt x="419" y="650"/>
                    </a:lnTo>
                    <a:lnTo>
                      <a:pt x="430" y="650"/>
                    </a:lnTo>
                    <a:lnTo>
                      <a:pt x="431" y="649"/>
                    </a:lnTo>
                    <a:lnTo>
                      <a:pt x="431" y="647"/>
                    </a:lnTo>
                    <a:lnTo>
                      <a:pt x="430" y="647"/>
                    </a:lnTo>
                    <a:lnTo>
                      <a:pt x="426" y="640"/>
                    </a:lnTo>
                    <a:lnTo>
                      <a:pt x="426" y="638"/>
                    </a:lnTo>
                    <a:lnTo>
                      <a:pt x="428" y="638"/>
                    </a:lnTo>
                    <a:lnTo>
                      <a:pt x="433" y="638"/>
                    </a:lnTo>
                    <a:lnTo>
                      <a:pt x="437" y="635"/>
                    </a:lnTo>
                    <a:lnTo>
                      <a:pt x="438" y="631"/>
                    </a:lnTo>
                    <a:lnTo>
                      <a:pt x="442" y="631"/>
                    </a:lnTo>
                    <a:lnTo>
                      <a:pt x="442" y="633"/>
                    </a:lnTo>
                    <a:lnTo>
                      <a:pt x="447" y="633"/>
                    </a:lnTo>
                    <a:lnTo>
                      <a:pt x="442" y="628"/>
                    </a:lnTo>
                    <a:lnTo>
                      <a:pt x="438" y="626"/>
                    </a:lnTo>
                    <a:lnTo>
                      <a:pt x="438" y="624"/>
                    </a:lnTo>
                    <a:lnTo>
                      <a:pt x="435" y="617"/>
                    </a:lnTo>
                    <a:lnTo>
                      <a:pt x="433" y="617"/>
                    </a:lnTo>
                    <a:lnTo>
                      <a:pt x="433" y="621"/>
                    </a:lnTo>
                    <a:lnTo>
                      <a:pt x="430" y="617"/>
                    </a:lnTo>
                    <a:lnTo>
                      <a:pt x="428" y="612"/>
                    </a:lnTo>
                    <a:lnTo>
                      <a:pt x="426" y="610"/>
                    </a:lnTo>
                    <a:lnTo>
                      <a:pt x="423" y="607"/>
                    </a:lnTo>
                    <a:lnTo>
                      <a:pt x="423" y="605"/>
                    </a:lnTo>
                    <a:lnTo>
                      <a:pt x="428" y="603"/>
                    </a:lnTo>
                    <a:lnTo>
                      <a:pt x="428" y="602"/>
                    </a:lnTo>
                    <a:lnTo>
                      <a:pt x="426" y="596"/>
                    </a:lnTo>
                    <a:lnTo>
                      <a:pt x="428" y="595"/>
                    </a:lnTo>
                    <a:lnTo>
                      <a:pt x="431" y="596"/>
                    </a:lnTo>
                    <a:lnTo>
                      <a:pt x="433" y="595"/>
                    </a:lnTo>
                    <a:lnTo>
                      <a:pt x="435" y="596"/>
                    </a:lnTo>
                    <a:lnTo>
                      <a:pt x="438" y="596"/>
                    </a:lnTo>
                    <a:lnTo>
                      <a:pt x="442" y="598"/>
                    </a:lnTo>
                    <a:lnTo>
                      <a:pt x="454" y="596"/>
                    </a:lnTo>
                    <a:lnTo>
                      <a:pt x="470" y="596"/>
                    </a:lnTo>
                    <a:lnTo>
                      <a:pt x="475" y="600"/>
                    </a:lnTo>
                    <a:lnTo>
                      <a:pt x="487" y="605"/>
                    </a:lnTo>
                    <a:lnTo>
                      <a:pt x="487" y="607"/>
                    </a:lnTo>
                    <a:lnTo>
                      <a:pt x="487" y="607"/>
                    </a:lnTo>
                    <a:lnTo>
                      <a:pt x="489" y="612"/>
                    </a:lnTo>
                    <a:lnTo>
                      <a:pt x="492" y="610"/>
                    </a:lnTo>
                    <a:lnTo>
                      <a:pt x="496" y="607"/>
                    </a:lnTo>
                    <a:lnTo>
                      <a:pt x="501" y="610"/>
                    </a:lnTo>
                    <a:lnTo>
                      <a:pt x="501" y="610"/>
                    </a:lnTo>
                    <a:lnTo>
                      <a:pt x="504" y="612"/>
                    </a:lnTo>
                    <a:lnTo>
                      <a:pt x="508" y="616"/>
                    </a:lnTo>
                    <a:lnTo>
                      <a:pt x="518" y="619"/>
                    </a:lnTo>
                    <a:lnTo>
                      <a:pt x="527" y="621"/>
                    </a:lnTo>
                    <a:lnTo>
                      <a:pt x="530" y="623"/>
                    </a:lnTo>
                    <a:lnTo>
                      <a:pt x="532" y="628"/>
                    </a:lnTo>
                    <a:lnTo>
                      <a:pt x="537" y="629"/>
                    </a:lnTo>
                    <a:lnTo>
                      <a:pt x="543" y="633"/>
                    </a:lnTo>
                    <a:lnTo>
                      <a:pt x="546" y="640"/>
                    </a:lnTo>
                    <a:lnTo>
                      <a:pt x="551" y="640"/>
                    </a:lnTo>
                    <a:lnTo>
                      <a:pt x="551" y="638"/>
                    </a:lnTo>
                    <a:lnTo>
                      <a:pt x="549" y="635"/>
                    </a:lnTo>
                    <a:lnTo>
                      <a:pt x="551" y="635"/>
                    </a:lnTo>
                    <a:lnTo>
                      <a:pt x="551" y="633"/>
                    </a:lnTo>
                    <a:lnTo>
                      <a:pt x="551" y="629"/>
                    </a:lnTo>
                    <a:lnTo>
                      <a:pt x="551" y="626"/>
                    </a:lnTo>
                    <a:lnTo>
                      <a:pt x="551" y="617"/>
                    </a:lnTo>
                    <a:lnTo>
                      <a:pt x="555" y="616"/>
                    </a:lnTo>
                    <a:lnTo>
                      <a:pt x="551" y="616"/>
                    </a:lnTo>
                    <a:lnTo>
                      <a:pt x="551" y="612"/>
                    </a:lnTo>
                    <a:lnTo>
                      <a:pt x="546" y="612"/>
                    </a:lnTo>
                    <a:lnTo>
                      <a:pt x="543" y="616"/>
                    </a:lnTo>
                    <a:lnTo>
                      <a:pt x="541" y="616"/>
                    </a:lnTo>
                    <a:lnTo>
                      <a:pt x="534" y="607"/>
                    </a:lnTo>
                    <a:lnTo>
                      <a:pt x="532" y="605"/>
                    </a:lnTo>
                    <a:lnTo>
                      <a:pt x="529" y="602"/>
                    </a:lnTo>
                    <a:lnTo>
                      <a:pt x="529" y="596"/>
                    </a:lnTo>
                    <a:lnTo>
                      <a:pt x="527" y="595"/>
                    </a:lnTo>
                    <a:lnTo>
                      <a:pt x="523" y="598"/>
                    </a:lnTo>
                    <a:lnTo>
                      <a:pt x="520" y="596"/>
                    </a:lnTo>
                    <a:lnTo>
                      <a:pt x="516" y="596"/>
                    </a:lnTo>
                    <a:lnTo>
                      <a:pt x="513" y="595"/>
                    </a:lnTo>
                    <a:lnTo>
                      <a:pt x="511" y="596"/>
                    </a:lnTo>
                    <a:lnTo>
                      <a:pt x="511" y="591"/>
                    </a:lnTo>
                    <a:lnTo>
                      <a:pt x="508" y="588"/>
                    </a:lnTo>
                    <a:lnTo>
                      <a:pt x="504" y="583"/>
                    </a:lnTo>
                    <a:lnTo>
                      <a:pt x="504" y="579"/>
                    </a:lnTo>
                    <a:lnTo>
                      <a:pt x="508" y="581"/>
                    </a:lnTo>
                    <a:lnTo>
                      <a:pt x="510" y="579"/>
                    </a:lnTo>
                    <a:lnTo>
                      <a:pt x="510" y="574"/>
                    </a:lnTo>
                    <a:lnTo>
                      <a:pt x="504" y="570"/>
                    </a:lnTo>
                    <a:lnTo>
                      <a:pt x="504" y="567"/>
                    </a:lnTo>
                    <a:lnTo>
                      <a:pt x="508" y="565"/>
                    </a:lnTo>
                    <a:lnTo>
                      <a:pt x="510" y="565"/>
                    </a:lnTo>
                    <a:lnTo>
                      <a:pt x="506" y="560"/>
                    </a:lnTo>
                    <a:lnTo>
                      <a:pt x="504" y="560"/>
                    </a:lnTo>
                    <a:lnTo>
                      <a:pt x="501" y="553"/>
                    </a:lnTo>
                    <a:lnTo>
                      <a:pt x="497" y="553"/>
                    </a:lnTo>
                    <a:lnTo>
                      <a:pt x="496" y="553"/>
                    </a:lnTo>
                    <a:lnTo>
                      <a:pt x="492" y="549"/>
                    </a:lnTo>
                    <a:lnTo>
                      <a:pt x="492" y="544"/>
                    </a:lnTo>
                    <a:lnTo>
                      <a:pt x="492" y="541"/>
                    </a:lnTo>
                    <a:lnTo>
                      <a:pt x="492" y="537"/>
                    </a:lnTo>
                    <a:lnTo>
                      <a:pt x="492" y="534"/>
                    </a:lnTo>
                    <a:lnTo>
                      <a:pt x="492" y="532"/>
                    </a:lnTo>
                    <a:lnTo>
                      <a:pt x="501" y="525"/>
                    </a:lnTo>
                    <a:lnTo>
                      <a:pt x="504" y="522"/>
                    </a:lnTo>
                    <a:lnTo>
                      <a:pt x="504" y="520"/>
                    </a:lnTo>
                    <a:lnTo>
                      <a:pt x="504" y="515"/>
                    </a:lnTo>
                    <a:lnTo>
                      <a:pt x="504" y="511"/>
                    </a:lnTo>
                    <a:lnTo>
                      <a:pt x="504" y="508"/>
                    </a:lnTo>
                    <a:lnTo>
                      <a:pt x="501" y="503"/>
                    </a:lnTo>
                    <a:lnTo>
                      <a:pt x="501" y="497"/>
                    </a:lnTo>
                    <a:lnTo>
                      <a:pt x="504" y="496"/>
                    </a:lnTo>
                    <a:lnTo>
                      <a:pt x="501" y="494"/>
                    </a:lnTo>
                    <a:lnTo>
                      <a:pt x="501" y="489"/>
                    </a:lnTo>
                    <a:lnTo>
                      <a:pt x="501" y="487"/>
                    </a:lnTo>
                    <a:lnTo>
                      <a:pt x="501" y="480"/>
                    </a:lnTo>
                    <a:lnTo>
                      <a:pt x="504" y="478"/>
                    </a:lnTo>
                    <a:lnTo>
                      <a:pt x="501" y="475"/>
                    </a:lnTo>
                    <a:lnTo>
                      <a:pt x="501" y="469"/>
                    </a:lnTo>
                    <a:lnTo>
                      <a:pt x="501" y="463"/>
                    </a:lnTo>
                    <a:lnTo>
                      <a:pt x="504" y="463"/>
                    </a:lnTo>
                    <a:lnTo>
                      <a:pt x="506" y="463"/>
                    </a:lnTo>
                    <a:lnTo>
                      <a:pt x="504" y="464"/>
                    </a:lnTo>
                    <a:lnTo>
                      <a:pt x="506" y="466"/>
                    </a:lnTo>
                    <a:lnTo>
                      <a:pt x="510" y="464"/>
                    </a:lnTo>
                    <a:lnTo>
                      <a:pt x="515" y="464"/>
                    </a:lnTo>
                    <a:lnTo>
                      <a:pt x="520" y="463"/>
                    </a:lnTo>
                    <a:lnTo>
                      <a:pt x="520" y="463"/>
                    </a:lnTo>
                    <a:lnTo>
                      <a:pt x="523" y="464"/>
                    </a:lnTo>
                    <a:lnTo>
                      <a:pt x="527" y="463"/>
                    </a:lnTo>
                    <a:lnTo>
                      <a:pt x="530" y="463"/>
                    </a:lnTo>
                    <a:lnTo>
                      <a:pt x="541" y="466"/>
                    </a:lnTo>
                    <a:lnTo>
                      <a:pt x="546" y="466"/>
                    </a:lnTo>
                    <a:lnTo>
                      <a:pt x="549" y="466"/>
                    </a:lnTo>
                    <a:lnTo>
                      <a:pt x="551" y="469"/>
                    </a:lnTo>
                    <a:lnTo>
                      <a:pt x="546" y="473"/>
                    </a:lnTo>
                    <a:lnTo>
                      <a:pt x="551" y="475"/>
                    </a:lnTo>
                    <a:lnTo>
                      <a:pt x="551" y="478"/>
                    </a:lnTo>
                    <a:lnTo>
                      <a:pt x="551" y="482"/>
                    </a:lnTo>
                    <a:lnTo>
                      <a:pt x="551" y="487"/>
                    </a:lnTo>
                    <a:lnTo>
                      <a:pt x="555" y="494"/>
                    </a:lnTo>
                    <a:lnTo>
                      <a:pt x="551" y="501"/>
                    </a:lnTo>
                    <a:lnTo>
                      <a:pt x="555" y="506"/>
                    </a:lnTo>
                    <a:lnTo>
                      <a:pt x="555" y="506"/>
                    </a:lnTo>
                    <a:lnTo>
                      <a:pt x="555" y="509"/>
                    </a:lnTo>
                    <a:lnTo>
                      <a:pt x="555" y="513"/>
                    </a:lnTo>
                    <a:lnTo>
                      <a:pt x="551" y="515"/>
                    </a:lnTo>
                    <a:lnTo>
                      <a:pt x="555" y="518"/>
                    </a:lnTo>
                    <a:lnTo>
                      <a:pt x="556" y="522"/>
                    </a:lnTo>
                    <a:lnTo>
                      <a:pt x="558" y="525"/>
                    </a:lnTo>
                    <a:lnTo>
                      <a:pt x="563" y="529"/>
                    </a:lnTo>
                    <a:lnTo>
                      <a:pt x="563" y="529"/>
                    </a:lnTo>
                    <a:lnTo>
                      <a:pt x="565" y="529"/>
                    </a:lnTo>
                    <a:lnTo>
                      <a:pt x="569" y="529"/>
                    </a:lnTo>
                    <a:lnTo>
                      <a:pt x="569" y="534"/>
                    </a:lnTo>
                    <a:lnTo>
                      <a:pt x="574" y="537"/>
                    </a:lnTo>
                    <a:lnTo>
                      <a:pt x="574" y="541"/>
                    </a:lnTo>
                    <a:lnTo>
                      <a:pt x="577" y="553"/>
                    </a:lnTo>
                    <a:lnTo>
                      <a:pt x="579" y="556"/>
                    </a:lnTo>
                    <a:lnTo>
                      <a:pt x="579" y="556"/>
                    </a:lnTo>
                    <a:lnTo>
                      <a:pt x="577" y="560"/>
                    </a:lnTo>
                    <a:lnTo>
                      <a:pt x="581" y="565"/>
                    </a:lnTo>
                    <a:lnTo>
                      <a:pt x="581" y="569"/>
                    </a:lnTo>
                    <a:lnTo>
                      <a:pt x="588" y="576"/>
                    </a:lnTo>
                    <a:lnTo>
                      <a:pt x="586" y="583"/>
                    </a:lnTo>
                    <a:lnTo>
                      <a:pt x="588" y="584"/>
                    </a:lnTo>
                    <a:lnTo>
                      <a:pt x="591" y="588"/>
                    </a:lnTo>
                    <a:lnTo>
                      <a:pt x="589" y="589"/>
                    </a:lnTo>
                    <a:lnTo>
                      <a:pt x="591" y="591"/>
                    </a:lnTo>
                    <a:lnTo>
                      <a:pt x="593" y="600"/>
                    </a:lnTo>
                    <a:lnTo>
                      <a:pt x="600" y="607"/>
                    </a:lnTo>
                    <a:lnTo>
                      <a:pt x="605" y="610"/>
                    </a:lnTo>
                    <a:lnTo>
                      <a:pt x="607" y="612"/>
                    </a:lnTo>
                    <a:lnTo>
                      <a:pt x="610" y="612"/>
                    </a:lnTo>
                    <a:lnTo>
                      <a:pt x="616" y="617"/>
                    </a:lnTo>
                    <a:lnTo>
                      <a:pt x="616" y="621"/>
                    </a:lnTo>
                    <a:lnTo>
                      <a:pt x="614" y="621"/>
                    </a:lnTo>
                    <a:lnTo>
                      <a:pt x="614" y="624"/>
                    </a:lnTo>
                    <a:lnTo>
                      <a:pt x="612" y="629"/>
                    </a:lnTo>
                    <a:lnTo>
                      <a:pt x="616" y="635"/>
                    </a:lnTo>
                    <a:lnTo>
                      <a:pt x="619" y="638"/>
                    </a:lnTo>
                    <a:lnTo>
                      <a:pt x="619" y="643"/>
                    </a:lnTo>
                    <a:lnTo>
                      <a:pt x="616" y="647"/>
                    </a:lnTo>
                    <a:lnTo>
                      <a:pt x="616" y="649"/>
                    </a:lnTo>
                    <a:lnTo>
                      <a:pt x="614" y="652"/>
                    </a:lnTo>
                    <a:lnTo>
                      <a:pt x="616" y="654"/>
                    </a:lnTo>
                    <a:lnTo>
                      <a:pt x="616" y="661"/>
                    </a:lnTo>
                    <a:lnTo>
                      <a:pt x="612" y="663"/>
                    </a:lnTo>
                    <a:lnTo>
                      <a:pt x="612" y="663"/>
                    </a:lnTo>
                    <a:lnTo>
                      <a:pt x="616" y="663"/>
                    </a:lnTo>
                    <a:lnTo>
                      <a:pt x="616" y="666"/>
                    </a:lnTo>
                    <a:lnTo>
                      <a:pt x="610" y="669"/>
                    </a:lnTo>
                    <a:lnTo>
                      <a:pt x="610" y="675"/>
                    </a:lnTo>
                    <a:lnTo>
                      <a:pt x="609" y="676"/>
                    </a:lnTo>
                    <a:lnTo>
                      <a:pt x="605" y="675"/>
                    </a:lnTo>
                    <a:lnTo>
                      <a:pt x="605" y="678"/>
                    </a:lnTo>
                    <a:lnTo>
                      <a:pt x="609" y="682"/>
                    </a:lnTo>
                    <a:lnTo>
                      <a:pt x="609" y="683"/>
                    </a:lnTo>
                    <a:lnTo>
                      <a:pt x="605" y="687"/>
                    </a:lnTo>
                    <a:lnTo>
                      <a:pt x="602" y="690"/>
                    </a:lnTo>
                    <a:lnTo>
                      <a:pt x="596" y="690"/>
                    </a:lnTo>
                    <a:lnTo>
                      <a:pt x="593" y="687"/>
                    </a:lnTo>
                    <a:lnTo>
                      <a:pt x="600" y="683"/>
                    </a:lnTo>
                    <a:lnTo>
                      <a:pt x="600" y="682"/>
                    </a:lnTo>
                    <a:lnTo>
                      <a:pt x="596" y="682"/>
                    </a:lnTo>
                    <a:lnTo>
                      <a:pt x="595" y="683"/>
                    </a:lnTo>
                    <a:lnTo>
                      <a:pt x="591" y="683"/>
                    </a:lnTo>
                    <a:lnTo>
                      <a:pt x="584" y="680"/>
                    </a:lnTo>
                    <a:lnTo>
                      <a:pt x="583" y="682"/>
                    </a:lnTo>
                    <a:lnTo>
                      <a:pt x="574" y="683"/>
                    </a:lnTo>
                    <a:lnTo>
                      <a:pt x="569" y="683"/>
                    </a:lnTo>
                    <a:lnTo>
                      <a:pt x="565" y="689"/>
                    </a:lnTo>
                    <a:lnTo>
                      <a:pt x="569" y="689"/>
                    </a:lnTo>
                    <a:lnTo>
                      <a:pt x="569" y="690"/>
                    </a:lnTo>
                    <a:lnTo>
                      <a:pt x="570" y="687"/>
                    </a:lnTo>
                    <a:lnTo>
                      <a:pt x="577" y="685"/>
                    </a:lnTo>
                    <a:lnTo>
                      <a:pt x="577" y="689"/>
                    </a:lnTo>
                    <a:lnTo>
                      <a:pt x="581" y="694"/>
                    </a:lnTo>
                    <a:lnTo>
                      <a:pt x="595" y="694"/>
                    </a:lnTo>
                    <a:lnTo>
                      <a:pt x="600" y="697"/>
                    </a:lnTo>
                    <a:lnTo>
                      <a:pt x="605" y="694"/>
                    </a:lnTo>
                    <a:lnTo>
                      <a:pt x="612" y="694"/>
                    </a:lnTo>
                    <a:lnTo>
                      <a:pt x="614" y="697"/>
                    </a:lnTo>
                    <a:lnTo>
                      <a:pt x="619" y="697"/>
                    </a:lnTo>
                    <a:lnTo>
                      <a:pt x="624" y="697"/>
                    </a:lnTo>
                    <a:lnTo>
                      <a:pt x="624" y="692"/>
                    </a:lnTo>
                    <a:lnTo>
                      <a:pt x="624" y="690"/>
                    </a:lnTo>
                    <a:lnTo>
                      <a:pt x="624" y="685"/>
                    </a:lnTo>
                    <a:lnTo>
                      <a:pt x="624" y="683"/>
                    </a:lnTo>
                    <a:lnTo>
                      <a:pt x="628" y="682"/>
                    </a:lnTo>
                    <a:lnTo>
                      <a:pt x="628" y="678"/>
                    </a:lnTo>
                    <a:lnTo>
                      <a:pt x="633" y="675"/>
                    </a:lnTo>
                    <a:lnTo>
                      <a:pt x="633" y="669"/>
                    </a:lnTo>
                    <a:lnTo>
                      <a:pt x="636" y="663"/>
                    </a:lnTo>
                    <a:lnTo>
                      <a:pt x="633" y="657"/>
                    </a:lnTo>
                    <a:lnTo>
                      <a:pt x="635" y="652"/>
                    </a:lnTo>
                    <a:lnTo>
                      <a:pt x="640" y="643"/>
                    </a:lnTo>
                    <a:lnTo>
                      <a:pt x="640" y="638"/>
                    </a:lnTo>
                    <a:lnTo>
                      <a:pt x="635" y="628"/>
                    </a:lnTo>
                    <a:lnTo>
                      <a:pt x="628" y="623"/>
                    </a:lnTo>
                    <a:lnTo>
                      <a:pt x="628" y="619"/>
                    </a:lnTo>
                    <a:lnTo>
                      <a:pt x="624" y="610"/>
                    </a:lnTo>
                    <a:lnTo>
                      <a:pt x="631" y="607"/>
                    </a:lnTo>
                    <a:lnTo>
                      <a:pt x="633" y="602"/>
                    </a:lnTo>
                    <a:lnTo>
                      <a:pt x="638" y="602"/>
                    </a:lnTo>
                    <a:lnTo>
                      <a:pt x="645" y="595"/>
                    </a:lnTo>
                    <a:lnTo>
                      <a:pt x="650" y="593"/>
                    </a:lnTo>
                    <a:lnTo>
                      <a:pt x="654" y="600"/>
                    </a:lnTo>
                    <a:lnTo>
                      <a:pt x="654" y="605"/>
                    </a:lnTo>
                    <a:lnTo>
                      <a:pt x="661" y="607"/>
                    </a:lnTo>
                    <a:lnTo>
                      <a:pt x="662" y="610"/>
                    </a:lnTo>
                    <a:lnTo>
                      <a:pt x="664" y="610"/>
                    </a:lnTo>
                    <a:lnTo>
                      <a:pt x="668" y="616"/>
                    </a:lnTo>
                    <a:lnTo>
                      <a:pt x="668" y="619"/>
                    </a:lnTo>
                    <a:lnTo>
                      <a:pt x="669" y="621"/>
                    </a:lnTo>
                    <a:lnTo>
                      <a:pt x="669" y="624"/>
                    </a:lnTo>
                    <a:lnTo>
                      <a:pt x="675" y="629"/>
                    </a:lnTo>
                    <a:lnTo>
                      <a:pt x="676" y="633"/>
                    </a:lnTo>
                    <a:lnTo>
                      <a:pt x="675" y="635"/>
                    </a:lnTo>
                    <a:lnTo>
                      <a:pt x="676" y="638"/>
                    </a:lnTo>
                    <a:lnTo>
                      <a:pt x="682" y="638"/>
                    </a:lnTo>
                    <a:lnTo>
                      <a:pt x="683" y="643"/>
                    </a:lnTo>
                    <a:lnTo>
                      <a:pt x="688" y="640"/>
                    </a:lnTo>
                    <a:lnTo>
                      <a:pt x="692" y="640"/>
                    </a:lnTo>
                    <a:lnTo>
                      <a:pt x="697" y="638"/>
                    </a:lnTo>
                    <a:lnTo>
                      <a:pt x="699" y="638"/>
                    </a:lnTo>
                    <a:lnTo>
                      <a:pt x="701" y="635"/>
                    </a:lnTo>
                    <a:lnTo>
                      <a:pt x="699" y="635"/>
                    </a:lnTo>
                    <a:lnTo>
                      <a:pt x="695" y="635"/>
                    </a:lnTo>
                    <a:lnTo>
                      <a:pt x="694" y="635"/>
                    </a:lnTo>
                    <a:lnTo>
                      <a:pt x="690" y="638"/>
                    </a:lnTo>
                    <a:lnTo>
                      <a:pt x="685" y="638"/>
                    </a:lnTo>
                    <a:lnTo>
                      <a:pt x="683" y="635"/>
                    </a:lnTo>
                    <a:lnTo>
                      <a:pt x="682" y="635"/>
                    </a:lnTo>
                    <a:lnTo>
                      <a:pt x="678" y="633"/>
                    </a:lnTo>
                    <a:lnTo>
                      <a:pt x="678" y="629"/>
                    </a:lnTo>
                    <a:lnTo>
                      <a:pt x="678" y="628"/>
                    </a:lnTo>
                    <a:lnTo>
                      <a:pt x="675" y="623"/>
                    </a:lnTo>
                    <a:lnTo>
                      <a:pt x="676" y="617"/>
                    </a:lnTo>
                    <a:lnTo>
                      <a:pt x="678" y="616"/>
                    </a:lnTo>
                    <a:lnTo>
                      <a:pt x="682" y="616"/>
                    </a:lnTo>
                    <a:lnTo>
                      <a:pt x="678" y="612"/>
                    </a:lnTo>
                    <a:lnTo>
                      <a:pt x="678" y="610"/>
                    </a:lnTo>
                    <a:lnTo>
                      <a:pt x="678" y="607"/>
                    </a:lnTo>
                    <a:lnTo>
                      <a:pt x="676" y="607"/>
                    </a:lnTo>
                    <a:lnTo>
                      <a:pt x="669" y="603"/>
                    </a:lnTo>
                    <a:lnTo>
                      <a:pt x="669" y="600"/>
                    </a:lnTo>
                    <a:lnTo>
                      <a:pt x="666" y="595"/>
                    </a:lnTo>
                    <a:lnTo>
                      <a:pt x="661" y="595"/>
                    </a:lnTo>
                    <a:lnTo>
                      <a:pt x="654" y="591"/>
                    </a:lnTo>
                    <a:lnTo>
                      <a:pt x="650" y="588"/>
                    </a:lnTo>
                    <a:lnTo>
                      <a:pt x="647" y="589"/>
                    </a:lnTo>
                    <a:lnTo>
                      <a:pt x="640" y="584"/>
                    </a:lnTo>
                    <a:lnTo>
                      <a:pt x="638" y="588"/>
                    </a:lnTo>
                    <a:lnTo>
                      <a:pt x="633" y="584"/>
                    </a:lnTo>
                    <a:lnTo>
                      <a:pt x="628" y="589"/>
                    </a:lnTo>
                    <a:lnTo>
                      <a:pt x="628" y="595"/>
                    </a:lnTo>
                    <a:lnTo>
                      <a:pt x="624" y="596"/>
                    </a:lnTo>
                    <a:lnTo>
                      <a:pt x="619" y="595"/>
                    </a:lnTo>
                    <a:lnTo>
                      <a:pt x="614" y="598"/>
                    </a:lnTo>
                    <a:lnTo>
                      <a:pt x="610" y="596"/>
                    </a:lnTo>
                    <a:lnTo>
                      <a:pt x="607" y="593"/>
                    </a:lnTo>
                    <a:lnTo>
                      <a:pt x="609" y="589"/>
                    </a:lnTo>
                    <a:lnTo>
                      <a:pt x="607" y="584"/>
                    </a:lnTo>
                    <a:lnTo>
                      <a:pt x="600" y="579"/>
                    </a:lnTo>
                    <a:lnTo>
                      <a:pt x="600" y="576"/>
                    </a:lnTo>
                    <a:lnTo>
                      <a:pt x="600" y="567"/>
                    </a:lnTo>
                    <a:lnTo>
                      <a:pt x="596" y="560"/>
                    </a:lnTo>
                    <a:lnTo>
                      <a:pt x="596" y="556"/>
                    </a:lnTo>
                    <a:lnTo>
                      <a:pt x="596" y="546"/>
                    </a:lnTo>
                    <a:lnTo>
                      <a:pt x="596" y="539"/>
                    </a:lnTo>
                    <a:lnTo>
                      <a:pt x="591" y="534"/>
                    </a:lnTo>
                    <a:lnTo>
                      <a:pt x="588" y="534"/>
                    </a:lnTo>
                    <a:lnTo>
                      <a:pt x="584" y="529"/>
                    </a:lnTo>
                    <a:lnTo>
                      <a:pt x="577" y="523"/>
                    </a:lnTo>
                    <a:lnTo>
                      <a:pt x="572" y="520"/>
                    </a:lnTo>
                    <a:lnTo>
                      <a:pt x="572" y="515"/>
                    </a:lnTo>
                    <a:lnTo>
                      <a:pt x="574" y="508"/>
                    </a:lnTo>
                    <a:lnTo>
                      <a:pt x="572" y="503"/>
                    </a:lnTo>
                    <a:lnTo>
                      <a:pt x="570" y="501"/>
                    </a:lnTo>
                    <a:lnTo>
                      <a:pt x="570" y="497"/>
                    </a:lnTo>
                    <a:lnTo>
                      <a:pt x="574" y="496"/>
                    </a:lnTo>
                    <a:lnTo>
                      <a:pt x="577" y="489"/>
                    </a:lnTo>
                    <a:lnTo>
                      <a:pt x="581" y="482"/>
                    </a:lnTo>
                    <a:lnTo>
                      <a:pt x="577" y="473"/>
                    </a:lnTo>
                    <a:lnTo>
                      <a:pt x="572" y="457"/>
                    </a:lnTo>
                    <a:lnTo>
                      <a:pt x="574" y="457"/>
                    </a:lnTo>
                    <a:lnTo>
                      <a:pt x="577" y="461"/>
                    </a:lnTo>
                    <a:lnTo>
                      <a:pt x="579" y="466"/>
                    </a:lnTo>
                    <a:lnTo>
                      <a:pt x="581" y="466"/>
                    </a:lnTo>
                    <a:lnTo>
                      <a:pt x="583" y="466"/>
                    </a:lnTo>
                    <a:lnTo>
                      <a:pt x="583" y="473"/>
                    </a:lnTo>
                    <a:lnTo>
                      <a:pt x="588" y="478"/>
                    </a:lnTo>
                    <a:lnTo>
                      <a:pt x="586" y="483"/>
                    </a:lnTo>
                    <a:lnTo>
                      <a:pt x="589" y="489"/>
                    </a:lnTo>
                    <a:lnTo>
                      <a:pt x="588" y="494"/>
                    </a:lnTo>
                    <a:lnTo>
                      <a:pt x="589" y="497"/>
                    </a:lnTo>
                    <a:lnTo>
                      <a:pt x="595" y="501"/>
                    </a:lnTo>
                    <a:lnTo>
                      <a:pt x="595" y="503"/>
                    </a:lnTo>
                    <a:lnTo>
                      <a:pt x="596" y="506"/>
                    </a:lnTo>
                    <a:lnTo>
                      <a:pt x="596" y="508"/>
                    </a:lnTo>
                    <a:lnTo>
                      <a:pt x="595" y="511"/>
                    </a:lnTo>
                    <a:lnTo>
                      <a:pt x="596" y="513"/>
                    </a:lnTo>
                    <a:lnTo>
                      <a:pt x="600" y="513"/>
                    </a:lnTo>
                    <a:lnTo>
                      <a:pt x="605" y="516"/>
                    </a:lnTo>
                    <a:lnTo>
                      <a:pt x="612" y="516"/>
                    </a:lnTo>
                    <a:lnTo>
                      <a:pt x="616" y="515"/>
                    </a:lnTo>
                    <a:lnTo>
                      <a:pt x="617" y="516"/>
                    </a:lnTo>
                    <a:lnTo>
                      <a:pt x="619" y="520"/>
                    </a:lnTo>
                    <a:lnTo>
                      <a:pt x="622" y="516"/>
                    </a:lnTo>
                    <a:lnTo>
                      <a:pt x="624" y="515"/>
                    </a:lnTo>
                    <a:lnTo>
                      <a:pt x="628" y="513"/>
                    </a:lnTo>
                    <a:lnTo>
                      <a:pt x="631" y="515"/>
                    </a:lnTo>
                    <a:lnTo>
                      <a:pt x="636" y="520"/>
                    </a:lnTo>
                    <a:lnTo>
                      <a:pt x="640" y="520"/>
                    </a:lnTo>
                    <a:lnTo>
                      <a:pt x="645" y="523"/>
                    </a:lnTo>
                    <a:lnTo>
                      <a:pt x="650" y="522"/>
                    </a:lnTo>
                    <a:lnTo>
                      <a:pt x="654" y="518"/>
                    </a:lnTo>
                    <a:lnTo>
                      <a:pt x="650" y="520"/>
                    </a:lnTo>
                    <a:lnTo>
                      <a:pt x="645" y="520"/>
                    </a:lnTo>
                    <a:lnTo>
                      <a:pt x="643" y="516"/>
                    </a:lnTo>
                    <a:lnTo>
                      <a:pt x="642" y="515"/>
                    </a:lnTo>
                    <a:lnTo>
                      <a:pt x="640" y="509"/>
                    </a:lnTo>
                    <a:lnTo>
                      <a:pt x="633" y="509"/>
                    </a:lnTo>
                    <a:lnTo>
                      <a:pt x="633" y="508"/>
                    </a:lnTo>
                    <a:lnTo>
                      <a:pt x="631" y="508"/>
                    </a:lnTo>
                    <a:lnTo>
                      <a:pt x="628" y="509"/>
                    </a:lnTo>
                    <a:lnTo>
                      <a:pt x="619" y="509"/>
                    </a:lnTo>
                    <a:lnTo>
                      <a:pt x="617" y="506"/>
                    </a:lnTo>
                    <a:lnTo>
                      <a:pt x="612" y="506"/>
                    </a:lnTo>
                    <a:lnTo>
                      <a:pt x="605" y="501"/>
                    </a:lnTo>
                    <a:lnTo>
                      <a:pt x="605" y="497"/>
                    </a:lnTo>
                    <a:lnTo>
                      <a:pt x="602" y="497"/>
                    </a:lnTo>
                    <a:lnTo>
                      <a:pt x="596" y="489"/>
                    </a:lnTo>
                    <a:lnTo>
                      <a:pt x="600" y="487"/>
                    </a:lnTo>
                    <a:lnTo>
                      <a:pt x="600" y="485"/>
                    </a:lnTo>
                    <a:lnTo>
                      <a:pt x="605" y="482"/>
                    </a:lnTo>
                    <a:lnTo>
                      <a:pt x="609" y="482"/>
                    </a:lnTo>
                    <a:lnTo>
                      <a:pt x="614" y="487"/>
                    </a:lnTo>
                    <a:lnTo>
                      <a:pt x="619" y="490"/>
                    </a:lnTo>
                    <a:lnTo>
                      <a:pt x="624" y="490"/>
                    </a:lnTo>
                    <a:lnTo>
                      <a:pt x="629" y="483"/>
                    </a:lnTo>
                    <a:lnTo>
                      <a:pt x="628" y="478"/>
                    </a:lnTo>
                    <a:lnTo>
                      <a:pt x="619" y="475"/>
                    </a:lnTo>
                    <a:lnTo>
                      <a:pt x="614" y="478"/>
                    </a:lnTo>
                    <a:lnTo>
                      <a:pt x="612" y="478"/>
                    </a:lnTo>
                    <a:lnTo>
                      <a:pt x="614" y="475"/>
                    </a:lnTo>
                    <a:lnTo>
                      <a:pt x="616" y="475"/>
                    </a:lnTo>
                    <a:lnTo>
                      <a:pt x="617" y="475"/>
                    </a:lnTo>
                    <a:lnTo>
                      <a:pt x="617" y="469"/>
                    </a:lnTo>
                    <a:lnTo>
                      <a:pt x="622" y="464"/>
                    </a:lnTo>
                    <a:lnTo>
                      <a:pt x="624" y="461"/>
                    </a:lnTo>
                    <a:lnTo>
                      <a:pt x="628" y="463"/>
                    </a:lnTo>
                    <a:lnTo>
                      <a:pt x="640" y="463"/>
                    </a:lnTo>
                    <a:lnTo>
                      <a:pt x="645" y="466"/>
                    </a:lnTo>
                    <a:lnTo>
                      <a:pt x="647" y="469"/>
                    </a:lnTo>
                    <a:lnTo>
                      <a:pt x="659" y="469"/>
                    </a:lnTo>
                    <a:lnTo>
                      <a:pt x="659" y="475"/>
                    </a:lnTo>
                    <a:lnTo>
                      <a:pt x="662" y="478"/>
                    </a:lnTo>
                    <a:lnTo>
                      <a:pt x="669" y="483"/>
                    </a:lnTo>
                    <a:lnTo>
                      <a:pt x="676" y="483"/>
                    </a:lnTo>
                    <a:lnTo>
                      <a:pt x="683" y="483"/>
                    </a:lnTo>
                    <a:lnTo>
                      <a:pt x="692" y="478"/>
                    </a:lnTo>
                    <a:lnTo>
                      <a:pt x="694" y="480"/>
                    </a:lnTo>
                    <a:lnTo>
                      <a:pt x="695" y="480"/>
                    </a:lnTo>
                    <a:lnTo>
                      <a:pt x="701" y="480"/>
                    </a:lnTo>
                    <a:lnTo>
                      <a:pt x="699" y="487"/>
                    </a:lnTo>
                    <a:lnTo>
                      <a:pt x="699" y="490"/>
                    </a:lnTo>
                    <a:lnTo>
                      <a:pt x="699" y="494"/>
                    </a:lnTo>
                    <a:lnTo>
                      <a:pt x="694" y="497"/>
                    </a:lnTo>
                    <a:lnTo>
                      <a:pt x="694" y="501"/>
                    </a:lnTo>
                    <a:lnTo>
                      <a:pt x="697" y="506"/>
                    </a:lnTo>
                    <a:lnTo>
                      <a:pt x="697" y="509"/>
                    </a:lnTo>
                    <a:lnTo>
                      <a:pt x="701" y="515"/>
                    </a:lnTo>
                    <a:lnTo>
                      <a:pt x="701" y="518"/>
                    </a:lnTo>
                    <a:lnTo>
                      <a:pt x="701" y="522"/>
                    </a:lnTo>
                    <a:lnTo>
                      <a:pt x="701" y="532"/>
                    </a:lnTo>
                    <a:lnTo>
                      <a:pt x="704" y="532"/>
                    </a:lnTo>
                    <a:lnTo>
                      <a:pt x="704" y="529"/>
                    </a:lnTo>
                    <a:lnTo>
                      <a:pt x="704" y="525"/>
                    </a:lnTo>
                    <a:lnTo>
                      <a:pt x="704" y="523"/>
                    </a:lnTo>
                    <a:lnTo>
                      <a:pt x="704" y="520"/>
                    </a:lnTo>
                    <a:lnTo>
                      <a:pt x="709" y="518"/>
                    </a:lnTo>
                    <a:lnTo>
                      <a:pt x="709" y="513"/>
                    </a:lnTo>
                    <a:lnTo>
                      <a:pt x="713" y="515"/>
                    </a:lnTo>
                    <a:lnTo>
                      <a:pt x="715" y="522"/>
                    </a:lnTo>
                    <a:lnTo>
                      <a:pt x="715" y="529"/>
                    </a:lnTo>
                    <a:lnTo>
                      <a:pt x="716" y="530"/>
                    </a:lnTo>
                    <a:lnTo>
                      <a:pt x="713" y="532"/>
                    </a:lnTo>
                    <a:lnTo>
                      <a:pt x="713" y="537"/>
                    </a:lnTo>
                    <a:lnTo>
                      <a:pt x="711" y="537"/>
                    </a:lnTo>
                    <a:lnTo>
                      <a:pt x="718" y="543"/>
                    </a:lnTo>
                    <a:lnTo>
                      <a:pt x="723" y="543"/>
                    </a:lnTo>
                    <a:lnTo>
                      <a:pt x="728" y="544"/>
                    </a:lnTo>
                    <a:lnTo>
                      <a:pt x="732" y="548"/>
                    </a:lnTo>
                    <a:lnTo>
                      <a:pt x="732" y="551"/>
                    </a:lnTo>
                    <a:lnTo>
                      <a:pt x="735" y="553"/>
                    </a:lnTo>
                    <a:lnTo>
                      <a:pt x="742" y="553"/>
                    </a:lnTo>
                    <a:lnTo>
                      <a:pt x="749" y="562"/>
                    </a:lnTo>
                    <a:lnTo>
                      <a:pt x="749" y="560"/>
                    </a:lnTo>
                    <a:lnTo>
                      <a:pt x="749" y="553"/>
                    </a:lnTo>
                    <a:lnTo>
                      <a:pt x="755" y="549"/>
                    </a:lnTo>
                    <a:lnTo>
                      <a:pt x="756" y="549"/>
                    </a:lnTo>
                    <a:lnTo>
                      <a:pt x="765" y="553"/>
                    </a:lnTo>
                    <a:lnTo>
                      <a:pt x="770" y="553"/>
                    </a:lnTo>
                    <a:lnTo>
                      <a:pt x="774" y="556"/>
                    </a:lnTo>
                    <a:lnTo>
                      <a:pt x="774" y="565"/>
                    </a:lnTo>
                    <a:lnTo>
                      <a:pt x="774" y="556"/>
                    </a:lnTo>
                    <a:lnTo>
                      <a:pt x="772" y="553"/>
                    </a:lnTo>
                    <a:lnTo>
                      <a:pt x="768" y="553"/>
                    </a:lnTo>
                    <a:lnTo>
                      <a:pt x="763" y="551"/>
                    </a:lnTo>
                    <a:lnTo>
                      <a:pt x="756" y="548"/>
                    </a:lnTo>
                    <a:lnTo>
                      <a:pt x="751" y="548"/>
                    </a:lnTo>
                    <a:lnTo>
                      <a:pt x="748" y="553"/>
                    </a:lnTo>
                    <a:lnTo>
                      <a:pt x="744" y="551"/>
                    </a:lnTo>
                    <a:lnTo>
                      <a:pt x="744" y="553"/>
                    </a:lnTo>
                    <a:lnTo>
                      <a:pt x="737" y="549"/>
                    </a:lnTo>
                    <a:lnTo>
                      <a:pt x="732" y="543"/>
                    </a:lnTo>
                    <a:lnTo>
                      <a:pt x="728" y="541"/>
                    </a:lnTo>
                    <a:lnTo>
                      <a:pt x="722" y="539"/>
                    </a:lnTo>
                    <a:lnTo>
                      <a:pt x="718" y="534"/>
                    </a:lnTo>
                    <a:lnTo>
                      <a:pt x="722" y="537"/>
                    </a:lnTo>
                    <a:lnTo>
                      <a:pt x="723" y="537"/>
                    </a:lnTo>
                    <a:lnTo>
                      <a:pt x="728" y="529"/>
                    </a:lnTo>
                    <a:lnTo>
                      <a:pt x="727" y="525"/>
                    </a:lnTo>
                    <a:lnTo>
                      <a:pt x="722" y="520"/>
                    </a:lnTo>
                    <a:lnTo>
                      <a:pt x="720" y="513"/>
                    </a:lnTo>
                    <a:lnTo>
                      <a:pt x="715" y="506"/>
                    </a:lnTo>
                    <a:lnTo>
                      <a:pt x="709" y="501"/>
                    </a:lnTo>
                    <a:lnTo>
                      <a:pt x="706" y="497"/>
                    </a:lnTo>
                    <a:lnTo>
                      <a:pt x="709" y="494"/>
                    </a:lnTo>
                    <a:lnTo>
                      <a:pt x="706" y="490"/>
                    </a:lnTo>
                    <a:lnTo>
                      <a:pt x="704" y="482"/>
                    </a:lnTo>
                    <a:lnTo>
                      <a:pt x="701" y="478"/>
                    </a:lnTo>
                    <a:lnTo>
                      <a:pt x="701" y="478"/>
                    </a:lnTo>
                    <a:lnTo>
                      <a:pt x="694" y="475"/>
                    </a:lnTo>
                    <a:lnTo>
                      <a:pt x="685" y="473"/>
                    </a:lnTo>
                    <a:lnTo>
                      <a:pt x="682" y="469"/>
                    </a:lnTo>
                    <a:lnTo>
                      <a:pt x="678" y="466"/>
                    </a:lnTo>
                    <a:lnTo>
                      <a:pt x="678" y="461"/>
                    </a:lnTo>
                    <a:lnTo>
                      <a:pt x="676" y="457"/>
                    </a:lnTo>
                    <a:lnTo>
                      <a:pt x="676" y="456"/>
                    </a:lnTo>
                    <a:lnTo>
                      <a:pt x="673" y="457"/>
                    </a:lnTo>
                    <a:lnTo>
                      <a:pt x="659" y="457"/>
                    </a:lnTo>
                    <a:lnTo>
                      <a:pt x="655" y="457"/>
                    </a:lnTo>
                    <a:lnTo>
                      <a:pt x="650" y="454"/>
                    </a:lnTo>
                    <a:lnTo>
                      <a:pt x="650" y="450"/>
                    </a:lnTo>
                    <a:lnTo>
                      <a:pt x="650" y="450"/>
                    </a:lnTo>
                    <a:lnTo>
                      <a:pt x="647" y="447"/>
                    </a:lnTo>
                    <a:lnTo>
                      <a:pt x="647" y="442"/>
                    </a:lnTo>
                    <a:lnTo>
                      <a:pt x="643" y="433"/>
                    </a:lnTo>
                    <a:lnTo>
                      <a:pt x="636" y="430"/>
                    </a:lnTo>
                    <a:lnTo>
                      <a:pt x="638" y="428"/>
                    </a:lnTo>
                    <a:lnTo>
                      <a:pt x="638" y="424"/>
                    </a:lnTo>
                    <a:lnTo>
                      <a:pt x="635" y="424"/>
                    </a:lnTo>
                    <a:lnTo>
                      <a:pt x="633" y="423"/>
                    </a:lnTo>
                    <a:lnTo>
                      <a:pt x="633" y="419"/>
                    </a:lnTo>
                    <a:lnTo>
                      <a:pt x="635" y="416"/>
                    </a:lnTo>
                    <a:lnTo>
                      <a:pt x="629" y="412"/>
                    </a:lnTo>
                    <a:lnTo>
                      <a:pt x="633" y="410"/>
                    </a:lnTo>
                    <a:lnTo>
                      <a:pt x="638" y="410"/>
                    </a:lnTo>
                    <a:lnTo>
                      <a:pt x="642" y="407"/>
                    </a:lnTo>
                    <a:lnTo>
                      <a:pt x="647" y="407"/>
                    </a:lnTo>
                    <a:lnTo>
                      <a:pt x="654" y="403"/>
                    </a:lnTo>
                    <a:lnTo>
                      <a:pt x="668" y="398"/>
                    </a:lnTo>
                    <a:lnTo>
                      <a:pt x="673" y="396"/>
                    </a:lnTo>
                    <a:lnTo>
                      <a:pt x="678" y="393"/>
                    </a:lnTo>
                    <a:lnTo>
                      <a:pt x="682" y="396"/>
                    </a:lnTo>
                    <a:lnTo>
                      <a:pt x="685" y="393"/>
                    </a:lnTo>
                    <a:lnTo>
                      <a:pt x="687" y="388"/>
                    </a:lnTo>
                    <a:lnTo>
                      <a:pt x="694" y="388"/>
                    </a:lnTo>
                    <a:lnTo>
                      <a:pt x="704" y="383"/>
                    </a:lnTo>
                    <a:lnTo>
                      <a:pt x="706" y="384"/>
                    </a:lnTo>
                    <a:lnTo>
                      <a:pt x="704" y="388"/>
                    </a:lnTo>
                    <a:lnTo>
                      <a:pt x="704" y="391"/>
                    </a:lnTo>
                    <a:lnTo>
                      <a:pt x="701" y="391"/>
                    </a:lnTo>
                    <a:lnTo>
                      <a:pt x="699" y="398"/>
                    </a:lnTo>
                    <a:lnTo>
                      <a:pt x="699" y="402"/>
                    </a:lnTo>
                    <a:lnTo>
                      <a:pt x="704" y="409"/>
                    </a:lnTo>
                    <a:lnTo>
                      <a:pt x="711" y="409"/>
                    </a:lnTo>
                    <a:lnTo>
                      <a:pt x="709" y="407"/>
                    </a:lnTo>
                    <a:lnTo>
                      <a:pt x="701" y="400"/>
                    </a:lnTo>
                    <a:lnTo>
                      <a:pt x="701" y="398"/>
                    </a:lnTo>
                    <a:lnTo>
                      <a:pt x="704" y="393"/>
                    </a:lnTo>
                    <a:lnTo>
                      <a:pt x="711" y="391"/>
                    </a:lnTo>
                    <a:lnTo>
                      <a:pt x="715" y="384"/>
                    </a:lnTo>
                    <a:lnTo>
                      <a:pt x="711" y="379"/>
                    </a:lnTo>
                    <a:lnTo>
                      <a:pt x="709" y="379"/>
                    </a:lnTo>
                    <a:lnTo>
                      <a:pt x="704" y="376"/>
                    </a:lnTo>
                    <a:lnTo>
                      <a:pt x="704" y="372"/>
                    </a:lnTo>
                    <a:lnTo>
                      <a:pt x="699" y="372"/>
                    </a:lnTo>
                    <a:lnTo>
                      <a:pt x="697" y="374"/>
                    </a:lnTo>
                    <a:lnTo>
                      <a:pt x="695" y="372"/>
                    </a:lnTo>
                    <a:lnTo>
                      <a:pt x="694" y="369"/>
                    </a:lnTo>
                    <a:lnTo>
                      <a:pt x="687" y="369"/>
                    </a:lnTo>
                    <a:lnTo>
                      <a:pt x="685" y="369"/>
                    </a:lnTo>
                    <a:lnTo>
                      <a:pt x="682" y="365"/>
                    </a:lnTo>
                    <a:lnTo>
                      <a:pt x="682" y="363"/>
                    </a:lnTo>
                    <a:lnTo>
                      <a:pt x="682" y="360"/>
                    </a:lnTo>
                    <a:lnTo>
                      <a:pt x="685" y="360"/>
                    </a:lnTo>
                    <a:lnTo>
                      <a:pt x="688" y="363"/>
                    </a:lnTo>
                    <a:lnTo>
                      <a:pt x="692" y="363"/>
                    </a:lnTo>
                    <a:lnTo>
                      <a:pt x="695" y="360"/>
                    </a:lnTo>
                    <a:lnTo>
                      <a:pt x="694" y="360"/>
                    </a:lnTo>
                    <a:lnTo>
                      <a:pt x="692" y="360"/>
                    </a:lnTo>
                    <a:lnTo>
                      <a:pt x="688" y="360"/>
                    </a:lnTo>
                    <a:lnTo>
                      <a:pt x="685" y="356"/>
                    </a:lnTo>
                    <a:lnTo>
                      <a:pt x="685" y="355"/>
                    </a:lnTo>
                    <a:lnTo>
                      <a:pt x="682" y="355"/>
                    </a:lnTo>
                    <a:lnTo>
                      <a:pt x="676" y="353"/>
                    </a:lnTo>
                    <a:lnTo>
                      <a:pt x="673" y="355"/>
                    </a:lnTo>
                    <a:lnTo>
                      <a:pt x="669" y="351"/>
                    </a:lnTo>
                    <a:lnTo>
                      <a:pt x="673" y="348"/>
                    </a:lnTo>
                    <a:lnTo>
                      <a:pt x="673" y="344"/>
                    </a:lnTo>
                    <a:lnTo>
                      <a:pt x="669" y="343"/>
                    </a:lnTo>
                    <a:lnTo>
                      <a:pt x="669" y="341"/>
                    </a:lnTo>
                    <a:lnTo>
                      <a:pt x="673" y="343"/>
                    </a:lnTo>
                    <a:lnTo>
                      <a:pt x="678" y="348"/>
                    </a:lnTo>
                    <a:lnTo>
                      <a:pt x="682" y="346"/>
                    </a:lnTo>
                    <a:lnTo>
                      <a:pt x="683" y="351"/>
                    </a:lnTo>
                    <a:lnTo>
                      <a:pt x="683" y="348"/>
                    </a:lnTo>
                    <a:lnTo>
                      <a:pt x="683" y="346"/>
                    </a:lnTo>
                    <a:lnTo>
                      <a:pt x="687" y="344"/>
                    </a:lnTo>
                    <a:lnTo>
                      <a:pt x="687" y="337"/>
                    </a:lnTo>
                    <a:lnTo>
                      <a:pt x="685" y="334"/>
                    </a:lnTo>
                    <a:lnTo>
                      <a:pt x="685" y="334"/>
                    </a:lnTo>
                    <a:lnTo>
                      <a:pt x="688" y="334"/>
                    </a:lnTo>
                    <a:lnTo>
                      <a:pt x="690" y="332"/>
                    </a:lnTo>
                    <a:lnTo>
                      <a:pt x="682" y="329"/>
                    </a:lnTo>
                    <a:lnTo>
                      <a:pt x="682" y="332"/>
                    </a:lnTo>
                    <a:lnTo>
                      <a:pt x="678" y="332"/>
                    </a:lnTo>
                    <a:lnTo>
                      <a:pt x="678" y="329"/>
                    </a:lnTo>
                    <a:lnTo>
                      <a:pt x="682" y="327"/>
                    </a:lnTo>
                    <a:lnTo>
                      <a:pt x="687" y="325"/>
                    </a:lnTo>
                    <a:lnTo>
                      <a:pt x="692" y="325"/>
                    </a:lnTo>
                    <a:lnTo>
                      <a:pt x="692" y="322"/>
                    </a:lnTo>
                    <a:lnTo>
                      <a:pt x="695" y="316"/>
                    </a:lnTo>
                    <a:lnTo>
                      <a:pt x="695" y="313"/>
                    </a:lnTo>
                    <a:lnTo>
                      <a:pt x="695" y="313"/>
                    </a:lnTo>
                    <a:lnTo>
                      <a:pt x="695" y="311"/>
                    </a:lnTo>
                    <a:lnTo>
                      <a:pt x="699" y="306"/>
                    </a:lnTo>
                    <a:lnTo>
                      <a:pt x="701" y="306"/>
                    </a:lnTo>
                    <a:lnTo>
                      <a:pt x="701" y="310"/>
                    </a:lnTo>
                    <a:lnTo>
                      <a:pt x="704" y="310"/>
                    </a:lnTo>
                    <a:lnTo>
                      <a:pt x="704" y="306"/>
                    </a:lnTo>
                    <a:lnTo>
                      <a:pt x="704" y="306"/>
                    </a:lnTo>
                    <a:lnTo>
                      <a:pt x="704" y="303"/>
                    </a:lnTo>
                    <a:lnTo>
                      <a:pt x="704" y="301"/>
                    </a:lnTo>
                    <a:lnTo>
                      <a:pt x="709" y="299"/>
                    </a:lnTo>
                    <a:lnTo>
                      <a:pt x="711" y="297"/>
                    </a:lnTo>
                    <a:lnTo>
                      <a:pt x="711" y="294"/>
                    </a:lnTo>
                    <a:lnTo>
                      <a:pt x="715" y="294"/>
                    </a:lnTo>
                    <a:lnTo>
                      <a:pt x="716" y="296"/>
                    </a:lnTo>
                    <a:lnTo>
                      <a:pt x="723" y="294"/>
                    </a:lnTo>
                    <a:lnTo>
                      <a:pt x="722" y="292"/>
                    </a:lnTo>
                    <a:lnTo>
                      <a:pt x="722" y="289"/>
                    </a:lnTo>
                    <a:lnTo>
                      <a:pt x="728" y="287"/>
                    </a:lnTo>
                    <a:lnTo>
                      <a:pt x="734" y="287"/>
                    </a:lnTo>
                    <a:lnTo>
                      <a:pt x="735" y="282"/>
                    </a:lnTo>
                    <a:lnTo>
                      <a:pt x="746" y="278"/>
                    </a:lnTo>
                    <a:lnTo>
                      <a:pt x="746" y="275"/>
                    </a:lnTo>
                    <a:lnTo>
                      <a:pt x="744" y="275"/>
                    </a:lnTo>
                    <a:lnTo>
                      <a:pt x="737" y="278"/>
                    </a:lnTo>
                    <a:lnTo>
                      <a:pt x="735" y="276"/>
                    </a:lnTo>
                    <a:lnTo>
                      <a:pt x="732" y="278"/>
                    </a:lnTo>
                    <a:lnTo>
                      <a:pt x="728" y="278"/>
                    </a:lnTo>
                    <a:lnTo>
                      <a:pt x="728" y="270"/>
                    </a:lnTo>
                    <a:lnTo>
                      <a:pt x="732" y="270"/>
                    </a:lnTo>
                    <a:lnTo>
                      <a:pt x="732" y="266"/>
                    </a:lnTo>
                    <a:lnTo>
                      <a:pt x="734" y="266"/>
                    </a:lnTo>
                    <a:lnTo>
                      <a:pt x="735" y="268"/>
                    </a:lnTo>
                    <a:lnTo>
                      <a:pt x="735" y="268"/>
                    </a:lnTo>
                    <a:lnTo>
                      <a:pt x="739" y="266"/>
                    </a:lnTo>
                    <a:lnTo>
                      <a:pt x="734" y="263"/>
                    </a:lnTo>
                    <a:lnTo>
                      <a:pt x="739" y="261"/>
                    </a:lnTo>
                    <a:lnTo>
                      <a:pt x="742" y="263"/>
                    </a:lnTo>
                    <a:lnTo>
                      <a:pt x="746" y="264"/>
                    </a:lnTo>
                    <a:lnTo>
                      <a:pt x="751" y="261"/>
                    </a:lnTo>
                    <a:lnTo>
                      <a:pt x="755" y="261"/>
                    </a:lnTo>
                    <a:lnTo>
                      <a:pt x="763" y="259"/>
                    </a:lnTo>
                    <a:lnTo>
                      <a:pt x="767" y="259"/>
                    </a:lnTo>
                    <a:lnTo>
                      <a:pt x="768" y="261"/>
                    </a:lnTo>
                    <a:lnTo>
                      <a:pt x="763" y="270"/>
                    </a:lnTo>
                    <a:lnTo>
                      <a:pt x="763" y="273"/>
                    </a:lnTo>
                    <a:lnTo>
                      <a:pt x="768" y="275"/>
                    </a:lnTo>
                    <a:lnTo>
                      <a:pt x="768" y="270"/>
                    </a:lnTo>
                    <a:lnTo>
                      <a:pt x="772" y="264"/>
                    </a:lnTo>
                    <a:lnTo>
                      <a:pt x="772" y="261"/>
                    </a:lnTo>
                    <a:lnTo>
                      <a:pt x="772" y="259"/>
                    </a:lnTo>
                    <a:lnTo>
                      <a:pt x="774" y="263"/>
                    </a:lnTo>
                    <a:lnTo>
                      <a:pt x="774" y="268"/>
                    </a:lnTo>
                    <a:lnTo>
                      <a:pt x="777" y="268"/>
                    </a:lnTo>
                    <a:lnTo>
                      <a:pt x="779" y="264"/>
                    </a:lnTo>
                    <a:lnTo>
                      <a:pt x="777" y="261"/>
                    </a:lnTo>
                    <a:lnTo>
                      <a:pt x="782" y="259"/>
                    </a:lnTo>
                    <a:lnTo>
                      <a:pt x="782" y="259"/>
                    </a:lnTo>
                    <a:lnTo>
                      <a:pt x="782" y="263"/>
                    </a:lnTo>
                    <a:lnTo>
                      <a:pt x="788" y="259"/>
                    </a:lnTo>
                    <a:lnTo>
                      <a:pt x="788" y="256"/>
                    </a:lnTo>
                    <a:lnTo>
                      <a:pt x="786" y="256"/>
                    </a:lnTo>
                    <a:lnTo>
                      <a:pt x="789" y="256"/>
                    </a:lnTo>
                    <a:lnTo>
                      <a:pt x="791" y="252"/>
                    </a:lnTo>
                    <a:lnTo>
                      <a:pt x="788" y="250"/>
                    </a:lnTo>
                    <a:lnTo>
                      <a:pt x="793" y="247"/>
                    </a:lnTo>
                    <a:lnTo>
                      <a:pt x="796" y="247"/>
                    </a:lnTo>
                    <a:lnTo>
                      <a:pt x="800" y="245"/>
                    </a:lnTo>
                    <a:lnTo>
                      <a:pt x="801" y="247"/>
                    </a:lnTo>
                    <a:lnTo>
                      <a:pt x="801" y="247"/>
                    </a:lnTo>
                    <a:lnTo>
                      <a:pt x="801" y="250"/>
                    </a:lnTo>
                    <a:lnTo>
                      <a:pt x="808" y="250"/>
                    </a:lnTo>
                    <a:lnTo>
                      <a:pt x="808" y="256"/>
                    </a:lnTo>
                    <a:lnTo>
                      <a:pt x="810" y="256"/>
                    </a:lnTo>
                    <a:lnTo>
                      <a:pt x="808" y="264"/>
                    </a:lnTo>
                    <a:lnTo>
                      <a:pt x="812" y="261"/>
                    </a:lnTo>
                    <a:lnTo>
                      <a:pt x="815" y="256"/>
                    </a:lnTo>
                    <a:lnTo>
                      <a:pt x="812" y="247"/>
                    </a:lnTo>
                    <a:lnTo>
                      <a:pt x="808" y="245"/>
                    </a:lnTo>
                    <a:lnTo>
                      <a:pt x="805" y="240"/>
                    </a:lnTo>
                    <a:lnTo>
                      <a:pt x="801" y="243"/>
                    </a:lnTo>
                    <a:lnTo>
                      <a:pt x="800" y="242"/>
                    </a:lnTo>
                    <a:lnTo>
                      <a:pt x="794" y="242"/>
                    </a:lnTo>
                    <a:lnTo>
                      <a:pt x="794" y="240"/>
                    </a:lnTo>
                    <a:lnTo>
                      <a:pt x="789" y="238"/>
                    </a:lnTo>
                    <a:lnTo>
                      <a:pt x="789" y="236"/>
                    </a:lnTo>
                    <a:lnTo>
                      <a:pt x="793" y="233"/>
                    </a:lnTo>
                    <a:lnTo>
                      <a:pt x="800" y="233"/>
                    </a:lnTo>
                    <a:lnTo>
                      <a:pt x="801" y="231"/>
                    </a:lnTo>
                    <a:lnTo>
                      <a:pt x="805" y="231"/>
                    </a:lnTo>
                    <a:lnTo>
                      <a:pt x="808" y="231"/>
                    </a:lnTo>
                    <a:lnTo>
                      <a:pt x="810" y="231"/>
                    </a:lnTo>
                    <a:lnTo>
                      <a:pt x="814" y="231"/>
                    </a:lnTo>
                    <a:lnTo>
                      <a:pt x="821" y="228"/>
                    </a:lnTo>
                    <a:lnTo>
                      <a:pt x="826" y="231"/>
                    </a:lnTo>
                    <a:lnTo>
                      <a:pt x="827" y="231"/>
                    </a:lnTo>
                    <a:lnTo>
                      <a:pt x="831" y="231"/>
                    </a:lnTo>
                    <a:lnTo>
                      <a:pt x="833" y="230"/>
                    </a:lnTo>
                    <a:lnTo>
                      <a:pt x="833" y="228"/>
                    </a:lnTo>
                    <a:lnTo>
                      <a:pt x="827" y="228"/>
                    </a:lnTo>
                    <a:lnTo>
                      <a:pt x="822" y="224"/>
                    </a:lnTo>
                    <a:lnTo>
                      <a:pt x="817" y="228"/>
                    </a:lnTo>
                    <a:lnTo>
                      <a:pt x="810" y="224"/>
                    </a:lnTo>
                    <a:lnTo>
                      <a:pt x="810" y="223"/>
                    </a:lnTo>
                    <a:lnTo>
                      <a:pt x="808" y="219"/>
                    </a:lnTo>
                    <a:lnTo>
                      <a:pt x="814" y="216"/>
                    </a:lnTo>
                    <a:lnTo>
                      <a:pt x="810" y="216"/>
                    </a:lnTo>
                    <a:lnTo>
                      <a:pt x="805" y="210"/>
                    </a:lnTo>
                    <a:lnTo>
                      <a:pt x="801" y="210"/>
                    </a:lnTo>
                    <a:lnTo>
                      <a:pt x="800" y="205"/>
                    </a:lnTo>
                    <a:lnTo>
                      <a:pt x="800" y="202"/>
                    </a:lnTo>
                    <a:lnTo>
                      <a:pt x="801" y="202"/>
                    </a:lnTo>
                    <a:lnTo>
                      <a:pt x="801" y="197"/>
                    </a:lnTo>
                    <a:lnTo>
                      <a:pt x="798" y="195"/>
                    </a:lnTo>
                    <a:lnTo>
                      <a:pt x="800" y="177"/>
                    </a:lnTo>
                    <a:lnTo>
                      <a:pt x="801" y="174"/>
                    </a:lnTo>
                    <a:lnTo>
                      <a:pt x="801" y="169"/>
                    </a:lnTo>
                    <a:lnTo>
                      <a:pt x="801" y="165"/>
                    </a:lnTo>
                    <a:lnTo>
                      <a:pt x="805" y="160"/>
                    </a:lnTo>
                    <a:lnTo>
                      <a:pt x="801" y="158"/>
                    </a:lnTo>
                    <a:lnTo>
                      <a:pt x="805" y="157"/>
                    </a:lnTo>
                    <a:lnTo>
                      <a:pt x="805" y="153"/>
                    </a:lnTo>
                    <a:lnTo>
                      <a:pt x="810" y="150"/>
                    </a:lnTo>
                    <a:lnTo>
                      <a:pt x="814" y="150"/>
                    </a:lnTo>
                    <a:lnTo>
                      <a:pt x="817" y="155"/>
                    </a:lnTo>
                    <a:lnTo>
                      <a:pt x="821" y="151"/>
                    </a:lnTo>
                    <a:lnTo>
                      <a:pt x="824" y="151"/>
                    </a:lnTo>
                    <a:lnTo>
                      <a:pt x="826" y="157"/>
                    </a:lnTo>
                    <a:lnTo>
                      <a:pt x="831" y="157"/>
                    </a:lnTo>
                    <a:lnTo>
                      <a:pt x="836" y="153"/>
                    </a:lnTo>
                    <a:lnTo>
                      <a:pt x="836" y="153"/>
                    </a:lnTo>
                    <a:lnTo>
                      <a:pt x="836" y="158"/>
                    </a:lnTo>
                    <a:lnTo>
                      <a:pt x="838" y="160"/>
                    </a:lnTo>
                    <a:lnTo>
                      <a:pt x="843" y="160"/>
                    </a:lnTo>
                    <a:lnTo>
                      <a:pt x="843" y="163"/>
                    </a:lnTo>
                    <a:lnTo>
                      <a:pt x="840" y="165"/>
                    </a:lnTo>
                    <a:lnTo>
                      <a:pt x="840" y="165"/>
                    </a:lnTo>
                    <a:lnTo>
                      <a:pt x="838" y="169"/>
                    </a:lnTo>
                    <a:lnTo>
                      <a:pt x="840" y="172"/>
                    </a:lnTo>
                    <a:lnTo>
                      <a:pt x="836" y="177"/>
                    </a:lnTo>
                    <a:lnTo>
                      <a:pt x="833" y="179"/>
                    </a:lnTo>
                    <a:lnTo>
                      <a:pt x="831" y="184"/>
                    </a:lnTo>
                    <a:lnTo>
                      <a:pt x="833" y="184"/>
                    </a:lnTo>
                    <a:lnTo>
                      <a:pt x="840" y="181"/>
                    </a:lnTo>
                    <a:lnTo>
                      <a:pt x="845" y="172"/>
                    </a:lnTo>
                    <a:lnTo>
                      <a:pt x="848" y="174"/>
                    </a:lnTo>
                    <a:lnTo>
                      <a:pt x="848" y="176"/>
                    </a:lnTo>
                    <a:lnTo>
                      <a:pt x="845" y="179"/>
                    </a:lnTo>
                    <a:lnTo>
                      <a:pt x="847" y="183"/>
                    </a:lnTo>
                    <a:lnTo>
                      <a:pt x="850" y="183"/>
                    </a:lnTo>
                    <a:lnTo>
                      <a:pt x="852" y="177"/>
                    </a:lnTo>
                    <a:lnTo>
                      <a:pt x="855" y="176"/>
                    </a:lnTo>
                    <a:lnTo>
                      <a:pt x="859" y="177"/>
                    </a:lnTo>
                    <a:lnTo>
                      <a:pt x="861" y="176"/>
                    </a:lnTo>
                    <a:lnTo>
                      <a:pt x="862" y="172"/>
                    </a:lnTo>
                    <a:lnTo>
                      <a:pt x="864" y="172"/>
                    </a:lnTo>
                    <a:lnTo>
                      <a:pt x="866" y="174"/>
                    </a:lnTo>
                    <a:lnTo>
                      <a:pt x="869" y="172"/>
                    </a:lnTo>
                    <a:lnTo>
                      <a:pt x="874" y="177"/>
                    </a:lnTo>
                    <a:lnTo>
                      <a:pt x="874" y="181"/>
                    </a:lnTo>
                    <a:lnTo>
                      <a:pt x="876" y="186"/>
                    </a:lnTo>
                    <a:lnTo>
                      <a:pt x="874" y="188"/>
                    </a:lnTo>
                    <a:lnTo>
                      <a:pt x="874" y="191"/>
                    </a:lnTo>
                    <a:lnTo>
                      <a:pt x="873" y="197"/>
                    </a:lnTo>
                    <a:lnTo>
                      <a:pt x="876" y="202"/>
                    </a:lnTo>
                    <a:lnTo>
                      <a:pt x="876" y="207"/>
                    </a:lnTo>
                    <a:lnTo>
                      <a:pt x="873" y="207"/>
                    </a:lnTo>
                    <a:lnTo>
                      <a:pt x="871" y="210"/>
                    </a:lnTo>
                    <a:lnTo>
                      <a:pt x="873" y="210"/>
                    </a:lnTo>
                    <a:lnTo>
                      <a:pt x="878" y="209"/>
                    </a:lnTo>
                    <a:lnTo>
                      <a:pt x="881" y="205"/>
                    </a:lnTo>
                    <a:lnTo>
                      <a:pt x="890" y="205"/>
                    </a:lnTo>
                    <a:lnTo>
                      <a:pt x="890" y="200"/>
                    </a:lnTo>
                    <a:lnTo>
                      <a:pt x="890" y="195"/>
                    </a:lnTo>
                    <a:lnTo>
                      <a:pt x="890" y="190"/>
                    </a:lnTo>
                    <a:lnTo>
                      <a:pt x="887" y="190"/>
                    </a:lnTo>
                    <a:lnTo>
                      <a:pt x="883" y="190"/>
                    </a:lnTo>
                    <a:lnTo>
                      <a:pt x="883" y="186"/>
                    </a:lnTo>
                    <a:lnTo>
                      <a:pt x="887" y="184"/>
                    </a:lnTo>
                    <a:lnTo>
                      <a:pt x="887" y="184"/>
                    </a:lnTo>
                    <a:lnTo>
                      <a:pt x="890" y="186"/>
                    </a:lnTo>
                    <a:lnTo>
                      <a:pt x="892" y="184"/>
                    </a:lnTo>
                    <a:lnTo>
                      <a:pt x="897" y="183"/>
                    </a:lnTo>
                    <a:lnTo>
                      <a:pt x="902" y="177"/>
                    </a:lnTo>
                    <a:lnTo>
                      <a:pt x="904" y="179"/>
                    </a:lnTo>
                    <a:lnTo>
                      <a:pt x="909" y="179"/>
                    </a:lnTo>
                    <a:lnTo>
                      <a:pt x="909" y="176"/>
                    </a:lnTo>
                    <a:lnTo>
                      <a:pt x="913" y="172"/>
                    </a:lnTo>
                    <a:lnTo>
                      <a:pt x="914" y="172"/>
                    </a:lnTo>
                    <a:lnTo>
                      <a:pt x="916" y="172"/>
                    </a:lnTo>
                    <a:lnTo>
                      <a:pt x="920" y="169"/>
                    </a:lnTo>
                    <a:lnTo>
                      <a:pt x="921" y="172"/>
                    </a:lnTo>
                    <a:lnTo>
                      <a:pt x="925" y="172"/>
                    </a:lnTo>
                    <a:lnTo>
                      <a:pt x="927" y="172"/>
                    </a:lnTo>
                    <a:lnTo>
                      <a:pt x="925" y="174"/>
                    </a:lnTo>
                    <a:lnTo>
                      <a:pt x="925" y="177"/>
                    </a:lnTo>
                    <a:lnTo>
                      <a:pt x="932" y="176"/>
                    </a:lnTo>
                    <a:lnTo>
                      <a:pt x="935" y="177"/>
                    </a:lnTo>
                    <a:lnTo>
                      <a:pt x="937" y="179"/>
                    </a:lnTo>
                    <a:lnTo>
                      <a:pt x="949" y="186"/>
                    </a:lnTo>
                    <a:lnTo>
                      <a:pt x="951" y="188"/>
                    </a:lnTo>
                    <a:lnTo>
                      <a:pt x="954" y="191"/>
                    </a:lnTo>
                    <a:lnTo>
                      <a:pt x="954" y="191"/>
                    </a:lnTo>
                    <a:lnTo>
                      <a:pt x="960" y="200"/>
                    </a:lnTo>
                    <a:lnTo>
                      <a:pt x="963" y="200"/>
                    </a:lnTo>
                    <a:lnTo>
                      <a:pt x="963" y="197"/>
                    </a:lnTo>
                    <a:lnTo>
                      <a:pt x="963" y="197"/>
                    </a:lnTo>
                    <a:lnTo>
                      <a:pt x="963" y="195"/>
                    </a:lnTo>
                    <a:lnTo>
                      <a:pt x="963" y="191"/>
                    </a:lnTo>
                    <a:lnTo>
                      <a:pt x="960" y="191"/>
                    </a:lnTo>
                    <a:lnTo>
                      <a:pt x="960" y="190"/>
                    </a:lnTo>
                    <a:lnTo>
                      <a:pt x="963" y="188"/>
                    </a:lnTo>
                    <a:lnTo>
                      <a:pt x="963" y="188"/>
                    </a:lnTo>
                    <a:lnTo>
                      <a:pt x="965" y="190"/>
                    </a:lnTo>
                    <a:lnTo>
                      <a:pt x="968" y="191"/>
                    </a:lnTo>
                    <a:lnTo>
                      <a:pt x="968" y="195"/>
                    </a:lnTo>
                    <a:lnTo>
                      <a:pt x="973" y="200"/>
                    </a:lnTo>
                    <a:lnTo>
                      <a:pt x="973" y="202"/>
                    </a:lnTo>
                    <a:lnTo>
                      <a:pt x="977" y="203"/>
                    </a:lnTo>
                    <a:lnTo>
                      <a:pt x="979" y="202"/>
                    </a:lnTo>
                    <a:lnTo>
                      <a:pt x="980" y="202"/>
                    </a:lnTo>
                    <a:lnTo>
                      <a:pt x="982" y="203"/>
                    </a:lnTo>
                    <a:lnTo>
                      <a:pt x="982" y="207"/>
                    </a:lnTo>
                    <a:lnTo>
                      <a:pt x="986" y="210"/>
                    </a:lnTo>
                    <a:lnTo>
                      <a:pt x="986" y="214"/>
                    </a:lnTo>
                    <a:lnTo>
                      <a:pt x="986" y="217"/>
                    </a:lnTo>
                    <a:lnTo>
                      <a:pt x="986" y="217"/>
                    </a:lnTo>
                    <a:lnTo>
                      <a:pt x="986" y="216"/>
                    </a:lnTo>
                    <a:lnTo>
                      <a:pt x="982" y="212"/>
                    </a:lnTo>
                    <a:lnTo>
                      <a:pt x="982" y="212"/>
                    </a:lnTo>
                    <a:lnTo>
                      <a:pt x="982" y="214"/>
                    </a:lnTo>
                    <a:lnTo>
                      <a:pt x="979" y="212"/>
                    </a:lnTo>
                    <a:lnTo>
                      <a:pt x="972" y="209"/>
                    </a:lnTo>
                    <a:lnTo>
                      <a:pt x="967" y="210"/>
                    </a:lnTo>
                    <a:lnTo>
                      <a:pt x="967" y="210"/>
                    </a:lnTo>
                    <a:lnTo>
                      <a:pt x="968" y="214"/>
                    </a:lnTo>
                    <a:lnTo>
                      <a:pt x="973" y="214"/>
                    </a:lnTo>
                    <a:lnTo>
                      <a:pt x="975" y="216"/>
                    </a:lnTo>
                    <a:lnTo>
                      <a:pt x="975" y="217"/>
                    </a:lnTo>
                    <a:lnTo>
                      <a:pt x="977" y="219"/>
                    </a:lnTo>
                    <a:lnTo>
                      <a:pt x="979" y="223"/>
                    </a:lnTo>
                    <a:lnTo>
                      <a:pt x="980" y="219"/>
                    </a:lnTo>
                    <a:lnTo>
                      <a:pt x="982" y="217"/>
                    </a:lnTo>
                    <a:lnTo>
                      <a:pt x="982" y="217"/>
                    </a:lnTo>
                    <a:lnTo>
                      <a:pt x="986" y="219"/>
                    </a:lnTo>
                    <a:lnTo>
                      <a:pt x="986" y="219"/>
                    </a:lnTo>
                    <a:lnTo>
                      <a:pt x="987" y="219"/>
                    </a:lnTo>
                    <a:lnTo>
                      <a:pt x="991" y="219"/>
                    </a:lnTo>
                    <a:lnTo>
                      <a:pt x="991" y="223"/>
                    </a:lnTo>
                    <a:lnTo>
                      <a:pt x="991" y="224"/>
                    </a:lnTo>
                    <a:lnTo>
                      <a:pt x="993" y="230"/>
                    </a:lnTo>
                    <a:lnTo>
                      <a:pt x="994" y="236"/>
                    </a:lnTo>
                    <a:lnTo>
                      <a:pt x="994" y="243"/>
                    </a:lnTo>
                    <a:lnTo>
                      <a:pt x="991" y="247"/>
                    </a:lnTo>
                    <a:lnTo>
                      <a:pt x="991" y="247"/>
                    </a:lnTo>
                    <a:lnTo>
                      <a:pt x="991" y="250"/>
                    </a:lnTo>
                    <a:lnTo>
                      <a:pt x="991" y="256"/>
                    </a:lnTo>
                    <a:lnTo>
                      <a:pt x="987" y="259"/>
                    </a:lnTo>
                    <a:lnTo>
                      <a:pt x="987" y="261"/>
                    </a:lnTo>
                    <a:lnTo>
                      <a:pt x="991" y="263"/>
                    </a:lnTo>
                    <a:lnTo>
                      <a:pt x="991" y="266"/>
                    </a:lnTo>
                    <a:lnTo>
                      <a:pt x="986" y="268"/>
                    </a:lnTo>
                    <a:lnTo>
                      <a:pt x="986" y="271"/>
                    </a:lnTo>
                    <a:lnTo>
                      <a:pt x="986" y="273"/>
                    </a:lnTo>
                    <a:lnTo>
                      <a:pt x="982" y="278"/>
                    </a:lnTo>
                    <a:lnTo>
                      <a:pt x="982" y="282"/>
                    </a:lnTo>
                    <a:lnTo>
                      <a:pt x="982" y="282"/>
                    </a:lnTo>
                    <a:lnTo>
                      <a:pt x="980" y="287"/>
                    </a:lnTo>
                    <a:lnTo>
                      <a:pt x="977" y="287"/>
                    </a:lnTo>
                    <a:lnTo>
                      <a:pt x="973" y="290"/>
                    </a:lnTo>
                    <a:lnTo>
                      <a:pt x="968" y="290"/>
                    </a:lnTo>
                    <a:lnTo>
                      <a:pt x="973" y="292"/>
                    </a:lnTo>
                    <a:lnTo>
                      <a:pt x="975" y="292"/>
                    </a:lnTo>
                    <a:lnTo>
                      <a:pt x="979" y="289"/>
                    </a:lnTo>
                    <a:lnTo>
                      <a:pt x="979" y="289"/>
                    </a:lnTo>
                    <a:lnTo>
                      <a:pt x="980" y="294"/>
                    </a:lnTo>
                    <a:lnTo>
                      <a:pt x="979" y="301"/>
                    </a:lnTo>
                    <a:lnTo>
                      <a:pt x="975" y="304"/>
                    </a:lnTo>
                    <a:lnTo>
                      <a:pt x="973" y="311"/>
                    </a:lnTo>
                    <a:lnTo>
                      <a:pt x="975" y="315"/>
                    </a:lnTo>
                    <a:lnTo>
                      <a:pt x="975" y="318"/>
                    </a:lnTo>
                    <a:lnTo>
                      <a:pt x="973" y="327"/>
                    </a:lnTo>
                    <a:lnTo>
                      <a:pt x="968" y="329"/>
                    </a:lnTo>
                    <a:lnTo>
                      <a:pt x="967" y="327"/>
                    </a:lnTo>
                    <a:lnTo>
                      <a:pt x="965" y="329"/>
                    </a:lnTo>
                    <a:lnTo>
                      <a:pt x="963" y="329"/>
                    </a:lnTo>
                    <a:lnTo>
                      <a:pt x="963" y="332"/>
                    </a:lnTo>
                    <a:lnTo>
                      <a:pt x="967" y="337"/>
                    </a:lnTo>
                    <a:lnTo>
                      <a:pt x="965" y="341"/>
                    </a:lnTo>
                    <a:lnTo>
                      <a:pt x="963" y="343"/>
                    </a:lnTo>
                    <a:lnTo>
                      <a:pt x="960" y="348"/>
                    </a:lnTo>
                    <a:lnTo>
                      <a:pt x="963" y="353"/>
                    </a:lnTo>
                    <a:lnTo>
                      <a:pt x="963" y="356"/>
                    </a:lnTo>
                    <a:lnTo>
                      <a:pt x="960" y="360"/>
                    </a:lnTo>
                    <a:lnTo>
                      <a:pt x="960" y="360"/>
                    </a:lnTo>
                    <a:lnTo>
                      <a:pt x="963" y="363"/>
                    </a:lnTo>
                    <a:lnTo>
                      <a:pt x="960" y="372"/>
                    </a:lnTo>
                    <a:lnTo>
                      <a:pt x="960" y="374"/>
                    </a:lnTo>
                    <a:lnTo>
                      <a:pt x="958" y="377"/>
                    </a:lnTo>
                    <a:lnTo>
                      <a:pt x="960" y="376"/>
                    </a:lnTo>
                    <a:lnTo>
                      <a:pt x="963" y="376"/>
                    </a:lnTo>
                    <a:lnTo>
                      <a:pt x="965" y="372"/>
                    </a:lnTo>
                    <a:lnTo>
                      <a:pt x="967" y="369"/>
                    </a:lnTo>
                    <a:lnTo>
                      <a:pt x="965" y="369"/>
                    </a:lnTo>
                    <a:lnTo>
                      <a:pt x="967" y="365"/>
                    </a:lnTo>
                    <a:lnTo>
                      <a:pt x="972" y="365"/>
                    </a:lnTo>
                    <a:lnTo>
                      <a:pt x="973" y="365"/>
                    </a:lnTo>
                    <a:lnTo>
                      <a:pt x="972" y="365"/>
                    </a:lnTo>
                    <a:lnTo>
                      <a:pt x="965" y="356"/>
                    </a:lnTo>
                    <a:lnTo>
                      <a:pt x="963" y="353"/>
                    </a:lnTo>
                    <a:lnTo>
                      <a:pt x="965" y="350"/>
                    </a:lnTo>
                    <a:lnTo>
                      <a:pt x="972" y="348"/>
                    </a:lnTo>
                    <a:lnTo>
                      <a:pt x="979" y="348"/>
                    </a:lnTo>
                    <a:lnTo>
                      <a:pt x="982" y="343"/>
                    </a:lnTo>
                    <a:lnTo>
                      <a:pt x="986" y="343"/>
                    </a:lnTo>
                    <a:lnTo>
                      <a:pt x="986" y="341"/>
                    </a:lnTo>
                    <a:lnTo>
                      <a:pt x="986" y="337"/>
                    </a:lnTo>
                    <a:lnTo>
                      <a:pt x="991" y="334"/>
                    </a:lnTo>
                    <a:lnTo>
                      <a:pt x="993" y="332"/>
                    </a:lnTo>
                    <a:lnTo>
                      <a:pt x="991" y="327"/>
                    </a:lnTo>
                    <a:lnTo>
                      <a:pt x="991" y="327"/>
                    </a:lnTo>
                    <a:lnTo>
                      <a:pt x="994" y="329"/>
                    </a:lnTo>
                    <a:lnTo>
                      <a:pt x="998" y="327"/>
                    </a:lnTo>
                    <a:lnTo>
                      <a:pt x="1001" y="323"/>
                    </a:lnTo>
                    <a:lnTo>
                      <a:pt x="1000" y="320"/>
                    </a:lnTo>
                    <a:lnTo>
                      <a:pt x="1005" y="315"/>
                    </a:lnTo>
                    <a:lnTo>
                      <a:pt x="1005" y="311"/>
                    </a:lnTo>
                    <a:lnTo>
                      <a:pt x="1005" y="310"/>
                    </a:lnTo>
                    <a:lnTo>
                      <a:pt x="998" y="313"/>
                    </a:lnTo>
                    <a:lnTo>
                      <a:pt x="998" y="315"/>
                    </a:lnTo>
                    <a:lnTo>
                      <a:pt x="993" y="318"/>
                    </a:lnTo>
                    <a:lnTo>
                      <a:pt x="987" y="316"/>
                    </a:lnTo>
                    <a:lnTo>
                      <a:pt x="986" y="311"/>
                    </a:lnTo>
                    <a:lnTo>
                      <a:pt x="991" y="310"/>
                    </a:lnTo>
                    <a:lnTo>
                      <a:pt x="987" y="304"/>
                    </a:lnTo>
                    <a:lnTo>
                      <a:pt x="991" y="301"/>
                    </a:lnTo>
                    <a:lnTo>
                      <a:pt x="996" y="301"/>
                    </a:lnTo>
                    <a:lnTo>
                      <a:pt x="1003" y="304"/>
                    </a:lnTo>
                    <a:lnTo>
                      <a:pt x="1005" y="301"/>
                    </a:lnTo>
                    <a:lnTo>
                      <a:pt x="1005" y="297"/>
                    </a:lnTo>
                    <a:lnTo>
                      <a:pt x="1010" y="296"/>
                    </a:lnTo>
                    <a:lnTo>
                      <a:pt x="1010" y="299"/>
                    </a:lnTo>
                    <a:lnTo>
                      <a:pt x="1008" y="301"/>
                    </a:lnTo>
                    <a:lnTo>
                      <a:pt x="1008" y="304"/>
                    </a:lnTo>
                    <a:lnTo>
                      <a:pt x="1017" y="311"/>
                    </a:lnTo>
                    <a:lnTo>
                      <a:pt x="1022" y="311"/>
                    </a:lnTo>
                    <a:lnTo>
                      <a:pt x="1024" y="310"/>
                    </a:lnTo>
                    <a:lnTo>
                      <a:pt x="1031" y="310"/>
                    </a:lnTo>
                    <a:lnTo>
                      <a:pt x="1033" y="306"/>
                    </a:lnTo>
                    <a:lnTo>
                      <a:pt x="1033" y="303"/>
                    </a:lnTo>
                    <a:lnTo>
                      <a:pt x="1027" y="296"/>
                    </a:lnTo>
                    <a:lnTo>
                      <a:pt x="1027" y="294"/>
                    </a:lnTo>
                    <a:lnTo>
                      <a:pt x="1029" y="294"/>
                    </a:lnTo>
                    <a:lnTo>
                      <a:pt x="1036" y="301"/>
                    </a:lnTo>
                    <a:lnTo>
                      <a:pt x="1038" y="301"/>
                    </a:lnTo>
                    <a:lnTo>
                      <a:pt x="1041" y="304"/>
                    </a:lnTo>
                    <a:lnTo>
                      <a:pt x="1039" y="306"/>
                    </a:lnTo>
                    <a:lnTo>
                      <a:pt x="1041" y="310"/>
                    </a:lnTo>
                    <a:lnTo>
                      <a:pt x="1046" y="313"/>
                    </a:lnTo>
                    <a:lnTo>
                      <a:pt x="1046" y="320"/>
                    </a:lnTo>
                    <a:lnTo>
                      <a:pt x="1048" y="320"/>
                    </a:lnTo>
                    <a:lnTo>
                      <a:pt x="1048" y="318"/>
                    </a:lnTo>
                    <a:lnTo>
                      <a:pt x="1052" y="315"/>
                    </a:lnTo>
                    <a:lnTo>
                      <a:pt x="1053" y="315"/>
                    </a:lnTo>
                    <a:lnTo>
                      <a:pt x="1055" y="311"/>
                    </a:lnTo>
                    <a:lnTo>
                      <a:pt x="1053" y="311"/>
                    </a:lnTo>
                    <a:lnTo>
                      <a:pt x="1050" y="313"/>
                    </a:lnTo>
                    <a:lnTo>
                      <a:pt x="1048" y="311"/>
                    </a:lnTo>
                    <a:lnTo>
                      <a:pt x="1045" y="310"/>
                    </a:lnTo>
                    <a:lnTo>
                      <a:pt x="1050" y="304"/>
                    </a:lnTo>
                    <a:lnTo>
                      <a:pt x="1053" y="303"/>
                    </a:lnTo>
                    <a:lnTo>
                      <a:pt x="1055" y="299"/>
                    </a:lnTo>
                    <a:lnTo>
                      <a:pt x="1059" y="299"/>
                    </a:lnTo>
                    <a:lnTo>
                      <a:pt x="1059" y="297"/>
                    </a:lnTo>
                    <a:lnTo>
                      <a:pt x="1067" y="296"/>
                    </a:lnTo>
                    <a:lnTo>
                      <a:pt x="1078" y="292"/>
                    </a:lnTo>
                    <a:lnTo>
                      <a:pt x="1090" y="292"/>
                    </a:lnTo>
                    <a:lnTo>
                      <a:pt x="1100" y="287"/>
                    </a:lnTo>
                    <a:lnTo>
                      <a:pt x="1107" y="287"/>
                    </a:lnTo>
                    <a:lnTo>
                      <a:pt x="1109" y="289"/>
                    </a:lnTo>
                    <a:lnTo>
                      <a:pt x="1109" y="292"/>
                    </a:lnTo>
                    <a:lnTo>
                      <a:pt x="1109" y="292"/>
                    </a:lnTo>
                    <a:lnTo>
                      <a:pt x="1107" y="297"/>
                    </a:lnTo>
                    <a:lnTo>
                      <a:pt x="1109" y="304"/>
                    </a:lnTo>
                    <a:lnTo>
                      <a:pt x="1114" y="306"/>
                    </a:lnTo>
                    <a:lnTo>
                      <a:pt x="1128" y="306"/>
                    </a:lnTo>
                    <a:lnTo>
                      <a:pt x="1132" y="310"/>
                    </a:lnTo>
                    <a:lnTo>
                      <a:pt x="1133" y="306"/>
                    </a:lnTo>
                    <a:lnTo>
                      <a:pt x="1137" y="306"/>
                    </a:lnTo>
                    <a:lnTo>
                      <a:pt x="1142" y="310"/>
                    </a:lnTo>
                    <a:lnTo>
                      <a:pt x="1152" y="306"/>
                    </a:lnTo>
                    <a:lnTo>
                      <a:pt x="1159" y="304"/>
                    </a:lnTo>
                    <a:lnTo>
                      <a:pt x="1163" y="304"/>
                    </a:lnTo>
                    <a:lnTo>
                      <a:pt x="1168" y="304"/>
                    </a:lnTo>
                    <a:lnTo>
                      <a:pt x="1168" y="301"/>
                    </a:lnTo>
                    <a:lnTo>
                      <a:pt x="1168" y="299"/>
                    </a:lnTo>
                    <a:lnTo>
                      <a:pt x="1172" y="297"/>
                    </a:lnTo>
                    <a:lnTo>
                      <a:pt x="1173" y="299"/>
                    </a:lnTo>
                    <a:lnTo>
                      <a:pt x="1178" y="297"/>
                    </a:lnTo>
                    <a:lnTo>
                      <a:pt x="1178" y="299"/>
                    </a:lnTo>
                    <a:lnTo>
                      <a:pt x="1180" y="301"/>
                    </a:lnTo>
                    <a:lnTo>
                      <a:pt x="1184" y="297"/>
                    </a:lnTo>
                    <a:lnTo>
                      <a:pt x="1182" y="294"/>
                    </a:lnTo>
                    <a:lnTo>
                      <a:pt x="1178" y="290"/>
                    </a:lnTo>
                    <a:lnTo>
                      <a:pt x="1180" y="287"/>
                    </a:lnTo>
                    <a:lnTo>
                      <a:pt x="1178" y="287"/>
                    </a:lnTo>
                    <a:lnTo>
                      <a:pt x="1173" y="283"/>
                    </a:lnTo>
                    <a:lnTo>
                      <a:pt x="1173" y="282"/>
                    </a:lnTo>
                    <a:lnTo>
                      <a:pt x="1172" y="278"/>
                    </a:lnTo>
                    <a:lnTo>
                      <a:pt x="1172" y="276"/>
                    </a:lnTo>
                    <a:lnTo>
                      <a:pt x="1168" y="273"/>
                    </a:lnTo>
                    <a:lnTo>
                      <a:pt x="1168" y="270"/>
                    </a:lnTo>
                    <a:lnTo>
                      <a:pt x="1172" y="266"/>
                    </a:lnTo>
                    <a:lnTo>
                      <a:pt x="1172" y="268"/>
                    </a:lnTo>
                    <a:lnTo>
                      <a:pt x="1172" y="270"/>
                    </a:lnTo>
                    <a:lnTo>
                      <a:pt x="1175" y="266"/>
                    </a:lnTo>
                    <a:lnTo>
                      <a:pt x="1175" y="264"/>
                    </a:lnTo>
                    <a:lnTo>
                      <a:pt x="1173" y="261"/>
                    </a:lnTo>
                    <a:lnTo>
                      <a:pt x="1177" y="261"/>
                    </a:lnTo>
                    <a:lnTo>
                      <a:pt x="1180" y="264"/>
                    </a:lnTo>
                    <a:lnTo>
                      <a:pt x="1184" y="263"/>
                    </a:lnTo>
                    <a:lnTo>
                      <a:pt x="1184" y="259"/>
                    </a:lnTo>
                    <a:lnTo>
                      <a:pt x="1185" y="261"/>
                    </a:lnTo>
                    <a:lnTo>
                      <a:pt x="1191" y="261"/>
                    </a:lnTo>
                    <a:lnTo>
                      <a:pt x="1191" y="261"/>
                    </a:lnTo>
                    <a:lnTo>
                      <a:pt x="1194" y="259"/>
                    </a:lnTo>
                    <a:lnTo>
                      <a:pt x="1196" y="263"/>
                    </a:lnTo>
                    <a:lnTo>
                      <a:pt x="1199" y="263"/>
                    </a:lnTo>
                    <a:lnTo>
                      <a:pt x="1201" y="266"/>
                    </a:lnTo>
                    <a:lnTo>
                      <a:pt x="1203" y="264"/>
                    </a:lnTo>
                    <a:lnTo>
                      <a:pt x="1203" y="261"/>
                    </a:lnTo>
                    <a:lnTo>
                      <a:pt x="1206" y="261"/>
                    </a:lnTo>
                    <a:lnTo>
                      <a:pt x="1208" y="264"/>
                    </a:lnTo>
                    <a:lnTo>
                      <a:pt x="1206" y="268"/>
                    </a:lnTo>
                    <a:lnTo>
                      <a:pt x="1205" y="270"/>
                    </a:lnTo>
                    <a:lnTo>
                      <a:pt x="1206" y="271"/>
                    </a:lnTo>
                    <a:lnTo>
                      <a:pt x="1210" y="270"/>
                    </a:lnTo>
                    <a:lnTo>
                      <a:pt x="1212" y="271"/>
                    </a:lnTo>
                    <a:lnTo>
                      <a:pt x="1212" y="268"/>
                    </a:lnTo>
                    <a:lnTo>
                      <a:pt x="1213" y="268"/>
                    </a:lnTo>
                    <a:lnTo>
                      <a:pt x="1213" y="268"/>
                    </a:lnTo>
                    <a:lnTo>
                      <a:pt x="1213" y="264"/>
                    </a:lnTo>
                    <a:lnTo>
                      <a:pt x="1212" y="263"/>
                    </a:lnTo>
                    <a:lnTo>
                      <a:pt x="1213" y="261"/>
                    </a:lnTo>
                    <a:lnTo>
                      <a:pt x="1213" y="261"/>
                    </a:lnTo>
                    <a:lnTo>
                      <a:pt x="1222" y="259"/>
                    </a:lnTo>
                    <a:lnTo>
                      <a:pt x="1222" y="261"/>
                    </a:lnTo>
                    <a:lnTo>
                      <a:pt x="1224" y="259"/>
                    </a:lnTo>
                    <a:lnTo>
                      <a:pt x="1229" y="259"/>
                    </a:lnTo>
                    <a:lnTo>
                      <a:pt x="1229" y="263"/>
                    </a:lnTo>
                    <a:lnTo>
                      <a:pt x="1229" y="268"/>
                    </a:lnTo>
                    <a:lnTo>
                      <a:pt x="1231" y="264"/>
                    </a:lnTo>
                    <a:lnTo>
                      <a:pt x="1232" y="264"/>
                    </a:lnTo>
                    <a:lnTo>
                      <a:pt x="1236" y="261"/>
                    </a:lnTo>
                    <a:lnTo>
                      <a:pt x="1236" y="266"/>
                    </a:lnTo>
                    <a:lnTo>
                      <a:pt x="1239" y="266"/>
                    </a:lnTo>
                    <a:lnTo>
                      <a:pt x="1241" y="264"/>
                    </a:lnTo>
                    <a:lnTo>
                      <a:pt x="1245" y="268"/>
                    </a:lnTo>
                    <a:lnTo>
                      <a:pt x="1245" y="275"/>
                    </a:lnTo>
                    <a:lnTo>
                      <a:pt x="1248" y="270"/>
                    </a:lnTo>
                    <a:lnTo>
                      <a:pt x="1250" y="268"/>
                    </a:lnTo>
                    <a:lnTo>
                      <a:pt x="1251" y="270"/>
                    </a:lnTo>
                    <a:lnTo>
                      <a:pt x="1250" y="275"/>
                    </a:lnTo>
                    <a:lnTo>
                      <a:pt x="1251" y="276"/>
                    </a:lnTo>
                    <a:lnTo>
                      <a:pt x="1253" y="278"/>
                    </a:lnTo>
                    <a:lnTo>
                      <a:pt x="1257" y="278"/>
                    </a:lnTo>
                    <a:lnTo>
                      <a:pt x="1257" y="282"/>
                    </a:lnTo>
                    <a:lnTo>
                      <a:pt x="1258" y="278"/>
                    </a:lnTo>
                    <a:lnTo>
                      <a:pt x="1260" y="278"/>
                    </a:lnTo>
                    <a:lnTo>
                      <a:pt x="1262" y="282"/>
                    </a:lnTo>
                    <a:lnTo>
                      <a:pt x="1258" y="287"/>
                    </a:lnTo>
                    <a:lnTo>
                      <a:pt x="1258" y="289"/>
                    </a:lnTo>
                    <a:lnTo>
                      <a:pt x="1264" y="287"/>
                    </a:lnTo>
                    <a:lnTo>
                      <a:pt x="1267" y="287"/>
                    </a:lnTo>
                    <a:lnTo>
                      <a:pt x="1267" y="287"/>
                    </a:lnTo>
                    <a:lnTo>
                      <a:pt x="1260" y="294"/>
                    </a:lnTo>
                    <a:lnTo>
                      <a:pt x="1262" y="299"/>
                    </a:lnTo>
                    <a:lnTo>
                      <a:pt x="1267" y="299"/>
                    </a:lnTo>
                    <a:lnTo>
                      <a:pt x="1267" y="297"/>
                    </a:lnTo>
                    <a:lnTo>
                      <a:pt x="1269" y="296"/>
                    </a:lnTo>
                    <a:lnTo>
                      <a:pt x="1272" y="297"/>
                    </a:lnTo>
                    <a:lnTo>
                      <a:pt x="1272" y="299"/>
                    </a:lnTo>
                    <a:lnTo>
                      <a:pt x="1276" y="299"/>
                    </a:lnTo>
                    <a:lnTo>
                      <a:pt x="1279" y="303"/>
                    </a:lnTo>
                    <a:lnTo>
                      <a:pt x="1278" y="306"/>
                    </a:lnTo>
                    <a:lnTo>
                      <a:pt x="1281" y="306"/>
                    </a:lnTo>
                    <a:lnTo>
                      <a:pt x="1283" y="310"/>
                    </a:lnTo>
                    <a:lnTo>
                      <a:pt x="1284" y="310"/>
                    </a:lnTo>
                    <a:lnTo>
                      <a:pt x="1286" y="310"/>
                    </a:lnTo>
                    <a:lnTo>
                      <a:pt x="1283" y="316"/>
                    </a:lnTo>
                    <a:lnTo>
                      <a:pt x="1278" y="318"/>
                    </a:lnTo>
                    <a:lnTo>
                      <a:pt x="1274" y="315"/>
                    </a:lnTo>
                    <a:lnTo>
                      <a:pt x="1267" y="313"/>
                    </a:lnTo>
                    <a:lnTo>
                      <a:pt x="1262" y="313"/>
                    </a:lnTo>
                    <a:lnTo>
                      <a:pt x="1264" y="315"/>
                    </a:lnTo>
                    <a:lnTo>
                      <a:pt x="1264" y="318"/>
                    </a:lnTo>
                    <a:lnTo>
                      <a:pt x="1272" y="320"/>
                    </a:lnTo>
                    <a:lnTo>
                      <a:pt x="1272" y="323"/>
                    </a:lnTo>
                    <a:lnTo>
                      <a:pt x="1279" y="327"/>
                    </a:lnTo>
                    <a:lnTo>
                      <a:pt x="1286" y="329"/>
                    </a:lnTo>
                    <a:lnTo>
                      <a:pt x="1291" y="327"/>
                    </a:lnTo>
                    <a:lnTo>
                      <a:pt x="1291" y="323"/>
                    </a:lnTo>
                    <a:lnTo>
                      <a:pt x="1288" y="320"/>
                    </a:lnTo>
                    <a:lnTo>
                      <a:pt x="1286" y="316"/>
                    </a:lnTo>
                    <a:lnTo>
                      <a:pt x="1288" y="316"/>
                    </a:lnTo>
                    <a:lnTo>
                      <a:pt x="1291" y="322"/>
                    </a:lnTo>
                    <a:lnTo>
                      <a:pt x="1295" y="323"/>
                    </a:lnTo>
                    <a:lnTo>
                      <a:pt x="1298" y="325"/>
                    </a:lnTo>
                    <a:lnTo>
                      <a:pt x="1295" y="325"/>
                    </a:lnTo>
                    <a:lnTo>
                      <a:pt x="1288" y="332"/>
                    </a:lnTo>
                    <a:lnTo>
                      <a:pt x="1290" y="334"/>
                    </a:lnTo>
                    <a:lnTo>
                      <a:pt x="1291" y="334"/>
                    </a:lnTo>
                    <a:lnTo>
                      <a:pt x="1295" y="332"/>
                    </a:lnTo>
                    <a:lnTo>
                      <a:pt x="1295" y="332"/>
                    </a:lnTo>
                    <a:lnTo>
                      <a:pt x="1307" y="341"/>
                    </a:lnTo>
                    <a:lnTo>
                      <a:pt x="1311" y="343"/>
                    </a:lnTo>
                    <a:lnTo>
                      <a:pt x="1314" y="348"/>
                    </a:lnTo>
                    <a:lnTo>
                      <a:pt x="1321" y="348"/>
                    </a:lnTo>
                    <a:lnTo>
                      <a:pt x="1326" y="355"/>
                    </a:lnTo>
                    <a:lnTo>
                      <a:pt x="1331" y="356"/>
                    </a:lnTo>
                    <a:lnTo>
                      <a:pt x="1333" y="353"/>
                    </a:lnTo>
                    <a:lnTo>
                      <a:pt x="1331" y="351"/>
                    </a:lnTo>
                    <a:lnTo>
                      <a:pt x="1333" y="350"/>
                    </a:lnTo>
                    <a:lnTo>
                      <a:pt x="1337" y="353"/>
                    </a:lnTo>
                    <a:lnTo>
                      <a:pt x="1337" y="356"/>
                    </a:lnTo>
                    <a:lnTo>
                      <a:pt x="1340" y="356"/>
                    </a:lnTo>
                    <a:lnTo>
                      <a:pt x="1342" y="356"/>
                    </a:lnTo>
                    <a:lnTo>
                      <a:pt x="1344" y="355"/>
                    </a:lnTo>
                    <a:lnTo>
                      <a:pt x="1340" y="337"/>
                    </a:lnTo>
                    <a:lnTo>
                      <a:pt x="1335" y="329"/>
                    </a:lnTo>
                    <a:lnTo>
                      <a:pt x="1330" y="318"/>
                    </a:lnTo>
                    <a:lnTo>
                      <a:pt x="1330" y="310"/>
                    </a:lnTo>
                    <a:lnTo>
                      <a:pt x="1326" y="304"/>
                    </a:lnTo>
                    <a:lnTo>
                      <a:pt x="1326" y="301"/>
                    </a:lnTo>
                    <a:lnTo>
                      <a:pt x="1330" y="303"/>
                    </a:lnTo>
                    <a:lnTo>
                      <a:pt x="1331" y="306"/>
                    </a:lnTo>
                    <a:lnTo>
                      <a:pt x="1335" y="310"/>
                    </a:lnTo>
                    <a:lnTo>
                      <a:pt x="1340" y="311"/>
                    </a:lnTo>
                    <a:lnTo>
                      <a:pt x="1344" y="315"/>
                    </a:lnTo>
                    <a:lnTo>
                      <a:pt x="1349" y="316"/>
                    </a:lnTo>
                    <a:lnTo>
                      <a:pt x="1363" y="315"/>
                    </a:lnTo>
                    <a:lnTo>
                      <a:pt x="1366" y="315"/>
                    </a:lnTo>
                    <a:lnTo>
                      <a:pt x="1368" y="315"/>
                    </a:lnTo>
                    <a:lnTo>
                      <a:pt x="1371" y="316"/>
                    </a:lnTo>
                    <a:lnTo>
                      <a:pt x="1371" y="316"/>
                    </a:lnTo>
                    <a:lnTo>
                      <a:pt x="1371" y="311"/>
                    </a:lnTo>
                    <a:lnTo>
                      <a:pt x="1371" y="310"/>
                    </a:lnTo>
                    <a:lnTo>
                      <a:pt x="1368" y="310"/>
                    </a:lnTo>
                    <a:lnTo>
                      <a:pt x="1368" y="306"/>
                    </a:lnTo>
                    <a:lnTo>
                      <a:pt x="1371" y="304"/>
                    </a:lnTo>
                    <a:lnTo>
                      <a:pt x="1382" y="299"/>
                    </a:lnTo>
                    <a:lnTo>
                      <a:pt x="1384" y="299"/>
                    </a:lnTo>
                    <a:lnTo>
                      <a:pt x="1385" y="299"/>
                    </a:lnTo>
                    <a:lnTo>
                      <a:pt x="1390" y="301"/>
                    </a:lnTo>
                    <a:lnTo>
                      <a:pt x="1396" y="301"/>
                    </a:lnTo>
                    <a:lnTo>
                      <a:pt x="1399" y="306"/>
                    </a:lnTo>
                    <a:lnTo>
                      <a:pt x="1403" y="306"/>
                    </a:lnTo>
                    <a:lnTo>
                      <a:pt x="1404" y="310"/>
                    </a:lnTo>
                    <a:lnTo>
                      <a:pt x="1411" y="310"/>
                    </a:lnTo>
                    <a:lnTo>
                      <a:pt x="1413" y="313"/>
                    </a:lnTo>
                    <a:lnTo>
                      <a:pt x="1418" y="313"/>
                    </a:lnTo>
                    <a:lnTo>
                      <a:pt x="1417" y="310"/>
                    </a:lnTo>
                    <a:lnTo>
                      <a:pt x="1415" y="310"/>
                    </a:lnTo>
                    <a:lnTo>
                      <a:pt x="1418" y="310"/>
                    </a:lnTo>
                    <a:lnTo>
                      <a:pt x="1422" y="306"/>
                    </a:lnTo>
                    <a:lnTo>
                      <a:pt x="1418" y="306"/>
                    </a:lnTo>
                    <a:lnTo>
                      <a:pt x="1422" y="304"/>
                    </a:lnTo>
                    <a:lnTo>
                      <a:pt x="1418" y="301"/>
                    </a:lnTo>
                    <a:lnTo>
                      <a:pt x="1415" y="303"/>
                    </a:lnTo>
                    <a:lnTo>
                      <a:pt x="1411" y="303"/>
                    </a:lnTo>
                    <a:lnTo>
                      <a:pt x="1410" y="296"/>
                    </a:lnTo>
                    <a:lnTo>
                      <a:pt x="1408" y="292"/>
                    </a:lnTo>
                    <a:lnTo>
                      <a:pt x="1411" y="290"/>
                    </a:lnTo>
                    <a:lnTo>
                      <a:pt x="1413" y="292"/>
                    </a:lnTo>
                    <a:lnTo>
                      <a:pt x="1417" y="290"/>
                    </a:lnTo>
                    <a:lnTo>
                      <a:pt x="1415" y="287"/>
                    </a:lnTo>
                    <a:lnTo>
                      <a:pt x="1417" y="287"/>
                    </a:lnTo>
                    <a:lnTo>
                      <a:pt x="1422" y="290"/>
                    </a:lnTo>
                    <a:lnTo>
                      <a:pt x="1422" y="294"/>
                    </a:lnTo>
                    <a:lnTo>
                      <a:pt x="1425" y="294"/>
                    </a:lnTo>
                    <a:lnTo>
                      <a:pt x="1427" y="296"/>
                    </a:lnTo>
                    <a:lnTo>
                      <a:pt x="1430" y="294"/>
                    </a:lnTo>
                    <a:lnTo>
                      <a:pt x="1427" y="290"/>
                    </a:lnTo>
                    <a:lnTo>
                      <a:pt x="1432" y="289"/>
                    </a:lnTo>
                    <a:lnTo>
                      <a:pt x="1434" y="290"/>
                    </a:lnTo>
                    <a:lnTo>
                      <a:pt x="1436" y="287"/>
                    </a:lnTo>
                    <a:lnTo>
                      <a:pt x="1430" y="282"/>
                    </a:lnTo>
                    <a:lnTo>
                      <a:pt x="1425" y="282"/>
                    </a:lnTo>
                    <a:lnTo>
                      <a:pt x="1422" y="276"/>
                    </a:lnTo>
                    <a:lnTo>
                      <a:pt x="1422" y="273"/>
                    </a:lnTo>
                    <a:lnTo>
                      <a:pt x="1422" y="270"/>
                    </a:lnTo>
                    <a:lnTo>
                      <a:pt x="1418" y="271"/>
                    </a:lnTo>
                    <a:lnTo>
                      <a:pt x="1413" y="271"/>
                    </a:lnTo>
                    <a:lnTo>
                      <a:pt x="1418" y="268"/>
                    </a:lnTo>
                    <a:lnTo>
                      <a:pt x="1417" y="264"/>
                    </a:lnTo>
                    <a:lnTo>
                      <a:pt x="1418" y="264"/>
                    </a:lnTo>
                    <a:lnTo>
                      <a:pt x="1415" y="259"/>
                    </a:lnTo>
                    <a:lnTo>
                      <a:pt x="1418" y="259"/>
                    </a:lnTo>
                    <a:lnTo>
                      <a:pt x="1422" y="252"/>
                    </a:lnTo>
                    <a:lnTo>
                      <a:pt x="1415" y="256"/>
                    </a:lnTo>
                    <a:lnTo>
                      <a:pt x="1411" y="259"/>
                    </a:lnTo>
                    <a:lnTo>
                      <a:pt x="1411" y="263"/>
                    </a:lnTo>
                    <a:lnTo>
                      <a:pt x="1404" y="261"/>
                    </a:lnTo>
                    <a:lnTo>
                      <a:pt x="1401" y="256"/>
                    </a:lnTo>
                    <a:lnTo>
                      <a:pt x="1403" y="250"/>
                    </a:lnTo>
                    <a:lnTo>
                      <a:pt x="1403" y="247"/>
                    </a:lnTo>
                    <a:lnTo>
                      <a:pt x="1410" y="245"/>
                    </a:lnTo>
                    <a:lnTo>
                      <a:pt x="1413" y="245"/>
                    </a:lnTo>
                    <a:lnTo>
                      <a:pt x="1418" y="240"/>
                    </a:lnTo>
                    <a:lnTo>
                      <a:pt x="1418" y="236"/>
                    </a:lnTo>
                    <a:lnTo>
                      <a:pt x="1417" y="233"/>
                    </a:lnTo>
                    <a:lnTo>
                      <a:pt x="1413" y="233"/>
                    </a:lnTo>
                    <a:lnTo>
                      <a:pt x="1410" y="231"/>
                    </a:lnTo>
                    <a:lnTo>
                      <a:pt x="1403" y="231"/>
                    </a:lnTo>
                    <a:lnTo>
                      <a:pt x="1399" y="228"/>
                    </a:lnTo>
                    <a:lnTo>
                      <a:pt x="1404" y="224"/>
                    </a:lnTo>
                    <a:lnTo>
                      <a:pt x="1411" y="224"/>
                    </a:lnTo>
                    <a:lnTo>
                      <a:pt x="1418" y="228"/>
                    </a:lnTo>
                    <a:lnTo>
                      <a:pt x="1425" y="228"/>
                    </a:lnTo>
                    <a:lnTo>
                      <a:pt x="1437" y="228"/>
                    </a:lnTo>
                    <a:lnTo>
                      <a:pt x="1456" y="224"/>
                    </a:lnTo>
                    <a:lnTo>
                      <a:pt x="1460" y="223"/>
                    </a:lnTo>
                    <a:lnTo>
                      <a:pt x="1476" y="223"/>
                    </a:lnTo>
                    <a:lnTo>
                      <a:pt x="1481" y="223"/>
                    </a:lnTo>
                    <a:lnTo>
                      <a:pt x="1486" y="223"/>
                    </a:lnTo>
                    <a:lnTo>
                      <a:pt x="1495" y="223"/>
                    </a:lnTo>
                    <a:lnTo>
                      <a:pt x="1491" y="223"/>
                    </a:lnTo>
                    <a:lnTo>
                      <a:pt x="1479" y="228"/>
                    </a:lnTo>
                    <a:lnTo>
                      <a:pt x="1476" y="228"/>
                    </a:lnTo>
                    <a:lnTo>
                      <a:pt x="1472" y="228"/>
                    </a:lnTo>
                    <a:lnTo>
                      <a:pt x="1470" y="228"/>
                    </a:lnTo>
                    <a:lnTo>
                      <a:pt x="1469" y="233"/>
                    </a:lnTo>
                    <a:lnTo>
                      <a:pt x="1472" y="238"/>
                    </a:lnTo>
                    <a:lnTo>
                      <a:pt x="1469" y="238"/>
                    </a:lnTo>
                    <a:lnTo>
                      <a:pt x="1469" y="242"/>
                    </a:lnTo>
                    <a:lnTo>
                      <a:pt x="1472" y="243"/>
                    </a:lnTo>
                    <a:lnTo>
                      <a:pt x="1476" y="240"/>
                    </a:lnTo>
                    <a:lnTo>
                      <a:pt x="1476" y="236"/>
                    </a:lnTo>
                    <a:lnTo>
                      <a:pt x="1484" y="230"/>
                    </a:lnTo>
                    <a:lnTo>
                      <a:pt x="1498" y="224"/>
                    </a:lnTo>
                    <a:lnTo>
                      <a:pt x="1500" y="231"/>
                    </a:lnTo>
                    <a:lnTo>
                      <a:pt x="1500" y="240"/>
                    </a:lnTo>
                    <a:lnTo>
                      <a:pt x="1498" y="243"/>
                    </a:lnTo>
                    <a:lnTo>
                      <a:pt x="1495" y="236"/>
                    </a:lnTo>
                    <a:lnTo>
                      <a:pt x="1493" y="233"/>
                    </a:lnTo>
                    <a:lnTo>
                      <a:pt x="1493" y="230"/>
                    </a:lnTo>
                    <a:lnTo>
                      <a:pt x="1490" y="233"/>
                    </a:lnTo>
                    <a:lnTo>
                      <a:pt x="1486" y="231"/>
                    </a:lnTo>
                    <a:lnTo>
                      <a:pt x="1490" y="238"/>
                    </a:lnTo>
                    <a:lnTo>
                      <a:pt x="1493" y="240"/>
                    </a:lnTo>
                    <a:lnTo>
                      <a:pt x="1495" y="247"/>
                    </a:lnTo>
                    <a:lnTo>
                      <a:pt x="1491" y="250"/>
                    </a:lnTo>
                    <a:lnTo>
                      <a:pt x="1490" y="250"/>
                    </a:lnTo>
                    <a:lnTo>
                      <a:pt x="1486" y="252"/>
                    </a:lnTo>
                    <a:lnTo>
                      <a:pt x="1491" y="256"/>
                    </a:lnTo>
                    <a:lnTo>
                      <a:pt x="1490" y="259"/>
                    </a:lnTo>
                    <a:lnTo>
                      <a:pt x="1491" y="259"/>
                    </a:lnTo>
                    <a:lnTo>
                      <a:pt x="1495" y="259"/>
                    </a:lnTo>
                    <a:lnTo>
                      <a:pt x="1500" y="256"/>
                    </a:lnTo>
                    <a:lnTo>
                      <a:pt x="1500" y="250"/>
                    </a:lnTo>
                    <a:lnTo>
                      <a:pt x="1503" y="247"/>
                    </a:lnTo>
                    <a:lnTo>
                      <a:pt x="1500" y="243"/>
                    </a:lnTo>
                    <a:lnTo>
                      <a:pt x="1500" y="238"/>
                    </a:lnTo>
                    <a:lnTo>
                      <a:pt x="1500" y="223"/>
                    </a:lnTo>
                    <a:lnTo>
                      <a:pt x="1505" y="217"/>
                    </a:lnTo>
                    <a:lnTo>
                      <a:pt x="1516" y="216"/>
                    </a:lnTo>
                    <a:lnTo>
                      <a:pt x="1526" y="212"/>
                    </a:lnTo>
                    <a:lnTo>
                      <a:pt x="1535" y="214"/>
                    </a:lnTo>
                    <a:lnTo>
                      <a:pt x="1545" y="217"/>
                    </a:lnTo>
                    <a:lnTo>
                      <a:pt x="1550" y="224"/>
                    </a:lnTo>
                    <a:lnTo>
                      <a:pt x="1550" y="228"/>
                    </a:lnTo>
                    <a:lnTo>
                      <a:pt x="1549" y="231"/>
                    </a:lnTo>
                    <a:lnTo>
                      <a:pt x="1542" y="228"/>
                    </a:lnTo>
                    <a:lnTo>
                      <a:pt x="1542" y="228"/>
                    </a:lnTo>
                    <a:lnTo>
                      <a:pt x="1542" y="230"/>
                    </a:lnTo>
                    <a:lnTo>
                      <a:pt x="1542" y="233"/>
                    </a:lnTo>
                    <a:lnTo>
                      <a:pt x="1543" y="236"/>
                    </a:lnTo>
                    <a:lnTo>
                      <a:pt x="1540" y="240"/>
                    </a:lnTo>
                    <a:lnTo>
                      <a:pt x="1542" y="242"/>
                    </a:lnTo>
                    <a:lnTo>
                      <a:pt x="1545" y="238"/>
                    </a:lnTo>
                    <a:lnTo>
                      <a:pt x="1550" y="238"/>
                    </a:lnTo>
                    <a:lnTo>
                      <a:pt x="1554" y="235"/>
                    </a:lnTo>
                    <a:lnTo>
                      <a:pt x="1557" y="240"/>
                    </a:lnTo>
                    <a:lnTo>
                      <a:pt x="1557" y="243"/>
                    </a:lnTo>
                    <a:lnTo>
                      <a:pt x="1559" y="247"/>
                    </a:lnTo>
                    <a:lnTo>
                      <a:pt x="1561" y="250"/>
                    </a:lnTo>
                    <a:lnTo>
                      <a:pt x="1562" y="247"/>
                    </a:lnTo>
                    <a:lnTo>
                      <a:pt x="1562" y="243"/>
                    </a:lnTo>
                    <a:lnTo>
                      <a:pt x="1566" y="240"/>
                    </a:lnTo>
                    <a:lnTo>
                      <a:pt x="1571" y="242"/>
                    </a:lnTo>
                    <a:lnTo>
                      <a:pt x="1573" y="247"/>
                    </a:lnTo>
                    <a:lnTo>
                      <a:pt x="1571" y="247"/>
                    </a:lnTo>
                    <a:lnTo>
                      <a:pt x="1569" y="252"/>
                    </a:lnTo>
                    <a:lnTo>
                      <a:pt x="1571" y="256"/>
                    </a:lnTo>
                    <a:lnTo>
                      <a:pt x="1573" y="252"/>
                    </a:lnTo>
                    <a:lnTo>
                      <a:pt x="1573" y="250"/>
                    </a:lnTo>
                    <a:lnTo>
                      <a:pt x="1576" y="247"/>
                    </a:lnTo>
                    <a:lnTo>
                      <a:pt x="1576" y="250"/>
                    </a:lnTo>
                    <a:lnTo>
                      <a:pt x="1576" y="247"/>
                    </a:lnTo>
                    <a:lnTo>
                      <a:pt x="1580" y="240"/>
                    </a:lnTo>
                    <a:lnTo>
                      <a:pt x="1582" y="238"/>
                    </a:lnTo>
                    <a:lnTo>
                      <a:pt x="1585" y="240"/>
                    </a:lnTo>
                    <a:lnTo>
                      <a:pt x="1594" y="247"/>
                    </a:lnTo>
                    <a:lnTo>
                      <a:pt x="1602" y="247"/>
                    </a:lnTo>
                    <a:lnTo>
                      <a:pt x="1608" y="252"/>
                    </a:lnTo>
                    <a:lnTo>
                      <a:pt x="1608" y="256"/>
                    </a:lnTo>
                    <a:lnTo>
                      <a:pt x="1599" y="259"/>
                    </a:lnTo>
                    <a:lnTo>
                      <a:pt x="1596" y="264"/>
                    </a:lnTo>
                    <a:lnTo>
                      <a:pt x="1602" y="261"/>
                    </a:lnTo>
                    <a:lnTo>
                      <a:pt x="1608" y="259"/>
                    </a:lnTo>
                    <a:lnTo>
                      <a:pt x="1613" y="261"/>
                    </a:lnTo>
                    <a:lnTo>
                      <a:pt x="1620" y="259"/>
                    </a:lnTo>
                    <a:lnTo>
                      <a:pt x="1623" y="256"/>
                    </a:lnTo>
                    <a:lnTo>
                      <a:pt x="1627" y="256"/>
                    </a:lnTo>
                    <a:lnTo>
                      <a:pt x="1634" y="247"/>
                    </a:lnTo>
                    <a:lnTo>
                      <a:pt x="1637" y="247"/>
                    </a:lnTo>
                    <a:lnTo>
                      <a:pt x="1642" y="242"/>
                    </a:lnTo>
                    <a:lnTo>
                      <a:pt x="1648" y="242"/>
                    </a:lnTo>
                    <a:lnTo>
                      <a:pt x="1660" y="235"/>
                    </a:lnTo>
                    <a:lnTo>
                      <a:pt x="1667" y="231"/>
                    </a:lnTo>
                    <a:lnTo>
                      <a:pt x="1670" y="233"/>
                    </a:lnTo>
                    <a:lnTo>
                      <a:pt x="1670" y="231"/>
                    </a:lnTo>
                    <a:lnTo>
                      <a:pt x="1677" y="228"/>
                    </a:lnTo>
                    <a:lnTo>
                      <a:pt x="1681" y="224"/>
                    </a:lnTo>
                    <a:lnTo>
                      <a:pt x="1691" y="228"/>
                    </a:lnTo>
                    <a:lnTo>
                      <a:pt x="1707" y="231"/>
                    </a:lnTo>
                    <a:lnTo>
                      <a:pt x="1714" y="240"/>
                    </a:lnTo>
                    <a:lnTo>
                      <a:pt x="1722" y="243"/>
                    </a:lnTo>
                    <a:lnTo>
                      <a:pt x="1728" y="250"/>
                    </a:lnTo>
                    <a:lnTo>
                      <a:pt x="1731" y="256"/>
                    </a:lnTo>
                    <a:lnTo>
                      <a:pt x="1731" y="259"/>
                    </a:lnTo>
                    <a:lnTo>
                      <a:pt x="1735" y="261"/>
                    </a:lnTo>
                    <a:lnTo>
                      <a:pt x="1731" y="266"/>
                    </a:lnTo>
                    <a:lnTo>
                      <a:pt x="1736" y="273"/>
                    </a:lnTo>
                    <a:lnTo>
                      <a:pt x="1736" y="276"/>
                    </a:lnTo>
                    <a:lnTo>
                      <a:pt x="1735" y="278"/>
                    </a:lnTo>
                    <a:lnTo>
                      <a:pt x="1738" y="278"/>
                    </a:lnTo>
                    <a:lnTo>
                      <a:pt x="1741" y="275"/>
                    </a:lnTo>
                    <a:lnTo>
                      <a:pt x="1747" y="275"/>
                    </a:lnTo>
                    <a:lnTo>
                      <a:pt x="1748" y="276"/>
                    </a:lnTo>
                    <a:lnTo>
                      <a:pt x="1750" y="275"/>
                    </a:lnTo>
                    <a:lnTo>
                      <a:pt x="1754" y="273"/>
                    </a:lnTo>
                    <a:lnTo>
                      <a:pt x="1757" y="276"/>
                    </a:lnTo>
                    <a:lnTo>
                      <a:pt x="1759" y="278"/>
                    </a:lnTo>
                    <a:lnTo>
                      <a:pt x="1759" y="276"/>
                    </a:lnTo>
                    <a:lnTo>
                      <a:pt x="1757" y="271"/>
                    </a:lnTo>
                    <a:lnTo>
                      <a:pt x="1762" y="271"/>
                    </a:lnTo>
                    <a:lnTo>
                      <a:pt x="1764" y="275"/>
                    </a:lnTo>
                    <a:lnTo>
                      <a:pt x="1769" y="282"/>
                    </a:lnTo>
                    <a:lnTo>
                      <a:pt x="1771" y="287"/>
                    </a:lnTo>
                    <a:lnTo>
                      <a:pt x="1774" y="287"/>
                    </a:lnTo>
                    <a:lnTo>
                      <a:pt x="1780" y="292"/>
                    </a:lnTo>
                    <a:lnTo>
                      <a:pt x="1780" y="290"/>
                    </a:lnTo>
                    <a:lnTo>
                      <a:pt x="1776" y="287"/>
                    </a:lnTo>
                    <a:lnTo>
                      <a:pt x="1774" y="283"/>
                    </a:lnTo>
                    <a:lnTo>
                      <a:pt x="1773" y="282"/>
                    </a:lnTo>
                    <a:lnTo>
                      <a:pt x="1776" y="282"/>
                    </a:lnTo>
                    <a:lnTo>
                      <a:pt x="1780" y="282"/>
                    </a:lnTo>
                    <a:lnTo>
                      <a:pt x="1781" y="287"/>
                    </a:lnTo>
                    <a:lnTo>
                      <a:pt x="1787" y="292"/>
                    </a:lnTo>
                    <a:lnTo>
                      <a:pt x="1787" y="287"/>
                    </a:lnTo>
                    <a:lnTo>
                      <a:pt x="1781" y="278"/>
                    </a:lnTo>
                    <a:lnTo>
                      <a:pt x="1781" y="271"/>
                    </a:lnTo>
                    <a:lnTo>
                      <a:pt x="1781" y="264"/>
                    </a:lnTo>
                    <a:lnTo>
                      <a:pt x="1785" y="259"/>
                    </a:lnTo>
                    <a:lnTo>
                      <a:pt x="1790" y="259"/>
                    </a:lnTo>
                    <a:lnTo>
                      <a:pt x="1794" y="256"/>
                    </a:lnTo>
                    <a:lnTo>
                      <a:pt x="1801" y="252"/>
                    </a:lnTo>
                    <a:lnTo>
                      <a:pt x="1801" y="250"/>
                    </a:lnTo>
                    <a:lnTo>
                      <a:pt x="1801" y="250"/>
                    </a:lnTo>
                    <a:lnTo>
                      <a:pt x="1804" y="250"/>
                    </a:lnTo>
                    <a:lnTo>
                      <a:pt x="1807" y="252"/>
                    </a:lnTo>
                    <a:lnTo>
                      <a:pt x="1809" y="256"/>
                    </a:lnTo>
                    <a:lnTo>
                      <a:pt x="1816" y="252"/>
                    </a:lnTo>
                    <a:lnTo>
                      <a:pt x="1820" y="250"/>
                    </a:lnTo>
                    <a:lnTo>
                      <a:pt x="1821" y="250"/>
                    </a:lnTo>
                    <a:lnTo>
                      <a:pt x="1827" y="247"/>
                    </a:lnTo>
                    <a:lnTo>
                      <a:pt x="1835" y="247"/>
                    </a:lnTo>
                    <a:lnTo>
                      <a:pt x="1839" y="247"/>
                    </a:lnTo>
                    <a:lnTo>
                      <a:pt x="1839" y="247"/>
                    </a:lnTo>
                    <a:lnTo>
                      <a:pt x="1839" y="247"/>
                    </a:lnTo>
                    <a:lnTo>
                      <a:pt x="1842" y="250"/>
                    </a:lnTo>
                    <a:lnTo>
                      <a:pt x="1844" y="247"/>
                    </a:lnTo>
                    <a:lnTo>
                      <a:pt x="1847" y="242"/>
                    </a:lnTo>
                    <a:lnTo>
                      <a:pt x="1847" y="238"/>
                    </a:lnTo>
                    <a:lnTo>
                      <a:pt x="1847" y="235"/>
                    </a:lnTo>
                    <a:lnTo>
                      <a:pt x="1847" y="230"/>
                    </a:lnTo>
                    <a:lnTo>
                      <a:pt x="1849" y="228"/>
                    </a:lnTo>
                    <a:lnTo>
                      <a:pt x="1854" y="230"/>
                    </a:lnTo>
                    <a:lnTo>
                      <a:pt x="1858" y="233"/>
                    </a:lnTo>
                    <a:lnTo>
                      <a:pt x="1858" y="236"/>
                    </a:lnTo>
                    <a:lnTo>
                      <a:pt x="1861" y="236"/>
                    </a:lnTo>
                    <a:lnTo>
                      <a:pt x="1865" y="238"/>
                    </a:lnTo>
                    <a:lnTo>
                      <a:pt x="1865" y="243"/>
                    </a:lnTo>
                    <a:lnTo>
                      <a:pt x="1870" y="247"/>
                    </a:lnTo>
                    <a:lnTo>
                      <a:pt x="1872" y="250"/>
                    </a:lnTo>
                    <a:lnTo>
                      <a:pt x="1877" y="250"/>
                    </a:lnTo>
                    <a:lnTo>
                      <a:pt x="1886" y="250"/>
                    </a:lnTo>
                    <a:lnTo>
                      <a:pt x="1886" y="250"/>
                    </a:lnTo>
                    <a:lnTo>
                      <a:pt x="1889" y="250"/>
                    </a:lnTo>
                    <a:lnTo>
                      <a:pt x="1894" y="259"/>
                    </a:lnTo>
                    <a:lnTo>
                      <a:pt x="1894" y="263"/>
                    </a:lnTo>
                    <a:lnTo>
                      <a:pt x="1896" y="264"/>
                    </a:lnTo>
                    <a:lnTo>
                      <a:pt x="1903" y="264"/>
                    </a:lnTo>
                    <a:lnTo>
                      <a:pt x="1905" y="263"/>
                    </a:lnTo>
                    <a:lnTo>
                      <a:pt x="1908" y="263"/>
                    </a:lnTo>
                    <a:lnTo>
                      <a:pt x="1908" y="259"/>
                    </a:lnTo>
                    <a:lnTo>
                      <a:pt x="1912" y="259"/>
                    </a:lnTo>
                    <a:lnTo>
                      <a:pt x="1915" y="259"/>
                    </a:lnTo>
                    <a:lnTo>
                      <a:pt x="1915" y="256"/>
                    </a:lnTo>
                    <a:lnTo>
                      <a:pt x="1913" y="252"/>
                    </a:lnTo>
                    <a:lnTo>
                      <a:pt x="1915" y="250"/>
                    </a:lnTo>
                    <a:lnTo>
                      <a:pt x="1913" y="250"/>
                    </a:lnTo>
                    <a:lnTo>
                      <a:pt x="1915" y="247"/>
                    </a:lnTo>
                    <a:lnTo>
                      <a:pt x="1912" y="243"/>
                    </a:lnTo>
                    <a:lnTo>
                      <a:pt x="1907" y="242"/>
                    </a:lnTo>
                    <a:lnTo>
                      <a:pt x="1907" y="236"/>
                    </a:lnTo>
                    <a:lnTo>
                      <a:pt x="1900" y="230"/>
                    </a:lnTo>
                    <a:lnTo>
                      <a:pt x="1896" y="230"/>
                    </a:lnTo>
                    <a:lnTo>
                      <a:pt x="1896" y="228"/>
                    </a:lnTo>
                    <a:lnTo>
                      <a:pt x="1889" y="223"/>
                    </a:lnTo>
                    <a:lnTo>
                      <a:pt x="1886" y="228"/>
                    </a:lnTo>
                    <a:lnTo>
                      <a:pt x="1886" y="228"/>
                    </a:lnTo>
                    <a:lnTo>
                      <a:pt x="1886" y="223"/>
                    </a:lnTo>
                    <a:lnTo>
                      <a:pt x="1886" y="219"/>
                    </a:lnTo>
                    <a:lnTo>
                      <a:pt x="1884" y="216"/>
                    </a:lnTo>
                    <a:lnTo>
                      <a:pt x="1880" y="212"/>
                    </a:lnTo>
                    <a:lnTo>
                      <a:pt x="1880" y="210"/>
                    </a:lnTo>
                    <a:lnTo>
                      <a:pt x="1879" y="203"/>
                    </a:lnTo>
                    <a:lnTo>
                      <a:pt x="1874" y="200"/>
                    </a:lnTo>
                    <a:lnTo>
                      <a:pt x="1874" y="200"/>
                    </a:lnTo>
                    <a:lnTo>
                      <a:pt x="1880" y="200"/>
                    </a:lnTo>
                    <a:lnTo>
                      <a:pt x="1884" y="200"/>
                    </a:lnTo>
                    <a:lnTo>
                      <a:pt x="1893" y="200"/>
                    </a:lnTo>
                    <a:lnTo>
                      <a:pt x="1901" y="200"/>
                    </a:lnTo>
                    <a:lnTo>
                      <a:pt x="1901" y="197"/>
                    </a:lnTo>
                    <a:lnTo>
                      <a:pt x="1905" y="197"/>
                    </a:lnTo>
                    <a:lnTo>
                      <a:pt x="1908" y="200"/>
                    </a:lnTo>
                    <a:lnTo>
                      <a:pt x="1912" y="197"/>
                    </a:lnTo>
                    <a:lnTo>
                      <a:pt x="1913" y="197"/>
                    </a:lnTo>
                    <a:lnTo>
                      <a:pt x="1913" y="195"/>
                    </a:lnTo>
                    <a:lnTo>
                      <a:pt x="1919" y="195"/>
                    </a:lnTo>
                    <a:lnTo>
                      <a:pt x="1920" y="197"/>
                    </a:lnTo>
                    <a:lnTo>
                      <a:pt x="1922" y="197"/>
                    </a:lnTo>
                    <a:lnTo>
                      <a:pt x="1924" y="191"/>
                    </a:lnTo>
                    <a:lnTo>
                      <a:pt x="1927" y="191"/>
                    </a:lnTo>
                    <a:lnTo>
                      <a:pt x="1927" y="190"/>
                    </a:lnTo>
                    <a:lnTo>
                      <a:pt x="1940" y="186"/>
                    </a:lnTo>
                    <a:lnTo>
                      <a:pt x="1943" y="190"/>
                    </a:lnTo>
                    <a:lnTo>
                      <a:pt x="1943" y="186"/>
                    </a:lnTo>
                    <a:lnTo>
                      <a:pt x="1945" y="184"/>
                    </a:lnTo>
                    <a:lnTo>
                      <a:pt x="1946" y="184"/>
                    </a:lnTo>
                    <a:lnTo>
                      <a:pt x="1952" y="184"/>
                    </a:lnTo>
                    <a:lnTo>
                      <a:pt x="1953" y="184"/>
                    </a:lnTo>
                    <a:lnTo>
                      <a:pt x="1957" y="186"/>
                    </a:lnTo>
                    <a:lnTo>
                      <a:pt x="1962" y="186"/>
                    </a:lnTo>
                    <a:lnTo>
                      <a:pt x="1966" y="184"/>
                    </a:lnTo>
                    <a:lnTo>
                      <a:pt x="1967" y="188"/>
                    </a:lnTo>
                    <a:lnTo>
                      <a:pt x="1971" y="188"/>
                    </a:lnTo>
                    <a:lnTo>
                      <a:pt x="1973" y="186"/>
                    </a:lnTo>
                    <a:lnTo>
                      <a:pt x="1978" y="184"/>
                    </a:lnTo>
                    <a:lnTo>
                      <a:pt x="1990" y="190"/>
                    </a:lnTo>
                    <a:lnTo>
                      <a:pt x="1993" y="191"/>
                    </a:lnTo>
                    <a:lnTo>
                      <a:pt x="1995" y="190"/>
                    </a:lnTo>
                    <a:lnTo>
                      <a:pt x="1993" y="190"/>
                    </a:lnTo>
                    <a:lnTo>
                      <a:pt x="1997" y="188"/>
                    </a:lnTo>
                    <a:lnTo>
                      <a:pt x="2000" y="190"/>
                    </a:lnTo>
                    <a:lnTo>
                      <a:pt x="1999" y="191"/>
                    </a:lnTo>
                    <a:lnTo>
                      <a:pt x="2000" y="191"/>
                    </a:lnTo>
                    <a:lnTo>
                      <a:pt x="2004" y="191"/>
                    </a:lnTo>
                    <a:lnTo>
                      <a:pt x="2016" y="191"/>
                    </a:lnTo>
                    <a:lnTo>
                      <a:pt x="2026" y="200"/>
                    </a:lnTo>
                    <a:lnTo>
                      <a:pt x="2026" y="200"/>
                    </a:lnTo>
                    <a:lnTo>
                      <a:pt x="2023" y="200"/>
                    </a:lnTo>
                    <a:lnTo>
                      <a:pt x="2016" y="197"/>
                    </a:lnTo>
                    <a:lnTo>
                      <a:pt x="2016" y="200"/>
                    </a:lnTo>
                    <a:lnTo>
                      <a:pt x="2026" y="202"/>
                    </a:lnTo>
                    <a:lnTo>
                      <a:pt x="2032" y="202"/>
                    </a:lnTo>
                    <a:lnTo>
                      <a:pt x="2033" y="200"/>
                    </a:lnTo>
                    <a:lnTo>
                      <a:pt x="2039" y="200"/>
                    </a:lnTo>
                    <a:lnTo>
                      <a:pt x="2044" y="200"/>
                    </a:lnTo>
                    <a:lnTo>
                      <a:pt x="2040" y="197"/>
                    </a:lnTo>
                    <a:lnTo>
                      <a:pt x="2044" y="197"/>
                    </a:lnTo>
                    <a:lnTo>
                      <a:pt x="2046" y="197"/>
                    </a:lnTo>
                    <a:lnTo>
                      <a:pt x="2049" y="200"/>
                    </a:lnTo>
                    <a:lnTo>
                      <a:pt x="2051" y="200"/>
                    </a:lnTo>
                    <a:lnTo>
                      <a:pt x="2052" y="200"/>
                    </a:lnTo>
                    <a:lnTo>
                      <a:pt x="2052" y="197"/>
                    </a:lnTo>
                    <a:lnTo>
                      <a:pt x="2058" y="200"/>
                    </a:lnTo>
                    <a:lnTo>
                      <a:pt x="2058" y="200"/>
                    </a:lnTo>
                    <a:lnTo>
                      <a:pt x="2063" y="202"/>
                    </a:lnTo>
                    <a:lnTo>
                      <a:pt x="2066" y="200"/>
                    </a:lnTo>
                    <a:lnTo>
                      <a:pt x="2082" y="203"/>
                    </a:lnTo>
                    <a:lnTo>
                      <a:pt x="2080" y="200"/>
                    </a:lnTo>
                    <a:lnTo>
                      <a:pt x="2085" y="200"/>
                    </a:lnTo>
                    <a:lnTo>
                      <a:pt x="2085" y="203"/>
                    </a:lnTo>
                    <a:lnTo>
                      <a:pt x="2089" y="205"/>
                    </a:lnTo>
                    <a:lnTo>
                      <a:pt x="2089" y="202"/>
                    </a:lnTo>
                    <a:lnTo>
                      <a:pt x="2089" y="200"/>
                    </a:lnTo>
                    <a:lnTo>
                      <a:pt x="2094" y="202"/>
                    </a:lnTo>
                    <a:lnTo>
                      <a:pt x="2094" y="203"/>
                    </a:lnTo>
                    <a:lnTo>
                      <a:pt x="2098" y="207"/>
                    </a:lnTo>
                    <a:lnTo>
                      <a:pt x="2101" y="205"/>
                    </a:lnTo>
                    <a:lnTo>
                      <a:pt x="2101" y="203"/>
                    </a:lnTo>
                    <a:lnTo>
                      <a:pt x="2099" y="203"/>
                    </a:lnTo>
                    <a:lnTo>
                      <a:pt x="2105" y="203"/>
                    </a:lnTo>
                    <a:lnTo>
                      <a:pt x="2108" y="203"/>
                    </a:lnTo>
                    <a:lnTo>
                      <a:pt x="2106" y="207"/>
                    </a:lnTo>
                    <a:lnTo>
                      <a:pt x="2108" y="210"/>
                    </a:lnTo>
                    <a:lnTo>
                      <a:pt x="2117" y="212"/>
                    </a:lnTo>
                    <a:lnTo>
                      <a:pt x="2120" y="210"/>
                    </a:lnTo>
                    <a:lnTo>
                      <a:pt x="2113" y="209"/>
                    </a:lnTo>
                    <a:lnTo>
                      <a:pt x="2112" y="207"/>
                    </a:lnTo>
                    <a:lnTo>
                      <a:pt x="2108" y="203"/>
                    </a:lnTo>
                    <a:lnTo>
                      <a:pt x="2113" y="203"/>
                    </a:lnTo>
                    <a:lnTo>
                      <a:pt x="2117" y="203"/>
                    </a:lnTo>
                    <a:lnTo>
                      <a:pt x="2124" y="207"/>
                    </a:lnTo>
                    <a:lnTo>
                      <a:pt x="2125" y="212"/>
                    </a:lnTo>
                    <a:lnTo>
                      <a:pt x="2127" y="212"/>
                    </a:lnTo>
                    <a:lnTo>
                      <a:pt x="2127" y="210"/>
                    </a:lnTo>
                    <a:lnTo>
                      <a:pt x="2127" y="209"/>
                    </a:lnTo>
                    <a:lnTo>
                      <a:pt x="2131" y="209"/>
                    </a:lnTo>
                    <a:lnTo>
                      <a:pt x="2132" y="210"/>
                    </a:lnTo>
                    <a:lnTo>
                      <a:pt x="2132" y="212"/>
                    </a:lnTo>
                    <a:lnTo>
                      <a:pt x="2136" y="217"/>
                    </a:lnTo>
                    <a:lnTo>
                      <a:pt x="2139" y="228"/>
                    </a:lnTo>
                    <a:lnTo>
                      <a:pt x="2148" y="228"/>
                    </a:lnTo>
                    <a:lnTo>
                      <a:pt x="2148" y="231"/>
                    </a:lnTo>
                    <a:lnTo>
                      <a:pt x="2150" y="235"/>
                    </a:lnTo>
                    <a:lnTo>
                      <a:pt x="2152" y="238"/>
                    </a:lnTo>
                    <a:lnTo>
                      <a:pt x="2150" y="240"/>
                    </a:lnTo>
                    <a:lnTo>
                      <a:pt x="2152" y="243"/>
                    </a:lnTo>
                    <a:lnTo>
                      <a:pt x="2155" y="245"/>
                    </a:lnTo>
                    <a:lnTo>
                      <a:pt x="2158" y="242"/>
                    </a:lnTo>
                    <a:lnTo>
                      <a:pt x="2162" y="243"/>
                    </a:lnTo>
                    <a:lnTo>
                      <a:pt x="2165" y="247"/>
                    </a:lnTo>
                    <a:lnTo>
                      <a:pt x="2167" y="247"/>
                    </a:lnTo>
                    <a:lnTo>
                      <a:pt x="2167" y="247"/>
                    </a:lnTo>
                    <a:lnTo>
                      <a:pt x="2167" y="247"/>
                    </a:lnTo>
                    <a:lnTo>
                      <a:pt x="2167" y="243"/>
                    </a:lnTo>
                    <a:lnTo>
                      <a:pt x="2167" y="240"/>
                    </a:lnTo>
                    <a:lnTo>
                      <a:pt x="2171" y="242"/>
                    </a:lnTo>
                    <a:lnTo>
                      <a:pt x="2172" y="245"/>
                    </a:lnTo>
                    <a:lnTo>
                      <a:pt x="2174" y="247"/>
                    </a:lnTo>
                    <a:lnTo>
                      <a:pt x="2174" y="247"/>
                    </a:lnTo>
                    <a:lnTo>
                      <a:pt x="2172" y="242"/>
                    </a:lnTo>
                    <a:lnTo>
                      <a:pt x="2172" y="238"/>
                    </a:lnTo>
                    <a:lnTo>
                      <a:pt x="2171" y="235"/>
                    </a:lnTo>
                    <a:lnTo>
                      <a:pt x="2167" y="238"/>
                    </a:lnTo>
                    <a:lnTo>
                      <a:pt x="2162" y="238"/>
                    </a:lnTo>
                    <a:lnTo>
                      <a:pt x="2160" y="235"/>
                    </a:lnTo>
                    <a:lnTo>
                      <a:pt x="2162" y="233"/>
                    </a:lnTo>
                    <a:lnTo>
                      <a:pt x="2162" y="228"/>
                    </a:lnTo>
                    <a:lnTo>
                      <a:pt x="2155" y="224"/>
                    </a:lnTo>
                    <a:lnTo>
                      <a:pt x="2153" y="223"/>
                    </a:lnTo>
                    <a:lnTo>
                      <a:pt x="2152" y="219"/>
                    </a:lnTo>
                    <a:lnTo>
                      <a:pt x="2148" y="219"/>
                    </a:lnTo>
                    <a:lnTo>
                      <a:pt x="2143" y="223"/>
                    </a:lnTo>
                    <a:lnTo>
                      <a:pt x="2143" y="219"/>
                    </a:lnTo>
                    <a:lnTo>
                      <a:pt x="2148" y="217"/>
                    </a:lnTo>
                    <a:lnTo>
                      <a:pt x="2150" y="212"/>
                    </a:lnTo>
                    <a:lnTo>
                      <a:pt x="2155" y="205"/>
                    </a:lnTo>
                    <a:lnTo>
                      <a:pt x="2157" y="205"/>
                    </a:lnTo>
                    <a:lnTo>
                      <a:pt x="2157" y="207"/>
                    </a:lnTo>
                    <a:lnTo>
                      <a:pt x="2158" y="214"/>
                    </a:lnTo>
                    <a:lnTo>
                      <a:pt x="2162" y="216"/>
                    </a:lnTo>
                    <a:lnTo>
                      <a:pt x="2162" y="214"/>
                    </a:lnTo>
                    <a:lnTo>
                      <a:pt x="2160" y="210"/>
                    </a:lnTo>
                    <a:lnTo>
                      <a:pt x="2158" y="207"/>
                    </a:lnTo>
                    <a:lnTo>
                      <a:pt x="2160" y="207"/>
                    </a:lnTo>
                    <a:lnTo>
                      <a:pt x="2165" y="205"/>
                    </a:lnTo>
                    <a:lnTo>
                      <a:pt x="2167" y="202"/>
                    </a:lnTo>
                    <a:lnTo>
                      <a:pt x="2162" y="202"/>
                    </a:lnTo>
                    <a:lnTo>
                      <a:pt x="2162" y="200"/>
                    </a:lnTo>
                    <a:lnTo>
                      <a:pt x="2165" y="200"/>
                    </a:lnTo>
                    <a:lnTo>
                      <a:pt x="2167" y="200"/>
                    </a:lnTo>
                    <a:lnTo>
                      <a:pt x="2171" y="195"/>
                    </a:lnTo>
                    <a:lnTo>
                      <a:pt x="2174" y="195"/>
                    </a:lnTo>
                    <a:lnTo>
                      <a:pt x="2176" y="197"/>
                    </a:lnTo>
                    <a:lnTo>
                      <a:pt x="2178" y="197"/>
                    </a:lnTo>
                    <a:lnTo>
                      <a:pt x="2179" y="197"/>
                    </a:lnTo>
                    <a:lnTo>
                      <a:pt x="2181" y="200"/>
                    </a:lnTo>
                    <a:lnTo>
                      <a:pt x="2185" y="200"/>
                    </a:lnTo>
                    <a:lnTo>
                      <a:pt x="2190" y="202"/>
                    </a:lnTo>
                    <a:lnTo>
                      <a:pt x="2190" y="200"/>
                    </a:lnTo>
                    <a:lnTo>
                      <a:pt x="2202" y="202"/>
                    </a:lnTo>
                    <a:lnTo>
                      <a:pt x="2202" y="207"/>
                    </a:lnTo>
                    <a:lnTo>
                      <a:pt x="2202" y="209"/>
                    </a:lnTo>
                    <a:lnTo>
                      <a:pt x="2204" y="207"/>
                    </a:lnTo>
                    <a:lnTo>
                      <a:pt x="2204" y="205"/>
                    </a:lnTo>
                    <a:lnTo>
                      <a:pt x="2207" y="205"/>
                    </a:lnTo>
                    <a:lnTo>
                      <a:pt x="2207" y="209"/>
                    </a:lnTo>
                    <a:lnTo>
                      <a:pt x="2211" y="207"/>
                    </a:lnTo>
                    <a:lnTo>
                      <a:pt x="2212" y="203"/>
                    </a:lnTo>
                    <a:lnTo>
                      <a:pt x="2216" y="203"/>
                    </a:lnTo>
                    <a:lnTo>
                      <a:pt x="2216" y="207"/>
                    </a:lnTo>
                    <a:lnTo>
                      <a:pt x="2212" y="210"/>
                    </a:lnTo>
                    <a:lnTo>
                      <a:pt x="2212" y="212"/>
                    </a:lnTo>
                    <a:lnTo>
                      <a:pt x="2216" y="219"/>
                    </a:lnTo>
                    <a:lnTo>
                      <a:pt x="2216" y="224"/>
                    </a:lnTo>
                    <a:lnTo>
                      <a:pt x="2216" y="228"/>
                    </a:lnTo>
                    <a:lnTo>
                      <a:pt x="2218" y="228"/>
                    </a:lnTo>
                    <a:lnTo>
                      <a:pt x="2221" y="230"/>
                    </a:lnTo>
                    <a:lnTo>
                      <a:pt x="2225" y="231"/>
                    </a:lnTo>
                    <a:lnTo>
                      <a:pt x="2226" y="235"/>
                    </a:lnTo>
                    <a:lnTo>
                      <a:pt x="2225" y="238"/>
                    </a:lnTo>
                    <a:lnTo>
                      <a:pt x="2218" y="238"/>
                    </a:lnTo>
                    <a:lnTo>
                      <a:pt x="2212" y="238"/>
                    </a:lnTo>
                    <a:lnTo>
                      <a:pt x="2221" y="240"/>
                    </a:lnTo>
                    <a:lnTo>
                      <a:pt x="2225" y="243"/>
                    </a:lnTo>
                    <a:lnTo>
                      <a:pt x="2221" y="247"/>
                    </a:lnTo>
                    <a:lnTo>
                      <a:pt x="2218" y="247"/>
                    </a:lnTo>
                    <a:lnTo>
                      <a:pt x="2216" y="252"/>
                    </a:lnTo>
                    <a:lnTo>
                      <a:pt x="2212" y="250"/>
                    </a:lnTo>
                    <a:lnTo>
                      <a:pt x="2209" y="256"/>
                    </a:lnTo>
                    <a:lnTo>
                      <a:pt x="2205" y="256"/>
                    </a:lnTo>
                    <a:lnTo>
                      <a:pt x="2202" y="259"/>
                    </a:lnTo>
                    <a:lnTo>
                      <a:pt x="2205" y="256"/>
                    </a:lnTo>
                    <a:lnTo>
                      <a:pt x="2209" y="259"/>
                    </a:lnTo>
                    <a:lnTo>
                      <a:pt x="2211" y="261"/>
                    </a:lnTo>
                    <a:lnTo>
                      <a:pt x="2212" y="259"/>
                    </a:lnTo>
                    <a:lnTo>
                      <a:pt x="2216" y="259"/>
                    </a:lnTo>
                    <a:lnTo>
                      <a:pt x="2216" y="261"/>
                    </a:lnTo>
                    <a:lnTo>
                      <a:pt x="2218" y="266"/>
                    </a:lnTo>
                    <a:lnTo>
                      <a:pt x="2216" y="268"/>
                    </a:lnTo>
                    <a:lnTo>
                      <a:pt x="2216" y="273"/>
                    </a:lnTo>
                    <a:lnTo>
                      <a:pt x="2218" y="268"/>
                    </a:lnTo>
                    <a:lnTo>
                      <a:pt x="2225" y="268"/>
                    </a:lnTo>
                    <a:lnTo>
                      <a:pt x="2228" y="271"/>
                    </a:lnTo>
                    <a:lnTo>
                      <a:pt x="2226" y="275"/>
                    </a:lnTo>
                    <a:lnTo>
                      <a:pt x="2230" y="278"/>
                    </a:lnTo>
                    <a:lnTo>
                      <a:pt x="2225" y="282"/>
                    </a:lnTo>
                    <a:lnTo>
                      <a:pt x="2228" y="282"/>
                    </a:lnTo>
                    <a:lnTo>
                      <a:pt x="2228" y="287"/>
                    </a:lnTo>
                    <a:lnTo>
                      <a:pt x="2225" y="289"/>
                    </a:lnTo>
                    <a:lnTo>
                      <a:pt x="2225" y="292"/>
                    </a:lnTo>
                    <a:lnTo>
                      <a:pt x="2226" y="294"/>
                    </a:lnTo>
                    <a:lnTo>
                      <a:pt x="2226" y="290"/>
                    </a:lnTo>
                    <a:lnTo>
                      <a:pt x="2230" y="290"/>
                    </a:lnTo>
                    <a:lnTo>
                      <a:pt x="2231" y="292"/>
                    </a:lnTo>
                    <a:lnTo>
                      <a:pt x="2230" y="297"/>
                    </a:lnTo>
                    <a:lnTo>
                      <a:pt x="2235" y="296"/>
                    </a:lnTo>
                    <a:lnTo>
                      <a:pt x="2237" y="299"/>
                    </a:lnTo>
                    <a:lnTo>
                      <a:pt x="2237" y="296"/>
                    </a:lnTo>
                    <a:lnTo>
                      <a:pt x="2238" y="294"/>
                    </a:lnTo>
                    <a:lnTo>
                      <a:pt x="2240" y="296"/>
                    </a:lnTo>
                    <a:lnTo>
                      <a:pt x="2244" y="296"/>
                    </a:lnTo>
                    <a:lnTo>
                      <a:pt x="2244" y="301"/>
                    </a:lnTo>
                    <a:lnTo>
                      <a:pt x="2240" y="303"/>
                    </a:lnTo>
                    <a:lnTo>
                      <a:pt x="2238" y="299"/>
                    </a:lnTo>
                    <a:lnTo>
                      <a:pt x="2237" y="303"/>
                    </a:lnTo>
                    <a:lnTo>
                      <a:pt x="2240" y="306"/>
                    </a:lnTo>
                    <a:lnTo>
                      <a:pt x="2244" y="304"/>
                    </a:lnTo>
                    <a:lnTo>
                      <a:pt x="2244" y="310"/>
                    </a:lnTo>
                    <a:lnTo>
                      <a:pt x="2244" y="311"/>
                    </a:lnTo>
                    <a:lnTo>
                      <a:pt x="2240" y="313"/>
                    </a:lnTo>
                    <a:lnTo>
                      <a:pt x="2237" y="310"/>
                    </a:lnTo>
                    <a:lnTo>
                      <a:pt x="2235" y="306"/>
                    </a:lnTo>
                    <a:lnTo>
                      <a:pt x="2237" y="313"/>
                    </a:lnTo>
                    <a:lnTo>
                      <a:pt x="2235" y="315"/>
                    </a:lnTo>
                    <a:lnTo>
                      <a:pt x="2233" y="315"/>
                    </a:lnTo>
                    <a:lnTo>
                      <a:pt x="2231" y="313"/>
                    </a:lnTo>
                    <a:lnTo>
                      <a:pt x="2230" y="315"/>
                    </a:lnTo>
                    <a:lnTo>
                      <a:pt x="2226" y="313"/>
                    </a:lnTo>
                    <a:lnTo>
                      <a:pt x="2218" y="311"/>
                    </a:lnTo>
                    <a:lnTo>
                      <a:pt x="2216" y="313"/>
                    </a:lnTo>
                    <a:lnTo>
                      <a:pt x="2212" y="313"/>
                    </a:lnTo>
                    <a:lnTo>
                      <a:pt x="2212" y="311"/>
                    </a:lnTo>
                    <a:lnTo>
                      <a:pt x="2212" y="310"/>
                    </a:lnTo>
                    <a:lnTo>
                      <a:pt x="2211" y="310"/>
                    </a:lnTo>
                    <a:lnTo>
                      <a:pt x="2211" y="313"/>
                    </a:lnTo>
                    <a:lnTo>
                      <a:pt x="2209" y="313"/>
                    </a:lnTo>
                    <a:lnTo>
                      <a:pt x="2209" y="313"/>
                    </a:lnTo>
                    <a:lnTo>
                      <a:pt x="2211" y="316"/>
                    </a:lnTo>
                    <a:lnTo>
                      <a:pt x="2207" y="320"/>
                    </a:lnTo>
                    <a:lnTo>
                      <a:pt x="2205" y="320"/>
                    </a:lnTo>
                    <a:lnTo>
                      <a:pt x="2205" y="318"/>
                    </a:lnTo>
                    <a:lnTo>
                      <a:pt x="2204" y="318"/>
                    </a:lnTo>
                    <a:lnTo>
                      <a:pt x="2197" y="320"/>
                    </a:lnTo>
                    <a:lnTo>
                      <a:pt x="2195" y="318"/>
                    </a:lnTo>
                    <a:lnTo>
                      <a:pt x="2195" y="316"/>
                    </a:lnTo>
                    <a:lnTo>
                      <a:pt x="2193" y="311"/>
                    </a:lnTo>
                    <a:lnTo>
                      <a:pt x="2193" y="311"/>
                    </a:lnTo>
                    <a:lnTo>
                      <a:pt x="2185" y="306"/>
                    </a:lnTo>
                    <a:lnTo>
                      <a:pt x="2185" y="304"/>
                    </a:lnTo>
                    <a:lnTo>
                      <a:pt x="2185" y="303"/>
                    </a:lnTo>
                    <a:lnTo>
                      <a:pt x="2179" y="301"/>
                    </a:lnTo>
                    <a:lnTo>
                      <a:pt x="2178" y="304"/>
                    </a:lnTo>
                    <a:lnTo>
                      <a:pt x="2172" y="306"/>
                    </a:lnTo>
                    <a:lnTo>
                      <a:pt x="2171" y="310"/>
                    </a:lnTo>
                    <a:lnTo>
                      <a:pt x="2167" y="310"/>
                    </a:lnTo>
                    <a:lnTo>
                      <a:pt x="2167" y="306"/>
                    </a:lnTo>
                    <a:lnTo>
                      <a:pt x="2165" y="303"/>
                    </a:lnTo>
                    <a:lnTo>
                      <a:pt x="2167" y="306"/>
                    </a:lnTo>
                    <a:lnTo>
                      <a:pt x="2167" y="311"/>
                    </a:lnTo>
                    <a:lnTo>
                      <a:pt x="2167" y="315"/>
                    </a:lnTo>
                    <a:lnTo>
                      <a:pt x="2167" y="320"/>
                    </a:lnTo>
                    <a:lnTo>
                      <a:pt x="2160" y="329"/>
                    </a:lnTo>
                    <a:lnTo>
                      <a:pt x="2157" y="329"/>
                    </a:lnTo>
                    <a:lnTo>
                      <a:pt x="2157" y="322"/>
                    </a:lnTo>
                    <a:lnTo>
                      <a:pt x="2153" y="320"/>
                    </a:lnTo>
                    <a:lnTo>
                      <a:pt x="2150" y="323"/>
                    </a:lnTo>
                    <a:lnTo>
                      <a:pt x="2143" y="316"/>
                    </a:lnTo>
                    <a:lnTo>
                      <a:pt x="2143" y="313"/>
                    </a:lnTo>
                    <a:lnTo>
                      <a:pt x="2139" y="306"/>
                    </a:lnTo>
                    <a:lnTo>
                      <a:pt x="2138" y="304"/>
                    </a:lnTo>
                    <a:lnTo>
                      <a:pt x="2136" y="303"/>
                    </a:lnTo>
                    <a:lnTo>
                      <a:pt x="2134" y="301"/>
                    </a:lnTo>
                    <a:lnTo>
                      <a:pt x="2132" y="303"/>
                    </a:lnTo>
                    <a:lnTo>
                      <a:pt x="2134" y="304"/>
                    </a:lnTo>
                    <a:lnTo>
                      <a:pt x="2134" y="306"/>
                    </a:lnTo>
                    <a:lnTo>
                      <a:pt x="2136" y="310"/>
                    </a:lnTo>
                    <a:lnTo>
                      <a:pt x="2136" y="311"/>
                    </a:lnTo>
                    <a:lnTo>
                      <a:pt x="2129" y="310"/>
                    </a:lnTo>
                    <a:lnTo>
                      <a:pt x="2125" y="304"/>
                    </a:lnTo>
                    <a:lnTo>
                      <a:pt x="2124" y="304"/>
                    </a:lnTo>
                    <a:lnTo>
                      <a:pt x="2127" y="310"/>
                    </a:lnTo>
                    <a:lnTo>
                      <a:pt x="2124" y="310"/>
                    </a:lnTo>
                    <a:lnTo>
                      <a:pt x="2125" y="311"/>
                    </a:lnTo>
                    <a:lnTo>
                      <a:pt x="2131" y="311"/>
                    </a:lnTo>
                    <a:lnTo>
                      <a:pt x="2132" y="315"/>
                    </a:lnTo>
                    <a:lnTo>
                      <a:pt x="2131" y="318"/>
                    </a:lnTo>
                    <a:lnTo>
                      <a:pt x="2125" y="318"/>
                    </a:lnTo>
                    <a:lnTo>
                      <a:pt x="2125" y="320"/>
                    </a:lnTo>
                    <a:lnTo>
                      <a:pt x="2127" y="322"/>
                    </a:lnTo>
                    <a:lnTo>
                      <a:pt x="2138" y="334"/>
                    </a:lnTo>
                    <a:lnTo>
                      <a:pt x="2143" y="334"/>
                    </a:lnTo>
                    <a:lnTo>
                      <a:pt x="2148" y="334"/>
                    </a:lnTo>
                    <a:lnTo>
                      <a:pt x="2152" y="337"/>
                    </a:lnTo>
                    <a:lnTo>
                      <a:pt x="2153" y="339"/>
                    </a:lnTo>
                    <a:lnTo>
                      <a:pt x="2153" y="339"/>
                    </a:lnTo>
                    <a:lnTo>
                      <a:pt x="2150" y="337"/>
                    </a:lnTo>
                    <a:lnTo>
                      <a:pt x="2148" y="337"/>
                    </a:lnTo>
                    <a:lnTo>
                      <a:pt x="2150" y="341"/>
                    </a:lnTo>
                    <a:lnTo>
                      <a:pt x="2155" y="344"/>
                    </a:lnTo>
                    <a:lnTo>
                      <a:pt x="2157" y="350"/>
                    </a:lnTo>
                    <a:lnTo>
                      <a:pt x="2160" y="353"/>
                    </a:lnTo>
                    <a:lnTo>
                      <a:pt x="2160" y="360"/>
                    </a:lnTo>
                    <a:lnTo>
                      <a:pt x="2157" y="372"/>
                    </a:lnTo>
                    <a:lnTo>
                      <a:pt x="2158" y="379"/>
                    </a:lnTo>
                    <a:lnTo>
                      <a:pt x="2158" y="383"/>
                    </a:lnTo>
                    <a:lnTo>
                      <a:pt x="2160" y="386"/>
                    </a:lnTo>
                    <a:lnTo>
                      <a:pt x="2155" y="391"/>
                    </a:lnTo>
                    <a:lnTo>
                      <a:pt x="2155" y="396"/>
                    </a:lnTo>
                    <a:lnTo>
                      <a:pt x="2152" y="398"/>
                    </a:lnTo>
                    <a:lnTo>
                      <a:pt x="2153" y="396"/>
                    </a:lnTo>
                    <a:lnTo>
                      <a:pt x="2152" y="393"/>
                    </a:lnTo>
                    <a:lnTo>
                      <a:pt x="2145" y="400"/>
                    </a:lnTo>
                    <a:lnTo>
                      <a:pt x="2143" y="396"/>
                    </a:lnTo>
                    <a:lnTo>
                      <a:pt x="2139" y="400"/>
                    </a:lnTo>
                    <a:lnTo>
                      <a:pt x="2138" y="398"/>
                    </a:lnTo>
                    <a:lnTo>
                      <a:pt x="2136" y="396"/>
                    </a:lnTo>
                    <a:lnTo>
                      <a:pt x="2131" y="396"/>
                    </a:lnTo>
                    <a:lnTo>
                      <a:pt x="2125" y="391"/>
                    </a:lnTo>
                    <a:lnTo>
                      <a:pt x="2122" y="388"/>
                    </a:lnTo>
                    <a:lnTo>
                      <a:pt x="2117" y="388"/>
                    </a:lnTo>
                    <a:lnTo>
                      <a:pt x="2115" y="386"/>
                    </a:lnTo>
                    <a:lnTo>
                      <a:pt x="2113" y="386"/>
                    </a:lnTo>
                    <a:lnTo>
                      <a:pt x="2108" y="391"/>
                    </a:lnTo>
                    <a:lnTo>
                      <a:pt x="2105" y="391"/>
                    </a:lnTo>
                    <a:lnTo>
                      <a:pt x="2108" y="391"/>
                    </a:lnTo>
                    <a:lnTo>
                      <a:pt x="2115" y="391"/>
                    </a:lnTo>
                    <a:lnTo>
                      <a:pt x="2117" y="388"/>
                    </a:lnTo>
                    <a:lnTo>
                      <a:pt x="2125" y="391"/>
                    </a:lnTo>
                    <a:lnTo>
                      <a:pt x="2127" y="396"/>
                    </a:lnTo>
                    <a:lnTo>
                      <a:pt x="2122" y="398"/>
                    </a:lnTo>
                    <a:lnTo>
                      <a:pt x="2120" y="396"/>
                    </a:lnTo>
                    <a:lnTo>
                      <a:pt x="2117" y="396"/>
                    </a:lnTo>
                    <a:lnTo>
                      <a:pt x="2117" y="400"/>
                    </a:lnTo>
                    <a:lnTo>
                      <a:pt x="2113" y="396"/>
                    </a:lnTo>
                    <a:lnTo>
                      <a:pt x="2108" y="396"/>
                    </a:lnTo>
                    <a:lnTo>
                      <a:pt x="2112" y="396"/>
                    </a:lnTo>
                    <a:lnTo>
                      <a:pt x="2113" y="402"/>
                    </a:lnTo>
                    <a:lnTo>
                      <a:pt x="2117" y="403"/>
                    </a:lnTo>
                    <a:lnTo>
                      <a:pt x="2117" y="409"/>
                    </a:lnTo>
                    <a:lnTo>
                      <a:pt x="2117" y="416"/>
                    </a:lnTo>
                    <a:lnTo>
                      <a:pt x="2120" y="416"/>
                    </a:lnTo>
                    <a:lnTo>
                      <a:pt x="2120" y="416"/>
                    </a:lnTo>
                    <a:lnTo>
                      <a:pt x="2120" y="409"/>
                    </a:lnTo>
                    <a:lnTo>
                      <a:pt x="2122" y="407"/>
                    </a:lnTo>
                    <a:lnTo>
                      <a:pt x="2125" y="407"/>
                    </a:lnTo>
                    <a:lnTo>
                      <a:pt x="2125" y="405"/>
                    </a:lnTo>
                    <a:lnTo>
                      <a:pt x="2131" y="400"/>
                    </a:lnTo>
                    <a:lnTo>
                      <a:pt x="2134" y="400"/>
                    </a:lnTo>
                    <a:lnTo>
                      <a:pt x="2136" y="402"/>
                    </a:lnTo>
                    <a:lnTo>
                      <a:pt x="2136" y="403"/>
                    </a:lnTo>
                    <a:lnTo>
                      <a:pt x="2139" y="410"/>
                    </a:lnTo>
                    <a:lnTo>
                      <a:pt x="2143" y="412"/>
                    </a:lnTo>
                    <a:lnTo>
                      <a:pt x="2148" y="416"/>
                    </a:lnTo>
                    <a:lnTo>
                      <a:pt x="2153" y="416"/>
                    </a:lnTo>
                    <a:lnTo>
                      <a:pt x="2153" y="412"/>
                    </a:lnTo>
                    <a:lnTo>
                      <a:pt x="2153" y="410"/>
                    </a:lnTo>
                    <a:lnTo>
                      <a:pt x="2155" y="410"/>
                    </a:lnTo>
                    <a:lnTo>
                      <a:pt x="2162" y="416"/>
                    </a:lnTo>
                    <a:lnTo>
                      <a:pt x="2165" y="419"/>
                    </a:lnTo>
                    <a:lnTo>
                      <a:pt x="2162" y="419"/>
                    </a:lnTo>
                    <a:lnTo>
                      <a:pt x="2162" y="423"/>
                    </a:lnTo>
                    <a:lnTo>
                      <a:pt x="2167" y="428"/>
                    </a:lnTo>
                    <a:lnTo>
                      <a:pt x="2171" y="428"/>
                    </a:lnTo>
                    <a:lnTo>
                      <a:pt x="2171" y="426"/>
                    </a:lnTo>
                    <a:lnTo>
                      <a:pt x="2171" y="421"/>
                    </a:lnTo>
                    <a:lnTo>
                      <a:pt x="2174" y="426"/>
                    </a:lnTo>
                    <a:lnTo>
                      <a:pt x="2181" y="436"/>
                    </a:lnTo>
                    <a:lnTo>
                      <a:pt x="2179" y="435"/>
                    </a:lnTo>
                    <a:lnTo>
                      <a:pt x="2178" y="435"/>
                    </a:lnTo>
                    <a:lnTo>
                      <a:pt x="2176" y="435"/>
                    </a:lnTo>
                    <a:lnTo>
                      <a:pt x="2179" y="438"/>
                    </a:lnTo>
                    <a:lnTo>
                      <a:pt x="2176" y="442"/>
                    </a:lnTo>
                    <a:lnTo>
                      <a:pt x="2174" y="443"/>
                    </a:lnTo>
                    <a:lnTo>
                      <a:pt x="2176" y="447"/>
                    </a:lnTo>
                    <a:lnTo>
                      <a:pt x="2179" y="447"/>
                    </a:lnTo>
                    <a:lnTo>
                      <a:pt x="2181" y="443"/>
                    </a:lnTo>
                    <a:lnTo>
                      <a:pt x="2181" y="442"/>
                    </a:lnTo>
                    <a:lnTo>
                      <a:pt x="2185" y="443"/>
                    </a:lnTo>
                    <a:lnTo>
                      <a:pt x="2185" y="438"/>
                    </a:lnTo>
                    <a:lnTo>
                      <a:pt x="2188" y="443"/>
                    </a:lnTo>
                    <a:lnTo>
                      <a:pt x="2195" y="450"/>
                    </a:lnTo>
                    <a:lnTo>
                      <a:pt x="2204" y="450"/>
                    </a:lnTo>
                    <a:lnTo>
                      <a:pt x="2207" y="454"/>
                    </a:lnTo>
                    <a:lnTo>
                      <a:pt x="2205" y="457"/>
                    </a:lnTo>
                    <a:lnTo>
                      <a:pt x="2211" y="464"/>
                    </a:lnTo>
                    <a:lnTo>
                      <a:pt x="2212" y="464"/>
                    </a:lnTo>
                    <a:lnTo>
                      <a:pt x="2218" y="473"/>
                    </a:lnTo>
                    <a:lnTo>
                      <a:pt x="2218" y="482"/>
                    </a:lnTo>
                    <a:lnTo>
                      <a:pt x="2216" y="482"/>
                    </a:lnTo>
                    <a:lnTo>
                      <a:pt x="2216" y="483"/>
                    </a:lnTo>
                    <a:lnTo>
                      <a:pt x="2221" y="487"/>
                    </a:lnTo>
                    <a:lnTo>
                      <a:pt x="2221" y="490"/>
                    </a:lnTo>
                    <a:lnTo>
                      <a:pt x="2221" y="492"/>
                    </a:lnTo>
                    <a:lnTo>
                      <a:pt x="2216" y="489"/>
                    </a:lnTo>
                    <a:lnTo>
                      <a:pt x="2205" y="489"/>
                    </a:lnTo>
                    <a:lnTo>
                      <a:pt x="2202" y="487"/>
                    </a:lnTo>
                    <a:lnTo>
                      <a:pt x="2198" y="489"/>
                    </a:lnTo>
                    <a:lnTo>
                      <a:pt x="2195" y="487"/>
                    </a:lnTo>
                    <a:lnTo>
                      <a:pt x="2193" y="485"/>
                    </a:lnTo>
                    <a:lnTo>
                      <a:pt x="2193" y="483"/>
                    </a:lnTo>
                    <a:lnTo>
                      <a:pt x="2193" y="485"/>
                    </a:lnTo>
                    <a:lnTo>
                      <a:pt x="2193" y="487"/>
                    </a:lnTo>
                    <a:lnTo>
                      <a:pt x="2188" y="490"/>
                    </a:lnTo>
                    <a:lnTo>
                      <a:pt x="2185" y="490"/>
                    </a:lnTo>
                    <a:lnTo>
                      <a:pt x="2183" y="492"/>
                    </a:lnTo>
                    <a:lnTo>
                      <a:pt x="2185" y="494"/>
                    </a:lnTo>
                    <a:lnTo>
                      <a:pt x="2179" y="497"/>
                    </a:lnTo>
                    <a:lnTo>
                      <a:pt x="2176" y="497"/>
                    </a:lnTo>
                    <a:lnTo>
                      <a:pt x="2176" y="501"/>
                    </a:lnTo>
                    <a:lnTo>
                      <a:pt x="2178" y="503"/>
                    </a:lnTo>
                    <a:lnTo>
                      <a:pt x="2172" y="509"/>
                    </a:lnTo>
                    <a:lnTo>
                      <a:pt x="2171" y="511"/>
                    </a:lnTo>
                    <a:lnTo>
                      <a:pt x="2171" y="509"/>
                    </a:lnTo>
                    <a:lnTo>
                      <a:pt x="2167" y="509"/>
                    </a:lnTo>
                    <a:lnTo>
                      <a:pt x="2167" y="515"/>
                    </a:lnTo>
                    <a:lnTo>
                      <a:pt x="2171" y="520"/>
                    </a:lnTo>
                    <a:lnTo>
                      <a:pt x="2167" y="523"/>
                    </a:lnTo>
                    <a:lnTo>
                      <a:pt x="2165" y="522"/>
                    </a:lnTo>
                    <a:lnTo>
                      <a:pt x="2162" y="525"/>
                    </a:lnTo>
                    <a:lnTo>
                      <a:pt x="2165" y="529"/>
                    </a:lnTo>
                    <a:lnTo>
                      <a:pt x="2162" y="530"/>
                    </a:lnTo>
                    <a:lnTo>
                      <a:pt x="2158" y="532"/>
                    </a:lnTo>
                    <a:lnTo>
                      <a:pt x="2160" y="534"/>
                    </a:lnTo>
                    <a:lnTo>
                      <a:pt x="2160" y="537"/>
                    </a:lnTo>
                    <a:lnTo>
                      <a:pt x="2158" y="539"/>
                    </a:lnTo>
                    <a:lnTo>
                      <a:pt x="2157" y="537"/>
                    </a:lnTo>
                    <a:lnTo>
                      <a:pt x="2153" y="539"/>
                    </a:lnTo>
                    <a:lnTo>
                      <a:pt x="2155" y="541"/>
                    </a:lnTo>
                    <a:lnTo>
                      <a:pt x="2157" y="544"/>
                    </a:lnTo>
                    <a:lnTo>
                      <a:pt x="2153" y="548"/>
                    </a:lnTo>
                    <a:lnTo>
                      <a:pt x="2155" y="549"/>
                    </a:lnTo>
                    <a:lnTo>
                      <a:pt x="2153" y="553"/>
                    </a:lnTo>
                    <a:lnTo>
                      <a:pt x="2152" y="553"/>
                    </a:lnTo>
                    <a:lnTo>
                      <a:pt x="2150" y="551"/>
                    </a:lnTo>
                    <a:lnTo>
                      <a:pt x="2148" y="553"/>
                    </a:lnTo>
                    <a:lnTo>
                      <a:pt x="2148" y="553"/>
                    </a:lnTo>
                    <a:lnTo>
                      <a:pt x="2153" y="556"/>
                    </a:lnTo>
                    <a:lnTo>
                      <a:pt x="2152" y="560"/>
                    </a:lnTo>
                    <a:lnTo>
                      <a:pt x="2148" y="560"/>
                    </a:lnTo>
                    <a:lnTo>
                      <a:pt x="2148" y="562"/>
                    </a:lnTo>
                    <a:lnTo>
                      <a:pt x="2150" y="565"/>
                    </a:lnTo>
                    <a:lnTo>
                      <a:pt x="2152" y="569"/>
                    </a:lnTo>
                    <a:lnTo>
                      <a:pt x="2150" y="572"/>
                    </a:lnTo>
                    <a:lnTo>
                      <a:pt x="2152" y="574"/>
                    </a:lnTo>
                    <a:lnTo>
                      <a:pt x="2148" y="579"/>
                    </a:lnTo>
                    <a:lnTo>
                      <a:pt x="2148" y="583"/>
                    </a:lnTo>
                    <a:lnTo>
                      <a:pt x="2148" y="588"/>
                    </a:lnTo>
                    <a:lnTo>
                      <a:pt x="2145" y="595"/>
                    </a:lnTo>
                    <a:lnTo>
                      <a:pt x="2143" y="598"/>
                    </a:lnTo>
                    <a:lnTo>
                      <a:pt x="2143" y="602"/>
                    </a:lnTo>
                    <a:lnTo>
                      <a:pt x="2145" y="603"/>
                    </a:lnTo>
                    <a:lnTo>
                      <a:pt x="2148" y="605"/>
                    </a:lnTo>
                    <a:lnTo>
                      <a:pt x="2145" y="607"/>
                    </a:lnTo>
                    <a:lnTo>
                      <a:pt x="2150" y="612"/>
                    </a:lnTo>
                    <a:lnTo>
                      <a:pt x="2150" y="616"/>
                    </a:lnTo>
                    <a:lnTo>
                      <a:pt x="2148" y="616"/>
                    </a:lnTo>
                    <a:lnTo>
                      <a:pt x="2143" y="616"/>
                    </a:lnTo>
                    <a:lnTo>
                      <a:pt x="2139" y="612"/>
                    </a:lnTo>
                    <a:lnTo>
                      <a:pt x="2139" y="616"/>
                    </a:lnTo>
                    <a:lnTo>
                      <a:pt x="2134" y="607"/>
                    </a:lnTo>
                    <a:lnTo>
                      <a:pt x="2136" y="607"/>
                    </a:lnTo>
                    <a:lnTo>
                      <a:pt x="2134" y="607"/>
                    </a:lnTo>
                    <a:lnTo>
                      <a:pt x="2131" y="607"/>
                    </a:lnTo>
                    <a:lnTo>
                      <a:pt x="2127" y="607"/>
                    </a:lnTo>
                    <a:lnTo>
                      <a:pt x="2127" y="605"/>
                    </a:lnTo>
                    <a:lnTo>
                      <a:pt x="2117" y="598"/>
                    </a:lnTo>
                    <a:lnTo>
                      <a:pt x="2115" y="598"/>
                    </a:lnTo>
                    <a:lnTo>
                      <a:pt x="2108" y="602"/>
                    </a:lnTo>
                    <a:lnTo>
                      <a:pt x="2106" y="600"/>
                    </a:lnTo>
                    <a:lnTo>
                      <a:pt x="2103" y="602"/>
                    </a:lnTo>
                    <a:lnTo>
                      <a:pt x="2099" y="607"/>
                    </a:lnTo>
                    <a:lnTo>
                      <a:pt x="2094" y="607"/>
                    </a:lnTo>
                    <a:lnTo>
                      <a:pt x="2092" y="612"/>
                    </a:lnTo>
                    <a:lnTo>
                      <a:pt x="2091" y="616"/>
                    </a:lnTo>
                    <a:lnTo>
                      <a:pt x="2089" y="612"/>
                    </a:lnTo>
                    <a:lnTo>
                      <a:pt x="2091" y="617"/>
                    </a:lnTo>
                    <a:lnTo>
                      <a:pt x="2089" y="619"/>
                    </a:lnTo>
                    <a:lnTo>
                      <a:pt x="2089" y="624"/>
                    </a:lnTo>
                    <a:lnTo>
                      <a:pt x="2089" y="628"/>
                    </a:lnTo>
                    <a:lnTo>
                      <a:pt x="2085" y="635"/>
                    </a:lnTo>
                    <a:lnTo>
                      <a:pt x="2085" y="638"/>
                    </a:lnTo>
                    <a:lnTo>
                      <a:pt x="2084" y="635"/>
                    </a:lnTo>
                    <a:lnTo>
                      <a:pt x="2079" y="624"/>
                    </a:lnTo>
                    <a:lnTo>
                      <a:pt x="2079" y="619"/>
                    </a:lnTo>
                    <a:lnTo>
                      <a:pt x="2075" y="617"/>
                    </a:lnTo>
                    <a:lnTo>
                      <a:pt x="2073" y="616"/>
                    </a:lnTo>
                    <a:lnTo>
                      <a:pt x="2073" y="619"/>
                    </a:lnTo>
                    <a:lnTo>
                      <a:pt x="2068" y="626"/>
                    </a:lnTo>
                    <a:lnTo>
                      <a:pt x="2066" y="628"/>
                    </a:lnTo>
                    <a:lnTo>
                      <a:pt x="2066" y="631"/>
                    </a:lnTo>
                    <a:lnTo>
                      <a:pt x="2068" y="633"/>
                    </a:lnTo>
                    <a:lnTo>
                      <a:pt x="2066" y="640"/>
                    </a:lnTo>
                    <a:lnTo>
                      <a:pt x="2063" y="635"/>
                    </a:lnTo>
                    <a:lnTo>
                      <a:pt x="2061" y="635"/>
                    </a:lnTo>
                    <a:lnTo>
                      <a:pt x="2058" y="635"/>
                    </a:lnTo>
                    <a:lnTo>
                      <a:pt x="2058" y="635"/>
                    </a:lnTo>
                    <a:lnTo>
                      <a:pt x="2056" y="638"/>
                    </a:lnTo>
                    <a:lnTo>
                      <a:pt x="2054" y="638"/>
                    </a:lnTo>
                    <a:lnTo>
                      <a:pt x="2051" y="638"/>
                    </a:lnTo>
                    <a:lnTo>
                      <a:pt x="2047" y="638"/>
                    </a:lnTo>
                    <a:lnTo>
                      <a:pt x="2047" y="640"/>
                    </a:lnTo>
                    <a:lnTo>
                      <a:pt x="2049" y="643"/>
                    </a:lnTo>
                    <a:lnTo>
                      <a:pt x="2047" y="643"/>
                    </a:lnTo>
                    <a:lnTo>
                      <a:pt x="2046" y="647"/>
                    </a:lnTo>
                    <a:lnTo>
                      <a:pt x="2046" y="650"/>
                    </a:lnTo>
                    <a:lnTo>
                      <a:pt x="2049" y="654"/>
                    </a:lnTo>
                    <a:lnTo>
                      <a:pt x="2051" y="659"/>
                    </a:lnTo>
                    <a:lnTo>
                      <a:pt x="2049" y="659"/>
                    </a:lnTo>
                    <a:lnTo>
                      <a:pt x="2049" y="661"/>
                    </a:lnTo>
                    <a:lnTo>
                      <a:pt x="2052" y="663"/>
                    </a:lnTo>
                    <a:lnTo>
                      <a:pt x="2056" y="666"/>
                    </a:lnTo>
                    <a:lnTo>
                      <a:pt x="2056" y="666"/>
                    </a:lnTo>
                    <a:lnTo>
                      <a:pt x="2054" y="666"/>
                    </a:lnTo>
                    <a:lnTo>
                      <a:pt x="2054" y="669"/>
                    </a:lnTo>
                    <a:lnTo>
                      <a:pt x="2056" y="671"/>
                    </a:lnTo>
                    <a:lnTo>
                      <a:pt x="2058" y="675"/>
                    </a:lnTo>
                    <a:lnTo>
                      <a:pt x="2058" y="675"/>
                    </a:lnTo>
                    <a:lnTo>
                      <a:pt x="2056" y="675"/>
                    </a:lnTo>
                    <a:lnTo>
                      <a:pt x="2052" y="675"/>
                    </a:lnTo>
                    <a:lnTo>
                      <a:pt x="2052" y="675"/>
                    </a:lnTo>
                    <a:lnTo>
                      <a:pt x="2056" y="680"/>
                    </a:lnTo>
                    <a:lnTo>
                      <a:pt x="2058" y="678"/>
                    </a:lnTo>
                    <a:lnTo>
                      <a:pt x="2058" y="682"/>
                    </a:lnTo>
                    <a:lnTo>
                      <a:pt x="2058" y="685"/>
                    </a:lnTo>
                    <a:lnTo>
                      <a:pt x="2058" y="689"/>
                    </a:lnTo>
                    <a:lnTo>
                      <a:pt x="2056" y="692"/>
                    </a:lnTo>
                    <a:lnTo>
                      <a:pt x="2058" y="697"/>
                    </a:lnTo>
                    <a:lnTo>
                      <a:pt x="2056" y="699"/>
                    </a:lnTo>
                    <a:lnTo>
                      <a:pt x="2058" y="703"/>
                    </a:lnTo>
                    <a:lnTo>
                      <a:pt x="2058" y="704"/>
                    </a:lnTo>
                    <a:lnTo>
                      <a:pt x="2058" y="708"/>
                    </a:lnTo>
                    <a:lnTo>
                      <a:pt x="2061" y="715"/>
                    </a:lnTo>
                    <a:lnTo>
                      <a:pt x="2058" y="716"/>
                    </a:lnTo>
                    <a:lnTo>
                      <a:pt x="2063" y="716"/>
                    </a:lnTo>
                    <a:lnTo>
                      <a:pt x="2063" y="722"/>
                    </a:lnTo>
                    <a:lnTo>
                      <a:pt x="2068" y="727"/>
                    </a:lnTo>
                    <a:lnTo>
                      <a:pt x="2073" y="729"/>
                    </a:lnTo>
                    <a:lnTo>
                      <a:pt x="2075" y="727"/>
                    </a:lnTo>
                    <a:lnTo>
                      <a:pt x="2075" y="725"/>
                    </a:lnTo>
                    <a:lnTo>
                      <a:pt x="2070" y="720"/>
                    </a:lnTo>
                    <a:lnTo>
                      <a:pt x="2070" y="716"/>
                    </a:lnTo>
                    <a:lnTo>
                      <a:pt x="2073" y="716"/>
                    </a:lnTo>
                    <a:lnTo>
                      <a:pt x="2077" y="716"/>
                    </a:lnTo>
                    <a:lnTo>
                      <a:pt x="2082" y="720"/>
                    </a:lnTo>
                    <a:lnTo>
                      <a:pt x="2085" y="720"/>
                    </a:lnTo>
                    <a:lnTo>
                      <a:pt x="2089" y="722"/>
                    </a:lnTo>
                    <a:lnTo>
                      <a:pt x="2089" y="725"/>
                    </a:lnTo>
                    <a:lnTo>
                      <a:pt x="2085" y="725"/>
                    </a:lnTo>
                    <a:lnTo>
                      <a:pt x="2089" y="729"/>
                    </a:lnTo>
                    <a:lnTo>
                      <a:pt x="2085" y="730"/>
                    </a:lnTo>
                    <a:lnTo>
                      <a:pt x="2089" y="734"/>
                    </a:lnTo>
                    <a:lnTo>
                      <a:pt x="2085" y="736"/>
                    </a:lnTo>
                    <a:lnTo>
                      <a:pt x="2085" y="739"/>
                    </a:lnTo>
                    <a:lnTo>
                      <a:pt x="2089" y="744"/>
                    </a:lnTo>
                    <a:lnTo>
                      <a:pt x="2089" y="748"/>
                    </a:lnTo>
                    <a:lnTo>
                      <a:pt x="2089" y="756"/>
                    </a:lnTo>
                    <a:lnTo>
                      <a:pt x="2092" y="756"/>
                    </a:lnTo>
                    <a:lnTo>
                      <a:pt x="2094" y="756"/>
                    </a:lnTo>
                    <a:lnTo>
                      <a:pt x="2094" y="753"/>
                    </a:lnTo>
                    <a:lnTo>
                      <a:pt x="2098" y="753"/>
                    </a:lnTo>
                    <a:lnTo>
                      <a:pt x="2098" y="749"/>
                    </a:lnTo>
                    <a:lnTo>
                      <a:pt x="2099" y="753"/>
                    </a:lnTo>
                    <a:lnTo>
                      <a:pt x="2103" y="753"/>
                    </a:lnTo>
                    <a:lnTo>
                      <a:pt x="2103" y="762"/>
                    </a:lnTo>
                    <a:lnTo>
                      <a:pt x="2112" y="769"/>
                    </a:lnTo>
                    <a:lnTo>
                      <a:pt x="2113" y="774"/>
                    </a:lnTo>
                    <a:lnTo>
                      <a:pt x="2112" y="776"/>
                    </a:lnTo>
                    <a:lnTo>
                      <a:pt x="2112" y="779"/>
                    </a:lnTo>
                    <a:lnTo>
                      <a:pt x="2108" y="781"/>
                    </a:lnTo>
                    <a:lnTo>
                      <a:pt x="2105" y="779"/>
                    </a:lnTo>
                    <a:lnTo>
                      <a:pt x="2099" y="776"/>
                    </a:lnTo>
                    <a:lnTo>
                      <a:pt x="2099" y="772"/>
                    </a:lnTo>
                    <a:lnTo>
                      <a:pt x="2101" y="767"/>
                    </a:lnTo>
                    <a:lnTo>
                      <a:pt x="2101" y="763"/>
                    </a:lnTo>
                    <a:lnTo>
                      <a:pt x="2099" y="760"/>
                    </a:lnTo>
                    <a:lnTo>
                      <a:pt x="2098" y="762"/>
                    </a:lnTo>
                    <a:lnTo>
                      <a:pt x="2099" y="763"/>
                    </a:lnTo>
                    <a:lnTo>
                      <a:pt x="2099" y="767"/>
                    </a:lnTo>
                    <a:lnTo>
                      <a:pt x="2098" y="767"/>
                    </a:lnTo>
                    <a:lnTo>
                      <a:pt x="2092" y="772"/>
                    </a:lnTo>
                    <a:lnTo>
                      <a:pt x="2092" y="774"/>
                    </a:lnTo>
                    <a:lnTo>
                      <a:pt x="2098" y="774"/>
                    </a:lnTo>
                    <a:lnTo>
                      <a:pt x="2098" y="776"/>
                    </a:lnTo>
                    <a:lnTo>
                      <a:pt x="2094" y="779"/>
                    </a:lnTo>
                    <a:lnTo>
                      <a:pt x="2098" y="784"/>
                    </a:lnTo>
                    <a:lnTo>
                      <a:pt x="2098" y="786"/>
                    </a:lnTo>
                    <a:lnTo>
                      <a:pt x="2098" y="800"/>
                    </a:lnTo>
                    <a:lnTo>
                      <a:pt x="2098" y="802"/>
                    </a:lnTo>
                    <a:lnTo>
                      <a:pt x="2098" y="803"/>
                    </a:lnTo>
                    <a:lnTo>
                      <a:pt x="2108" y="817"/>
                    </a:lnTo>
                    <a:lnTo>
                      <a:pt x="2108" y="817"/>
                    </a:lnTo>
                    <a:lnTo>
                      <a:pt x="2117" y="826"/>
                    </a:lnTo>
                    <a:lnTo>
                      <a:pt x="2120" y="826"/>
                    </a:lnTo>
                    <a:lnTo>
                      <a:pt x="2117" y="831"/>
                    </a:lnTo>
                    <a:lnTo>
                      <a:pt x="2117" y="835"/>
                    </a:lnTo>
                    <a:lnTo>
                      <a:pt x="2108" y="838"/>
                    </a:lnTo>
                    <a:lnTo>
                      <a:pt x="2106" y="838"/>
                    </a:lnTo>
                    <a:lnTo>
                      <a:pt x="2101" y="840"/>
                    </a:lnTo>
                    <a:lnTo>
                      <a:pt x="2098" y="840"/>
                    </a:lnTo>
                    <a:lnTo>
                      <a:pt x="2099" y="842"/>
                    </a:lnTo>
                    <a:lnTo>
                      <a:pt x="2098" y="849"/>
                    </a:lnTo>
                    <a:lnTo>
                      <a:pt x="2098" y="852"/>
                    </a:lnTo>
                    <a:lnTo>
                      <a:pt x="2094" y="854"/>
                    </a:lnTo>
                    <a:lnTo>
                      <a:pt x="2098" y="859"/>
                    </a:lnTo>
                    <a:lnTo>
                      <a:pt x="2094" y="866"/>
                    </a:lnTo>
                    <a:lnTo>
                      <a:pt x="2098" y="876"/>
                    </a:lnTo>
                    <a:lnTo>
                      <a:pt x="2103" y="878"/>
                    </a:lnTo>
                    <a:lnTo>
                      <a:pt x="2103" y="883"/>
                    </a:lnTo>
                    <a:lnTo>
                      <a:pt x="2108" y="885"/>
                    </a:lnTo>
                    <a:lnTo>
                      <a:pt x="2108" y="890"/>
                    </a:lnTo>
                    <a:lnTo>
                      <a:pt x="2106" y="889"/>
                    </a:lnTo>
                    <a:lnTo>
                      <a:pt x="2105" y="889"/>
                    </a:lnTo>
                    <a:lnTo>
                      <a:pt x="2101" y="890"/>
                    </a:lnTo>
                    <a:lnTo>
                      <a:pt x="2098" y="894"/>
                    </a:lnTo>
                    <a:lnTo>
                      <a:pt x="2098" y="890"/>
                    </a:lnTo>
                    <a:lnTo>
                      <a:pt x="2091" y="896"/>
                    </a:lnTo>
                    <a:lnTo>
                      <a:pt x="2089" y="894"/>
                    </a:lnTo>
                    <a:lnTo>
                      <a:pt x="2085" y="897"/>
                    </a:lnTo>
                    <a:lnTo>
                      <a:pt x="2089" y="899"/>
                    </a:lnTo>
                    <a:lnTo>
                      <a:pt x="2091" y="897"/>
                    </a:lnTo>
                    <a:lnTo>
                      <a:pt x="2091" y="902"/>
                    </a:lnTo>
                    <a:lnTo>
                      <a:pt x="2089" y="904"/>
                    </a:lnTo>
                    <a:lnTo>
                      <a:pt x="2092" y="908"/>
                    </a:lnTo>
                    <a:lnTo>
                      <a:pt x="2091" y="909"/>
                    </a:lnTo>
                    <a:lnTo>
                      <a:pt x="2089" y="909"/>
                    </a:lnTo>
                    <a:lnTo>
                      <a:pt x="2092" y="913"/>
                    </a:lnTo>
                    <a:lnTo>
                      <a:pt x="2091" y="916"/>
                    </a:lnTo>
                    <a:lnTo>
                      <a:pt x="2092" y="916"/>
                    </a:lnTo>
                    <a:lnTo>
                      <a:pt x="2094" y="916"/>
                    </a:lnTo>
                    <a:lnTo>
                      <a:pt x="2098" y="918"/>
                    </a:lnTo>
                    <a:lnTo>
                      <a:pt x="2098" y="922"/>
                    </a:lnTo>
                    <a:lnTo>
                      <a:pt x="2094" y="927"/>
                    </a:lnTo>
                    <a:lnTo>
                      <a:pt x="2098" y="930"/>
                    </a:lnTo>
                    <a:lnTo>
                      <a:pt x="2098" y="937"/>
                    </a:lnTo>
                    <a:lnTo>
                      <a:pt x="2094" y="941"/>
                    </a:lnTo>
                    <a:lnTo>
                      <a:pt x="2094" y="941"/>
                    </a:lnTo>
                    <a:lnTo>
                      <a:pt x="2094" y="944"/>
                    </a:lnTo>
                    <a:lnTo>
                      <a:pt x="2089" y="948"/>
                    </a:lnTo>
                    <a:lnTo>
                      <a:pt x="2089" y="953"/>
                    </a:lnTo>
                    <a:lnTo>
                      <a:pt x="2089" y="953"/>
                    </a:lnTo>
                    <a:lnTo>
                      <a:pt x="2085" y="960"/>
                    </a:lnTo>
                    <a:lnTo>
                      <a:pt x="2084" y="969"/>
                    </a:lnTo>
                    <a:lnTo>
                      <a:pt x="2085" y="963"/>
                    </a:lnTo>
                    <a:lnTo>
                      <a:pt x="2084" y="962"/>
                    </a:lnTo>
                    <a:lnTo>
                      <a:pt x="2084" y="958"/>
                    </a:lnTo>
                    <a:lnTo>
                      <a:pt x="2082" y="956"/>
                    </a:lnTo>
                    <a:lnTo>
                      <a:pt x="2075" y="955"/>
                    </a:lnTo>
                    <a:lnTo>
                      <a:pt x="2072" y="949"/>
                    </a:lnTo>
                    <a:lnTo>
                      <a:pt x="2072" y="944"/>
                    </a:lnTo>
                    <a:lnTo>
                      <a:pt x="2066" y="929"/>
                    </a:lnTo>
                    <a:lnTo>
                      <a:pt x="2061" y="922"/>
                    </a:lnTo>
                    <a:lnTo>
                      <a:pt x="2063" y="922"/>
                    </a:lnTo>
                    <a:lnTo>
                      <a:pt x="2066" y="922"/>
                    </a:lnTo>
                    <a:lnTo>
                      <a:pt x="2066" y="916"/>
                    </a:lnTo>
                    <a:lnTo>
                      <a:pt x="2063" y="918"/>
                    </a:lnTo>
                    <a:lnTo>
                      <a:pt x="2061" y="918"/>
                    </a:lnTo>
                    <a:lnTo>
                      <a:pt x="2054" y="916"/>
                    </a:lnTo>
                    <a:lnTo>
                      <a:pt x="2040" y="894"/>
                    </a:lnTo>
                    <a:lnTo>
                      <a:pt x="2028" y="878"/>
                    </a:lnTo>
                    <a:lnTo>
                      <a:pt x="2028" y="873"/>
                    </a:lnTo>
                    <a:lnTo>
                      <a:pt x="2025" y="868"/>
                    </a:lnTo>
                    <a:lnTo>
                      <a:pt x="2016" y="854"/>
                    </a:lnTo>
                    <a:lnTo>
                      <a:pt x="2004" y="835"/>
                    </a:lnTo>
                    <a:lnTo>
                      <a:pt x="1999" y="817"/>
                    </a:lnTo>
                    <a:lnTo>
                      <a:pt x="1999" y="810"/>
                    </a:lnTo>
                    <a:lnTo>
                      <a:pt x="1993" y="803"/>
                    </a:lnTo>
                    <a:lnTo>
                      <a:pt x="1993" y="793"/>
                    </a:lnTo>
                    <a:lnTo>
                      <a:pt x="1990" y="786"/>
                    </a:lnTo>
                    <a:lnTo>
                      <a:pt x="1990" y="779"/>
                    </a:lnTo>
                    <a:lnTo>
                      <a:pt x="1993" y="776"/>
                    </a:lnTo>
                    <a:lnTo>
                      <a:pt x="1993" y="769"/>
                    </a:lnTo>
                    <a:lnTo>
                      <a:pt x="1997" y="769"/>
                    </a:lnTo>
                    <a:lnTo>
                      <a:pt x="1995" y="765"/>
                    </a:lnTo>
                    <a:lnTo>
                      <a:pt x="1997" y="763"/>
                    </a:lnTo>
                    <a:lnTo>
                      <a:pt x="1997" y="756"/>
                    </a:lnTo>
                    <a:lnTo>
                      <a:pt x="1990" y="744"/>
                    </a:lnTo>
                    <a:lnTo>
                      <a:pt x="1985" y="744"/>
                    </a:lnTo>
                    <a:lnTo>
                      <a:pt x="1985" y="744"/>
                    </a:lnTo>
                    <a:lnTo>
                      <a:pt x="1990" y="741"/>
                    </a:lnTo>
                    <a:lnTo>
                      <a:pt x="1995" y="744"/>
                    </a:lnTo>
                    <a:lnTo>
                      <a:pt x="2000" y="739"/>
                    </a:lnTo>
                    <a:lnTo>
                      <a:pt x="1999" y="737"/>
                    </a:lnTo>
                    <a:lnTo>
                      <a:pt x="1999" y="730"/>
                    </a:lnTo>
                    <a:lnTo>
                      <a:pt x="2004" y="729"/>
                    </a:lnTo>
                    <a:lnTo>
                      <a:pt x="2009" y="730"/>
                    </a:lnTo>
                    <a:lnTo>
                      <a:pt x="2004" y="725"/>
                    </a:lnTo>
                    <a:lnTo>
                      <a:pt x="2011" y="716"/>
                    </a:lnTo>
                    <a:lnTo>
                      <a:pt x="2009" y="709"/>
                    </a:lnTo>
                    <a:lnTo>
                      <a:pt x="2009" y="703"/>
                    </a:lnTo>
                    <a:lnTo>
                      <a:pt x="2007" y="699"/>
                    </a:lnTo>
                    <a:lnTo>
                      <a:pt x="2009" y="697"/>
                    </a:lnTo>
                    <a:lnTo>
                      <a:pt x="2009" y="692"/>
                    </a:lnTo>
                    <a:lnTo>
                      <a:pt x="2009" y="690"/>
                    </a:lnTo>
                    <a:lnTo>
                      <a:pt x="2009" y="685"/>
                    </a:lnTo>
                    <a:lnTo>
                      <a:pt x="2013" y="685"/>
                    </a:lnTo>
                    <a:lnTo>
                      <a:pt x="2009" y="682"/>
                    </a:lnTo>
                    <a:lnTo>
                      <a:pt x="2009" y="678"/>
                    </a:lnTo>
                    <a:lnTo>
                      <a:pt x="2009" y="676"/>
                    </a:lnTo>
                    <a:lnTo>
                      <a:pt x="2011" y="669"/>
                    </a:lnTo>
                    <a:lnTo>
                      <a:pt x="2009" y="669"/>
                    </a:lnTo>
                    <a:lnTo>
                      <a:pt x="2009" y="666"/>
                    </a:lnTo>
                    <a:lnTo>
                      <a:pt x="2013" y="663"/>
                    </a:lnTo>
                    <a:lnTo>
                      <a:pt x="2016" y="663"/>
                    </a:lnTo>
                    <a:lnTo>
                      <a:pt x="2013" y="656"/>
                    </a:lnTo>
                    <a:lnTo>
                      <a:pt x="2016" y="649"/>
                    </a:lnTo>
                    <a:lnTo>
                      <a:pt x="2013" y="647"/>
                    </a:lnTo>
                    <a:lnTo>
                      <a:pt x="2013" y="647"/>
                    </a:lnTo>
                    <a:lnTo>
                      <a:pt x="2016" y="640"/>
                    </a:lnTo>
                    <a:lnTo>
                      <a:pt x="2016" y="635"/>
                    </a:lnTo>
                    <a:lnTo>
                      <a:pt x="2013" y="635"/>
                    </a:lnTo>
                    <a:lnTo>
                      <a:pt x="2013" y="633"/>
                    </a:lnTo>
                    <a:lnTo>
                      <a:pt x="2013" y="629"/>
                    </a:lnTo>
                    <a:lnTo>
                      <a:pt x="2013" y="626"/>
                    </a:lnTo>
                    <a:lnTo>
                      <a:pt x="2016" y="624"/>
                    </a:lnTo>
                    <a:lnTo>
                      <a:pt x="2016" y="623"/>
                    </a:lnTo>
                    <a:lnTo>
                      <a:pt x="2019" y="621"/>
                    </a:lnTo>
                    <a:lnTo>
                      <a:pt x="2021" y="617"/>
                    </a:lnTo>
                    <a:lnTo>
                      <a:pt x="2025" y="612"/>
                    </a:lnTo>
                    <a:lnTo>
                      <a:pt x="2026" y="612"/>
                    </a:lnTo>
                    <a:lnTo>
                      <a:pt x="2030" y="612"/>
                    </a:lnTo>
                    <a:lnTo>
                      <a:pt x="2032" y="612"/>
                    </a:lnTo>
                    <a:lnTo>
                      <a:pt x="2033" y="610"/>
                    </a:lnTo>
                    <a:lnTo>
                      <a:pt x="2032" y="607"/>
                    </a:lnTo>
                    <a:lnTo>
                      <a:pt x="2028" y="607"/>
                    </a:lnTo>
                    <a:lnTo>
                      <a:pt x="2026" y="607"/>
                    </a:lnTo>
                    <a:lnTo>
                      <a:pt x="2023" y="607"/>
                    </a:lnTo>
                    <a:lnTo>
                      <a:pt x="2023" y="600"/>
                    </a:lnTo>
                    <a:lnTo>
                      <a:pt x="2025" y="595"/>
                    </a:lnTo>
                    <a:lnTo>
                      <a:pt x="2025" y="593"/>
                    </a:lnTo>
                    <a:lnTo>
                      <a:pt x="2023" y="589"/>
                    </a:lnTo>
                    <a:lnTo>
                      <a:pt x="2021" y="588"/>
                    </a:lnTo>
                    <a:lnTo>
                      <a:pt x="2019" y="591"/>
                    </a:lnTo>
                    <a:lnTo>
                      <a:pt x="2018" y="591"/>
                    </a:lnTo>
                    <a:lnTo>
                      <a:pt x="2018" y="584"/>
                    </a:lnTo>
                    <a:lnTo>
                      <a:pt x="2019" y="583"/>
                    </a:lnTo>
                    <a:lnTo>
                      <a:pt x="2019" y="579"/>
                    </a:lnTo>
                    <a:lnTo>
                      <a:pt x="2018" y="576"/>
                    </a:lnTo>
                    <a:lnTo>
                      <a:pt x="2016" y="574"/>
                    </a:lnTo>
                    <a:lnTo>
                      <a:pt x="2016" y="572"/>
                    </a:lnTo>
                    <a:lnTo>
                      <a:pt x="2016" y="572"/>
                    </a:lnTo>
                    <a:lnTo>
                      <a:pt x="2016" y="570"/>
                    </a:lnTo>
                    <a:lnTo>
                      <a:pt x="2013" y="565"/>
                    </a:lnTo>
                    <a:lnTo>
                      <a:pt x="2011" y="562"/>
                    </a:lnTo>
                    <a:lnTo>
                      <a:pt x="2009" y="560"/>
                    </a:lnTo>
                    <a:lnTo>
                      <a:pt x="2009" y="556"/>
                    </a:lnTo>
                    <a:lnTo>
                      <a:pt x="2007" y="553"/>
                    </a:lnTo>
                    <a:lnTo>
                      <a:pt x="2007" y="551"/>
                    </a:lnTo>
                    <a:lnTo>
                      <a:pt x="2013" y="546"/>
                    </a:lnTo>
                    <a:lnTo>
                      <a:pt x="2016" y="548"/>
                    </a:lnTo>
                    <a:lnTo>
                      <a:pt x="2018" y="546"/>
                    </a:lnTo>
                    <a:lnTo>
                      <a:pt x="2016" y="544"/>
                    </a:lnTo>
                    <a:lnTo>
                      <a:pt x="2021" y="541"/>
                    </a:lnTo>
                    <a:lnTo>
                      <a:pt x="2019" y="543"/>
                    </a:lnTo>
                    <a:lnTo>
                      <a:pt x="2016" y="541"/>
                    </a:lnTo>
                    <a:lnTo>
                      <a:pt x="2013" y="541"/>
                    </a:lnTo>
                    <a:lnTo>
                      <a:pt x="2009" y="541"/>
                    </a:lnTo>
                    <a:lnTo>
                      <a:pt x="2004" y="537"/>
                    </a:lnTo>
                    <a:lnTo>
                      <a:pt x="2002" y="537"/>
                    </a:lnTo>
                    <a:lnTo>
                      <a:pt x="1999" y="537"/>
                    </a:lnTo>
                    <a:lnTo>
                      <a:pt x="1995" y="541"/>
                    </a:lnTo>
                    <a:lnTo>
                      <a:pt x="1993" y="541"/>
                    </a:lnTo>
                    <a:lnTo>
                      <a:pt x="1988" y="546"/>
                    </a:lnTo>
                    <a:lnTo>
                      <a:pt x="1990" y="548"/>
                    </a:lnTo>
                    <a:lnTo>
                      <a:pt x="1990" y="551"/>
                    </a:lnTo>
                    <a:lnTo>
                      <a:pt x="1993" y="553"/>
                    </a:lnTo>
                    <a:lnTo>
                      <a:pt x="1993" y="556"/>
                    </a:lnTo>
                    <a:lnTo>
                      <a:pt x="1993" y="560"/>
                    </a:lnTo>
                    <a:lnTo>
                      <a:pt x="1993" y="565"/>
                    </a:lnTo>
                    <a:lnTo>
                      <a:pt x="1995" y="565"/>
                    </a:lnTo>
                    <a:lnTo>
                      <a:pt x="1995" y="567"/>
                    </a:lnTo>
                    <a:lnTo>
                      <a:pt x="1999" y="569"/>
                    </a:lnTo>
                    <a:lnTo>
                      <a:pt x="2000" y="576"/>
                    </a:lnTo>
                    <a:lnTo>
                      <a:pt x="2004" y="579"/>
                    </a:lnTo>
                    <a:lnTo>
                      <a:pt x="2004" y="583"/>
                    </a:lnTo>
                    <a:lnTo>
                      <a:pt x="2007" y="584"/>
                    </a:lnTo>
                    <a:lnTo>
                      <a:pt x="2004" y="588"/>
                    </a:lnTo>
                    <a:lnTo>
                      <a:pt x="2004" y="584"/>
                    </a:lnTo>
                    <a:lnTo>
                      <a:pt x="2002" y="583"/>
                    </a:lnTo>
                    <a:lnTo>
                      <a:pt x="1997" y="584"/>
                    </a:lnTo>
                    <a:lnTo>
                      <a:pt x="1993" y="584"/>
                    </a:lnTo>
                    <a:lnTo>
                      <a:pt x="1993" y="589"/>
                    </a:lnTo>
                    <a:lnTo>
                      <a:pt x="1993" y="591"/>
                    </a:lnTo>
                    <a:lnTo>
                      <a:pt x="1993" y="596"/>
                    </a:lnTo>
                    <a:lnTo>
                      <a:pt x="1993" y="598"/>
                    </a:lnTo>
                    <a:lnTo>
                      <a:pt x="1993" y="600"/>
                    </a:lnTo>
                    <a:lnTo>
                      <a:pt x="1993" y="600"/>
                    </a:lnTo>
                    <a:lnTo>
                      <a:pt x="1993" y="603"/>
                    </a:lnTo>
                    <a:lnTo>
                      <a:pt x="1990" y="607"/>
                    </a:lnTo>
                    <a:lnTo>
                      <a:pt x="1993" y="607"/>
                    </a:lnTo>
                    <a:lnTo>
                      <a:pt x="1990" y="610"/>
                    </a:lnTo>
                    <a:lnTo>
                      <a:pt x="1990" y="619"/>
                    </a:lnTo>
                    <a:lnTo>
                      <a:pt x="1990" y="621"/>
                    </a:lnTo>
                    <a:lnTo>
                      <a:pt x="1990" y="623"/>
                    </a:lnTo>
                    <a:lnTo>
                      <a:pt x="1988" y="624"/>
                    </a:lnTo>
                    <a:lnTo>
                      <a:pt x="1985" y="629"/>
                    </a:lnTo>
                    <a:lnTo>
                      <a:pt x="1985" y="626"/>
                    </a:lnTo>
                    <a:lnTo>
                      <a:pt x="1981" y="623"/>
                    </a:lnTo>
                    <a:lnTo>
                      <a:pt x="1985" y="617"/>
                    </a:lnTo>
                    <a:lnTo>
                      <a:pt x="1981" y="616"/>
                    </a:lnTo>
                    <a:lnTo>
                      <a:pt x="1980" y="616"/>
                    </a:lnTo>
                    <a:lnTo>
                      <a:pt x="1976" y="619"/>
                    </a:lnTo>
                    <a:lnTo>
                      <a:pt x="1976" y="621"/>
                    </a:lnTo>
                    <a:lnTo>
                      <a:pt x="1974" y="623"/>
                    </a:lnTo>
                    <a:lnTo>
                      <a:pt x="1974" y="616"/>
                    </a:lnTo>
                    <a:lnTo>
                      <a:pt x="1971" y="616"/>
                    </a:lnTo>
                    <a:lnTo>
                      <a:pt x="1969" y="612"/>
                    </a:lnTo>
                    <a:lnTo>
                      <a:pt x="1966" y="616"/>
                    </a:lnTo>
                    <a:lnTo>
                      <a:pt x="1966" y="616"/>
                    </a:lnTo>
                    <a:lnTo>
                      <a:pt x="1966" y="612"/>
                    </a:lnTo>
                    <a:lnTo>
                      <a:pt x="1967" y="612"/>
                    </a:lnTo>
                    <a:lnTo>
                      <a:pt x="1966" y="610"/>
                    </a:lnTo>
                    <a:lnTo>
                      <a:pt x="1966" y="607"/>
                    </a:lnTo>
                    <a:lnTo>
                      <a:pt x="1967" y="607"/>
                    </a:lnTo>
                    <a:lnTo>
                      <a:pt x="1966" y="603"/>
                    </a:lnTo>
                    <a:lnTo>
                      <a:pt x="1966" y="602"/>
                    </a:lnTo>
                    <a:lnTo>
                      <a:pt x="1967" y="600"/>
                    </a:lnTo>
                    <a:lnTo>
                      <a:pt x="1966" y="596"/>
                    </a:lnTo>
                    <a:lnTo>
                      <a:pt x="1966" y="595"/>
                    </a:lnTo>
                    <a:lnTo>
                      <a:pt x="1966" y="593"/>
                    </a:lnTo>
                    <a:lnTo>
                      <a:pt x="1966" y="588"/>
                    </a:lnTo>
                    <a:lnTo>
                      <a:pt x="1962" y="588"/>
                    </a:lnTo>
                    <a:lnTo>
                      <a:pt x="1962" y="584"/>
                    </a:lnTo>
                    <a:lnTo>
                      <a:pt x="1959" y="584"/>
                    </a:lnTo>
                    <a:lnTo>
                      <a:pt x="1959" y="588"/>
                    </a:lnTo>
                    <a:lnTo>
                      <a:pt x="1957" y="588"/>
                    </a:lnTo>
                    <a:lnTo>
                      <a:pt x="1957" y="593"/>
                    </a:lnTo>
                    <a:lnTo>
                      <a:pt x="1955" y="596"/>
                    </a:lnTo>
                    <a:lnTo>
                      <a:pt x="1953" y="596"/>
                    </a:lnTo>
                    <a:lnTo>
                      <a:pt x="1952" y="591"/>
                    </a:lnTo>
                    <a:lnTo>
                      <a:pt x="1950" y="591"/>
                    </a:lnTo>
                    <a:lnTo>
                      <a:pt x="1948" y="593"/>
                    </a:lnTo>
                    <a:lnTo>
                      <a:pt x="1948" y="589"/>
                    </a:lnTo>
                    <a:lnTo>
                      <a:pt x="1943" y="589"/>
                    </a:lnTo>
                    <a:lnTo>
                      <a:pt x="1943" y="591"/>
                    </a:lnTo>
                    <a:lnTo>
                      <a:pt x="1940" y="591"/>
                    </a:lnTo>
                    <a:lnTo>
                      <a:pt x="1940" y="595"/>
                    </a:lnTo>
                    <a:lnTo>
                      <a:pt x="1936" y="595"/>
                    </a:lnTo>
                    <a:lnTo>
                      <a:pt x="1936" y="596"/>
                    </a:lnTo>
                    <a:lnTo>
                      <a:pt x="1931" y="596"/>
                    </a:lnTo>
                    <a:lnTo>
                      <a:pt x="1929" y="600"/>
                    </a:lnTo>
                    <a:lnTo>
                      <a:pt x="1927" y="598"/>
                    </a:lnTo>
                    <a:lnTo>
                      <a:pt x="1926" y="600"/>
                    </a:lnTo>
                    <a:lnTo>
                      <a:pt x="1920" y="600"/>
                    </a:lnTo>
                    <a:lnTo>
                      <a:pt x="1917" y="607"/>
                    </a:lnTo>
                    <a:lnTo>
                      <a:pt x="1913" y="607"/>
                    </a:lnTo>
                    <a:lnTo>
                      <a:pt x="1915" y="612"/>
                    </a:lnTo>
                    <a:lnTo>
                      <a:pt x="1912" y="616"/>
                    </a:lnTo>
                    <a:lnTo>
                      <a:pt x="1912" y="616"/>
                    </a:lnTo>
                    <a:lnTo>
                      <a:pt x="1913" y="617"/>
                    </a:lnTo>
                    <a:lnTo>
                      <a:pt x="1915" y="621"/>
                    </a:lnTo>
                    <a:lnTo>
                      <a:pt x="1919" y="626"/>
                    </a:lnTo>
                    <a:lnTo>
                      <a:pt x="1915" y="629"/>
                    </a:lnTo>
                    <a:lnTo>
                      <a:pt x="1913" y="640"/>
                    </a:lnTo>
                    <a:lnTo>
                      <a:pt x="1919" y="647"/>
                    </a:lnTo>
                    <a:lnTo>
                      <a:pt x="1913" y="647"/>
                    </a:lnTo>
                    <a:lnTo>
                      <a:pt x="1915" y="647"/>
                    </a:lnTo>
                    <a:lnTo>
                      <a:pt x="1915" y="652"/>
                    </a:lnTo>
                    <a:lnTo>
                      <a:pt x="1912" y="656"/>
                    </a:lnTo>
                    <a:lnTo>
                      <a:pt x="1912" y="661"/>
                    </a:lnTo>
                    <a:lnTo>
                      <a:pt x="1908" y="663"/>
                    </a:lnTo>
                    <a:lnTo>
                      <a:pt x="1908" y="666"/>
                    </a:lnTo>
                    <a:lnTo>
                      <a:pt x="1908" y="675"/>
                    </a:lnTo>
                    <a:lnTo>
                      <a:pt x="1912" y="678"/>
                    </a:lnTo>
                    <a:lnTo>
                      <a:pt x="1908" y="680"/>
                    </a:lnTo>
                    <a:lnTo>
                      <a:pt x="1912" y="687"/>
                    </a:lnTo>
                    <a:lnTo>
                      <a:pt x="1912" y="687"/>
                    </a:lnTo>
                    <a:lnTo>
                      <a:pt x="1912" y="690"/>
                    </a:lnTo>
                    <a:lnTo>
                      <a:pt x="1912" y="692"/>
                    </a:lnTo>
                    <a:lnTo>
                      <a:pt x="1913" y="690"/>
                    </a:lnTo>
                    <a:lnTo>
                      <a:pt x="1917" y="690"/>
                    </a:lnTo>
                    <a:lnTo>
                      <a:pt x="1917" y="689"/>
                    </a:lnTo>
                    <a:lnTo>
                      <a:pt x="1919" y="689"/>
                    </a:lnTo>
                    <a:lnTo>
                      <a:pt x="1920" y="690"/>
                    </a:lnTo>
                    <a:lnTo>
                      <a:pt x="1924" y="690"/>
                    </a:lnTo>
                    <a:lnTo>
                      <a:pt x="1922" y="689"/>
                    </a:lnTo>
                    <a:lnTo>
                      <a:pt x="1924" y="687"/>
                    </a:lnTo>
                    <a:lnTo>
                      <a:pt x="1926" y="689"/>
                    </a:lnTo>
                    <a:lnTo>
                      <a:pt x="1929" y="690"/>
                    </a:lnTo>
                    <a:lnTo>
                      <a:pt x="1929" y="692"/>
                    </a:lnTo>
                    <a:lnTo>
                      <a:pt x="1929" y="694"/>
                    </a:lnTo>
                    <a:lnTo>
                      <a:pt x="1931" y="697"/>
                    </a:lnTo>
                    <a:lnTo>
                      <a:pt x="1931" y="697"/>
                    </a:lnTo>
                    <a:lnTo>
                      <a:pt x="1929" y="697"/>
                    </a:lnTo>
                    <a:lnTo>
                      <a:pt x="1927" y="699"/>
                    </a:lnTo>
                    <a:lnTo>
                      <a:pt x="1924" y="697"/>
                    </a:lnTo>
                    <a:lnTo>
                      <a:pt x="1920" y="699"/>
                    </a:lnTo>
                    <a:lnTo>
                      <a:pt x="1920" y="701"/>
                    </a:lnTo>
                    <a:lnTo>
                      <a:pt x="1922" y="703"/>
                    </a:lnTo>
                    <a:lnTo>
                      <a:pt x="1919" y="708"/>
                    </a:lnTo>
                    <a:lnTo>
                      <a:pt x="1915" y="706"/>
                    </a:lnTo>
                    <a:lnTo>
                      <a:pt x="1915" y="703"/>
                    </a:lnTo>
                    <a:lnTo>
                      <a:pt x="1913" y="701"/>
                    </a:lnTo>
                    <a:lnTo>
                      <a:pt x="1912" y="703"/>
                    </a:lnTo>
                    <a:lnTo>
                      <a:pt x="1908" y="701"/>
                    </a:lnTo>
                    <a:lnTo>
                      <a:pt x="1908" y="703"/>
                    </a:lnTo>
                    <a:lnTo>
                      <a:pt x="1908" y="704"/>
                    </a:lnTo>
                    <a:lnTo>
                      <a:pt x="1908" y="708"/>
                    </a:lnTo>
                    <a:lnTo>
                      <a:pt x="1907" y="708"/>
                    </a:lnTo>
                    <a:lnTo>
                      <a:pt x="1905" y="709"/>
                    </a:lnTo>
                    <a:lnTo>
                      <a:pt x="1903" y="711"/>
                    </a:lnTo>
                    <a:lnTo>
                      <a:pt x="1905" y="713"/>
                    </a:lnTo>
                    <a:lnTo>
                      <a:pt x="1903" y="716"/>
                    </a:lnTo>
                    <a:lnTo>
                      <a:pt x="1901" y="715"/>
                    </a:lnTo>
                    <a:lnTo>
                      <a:pt x="1896" y="711"/>
                    </a:lnTo>
                    <a:lnTo>
                      <a:pt x="1894" y="711"/>
                    </a:lnTo>
                    <a:lnTo>
                      <a:pt x="1896" y="715"/>
                    </a:lnTo>
                    <a:lnTo>
                      <a:pt x="1893" y="716"/>
                    </a:lnTo>
                    <a:lnTo>
                      <a:pt x="1894" y="716"/>
                    </a:lnTo>
                    <a:lnTo>
                      <a:pt x="1891" y="720"/>
                    </a:lnTo>
                    <a:lnTo>
                      <a:pt x="1886" y="722"/>
                    </a:lnTo>
                    <a:lnTo>
                      <a:pt x="1886" y="722"/>
                    </a:lnTo>
                    <a:lnTo>
                      <a:pt x="1880" y="716"/>
                    </a:lnTo>
                    <a:lnTo>
                      <a:pt x="1879" y="716"/>
                    </a:lnTo>
                    <a:lnTo>
                      <a:pt x="1877" y="716"/>
                    </a:lnTo>
                    <a:lnTo>
                      <a:pt x="1877" y="715"/>
                    </a:lnTo>
                    <a:lnTo>
                      <a:pt x="1880" y="715"/>
                    </a:lnTo>
                    <a:lnTo>
                      <a:pt x="1880" y="711"/>
                    </a:lnTo>
                    <a:lnTo>
                      <a:pt x="1880" y="709"/>
                    </a:lnTo>
                    <a:lnTo>
                      <a:pt x="1886" y="709"/>
                    </a:lnTo>
                    <a:lnTo>
                      <a:pt x="1893" y="704"/>
                    </a:lnTo>
                    <a:lnTo>
                      <a:pt x="1891" y="703"/>
                    </a:lnTo>
                    <a:lnTo>
                      <a:pt x="1889" y="703"/>
                    </a:lnTo>
                    <a:lnTo>
                      <a:pt x="1886" y="704"/>
                    </a:lnTo>
                    <a:lnTo>
                      <a:pt x="1880" y="704"/>
                    </a:lnTo>
                    <a:lnTo>
                      <a:pt x="1880" y="703"/>
                    </a:lnTo>
                    <a:lnTo>
                      <a:pt x="1879" y="699"/>
                    </a:lnTo>
                    <a:lnTo>
                      <a:pt x="1875" y="699"/>
                    </a:lnTo>
                    <a:lnTo>
                      <a:pt x="1870" y="699"/>
                    </a:lnTo>
                    <a:lnTo>
                      <a:pt x="1865" y="699"/>
                    </a:lnTo>
                    <a:lnTo>
                      <a:pt x="1867" y="701"/>
                    </a:lnTo>
                    <a:lnTo>
                      <a:pt x="1863" y="703"/>
                    </a:lnTo>
                    <a:lnTo>
                      <a:pt x="1861" y="701"/>
                    </a:lnTo>
                    <a:lnTo>
                      <a:pt x="1861" y="699"/>
                    </a:lnTo>
                    <a:lnTo>
                      <a:pt x="1858" y="699"/>
                    </a:lnTo>
                    <a:lnTo>
                      <a:pt x="1853" y="697"/>
                    </a:lnTo>
                    <a:lnTo>
                      <a:pt x="1849" y="699"/>
                    </a:lnTo>
                    <a:lnTo>
                      <a:pt x="1846" y="697"/>
                    </a:lnTo>
                    <a:lnTo>
                      <a:pt x="1841" y="697"/>
                    </a:lnTo>
                    <a:lnTo>
                      <a:pt x="1839" y="703"/>
                    </a:lnTo>
                    <a:lnTo>
                      <a:pt x="1835" y="703"/>
                    </a:lnTo>
                    <a:lnTo>
                      <a:pt x="1835" y="704"/>
                    </a:lnTo>
                    <a:lnTo>
                      <a:pt x="1839" y="708"/>
                    </a:lnTo>
                    <a:lnTo>
                      <a:pt x="1835" y="709"/>
                    </a:lnTo>
                    <a:lnTo>
                      <a:pt x="1835" y="708"/>
                    </a:lnTo>
                    <a:lnTo>
                      <a:pt x="1832" y="711"/>
                    </a:lnTo>
                    <a:lnTo>
                      <a:pt x="1835" y="713"/>
                    </a:lnTo>
                    <a:lnTo>
                      <a:pt x="1835" y="713"/>
                    </a:lnTo>
                    <a:lnTo>
                      <a:pt x="1839" y="713"/>
                    </a:lnTo>
                    <a:lnTo>
                      <a:pt x="1839" y="716"/>
                    </a:lnTo>
                    <a:lnTo>
                      <a:pt x="1832" y="720"/>
                    </a:lnTo>
                    <a:lnTo>
                      <a:pt x="1830" y="716"/>
                    </a:lnTo>
                    <a:lnTo>
                      <a:pt x="1825" y="716"/>
                    </a:lnTo>
                    <a:lnTo>
                      <a:pt x="1823" y="716"/>
                    </a:lnTo>
                    <a:lnTo>
                      <a:pt x="1823" y="720"/>
                    </a:lnTo>
                    <a:lnTo>
                      <a:pt x="1821" y="720"/>
                    </a:lnTo>
                    <a:lnTo>
                      <a:pt x="1818" y="722"/>
                    </a:lnTo>
                    <a:lnTo>
                      <a:pt x="1816" y="722"/>
                    </a:lnTo>
                    <a:lnTo>
                      <a:pt x="1816" y="720"/>
                    </a:lnTo>
                    <a:lnTo>
                      <a:pt x="1807" y="720"/>
                    </a:lnTo>
                    <a:lnTo>
                      <a:pt x="1807" y="722"/>
                    </a:lnTo>
                    <a:lnTo>
                      <a:pt x="1801" y="720"/>
                    </a:lnTo>
                    <a:lnTo>
                      <a:pt x="1795" y="722"/>
                    </a:lnTo>
                    <a:lnTo>
                      <a:pt x="1795" y="722"/>
                    </a:lnTo>
                    <a:lnTo>
                      <a:pt x="1801" y="727"/>
                    </a:lnTo>
                    <a:lnTo>
                      <a:pt x="1799" y="729"/>
                    </a:lnTo>
                    <a:lnTo>
                      <a:pt x="1795" y="732"/>
                    </a:lnTo>
                    <a:lnTo>
                      <a:pt x="1794" y="729"/>
                    </a:lnTo>
                    <a:lnTo>
                      <a:pt x="1790" y="729"/>
                    </a:lnTo>
                    <a:lnTo>
                      <a:pt x="1792" y="725"/>
                    </a:lnTo>
                    <a:lnTo>
                      <a:pt x="1788" y="722"/>
                    </a:lnTo>
                    <a:lnTo>
                      <a:pt x="1787" y="725"/>
                    </a:lnTo>
                    <a:lnTo>
                      <a:pt x="1785" y="725"/>
                    </a:lnTo>
                    <a:lnTo>
                      <a:pt x="1781" y="725"/>
                    </a:lnTo>
                    <a:lnTo>
                      <a:pt x="1776" y="729"/>
                    </a:lnTo>
                    <a:lnTo>
                      <a:pt x="1774" y="727"/>
                    </a:lnTo>
                    <a:lnTo>
                      <a:pt x="1769" y="730"/>
                    </a:lnTo>
                    <a:lnTo>
                      <a:pt x="1764" y="732"/>
                    </a:lnTo>
                    <a:lnTo>
                      <a:pt x="1757" y="736"/>
                    </a:lnTo>
                    <a:lnTo>
                      <a:pt x="1754" y="737"/>
                    </a:lnTo>
                    <a:lnTo>
                      <a:pt x="1754" y="734"/>
                    </a:lnTo>
                    <a:lnTo>
                      <a:pt x="1750" y="736"/>
                    </a:lnTo>
                    <a:lnTo>
                      <a:pt x="1750" y="739"/>
                    </a:lnTo>
                    <a:lnTo>
                      <a:pt x="1743" y="742"/>
                    </a:lnTo>
                    <a:lnTo>
                      <a:pt x="1743" y="748"/>
                    </a:lnTo>
                    <a:lnTo>
                      <a:pt x="1740" y="748"/>
                    </a:lnTo>
                    <a:lnTo>
                      <a:pt x="1738" y="753"/>
                    </a:lnTo>
                    <a:lnTo>
                      <a:pt x="1743" y="760"/>
                    </a:lnTo>
                    <a:lnTo>
                      <a:pt x="1741" y="767"/>
                    </a:lnTo>
                    <a:lnTo>
                      <a:pt x="1736" y="774"/>
                    </a:lnTo>
                    <a:lnTo>
                      <a:pt x="1735" y="779"/>
                    </a:lnTo>
                    <a:lnTo>
                      <a:pt x="1735" y="781"/>
                    </a:lnTo>
                    <a:lnTo>
                      <a:pt x="1735" y="789"/>
                    </a:lnTo>
                    <a:lnTo>
                      <a:pt x="1736" y="791"/>
                    </a:lnTo>
                    <a:lnTo>
                      <a:pt x="1736" y="795"/>
                    </a:lnTo>
                    <a:lnTo>
                      <a:pt x="1735" y="795"/>
                    </a:lnTo>
                    <a:lnTo>
                      <a:pt x="1735" y="796"/>
                    </a:lnTo>
                    <a:lnTo>
                      <a:pt x="1735" y="802"/>
                    </a:lnTo>
                    <a:lnTo>
                      <a:pt x="1731" y="802"/>
                    </a:lnTo>
                    <a:lnTo>
                      <a:pt x="1735" y="807"/>
                    </a:lnTo>
                    <a:lnTo>
                      <a:pt x="1731" y="810"/>
                    </a:lnTo>
                    <a:lnTo>
                      <a:pt x="1729" y="814"/>
                    </a:lnTo>
                    <a:lnTo>
                      <a:pt x="1726" y="821"/>
                    </a:lnTo>
                    <a:lnTo>
                      <a:pt x="1726" y="824"/>
                    </a:lnTo>
                    <a:lnTo>
                      <a:pt x="1722" y="826"/>
                    </a:lnTo>
                    <a:lnTo>
                      <a:pt x="1722" y="831"/>
                    </a:lnTo>
                    <a:lnTo>
                      <a:pt x="1721" y="831"/>
                    </a:lnTo>
                    <a:lnTo>
                      <a:pt x="1719" y="840"/>
                    </a:lnTo>
                    <a:lnTo>
                      <a:pt x="1719" y="847"/>
                    </a:lnTo>
                    <a:lnTo>
                      <a:pt x="1717" y="849"/>
                    </a:lnTo>
                    <a:lnTo>
                      <a:pt x="1719" y="852"/>
                    </a:lnTo>
                    <a:lnTo>
                      <a:pt x="1717" y="857"/>
                    </a:lnTo>
                    <a:lnTo>
                      <a:pt x="1715" y="861"/>
                    </a:lnTo>
                    <a:lnTo>
                      <a:pt x="1712" y="866"/>
                    </a:lnTo>
                    <a:lnTo>
                      <a:pt x="1712" y="866"/>
                    </a:lnTo>
                    <a:lnTo>
                      <a:pt x="1712" y="866"/>
                    </a:lnTo>
                    <a:lnTo>
                      <a:pt x="1712" y="871"/>
                    </a:lnTo>
                    <a:lnTo>
                      <a:pt x="1707" y="876"/>
                    </a:lnTo>
                    <a:lnTo>
                      <a:pt x="1707" y="882"/>
                    </a:lnTo>
                    <a:lnTo>
                      <a:pt x="1700" y="885"/>
                    </a:lnTo>
                    <a:lnTo>
                      <a:pt x="1700" y="890"/>
                    </a:lnTo>
                    <a:lnTo>
                      <a:pt x="1698" y="894"/>
                    </a:lnTo>
                    <a:lnTo>
                      <a:pt x="1698" y="897"/>
                    </a:lnTo>
                    <a:lnTo>
                      <a:pt x="1695" y="901"/>
                    </a:lnTo>
                    <a:lnTo>
                      <a:pt x="1698" y="904"/>
                    </a:lnTo>
                    <a:lnTo>
                      <a:pt x="1700" y="906"/>
                    </a:lnTo>
                    <a:lnTo>
                      <a:pt x="1703" y="904"/>
                    </a:lnTo>
                    <a:lnTo>
                      <a:pt x="1707" y="908"/>
                    </a:lnTo>
                    <a:lnTo>
                      <a:pt x="1708" y="908"/>
                    </a:lnTo>
                    <a:lnTo>
                      <a:pt x="1714" y="904"/>
                    </a:lnTo>
                    <a:lnTo>
                      <a:pt x="1717" y="904"/>
                    </a:lnTo>
                    <a:lnTo>
                      <a:pt x="1719" y="901"/>
                    </a:lnTo>
                    <a:lnTo>
                      <a:pt x="1721" y="902"/>
                    </a:lnTo>
                    <a:lnTo>
                      <a:pt x="1726" y="901"/>
                    </a:lnTo>
                    <a:lnTo>
                      <a:pt x="1726" y="909"/>
                    </a:lnTo>
                    <a:lnTo>
                      <a:pt x="1729" y="916"/>
                    </a:lnTo>
                    <a:lnTo>
                      <a:pt x="1731" y="922"/>
                    </a:lnTo>
                    <a:lnTo>
                      <a:pt x="1729" y="925"/>
                    </a:lnTo>
                    <a:lnTo>
                      <a:pt x="1735" y="929"/>
                    </a:lnTo>
                    <a:lnTo>
                      <a:pt x="1736" y="925"/>
                    </a:lnTo>
                    <a:lnTo>
                      <a:pt x="1736" y="925"/>
                    </a:lnTo>
                    <a:lnTo>
                      <a:pt x="1738" y="925"/>
                    </a:lnTo>
                    <a:lnTo>
                      <a:pt x="1740" y="922"/>
                    </a:lnTo>
                    <a:lnTo>
                      <a:pt x="1743" y="922"/>
                    </a:lnTo>
                    <a:lnTo>
                      <a:pt x="1743" y="922"/>
                    </a:lnTo>
                    <a:lnTo>
                      <a:pt x="1747" y="922"/>
                    </a:lnTo>
                    <a:lnTo>
                      <a:pt x="1750" y="922"/>
                    </a:lnTo>
                    <a:lnTo>
                      <a:pt x="1748" y="922"/>
                    </a:lnTo>
                    <a:lnTo>
                      <a:pt x="1747" y="925"/>
                    </a:lnTo>
                    <a:lnTo>
                      <a:pt x="1747" y="929"/>
                    </a:lnTo>
                    <a:lnTo>
                      <a:pt x="1745" y="929"/>
                    </a:lnTo>
                    <a:lnTo>
                      <a:pt x="1743" y="932"/>
                    </a:lnTo>
                    <a:lnTo>
                      <a:pt x="1743" y="934"/>
                    </a:lnTo>
                    <a:lnTo>
                      <a:pt x="1752" y="932"/>
                    </a:lnTo>
                    <a:lnTo>
                      <a:pt x="1754" y="930"/>
                    </a:lnTo>
                    <a:lnTo>
                      <a:pt x="1757" y="925"/>
                    </a:lnTo>
                    <a:lnTo>
                      <a:pt x="1757" y="922"/>
                    </a:lnTo>
                    <a:lnTo>
                      <a:pt x="1757" y="918"/>
                    </a:lnTo>
                    <a:lnTo>
                      <a:pt x="1759" y="925"/>
                    </a:lnTo>
                    <a:lnTo>
                      <a:pt x="1757" y="929"/>
                    </a:lnTo>
                    <a:lnTo>
                      <a:pt x="1759" y="932"/>
                    </a:lnTo>
                    <a:lnTo>
                      <a:pt x="1762" y="930"/>
                    </a:lnTo>
                    <a:lnTo>
                      <a:pt x="1762" y="925"/>
                    </a:lnTo>
                    <a:lnTo>
                      <a:pt x="1762" y="922"/>
                    </a:lnTo>
                    <a:lnTo>
                      <a:pt x="1762" y="916"/>
                    </a:lnTo>
                    <a:lnTo>
                      <a:pt x="1759" y="913"/>
                    </a:lnTo>
                    <a:lnTo>
                      <a:pt x="1757" y="909"/>
                    </a:lnTo>
                    <a:lnTo>
                      <a:pt x="1762" y="909"/>
                    </a:lnTo>
                    <a:lnTo>
                      <a:pt x="1764" y="911"/>
                    </a:lnTo>
                    <a:lnTo>
                      <a:pt x="1764" y="913"/>
                    </a:lnTo>
                    <a:lnTo>
                      <a:pt x="1764" y="913"/>
                    </a:lnTo>
                    <a:lnTo>
                      <a:pt x="1766" y="913"/>
                    </a:lnTo>
                    <a:lnTo>
                      <a:pt x="1768" y="911"/>
                    </a:lnTo>
                    <a:lnTo>
                      <a:pt x="1771" y="911"/>
                    </a:lnTo>
                    <a:lnTo>
                      <a:pt x="1776" y="908"/>
                    </a:lnTo>
                    <a:lnTo>
                      <a:pt x="1780" y="911"/>
                    </a:lnTo>
                    <a:lnTo>
                      <a:pt x="1785" y="911"/>
                    </a:lnTo>
                    <a:lnTo>
                      <a:pt x="1785" y="913"/>
                    </a:lnTo>
                    <a:lnTo>
                      <a:pt x="1787" y="916"/>
                    </a:lnTo>
                    <a:lnTo>
                      <a:pt x="1790" y="918"/>
                    </a:lnTo>
                    <a:lnTo>
                      <a:pt x="1794" y="918"/>
                    </a:lnTo>
                    <a:lnTo>
                      <a:pt x="1795" y="922"/>
                    </a:lnTo>
                    <a:lnTo>
                      <a:pt x="1804" y="925"/>
                    </a:lnTo>
                    <a:lnTo>
                      <a:pt x="1804" y="927"/>
                    </a:lnTo>
                    <a:lnTo>
                      <a:pt x="1807" y="927"/>
                    </a:lnTo>
                    <a:lnTo>
                      <a:pt x="1809" y="930"/>
                    </a:lnTo>
                    <a:lnTo>
                      <a:pt x="1811" y="930"/>
                    </a:lnTo>
                    <a:lnTo>
                      <a:pt x="1816" y="936"/>
                    </a:lnTo>
                    <a:lnTo>
                      <a:pt x="1813" y="939"/>
                    </a:lnTo>
                    <a:lnTo>
                      <a:pt x="1811" y="941"/>
                    </a:lnTo>
                    <a:lnTo>
                      <a:pt x="1809" y="941"/>
                    </a:lnTo>
                    <a:lnTo>
                      <a:pt x="1813" y="948"/>
                    </a:lnTo>
                    <a:lnTo>
                      <a:pt x="1816" y="948"/>
                    </a:lnTo>
                    <a:lnTo>
                      <a:pt x="1820" y="953"/>
                    </a:lnTo>
                    <a:lnTo>
                      <a:pt x="1820" y="955"/>
                    </a:lnTo>
                    <a:lnTo>
                      <a:pt x="1818" y="958"/>
                    </a:lnTo>
                    <a:lnTo>
                      <a:pt x="1818" y="962"/>
                    </a:lnTo>
                    <a:lnTo>
                      <a:pt x="1821" y="963"/>
                    </a:lnTo>
                    <a:lnTo>
                      <a:pt x="1825" y="963"/>
                    </a:lnTo>
                    <a:lnTo>
                      <a:pt x="1827" y="963"/>
                    </a:lnTo>
                    <a:lnTo>
                      <a:pt x="1827" y="967"/>
                    </a:lnTo>
                    <a:lnTo>
                      <a:pt x="1827" y="969"/>
                    </a:lnTo>
                    <a:lnTo>
                      <a:pt x="1827" y="972"/>
                    </a:lnTo>
                    <a:lnTo>
                      <a:pt x="1830" y="975"/>
                    </a:lnTo>
                    <a:lnTo>
                      <a:pt x="1827" y="975"/>
                    </a:lnTo>
                    <a:lnTo>
                      <a:pt x="1827" y="979"/>
                    </a:lnTo>
                    <a:lnTo>
                      <a:pt x="1827" y="981"/>
                    </a:lnTo>
                    <a:lnTo>
                      <a:pt x="1827" y="986"/>
                    </a:lnTo>
                    <a:lnTo>
                      <a:pt x="1827" y="986"/>
                    </a:lnTo>
                    <a:lnTo>
                      <a:pt x="1827" y="989"/>
                    </a:lnTo>
                    <a:lnTo>
                      <a:pt x="1827" y="991"/>
                    </a:lnTo>
                    <a:lnTo>
                      <a:pt x="1830" y="991"/>
                    </a:lnTo>
                    <a:lnTo>
                      <a:pt x="1827" y="995"/>
                    </a:lnTo>
                    <a:lnTo>
                      <a:pt x="1830" y="1003"/>
                    </a:lnTo>
                    <a:lnTo>
                      <a:pt x="1827" y="1003"/>
                    </a:lnTo>
                    <a:lnTo>
                      <a:pt x="1830" y="1010"/>
                    </a:lnTo>
                    <a:lnTo>
                      <a:pt x="1830" y="1014"/>
                    </a:lnTo>
                    <a:lnTo>
                      <a:pt x="1830" y="1017"/>
                    </a:lnTo>
                    <a:lnTo>
                      <a:pt x="1832" y="1026"/>
                    </a:lnTo>
                    <a:lnTo>
                      <a:pt x="1835" y="1028"/>
                    </a:lnTo>
                    <a:lnTo>
                      <a:pt x="1839" y="1026"/>
                    </a:lnTo>
                    <a:lnTo>
                      <a:pt x="1839" y="1026"/>
                    </a:lnTo>
                    <a:lnTo>
                      <a:pt x="1835" y="1031"/>
                    </a:lnTo>
                    <a:lnTo>
                      <a:pt x="1835" y="1035"/>
                    </a:lnTo>
                    <a:lnTo>
                      <a:pt x="1835" y="1036"/>
                    </a:lnTo>
                    <a:lnTo>
                      <a:pt x="1839" y="1036"/>
                    </a:lnTo>
                    <a:lnTo>
                      <a:pt x="1842" y="1042"/>
                    </a:lnTo>
                    <a:lnTo>
                      <a:pt x="1842" y="1049"/>
                    </a:lnTo>
                    <a:lnTo>
                      <a:pt x="1844" y="1050"/>
                    </a:lnTo>
                    <a:lnTo>
                      <a:pt x="1842" y="1054"/>
                    </a:lnTo>
                    <a:lnTo>
                      <a:pt x="1844" y="1062"/>
                    </a:lnTo>
                    <a:lnTo>
                      <a:pt x="1847" y="1062"/>
                    </a:lnTo>
                    <a:lnTo>
                      <a:pt x="1847" y="1064"/>
                    </a:lnTo>
                    <a:lnTo>
                      <a:pt x="1846" y="1066"/>
                    </a:lnTo>
                    <a:lnTo>
                      <a:pt x="1846" y="1071"/>
                    </a:lnTo>
                    <a:lnTo>
                      <a:pt x="1847" y="1073"/>
                    </a:lnTo>
                    <a:lnTo>
                      <a:pt x="1847" y="1080"/>
                    </a:lnTo>
                    <a:lnTo>
                      <a:pt x="1842" y="1085"/>
                    </a:lnTo>
                    <a:lnTo>
                      <a:pt x="1842" y="1089"/>
                    </a:lnTo>
                    <a:lnTo>
                      <a:pt x="1841" y="1094"/>
                    </a:lnTo>
                    <a:lnTo>
                      <a:pt x="1841" y="1101"/>
                    </a:lnTo>
                    <a:lnTo>
                      <a:pt x="1842" y="1101"/>
                    </a:lnTo>
                    <a:lnTo>
                      <a:pt x="1841" y="1104"/>
                    </a:lnTo>
                    <a:lnTo>
                      <a:pt x="1839" y="1109"/>
                    </a:lnTo>
                    <a:lnTo>
                      <a:pt x="1839" y="1113"/>
                    </a:lnTo>
                    <a:lnTo>
                      <a:pt x="1835" y="1118"/>
                    </a:lnTo>
                    <a:lnTo>
                      <a:pt x="1839" y="1118"/>
                    </a:lnTo>
                    <a:lnTo>
                      <a:pt x="1839" y="1122"/>
                    </a:lnTo>
                    <a:lnTo>
                      <a:pt x="1835" y="1125"/>
                    </a:lnTo>
                    <a:lnTo>
                      <a:pt x="1835" y="1132"/>
                    </a:lnTo>
                    <a:lnTo>
                      <a:pt x="1832" y="1135"/>
                    </a:lnTo>
                    <a:lnTo>
                      <a:pt x="1835" y="1141"/>
                    </a:lnTo>
                    <a:lnTo>
                      <a:pt x="1835" y="1141"/>
                    </a:lnTo>
                    <a:lnTo>
                      <a:pt x="1835" y="1144"/>
                    </a:lnTo>
                    <a:lnTo>
                      <a:pt x="1832" y="1149"/>
                    </a:lnTo>
                    <a:lnTo>
                      <a:pt x="1832" y="1155"/>
                    </a:lnTo>
                    <a:lnTo>
                      <a:pt x="1827" y="1158"/>
                    </a:lnTo>
                    <a:lnTo>
                      <a:pt x="1827" y="1162"/>
                    </a:lnTo>
                    <a:lnTo>
                      <a:pt x="1823" y="1163"/>
                    </a:lnTo>
                    <a:lnTo>
                      <a:pt x="1820" y="1179"/>
                    </a:lnTo>
                    <a:lnTo>
                      <a:pt x="1818" y="1181"/>
                    </a:lnTo>
                    <a:lnTo>
                      <a:pt x="1818" y="1186"/>
                    </a:lnTo>
                    <a:lnTo>
                      <a:pt x="1820" y="1186"/>
                    </a:lnTo>
                    <a:lnTo>
                      <a:pt x="1818" y="1188"/>
                    </a:lnTo>
                    <a:lnTo>
                      <a:pt x="1813" y="1191"/>
                    </a:lnTo>
                    <a:lnTo>
                      <a:pt x="1813" y="1195"/>
                    </a:lnTo>
                    <a:lnTo>
                      <a:pt x="1809" y="1195"/>
                    </a:lnTo>
                    <a:lnTo>
                      <a:pt x="1811" y="1202"/>
                    </a:lnTo>
                    <a:lnTo>
                      <a:pt x="1807" y="1202"/>
                    </a:lnTo>
                    <a:lnTo>
                      <a:pt x="1809" y="1205"/>
                    </a:lnTo>
                    <a:lnTo>
                      <a:pt x="1807" y="1210"/>
                    </a:lnTo>
                    <a:lnTo>
                      <a:pt x="1807" y="1210"/>
                    </a:lnTo>
                    <a:lnTo>
                      <a:pt x="1804" y="1209"/>
                    </a:lnTo>
                    <a:lnTo>
                      <a:pt x="1804" y="1214"/>
                    </a:lnTo>
                    <a:lnTo>
                      <a:pt x="1804" y="1217"/>
                    </a:lnTo>
                    <a:lnTo>
                      <a:pt x="1802" y="1219"/>
                    </a:lnTo>
                    <a:lnTo>
                      <a:pt x="1802" y="1219"/>
                    </a:lnTo>
                    <a:lnTo>
                      <a:pt x="1797" y="1228"/>
                    </a:lnTo>
                    <a:lnTo>
                      <a:pt x="1794" y="1231"/>
                    </a:lnTo>
                    <a:lnTo>
                      <a:pt x="1792" y="1231"/>
                    </a:lnTo>
                    <a:lnTo>
                      <a:pt x="1790" y="1235"/>
                    </a:lnTo>
                    <a:lnTo>
                      <a:pt x="1785" y="1235"/>
                    </a:lnTo>
                    <a:lnTo>
                      <a:pt x="1781" y="1240"/>
                    </a:lnTo>
                    <a:lnTo>
                      <a:pt x="1781" y="1236"/>
                    </a:lnTo>
                    <a:lnTo>
                      <a:pt x="1780" y="1240"/>
                    </a:lnTo>
                    <a:lnTo>
                      <a:pt x="1773" y="1235"/>
                    </a:lnTo>
                    <a:lnTo>
                      <a:pt x="1768" y="1235"/>
                    </a:lnTo>
                    <a:lnTo>
                      <a:pt x="1768" y="1228"/>
                    </a:lnTo>
                    <a:lnTo>
                      <a:pt x="1766" y="1226"/>
                    </a:lnTo>
                    <a:lnTo>
                      <a:pt x="1762" y="1228"/>
                    </a:lnTo>
                    <a:lnTo>
                      <a:pt x="1757" y="1226"/>
                    </a:lnTo>
                    <a:lnTo>
                      <a:pt x="1757" y="1228"/>
                    </a:lnTo>
                    <a:lnTo>
                      <a:pt x="1757" y="1231"/>
                    </a:lnTo>
                    <a:lnTo>
                      <a:pt x="1754" y="1233"/>
                    </a:lnTo>
                    <a:lnTo>
                      <a:pt x="1754" y="1240"/>
                    </a:lnTo>
                    <a:lnTo>
                      <a:pt x="1752" y="1242"/>
                    </a:lnTo>
                    <a:lnTo>
                      <a:pt x="1750" y="1247"/>
                    </a:lnTo>
                    <a:lnTo>
                      <a:pt x="1748" y="1245"/>
                    </a:lnTo>
                    <a:lnTo>
                      <a:pt x="1743" y="1247"/>
                    </a:lnTo>
                    <a:lnTo>
                      <a:pt x="1743" y="1250"/>
                    </a:lnTo>
                    <a:lnTo>
                      <a:pt x="1741" y="1250"/>
                    </a:lnTo>
                    <a:lnTo>
                      <a:pt x="1741" y="1250"/>
                    </a:lnTo>
                    <a:lnTo>
                      <a:pt x="1741" y="1250"/>
                    </a:lnTo>
                    <a:lnTo>
                      <a:pt x="1741" y="1250"/>
                    </a:lnTo>
                    <a:close/>
                    <a:moveTo>
                      <a:pt x="1993" y="1191"/>
                    </a:moveTo>
                    <a:lnTo>
                      <a:pt x="1993" y="1191"/>
                    </a:lnTo>
                    <a:lnTo>
                      <a:pt x="1997" y="1189"/>
                    </a:lnTo>
                    <a:lnTo>
                      <a:pt x="1997" y="1186"/>
                    </a:lnTo>
                    <a:lnTo>
                      <a:pt x="1995" y="1188"/>
                    </a:lnTo>
                    <a:lnTo>
                      <a:pt x="1993" y="1191"/>
                    </a:lnTo>
                    <a:lnTo>
                      <a:pt x="1993" y="1191"/>
                    </a:lnTo>
                    <a:lnTo>
                      <a:pt x="1993" y="1191"/>
                    </a:lnTo>
                    <a:lnTo>
                      <a:pt x="1993" y="1191"/>
                    </a:lnTo>
                    <a:close/>
                    <a:moveTo>
                      <a:pt x="112" y="176"/>
                    </a:moveTo>
                    <a:lnTo>
                      <a:pt x="110" y="172"/>
                    </a:lnTo>
                    <a:lnTo>
                      <a:pt x="110" y="169"/>
                    </a:lnTo>
                    <a:lnTo>
                      <a:pt x="106" y="165"/>
                    </a:lnTo>
                    <a:lnTo>
                      <a:pt x="106" y="165"/>
                    </a:lnTo>
                    <a:lnTo>
                      <a:pt x="105" y="160"/>
                    </a:lnTo>
                    <a:lnTo>
                      <a:pt x="106" y="158"/>
                    </a:lnTo>
                    <a:lnTo>
                      <a:pt x="110" y="155"/>
                    </a:lnTo>
                    <a:lnTo>
                      <a:pt x="115" y="153"/>
                    </a:lnTo>
                    <a:lnTo>
                      <a:pt x="119" y="151"/>
                    </a:lnTo>
                    <a:lnTo>
                      <a:pt x="119" y="153"/>
                    </a:lnTo>
                    <a:lnTo>
                      <a:pt x="122" y="157"/>
                    </a:lnTo>
                    <a:lnTo>
                      <a:pt x="126" y="158"/>
                    </a:lnTo>
                    <a:lnTo>
                      <a:pt x="129" y="158"/>
                    </a:lnTo>
                    <a:lnTo>
                      <a:pt x="131" y="157"/>
                    </a:lnTo>
                    <a:lnTo>
                      <a:pt x="132" y="155"/>
                    </a:lnTo>
                    <a:lnTo>
                      <a:pt x="129" y="153"/>
                    </a:lnTo>
                    <a:lnTo>
                      <a:pt x="126" y="151"/>
                    </a:lnTo>
                    <a:lnTo>
                      <a:pt x="119" y="146"/>
                    </a:lnTo>
                    <a:lnTo>
                      <a:pt x="110" y="144"/>
                    </a:lnTo>
                    <a:lnTo>
                      <a:pt x="105" y="146"/>
                    </a:lnTo>
                    <a:lnTo>
                      <a:pt x="98" y="151"/>
                    </a:lnTo>
                    <a:lnTo>
                      <a:pt x="96" y="157"/>
                    </a:lnTo>
                    <a:lnTo>
                      <a:pt x="91" y="158"/>
                    </a:lnTo>
                    <a:lnTo>
                      <a:pt x="87" y="160"/>
                    </a:lnTo>
                    <a:lnTo>
                      <a:pt x="87" y="169"/>
                    </a:lnTo>
                    <a:lnTo>
                      <a:pt x="91" y="172"/>
                    </a:lnTo>
                    <a:lnTo>
                      <a:pt x="96" y="169"/>
                    </a:lnTo>
                    <a:lnTo>
                      <a:pt x="98" y="172"/>
                    </a:lnTo>
                    <a:lnTo>
                      <a:pt x="99" y="174"/>
                    </a:lnTo>
                    <a:lnTo>
                      <a:pt x="101" y="174"/>
                    </a:lnTo>
                    <a:lnTo>
                      <a:pt x="103" y="172"/>
                    </a:lnTo>
                    <a:lnTo>
                      <a:pt x="103" y="172"/>
                    </a:lnTo>
                    <a:lnTo>
                      <a:pt x="105" y="169"/>
                    </a:lnTo>
                    <a:lnTo>
                      <a:pt x="106" y="172"/>
                    </a:lnTo>
                    <a:lnTo>
                      <a:pt x="110" y="176"/>
                    </a:lnTo>
                    <a:lnTo>
                      <a:pt x="110" y="177"/>
                    </a:lnTo>
                    <a:lnTo>
                      <a:pt x="112" y="176"/>
                    </a:lnTo>
                    <a:lnTo>
                      <a:pt x="112" y="176"/>
                    </a:lnTo>
                    <a:lnTo>
                      <a:pt x="112" y="176"/>
                    </a:lnTo>
                    <a:lnTo>
                      <a:pt x="112" y="176"/>
                    </a:lnTo>
                    <a:close/>
                    <a:moveTo>
                      <a:pt x="138" y="125"/>
                    </a:moveTo>
                    <a:lnTo>
                      <a:pt x="141" y="122"/>
                    </a:lnTo>
                    <a:lnTo>
                      <a:pt x="141" y="118"/>
                    </a:lnTo>
                    <a:lnTo>
                      <a:pt x="143" y="118"/>
                    </a:lnTo>
                    <a:lnTo>
                      <a:pt x="143" y="122"/>
                    </a:lnTo>
                    <a:lnTo>
                      <a:pt x="145" y="123"/>
                    </a:lnTo>
                    <a:lnTo>
                      <a:pt x="145" y="127"/>
                    </a:lnTo>
                    <a:lnTo>
                      <a:pt x="141" y="127"/>
                    </a:lnTo>
                    <a:lnTo>
                      <a:pt x="141" y="127"/>
                    </a:lnTo>
                    <a:lnTo>
                      <a:pt x="138" y="125"/>
                    </a:lnTo>
                    <a:lnTo>
                      <a:pt x="138" y="125"/>
                    </a:lnTo>
                    <a:lnTo>
                      <a:pt x="138" y="125"/>
                    </a:lnTo>
                    <a:lnTo>
                      <a:pt x="138" y="125"/>
                    </a:lnTo>
                    <a:close/>
                    <a:moveTo>
                      <a:pt x="132" y="195"/>
                    </a:moveTo>
                    <a:lnTo>
                      <a:pt x="134" y="195"/>
                    </a:lnTo>
                    <a:lnTo>
                      <a:pt x="134" y="191"/>
                    </a:lnTo>
                    <a:lnTo>
                      <a:pt x="138" y="190"/>
                    </a:lnTo>
                    <a:lnTo>
                      <a:pt x="138" y="188"/>
                    </a:lnTo>
                    <a:lnTo>
                      <a:pt x="138" y="186"/>
                    </a:lnTo>
                    <a:lnTo>
                      <a:pt x="138" y="188"/>
                    </a:lnTo>
                    <a:lnTo>
                      <a:pt x="141" y="186"/>
                    </a:lnTo>
                    <a:lnTo>
                      <a:pt x="141" y="181"/>
                    </a:lnTo>
                    <a:lnTo>
                      <a:pt x="141" y="176"/>
                    </a:lnTo>
                    <a:lnTo>
                      <a:pt x="138" y="174"/>
                    </a:lnTo>
                    <a:lnTo>
                      <a:pt x="138" y="172"/>
                    </a:lnTo>
                    <a:lnTo>
                      <a:pt x="141" y="172"/>
                    </a:lnTo>
                    <a:lnTo>
                      <a:pt x="145" y="172"/>
                    </a:lnTo>
                    <a:lnTo>
                      <a:pt x="150" y="169"/>
                    </a:lnTo>
                    <a:lnTo>
                      <a:pt x="152" y="169"/>
                    </a:lnTo>
                    <a:lnTo>
                      <a:pt x="152" y="169"/>
                    </a:lnTo>
                    <a:lnTo>
                      <a:pt x="150" y="165"/>
                    </a:lnTo>
                    <a:lnTo>
                      <a:pt x="148" y="165"/>
                    </a:lnTo>
                    <a:lnTo>
                      <a:pt x="146" y="165"/>
                    </a:lnTo>
                    <a:lnTo>
                      <a:pt x="146" y="163"/>
                    </a:lnTo>
                    <a:lnTo>
                      <a:pt x="146" y="160"/>
                    </a:lnTo>
                    <a:lnTo>
                      <a:pt x="148" y="158"/>
                    </a:lnTo>
                    <a:lnTo>
                      <a:pt x="150" y="158"/>
                    </a:lnTo>
                    <a:lnTo>
                      <a:pt x="150" y="160"/>
                    </a:lnTo>
                    <a:lnTo>
                      <a:pt x="152" y="160"/>
                    </a:lnTo>
                    <a:lnTo>
                      <a:pt x="153" y="160"/>
                    </a:lnTo>
                    <a:lnTo>
                      <a:pt x="157" y="157"/>
                    </a:lnTo>
                    <a:lnTo>
                      <a:pt x="160" y="155"/>
                    </a:lnTo>
                    <a:lnTo>
                      <a:pt x="160" y="153"/>
                    </a:lnTo>
                    <a:lnTo>
                      <a:pt x="157" y="150"/>
                    </a:lnTo>
                    <a:lnTo>
                      <a:pt x="157" y="150"/>
                    </a:lnTo>
                    <a:lnTo>
                      <a:pt x="155" y="146"/>
                    </a:lnTo>
                    <a:lnTo>
                      <a:pt x="153" y="143"/>
                    </a:lnTo>
                    <a:lnTo>
                      <a:pt x="152" y="143"/>
                    </a:lnTo>
                    <a:lnTo>
                      <a:pt x="148" y="144"/>
                    </a:lnTo>
                    <a:lnTo>
                      <a:pt x="146" y="150"/>
                    </a:lnTo>
                    <a:lnTo>
                      <a:pt x="145" y="150"/>
                    </a:lnTo>
                    <a:lnTo>
                      <a:pt x="143" y="150"/>
                    </a:lnTo>
                    <a:lnTo>
                      <a:pt x="145" y="144"/>
                    </a:lnTo>
                    <a:lnTo>
                      <a:pt x="146" y="141"/>
                    </a:lnTo>
                    <a:lnTo>
                      <a:pt x="148" y="137"/>
                    </a:lnTo>
                    <a:lnTo>
                      <a:pt x="150" y="134"/>
                    </a:lnTo>
                    <a:lnTo>
                      <a:pt x="148" y="132"/>
                    </a:lnTo>
                    <a:lnTo>
                      <a:pt x="145" y="137"/>
                    </a:lnTo>
                    <a:lnTo>
                      <a:pt x="143" y="141"/>
                    </a:lnTo>
                    <a:lnTo>
                      <a:pt x="141" y="141"/>
                    </a:lnTo>
                    <a:lnTo>
                      <a:pt x="141" y="141"/>
                    </a:lnTo>
                    <a:lnTo>
                      <a:pt x="141" y="137"/>
                    </a:lnTo>
                    <a:lnTo>
                      <a:pt x="141" y="136"/>
                    </a:lnTo>
                    <a:lnTo>
                      <a:pt x="141" y="137"/>
                    </a:lnTo>
                    <a:lnTo>
                      <a:pt x="138" y="141"/>
                    </a:lnTo>
                    <a:lnTo>
                      <a:pt x="134" y="141"/>
                    </a:lnTo>
                    <a:lnTo>
                      <a:pt x="134" y="144"/>
                    </a:lnTo>
                    <a:lnTo>
                      <a:pt x="138" y="146"/>
                    </a:lnTo>
                    <a:lnTo>
                      <a:pt x="141" y="144"/>
                    </a:lnTo>
                    <a:lnTo>
                      <a:pt x="141" y="146"/>
                    </a:lnTo>
                    <a:lnTo>
                      <a:pt x="141" y="150"/>
                    </a:lnTo>
                    <a:lnTo>
                      <a:pt x="138" y="150"/>
                    </a:lnTo>
                    <a:lnTo>
                      <a:pt x="134" y="151"/>
                    </a:lnTo>
                    <a:lnTo>
                      <a:pt x="138" y="155"/>
                    </a:lnTo>
                    <a:lnTo>
                      <a:pt x="134" y="158"/>
                    </a:lnTo>
                    <a:lnTo>
                      <a:pt x="134" y="158"/>
                    </a:lnTo>
                    <a:lnTo>
                      <a:pt x="131" y="160"/>
                    </a:lnTo>
                    <a:lnTo>
                      <a:pt x="127" y="163"/>
                    </a:lnTo>
                    <a:lnTo>
                      <a:pt x="124" y="160"/>
                    </a:lnTo>
                    <a:lnTo>
                      <a:pt x="122" y="163"/>
                    </a:lnTo>
                    <a:lnTo>
                      <a:pt x="119" y="160"/>
                    </a:lnTo>
                    <a:lnTo>
                      <a:pt x="115" y="158"/>
                    </a:lnTo>
                    <a:lnTo>
                      <a:pt x="115" y="160"/>
                    </a:lnTo>
                    <a:lnTo>
                      <a:pt x="115" y="163"/>
                    </a:lnTo>
                    <a:lnTo>
                      <a:pt x="115" y="165"/>
                    </a:lnTo>
                    <a:lnTo>
                      <a:pt x="115" y="169"/>
                    </a:lnTo>
                    <a:lnTo>
                      <a:pt x="119" y="169"/>
                    </a:lnTo>
                    <a:lnTo>
                      <a:pt x="119" y="165"/>
                    </a:lnTo>
                    <a:lnTo>
                      <a:pt x="122" y="169"/>
                    </a:lnTo>
                    <a:lnTo>
                      <a:pt x="122" y="172"/>
                    </a:lnTo>
                    <a:lnTo>
                      <a:pt x="126" y="172"/>
                    </a:lnTo>
                    <a:lnTo>
                      <a:pt x="127" y="172"/>
                    </a:lnTo>
                    <a:lnTo>
                      <a:pt x="124" y="174"/>
                    </a:lnTo>
                    <a:lnTo>
                      <a:pt x="120" y="174"/>
                    </a:lnTo>
                    <a:lnTo>
                      <a:pt x="119" y="176"/>
                    </a:lnTo>
                    <a:lnTo>
                      <a:pt x="119" y="184"/>
                    </a:lnTo>
                    <a:lnTo>
                      <a:pt x="120" y="188"/>
                    </a:lnTo>
                    <a:lnTo>
                      <a:pt x="119" y="190"/>
                    </a:lnTo>
                    <a:lnTo>
                      <a:pt x="120" y="191"/>
                    </a:lnTo>
                    <a:lnTo>
                      <a:pt x="122" y="191"/>
                    </a:lnTo>
                    <a:lnTo>
                      <a:pt x="126" y="191"/>
                    </a:lnTo>
                    <a:lnTo>
                      <a:pt x="127" y="188"/>
                    </a:lnTo>
                    <a:lnTo>
                      <a:pt x="127" y="184"/>
                    </a:lnTo>
                    <a:lnTo>
                      <a:pt x="129" y="184"/>
                    </a:lnTo>
                    <a:lnTo>
                      <a:pt x="132" y="188"/>
                    </a:lnTo>
                    <a:lnTo>
                      <a:pt x="132" y="195"/>
                    </a:lnTo>
                    <a:lnTo>
                      <a:pt x="132" y="195"/>
                    </a:lnTo>
                    <a:lnTo>
                      <a:pt x="132" y="195"/>
                    </a:lnTo>
                    <a:lnTo>
                      <a:pt x="132" y="195"/>
                    </a:lnTo>
                    <a:close/>
                    <a:moveTo>
                      <a:pt x="155" y="188"/>
                    </a:moveTo>
                    <a:lnTo>
                      <a:pt x="155" y="184"/>
                    </a:lnTo>
                    <a:lnTo>
                      <a:pt x="157" y="183"/>
                    </a:lnTo>
                    <a:lnTo>
                      <a:pt x="157" y="179"/>
                    </a:lnTo>
                    <a:lnTo>
                      <a:pt x="153" y="177"/>
                    </a:lnTo>
                    <a:lnTo>
                      <a:pt x="150" y="176"/>
                    </a:lnTo>
                    <a:lnTo>
                      <a:pt x="148" y="179"/>
                    </a:lnTo>
                    <a:lnTo>
                      <a:pt x="148" y="183"/>
                    </a:lnTo>
                    <a:lnTo>
                      <a:pt x="150" y="184"/>
                    </a:lnTo>
                    <a:lnTo>
                      <a:pt x="155" y="188"/>
                    </a:lnTo>
                    <a:lnTo>
                      <a:pt x="155" y="188"/>
                    </a:lnTo>
                    <a:lnTo>
                      <a:pt x="155" y="188"/>
                    </a:lnTo>
                    <a:lnTo>
                      <a:pt x="155" y="188"/>
                    </a:lnTo>
                    <a:close/>
                    <a:moveTo>
                      <a:pt x="160" y="197"/>
                    </a:moveTo>
                    <a:lnTo>
                      <a:pt x="160" y="197"/>
                    </a:lnTo>
                    <a:lnTo>
                      <a:pt x="160" y="197"/>
                    </a:lnTo>
                    <a:lnTo>
                      <a:pt x="165" y="195"/>
                    </a:lnTo>
                    <a:lnTo>
                      <a:pt x="169" y="195"/>
                    </a:lnTo>
                    <a:lnTo>
                      <a:pt x="171" y="191"/>
                    </a:lnTo>
                    <a:lnTo>
                      <a:pt x="169" y="191"/>
                    </a:lnTo>
                    <a:lnTo>
                      <a:pt x="165" y="190"/>
                    </a:lnTo>
                    <a:lnTo>
                      <a:pt x="165" y="186"/>
                    </a:lnTo>
                    <a:lnTo>
                      <a:pt x="164" y="181"/>
                    </a:lnTo>
                    <a:lnTo>
                      <a:pt x="160" y="183"/>
                    </a:lnTo>
                    <a:lnTo>
                      <a:pt x="160" y="188"/>
                    </a:lnTo>
                    <a:lnTo>
                      <a:pt x="160" y="191"/>
                    </a:lnTo>
                    <a:lnTo>
                      <a:pt x="157" y="191"/>
                    </a:lnTo>
                    <a:lnTo>
                      <a:pt x="155" y="191"/>
                    </a:lnTo>
                    <a:lnTo>
                      <a:pt x="157" y="195"/>
                    </a:lnTo>
                    <a:lnTo>
                      <a:pt x="160" y="197"/>
                    </a:lnTo>
                    <a:lnTo>
                      <a:pt x="160" y="197"/>
                    </a:lnTo>
                    <a:lnTo>
                      <a:pt x="160" y="197"/>
                    </a:lnTo>
                    <a:lnTo>
                      <a:pt x="160" y="197"/>
                    </a:lnTo>
                    <a:close/>
                    <a:moveTo>
                      <a:pt x="204" y="75"/>
                    </a:moveTo>
                    <a:lnTo>
                      <a:pt x="207" y="73"/>
                    </a:lnTo>
                    <a:lnTo>
                      <a:pt x="211" y="73"/>
                    </a:lnTo>
                    <a:lnTo>
                      <a:pt x="211" y="71"/>
                    </a:lnTo>
                    <a:lnTo>
                      <a:pt x="211" y="70"/>
                    </a:lnTo>
                    <a:lnTo>
                      <a:pt x="211" y="68"/>
                    </a:lnTo>
                    <a:lnTo>
                      <a:pt x="211" y="64"/>
                    </a:lnTo>
                    <a:lnTo>
                      <a:pt x="209" y="63"/>
                    </a:lnTo>
                    <a:lnTo>
                      <a:pt x="205" y="64"/>
                    </a:lnTo>
                    <a:lnTo>
                      <a:pt x="202" y="66"/>
                    </a:lnTo>
                    <a:lnTo>
                      <a:pt x="198" y="68"/>
                    </a:lnTo>
                    <a:lnTo>
                      <a:pt x="198" y="68"/>
                    </a:lnTo>
                    <a:lnTo>
                      <a:pt x="200" y="70"/>
                    </a:lnTo>
                    <a:lnTo>
                      <a:pt x="202" y="73"/>
                    </a:lnTo>
                    <a:lnTo>
                      <a:pt x="202" y="73"/>
                    </a:lnTo>
                    <a:lnTo>
                      <a:pt x="204" y="75"/>
                    </a:lnTo>
                    <a:lnTo>
                      <a:pt x="204" y="75"/>
                    </a:lnTo>
                    <a:lnTo>
                      <a:pt x="204" y="75"/>
                    </a:lnTo>
                    <a:lnTo>
                      <a:pt x="204" y="75"/>
                    </a:lnTo>
                    <a:close/>
                    <a:moveTo>
                      <a:pt x="207" y="82"/>
                    </a:moveTo>
                    <a:lnTo>
                      <a:pt x="207" y="78"/>
                    </a:lnTo>
                    <a:lnTo>
                      <a:pt x="207" y="78"/>
                    </a:lnTo>
                    <a:lnTo>
                      <a:pt x="209" y="78"/>
                    </a:lnTo>
                    <a:lnTo>
                      <a:pt x="207" y="82"/>
                    </a:lnTo>
                    <a:lnTo>
                      <a:pt x="207" y="82"/>
                    </a:lnTo>
                    <a:lnTo>
                      <a:pt x="207" y="82"/>
                    </a:lnTo>
                    <a:lnTo>
                      <a:pt x="207" y="82"/>
                    </a:lnTo>
                    <a:close/>
                    <a:moveTo>
                      <a:pt x="207" y="92"/>
                    </a:moveTo>
                    <a:lnTo>
                      <a:pt x="209" y="90"/>
                    </a:lnTo>
                    <a:lnTo>
                      <a:pt x="211" y="87"/>
                    </a:lnTo>
                    <a:lnTo>
                      <a:pt x="211" y="87"/>
                    </a:lnTo>
                    <a:lnTo>
                      <a:pt x="211" y="85"/>
                    </a:lnTo>
                    <a:lnTo>
                      <a:pt x="209" y="87"/>
                    </a:lnTo>
                    <a:lnTo>
                      <a:pt x="205" y="87"/>
                    </a:lnTo>
                    <a:lnTo>
                      <a:pt x="204" y="85"/>
                    </a:lnTo>
                    <a:lnTo>
                      <a:pt x="200" y="85"/>
                    </a:lnTo>
                    <a:lnTo>
                      <a:pt x="198" y="87"/>
                    </a:lnTo>
                    <a:lnTo>
                      <a:pt x="195" y="87"/>
                    </a:lnTo>
                    <a:lnTo>
                      <a:pt x="193" y="90"/>
                    </a:lnTo>
                    <a:lnTo>
                      <a:pt x="195" y="92"/>
                    </a:lnTo>
                    <a:lnTo>
                      <a:pt x="198" y="94"/>
                    </a:lnTo>
                    <a:lnTo>
                      <a:pt x="202" y="90"/>
                    </a:lnTo>
                    <a:lnTo>
                      <a:pt x="204" y="94"/>
                    </a:lnTo>
                    <a:lnTo>
                      <a:pt x="205" y="94"/>
                    </a:lnTo>
                    <a:lnTo>
                      <a:pt x="207" y="92"/>
                    </a:lnTo>
                    <a:lnTo>
                      <a:pt x="207" y="92"/>
                    </a:lnTo>
                    <a:lnTo>
                      <a:pt x="207" y="92"/>
                    </a:lnTo>
                    <a:lnTo>
                      <a:pt x="207" y="92"/>
                    </a:lnTo>
                    <a:close/>
                    <a:moveTo>
                      <a:pt x="214" y="92"/>
                    </a:moveTo>
                    <a:lnTo>
                      <a:pt x="214" y="90"/>
                    </a:lnTo>
                    <a:lnTo>
                      <a:pt x="216" y="87"/>
                    </a:lnTo>
                    <a:lnTo>
                      <a:pt x="219" y="87"/>
                    </a:lnTo>
                    <a:lnTo>
                      <a:pt x="219" y="87"/>
                    </a:lnTo>
                    <a:lnTo>
                      <a:pt x="221" y="90"/>
                    </a:lnTo>
                    <a:lnTo>
                      <a:pt x="219" y="92"/>
                    </a:lnTo>
                    <a:lnTo>
                      <a:pt x="219" y="94"/>
                    </a:lnTo>
                    <a:lnTo>
                      <a:pt x="214" y="92"/>
                    </a:lnTo>
                    <a:lnTo>
                      <a:pt x="214" y="92"/>
                    </a:lnTo>
                    <a:lnTo>
                      <a:pt x="214" y="92"/>
                    </a:lnTo>
                    <a:lnTo>
                      <a:pt x="214" y="92"/>
                    </a:lnTo>
                    <a:close/>
                    <a:moveTo>
                      <a:pt x="202" y="110"/>
                    </a:moveTo>
                    <a:lnTo>
                      <a:pt x="205" y="106"/>
                    </a:lnTo>
                    <a:lnTo>
                      <a:pt x="207" y="101"/>
                    </a:lnTo>
                    <a:lnTo>
                      <a:pt x="211" y="99"/>
                    </a:lnTo>
                    <a:lnTo>
                      <a:pt x="211" y="97"/>
                    </a:lnTo>
                    <a:lnTo>
                      <a:pt x="207" y="96"/>
                    </a:lnTo>
                    <a:lnTo>
                      <a:pt x="204" y="97"/>
                    </a:lnTo>
                    <a:lnTo>
                      <a:pt x="200" y="96"/>
                    </a:lnTo>
                    <a:lnTo>
                      <a:pt x="195" y="96"/>
                    </a:lnTo>
                    <a:lnTo>
                      <a:pt x="195" y="99"/>
                    </a:lnTo>
                    <a:lnTo>
                      <a:pt x="193" y="103"/>
                    </a:lnTo>
                    <a:lnTo>
                      <a:pt x="195" y="103"/>
                    </a:lnTo>
                    <a:lnTo>
                      <a:pt x="197" y="103"/>
                    </a:lnTo>
                    <a:lnTo>
                      <a:pt x="198" y="106"/>
                    </a:lnTo>
                    <a:lnTo>
                      <a:pt x="198" y="108"/>
                    </a:lnTo>
                    <a:lnTo>
                      <a:pt x="195" y="108"/>
                    </a:lnTo>
                    <a:lnTo>
                      <a:pt x="188" y="110"/>
                    </a:lnTo>
                    <a:lnTo>
                      <a:pt x="188" y="113"/>
                    </a:lnTo>
                    <a:lnTo>
                      <a:pt x="192" y="113"/>
                    </a:lnTo>
                    <a:lnTo>
                      <a:pt x="193" y="115"/>
                    </a:lnTo>
                    <a:lnTo>
                      <a:pt x="197" y="113"/>
                    </a:lnTo>
                    <a:lnTo>
                      <a:pt x="197" y="113"/>
                    </a:lnTo>
                    <a:lnTo>
                      <a:pt x="202" y="110"/>
                    </a:lnTo>
                    <a:lnTo>
                      <a:pt x="202" y="110"/>
                    </a:lnTo>
                    <a:lnTo>
                      <a:pt x="202" y="110"/>
                    </a:lnTo>
                    <a:lnTo>
                      <a:pt x="202" y="110"/>
                    </a:lnTo>
                    <a:close/>
                    <a:moveTo>
                      <a:pt x="211" y="110"/>
                    </a:moveTo>
                    <a:lnTo>
                      <a:pt x="209" y="110"/>
                    </a:lnTo>
                    <a:lnTo>
                      <a:pt x="207" y="113"/>
                    </a:lnTo>
                    <a:lnTo>
                      <a:pt x="204" y="110"/>
                    </a:lnTo>
                    <a:lnTo>
                      <a:pt x="205" y="108"/>
                    </a:lnTo>
                    <a:lnTo>
                      <a:pt x="209" y="106"/>
                    </a:lnTo>
                    <a:lnTo>
                      <a:pt x="211" y="104"/>
                    </a:lnTo>
                    <a:lnTo>
                      <a:pt x="214" y="106"/>
                    </a:lnTo>
                    <a:lnTo>
                      <a:pt x="211" y="108"/>
                    </a:lnTo>
                    <a:lnTo>
                      <a:pt x="211" y="110"/>
                    </a:lnTo>
                    <a:lnTo>
                      <a:pt x="211" y="110"/>
                    </a:lnTo>
                    <a:lnTo>
                      <a:pt x="211" y="110"/>
                    </a:lnTo>
                    <a:lnTo>
                      <a:pt x="211" y="110"/>
                    </a:lnTo>
                    <a:close/>
                    <a:moveTo>
                      <a:pt x="221" y="118"/>
                    </a:moveTo>
                    <a:lnTo>
                      <a:pt x="216" y="113"/>
                    </a:lnTo>
                    <a:lnTo>
                      <a:pt x="214" y="110"/>
                    </a:lnTo>
                    <a:lnTo>
                      <a:pt x="216" y="110"/>
                    </a:lnTo>
                    <a:lnTo>
                      <a:pt x="219" y="110"/>
                    </a:lnTo>
                    <a:lnTo>
                      <a:pt x="219" y="113"/>
                    </a:lnTo>
                    <a:lnTo>
                      <a:pt x="223" y="110"/>
                    </a:lnTo>
                    <a:lnTo>
                      <a:pt x="225" y="113"/>
                    </a:lnTo>
                    <a:lnTo>
                      <a:pt x="225" y="118"/>
                    </a:lnTo>
                    <a:lnTo>
                      <a:pt x="221" y="118"/>
                    </a:lnTo>
                    <a:lnTo>
                      <a:pt x="221" y="118"/>
                    </a:lnTo>
                    <a:lnTo>
                      <a:pt x="221" y="118"/>
                    </a:lnTo>
                    <a:lnTo>
                      <a:pt x="221" y="118"/>
                    </a:lnTo>
                    <a:close/>
                    <a:moveTo>
                      <a:pt x="216" y="127"/>
                    </a:moveTo>
                    <a:lnTo>
                      <a:pt x="214" y="123"/>
                    </a:lnTo>
                    <a:lnTo>
                      <a:pt x="207" y="118"/>
                    </a:lnTo>
                    <a:lnTo>
                      <a:pt x="202" y="118"/>
                    </a:lnTo>
                    <a:lnTo>
                      <a:pt x="198" y="118"/>
                    </a:lnTo>
                    <a:lnTo>
                      <a:pt x="197" y="115"/>
                    </a:lnTo>
                    <a:lnTo>
                      <a:pt x="197" y="113"/>
                    </a:lnTo>
                    <a:lnTo>
                      <a:pt x="200" y="113"/>
                    </a:lnTo>
                    <a:lnTo>
                      <a:pt x="205" y="113"/>
                    </a:lnTo>
                    <a:lnTo>
                      <a:pt x="211" y="115"/>
                    </a:lnTo>
                    <a:lnTo>
                      <a:pt x="216" y="120"/>
                    </a:lnTo>
                    <a:lnTo>
                      <a:pt x="219" y="120"/>
                    </a:lnTo>
                    <a:lnTo>
                      <a:pt x="219" y="118"/>
                    </a:lnTo>
                    <a:lnTo>
                      <a:pt x="221" y="120"/>
                    </a:lnTo>
                    <a:lnTo>
                      <a:pt x="219" y="122"/>
                    </a:lnTo>
                    <a:lnTo>
                      <a:pt x="219" y="127"/>
                    </a:lnTo>
                    <a:lnTo>
                      <a:pt x="216" y="127"/>
                    </a:lnTo>
                    <a:lnTo>
                      <a:pt x="216" y="127"/>
                    </a:lnTo>
                    <a:lnTo>
                      <a:pt x="216" y="127"/>
                    </a:lnTo>
                    <a:lnTo>
                      <a:pt x="216" y="127"/>
                    </a:lnTo>
                    <a:close/>
                    <a:moveTo>
                      <a:pt x="219" y="137"/>
                    </a:moveTo>
                    <a:lnTo>
                      <a:pt x="219" y="132"/>
                    </a:lnTo>
                    <a:lnTo>
                      <a:pt x="216" y="129"/>
                    </a:lnTo>
                    <a:lnTo>
                      <a:pt x="214" y="129"/>
                    </a:lnTo>
                    <a:lnTo>
                      <a:pt x="209" y="127"/>
                    </a:lnTo>
                    <a:lnTo>
                      <a:pt x="204" y="123"/>
                    </a:lnTo>
                    <a:lnTo>
                      <a:pt x="202" y="122"/>
                    </a:lnTo>
                    <a:lnTo>
                      <a:pt x="200" y="120"/>
                    </a:lnTo>
                    <a:lnTo>
                      <a:pt x="195" y="122"/>
                    </a:lnTo>
                    <a:lnTo>
                      <a:pt x="192" y="120"/>
                    </a:lnTo>
                    <a:lnTo>
                      <a:pt x="186" y="120"/>
                    </a:lnTo>
                    <a:lnTo>
                      <a:pt x="181" y="120"/>
                    </a:lnTo>
                    <a:lnTo>
                      <a:pt x="183" y="123"/>
                    </a:lnTo>
                    <a:lnTo>
                      <a:pt x="183" y="125"/>
                    </a:lnTo>
                    <a:lnTo>
                      <a:pt x="185" y="127"/>
                    </a:lnTo>
                    <a:lnTo>
                      <a:pt x="188" y="129"/>
                    </a:lnTo>
                    <a:lnTo>
                      <a:pt x="192" y="125"/>
                    </a:lnTo>
                    <a:lnTo>
                      <a:pt x="192" y="125"/>
                    </a:lnTo>
                    <a:lnTo>
                      <a:pt x="195" y="129"/>
                    </a:lnTo>
                    <a:lnTo>
                      <a:pt x="195" y="132"/>
                    </a:lnTo>
                    <a:lnTo>
                      <a:pt x="198" y="132"/>
                    </a:lnTo>
                    <a:lnTo>
                      <a:pt x="200" y="130"/>
                    </a:lnTo>
                    <a:lnTo>
                      <a:pt x="202" y="134"/>
                    </a:lnTo>
                    <a:lnTo>
                      <a:pt x="205" y="136"/>
                    </a:lnTo>
                    <a:lnTo>
                      <a:pt x="211" y="136"/>
                    </a:lnTo>
                    <a:lnTo>
                      <a:pt x="214" y="137"/>
                    </a:lnTo>
                    <a:lnTo>
                      <a:pt x="216" y="137"/>
                    </a:lnTo>
                    <a:lnTo>
                      <a:pt x="219" y="137"/>
                    </a:lnTo>
                    <a:lnTo>
                      <a:pt x="219" y="137"/>
                    </a:lnTo>
                    <a:lnTo>
                      <a:pt x="219" y="137"/>
                    </a:lnTo>
                    <a:lnTo>
                      <a:pt x="219" y="137"/>
                    </a:lnTo>
                    <a:close/>
                    <a:moveTo>
                      <a:pt x="193" y="143"/>
                    </a:moveTo>
                    <a:lnTo>
                      <a:pt x="193" y="143"/>
                    </a:lnTo>
                    <a:lnTo>
                      <a:pt x="192" y="141"/>
                    </a:lnTo>
                    <a:lnTo>
                      <a:pt x="192" y="141"/>
                    </a:lnTo>
                    <a:lnTo>
                      <a:pt x="186" y="141"/>
                    </a:lnTo>
                    <a:lnTo>
                      <a:pt x="185" y="137"/>
                    </a:lnTo>
                    <a:lnTo>
                      <a:pt x="185" y="137"/>
                    </a:lnTo>
                    <a:lnTo>
                      <a:pt x="186" y="136"/>
                    </a:lnTo>
                    <a:lnTo>
                      <a:pt x="188" y="134"/>
                    </a:lnTo>
                    <a:lnTo>
                      <a:pt x="193" y="136"/>
                    </a:lnTo>
                    <a:lnTo>
                      <a:pt x="195" y="134"/>
                    </a:lnTo>
                    <a:lnTo>
                      <a:pt x="197" y="137"/>
                    </a:lnTo>
                    <a:lnTo>
                      <a:pt x="198" y="137"/>
                    </a:lnTo>
                    <a:lnTo>
                      <a:pt x="198" y="136"/>
                    </a:lnTo>
                    <a:lnTo>
                      <a:pt x="200" y="137"/>
                    </a:lnTo>
                    <a:lnTo>
                      <a:pt x="202" y="137"/>
                    </a:lnTo>
                    <a:lnTo>
                      <a:pt x="200" y="141"/>
                    </a:lnTo>
                    <a:lnTo>
                      <a:pt x="193" y="143"/>
                    </a:lnTo>
                    <a:lnTo>
                      <a:pt x="193" y="143"/>
                    </a:lnTo>
                    <a:lnTo>
                      <a:pt x="193" y="143"/>
                    </a:lnTo>
                    <a:lnTo>
                      <a:pt x="193" y="143"/>
                    </a:lnTo>
                    <a:close/>
                    <a:moveTo>
                      <a:pt x="188" y="160"/>
                    </a:moveTo>
                    <a:lnTo>
                      <a:pt x="185" y="158"/>
                    </a:lnTo>
                    <a:lnTo>
                      <a:pt x="185" y="153"/>
                    </a:lnTo>
                    <a:lnTo>
                      <a:pt x="183" y="153"/>
                    </a:lnTo>
                    <a:lnTo>
                      <a:pt x="183" y="158"/>
                    </a:lnTo>
                    <a:lnTo>
                      <a:pt x="181" y="158"/>
                    </a:lnTo>
                    <a:lnTo>
                      <a:pt x="183" y="160"/>
                    </a:lnTo>
                    <a:lnTo>
                      <a:pt x="186" y="160"/>
                    </a:lnTo>
                    <a:lnTo>
                      <a:pt x="188" y="160"/>
                    </a:lnTo>
                    <a:lnTo>
                      <a:pt x="188" y="160"/>
                    </a:lnTo>
                    <a:lnTo>
                      <a:pt x="188" y="160"/>
                    </a:lnTo>
                    <a:lnTo>
                      <a:pt x="188" y="160"/>
                    </a:lnTo>
                    <a:close/>
                    <a:moveTo>
                      <a:pt x="192" y="160"/>
                    </a:moveTo>
                    <a:lnTo>
                      <a:pt x="192" y="160"/>
                    </a:lnTo>
                    <a:lnTo>
                      <a:pt x="192" y="158"/>
                    </a:lnTo>
                    <a:lnTo>
                      <a:pt x="192" y="155"/>
                    </a:lnTo>
                    <a:lnTo>
                      <a:pt x="188" y="151"/>
                    </a:lnTo>
                    <a:lnTo>
                      <a:pt x="188" y="151"/>
                    </a:lnTo>
                    <a:lnTo>
                      <a:pt x="188" y="155"/>
                    </a:lnTo>
                    <a:lnTo>
                      <a:pt x="192" y="160"/>
                    </a:lnTo>
                    <a:lnTo>
                      <a:pt x="192" y="160"/>
                    </a:lnTo>
                    <a:lnTo>
                      <a:pt x="192" y="160"/>
                    </a:lnTo>
                    <a:lnTo>
                      <a:pt x="192" y="160"/>
                    </a:lnTo>
                    <a:close/>
                    <a:moveTo>
                      <a:pt x="197" y="157"/>
                    </a:moveTo>
                    <a:lnTo>
                      <a:pt x="197" y="157"/>
                    </a:lnTo>
                    <a:lnTo>
                      <a:pt x="200" y="158"/>
                    </a:lnTo>
                    <a:lnTo>
                      <a:pt x="200" y="157"/>
                    </a:lnTo>
                    <a:lnTo>
                      <a:pt x="198" y="153"/>
                    </a:lnTo>
                    <a:lnTo>
                      <a:pt x="195" y="151"/>
                    </a:lnTo>
                    <a:lnTo>
                      <a:pt x="193" y="153"/>
                    </a:lnTo>
                    <a:lnTo>
                      <a:pt x="197" y="157"/>
                    </a:lnTo>
                    <a:lnTo>
                      <a:pt x="197" y="157"/>
                    </a:lnTo>
                    <a:lnTo>
                      <a:pt x="197" y="157"/>
                    </a:lnTo>
                    <a:lnTo>
                      <a:pt x="197" y="157"/>
                    </a:lnTo>
                    <a:close/>
                    <a:moveTo>
                      <a:pt x="195" y="165"/>
                    </a:moveTo>
                    <a:lnTo>
                      <a:pt x="197" y="165"/>
                    </a:lnTo>
                    <a:lnTo>
                      <a:pt x="198" y="160"/>
                    </a:lnTo>
                    <a:lnTo>
                      <a:pt x="197" y="158"/>
                    </a:lnTo>
                    <a:lnTo>
                      <a:pt x="195" y="157"/>
                    </a:lnTo>
                    <a:lnTo>
                      <a:pt x="193" y="158"/>
                    </a:lnTo>
                    <a:lnTo>
                      <a:pt x="195" y="160"/>
                    </a:lnTo>
                    <a:lnTo>
                      <a:pt x="193" y="163"/>
                    </a:lnTo>
                    <a:lnTo>
                      <a:pt x="195" y="165"/>
                    </a:lnTo>
                    <a:lnTo>
                      <a:pt x="195" y="165"/>
                    </a:lnTo>
                    <a:lnTo>
                      <a:pt x="195" y="165"/>
                    </a:lnTo>
                    <a:lnTo>
                      <a:pt x="195" y="165"/>
                    </a:lnTo>
                    <a:close/>
                    <a:moveTo>
                      <a:pt x="192" y="172"/>
                    </a:moveTo>
                    <a:lnTo>
                      <a:pt x="192" y="172"/>
                    </a:lnTo>
                    <a:lnTo>
                      <a:pt x="188" y="172"/>
                    </a:lnTo>
                    <a:lnTo>
                      <a:pt x="186" y="169"/>
                    </a:lnTo>
                    <a:lnTo>
                      <a:pt x="185" y="169"/>
                    </a:lnTo>
                    <a:lnTo>
                      <a:pt x="181" y="169"/>
                    </a:lnTo>
                    <a:lnTo>
                      <a:pt x="183" y="172"/>
                    </a:lnTo>
                    <a:lnTo>
                      <a:pt x="183" y="174"/>
                    </a:lnTo>
                    <a:lnTo>
                      <a:pt x="179" y="176"/>
                    </a:lnTo>
                    <a:lnTo>
                      <a:pt x="181" y="179"/>
                    </a:lnTo>
                    <a:lnTo>
                      <a:pt x="186" y="179"/>
                    </a:lnTo>
                    <a:lnTo>
                      <a:pt x="192" y="177"/>
                    </a:lnTo>
                    <a:lnTo>
                      <a:pt x="192" y="172"/>
                    </a:lnTo>
                    <a:lnTo>
                      <a:pt x="192" y="172"/>
                    </a:lnTo>
                    <a:lnTo>
                      <a:pt x="192" y="172"/>
                    </a:lnTo>
                    <a:lnTo>
                      <a:pt x="192" y="172"/>
                    </a:lnTo>
                    <a:close/>
                    <a:moveTo>
                      <a:pt x="193" y="169"/>
                    </a:moveTo>
                    <a:lnTo>
                      <a:pt x="193" y="172"/>
                    </a:lnTo>
                    <a:lnTo>
                      <a:pt x="195" y="174"/>
                    </a:lnTo>
                    <a:lnTo>
                      <a:pt x="197" y="174"/>
                    </a:lnTo>
                    <a:lnTo>
                      <a:pt x="197" y="172"/>
                    </a:lnTo>
                    <a:lnTo>
                      <a:pt x="195" y="169"/>
                    </a:lnTo>
                    <a:lnTo>
                      <a:pt x="193" y="169"/>
                    </a:lnTo>
                    <a:lnTo>
                      <a:pt x="193" y="169"/>
                    </a:lnTo>
                    <a:lnTo>
                      <a:pt x="193" y="169"/>
                    </a:lnTo>
                    <a:lnTo>
                      <a:pt x="193" y="169"/>
                    </a:lnTo>
                    <a:close/>
                    <a:moveTo>
                      <a:pt x="221" y="130"/>
                    </a:moveTo>
                    <a:lnTo>
                      <a:pt x="221" y="127"/>
                    </a:lnTo>
                    <a:lnTo>
                      <a:pt x="223" y="125"/>
                    </a:lnTo>
                    <a:lnTo>
                      <a:pt x="223" y="122"/>
                    </a:lnTo>
                    <a:lnTo>
                      <a:pt x="225" y="120"/>
                    </a:lnTo>
                    <a:lnTo>
                      <a:pt x="226" y="120"/>
                    </a:lnTo>
                    <a:lnTo>
                      <a:pt x="228" y="123"/>
                    </a:lnTo>
                    <a:lnTo>
                      <a:pt x="230" y="127"/>
                    </a:lnTo>
                    <a:lnTo>
                      <a:pt x="228" y="127"/>
                    </a:lnTo>
                    <a:lnTo>
                      <a:pt x="228" y="129"/>
                    </a:lnTo>
                    <a:lnTo>
                      <a:pt x="226" y="130"/>
                    </a:lnTo>
                    <a:lnTo>
                      <a:pt x="223" y="130"/>
                    </a:lnTo>
                    <a:lnTo>
                      <a:pt x="221" y="130"/>
                    </a:lnTo>
                    <a:lnTo>
                      <a:pt x="221" y="130"/>
                    </a:lnTo>
                    <a:lnTo>
                      <a:pt x="221" y="130"/>
                    </a:lnTo>
                    <a:lnTo>
                      <a:pt x="221" y="130"/>
                    </a:lnTo>
                    <a:close/>
                    <a:moveTo>
                      <a:pt x="200" y="165"/>
                    </a:moveTo>
                    <a:lnTo>
                      <a:pt x="202" y="169"/>
                    </a:lnTo>
                    <a:lnTo>
                      <a:pt x="205" y="169"/>
                    </a:lnTo>
                    <a:lnTo>
                      <a:pt x="209" y="169"/>
                    </a:lnTo>
                    <a:lnTo>
                      <a:pt x="209" y="169"/>
                    </a:lnTo>
                    <a:lnTo>
                      <a:pt x="209" y="165"/>
                    </a:lnTo>
                    <a:lnTo>
                      <a:pt x="207" y="163"/>
                    </a:lnTo>
                    <a:lnTo>
                      <a:pt x="205" y="163"/>
                    </a:lnTo>
                    <a:lnTo>
                      <a:pt x="204" y="165"/>
                    </a:lnTo>
                    <a:lnTo>
                      <a:pt x="200" y="165"/>
                    </a:lnTo>
                    <a:lnTo>
                      <a:pt x="200" y="165"/>
                    </a:lnTo>
                    <a:lnTo>
                      <a:pt x="200" y="165"/>
                    </a:lnTo>
                    <a:lnTo>
                      <a:pt x="200" y="165"/>
                    </a:lnTo>
                    <a:close/>
                    <a:moveTo>
                      <a:pt x="202" y="160"/>
                    </a:moveTo>
                    <a:lnTo>
                      <a:pt x="204" y="160"/>
                    </a:lnTo>
                    <a:lnTo>
                      <a:pt x="205" y="158"/>
                    </a:lnTo>
                    <a:lnTo>
                      <a:pt x="205" y="157"/>
                    </a:lnTo>
                    <a:lnTo>
                      <a:pt x="204" y="157"/>
                    </a:lnTo>
                    <a:lnTo>
                      <a:pt x="202" y="160"/>
                    </a:lnTo>
                    <a:lnTo>
                      <a:pt x="202" y="160"/>
                    </a:lnTo>
                    <a:lnTo>
                      <a:pt x="202" y="160"/>
                    </a:lnTo>
                    <a:lnTo>
                      <a:pt x="202" y="160"/>
                    </a:lnTo>
                    <a:close/>
                    <a:moveTo>
                      <a:pt x="207" y="158"/>
                    </a:moveTo>
                    <a:lnTo>
                      <a:pt x="209" y="160"/>
                    </a:lnTo>
                    <a:lnTo>
                      <a:pt x="211" y="160"/>
                    </a:lnTo>
                    <a:lnTo>
                      <a:pt x="211" y="158"/>
                    </a:lnTo>
                    <a:lnTo>
                      <a:pt x="214" y="157"/>
                    </a:lnTo>
                    <a:lnTo>
                      <a:pt x="211" y="157"/>
                    </a:lnTo>
                    <a:lnTo>
                      <a:pt x="211" y="157"/>
                    </a:lnTo>
                    <a:lnTo>
                      <a:pt x="211" y="157"/>
                    </a:lnTo>
                    <a:lnTo>
                      <a:pt x="207" y="158"/>
                    </a:lnTo>
                    <a:lnTo>
                      <a:pt x="207" y="158"/>
                    </a:lnTo>
                    <a:lnTo>
                      <a:pt x="207" y="158"/>
                    </a:lnTo>
                    <a:lnTo>
                      <a:pt x="207" y="158"/>
                    </a:lnTo>
                    <a:close/>
                    <a:moveTo>
                      <a:pt x="209" y="143"/>
                    </a:moveTo>
                    <a:lnTo>
                      <a:pt x="207" y="146"/>
                    </a:lnTo>
                    <a:lnTo>
                      <a:pt x="204" y="146"/>
                    </a:lnTo>
                    <a:lnTo>
                      <a:pt x="202" y="144"/>
                    </a:lnTo>
                    <a:lnTo>
                      <a:pt x="202" y="141"/>
                    </a:lnTo>
                    <a:lnTo>
                      <a:pt x="205" y="137"/>
                    </a:lnTo>
                    <a:lnTo>
                      <a:pt x="209" y="137"/>
                    </a:lnTo>
                    <a:lnTo>
                      <a:pt x="211" y="137"/>
                    </a:lnTo>
                    <a:lnTo>
                      <a:pt x="214" y="141"/>
                    </a:lnTo>
                    <a:lnTo>
                      <a:pt x="214" y="141"/>
                    </a:lnTo>
                    <a:lnTo>
                      <a:pt x="214" y="143"/>
                    </a:lnTo>
                    <a:lnTo>
                      <a:pt x="214" y="144"/>
                    </a:lnTo>
                    <a:lnTo>
                      <a:pt x="211" y="144"/>
                    </a:lnTo>
                    <a:lnTo>
                      <a:pt x="209" y="143"/>
                    </a:lnTo>
                    <a:lnTo>
                      <a:pt x="209" y="143"/>
                    </a:lnTo>
                    <a:lnTo>
                      <a:pt x="209" y="143"/>
                    </a:lnTo>
                    <a:lnTo>
                      <a:pt x="209" y="143"/>
                    </a:lnTo>
                    <a:close/>
                    <a:moveTo>
                      <a:pt x="221" y="143"/>
                    </a:moveTo>
                    <a:lnTo>
                      <a:pt x="223" y="144"/>
                    </a:lnTo>
                    <a:lnTo>
                      <a:pt x="226" y="144"/>
                    </a:lnTo>
                    <a:lnTo>
                      <a:pt x="228" y="143"/>
                    </a:lnTo>
                    <a:lnTo>
                      <a:pt x="230" y="141"/>
                    </a:lnTo>
                    <a:lnTo>
                      <a:pt x="228" y="141"/>
                    </a:lnTo>
                    <a:lnTo>
                      <a:pt x="225" y="141"/>
                    </a:lnTo>
                    <a:lnTo>
                      <a:pt x="223" y="143"/>
                    </a:lnTo>
                    <a:lnTo>
                      <a:pt x="221" y="143"/>
                    </a:lnTo>
                    <a:lnTo>
                      <a:pt x="221" y="143"/>
                    </a:lnTo>
                    <a:lnTo>
                      <a:pt x="221" y="143"/>
                    </a:lnTo>
                    <a:lnTo>
                      <a:pt x="221" y="143"/>
                    </a:lnTo>
                    <a:close/>
                    <a:moveTo>
                      <a:pt x="230" y="174"/>
                    </a:moveTo>
                    <a:lnTo>
                      <a:pt x="230" y="172"/>
                    </a:lnTo>
                    <a:lnTo>
                      <a:pt x="226" y="169"/>
                    </a:lnTo>
                    <a:lnTo>
                      <a:pt x="226" y="165"/>
                    </a:lnTo>
                    <a:lnTo>
                      <a:pt x="226" y="163"/>
                    </a:lnTo>
                    <a:lnTo>
                      <a:pt x="225" y="158"/>
                    </a:lnTo>
                    <a:lnTo>
                      <a:pt x="221" y="157"/>
                    </a:lnTo>
                    <a:lnTo>
                      <a:pt x="219" y="158"/>
                    </a:lnTo>
                    <a:lnTo>
                      <a:pt x="216" y="158"/>
                    </a:lnTo>
                    <a:lnTo>
                      <a:pt x="211" y="160"/>
                    </a:lnTo>
                    <a:lnTo>
                      <a:pt x="211" y="165"/>
                    </a:lnTo>
                    <a:lnTo>
                      <a:pt x="214" y="169"/>
                    </a:lnTo>
                    <a:lnTo>
                      <a:pt x="214" y="174"/>
                    </a:lnTo>
                    <a:lnTo>
                      <a:pt x="219" y="176"/>
                    </a:lnTo>
                    <a:lnTo>
                      <a:pt x="219" y="176"/>
                    </a:lnTo>
                    <a:lnTo>
                      <a:pt x="225" y="174"/>
                    </a:lnTo>
                    <a:lnTo>
                      <a:pt x="230" y="174"/>
                    </a:lnTo>
                    <a:lnTo>
                      <a:pt x="230" y="174"/>
                    </a:lnTo>
                    <a:lnTo>
                      <a:pt x="230" y="174"/>
                    </a:lnTo>
                    <a:lnTo>
                      <a:pt x="230" y="174"/>
                    </a:lnTo>
                    <a:close/>
                    <a:moveTo>
                      <a:pt x="238" y="172"/>
                    </a:moveTo>
                    <a:lnTo>
                      <a:pt x="238" y="169"/>
                    </a:lnTo>
                    <a:lnTo>
                      <a:pt x="237" y="169"/>
                    </a:lnTo>
                    <a:lnTo>
                      <a:pt x="237" y="165"/>
                    </a:lnTo>
                    <a:lnTo>
                      <a:pt x="238" y="165"/>
                    </a:lnTo>
                    <a:lnTo>
                      <a:pt x="238" y="160"/>
                    </a:lnTo>
                    <a:lnTo>
                      <a:pt x="238" y="160"/>
                    </a:lnTo>
                    <a:lnTo>
                      <a:pt x="245" y="157"/>
                    </a:lnTo>
                    <a:lnTo>
                      <a:pt x="245" y="157"/>
                    </a:lnTo>
                    <a:lnTo>
                      <a:pt x="247" y="155"/>
                    </a:lnTo>
                    <a:lnTo>
                      <a:pt x="245" y="155"/>
                    </a:lnTo>
                    <a:lnTo>
                      <a:pt x="242" y="155"/>
                    </a:lnTo>
                    <a:lnTo>
                      <a:pt x="237" y="151"/>
                    </a:lnTo>
                    <a:lnTo>
                      <a:pt x="232" y="150"/>
                    </a:lnTo>
                    <a:lnTo>
                      <a:pt x="230" y="150"/>
                    </a:lnTo>
                    <a:lnTo>
                      <a:pt x="226" y="150"/>
                    </a:lnTo>
                    <a:lnTo>
                      <a:pt x="225" y="150"/>
                    </a:lnTo>
                    <a:lnTo>
                      <a:pt x="225" y="153"/>
                    </a:lnTo>
                    <a:lnTo>
                      <a:pt x="230" y="160"/>
                    </a:lnTo>
                    <a:lnTo>
                      <a:pt x="228" y="165"/>
                    </a:lnTo>
                    <a:lnTo>
                      <a:pt x="232" y="169"/>
                    </a:lnTo>
                    <a:lnTo>
                      <a:pt x="233" y="172"/>
                    </a:lnTo>
                    <a:lnTo>
                      <a:pt x="238" y="172"/>
                    </a:lnTo>
                    <a:lnTo>
                      <a:pt x="238" y="172"/>
                    </a:lnTo>
                    <a:lnTo>
                      <a:pt x="238" y="172"/>
                    </a:lnTo>
                    <a:lnTo>
                      <a:pt x="238" y="172"/>
                    </a:lnTo>
                    <a:close/>
                    <a:moveTo>
                      <a:pt x="247" y="172"/>
                    </a:moveTo>
                    <a:lnTo>
                      <a:pt x="247" y="174"/>
                    </a:lnTo>
                    <a:lnTo>
                      <a:pt x="252" y="176"/>
                    </a:lnTo>
                    <a:lnTo>
                      <a:pt x="254" y="179"/>
                    </a:lnTo>
                    <a:lnTo>
                      <a:pt x="259" y="179"/>
                    </a:lnTo>
                    <a:lnTo>
                      <a:pt x="261" y="174"/>
                    </a:lnTo>
                    <a:lnTo>
                      <a:pt x="261" y="169"/>
                    </a:lnTo>
                    <a:lnTo>
                      <a:pt x="258" y="169"/>
                    </a:lnTo>
                    <a:lnTo>
                      <a:pt x="252" y="169"/>
                    </a:lnTo>
                    <a:lnTo>
                      <a:pt x="247" y="172"/>
                    </a:lnTo>
                    <a:lnTo>
                      <a:pt x="247" y="172"/>
                    </a:lnTo>
                    <a:lnTo>
                      <a:pt x="247" y="172"/>
                    </a:lnTo>
                    <a:lnTo>
                      <a:pt x="247" y="172"/>
                    </a:lnTo>
                    <a:close/>
                    <a:moveTo>
                      <a:pt x="247" y="179"/>
                    </a:moveTo>
                    <a:lnTo>
                      <a:pt x="247" y="183"/>
                    </a:lnTo>
                    <a:lnTo>
                      <a:pt x="251" y="183"/>
                    </a:lnTo>
                    <a:lnTo>
                      <a:pt x="252" y="184"/>
                    </a:lnTo>
                    <a:lnTo>
                      <a:pt x="254" y="183"/>
                    </a:lnTo>
                    <a:lnTo>
                      <a:pt x="251" y="179"/>
                    </a:lnTo>
                    <a:lnTo>
                      <a:pt x="247" y="179"/>
                    </a:lnTo>
                    <a:lnTo>
                      <a:pt x="247" y="179"/>
                    </a:lnTo>
                    <a:lnTo>
                      <a:pt x="247" y="179"/>
                    </a:lnTo>
                    <a:lnTo>
                      <a:pt x="247" y="179"/>
                    </a:lnTo>
                    <a:close/>
                    <a:moveTo>
                      <a:pt x="247" y="70"/>
                    </a:moveTo>
                    <a:lnTo>
                      <a:pt x="249" y="68"/>
                    </a:lnTo>
                    <a:lnTo>
                      <a:pt x="252" y="68"/>
                    </a:lnTo>
                    <a:lnTo>
                      <a:pt x="254" y="66"/>
                    </a:lnTo>
                    <a:lnTo>
                      <a:pt x="258" y="66"/>
                    </a:lnTo>
                    <a:lnTo>
                      <a:pt x="258" y="68"/>
                    </a:lnTo>
                    <a:lnTo>
                      <a:pt x="261" y="68"/>
                    </a:lnTo>
                    <a:lnTo>
                      <a:pt x="261" y="70"/>
                    </a:lnTo>
                    <a:lnTo>
                      <a:pt x="259" y="73"/>
                    </a:lnTo>
                    <a:lnTo>
                      <a:pt x="256" y="73"/>
                    </a:lnTo>
                    <a:lnTo>
                      <a:pt x="254" y="71"/>
                    </a:lnTo>
                    <a:lnTo>
                      <a:pt x="249" y="71"/>
                    </a:lnTo>
                    <a:lnTo>
                      <a:pt x="247" y="70"/>
                    </a:lnTo>
                    <a:lnTo>
                      <a:pt x="247" y="70"/>
                    </a:lnTo>
                    <a:lnTo>
                      <a:pt x="247" y="70"/>
                    </a:lnTo>
                    <a:lnTo>
                      <a:pt x="247" y="70"/>
                    </a:lnTo>
                    <a:close/>
                    <a:moveTo>
                      <a:pt x="254" y="118"/>
                    </a:moveTo>
                    <a:lnTo>
                      <a:pt x="256" y="113"/>
                    </a:lnTo>
                    <a:lnTo>
                      <a:pt x="258" y="113"/>
                    </a:lnTo>
                    <a:lnTo>
                      <a:pt x="258" y="110"/>
                    </a:lnTo>
                    <a:lnTo>
                      <a:pt x="256" y="110"/>
                    </a:lnTo>
                    <a:lnTo>
                      <a:pt x="254" y="106"/>
                    </a:lnTo>
                    <a:lnTo>
                      <a:pt x="251" y="106"/>
                    </a:lnTo>
                    <a:lnTo>
                      <a:pt x="245" y="108"/>
                    </a:lnTo>
                    <a:lnTo>
                      <a:pt x="242" y="110"/>
                    </a:lnTo>
                    <a:lnTo>
                      <a:pt x="242" y="113"/>
                    </a:lnTo>
                    <a:lnTo>
                      <a:pt x="242" y="113"/>
                    </a:lnTo>
                    <a:lnTo>
                      <a:pt x="247" y="118"/>
                    </a:lnTo>
                    <a:lnTo>
                      <a:pt x="251" y="118"/>
                    </a:lnTo>
                    <a:lnTo>
                      <a:pt x="254" y="118"/>
                    </a:lnTo>
                    <a:lnTo>
                      <a:pt x="254" y="118"/>
                    </a:lnTo>
                    <a:lnTo>
                      <a:pt x="254" y="118"/>
                    </a:lnTo>
                    <a:lnTo>
                      <a:pt x="254" y="118"/>
                    </a:lnTo>
                    <a:close/>
                    <a:moveTo>
                      <a:pt x="261" y="113"/>
                    </a:moveTo>
                    <a:lnTo>
                      <a:pt x="261" y="113"/>
                    </a:lnTo>
                    <a:lnTo>
                      <a:pt x="261" y="118"/>
                    </a:lnTo>
                    <a:lnTo>
                      <a:pt x="259" y="120"/>
                    </a:lnTo>
                    <a:lnTo>
                      <a:pt x="258" y="118"/>
                    </a:lnTo>
                    <a:lnTo>
                      <a:pt x="256" y="120"/>
                    </a:lnTo>
                    <a:lnTo>
                      <a:pt x="251" y="123"/>
                    </a:lnTo>
                    <a:lnTo>
                      <a:pt x="247" y="123"/>
                    </a:lnTo>
                    <a:lnTo>
                      <a:pt x="245" y="122"/>
                    </a:lnTo>
                    <a:lnTo>
                      <a:pt x="242" y="123"/>
                    </a:lnTo>
                    <a:lnTo>
                      <a:pt x="242" y="125"/>
                    </a:lnTo>
                    <a:lnTo>
                      <a:pt x="245" y="130"/>
                    </a:lnTo>
                    <a:lnTo>
                      <a:pt x="245" y="137"/>
                    </a:lnTo>
                    <a:lnTo>
                      <a:pt x="245" y="144"/>
                    </a:lnTo>
                    <a:lnTo>
                      <a:pt x="251" y="150"/>
                    </a:lnTo>
                    <a:lnTo>
                      <a:pt x="254" y="150"/>
                    </a:lnTo>
                    <a:lnTo>
                      <a:pt x="259" y="150"/>
                    </a:lnTo>
                    <a:lnTo>
                      <a:pt x="265" y="150"/>
                    </a:lnTo>
                    <a:lnTo>
                      <a:pt x="268" y="144"/>
                    </a:lnTo>
                    <a:lnTo>
                      <a:pt x="273" y="144"/>
                    </a:lnTo>
                    <a:lnTo>
                      <a:pt x="273" y="141"/>
                    </a:lnTo>
                    <a:lnTo>
                      <a:pt x="268" y="141"/>
                    </a:lnTo>
                    <a:lnTo>
                      <a:pt x="268" y="137"/>
                    </a:lnTo>
                    <a:lnTo>
                      <a:pt x="261" y="136"/>
                    </a:lnTo>
                    <a:lnTo>
                      <a:pt x="261" y="130"/>
                    </a:lnTo>
                    <a:lnTo>
                      <a:pt x="261" y="129"/>
                    </a:lnTo>
                    <a:lnTo>
                      <a:pt x="265" y="125"/>
                    </a:lnTo>
                    <a:lnTo>
                      <a:pt x="268" y="125"/>
                    </a:lnTo>
                    <a:lnTo>
                      <a:pt x="270" y="123"/>
                    </a:lnTo>
                    <a:lnTo>
                      <a:pt x="270" y="122"/>
                    </a:lnTo>
                    <a:lnTo>
                      <a:pt x="268" y="118"/>
                    </a:lnTo>
                    <a:lnTo>
                      <a:pt x="265" y="115"/>
                    </a:lnTo>
                    <a:lnTo>
                      <a:pt x="261" y="113"/>
                    </a:lnTo>
                    <a:lnTo>
                      <a:pt x="261" y="113"/>
                    </a:lnTo>
                    <a:lnTo>
                      <a:pt x="261" y="113"/>
                    </a:lnTo>
                    <a:lnTo>
                      <a:pt x="261" y="113"/>
                    </a:lnTo>
                    <a:close/>
                    <a:moveTo>
                      <a:pt x="278" y="118"/>
                    </a:moveTo>
                    <a:lnTo>
                      <a:pt x="275" y="118"/>
                    </a:lnTo>
                    <a:lnTo>
                      <a:pt x="275" y="113"/>
                    </a:lnTo>
                    <a:lnTo>
                      <a:pt x="273" y="113"/>
                    </a:lnTo>
                    <a:lnTo>
                      <a:pt x="270" y="113"/>
                    </a:lnTo>
                    <a:lnTo>
                      <a:pt x="268" y="110"/>
                    </a:lnTo>
                    <a:lnTo>
                      <a:pt x="268" y="108"/>
                    </a:lnTo>
                    <a:lnTo>
                      <a:pt x="268" y="104"/>
                    </a:lnTo>
                    <a:lnTo>
                      <a:pt x="268" y="101"/>
                    </a:lnTo>
                    <a:lnTo>
                      <a:pt x="265" y="96"/>
                    </a:lnTo>
                    <a:lnTo>
                      <a:pt x="268" y="90"/>
                    </a:lnTo>
                    <a:lnTo>
                      <a:pt x="270" y="90"/>
                    </a:lnTo>
                    <a:lnTo>
                      <a:pt x="273" y="87"/>
                    </a:lnTo>
                    <a:lnTo>
                      <a:pt x="273" y="82"/>
                    </a:lnTo>
                    <a:lnTo>
                      <a:pt x="273" y="82"/>
                    </a:lnTo>
                    <a:lnTo>
                      <a:pt x="277" y="82"/>
                    </a:lnTo>
                    <a:lnTo>
                      <a:pt x="278" y="82"/>
                    </a:lnTo>
                    <a:lnTo>
                      <a:pt x="282" y="82"/>
                    </a:lnTo>
                    <a:lnTo>
                      <a:pt x="284" y="87"/>
                    </a:lnTo>
                    <a:lnTo>
                      <a:pt x="282" y="90"/>
                    </a:lnTo>
                    <a:lnTo>
                      <a:pt x="284" y="92"/>
                    </a:lnTo>
                    <a:lnTo>
                      <a:pt x="287" y="94"/>
                    </a:lnTo>
                    <a:lnTo>
                      <a:pt x="291" y="99"/>
                    </a:lnTo>
                    <a:lnTo>
                      <a:pt x="292" y="99"/>
                    </a:lnTo>
                    <a:lnTo>
                      <a:pt x="292" y="101"/>
                    </a:lnTo>
                    <a:lnTo>
                      <a:pt x="287" y="104"/>
                    </a:lnTo>
                    <a:lnTo>
                      <a:pt x="282" y="106"/>
                    </a:lnTo>
                    <a:lnTo>
                      <a:pt x="280" y="108"/>
                    </a:lnTo>
                    <a:lnTo>
                      <a:pt x="282" y="110"/>
                    </a:lnTo>
                    <a:lnTo>
                      <a:pt x="282" y="115"/>
                    </a:lnTo>
                    <a:lnTo>
                      <a:pt x="278" y="118"/>
                    </a:lnTo>
                    <a:lnTo>
                      <a:pt x="278" y="118"/>
                    </a:lnTo>
                    <a:lnTo>
                      <a:pt x="278" y="118"/>
                    </a:lnTo>
                    <a:lnTo>
                      <a:pt x="278" y="118"/>
                    </a:lnTo>
                    <a:close/>
                    <a:moveTo>
                      <a:pt x="2011" y="581"/>
                    </a:moveTo>
                    <a:lnTo>
                      <a:pt x="2009" y="583"/>
                    </a:lnTo>
                    <a:lnTo>
                      <a:pt x="2011" y="584"/>
                    </a:lnTo>
                    <a:lnTo>
                      <a:pt x="2013" y="584"/>
                    </a:lnTo>
                    <a:lnTo>
                      <a:pt x="2013" y="581"/>
                    </a:lnTo>
                    <a:lnTo>
                      <a:pt x="2011" y="581"/>
                    </a:lnTo>
                    <a:lnTo>
                      <a:pt x="2011" y="581"/>
                    </a:lnTo>
                    <a:lnTo>
                      <a:pt x="2011" y="581"/>
                    </a:lnTo>
                    <a:lnTo>
                      <a:pt x="2011" y="581"/>
                    </a:lnTo>
                    <a:lnTo>
                      <a:pt x="2011" y="581"/>
                    </a:lnTo>
                    <a:close/>
                    <a:moveTo>
                      <a:pt x="2004" y="574"/>
                    </a:moveTo>
                    <a:lnTo>
                      <a:pt x="2009" y="576"/>
                    </a:lnTo>
                    <a:lnTo>
                      <a:pt x="2011" y="576"/>
                    </a:lnTo>
                    <a:lnTo>
                      <a:pt x="2011" y="576"/>
                    </a:lnTo>
                    <a:lnTo>
                      <a:pt x="2009" y="572"/>
                    </a:lnTo>
                    <a:lnTo>
                      <a:pt x="2007" y="572"/>
                    </a:lnTo>
                    <a:lnTo>
                      <a:pt x="2004" y="574"/>
                    </a:lnTo>
                    <a:lnTo>
                      <a:pt x="2004" y="574"/>
                    </a:lnTo>
                    <a:lnTo>
                      <a:pt x="2004" y="574"/>
                    </a:lnTo>
                    <a:lnTo>
                      <a:pt x="2004" y="574"/>
                    </a:lnTo>
                    <a:close/>
                    <a:moveTo>
                      <a:pt x="318" y="365"/>
                    </a:moveTo>
                    <a:lnTo>
                      <a:pt x="320" y="365"/>
                    </a:lnTo>
                    <a:lnTo>
                      <a:pt x="324" y="365"/>
                    </a:lnTo>
                    <a:lnTo>
                      <a:pt x="327" y="360"/>
                    </a:lnTo>
                    <a:lnTo>
                      <a:pt x="327" y="360"/>
                    </a:lnTo>
                    <a:lnTo>
                      <a:pt x="325" y="356"/>
                    </a:lnTo>
                    <a:lnTo>
                      <a:pt x="324" y="360"/>
                    </a:lnTo>
                    <a:lnTo>
                      <a:pt x="320" y="360"/>
                    </a:lnTo>
                    <a:lnTo>
                      <a:pt x="318" y="365"/>
                    </a:lnTo>
                    <a:lnTo>
                      <a:pt x="318" y="365"/>
                    </a:lnTo>
                    <a:lnTo>
                      <a:pt x="318" y="365"/>
                    </a:lnTo>
                    <a:lnTo>
                      <a:pt x="318" y="365"/>
                    </a:lnTo>
                    <a:lnTo>
                      <a:pt x="318" y="365"/>
                    </a:lnTo>
                    <a:close/>
                    <a:moveTo>
                      <a:pt x="299" y="475"/>
                    </a:moveTo>
                    <a:lnTo>
                      <a:pt x="304" y="475"/>
                    </a:lnTo>
                    <a:lnTo>
                      <a:pt x="310" y="475"/>
                    </a:lnTo>
                    <a:lnTo>
                      <a:pt x="313" y="473"/>
                    </a:lnTo>
                    <a:lnTo>
                      <a:pt x="315" y="473"/>
                    </a:lnTo>
                    <a:lnTo>
                      <a:pt x="318" y="475"/>
                    </a:lnTo>
                    <a:lnTo>
                      <a:pt x="320" y="475"/>
                    </a:lnTo>
                    <a:lnTo>
                      <a:pt x="324" y="475"/>
                    </a:lnTo>
                    <a:lnTo>
                      <a:pt x="324" y="473"/>
                    </a:lnTo>
                    <a:lnTo>
                      <a:pt x="324" y="469"/>
                    </a:lnTo>
                    <a:lnTo>
                      <a:pt x="324" y="469"/>
                    </a:lnTo>
                    <a:lnTo>
                      <a:pt x="325" y="475"/>
                    </a:lnTo>
                    <a:lnTo>
                      <a:pt x="329" y="475"/>
                    </a:lnTo>
                    <a:lnTo>
                      <a:pt x="334" y="475"/>
                    </a:lnTo>
                    <a:lnTo>
                      <a:pt x="334" y="475"/>
                    </a:lnTo>
                    <a:lnTo>
                      <a:pt x="338" y="473"/>
                    </a:lnTo>
                    <a:lnTo>
                      <a:pt x="338" y="469"/>
                    </a:lnTo>
                    <a:lnTo>
                      <a:pt x="338" y="464"/>
                    </a:lnTo>
                    <a:lnTo>
                      <a:pt x="341" y="461"/>
                    </a:lnTo>
                    <a:lnTo>
                      <a:pt x="343" y="457"/>
                    </a:lnTo>
                    <a:lnTo>
                      <a:pt x="338" y="456"/>
                    </a:lnTo>
                    <a:lnTo>
                      <a:pt x="338" y="450"/>
                    </a:lnTo>
                    <a:lnTo>
                      <a:pt x="334" y="450"/>
                    </a:lnTo>
                    <a:lnTo>
                      <a:pt x="332" y="450"/>
                    </a:lnTo>
                    <a:lnTo>
                      <a:pt x="331" y="450"/>
                    </a:lnTo>
                    <a:lnTo>
                      <a:pt x="332" y="447"/>
                    </a:lnTo>
                    <a:lnTo>
                      <a:pt x="336" y="450"/>
                    </a:lnTo>
                    <a:lnTo>
                      <a:pt x="338" y="447"/>
                    </a:lnTo>
                    <a:lnTo>
                      <a:pt x="338" y="450"/>
                    </a:lnTo>
                    <a:lnTo>
                      <a:pt x="338" y="452"/>
                    </a:lnTo>
                    <a:lnTo>
                      <a:pt x="341" y="454"/>
                    </a:lnTo>
                    <a:lnTo>
                      <a:pt x="343" y="452"/>
                    </a:lnTo>
                    <a:lnTo>
                      <a:pt x="341" y="447"/>
                    </a:lnTo>
                    <a:lnTo>
                      <a:pt x="338" y="442"/>
                    </a:lnTo>
                    <a:lnTo>
                      <a:pt x="334" y="438"/>
                    </a:lnTo>
                    <a:lnTo>
                      <a:pt x="336" y="435"/>
                    </a:lnTo>
                    <a:lnTo>
                      <a:pt x="338" y="438"/>
                    </a:lnTo>
                    <a:lnTo>
                      <a:pt x="338" y="442"/>
                    </a:lnTo>
                    <a:lnTo>
                      <a:pt x="343" y="443"/>
                    </a:lnTo>
                    <a:lnTo>
                      <a:pt x="343" y="443"/>
                    </a:lnTo>
                    <a:lnTo>
                      <a:pt x="346" y="442"/>
                    </a:lnTo>
                    <a:lnTo>
                      <a:pt x="346" y="438"/>
                    </a:lnTo>
                    <a:lnTo>
                      <a:pt x="343" y="438"/>
                    </a:lnTo>
                    <a:lnTo>
                      <a:pt x="343" y="435"/>
                    </a:lnTo>
                    <a:lnTo>
                      <a:pt x="346" y="431"/>
                    </a:lnTo>
                    <a:lnTo>
                      <a:pt x="346" y="428"/>
                    </a:lnTo>
                    <a:lnTo>
                      <a:pt x="343" y="424"/>
                    </a:lnTo>
                    <a:lnTo>
                      <a:pt x="338" y="421"/>
                    </a:lnTo>
                    <a:lnTo>
                      <a:pt x="343" y="419"/>
                    </a:lnTo>
                    <a:lnTo>
                      <a:pt x="343" y="423"/>
                    </a:lnTo>
                    <a:lnTo>
                      <a:pt x="346" y="423"/>
                    </a:lnTo>
                    <a:lnTo>
                      <a:pt x="348" y="419"/>
                    </a:lnTo>
                    <a:lnTo>
                      <a:pt x="346" y="419"/>
                    </a:lnTo>
                    <a:lnTo>
                      <a:pt x="346" y="419"/>
                    </a:lnTo>
                    <a:lnTo>
                      <a:pt x="346" y="414"/>
                    </a:lnTo>
                    <a:lnTo>
                      <a:pt x="346" y="414"/>
                    </a:lnTo>
                    <a:lnTo>
                      <a:pt x="350" y="416"/>
                    </a:lnTo>
                    <a:lnTo>
                      <a:pt x="355" y="416"/>
                    </a:lnTo>
                    <a:lnTo>
                      <a:pt x="355" y="416"/>
                    </a:lnTo>
                    <a:lnTo>
                      <a:pt x="353" y="414"/>
                    </a:lnTo>
                    <a:lnTo>
                      <a:pt x="353" y="412"/>
                    </a:lnTo>
                    <a:lnTo>
                      <a:pt x="355" y="412"/>
                    </a:lnTo>
                    <a:lnTo>
                      <a:pt x="358" y="412"/>
                    </a:lnTo>
                    <a:lnTo>
                      <a:pt x="360" y="410"/>
                    </a:lnTo>
                    <a:lnTo>
                      <a:pt x="360" y="407"/>
                    </a:lnTo>
                    <a:lnTo>
                      <a:pt x="360" y="405"/>
                    </a:lnTo>
                    <a:lnTo>
                      <a:pt x="360" y="403"/>
                    </a:lnTo>
                    <a:lnTo>
                      <a:pt x="365" y="402"/>
                    </a:lnTo>
                    <a:lnTo>
                      <a:pt x="365" y="398"/>
                    </a:lnTo>
                    <a:lnTo>
                      <a:pt x="362" y="396"/>
                    </a:lnTo>
                    <a:lnTo>
                      <a:pt x="362" y="396"/>
                    </a:lnTo>
                    <a:lnTo>
                      <a:pt x="364" y="391"/>
                    </a:lnTo>
                    <a:lnTo>
                      <a:pt x="365" y="396"/>
                    </a:lnTo>
                    <a:lnTo>
                      <a:pt x="365" y="393"/>
                    </a:lnTo>
                    <a:lnTo>
                      <a:pt x="371" y="388"/>
                    </a:lnTo>
                    <a:lnTo>
                      <a:pt x="372" y="384"/>
                    </a:lnTo>
                    <a:lnTo>
                      <a:pt x="374" y="383"/>
                    </a:lnTo>
                    <a:lnTo>
                      <a:pt x="374" y="377"/>
                    </a:lnTo>
                    <a:lnTo>
                      <a:pt x="379" y="374"/>
                    </a:lnTo>
                    <a:lnTo>
                      <a:pt x="383" y="369"/>
                    </a:lnTo>
                    <a:lnTo>
                      <a:pt x="384" y="363"/>
                    </a:lnTo>
                    <a:lnTo>
                      <a:pt x="388" y="363"/>
                    </a:lnTo>
                    <a:lnTo>
                      <a:pt x="393" y="356"/>
                    </a:lnTo>
                    <a:lnTo>
                      <a:pt x="400" y="351"/>
                    </a:lnTo>
                    <a:lnTo>
                      <a:pt x="405" y="346"/>
                    </a:lnTo>
                    <a:lnTo>
                      <a:pt x="407" y="346"/>
                    </a:lnTo>
                    <a:lnTo>
                      <a:pt x="412" y="341"/>
                    </a:lnTo>
                    <a:lnTo>
                      <a:pt x="417" y="339"/>
                    </a:lnTo>
                    <a:lnTo>
                      <a:pt x="419" y="337"/>
                    </a:lnTo>
                    <a:lnTo>
                      <a:pt x="424" y="332"/>
                    </a:lnTo>
                    <a:lnTo>
                      <a:pt x="428" y="329"/>
                    </a:lnTo>
                    <a:lnTo>
                      <a:pt x="430" y="329"/>
                    </a:lnTo>
                    <a:lnTo>
                      <a:pt x="433" y="329"/>
                    </a:lnTo>
                    <a:lnTo>
                      <a:pt x="433" y="327"/>
                    </a:lnTo>
                    <a:lnTo>
                      <a:pt x="431" y="325"/>
                    </a:lnTo>
                    <a:lnTo>
                      <a:pt x="433" y="322"/>
                    </a:lnTo>
                    <a:lnTo>
                      <a:pt x="433" y="318"/>
                    </a:lnTo>
                    <a:lnTo>
                      <a:pt x="433" y="315"/>
                    </a:lnTo>
                    <a:lnTo>
                      <a:pt x="431" y="313"/>
                    </a:lnTo>
                    <a:lnTo>
                      <a:pt x="430" y="313"/>
                    </a:lnTo>
                    <a:lnTo>
                      <a:pt x="430" y="310"/>
                    </a:lnTo>
                    <a:lnTo>
                      <a:pt x="431" y="306"/>
                    </a:lnTo>
                    <a:lnTo>
                      <a:pt x="430" y="304"/>
                    </a:lnTo>
                    <a:lnTo>
                      <a:pt x="426" y="303"/>
                    </a:lnTo>
                    <a:lnTo>
                      <a:pt x="424" y="301"/>
                    </a:lnTo>
                    <a:lnTo>
                      <a:pt x="423" y="301"/>
                    </a:lnTo>
                    <a:lnTo>
                      <a:pt x="419" y="297"/>
                    </a:lnTo>
                    <a:lnTo>
                      <a:pt x="419" y="296"/>
                    </a:lnTo>
                    <a:lnTo>
                      <a:pt x="419" y="294"/>
                    </a:lnTo>
                    <a:lnTo>
                      <a:pt x="416" y="296"/>
                    </a:lnTo>
                    <a:lnTo>
                      <a:pt x="414" y="297"/>
                    </a:lnTo>
                    <a:lnTo>
                      <a:pt x="412" y="297"/>
                    </a:lnTo>
                    <a:lnTo>
                      <a:pt x="409" y="296"/>
                    </a:lnTo>
                    <a:lnTo>
                      <a:pt x="407" y="297"/>
                    </a:lnTo>
                    <a:lnTo>
                      <a:pt x="402" y="299"/>
                    </a:lnTo>
                    <a:lnTo>
                      <a:pt x="400" y="303"/>
                    </a:lnTo>
                    <a:lnTo>
                      <a:pt x="400" y="304"/>
                    </a:lnTo>
                    <a:lnTo>
                      <a:pt x="397" y="304"/>
                    </a:lnTo>
                    <a:lnTo>
                      <a:pt x="393" y="306"/>
                    </a:lnTo>
                    <a:lnTo>
                      <a:pt x="393" y="310"/>
                    </a:lnTo>
                    <a:lnTo>
                      <a:pt x="393" y="311"/>
                    </a:lnTo>
                    <a:lnTo>
                      <a:pt x="393" y="313"/>
                    </a:lnTo>
                    <a:lnTo>
                      <a:pt x="393" y="316"/>
                    </a:lnTo>
                    <a:lnTo>
                      <a:pt x="393" y="318"/>
                    </a:lnTo>
                    <a:lnTo>
                      <a:pt x="391" y="318"/>
                    </a:lnTo>
                    <a:lnTo>
                      <a:pt x="388" y="320"/>
                    </a:lnTo>
                    <a:lnTo>
                      <a:pt x="388" y="323"/>
                    </a:lnTo>
                    <a:lnTo>
                      <a:pt x="388" y="325"/>
                    </a:lnTo>
                    <a:lnTo>
                      <a:pt x="386" y="327"/>
                    </a:lnTo>
                    <a:lnTo>
                      <a:pt x="379" y="332"/>
                    </a:lnTo>
                    <a:lnTo>
                      <a:pt x="377" y="334"/>
                    </a:lnTo>
                    <a:lnTo>
                      <a:pt x="377" y="332"/>
                    </a:lnTo>
                    <a:lnTo>
                      <a:pt x="372" y="332"/>
                    </a:lnTo>
                    <a:lnTo>
                      <a:pt x="371" y="334"/>
                    </a:lnTo>
                    <a:lnTo>
                      <a:pt x="369" y="337"/>
                    </a:lnTo>
                    <a:lnTo>
                      <a:pt x="365" y="339"/>
                    </a:lnTo>
                    <a:lnTo>
                      <a:pt x="365" y="337"/>
                    </a:lnTo>
                    <a:lnTo>
                      <a:pt x="364" y="337"/>
                    </a:lnTo>
                    <a:lnTo>
                      <a:pt x="362" y="337"/>
                    </a:lnTo>
                    <a:lnTo>
                      <a:pt x="362" y="337"/>
                    </a:lnTo>
                    <a:lnTo>
                      <a:pt x="362" y="343"/>
                    </a:lnTo>
                    <a:lnTo>
                      <a:pt x="362" y="343"/>
                    </a:lnTo>
                    <a:lnTo>
                      <a:pt x="360" y="339"/>
                    </a:lnTo>
                    <a:lnTo>
                      <a:pt x="358" y="337"/>
                    </a:lnTo>
                    <a:lnTo>
                      <a:pt x="353" y="337"/>
                    </a:lnTo>
                    <a:lnTo>
                      <a:pt x="346" y="339"/>
                    </a:lnTo>
                    <a:lnTo>
                      <a:pt x="346" y="341"/>
                    </a:lnTo>
                    <a:lnTo>
                      <a:pt x="343" y="341"/>
                    </a:lnTo>
                    <a:lnTo>
                      <a:pt x="343" y="343"/>
                    </a:lnTo>
                    <a:lnTo>
                      <a:pt x="343" y="348"/>
                    </a:lnTo>
                    <a:lnTo>
                      <a:pt x="346" y="350"/>
                    </a:lnTo>
                    <a:lnTo>
                      <a:pt x="346" y="351"/>
                    </a:lnTo>
                    <a:lnTo>
                      <a:pt x="343" y="351"/>
                    </a:lnTo>
                    <a:lnTo>
                      <a:pt x="343" y="355"/>
                    </a:lnTo>
                    <a:lnTo>
                      <a:pt x="341" y="355"/>
                    </a:lnTo>
                    <a:lnTo>
                      <a:pt x="341" y="351"/>
                    </a:lnTo>
                    <a:lnTo>
                      <a:pt x="343" y="351"/>
                    </a:lnTo>
                    <a:lnTo>
                      <a:pt x="343" y="348"/>
                    </a:lnTo>
                    <a:lnTo>
                      <a:pt x="338" y="348"/>
                    </a:lnTo>
                    <a:lnTo>
                      <a:pt x="338" y="351"/>
                    </a:lnTo>
                    <a:lnTo>
                      <a:pt x="334" y="355"/>
                    </a:lnTo>
                    <a:lnTo>
                      <a:pt x="334" y="356"/>
                    </a:lnTo>
                    <a:lnTo>
                      <a:pt x="336" y="356"/>
                    </a:lnTo>
                    <a:lnTo>
                      <a:pt x="334" y="360"/>
                    </a:lnTo>
                    <a:lnTo>
                      <a:pt x="334" y="360"/>
                    </a:lnTo>
                    <a:lnTo>
                      <a:pt x="329" y="360"/>
                    </a:lnTo>
                    <a:lnTo>
                      <a:pt x="327" y="363"/>
                    </a:lnTo>
                    <a:lnTo>
                      <a:pt x="327" y="365"/>
                    </a:lnTo>
                    <a:lnTo>
                      <a:pt x="324" y="365"/>
                    </a:lnTo>
                    <a:lnTo>
                      <a:pt x="324" y="369"/>
                    </a:lnTo>
                    <a:lnTo>
                      <a:pt x="320" y="372"/>
                    </a:lnTo>
                    <a:lnTo>
                      <a:pt x="324" y="374"/>
                    </a:lnTo>
                    <a:lnTo>
                      <a:pt x="324" y="374"/>
                    </a:lnTo>
                    <a:lnTo>
                      <a:pt x="320" y="377"/>
                    </a:lnTo>
                    <a:lnTo>
                      <a:pt x="315" y="377"/>
                    </a:lnTo>
                    <a:lnTo>
                      <a:pt x="315" y="379"/>
                    </a:lnTo>
                    <a:lnTo>
                      <a:pt x="315" y="383"/>
                    </a:lnTo>
                    <a:lnTo>
                      <a:pt x="315" y="386"/>
                    </a:lnTo>
                    <a:lnTo>
                      <a:pt x="315" y="386"/>
                    </a:lnTo>
                    <a:lnTo>
                      <a:pt x="318" y="386"/>
                    </a:lnTo>
                    <a:lnTo>
                      <a:pt x="318" y="388"/>
                    </a:lnTo>
                    <a:lnTo>
                      <a:pt x="318" y="388"/>
                    </a:lnTo>
                    <a:lnTo>
                      <a:pt x="318" y="391"/>
                    </a:lnTo>
                    <a:lnTo>
                      <a:pt x="318" y="393"/>
                    </a:lnTo>
                    <a:lnTo>
                      <a:pt x="315" y="391"/>
                    </a:lnTo>
                    <a:lnTo>
                      <a:pt x="311" y="391"/>
                    </a:lnTo>
                    <a:lnTo>
                      <a:pt x="308" y="393"/>
                    </a:lnTo>
                    <a:lnTo>
                      <a:pt x="306" y="396"/>
                    </a:lnTo>
                    <a:lnTo>
                      <a:pt x="306" y="398"/>
                    </a:lnTo>
                    <a:lnTo>
                      <a:pt x="304" y="400"/>
                    </a:lnTo>
                    <a:lnTo>
                      <a:pt x="301" y="403"/>
                    </a:lnTo>
                    <a:lnTo>
                      <a:pt x="299" y="402"/>
                    </a:lnTo>
                    <a:lnTo>
                      <a:pt x="298" y="400"/>
                    </a:lnTo>
                    <a:lnTo>
                      <a:pt x="296" y="396"/>
                    </a:lnTo>
                    <a:lnTo>
                      <a:pt x="296" y="398"/>
                    </a:lnTo>
                    <a:lnTo>
                      <a:pt x="296" y="402"/>
                    </a:lnTo>
                    <a:lnTo>
                      <a:pt x="296" y="407"/>
                    </a:lnTo>
                    <a:lnTo>
                      <a:pt x="298" y="409"/>
                    </a:lnTo>
                    <a:lnTo>
                      <a:pt x="301" y="409"/>
                    </a:lnTo>
                    <a:lnTo>
                      <a:pt x="301" y="409"/>
                    </a:lnTo>
                    <a:lnTo>
                      <a:pt x="301" y="410"/>
                    </a:lnTo>
                    <a:lnTo>
                      <a:pt x="299" y="416"/>
                    </a:lnTo>
                    <a:lnTo>
                      <a:pt x="301" y="416"/>
                    </a:lnTo>
                    <a:lnTo>
                      <a:pt x="303" y="416"/>
                    </a:lnTo>
                    <a:lnTo>
                      <a:pt x="304" y="416"/>
                    </a:lnTo>
                    <a:lnTo>
                      <a:pt x="306" y="416"/>
                    </a:lnTo>
                    <a:lnTo>
                      <a:pt x="308" y="416"/>
                    </a:lnTo>
                    <a:lnTo>
                      <a:pt x="311" y="416"/>
                    </a:lnTo>
                    <a:lnTo>
                      <a:pt x="313" y="416"/>
                    </a:lnTo>
                    <a:lnTo>
                      <a:pt x="315" y="416"/>
                    </a:lnTo>
                    <a:lnTo>
                      <a:pt x="313" y="419"/>
                    </a:lnTo>
                    <a:lnTo>
                      <a:pt x="310" y="419"/>
                    </a:lnTo>
                    <a:lnTo>
                      <a:pt x="306" y="419"/>
                    </a:lnTo>
                    <a:lnTo>
                      <a:pt x="304" y="419"/>
                    </a:lnTo>
                    <a:lnTo>
                      <a:pt x="303" y="419"/>
                    </a:lnTo>
                    <a:lnTo>
                      <a:pt x="301" y="421"/>
                    </a:lnTo>
                    <a:lnTo>
                      <a:pt x="303" y="424"/>
                    </a:lnTo>
                    <a:lnTo>
                      <a:pt x="304" y="426"/>
                    </a:lnTo>
                    <a:lnTo>
                      <a:pt x="308" y="426"/>
                    </a:lnTo>
                    <a:lnTo>
                      <a:pt x="310" y="426"/>
                    </a:lnTo>
                    <a:lnTo>
                      <a:pt x="311" y="428"/>
                    </a:lnTo>
                    <a:lnTo>
                      <a:pt x="310" y="428"/>
                    </a:lnTo>
                    <a:lnTo>
                      <a:pt x="306" y="430"/>
                    </a:lnTo>
                    <a:lnTo>
                      <a:pt x="301" y="430"/>
                    </a:lnTo>
                    <a:lnTo>
                      <a:pt x="299" y="431"/>
                    </a:lnTo>
                    <a:lnTo>
                      <a:pt x="299" y="433"/>
                    </a:lnTo>
                    <a:lnTo>
                      <a:pt x="301" y="435"/>
                    </a:lnTo>
                    <a:lnTo>
                      <a:pt x="304" y="435"/>
                    </a:lnTo>
                    <a:lnTo>
                      <a:pt x="308" y="435"/>
                    </a:lnTo>
                    <a:lnTo>
                      <a:pt x="308" y="436"/>
                    </a:lnTo>
                    <a:lnTo>
                      <a:pt x="306" y="436"/>
                    </a:lnTo>
                    <a:lnTo>
                      <a:pt x="303" y="436"/>
                    </a:lnTo>
                    <a:lnTo>
                      <a:pt x="303" y="438"/>
                    </a:lnTo>
                    <a:lnTo>
                      <a:pt x="303" y="438"/>
                    </a:lnTo>
                    <a:lnTo>
                      <a:pt x="308" y="438"/>
                    </a:lnTo>
                    <a:lnTo>
                      <a:pt x="313" y="443"/>
                    </a:lnTo>
                    <a:lnTo>
                      <a:pt x="315" y="443"/>
                    </a:lnTo>
                    <a:lnTo>
                      <a:pt x="315" y="443"/>
                    </a:lnTo>
                    <a:lnTo>
                      <a:pt x="315" y="447"/>
                    </a:lnTo>
                    <a:lnTo>
                      <a:pt x="313" y="443"/>
                    </a:lnTo>
                    <a:lnTo>
                      <a:pt x="310" y="443"/>
                    </a:lnTo>
                    <a:lnTo>
                      <a:pt x="306" y="443"/>
                    </a:lnTo>
                    <a:lnTo>
                      <a:pt x="304" y="442"/>
                    </a:lnTo>
                    <a:lnTo>
                      <a:pt x="301" y="442"/>
                    </a:lnTo>
                    <a:lnTo>
                      <a:pt x="299" y="443"/>
                    </a:lnTo>
                    <a:lnTo>
                      <a:pt x="298" y="447"/>
                    </a:lnTo>
                    <a:lnTo>
                      <a:pt x="296" y="447"/>
                    </a:lnTo>
                    <a:lnTo>
                      <a:pt x="298" y="447"/>
                    </a:lnTo>
                    <a:lnTo>
                      <a:pt x="298" y="450"/>
                    </a:lnTo>
                    <a:lnTo>
                      <a:pt x="298" y="450"/>
                    </a:lnTo>
                    <a:lnTo>
                      <a:pt x="296" y="452"/>
                    </a:lnTo>
                    <a:lnTo>
                      <a:pt x="296" y="452"/>
                    </a:lnTo>
                    <a:lnTo>
                      <a:pt x="292" y="454"/>
                    </a:lnTo>
                    <a:lnTo>
                      <a:pt x="292" y="457"/>
                    </a:lnTo>
                    <a:lnTo>
                      <a:pt x="292" y="457"/>
                    </a:lnTo>
                    <a:lnTo>
                      <a:pt x="292" y="459"/>
                    </a:lnTo>
                    <a:lnTo>
                      <a:pt x="289" y="461"/>
                    </a:lnTo>
                    <a:lnTo>
                      <a:pt x="289" y="461"/>
                    </a:lnTo>
                    <a:lnTo>
                      <a:pt x="292" y="466"/>
                    </a:lnTo>
                    <a:lnTo>
                      <a:pt x="296" y="466"/>
                    </a:lnTo>
                    <a:lnTo>
                      <a:pt x="296" y="466"/>
                    </a:lnTo>
                    <a:lnTo>
                      <a:pt x="298" y="464"/>
                    </a:lnTo>
                    <a:lnTo>
                      <a:pt x="299" y="463"/>
                    </a:lnTo>
                    <a:lnTo>
                      <a:pt x="304" y="459"/>
                    </a:lnTo>
                    <a:lnTo>
                      <a:pt x="308" y="457"/>
                    </a:lnTo>
                    <a:lnTo>
                      <a:pt x="311" y="457"/>
                    </a:lnTo>
                    <a:lnTo>
                      <a:pt x="313" y="459"/>
                    </a:lnTo>
                    <a:lnTo>
                      <a:pt x="313" y="461"/>
                    </a:lnTo>
                    <a:lnTo>
                      <a:pt x="311" y="461"/>
                    </a:lnTo>
                    <a:lnTo>
                      <a:pt x="310" y="459"/>
                    </a:lnTo>
                    <a:lnTo>
                      <a:pt x="308" y="459"/>
                    </a:lnTo>
                    <a:lnTo>
                      <a:pt x="306" y="463"/>
                    </a:lnTo>
                    <a:lnTo>
                      <a:pt x="301" y="464"/>
                    </a:lnTo>
                    <a:lnTo>
                      <a:pt x="299" y="466"/>
                    </a:lnTo>
                    <a:lnTo>
                      <a:pt x="299" y="469"/>
                    </a:lnTo>
                    <a:lnTo>
                      <a:pt x="299" y="475"/>
                    </a:lnTo>
                    <a:lnTo>
                      <a:pt x="299" y="475"/>
                    </a:lnTo>
                    <a:lnTo>
                      <a:pt x="299" y="475"/>
                    </a:lnTo>
                    <a:lnTo>
                      <a:pt x="299" y="475"/>
                    </a:lnTo>
                    <a:lnTo>
                      <a:pt x="299" y="475"/>
                    </a:lnTo>
                    <a:lnTo>
                      <a:pt x="299" y="475"/>
                    </a:lnTo>
                    <a:lnTo>
                      <a:pt x="299" y="475"/>
                    </a:lnTo>
                    <a:close/>
                    <a:moveTo>
                      <a:pt x="315" y="569"/>
                    </a:moveTo>
                    <a:lnTo>
                      <a:pt x="315" y="569"/>
                    </a:lnTo>
                    <a:lnTo>
                      <a:pt x="315" y="567"/>
                    </a:lnTo>
                    <a:lnTo>
                      <a:pt x="315" y="565"/>
                    </a:lnTo>
                    <a:lnTo>
                      <a:pt x="315" y="562"/>
                    </a:lnTo>
                    <a:lnTo>
                      <a:pt x="315" y="560"/>
                    </a:lnTo>
                    <a:lnTo>
                      <a:pt x="311" y="560"/>
                    </a:lnTo>
                    <a:lnTo>
                      <a:pt x="311" y="556"/>
                    </a:lnTo>
                    <a:lnTo>
                      <a:pt x="308" y="556"/>
                    </a:lnTo>
                    <a:lnTo>
                      <a:pt x="304" y="556"/>
                    </a:lnTo>
                    <a:lnTo>
                      <a:pt x="301" y="556"/>
                    </a:lnTo>
                    <a:lnTo>
                      <a:pt x="303" y="560"/>
                    </a:lnTo>
                    <a:lnTo>
                      <a:pt x="304" y="560"/>
                    </a:lnTo>
                    <a:lnTo>
                      <a:pt x="306" y="560"/>
                    </a:lnTo>
                    <a:lnTo>
                      <a:pt x="310" y="562"/>
                    </a:lnTo>
                    <a:lnTo>
                      <a:pt x="310" y="565"/>
                    </a:lnTo>
                    <a:lnTo>
                      <a:pt x="311" y="565"/>
                    </a:lnTo>
                    <a:lnTo>
                      <a:pt x="315" y="569"/>
                    </a:lnTo>
                    <a:lnTo>
                      <a:pt x="315" y="569"/>
                    </a:lnTo>
                    <a:lnTo>
                      <a:pt x="315" y="569"/>
                    </a:lnTo>
                    <a:lnTo>
                      <a:pt x="315" y="569"/>
                    </a:lnTo>
                    <a:close/>
                    <a:moveTo>
                      <a:pt x="377" y="569"/>
                    </a:moveTo>
                    <a:lnTo>
                      <a:pt x="371" y="565"/>
                    </a:lnTo>
                    <a:lnTo>
                      <a:pt x="369" y="567"/>
                    </a:lnTo>
                    <a:lnTo>
                      <a:pt x="365" y="565"/>
                    </a:lnTo>
                    <a:lnTo>
                      <a:pt x="365" y="562"/>
                    </a:lnTo>
                    <a:lnTo>
                      <a:pt x="362" y="562"/>
                    </a:lnTo>
                    <a:lnTo>
                      <a:pt x="355" y="556"/>
                    </a:lnTo>
                    <a:lnTo>
                      <a:pt x="353" y="553"/>
                    </a:lnTo>
                    <a:lnTo>
                      <a:pt x="350" y="553"/>
                    </a:lnTo>
                    <a:lnTo>
                      <a:pt x="346" y="546"/>
                    </a:lnTo>
                    <a:lnTo>
                      <a:pt x="341" y="539"/>
                    </a:lnTo>
                    <a:lnTo>
                      <a:pt x="338" y="530"/>
                    </a:lnTo>
                    <a:lnTo>
                      <a:pt x="334" y="525"/>
                    </a:lnTo>
                    <a:lnTo>
                      <a:pt x="334" y="518"/>
                    </a:lnTo>
                    <a:lnTo>
                      <a:pt x="332" y="513"/>
                    </a:lnTo>
                    <a:lnTo>
                      <a:pt x="331" y="503"/>
                    </a:lnTo>
                    <a:lnTo>
                      <a:pt x="329" y="501"/>
                    </a:lnTo>
                    <a:lnTo>
                      <a:pt x="331" y="497"/>
                    </a:lnTo>
                    <a:lnTo>
                      <a:pt x="331" y="497"/>
                    </a:lnTo>
                    <a:lnTo>
                      <a:pt x="327" y="496"/>
                    </a:lnTo>
                    <a:lnTo>
                      <a:pt x="325" y="497"/>
                    </a:lnTo>
                    <a:lnTo>
                      <a:pt x="324" y="496"/>
                    </a:lnTo>
                    <a:lnTo>
                      <a:pt x="324" y="494"/>
                    </a:lnTo>
                    <a:lnTo>
                      <a:pt x="329" y="496"/>
                    </a:lnTo>
                    <a:lnTo>
                      <a:pt x="332" y="492"/>
                    </a:lnTo>
                    <a:lnTo>
                      <a:pt x="332" y="485"/>
                    </a:lnTo>
                    <a:lnTo>
                      <a:pt x="332" y="482"/>
                    </a:lnTo>
                    <a:lnTo>
                      <a:pt x="329" y="483"/>
                    </a:lnTo>
                    <a:lnTo>
                      <a:pt x="325" y="483"/>
                    </a:lnTo>
                    <a:lnTo>
                      <a:pt x="327" y="482"/>
                    </a:lnTo>
                    <a:lnTo>
                      <a:pt x="332" y="480"/>
                    </a:lnTo>
                    <a:lnTo>
                      <a:pt x="332" y="478"/>
                    </a:lnTo>
                    <a:lnTo>
                      <a:pt x="331" y="478"/>
                    </a:lnTo>
                    <a:lnTo>
                      <a:pt x="325" y="478"/>
                    </a:lnTo>
                    <a:lnTo>
                      <a:pt x="318" y="475"/>
                    </a:lnTo>
                    <a:lnTo>
                      <a:pt x="315" y="475"/>
                    </a:lnTo>
                    <a:lnTo>
                      <a:pt x="311" y="475"/>
                    </a:lnTo>
                    <a:lnTo>
                      <a:pt x="304" y="478"/>
                    </a:lnTo>
                    <a:lnTo>
                      <a:pt x="299" y="478"/>
                    </a:lnTo>
                    <a:lnTo>
                      <a:pt x="296" y="480"/>
                    </a:lnTo>
                    <a:lnTo>
                      <a:pt x="292" y="483"/>
                    </a:lnTo>
                    <a:lnTo>
                      <a:pt x="292" y="487"/>
                    </a:lnTo>
                    <a:lnTo>
                      <a:pt x="292" y="489"/>
                    </a:lnTo>
                    <a:lnTo>
                      <a:pt x="292" y="492"/>
                    </a:lnTo>
                    <a:lnTo>
                      <a:pt x="296" y="492"/>
                    </a:lnTo>
                    <a:lnTo>
                      <a:pt x="296" y="494"/>
                    </a:lnTo>
                    <a:lnTo>
                      <a:pt x="296" y="496"/>
                    </a:lnTo>
                    <a:lnTo>
                      <a:pt x="292" y="496"/>
                    </a:lnTo>
                    <a:lnTo>
                      <a:pt x="289" y="497"/>
                    </a:lnTo>
                    <a:lnTo>
                      <a:pt x="287" y="501"/>
                    </a:lnTo>
                    <a:lnTo>
                      <a:pt x="284" y="506"/>
                    </a:lnTo>
                    <a:lnTo>
                      <a:pt x="287" y="506"/>
                    </a:lnTo>
                    <a:lnTo>
                      <a:pt x="291" y="506"/>
                    </a:lnTo>
                    <a:lnTo>
                      <a:pt x="296" y="503"/>
                    </a:lnTo>
                    <a:lnTo>
                      <a:pt x="296" y="506"/>
                    </a:lnTo>
                    <a:lnTo>
                      <a:pt x="292" y="508"/>
                    </a:lnTo>
                    <a:lnTo>
                      <a:pt x="292" y="511"/>
                    </a:lnTo>
                    <a:lnTo>
                      <a:pt x="292" y="511"/>
                    </a:lnTo>
                    <a:lnTo>
                      <a:pt x="296" y="508"/>
                    </a:lnTo>
                    <a:lnTo>
                      <a:pt x="298" y="508"/>
                    </a:lnTo>
                    <a:lnTo>
                      <a:pt x="298" y="509"/>
                    </a:lnTo>
                    <a:lnTo>
                      <a:pt x="296" y="511"/>
                    </a:lnTo>
                    <a:lnTo>
                      <a:pt x="296" y="515"/>
                    </a:lnTo>
                    <a:lnTo>
                      <a:pt x="298" y="516"/>
                    </a:lnTo>
                    <a:lnTo>
                      <a:pt x="301" y="516"/>
                    </a:lnTo>
                    <a:lnTo>
                      <a:pt x="299" y="518"/>
                    </a:lnTo>
                    <a:lnTo>
                      <a:pt x="296" y="518"/>
                    </a:lnTo>
                    <a:lnTo>
                      <a:pt x="296" y="520"/>
                    </a:lnTo>
                    <a:lnTo>
                      <a:pt x="296" y="523"/>
                    </a:lnTo>
                    <a:lnTo>
                      <a:pt x="296" y="525"/>
                    </a:lnTo>
                    <a:lnTo>
                      <a:pt x="296" y="529"/>
                    </a:lnTo>
                    <a:lnTo>
                      <a:pt x="292" y="525"/>
                    </a:lnTo>
                    <a:lnTo>
                      <a:pt x="291" y="529"/>
                    </a:lnTo>
                    <a:lnTo>
                      <a:pt x="289" y="525"/>
                    </a:lnTo>
                    <a:lnTo>
                      <a:pt x="284" y="525"/>
                    </a:lnTo>
                    <a:lnTo>
                      <a:pt x="284" y="529"/>
                    </a:lnTo>
                    <a:lnTo>
                      <a:pt x="284" y="532"/>
                    </a:lnTo>
                    <a:lnTo>
                      <a:pt x="284" y="537"/>
                    </a:lnTo>
                    <a:lnTo>
                      <a:pt x="284" y="541"/>
                    </a:lnTo>
                    <a:lnTo>
                      <a:pt x="284" y="544"/>
                    </a:lnTo>
                    <a:lnTo>
                      <a:pt x="289" y="549"/>
                    </a:lnTo>
                    <a:lnTo>
                      <a:pt x="289" y="551"/>
                    </a:lnTo>
                    <a:lnTo>
                      <a:pt x="292" y="553"/>
                    </a:lnTo>
                    <a:lnTo>
                      <a:pt x="296" y="556"/>
                    </a:lnTo>
                    <a:lnTo>
                      <a:pt x="298" y="553"/>
                    </a:lnTo>
                    <a:lnTo>
                      <a:pt x="301" y="553"/>
                    </a:lnTo>
                    <a:lnTo>
                      <a:pt x="303" y="549"/>
                    </a:lnTo>
                    <a:lnTo>
                      <a:pt x="303" y="544"/>
                    </a:lnTo>
                    <a:lnTo>
                      <a:pt x="303" y="541"/>
                    </a:lnTo>
                    <a:lnTo>
                      <a:pt x="304" y="537"/>
                    </a:lnTo>
                    <a:lnTo>
                      <a:pt x="303" y="543"/>
                    </a:lnTo>
                    <a:lnTo>
                      <a:pt x="303" y="544"/>
                    </a:lnTo>
                    <a:lnTo>
                      <a:pt x="304" y="548"/>
                    </a:lnTo>
                    <a:lnTo>
                      <a:pt x="306" y="551"/>
                    </a:lnTo>
                    <a:lnTo>
                      <a:pt x="308" y="553"/>
                    </a:lnTo>
                    <a:lnTo>
                      <a:pt x="311" y="551"/>
                    </a:lnTo>
                    <a:lnTo>
                      <a:pt x="311" y="548"/>
                    </a:lnTo>
                    <a:lnTo>
                      <a:pt x="313" y="544"/>
                    </a:lnTo>
                    <a:lnTo>
                      <a:pt x="313" y="546"/>
                    </a:lnTo>
                    <a:lnTo>
                      <a:pt x="313" y="548"/>
                    </a:lnTo>
                    <a:lnTo>
                      <a:pt x="313" y="551"/>
                    </a:lnTo>
                    <a:lnTo>
                      <a:pt x="315" y="556"/>
                    </a:lnTo>
                    <a:lnTo>
                      <a:pt x="318" y="560"/>
                    </a:lnTo>
                    <a:lnTo>
                      <a:pt x="324" y="560"/>
                    </a:lnTo>
                    <a:lnTo>
                      <a:pt x="325" y="556"/>
                    </a:lnTo>
                    <a:lnTo>
                      <a:pt x="327" y="556"/>
                    </a:lnTo>
                    <a:lnTo>
                      <a:pt x="325" y="560"/>
                    </a:lnTo>
                    <a:lnTo>
                      <a:pt x="324" y="560"/>
                    </a:lnTo>
                    <a:lnTo>
                      <a:pt x="324" y="560"/>
                    </a:lnTo>
                    <a:lnTo>
                      <a:pt x="320" y="562"/>
                    </a:lnTo>
                    <a:lnTo>
                      <a:pt x="318" y="565"/>
                    </a:lnTo>
                    <a:lnTo>
                      <a:pt x="324" y="567"/>
                    </a:lnTo>
                    <a:lnTo>
                      <a:pt x="324" y="570"/>
                    </a:lnTo>
                    <a:lnTo>
                      <a:pt x="320" y="570"/>
                    </a:lnTo>
                    <a:lnTo>
                      <a:pt x="318" y="569"/>
                    </a:lnTo>
                    <a:lnTo>
                      <a:pt x="318" y="572"/>
                    </a:lnTo>
                    <a:lnTo>
                      <a:pt x="320" y="574"/>
                    </a:lnTo>
                    <a:lnTo>
                      <a:pt x="325" y="574"/>
                    </a:lnTo>
                    <a:lnTo>
                      <a:pt x="329" y="576"/>
                    </a:lnTo>
                    <a:lnTo>
                      <a:pt x="334" y="574"/>
                    </a:lnTo>
                    <a:lnTo>
                      <a:pt x="338" y="576"/>
                    </a:lnTo>
                    <a:lnTo>
                      <a:pt x="338" y="574"/>
                    </a:lnTo>
                    <a:lnTo>
                      <a:pt x="338" y="574"/>
                    </a:lnTo>
                    <a:lnTo>
                      <a:pt x="341" y="576"/>
                    </a:lnTo>
                    <a:lnTo>
                      <a:pt x="343" y="581"/>
                    </a:lnTo>
                    <a:lnTo>
                      <a:pt x="343" y="584"/>
                    </a:lnTo>
                    <a:lnTo>
                      <a:pt x="346" y="583"/>
                    </a:lnTo>
                    <a:lnTo>
                      <a:pt x="348" y="581"/>
                    </a:lnTo>
                    <a:lnTo>
                      <a:pt x="348" y="576"/>
                    </a:lnTo>
                    <a:lnTo>
                      <a:pt x="343" y="574"/>
                    </a:lnTo>
                    <a:lnTo>
                      <a:pt x="343" y="574"/>
                    </a:lnTo>
                    <a:lnTo>
                      <a:pt x="343" y="572"/>
                    </a:lnTo>
                    <a:lnTo>
                      <a:pt x="346" y="574"/>
                    </a:lnTo>
                    <a:lnTo>
                      <a:pt x="350" y="576"/>
                    </a:lnTo>
                    <a:lnTo>
                      <a:pt x="350" y="576"/>
                    </a:lnTo>
                    <a:lnTo>
                      <a:pt x="351" y="581"/>
                    </a:lnTo>
                    <a:lnTo>
                      <a:pt x="353" y="581"/>
                    </a:lnTo>
                    <a:lnTo>
                      <a:pt x="355" y="579"/>
                    </a:lnTo>
                    <a:lnTo>
                      <a:pt x="355" y="576"/>
                    </a:lnTo>
                    <a:lnTo>
                      <a:pt x="358" y="581"/>
                    </a:lnTo>
                    <a:lnTo>
                      <a:pt x="362" y="583"/>
                    </a:lnTo>
                    <a:lnTo>
                      <a:pt x="364" y="583"/>
                    </a:lnTo>
                    <a:lnTo>
                      <a:pt x="364" y="581"/>
                    </a:lnTo>
                    <a:lnTo>
                      <a:pt x="362" y="576"/>
                    </a:lnTo>
                    <a:lnTo>
                      <a:pt x="362" y="576"/>
                    </a:lnTo>
                    <a:lnTo>
                      <a:pt x="364" y="576"/>
                    </a:lnTo>
                    <a:lnTo>
                      <a:pt x="365" y="576"/>
                    </a:lnTo>
                    <a:lnTo>
                      <a:pt x="365" y="579"/>
                    </a:lnTo>
                    <a:lnTo>
                      <a:pt x="369" y="579"/>
                    </a:lnTo>
                    <a:lnTo>
                      <a:pt x="369" y="583"/>
                    </a:lnTo>
                    <a:lnTo>
                      <a:pt x="371" y="584"/>
                    </a:lnTo>
                    <a:lnTo>
                      <a:pt x="372" y="583"/>
                    </a:lnTo>
                    <a:lnTo>
                      <a:pt x="372" y="581"/>
                    </a:lnTo>
                    <a:lnTo>
                      <a:pt x="372" y="576"/>
                    </a:lnTo>
                    <a:lnTo>
                      <a:pt x="369" y="576"/>
                    </a:lnTo>
                    <a:lnTo>
                      <a:pt x="369" y="576"/>
                    </a:lnTo>
                    <a:lnTo>
                      <a:pt x="369" y="574"/>
                    </a:lnTo>
                    <a:lnTo>
                      <a:pt x="371" y="576"/>
                    </a:lnTo>
                    <a:lnTo>
                      <a:pt x="372" y="576"/>
                    </a:lnTo>
                    <a:lnTo>
                      <a:pt x="374" y="572"/>
                    </a:lnTo>
                    <a:lnTo>
                      <a:pt x="377" y="570"/>
                    </a:lnTo>
                    <a:lnTo>
                      <a:pt x="377" y="569"/>
                    </a:lnTo>
                    <a:lnTo>
                      <a:pt x="377" y="569"/>
                    </a:lnTo>
                    <a:lnTo>
                      <a:pt x="377" y="569"/>
                    </a:lnTo>
                    <a:lnTo>
                      <a:pt x="377" y="569"/>
                    </a:lnTo>
                    <a:close/>
                    <a:moveTo>
                      <a:pt x="119" y="784"/>
                    </a:moveTo>
                    <a:lnTo>
                      <a:pt x="119" y="779"/>
                    </a:lnTo>
                    <a:lnTo>
                      <a:pt x="119" y="779"/>
                    </a:lnTo>
                    <a:lnTo>
                      <a:pt x="119" y="776"/>
                    </a:lnTo>
                    <a:lnTo>
                      <a:pt x="115" y="776"/>
                    </a:lnTo>
                    <a:lnTo>
                      <a:pt x="115" y="779"/>
                    </a:lnTo>
                    <a:lnTo>
                      <a:pt x="115" y="779"/>
                    </a:lnTo>
                    <a:lnTo>
                      <a:pt x="119" y="784"/>
                    </a:lnTo>
                    <a:lnTo>
                      <a:pt x="119" y="784"/>
                    </a:lnTo>
                    <a:lnTo>
                      <a:pt x="119" y="784"/>
                    </a:lnTo>
                    <a:lnTo>
                      <a:pt x="119" y="784"/>
                    </a:lnTo>
                    <a:lnTo>
                      <a:pt x="119" y="784"/>
                    </a:lnTo>
                    <a:lnTo>
                      <a:pt x="119" y="784"/>
                    </a:lnTo>
                    <a:lnTo>
                      <a:pt x="119" y="784"/>
                    </a:lnTo>
                    <a:close/>
                    <a:moveTo>
                      <a:pt x="207" y="725"/>
                    </a:moveTo>
                    <a:lnTo>
                      <a:pt x="209" y="725"/>
                    </a:lnTo>
                    <a:lnTo>
                      <a:pt x="209" y="725"/>
                    </a:lnTo>
                    <a:lnTo>
                      <a:pt x="207" y="722"/>
                    </a:lnTo>
                    <a:lnTo>
                      <a:pt x="205" y="722"/>
                    </a:lnTo>
                    <a:lnTo>
                      <a:pt x="205" y="725"/>
                    </a:lnTo>
                    <a:lnTo>
                      <a:pt x="207" y="725"/>
                    </a:lnTo>
                    <a:lnTo>
                      <a:pt x="207" y="725"/>
                    </a:lnTo>
                    <a:lnTo>
                      <a:pt x="207" y="725"/>
                    </a:lnTo>
                    <a:lnTo>
                      <a:pt x="207" y="725"/>
                    </a:lnTo>
                    <a:close/>
                    <a:moveTo>
                      <a:pt x="277" y="652"/>
                    </a:moveTo>
                    <a:lnTo>
                      <a:pt x="280" y="652"/>
                    </a:lnTo>
                    <a:lnTo>
                      <a:pt x="284" y="647"/>
                    </a:lnTo>
                    <a:lnTo>
                      <a:pt x="287" y="643"/>
                    </a:lnTo>
                    <a:lnTo>
                      <a:pt x="287" y="638"/>
                    </a:lnTo>
                    <a:lnTo>
                      <a:pt x="291" y="635"/>
                    </a:lnTo>
                    <a:lnTo>
                      <a:pt x="291" y="638"/>
                    </a:lnTo>
                    <a:lnTo>
                      <a:pt x="291" y="643"/>
                    </a:lnTo>
                    <a:lnTo>
                      <a:pt x="292" y="638"/>
                    </a:lnTo>
                    <a:lnTo>
                      <a:pt x="292" y="635"/>
                    </a:lnTo>
                    <a:lnTo>
                      <a:pt x="289" y="631"/>
                    </a:lnTo>
                    <a:lnTo>
                      <a:pt x="277" y="626"/>
                    </a:lnTo>
                    <a:lnTo>
                      <a:pt x="270" y="626"/>
                    </a:lnTo>
                    <a:lnTo>
                      <a:pt x="268" y="628"/>
                    </a:lnTo>
                    <a:lnTo>
                      <a:pt x="265" y="635"/>
                    </a:lnTo>
                    <a:lnTo>
                      <a:pt x="265" y="643"/>
                    </a:lnTo>
                    <a:lnTo>
                      <a:pt x="268" y="647"/>
                    </a:lnTo>
                    <a:lnTo>
                      <a:pt x="268" y="650"/>
                    </a:lnTo>
                    <a:lnTo>
                      <a:pt x="268" y="650"/>
                    </a:lnTo>
                    <a:lnTo>
                      <a:pt x="273" y="652"/>
                    </a:lnTo>
                    <a:lnTo>
                      <a:pt x="270" y="654"/>
                    </a:lnTo>
                    <a:lnTo>
                      <a:pt x="273" y="654"/>
                    </a:lnTo>
                    <a:lnTo>
                      <a:pt x="277" y="652"/>
                    </a:lnTo>
                    <a:lnTo>
                      <a:pt x="277" y="652"/>
                    </a:lnTo>
                    <a:lnTo>
                      <a:pt x="277" y="652"/>
                    </a:lnTo>
                    <a:lnTo>
                      <a:pt x="277" y="652"/>
                    </a:lnTo>
                    <a:close/>
                    <a:moveTo>
                      <a:pt x="306" y="659"/>
                    </a:moveTo>
                    <a:lnTo>
                      <a:pt x="308" y="659"/>
                    </a:lnTo>
                    <a:lnTo>
                      <a:pt x="310" y="657"/>
                    </a:lnTo>
                    <a:lnTo>
                      <a:pt x="313" y="657"/>
                    </a:lnTo>
                    <a:lnTo>
                      <a:pt x="315" y="656"/>
                    </a:lnTo>
                    <a:lnTo>
                      <a:pt x="310" y="656"/>
                    </a:lnTo>
                    <a:lnTo>
                      <a:pt x="306" y="657"/>
                    </a:lnTo>
                    <a:lnTo>
                      <a:pt x="306" y="659"/>
                    </a:lnTo>
                    <a:lnTo>
                      <a:pt x="306" y="659"/>
                    </a:lnTo>
                    <a:lnTo>
                      <a:pt x="306" y="659"/>
                    </a:lnTo>
                    <a:lnTo>
                      <a:pt x="306" y="659"/>
                    </a:lnTo>
                    <a:close/>
                    <a:moveTo>
                      <a:pt x="357" y="657"/>
                    </a:moveTo>
                    <a:lnTo>
                      <a:pt x="357" y="659"/>
                    </a:lnTo>
                    <a:lnTo>
                      <a:pt x="360" y="656"/>
                    </a:lnTo>
                    <a:lnTo>
                      <a:pt x="360" y="652"/>
                    </a:lnTo>
                    <a:lnTo>
                      <a:pt x="357" y="654"/>
                    </a:lnTo>
                    <a:lnTo>
                      <a:pt x="355" y="656"/>
                    </a:lnTo>
                    <a:lnTo>
                      <a:pt x="357" y="657"/>
                    </a:lnTo>
                    <a:lnTo>
                      <a:pt x="357" y="657"/>
                    </a:lnTo>
                    <a:lnTo>
                      <a:pt x="357" y="657"/>
                    </a:lnTo>
                    <a:lnTo>
                      <a:pt x="357" y="657"/>
                    </a:lnTo>
                    <a:close/>
                    <a:moveTo>
                      <a:pt x="348" y="659"/>
                    </a:moveTo>
                    <a:lnTo>
                      <a:pt x="351" y="659"/>
                    </a:lnTo>
                    <a:lnTo>
                      <a:pt x="353" y="657"/>
                    </a:lnTo>
                    <a:lnTo>
                      <a:pt x="351" y="654"/>
                    </a:lnTo>
                    <a:lnTo>
                      <a:pt x="350" y="656"/>
                    </a:lnTo>
                    <a:lnTo>
                      <a:pt x="348" y="659"/>
                    </a:lnTo>
                    <a:lnTo>
                      <a:pt x="348" y="659"/>
                    </a:lnTo>
                    <a:lnTo>
                      <a:pt x="348" y="659"/>
                    </a:lnTo>
                    <a:lnTo>
                      <a:pt x="348" y="659"/>
                    </a:lnTo>
                    <a:close/>
                    <a:moveTo>
                      <a:pt x="388" y="640"/>
                    </a:moveTo>
                    <a:lnTo>
                      <a:pt x="391" y="640"/>
                    </a:lnTo>
                    <a:lnTo>
                      <a:pt x="393" y="638"/>
                    </a:lnTo>
                    <a:lnTo>
                      <a:pt x="397" y="638"/>
                    </a:lnTo>
                    <a:lnTo>
                      <a:pt x="400" y="635"/>
                    </a:lnTo>
                    <a:lnTo>
                      <a:pt x="397" y="635"/>
                    </a:lnTo>
                    <a:lnTo>
                      <a:pt x="391" y="638"/>
                    </a:lnTo>
                    <a:lnTo>
                      <a:pt x="388" y="640"/>
                    </a:lnTo>
                    <a:lnTo>
                      <a:pt x="388" y="640"/>
                    </a:lnTo>
                    <a:lnTo>
                      <a:pt x="388" y="640"/>
                    </a:lnTo>
                    <a:lnTo>
                      <a:pt x="388" y="640"/>
                    </a:lnTo>
                    <a:close/>
                    <a:moveTo>
                      <a:pt x="372" y="638"/>
                    </a:moveTo>
                    <a:lnTo>
                      <a:pt x="374" y="638"/>
                    </a:lnTo>
                    <a:lnTo>
                      <a:pt x="377" y="638"/>
                    </a:lnTo>
                    <a:lnTo>
                      <a:pt x="377" y="638"/>
                    </a:lnTo>
                    <a:lnTo>
                      <a:pt x="374" y="635"/>
                    </a:lnTo>
                    <a:lnTo>
                      <a:pt x="372" y="638"/>
                    </a:lnTo>
                    <a:lnTo>
                      <a:pt x="372" y="638"/>
                    </a:lnTo>
                    <a:lnTo>
                      <a:pt x="372" y="638"/>
                    </a:lnTo>
                    <a:lnTo>
                      <a:pt x="372" y="638"/>
                    </a:lnTo>
                    <a:close/>
                    <a:moveTo>
                      <a:pt x="364" y="635"/>
                    </a:moveTo>
                    <a:lnTo>
                      <a:pt x="365" y="638"/>
                    </a:lnTo>
                    <a:lnTo>
                      <a:pt x="365" y="638"/>
                    </a:lnTo>
                    <a:lnTo>
                      <a:pt x="369" y="638"/>
                    </a:lnTo>
                    <a:lnTo>
                      <a:pt x="369" y="635"/>
                    </a:lnTo>
                    <a:lnTo>
                      <a:pt x="365" y="635"/>
                    </a:lnTo>
                    <a:lnTo>
                      <a:pt x="364" y="635"/>
                    </a:lnTo>
                    <a:lnTo>
                      <a:pt x="364" y="635"/>
                    </a:lnTo>
                    <a:lnTo>
                      <a:pt x="364" y="635"/>
                    </a:lnTo>
                    <a:lnTo>
                      <a:pt x="364" y="635"/>
                    </a:lnTo>
                    <a:close/>
                    <a:moveTo>
                      <a:pt x="358" y="638"/>
                    </a:moveTo>
                    <a:lnTo>
                      <a:pt x="358" y="638"/>
                    </a:lnTo>
                    <a:lnTo>
                      <a:pt x="360" y="638"/>
                    </a:lnTo>
                    <a:lnTo>
                      <a:pt x="362" y="635"/>
                    </a:lnTo>
                    <a:lnTo>
                      <a:pt x="360" y="635"/>
                    </a:lnTo>
                    <a:lnTo>
                      <a:pt x="358" y="638"/>
                    </a:lnTo>
                    <a:lnTo>
                      <a:pt x="358" y="638"/>
                    </a:lnTo>
                    <a:lnTo>
                      <a:pt x="358" y="638"/>
                    </a:lnTo>
                    <a:lnTo>
                      <a:pt x="358" y="638"/>
                    </a:lnTo>
                    <a:close/>
                    <a:moveTo>
                      <a:pt x="723" y="525"/>
                    </a:moveTo>
                    <a:lnTo>
                      <a:pt x="723" y="529"/>
                    </a:lnTo>
                    <a:lnTo>
                      <a:pt x="723" y="530"/>
                    </a:lnTo>
                    <a:lnTo>
                      <a:pt x="723" y="529"/>
                    </a:lnTo>
                    <a:lnTo>
                      <a:pt x="723" y="525"/>
                    </a:lnTo>
                    <a:lnTo>
                      <a:pt x="723" y="525"/>
                    </a:lnTo>
                    <a:lnTo>
                      <a:pt x="723" y="525"/>
                    </a:lnTo>
                    <a:lnTo>
                      <a:pt x="723" y="525"/>
                    </a:lnTo>
                    <a:lnTo>
                      <a:pt x="723" y="525"/>
                    </a:lnTo>
                    <a:close/>
                    <a:moveTo>
                      <a:pt x="716" y="515"/>
                    </a:moveTo>
                    <a:lnTo>
                      <a:pt x="716" y="522"/>
                    </a:lnTo>
                    <a:lnTo>
                      <a:pt x="718" y="525"/>
                    </a:lnTo>
                    <a:lnTo>
                      <a:pt x="716" y="530"/>
                    </a:lnTo>
                    <a:lnTo>
                      <a:pt x="718" y="530"/>
                    </a:lnTo>
                    <a:lnTo>
                      <a:pt x="720" y="529"/>
                    </a:lnTo>
                    <a:lnTo>
                      <a:pt x="720" y="520"/>
                    </a:lnTo>
                    <a:lnTo>
                      <a:pt x="716" y="515"/>
                    </a:lnTo>
                    <a:lnTo>
                      <a:pt x="716" y="515"/>
                    </a:lnTo>
                    <a:lnTo>
                      <a:pt x="716" y="515"/>
                    </a:lnTo>
                    <a:lnTo>
                      <a:pt x="716" y="515"/>
                    </a:lnTo>
                    <a:lnTo>
                      <a:pt x="716" y="515"/>
                    </a:lnTo>
                    <a:close/>
                    <a:moveTo>
                      <a:pt x="711" y="508"/>
                    </a:moveTo>
                    <a:lnTo>
                      <a:pt x="713" y="511"/>
                    </a:lnTo>
                    <a:lnTo>
                      <a:pt x="715" y="513"/>
                    </a:lnTo>
                    <a:lnTo>
                      <a:pt x="715" y="509"/>
                    </a:lnTo>
                    <a:lnTo>
                      <a:pt x="713" y="508"/>
                    </a:lnTo>
                    <a:lnTo>
                      <a:pt x="711" y="508"/>
                    </a:lnTo>
                    <a:lnTo>
                      <a:pt x="711" y="508"/>
                    </a:lnTo>
                    <a:lnTo>
                      <a:pt x="711" y="508"/>
                    </a:lnTo>
                    <a:lnTo>
                      <a:pt x="711" y="508"/>
                    </a:lnTo>
                    <a:close/>
                    <a:moveTo>
                      <a:pt x="400" y="612"/>
                    </a:moveTo>
                    <a:lnTo>
                      <a:pt x="402" y="612"/>
                    </a:lnTo>
                    <a:lnTo>
                      <a:pt x="402" y="607"/>
                    </a:lnTo>
                    <a:lnTo>
                      <a:pt x="400" y="607"/>
                    </a:lnTo>
                    <a:lnTo>
                      <a:pt x="400" y="612"/>
                    </a:lnTo>
                    <a:lnTo>
                      <a:pt x="400" y="612"/>
                    </a:lnTo>
                    <a:lnTo>
                      <a:pt x="400" y="612"/>
                    </a:lnTo>
                    <a:lnTo>
                      <a:pt x="400" y="612"/>
                    </a:lnTo>
                    <a:close/>
                    <a:moveTo>
                      <a:pt x="417" y="626"/>
                    </a:moveTo>
                    <a:lnTo>
                      <a:pt x="417" y="626"/>
                    </a:lnTo>
                    <a:lnTo>
                      <a:pt x="419" y="623"/>
                    </a:lnTo>
                    <a:lnTo>
                      <a:pt x="417" y="623"/>
                    </a:lnTo>
                    <a:lnTo>
                      <a:pt x="417" y="626"/>
                    </a:lnTo>
                    <a:lnTo>
                      <a:pt x="417" y="626"/>
                    </a:lnTo>
                    <a:lnTo>
                      <a:pt x="417" y="626"/>
                    </a:lnTo>
                    <a:lnTo>
                      <a:pt x="417" y="626"/>
                    </a:lnTo>
                    <a:close/>
                    <a:moveTo>
                      <a:pt x="416" y="621"/>
                    </a:moveTo>
                    <a:lnTo>
                      <a:pt x="414" y="616"/>
                    </a:lnTo>
                    <a:lnTo>
                      <a:pt x="409" y="616"/>
                    </a:lnTo>
                    <a:lnTo>
                      <a:pt x="405" y="612"/>
                    </a:lnTo>
                    <a:lnTo>
                      <a:pt x="405" y="612"/>
                    </a:lnTo>
                    <a:lnTo>
                      <a:pt x="409" y="616"/>
                    </a:lnTo>
                    <a:lnTo>
                      <a:pt x="416" y="621"/>
                    </a:lnTo>
                    <a:lnTo>
                      <a:pt x="416" y="621"/>
                    </a:lnTo>
                    <a:lnTo>
                      <a:pt x="416" y="621"/>
                    </a:lnTo>
                    <a:lnTo>
                      <a:pt x="416" y="621"/>
                    </a:lnTo>
                    <a:close/>
                    <a:moveTo>
                      <a:pt x="423" y="605"/>
                    </a:moveTo>
                    <a:lnTo>
                      <a:pt x="424" y="600"/>
                    </a:lnTo>
                    <a:lnTo>
                      <a:pt x="423" y="595"/>
                    </a:lnTo>
                    <a:lnTo>
                      <a:pt x="419" y="591"/>
                    </a:lnTo>
                    <a:lnTo>
                      <a:pt x="414" y="588"/>
                    </a:lnTo>
                    <a:lnTo>
                      <a:pt x="410" y="588"/>
                    </a:lnTo>
                    <a:lnTo>
                      <a:pt x="407" y="583"/>
                    </a:lnTo>
                    <a:lnTo>
                      <a:pt x="404" y="581"/>
                    </a:lnTo>
                    <a:lnTo>
                      <a:pt x="402" y="579"/>
                    </a:lnTo>
                    <a:lnTo>
                      <a:pt x="397" y="576"/>
                    </a:lnTo>
                    <a:lnTo>
                      <a:pt x="397" y="576"/>
                    </a:lnTo>
                    <a:lnTo>
                      <a:pt x="393" y="576"/>
                    </a:lnTo>
                    <a:lnTo>
                      <a:pt x="393" y="579"/>
                    </a:lnTo>
                    <a:lnTo>
                      <a:pt x="391" y="581"/>
                    </a:lnTo>
                    <a:lnTo>
                      <a:pt x="393" y="584"/>
                    </a:lnTo>
                    <a:lnTo>
                      <a:pt x="397" y="584"/>
                    </a:lnTo>
                    <a:lnTo>
                      <a:pt x="397" y="584"/>
                    </a:lnTo>
                    <a:lnTo>
                      <a:pt x="393" y="584"/>
                    </a:lnTo>
                    <a:lnTo>
                      <a:pt x="391" y="584"/>
                    </a:lnTo>
                    <a:lnTo>
                      <a:pt x="391" y="584"/>
                    </a:lnTo>
                    <a:lnTo>
                      <a:pt x="391" y="588"/>
                    </a:lnTo>
                    <a:lnTo>
                      <a:pt x="397" y="593"/>
                    </a:lnTo>
                    <a:lnTo>
                      <a:pt x="400" y="595"/>
                    </a:lnTo>
                    <a:lnTo>
                      <a:pt x="402" y="598"/>
                    </a:lnTo>
                    <a:lnTo>
                      <a:pt x="404" y="598"/>
                    </a:lnTo>
                    <a:lnTo>
                      <a:pt x="405" y="595"/>
                    </a:lnTo>
                    <a:lnTo>
                      <a:pt x="407" y="596"/>
                    </a:lnTo>
                    <a:lnTo>
                      <a:pt x="410" y="595"/>
                    </a:lnTo>
                    <a:lnTo>
                      <a:pt x="410" y="596"/>
                    </a:lnTo>
                    <a:lnTo>
                      <a:pt x="412" y="602"/>
                    </a:lnTo>
                    <a:lnTo>
                      <a:pt x="412" y="603"/>
                    </a:lnTo>
                    <a:lnTo>
                      <a:pt x="414" y="605"/>
                    </a:lnTo>
                    <a:lnTo>
                      <a:pt x="419" y="605"/>
                    </a:lnTo>
                    <a:lnTo>
                      <a:pt x="419" y="603"/>
                    </a:lnTo>
                    <a:lnTo>
                      <a:pt x="423" y="605"/>
                    </a:lnTo>
                    <a:lnTo>
                      <a:pt x="423" y="605"/>
                    </a:lnTo>
                    <a:lnTo>
                      <a:pt x="423" y="605"/>
                    </a:lnTo>
                    <a:lnTo>
                      <a:pt x="423" y="605"/>
                    </a:lnTo>
                    <a:close/>
                    <a:moveTo>
                      <a:pt x="504" y="459"/>
                    </a:moveTo>
                    <a:lnTo>
                      <a:pt x="504" y="459"/>
                    </a:lnTo>
                    <a:lnTo>
                      <a:pt x="504" y="457"/>
                    </a:lnTo>
                    <a:lnTo>
                      <a:pt x="504" y="454"/>
                    </a:lnTo>
                    <a:lnTo>
                      <a:pt x="506" y="454"/>
                    </a:lnTo>
                    <a:lnTo>
                      <a:pt x="508" y="457"/>
                    </a:lnTo>
                    <a:lnTo>
                      <a:pt x="510" y="457"/>
                    </a:lnTo>
                    <a:lnTo>
                      <a:pt x="511" y="457"/>
                    </a:lnTo>
                    <a:lnTo>
                      <a:pt x="515" y="457"/>
                    </a:lnTo>
                    <a:lnTo>
                      <a:pt x="515" y="454"/>
                    </a:lnTo>
                    <a:lnTo>
                      <a:pt x="518" y="450"/>
                    </a:lnTo>
                    <a:lnTo>
                      <a:pt x="523" y="450"/>
                    </a:lnTo>
                    <a:lnTo>
                      <a:pt x="523" y="447"/>
                    </a:lnTo>
                    <a:lnTo>
                      <a:pt x="520" y="443"/>
                    </a:lnTo>
                    <a:lnTo>
                      <a:pt x="516" y="443"/>
                    </a:lnTo>
                    <a:lnTo>
                      <a:pt x="516" y="438"/>
                    </a:lnTo>
                    <a:lnTo>
                      <a:pt x="513" y="436"/>
                    </a:lnTo>
                    <a:lnTo>
                      <a:pt x="511" y="435"/>
                    </a:lnTo>
                    <a:lnTo>
                      <a:pt x="508" y="436"/>
                    </a:lnTo>
                    <a:lnTo>
                      <a:pt x="504" y="438"/>
                    </a:lnTo>
                    <a:lnTo>
                      <a:pt x="501" y="438"/>
                    </a:lnTo>
                    <a:lnTo>
                      <a:pt x="497" y="443"/>
                    </a:lnTo>
                    <a:lnTo>
                      <a:pt x="497" y="443"/>
                    </a:lnTo>
                    <a:lnTo>
                      <a:pt x="501" y="447"/>
                    </a:lnTo>
                    <a:lnTo>
                      <a:pt x="501" y="450"/>
                    </a:lnTo>
                    <a:lnTo>
                      <a:pt x="501" y="456"/>
                    </a:lnTo>
                    <a:lnTo>
                      <a:pt x="504" y="459"/>
                    </a:lnTo>
                    <a:lnTo>
                      <a:pt x="504" y="459"/>
                    </a:lnTo>
                    <a:lnTo>
                      <a:pt x="504" y="459"/>
                    </a:lnTo>
                    <a:lnTo>
                      <a:pt x="504" y="459"/>
                    </a:lnTo>
                    <a:close/>
                    <a:moveTo>
                      <a:pt x="515" y="603"/>
                    </a:moveTo>
                    <a:lnTo>
                      <a:pt x="515" y="603"/>
                    </a:lnTo>
                    <a:lnTo>
                      <a:pt x="515" y="605"/>
                    </a:lnTo>
                    <a:lnTo>
                      <a:pt x="518" y="605"/>
                    </a:lnTo>
                    <a:lnTo>
                      <a:pt x="520" y="603"/>
                    </a:lnTo>
                    <a:lnTo>
                      <a:pt x="520" y="600"/>
                    </a:lnTo>
                    <a:lnTo>
                      <a:pt x="518" y="598"/>
                    </a:lnTo>
                    <a:lnTo>
                      <a:pt x="516" y="600"/>
                    </a:lnTo>
                    <a:lnTo>
                      <a:pt x="516" y="602"/>
                    </a:lnTo>
                    <a:lnTo>
                      <a:pt x="515" y="603"/>
                    </a:lnTo>
                    <a:lnTo>
                      <a:pt x="515" y="603"/>
                    </a:lnTo>
                    <a:lnTo>
                      <a:pt x="515" y="603"/>
                    </a:lnTo>
                    <a:lnTo>
                      <a:pt x="515" y="603"/>
                    </a:lnTo>
                    <a:close/>
                    <a:moveTo>
                      <a:pt x="577" y="683"/>
                    </a:moveTo>
                    <a:lnTo>
                      <a:pt x="577" y="685"/>
                    </a:lnTo>
                    <a:lnTo>
                      <a:pt x="581" y="687"/>
                    </a:lnTo>
                    <a:lnTo>
                      <a:pt x="581" y="689"/>
                    </a:lnTo>
                    <a:lnTo>
                      <a:pt x="584" y="692"/>
                    </a:lnTo>
                    <a:lnTo>
                      <a:pt x="588" y="690"/>
                    </a:lnTo>
                    <a:lnTo>
                      <a:pt x="589" y="689"/>
                    </a:lnTo>
                    <a:lnTo>
                      <a:pt x="588" y="685"/>
                    </a:lnTo>
                    <a:lnTo>
                      <a:pt x="586" y="683"/>
                    </a:lnTo>
                    <a:lnTo>
                      <a:pt x="583" y="685"/>
                    </a:lnTo>
                    <a:lnTo>
                      <a:pt x="581" y="683"/>
                    </a:lnTo>
                    <a:lnTo>
                      <a:pt x="577" y="683"/>
                    </a:lnTo>
                    <a:lnTo>
                      <a:pt x="577" y="683"/>
                    </a:lnTo>
                    <a:lnTo>
                      <a:pt x="577" y="683"/>
                    </a:lnTo>
                    <a:lnTo>
                      <a:pt x="577" y="683"/>
                    </a:lnTo>
                    <a:close/>
                    <a:moveTo>
                      <a:pt x="567" y="456"/>
                    </a:moveTo>
                    <a:lnTo>
                      <a:pt x="567" y="452"/>
                    </a:lnTo>
                    <a:lnTo>
                      <a:pt x="565" y="450"/>
                    </a:lnTo>
                    <a:lnTo>
                      <a:pt x="565" y="450"/>
                    </a:lnTo>
                    <a:lnTo>
                      <a:pt x="567" y="447"/>
                    </a:lnTo>
                    <a:lnTo>
                      <a:pt x="565" y="443"/>
                    </a:lnTo>
                    <a:lnTo>
                      <a:pt x="562" y="443"/>
                    </a:lnTo>
                    <a:lnTo>
                      <a:pt x="560" y="447"/>
                    </a:lnTo>
                    <a:lnTo>
                      <a:pt x="558" y="450"/>
                    </a:lnTo>
                    <a:lnTo>
                      <a:pt x="560" y="454"/>
                    </a:lnTo>
                    <a:lnTo>
                      <a:pt x="562" y="454"/>
                    </a:lnTo>
                    <a:lnTo>
                      <a:pt x="565" y="456"/>
                    </a:lnTo>
                    <a:lnTo>
                      <a:pt x="567" y="456"/>
                    </a:lnTo>
                    <a:lnTo>
                      <a:pt x="567" y="456"/>
                    </a:lnTo>
                    <a:lnTo>
                      <a:pt x="567" y="456"/>
                    </a:lnTo>
                    <a:lnTo>
                      <a:pt x="567" y="456"/>
                    </a:lnTo>
                    <a:close/>
                    <a:moveTo>
                      <a:pt x="562" y="431"/>
                    </a:moveTo>
                    <a:lnTo>
                      <a:pt x="563" y="428"/>
                    </a:lnTo>
                    <a:lnTo>
                      <a:pt x="567" y="430"/>
                    </a:lnTo>
                    <a:lnTo>
                      <a:pt x="570" y="426"/>
                    </a:lnTo>
                    <a:lnTo>
                      <a:pt x="569" y="424"/>
                    </a:lnTo>
                    <a:lnTo>
                      <a:pt x="569" y="423"/>
                    </a:lnTo>
                    <a:lnTo>
                      <a:pt x="572" y="423"/>
                    </a:lnTo>
                    <a:lnTo>
                      <a:pt x="570" y="421"/>
                    </a:lnTo>
                    <a:lnTo>
                      <a:pt x="567" y="421"/>
                    </a:lnTo>
                    <a:lnTo>
                      <a:pt x="563" y="424"/>
                    </a:lnTo>
                    <a:lnTo>
                      <a:pt x="560" y="430"/>
                    </a:lnTo>
                    <a:lnTo>
                      <a:pt x="562" y="431"/>
                    </a:lnTo>
                    <a:lnTo>
                      <a:pt x="562" y="431"/>
                    </a:lnTo>
                    <a:lnTo>
                      <a:pt x="562" y="431"/>
                    </a:lnTo>
                    <a:lnTo>
                      <a:pt x="562" y="431"/>
                    </a:lnTo>
                    <a:close/>
                    <a:moveTo>
                      <a:pt x="577" y="436"/>
                    </a:moveTo>
                    <a:lnTo>
                      <a:pt x="579" y="438"/>
                    </a:lnTo>
                    <a:lnTo>
                      <a:pt x="584" y="438"/>
                    </a:lnTo>
                    <a:lnTo>
                      <a:pt x="586" y="438"/>
                    </a:lnTo>
                    <a:lnTo>
                      <a:pt x="586" y="436"/>
                    </a:lnTo>
                    <a:lnTo>
                      <a:pt x="581" y="436"/>
                    </a:lnTo>
                    <a:lnTo>
                      <a:pt x="577" y="435"/>
                    </a:lnTo>
                    <a:lnTo>
                      <a:pt x="577" y="436"/>
                    </a:lnTo>
                    <a:lnTo>
                      <a:pt x="577" y="436"/>
                    </a:lnTo>
                    <a:lnTo>
                      <a:pt x="577" y="436"/>
                    </a:lnTo>
                    <a:lnTo>
                      <a:pt x="577" y="436"/>
                    </a:lnTo>
                    <a:close/>
                    <a:moveTo>
                      <a:pt x="609" y="461"/>
                    </a:moveTo>
                    <a:lnTo>
                      <a:pt x="609" y="464"/>
                    </a:lnTo>
                    <a:lnTo>
                      <a:pt x="607" y="466"/>
                    </a:lnTo>
                    <a:lnTo>
                      <a:pt x="605" y="466"/>
                    </a:lnTo>
                    <a:lnTo>
                      <a:pt x="605" y="469"/>
                    </a:lnTo>
                    <a:lnTo>
                      <a:pt x="605" y="475"/>
                    </a:lnTo>
                    <a:lnTo>
                      <a:pt x="607" y="473"/>
                    </a:lnTo>
                    <a:lnTo>
                      <a:pt x="610" y="469"/>
                    </a:lnTo>
                    <a:lnTo>
                      <a:pt x="614" y="469"/>
                    </a:lnTo>
                    <a:lnTo>
                      <a:pt x="616" y="466"/>
                    </a:lnTo>
                    <a:lnTo>
                      <a:pt x="619" y="464"/>
                    </a:lnTo>
                    <a:lnTo>
                      <a:pt x="622" y="461"/>
                    </a:lnTo>
                    <a:lnTo>
                      <a:pt x="619" y="457"/>
                    </a:lnTo>
                    <a:lnTo>
                      <a:pt x="619" y="456"/>
                    </a:lnTo>
                    <a:lnTo>
                      <a:pt x="616" y="456"/>
                    </a:lnTo>
                    <a:lnTo>
                      <a:pt x="610" y="457"/>
                    </a:lnTo>
                    <a:lnTo>
                      <a:pt x="609" y="461"/>
                    </a:lnTo>
                    <a:lnTo>
                      <a:pt x="609" y="461"/>
                    </a:lnTo>
                    <a:lnTo>
                      <a:pt x="609" y="461"/>
                    </a:lnTo>
                    <a:lnTo>
                      <a:pt x="609" y="461"/>
                    </a:lnTo>
                    <a:close/>
                    <a:moveTo>
                      <a:pt x="619" y="428"/>
                    </a:moveTo>
                    <a:lnTo>
                      <a:pt x="619" y="433"/>
                    </a:lnTo>
                    <a:lnTo>
                      <a:pt x="617" y="438"/>
                    </a:lnTo>
                    <a:lnTo>
                      <a:pt x="616" y="443"/>
                    </a:lnTo>
                    <a:lnTo>
                      <a:pt x="616" y="443"/>
                    </a:lnTo>
                    <a:lnTo>
                      <a:pt x="619" y="447"/>
                    </a:lnTo>
                    <a:lnTo>
                      <a:pt x="619" y="447"/>
                    </a:lnTo>
                    <a:lnTo>
                      <a:pt x="624" y="447"/>
                    </a:lnTo>
                    <a:lnTo>
                      <a:pt x="628" y="450"/>
                    </a:lnTo>
                    <a:lnTo>
                      <a:pt x="629" y="447"/>
                    </a:lnTo>
                    <a:lnTo>
                      <a:pt x="629" y="447"/>
                    </a:lnTo>
                    <a:lnTo>
                      <a:pt x="628" y="442"/>
                    </a:lnTo>
                    <a:lnTo>
                      <a:pt x="628" y="436"/>
                    </a:lnTo>
                    <a:lnTo>
                      <a:pt x="622" y="433"/>
                    </a:lnTo>
                    <a:lnTo>
                      <a:pt x="619" y="428"/>
                    </a:lnTo>
                    <a:lnTo>
                      <a:pt x="619" y="428"/>
                    </a:lnTo>
                    <a:lnTo>
                      <a:pt x="619" y="428"/>
                    </a:lnTo>
                    <a:lnTo>
                      <a:pt x="619" y="428"/>
                    </a:lnTo>
                    <a:close/>
                    <a:moveTo>
                      <a:pt x="642" y="388"/>
                    </a:moveTo>
                    <a:lnTo>
                      <a:pt x="645" y="384"/>
                    </a:lnTo>
                    <a:lnTo>
                      <a:pt x="643" y="383"/>
                    </a:lnTo>
                    <a:lnTo>
                      <a:pt x="640" y="383"/>
                    </a:lnTo>
                    <a:lnTo>
                      <a:pt x="638" y="384"/>
                    </a:lnTo>
                    <a:lnTo>
                      <a:pt x="640" y="388"/>
                    </a:lnTo>
                    <a:lnTo>
                      <a:pt x="642" y="388"/>
                    </a:lnTo>
                    <a:lnTo>
                      <a:pt x="642" y="388"/>
                    </a:lnTo>
                    <a:lnTo>
                      <a:pt x="642" y="388"/>
                    </a:lnTo>
                    <a:lnTo>
                      <a:pt x="642" y="388"/>
                    </a:lnTo>
                    <a:close/>
                    <a:moveTo>
                      <a:pt x="650" y="386"/>
                    </a:moveTo>
                    <a:lnTo>
                      <a:pt x="654" y="383"/>
                    </a:lnTo>
                    <a:lnTo>
                      <a:pt x="654" y="381"/>
                    </a:lnTo>
                    <a:lnTo>
                      <a:pt x="650" y="381"/>
                    </a:lnTo>
                    <a:lnTo>
                      <a:pt x="650" y="381"/>
                    </a:lnTo>
                    <a:lnTo>
                      <a:pt x="647" y="383"/>
                    </a:lnTo>
                    <a:lnTo>
                      <a:pt x="647" y="384"/>
                    </a:lnTo>
                    <a:lnTo>
                      <a:pt x="650" y="386"/>
                    </a:lnTo>
                    <a:lnTo>
                      <a:pt x="650" y="386"/>
                    </a:lnTo>
                    <a:lnTo>
                      <a:pt x="650" y="386"/>
                    </a:lnTo>
                    <a:lnTo>
                      <a:pt x="650" y="386"/>
                    </a:lnTo>
                    <a:close/>
                    <a:moveTo>
                      <a:pt x="668" y="388"/>
                    </a:moveTo>
                    <a:lnTo>
                      <a:pt x="669" y="386"/>
                    </a:lnTo>
                    <a:lnTo>
                      <a:pt x="664" y="384"/>
                    </a:lnTo>
                    <a:lnTo>
                      <a:pt x="661" y="386"/>
                    </a:lnTo>
                    <a:lnTo>
                      <a:pt x="662" y="388"/>
                    </a:lnTo>
                    <a:lnTo>
                      <a:pt x="668" y="388"/>
                    </a:lnTo>
                    <a:lnTo>
                      <a:pt x="668" y="388"/>
                    </a:lnTo>
                    <a:lnTo>
                      <a:pt x="668" y="388"/>
                    </a:lnTo>
                    <a:lnTo>
                      <a:pt x="668" y="388"/>
                    </a:lnTo>
                    <a:close/>
                    <a:moveTo>
                      <a:pt x="692" y="379"/>
                    </a:moveTo>
                    <a:lnTo>
                      <a:pt x="692" y="384"/>
                    </a:lnTo>
                    <a:lnTo>
                      <a:pt x="695" y="384"/>
                    </a:lnTo>
                    <a:lnTo>
                      <a:pt x="695" y="383"/>
                    </a:lnTo>
                    <a:lnTo>
                      <a:pt x="694" y="381"/>
                    </a:lnTo>
                    <a:lnTo>
                      <a:pt x="692" y="379"/>
                    </a:lnTo>
                    <a:lnTo>
                      <a:pt x="692" y="379"/>
                    </a:lnTo>
                    <a:lnTo>
                      <a:pt x="692" y="379"/>
                    </a:lnTo>
                    <a:lnTo>
                      <a:pt x="692" y="379"/>
                    </a:lnTo>
                    <a:close/>
                    <a:moveTo>
                      <a:pt x="678" y="377"/>
                    </a:moveTo>
                    <a:lnTo>
                      <a:pt x="682" y="377"/>
                    </a:lnTo>
                    <a:lnTo>
                      <a:pt x="682" y="374"/>
                    </a:lnTo>
                    <a:lnTo>
                      <a:pt x="682" y="372"/>
                    </a:lnTo>
                    <a:lnTo>
                      <a:pt x="678" y="374"/>
                    </a:lnTo>
                    <a:lnTo>
                      <a:pt x="678" y="376"/>
                    </a:lnTo>
                    <a:lnTo>
                      <a:pt x="678" y="377"/>
                    </a:lnTo>
                    <a:lnTo>
                      <a:pt x="678" y="377"/>
                    </a:lnTo>
                    <a:lnTo>
                      <a:pt x="678" y="377"/>
                    </a:lnTo>
                    <a:lnTo>
                      <a:pt x="678" y="377"/>
                    </a:lnTo>
                    <a:close/>
                    <a:moveTo>
                      <a:pt x="666" y="363"/>
                    </a:moveTo>
                    <a:lnTo>
                      <a:pt x="666" y="360"/>
                    </a:lnTo>
                    <a:lnTo>
                      <a:pt x="664" y="360"/>
                    </a:lnTo>
                    <a:lnTo>
                      <a:pt x="659" y="365"/>
                    </a:lnTo>
                    <a:lnTo>
                      <a:pt x="659" y="365"/>
                    </a:lnTo>
                    <a:lnTo>
                      <a:pt x="662" y="369"/>
                    </a:lnTo>
                    <a:lnTo>
                      <a:pt x="664" y="365"/>
                    </a:lnTo>
                    <a:lnTo>
                      <a:pt x="662" y="365"/>
                    </a:lnTo>
                    <a:lnTo>
                      <a:pt x="664" y="363"/>
                    </a:lnTo>
                    <a:lnTo>
                      <a:pt x="666" y="363"/>
                    </a:lnTo>
                    <a:lnTo>
                      <a:pt x="666" y="363"/>
                    </a:lnTo>
                    <a:lnTo>
                      <a:pt x="666" y="363"/>
                    </a:lnTo>
                    <a:lnTo>
                      <a:pt x="666" y="363"/>
                    </a:lnTo>
                    <a:close/>
                    <a:moveTo>
                      <a:pt x="676" y="360"/>
                    </a:moveTo>
                    <a:lnTo>
                      <a:pt x="675" y="356"/>
                    </a:lnTo>
                    <a:lnTo>
                      <a:pt x="669" y="356"/>
                    </a:lnTo>
                    <a:lnTo>
                      <a:pt x="669" y="360"/>
                    </a:lnTo>
                    <a:lnTo>
                      <a:pt x="669" y="363"/>
                    </a:lnTo>
                    <a:lnTo>
                      <a:pt x="673" y="363"/>
                    </a:lnTo>
                    <a:lnTo>
                      <a:pt x="675" y="360"/>
                    </a:lnTo>
                    <a:lnTo>
                      <a:pt x="676" y="360"/>
                    </a:lnTo>
                    <a:lnTo>
                      <a:pt x="676" y="360"/>
                    </a:lnTo>
                    <a:lnTo>
                      <a:pt x="676" y="360"/>
                    </a:lnTo>
                    <a:lnTo>
                      <a:pt x="676" y="360"/>
                    </a:lnTo>
                    <a:close/>
                    <a:moveTo>
                      <a:pt x="676" y="360"/>
                    </a:moveTo>
                    <a:lnTo>
                      <a:pt x="678" y="363"/>
                    </a:lnTo>
                    <a:lnTo>
                      <a:pt x="678" y="360"/>
                    </a:lnTo>
                    <a:lnTo>
                      <a:pt x="682" y="360"/>
                    </a:lnTo>
                    <a:lnTo>
                      <a:pt x="682" y="356"/>
                    </a:lnTo>
                    <a:lnTo>
                      <a:pt x="682" y="355"/>
                    </a:lnTo>
                    <a:lnTo>
                      <a:pt x="678" y="355"/>
                    </a:lnTo>
                    <a:lnTo>
                      <a:pt x="678" y="356"/>
                    </a:lnTo>
                    <a:lnTo>
                      <a:pt x="678" y="360"/>
                    </a:lnTo>
                    <a:lnTo>
                      <a:pt x="676" y="360"/>
                    </a:lnTo>
                    <a:lnTo>
                      <a:pt x="676" y="360"/>
                    </a:lnTo>
                    <a:lnTo>
                      <a:pt x="676" y="360"/>
                    </a:lnTo>
                    <a:lnTo>
                      <a:pt x="676" y="360"/>
                    </a:lnTo>
                    <a:close/>
                    <a:moveTo>
                      <a:pt x="666" y="351"/>
                    </a:moveTo>
                    <a:lnTo>
                      <a:pt x="669" y="348"/>
                    </a:lnTo>
                    <a:lnTo>
                      <a:pt x="668" y="346"/>
                    </a:lnTo>
                    <a:lnTo>
                      <a:pt x="666" y="346"/>
                    </a:lnTo>
                    <a:lnTo>
                      <a:pt x="662" y="346"/>
                    </a:lnTo>
                    <a:lnTo>
                      <a:pt x="661" y="348"/>
                    </a:lnTo>
                    <a:lnTo>
                      <a:pt x="661" y="348"/>
                    </a:lnTo>
                    <a:lnTo>
                      <a:pt x="664" y="350"/>
                    </a:lnTo>
                    <a:lnTo>
                      <a:pt x="666" y="351"/>
                    </a:lnTo>
                    <a:lnTo>
                      <a:pt x="666" y="351"/>
                    </a:lnTo>
                    <a:lnTo>
                      <a:pt x="666" y="351"/>
                    </a:lnTo>
                    <a:lnTo>
                      <a:pt x="666" y="351"/>
                    </a:lnTo>
                    <a:close/>
                    <a:moveTo>
                      <a:pt x="682" y="343"/>
                    </a:moveTo>
                    <a:lnTo>
                      <a:pt x="683" y="343"/>
                    </a:lnTo>
                    <a:lnTo>
                      <a:pt x="683" y="341"/>
                    </a:lnTo>
                    <a:lnTo>
                      <a:pt x="682" y="339"/>
                    </a:lnTo>
                    <a:lnTo>
                      <a:pt x="685" y="337"/>
                    </a:lnTo>
                    <a:lnTo>
                      <a:pt x="685" y="337"/>
                    </a:lnTo>
                    <a:lnTo>
                      <a:pt x="682" y="334"/>
                    </a:lnTo>
                    <a:lnTo>
                      <a:pt x="678" y="334"/>
                    </a:lnTo>
                    <a:lnTo>
                      <a:pt x="678" y="334"/>
                    </a:lnTo>
                    <a:lnTo>
                      <a:pt x="678" y="337"/>
                    </a:lnTo>
                    <a:lnTo>
                      <a:pt x="676" y="337"/>
                    </a:lnTo>
                    <a:lnTo>
                      <a:pt x="675" y="337"/>
                    </a:lnTo>
                    <a:lnTo>
                      <a:pt x="673" y="337"/>
                    </a:lnTo>
                    <a:lnTo>
                      <a:pt x="675" y="339"/>
                    </a:lnTo>
                    <a:lnTo>
                      <a:pt x="676" y="341"/>
                    </a:lnTo>
                    <a:lnTo>
                      <a:pt x="678" y="341"/>
                    </a:lnTo>
                    <a:lnTo>
                      <a:pt x="682" y="343"/>
                    </a:lnTo>
                    <a:lnTo>
                      <a:pt x="682" y="343"/>
                    </a:lnTo>
                    <a:lnTo>
                      <a:pt x="682" y="343"/>
                    </a:lnTo>
                    <a:lnTo>
                      <a:pt x="682" y="343"/>
                    </a:lnTo>
                    <a:close/>
                    <a:moveTo>
                      <a:pt x="727" y="219"/>
                    </a:moveTo>
                    <a:lnTo>
                      <a:pt x="728" y="219"/>
                    </a:lnTo>
                    <a:lnTo>
                      <a:pt x="732" y="219"/>
                    </a:lnTo>
                    <a:lnTo>
                      <a:pt x="734" y="216"/>
                    </a:lnTo>
                    <a:lnTo>
                      <a:pt x="734" y="216"/>
                    </a:lnTo>
                    <a:lnTo>
                      <a:pt x="735" y="217"/>
                    </a:lnTo>
                    <a:lnTo>
                      <a:pt x="734" y="219"/>
                    </a:lnTo>
                    <a:lnTo>
                      <a:pt x="737" y="217"/>
                    </a:lnTo>
                    <a:lnTo>
                      <a:pt x="741" y="214"/>
                    </a:lnTo>
                    <a:lnTo>
                      <a:pt x="741" y="210"/>
                    </a:lnTo>
                    <a:lnTo>
                      <a:pt x="742" y="209"/>
                    </a:lnTo>
                    <a:lnTo>
                      <a:pt x="742" y="205"/>
                    </a:lnTo>
                    <a:lnTo>
                      <a:pt x="741" y="203"/>
                    </a:lnTo>
                    <a:lnTo>
                      <a:pt x="739" y="203"/>
                    </a:lnTo>
                    <a:lnTo>
                      <a:pt x="739" y="205"/>
                    </a:lnTo>
                    <a:lnTo>
                      <a:pt x="735" y="209"/>
                    </a:lnTo>
                    <a:lnTo>
                      <a:pt x="732" y="210"/>
                    </a:lnTo>
                    <a:lnTo>
                      <a:pt x="728" y="216"/>
                    </a:lnTo>
                    <a:lnTo>
                      <a:pt x="727" y="219"/>
                    </a:lnTo>
                    <a:lnTo>
                      <a:pt x="727" y="219"/>
                    </a:lnTo>
                    <a:lnTo>
                      <a:pt x="727" y="219"/>
                    </a:lnTo>
                    <a:lnTo>
                      <a:pt x="727" y="219"/>
                    </a:lnTo>
                    <a:close/>
                    <a:moveTo>
                      <a:pt x="760" y="223"/>
                    </a:moveTo>
                    <a:lnTo>
                      <a:pt x="763" y="223"/>
                    </a:lnTo>
                    <a:lnTo>
                      <a:pt x="765" y="219"/>
                    </a:lnTo>
                    <a:lnTo>
                      <a:pt x="763" y="219"/>
                    </a:lnTo>
                    <a:lnTo>
                      <a:pt x="760" y="219"/>
                    </a:lnTo>
                    <a:lnTo>
                      <a:pt x="758" y="223"/>
                    </a:lnTo>
                    <a:lnTo>
                      <a:pt x="760" y="223"/>
                    </a:lnTo>
                    <a:lnTo>
                      <a:pt x="760" y="223"/>
                    </a:lnTo>
                    <a:lnTo>
                      <a:pt x="760" y="223"/>
                    </a:lnTo>
                    <a:lnTo>
                      <a:pt x="760" y="223"/>
                    </a:lnTo>
                    <a:close/>
                    <a:moveTo>
                      <a:pt x="765" y="230"/>
                    </a:moveTo>
                    <a:lnTo>
                      <a:pt x="767" y="230"/>
                    </a:lnTo>
                    <a:lnTo>
                      <a:pt x="768" y="228"/>
                    </a:lnTo>
                    <a:lnTo>
                      <a:pt x="768" y="228"/>
                    </a:lnTo>
                    <a:lnTo>
                      <a:pt x="765" y="224"/>
                    </a:lnTo>
                    <a:lnTo>
                      <a:pt x="765" y="223"/>
                    </a:lnTo>
                    <a:lnTo>
                      <a:pt x="763" y="223"/>
                    </a:lnTo>
                    <a:lnTo>
                      <a:pt x="763" y="224"/>
                    </a:lnTo>
                    <a:lnTo>
                      <a:pt x="765" y="228"/>
                    </a:lnTo>
                    <a:lnTo>
                      <a:pt x="765" y="230"/>
                    </a:lnTo>
                    <a:lnTo>
                      <a:pt x="765" y="230"/>
                    </a:lnTo>
                    <a:lnTo>
                      <a:pt x="765" y="230"/>
                    </a:lnTo>
                    <a:lnTo>
                      <a:pt x="765" y="230"/>
                    </a:lnTo>
                    <a:close/>
                    <a:moveTo>
                      <a:pt x="735" y="238"/>
                    </a:moveTo>
                    <a:lnTo>
                      <a:pt x="739" y="236"/>
                    </a:lnTo>
                    <a:lnTo>
                      <a:pt x="739" y="235"/>
                    </a:lnTo>
                    <a:lnTo>
                      <a:pt x="737" y="233"/>
                    </a:lnTo>
                    <a:lnTo>
                      <a:pt x="735" y="235"/>
                    </a:lnTo>
                    <a:lnTo>
                      <a:pt x="732" y="236"/>
                    </a:lnTo>
                    <a:lnTo>
                      <a:pt x="732" y="238"/>
                    </a:lnTo>
                    <a:lnTo>
                      <a:pt x="735" y="238"/>
                    </a:lnTo>
                    <a:lnTo>
                      <a:pt x="735" y="238"/>
                    </a:lnTo>
                    <a:lnTo>
                      <a:pt x="735" y="238"/>
                    </a:lnTo>
                    <a:lnTo>
                      <a:pt x="735" y="238"/>
                    </a:lnTo>
                    <a:close/>
                    <a:moveTo>
                      <a:pt x="751" y="238"/>
                    </a:moveTo>
                    <a:lnTo>
                      <a:pt x="755" y="236"/>
                    </a:lnTo>
                    <a:lnTo>
                      <a:pt x="755" y="233"/>
                    </a:lnTo>
                    <a:lnTo>
                      <a:pt x="755" y="233"/>
                    </a:lnTo>
                    <a:lnTo>
                      <a:pt x="755" y="228"/>
                    </a:lnTo>
                    <a:lnTo>
                      <a:pt x="751" y="228"/>
                    </a:lnTo>
                    <a:lnTo>
                      <a:pt x="751" y="230"/>
                    </a:lnTo>
                    <a:lnTo>
                      <a:pt x="749" y="233"/>
                    </a:lnTo>
                    <a:lnTo>
                      <a:pt x="746" y="235"/>
                    </a:lnTo>
                    <a:lnTo>
                      <a:pt x="748" y="236"/>
                    </a:lnTo>
                    <a:lnTo>
                      <a:pt x="749" y="236"/>
                    </a:lnTo>
                    <a:lnTo>
                      <a:pt x="751" y="235"/>
                    </a:lnTo>
                    <a:lnTo>
                      <a:pt x="751" y="235"/>
                    </a:lnTo>
                    <a:lnTo>
                      <a:pt x="751" y="238"/>
                    </a:lnTo>
                    <a:lnTo>
                      <a:pt x="751" y="238"/>
                    </a:lnTo>
                    <a:lnTo>
                      <a:pt x="751" y="238"/>
                    </a:lnTo>
                    <a:lnTo>
                      <a:pt x="751" y="238"/>
                    </a:lnTo>
                    <a:close/>
                    <a:moveTo>
                      <a:pt x="755" y="256"/>
                    </a:moveTo>
                    <a:lnTo>
                      <a:pt x="756" y="256"/>
                    </a:lnTo>
                    <a:lnTo>
                      <a:pt x="758" y="256"/>
                    </a:lnTo>
                    <a:lnTo>
                      <a:pt x="763" y="256"/>
                    </a:lnTo>
                    <a:lnTo>
                      <a:pt x="763" y="256"/>
                    </a:lnTo>
                    <a:lnTo>
                      <a:pt x="767" y="256"/>
                    </a:lnTo>
                    <a:lnTo>
                      <a:pt x="770" y="256"/>
                    </a:lnTo>
                    <a:lnTo>
                      <a:pt x="772" y="252"/>
                    </a:lnTo>
                    <a:lnTo>
                      <a:pt x="772" y="250"/>
                    </a:lnTo>
                    <a:lnTo>
                      <a:pt x="770" y="250"/>
                    </a:lnTo>
                    <a:lnTo>
                      <a:pt x="770" y="250"/>
                    </a:lnTo>
                    <a:lnTo>
                      <a:pt x="770" y="247"/>
                    </a:lnTo>
                    <a:lnTo>
                      <a:pt x="767" y="247"/>
                    </a:lnTo>
                    <a:lnTo>
                      <a:pt x="765" y="250"/>
                    </a:lnTo>
                    <a:lnTo>
                      <a:pt x="765" y="250"/>
                    </a:lnTo>
                    <a:lnTo>
                      <a:pt x="765" y="250"/>
                    </a:lnTo>
                    <a:lnTo>
                      <a:pt x="763" y="250"/>
                    </a:lnTo>
                    <a:lnTo>
                      <a:pt x="763" y="250"/>
                    </a:lnTo>
                    <a:lnTo>
                      <a:pt x="760" y="250"/>
                    </a:lnTo>
                    <a:lnTo>
                      <a:pt x="758" y="250"/>
                    </a:lnTo>
                    <a:lnTo>
                      <a:pt x="756" y="252"/>
                    </a:lnTo>
                    <a:lnTo>
                      <a:pt x="755" y="250"/>
                    </a:lnTo>
                    <a:lnTo>
                      <a:pt x="755" y="256"/>
                    </a:lnTo>
                    <a:lnTo>
                      <a:pt x="755" y="256"/>
                    </a:lnTo>
                    <a:lnTo>
                      <a:pt x="755" y="256"/>
                    </a:lnTo>
                    <a:lnTo>
                      <a:pt x="755" y="256"/>
                    </a:lnTo>
                    <a:lnTo>
                      <a:pt x="755" y="256"/>
                    </a:lnTo>
                    <a:close/>
                    <a:moveTo>
                      <a:pt x="622" y="75"/>
                    </a:moveTo>
                    <a:lnTo>
                      <a:pt x="628" y="71"/>
                    </a:lnTo>
                    <a:lnTo>
                      <a:pt x="629" y="68"/>
                    </a:lnTo>
                    <a:lnTo>
                      <a:pt x="629" y="64"/>
                    </a:lnTo>
                    <a:lnTo>
                      <a:pt x="635" y="59"/>
                    </a:lnTo>
                    <a:lnTo>
                      <a:pt x="642" y="56"/>
                    </a:lnTo>
                    <a:lnTo>
                      <a:pt x="647" y="54"/>
                    </a:lnTo>
                    <a:lnTo>
                      <a:pt x="647" y="50"/>
                    </a:lnTo>
                    <a:lnTo>
                      <a:pt x="647" y="47"/>
                    </a:lnTo>
                    <a:lnTo>
                      <a:pt x="642" y="43"/>
                    </a:lnTo>
                    <a:lnTo>
                      <a:pt x="636" y="40"/>
                    </a:lnTo>
                    <a:lnTo>
                      <a:pt x="633" y="31"/>
                    </a:lnTo>
                    <a:lnTo>
                      <a:pt x="633" y="28"/>
                    </a:lnTo>
                    <a:lnTo>
                      <a:pt x="635" y="26"/>
                    </a:lnTo>
                    <a:lnTo>
                      <a:pt x="635" y="23"/>
                    </a:lnTo>
                    <a:lnTo>
                      <a:pt x="633" y="23"/>
                    </a:lnTo>
                    <a:lnTo>
                      <a:pt x="624" y="23"/>
                    </a:lnTo>
                    <a:lnTo>
                      <a:pt x="619" y="21"/>
                    </a:lnTo>
                    <a:lnTo>
                      <a:pt x="614" y="17"/>
                    </a:lnTo>
                    <a:lnTo>
                      <a:pt x="607" y="9"/>
                    </a:lnTo>
                    <a:lnTo>
                      <a:pt x="602" y="3"/>
                    </a:lnTo>
                    <a:lnTo>
                      <a:pt x="596" y="0"/>
                    </a:lnTo>
                    <a:lnTo>
                      <a:pt x="595" y="0"/>
                    </a:lnTo>
                    <a:lnTo>
                      <a:pt x="595" y="3"/>
                    </a:lnTo>
                    <a:lnTo>
                      <a:pt x="593" y="5"/>
                    </a:lnTo>
                    <a:lnTo>
                      <a:pt x="595" y="9"/>
                    </a:lnTo>
                    <a:lnTo>
                      <a:pt x="593" y="12"/>
                    </a:lnTo>
                    <a:lnTo>
                      <a:pt x="591" y="17"/>
                    </a:lnTo>
                    <a:lnTo>
                      <a:pt x="588" y="23"/>
                    </a:lnTo>
                    <a:lnTo>
                      <a:pt x="584" y="28"/>
                    </a:lnTo>
                    <a:lnTo>
                      <a:pt x="583" y="31"/>
                    </a:lnTo>
                    <a:lnTo>
                      <a:pt x="584" y="43"/>
                    </a:lnTo>
                    <a:lnTo>
                      <a:pt x="586" y="47"/>
                    </a:lnTo>
                    <a:lnTo>
                      <a:pt x="589" y="49"/>
                    </a:lnTo>
                    <a:lnTo>
                      <a:pt x="589" y="50"/>
                    </a:lnTo>
                    <a:lnTo>
                      <a:pt x="589" y="63"/>
                    </a:lnTo>
                    <a:lnTo>
                      <a:pt x="586" y="64"/>
                    </a:lnTo>
                    <a:lnTo>
                      <a:pt x="586" y="68"/>
                    </a:lnTo>
                    <a:lnTo>
                      <a:pt x="586" y="71"/>
                    </a:lnTo>
                    <a:lnTo>
                      <a:pt x="588" y="70"/>
                    </a:lnTo>
                    <a:lnTo>
                      <a:pt x="591" y="66"/>
                    </a:lnTo>
                    <a:lnTo>
                      <a:pt x="595" y="64"/>
                    </a:lnTo>
                    <a:lnTo>
                      <a:pt x="596" y="66"/>
                    </a:lnTo>
                    <a:lnTo>
                      <a:pt x="596" y="70"/>
                    </a:lnTo>
                    <a:lnTo>
                      <a:pt x="602" y="73"/>
                    </a:lnTo>
                    <a:lnTo>
                      <a:pt x="605" y="73"/>
                    </a:lnTo>
                    <a:lnTo>
                      <a:pt x="607" y="71"/>
                    </a:lnTo>
                    <a:lnTo>
                      <a:pt x="609" y="71"/>
                    </a:lnTo>
                    <a:lnTo>
                      <a:pt x="614" y="75"/>
                    </a:lnTo>
                    <a:lnTo>
                      <a:pt x="619" y="75"/>
                    </a:lnTo>
                    <a:lnTo>
                      <a:pt x="622" y="75"/>
                    </a:lnTo>
                    <a:lnTo>
                      <a:pt x="622" y="75"/>
                    </a:lnTo>
                    <a:lnTo>
                      <a:pt x="622" y="75"/>
                    </a:lnTo>
                    <a:lnTo>
                      <a:pt x="622" y="75"/>
                    </a:lnTo>
                    <a:close/>
                    <a:moveTo>
                      <a:pt x="605" y="99"/>
                    </a:moveTo>
                    <a:lnTo>
                      <a:pt x="607" y="101"/>
                    </a:lnTo>
                    <a:lnTo>
                      <a:pt x="610" y="103"/>
                    </a:lnTo>
                    <a:lnTo>
                      <a:pt x="614" y="103"/>
                    </a:lnTo>
                    <a:lnTo>
                      <a:pt x="617" y="99"/>
                    </a:lnTo>
                    <a:lnTo>
                      <a:pt x="619" y="96"/>
                    </a:lnTo>
                    <a:lnTo>
                      <a:pt x="624" y="94"/>
                    </a:lnTo>
                    <a:lnTo>
                      <a:pt x="624" y="90"/>
                    </a:lnTo>
                    <a:lnTo>
                      <a:pt x="628" y="85"/>
                    </a:lnTo>
                    <a:lnTo>
                      <a:pt x="624" y="82"/>
                    </a:lnTo>
                    <a:lnTo>
                      <a:pt x="619" y="78"/>
                    </a:lnTo>
                    <a:lnTo>
                      <a:pt x="612" y="78"/>
                    </a:lnTo>
                    <a:lnTo>
                      <a:pt x="607" y="78"/>
                    </a:lnTo>
                    <a:lnTo>
                      <a:pt x="605" y="82"/>
                    </a:lnTo>
                    <a:lnTo>
                      <a:pt x="600" y="78"/>
                    </a:lnTo>
                    <a:lnTo>
                      <a:pt x="600" y="78"/>
                    </a:lnTo>
                    <a:lnTo>
                      <a:pt x="596" y="82"/>
                    </a:lnTo>
                    <a:lnTo>
                      <a:pt x="591" y="82"/>
                    </a:lnTo>
                    <a:lnTo>
                      <a:pt x="591" y="82"/>
                    </a:lnTo>
                    <a:lnTo>
                      <a:pt x="593" y="85"/>
                    </a:lnTo>
                    <a:lnTo>
                      <a:pt x="596" y="87"/>
                    </a:lnTo>
                    <a:lnTo>
                      <a:pt x="596" y="90"/>
                    </a:lnTo>
                    <a:lnTo>
                      <a:pt x="602" y="90"/>
                    </a:lnTo>
                    <a:lnTo>
                      <a:pt x="605" y="94"/>
                    </a:lnTo>
                    <a:lnTo>
                      <a:pt x="609" y="96"/>
                    </a:lnTo>
                    <a:lnTo>
                      <a:pt x="614" y="96"/>
                    </a:lnTo>
                    <a:lnTo>
                      <a:pt x="617" y="96"/>
                    </a:lnTo>
                    <a:lnTo>
                      <a:pt x="616" y="97"/>
                    </a:lnTo>
                    <a:lnTo>
                      <a:pt x="610" y="99"/>
                    </a:lnTo>
                    <a:lnTo>
                      <a:pt x="605" y="99"/>
                    </a:lnTo>
                    <a:lnTo>
                      <a:pt x="605" y="99"/>
                    </a:lnTo>
                    <a:lnTo>
                      <a:pt x="605" y="99"/>
                    </a:lnTo>
                    <a:lnTo>
                      <a:pt x="605" y="99"/>
                    </a:lnTo>
                    <a:close/>
                    <a:moveTo>
                      <a:pt x="722" y="110"/>
                    </a:moveTo>
                    <a:lnTo>
                      <a:pt x="722" y="113"/>
                    </a:lnTo>
                    <a:lnTo>
                      <a:pt x="718" y="118"/>
                    </a:lnTo>
                    <a:lnTo>
                      <a:pt x="713" y="118"/>
                    </a:lnTo>
                    <a:lnTo>
                      <a:pt x="709" y="122"/>
                    </a:lnTo>
                    <a:lnTo>
                      <a:pt x="704" y="125"/>
                    </a:lnTo>
                    <a:lnTo>
                      <a:pt x="704" y="125"/>
                    </a:lnTo>
                    <a:lnTo>
                      <a:pt x="699" y="122"/>
                    </a:lnTo>
                    <a:lnTo>
                      <a:pt x="697" y="120"/>
                    </a:lnTo>
                    <a:lnTo>
                      <a:pt x="694" y="120"/>
                    </a:lnTo>
                    <a:lnTo>
                      <a:pt x="692" y="120"/>
                    </a:lnTo>
                    <a:lnTo>
                      <a:pt x="687" y="120"/>
                    </a:lnTo>
                    <a:lnTo>
                      <a:pt x="678" y="120"/>
                    </a:lnTo>
                    <a:lnTo>
                      <a:pt x="676" y="118"/>
                    </a:lnTo>
                    <a:lnTo>
                      <a:pt x="673" y="115"/>
                    </a:lnTo>
                    <a:lnTo>
                      <a:pt x="669" y="118"/>
                    </a:lnTo>
                    <a:lnTo>
                      <a:pt x="664" y="120"/>
                    </a:lnTo>
                    <a:lnTo>
                      <a:pt x="661" y="118"/>
                    </a:lnTo>
                    <a:lnTo>
                      <a:pt x="659" y="118"/>
                    </a:lnTo>
                    <a:lnTo>
                      <a:pt x="654" y="115"/>
                    </a:lnTo>
                    <a:lnTo>
                      <a:pt x="650" y="113"/>
                    </a:lnTo>
                    <a:lnTo>
                      <a:pt x="650" y="108"/>
                    </a:lnTo>
                    <a:lnTo>
                      <a:pt x="647" y="104"/>
                    </a:lnTo>
                    <a:lnTo>
                      <a:pt x="645" y="104"/>
                    </a:lnTo>
                    <a:lnTo>
                      <a:pt x="642" y="106"/>
                    </a:lnTo>
                    <a:lnTo>
                      <a:pt x="638" y="103"/>
                    </a:lnTo>
                    <a:lnTo>
                      <a:pt x="635" y="101"/>
                    </a:lnTo>
                    <a:lnTo>
                      <a:pt x="635" y="103"/>
                    </a:lnTo>
                    <a:lnTo>
                      <a:pt x="635" y="106"/>
                    </a:lnTo>
                    <a:lnTo>
                      <a:pt x="633" y="106"/>
                    </a:lnTo>
                    <a:lnTo>
                      <a:pt x="631" y="106"/>
                    </a:lnTo>
                    <a:lnTo>
                      <a:pt x="628" y="103"/>
                    </a:lnTo>
                    <a:lnTo>
                      <a:pt x="629" y="101"/>
                    </a:lnTo>
                    <a:lnTo>
                      <a:pt x="633" y="99"/>
                    </a:lnTo>
                    <a:lnTo>
                      <a:pt x="633" y="96"/>
                    </a:lnTo>
                    <a:lnTo>
                      <a:pt x="633" y="90"/>
                    </a:lnTo>
                    <a:lnTo>
                      <a:pt x="633" y="87"/>
                    </a:lnTo>
                    <a:lnTo>
                      <a:pt x="638" y="85"/>
                    </a:lnTo>
                    <a:lnTo>
                      <a:pt x="636" y="82"/>
                    </a:lnTo>
                    <a:lnTo>
                      <a:pt x="633" y="82"/>
                    </a:lnTo>
                    <a:lnTo>
                      <a:pt x="629" y="78"/>
                    </a:lnTo>
                    <a:lnTo>
                      <a:pt x="629" y="78"/>
                    </a:lnTo>
                    <a:lnTo>
                      <a:pt x="631" y="71"/>
                    </a:lnTo>
                    <a:lnTo>
                      <a:pt x="635" y="70"/>
                    </a:lnTo>
                    <a:lnTo>
                      <a:pt x="640" y="68"/>
                    </a:lnTo>
                    <a:lnTo>
                      <a:pt x="640" y="64"/>
                    </a:lnTo>
                    <a:lnTo>
                      <a:pt x="642" y="63"/>
                    </a:lnTo>
                    <a:lnTo>
                      <a:pt x="647" y="63"/>
                    </a:lnTo>
                    <a:lnTo>
                      <a:pt x="650" y="56"/>
                    </a:lnTo>
                    <a:lnTo>
                      <a:pt x="654" y="54"/>
                    </a:lnTo>
                    <a:lnTo>
                      <a:pt x="654" y="50"/>
                    </a:lnTo>
                    <a:lnTo>
                      <a:pt x="661" y="54"/>
                    </a:lnTo>
                    <a:lnTo>
                      <a:pt x="664" y="56"/>
                    </a:lnTo>
                    <a:lnTo>
                      <a:pt x="669" y="64"/>
                    </a:lnTo>
                    <a:lnTo>
                      <a:pt x="673" y="68"/>
                    </a:lnTo>
                    <a:lnTo>
                      <a:pt x="669" y="73"/>
                    </a:lnTo>
                    <a:lnTo>
                      <a:pt x="673" y="75"/>
                    </a:lnTo>
                    <a:lnTo>
                      <a:pt x="669" y="78"/>
                    </a:lnTo>
                    <a:lnTo>
                      <a:pt x="669" y="78"/>
                    </a:lnTo>
                    <a:lnTo>
                      <a:pt x="669" y="82"/>
                    </a:lnTo>
                    <a:lnTo>
                      <a:pt x="669" y="82"/>
                    </a:lnTo>
                    <a:lnTo>
                      <a:pt x="675" y="77"/>
                    </a:lnTo>
                    <a:lnTo>
                      <a:pt x="675" y="73"/>
                    </a:lnTo>
                    <a:lnTo>
                      <a:pt x="675" y="70"/>
                    </a:lnTo>
                    <a:lnTo>
                      <a:pt x="676" y="66"/>
                    </a:lnTo>
                    <a:lnTo>
                      <a:pt x="676" y="64"/>
                    </a:lnTo>
                    <a:lnTo>
                      <a:pt x="669" y="59"/>
                    </a:lnTo>
                    <a:lnTo>
                      <a:pt x="669" y="56"/>
                    </a:lnTo>
                    <a:lnTo>
                      <a:pt x="669" y="56"/>
                    </a:lnTo>
                    <a:lnTo>
                      <a:pt x="678" y="56"/>
                    </a:lnTo>
                    <a:lnTo>
                      <a:pt x="683" y="56"/>
                    </a:lnTo>
                    <a:lnTo>
                      <a:pt x="694" y="63"/>
                    </a:lnTo>
                    <a:lnTo>
                      <a:pt x="695" y="64"/>
                    </a:lnTo>
                    <a:lnTo>
                      <a:pt x="697" y="64"/>
                    </a:lnTo>
                    <a:lnTo>
                      <a:pt x="697" y="70"/>
                    </a:lnTo>
                    <a:lnTo>
                      <a:pt x="701" y="71"/>
                    </a:lnTo>
                    <a:lnTo>
                      <a:pt x="701" y="77"/>
                    </a:lnTo>
                    <a:lnTo>
                      <a:pt x="701" y="82"/>
                    </a:lnTo>
                    <a:lnTo>
                      <a:pt x="706" y="87"/>
                    </a:lnTo>
                    <a:lnTo>
                      <a:pt x="709" y="90"/>
                    </a:lnTo>
                    <a:lnTo>
                      <a:pt x="709" y="92"/>
                    </a:lnTo>
                    <a:lnTo>
                      <a:pt x="706" y="92"/>
                    </a:lnTo>
                    <a:lnTo>
                      <a:pt x="704" y="90"/>
                    </a:lnTo>
                    <a:lnTo>
                      <a:pt x="701" y="90"/>
                    </a:lnTo>
                    <a:lnTo>
                      <a:pt x="704" y="96"/>
                    </a:lnTo>
                    <a:lnTo>
                      <a:pt x="706" y="97"/>
                    </a:lnTo>
                    <a:lnTo>
                      <a:pt x="711" y="99"/>
                    </a:lnTo>
                    <a:lnTo>
                      <a:pt x="715" y="104"/>
                    </a:lnTo>
                    <a:lnTo>
                      <a:pt x="718" y="104"/>
                    </a:lnTo>
                    <a:lnTo>
                      <a:pt x="722" y="110"/>
                    </a:lnTo>
                    <a:lnTo>
                      <a:pt x="722" y="110"/>
                    </a:lnTo>
                    <a:lnTo>
                      <a:pt x="722" y="110"/>
                    </a:lnTo>
                    <a:lnTo>
                      <a:pt x="722" y="110"/>
                    </a:lnTo>
                    <a:close/>
                    <a:moveTo>
                      <a:pt x="1382" y="71"/>
                    </a:moveTo>
                    <a:lnTo>
                      <a:pt x="1384" y="78"/>
                    </a:lnTo>
                    <a:lnTo>
                      <a:pt x="1389" y="87"/>
                    </a:lnTo>
                    <a:lnTo>
                      <a:pt x="1390" y="90"/>
                    </a:lnTo>
                    <a:lnTo>
                      <a:pt x="1401" y="92"/>
                    </a:lnTo>
                    <a:lnTo>
                      <a:pt x="1411" y="94"/>
                    </a:lnTo>
                    <a:lnTo>
                      <a:pt x="1418" y="97"/>
                    </a:lnTo>
                    <a:lnTo>
                      <a:pt x="1422" y="97"/>
                    </a:lnTo>
                    <a:lnTo>
                      <a:pt x="1427" y="96"/>
                    </a:lnTo>
                    <a:lnTo>
                      <a:pt x="1432" y="97"/>
                    </a:lnTo>
                    <a:lnTo>
                      <a:pt x="1436" y="96"/>
                    </a:lnTo>
                    <a:lnTo>
                      <a:pt x="1441" y="92"/>
                    </a:lnTo>
                    <a:lnTo>
                      <a:pt x="1444" y="87"/>
                    </a:lnTo>
                    <a:lnTo>
                      <a:pt x="1446" y="85"/>
                    </a:lnTo>
                    <a:lnTo>
                      <a:pt x="1444" y="78"/>
                    </a:lnTo>
                    <a:lnTo>
                      <a:pt x="1441" y="78"/>
                    </a:lnTo>
                    <a:lnTo>
                      <a:pt x="1439" y="78"/>
                    </a:lnTo>
                    <a:lnTo>
                      <a:pt x="1439" y="77"/>
                    </a:lnTo>
                    <a:lnTo>
                      <a:pt x="1439" y="73"/>
                    </a:lnTo>
                    <a:lnTo>
                      <a:pt x="1437" y="71"/>
                    </a:lnTo>
                    <a:lnTo>
                      <a:pt x="1434" y="73"/>
                    </a:lnTo>
                    <a:lnTo>
                      <a:pt x="1430" y="71"/>
                    </a:lnTo>
                    <a:lnTo>
                      <a:pt x="1422" y="73"/>
                    </a:lnTo>
                    <a:lnTo>
                      <a:pt x="1417" y="78"/>
                    </a:lnTo>
                    <a:lnTo>
                      <a:pt x="1411" y="78"/>
                    </a:lnTo>
                    <a:lnTo>
                      <a:pt x="1411" y="77"/>
                    </a:lnTo>
                    <a:lnTo>
                      <a:pt x="1410" y="73"/>
                    </a:lnTo>
                    <a:lnTo>
                      <a:pt x="1408" y="73"/>
                    </a:lnTo>
                    <a:lnTo>
                      <a:pt x="1403" y="75"/>
                    </a:lnTo>
                    <a:lnTo>
                      <a:pt x="1399" y="75"/>
                    </a:lnTo>
                    <a:lnTo>
                      <a:pt x="1396" y="73"/>
                    </a:lnTo>
                    <a:lnTo>
                      <a:pt x="1396" y="77"/>
                    </a:lnTo>
                    <a:lnTo>
                      <a:pt x="1394" y="78"/>
                    </a:lnTo>
                    <a:lnTo>
                      <a:pt x="1387" y="77"/>
                    </a:lnTo>
                    <a:lnTo>
                      <a:pt x="1385" y="75"/>
                    </a:lnTo>
                    <a:lnTo>
                      <a:pt x="1384" y="73"/>
                    </a:lnTo>
                    <a:lnTo>
                      <a:pt x="1382" y="71"/>
                    </a:lnTo>
                    <a:lnTo>
                      <a:pt x="1382" y="71"/>
                    </a:lnTo>
                    <a:lnTo>
                      <a:pt x="1382" y="71"/>
                    </a:lnTo>
                    <a:lnTo>
                      <a:pt x="1382" y="71"/>
                    </a:lnTo>
                    <a:close/>
                    <a:moveTo>
                      <a:pt x="1250" y="130"/>
                    </a:moveTo>
                    <a:lnTo>
                      <a:pt x="1246" y="122"/>
                    </a:lnTo>
                    <a:lnTo>
                      <a:pt x="1245" y="118"/>
                    </a:lnTo>
                    <a:lnTo>
                      <a:pt x="1241" y="115"/>
                    </a:lnTo>
                    <a:lnTo>
                      <a:pt x="1238" y="115"/>
                    </a:lnTo>
                    <a:lnTo>
                      <a:pt x="1234" y="110"/>
                    </a:lnTo>
                    <a:lnTo>
                      <a:pt x="1231" y="110"/>
                    </a:lnTo>
                    <a:lnTo>
                      <a:pt x="1229" y="108"/>
                    </a:lnTo>
                    <a:lnTo>
                      <a:pt x="1229" y="110"/>
                    </a:lnTo>
                    <a:lnTo>
                      <a:pt x="1232" y="115"/>
                    </a:lnTo>
                    <a:lnTo>
                      <a:pt x="1238" y="120"/>
                    </a:lnTo>
                    <a:lnTo>
                      <a:pt x="1241" y="127"/>
                    </a:lnTo>
                    <a:lnTo>
                      <a:pt x="1245" y="136"/>
                    </a:lnTo>
                    <a:lnTo>
                      <a:pt x="1248" y="137"/>
                    </a:lnTo>
                    <a:lnTo>
                      <a:pt x="1250" y="136"/>
                    </a:lnTo>
                    <a:lnTo>
                      <a:pt x="1250" y="130"/>
                    </a:lnTo>
                    <a:lnTo>
                      <a:pt x="1250" y="130"/>
                    </a:lnTo>
                    <a:lnTo>
                      <a:pt x="1250" y="130"/>
                    </a:lnTo>
                    <a:lnTo>
                      <a:pt x="1250" y="130"/>
                    </a:lnTo>
                    <a:close/>
                    <a:moveTo>
                      <a:pt x="1317" y="137"/>
                    </a:moveTo>
                    <a:lnTo>
                      <a:pt x="1314" y="137"/>
                    </a:lnTo>
                    <a:lnTo>
                      <a:pt x="1312" y="137"/>
                    </a:lnTo>
                    <a:lnTo>
                      <a:pt x="1312" y="136"/>
                    </a:lnTo>
                    <a:lnTo>
                      <a:pt x="1314" y="132"/>
                    </a:lnTo>
                    <a:lnTo>
                      <a:pt x="1314" y="134"/>
                    </a:lnTo>
                    <a:lnTo>
                      <a:pt x="1317" y="137"/>
                    </a:lnTo>
                    <a:lnTo>
                      <a:pt x="1321" y="137"/>
                    </a:lnTo>
                    <a:lnTo>
                      <a:pt x="1321" y="141"/>
                    </a:lnTo>
                    <a:lnTo>
                      <a:pt x="1321" y="141"/>
                    </a:lnTo>
                    <a:lnTo>
                      <a:pt x="1323" y="141"/>
                    </a:lnTo>
                    <a:lnTo>
                      <a:pt x="1326" y="137"/>
                    </a:lnTo>
                    <a:lnTo>
                      <a:pt x="1330" y="130"/>
                    </a:lnTo>
                    <a:lnTo>
                      <a:pt x="1335" y="123"/>
                    </a:lnTo>
                    <a:lnTo>
                      <a:pt x="1340" y="123"/>
                    </a:lnTo>
                    <a:lnTo>
                      <a:pt x="1344" y="120"/>
                    </a:lnTo>
                    <a:lnTo>
                      <a:pt x="1345" y="122"/>
                    </a:lnTo>
                    <a:lnTo>
                      <a:pt x="1344" y="123"/>
                    </a:lnTo>
                    <a:lnTo>
                      <a:pt x="1345" y="125"/>
                    </a:lnTo>
                    <a:lnTo>
                      <a:pt x="1349" y="125"/>
                    </a:lnTo>
                    <a:lnTo>
                      <a:pt x="1351" y="125"/>
                    </a:lnTo>
                    <a:lnTo>
                      <a:pt x="1351" y="122"/>
                    </a:lnTo>
                    <a:lnTo>
                      <a:pt x="1356" y="118"/>
                    </a:lnTo>
                    <a:lnTo>
                      <a:pt x="1359" y="115"/>
                    </a:lnTo>
                    <a:lnTo>
                      <a:pt x="1357" y="113"/>
                    </a:lnTo>
                    <a:lnTo>
                      <a:pt x="1352" y="115"/>
                    </a:lnTo>
                    <a:lnTo>
                      <a:pt x="1349" y="118"/>
                    </a:lnTo>
                    <a:lnTo>
                      <a:pt x="1344" y="113"/>
                    </a:lnTo>
                    <a:lnTo>
                      <a:pt x="1337" y="113"/>
                    </a:lnTo>
                    <a:lnTo>
                      <a:pt x="1337" y="110"/>
                    </a:lnTo>
                    <a:lnTo>
                      <a:pt x="1331" y="110"/>
                    </a:lnTo>
                    <a:lnTo>
                      <a:pt x="1331" y="110"/>
                    </a:lnTo>
                    <a:lnTo>
                      <a:pt x="1326" y="104"/>
                    </a:lnTo>
                    <a:lnTo>
                      <a:pt x="1323" y="103"/>
                    </a:lnTo>
                    <a:lnTo>
                      <a:pt x="1321" y="96"/>
                    </a:lnTo>
                    <a:lnTo>
                      <a:pt x="1321" y="92"/>
                    </a:lnTo>
                    <a:lnTo>
                      <a:pt x="1317" y="90"/>
                    </a:lnTo>
                    <a:lnTo>
                      <a:pt x="1317" y="87"/>
                    </a:lnTo>
                    <a:lnTo>
                      <a:pt x="1314" y="85"/>
                    </a:lnTo>
                    <a:lnTo>
                      <a:pt x="1314" y="82"/>
                    </a:lnTo>
                    <a:lnTo>
                      <a:pt x="1314" y="82"/>
                    </a:lnTo>
                    <a:lnTo>
                      <a:pt x="1314" y="78"/>
                    </a:lnTo>
                    <a:lnTo>
                      <a:pt x="1314" y="78"/>
                    </a:lnTo>
                    <a:lnTo>
                      <a:pt x="1317" y="78"/>
                    </a:lnTo>
                    <a:lnTo>
                      <a:pt x="1317" y="75"/>
                    </a:lnTo>
                    <a:lnTo>
                      <a:pt x="1314" y="75"/>
                    </a:lnTo>
                    <a:lnTo>
                      <a:pt x="1312" y="73"/>
                    </a:lnTo>
                    <a:lnTo>
                      <a:pt x="1305" y="73"/>
                    </a:lnTo>
                    <a:lnTo>
                      <a:pt x="1302" y="71"/>
                    </a:lnTo>
                    <a:lnTo>
                      <a:pt x="1298" y="68"/>
                    </a:lnTo>
                    <a:lnTo>
                      <a:pt x="1295" y="68"/>
                    </a:lnTo>
                    <a:lnTo>
                      <a:pt x="1291" y="68"/>
                    </a:lnTo>
                    <a:lnTo>
                      <a:pt x="1291" y="68"/>
                    </a:lnTo>
                    <a:lnTo>
                      <a:pt x="1295" y="73"/>
                    </a:lnTo>
                    <a:lnTo>
                      <a:pt x="1298" y="73"/>
                    </a:lnTo>
                    <a:lnTo>
                      <a:pt x="1300" y="77"/>
                    </a:lnTo>
                    <a:lnTo>
                      <a:pt x="1295" y="77"/>
                    </a:lnTo>
                    <a:lnTo>
                      <a:pt x="1295" y="75"/>
                    </a:lnTo>
                    <a:lnTo>
                      <a:pt x="1291" y="75"/>
                    </a:lnTo>
                    <a:lnTo>
                      <a:pt x="1291" y="78"/>
                    </a:lnTo>
                    <a:lnTo>
                      <a:pt x="1291" y="82"/>
                    </a:lnTo>
                    <a:lnTo>
                      <a:pt x="1291" y="85"/>
                    </a:lnTo>
                    <a:lnTo>
                      <a:pt x="1295" y="90"/>
                    </a:lnTo>
                    <a:lnTo>
                      <a:pt x="1298" y="94"/>
                    </a:lnTo>
                    <a:lnTo>
                      <a:pt x="1300" y="97"/>
                    </a:lnTo>
                    <a:lnTo>
                      <a:pt x="1298" y="99"/>
                    </a:lnTo>
                    <a:lnTo>
                      <a:pt x="1295" y="99"/>
                    </a:lnTo>
                    <a:lnTo>
                      <a:pt x="1291" y="94"/>
                    </a:lnTo>
                    <a:lnTo>
                      <a:pt x="1290" y="90"/>
                    </a:lnTo>
                    <a:lnTo>
                      <a:pt x="1288" y="87"/>
                    </a:lnTo>
                    <a:lnTo>
                      <a:pt x="1283" y="90"/>
                    </a:lnTo>
                    <a:lnTo>
                      <a:pt x="1281" y="90"/>
                    </a:lnTo>
                    <a:lnTo>
                      <a:pt x="1281" y="90"/>
                    </a:lnTo>
                    <a:lnTo>
                      <a:pt x="1278" y="90"/>
                    </a:lnTo>
                    <a:lnTo>
                      <a:pt x="1276" y="85"/>
                    </a:lnTo>
                    <a:lnTo>
                      <a:pt x="1276" y="82"/>
                    </a:lnTo>
                    <a:lnTo>
                      <a:pt x="1272" y="82"/>
                    </a:lnTo>
                    <a:lnTo>
                      <a:pt x="1269" y="78"/>
                    </a:lnTo>
                    <a:lnTo>
                      <a:pt x="1264" y="78"/>
                    </a:lnTo>
                    <a:lnTo>
                      <a:pt x="1262" y="77"/>
                    </a:lnTo>
                    <a:lnTo>
                      <a:pt x="1260" y="75"/>
                    </a:lnTo>
                    <a:lnTo>
                      <a:pt x="1257" y="75"/>
                    </a:lnTo>
                    <a:lnTo>
                      <a:pt x="1253" y="78"/>
                    </a:lnTo>
                    <a:lnTo>
                      <a:pt x="1255" y="82"/>
                    </a:lnTo>
                    <a:lnTo>
                      <a:pt x="1253" y="82"/>
                    </a:lnTo>
                    <a:lnTo>
                      <a:pt x="1253" y="87"/>
                    </a:lnTo>
                    <a:lnTo>
                      <a:pt x="1251" y="92"/>
                    </a:lnTo>
                    <a:lnTo>
                      <a:pt x="1248" y="96"/>
                    </a:lnTo>
                    <a:lnTo>
                      <a:pt x="1248" y="97"/>
                    </a:lnTo>
                    <a:lnTo>
                      <a:pt x="1251" y="104"/>
                    </a:lnTo>
                    <a:lnTo>
                      <a:pt x="1255" y="104"/>
                    </a:lnTo>
                    <a:lnTo>
                      <a:pt x="1257" y="106"/>
                    </a:lnTo>
                    <a:lnTo>
                      <a:pt x="1255" y="108"/>
                    </a:lnTo>
                    <a:lnTo>
                      <a:pt x="1253" y="108"/>
                    </a:lnTo>
                    <a:lnTo>
                      <a:pt x="1253" y="110"/>
                    </a:lnTo>
                    <a:lnTo>
                      <a:pt x="1257" y="110"/>
                    </a:lnTo>
                    <a:lnTo>
                      <a:pt x="1258" y="113"/>
                    </a:lnTo>
                    <a:lnTo>
                      <a:pt x="1258" y="118"/>
                    </a:lnTo>
                    <a:lnTo>
                      <a:pt x="1260" y="118"/>
                    </a:lnTo>
                    <a:lnTo>
                      <a:pt x="1264" y="120"/>
                    </a:lnTo>
                    <a:lnTo>
                      <a:pt x="1264" y="122"/>
                    </a:lnTo>
                    <a:lnTo>
                      <a:pt x="1264" y="123"/>
                    </a:lnTo>
                    <a:lnTo>
                      <a:pt x="1267" y="125"/>
                    </a:lnTo>
                    <a:lnTo>
                      <a:pt x="1267" y="123"/>
                    </a:lnTo>
                    <a:lnTo>
                      <a:pt x="1269" y="123"/>
                    </a:lnTo>
                    <a:lnTo>
                      <a:pt x="1272" y="125"/>
                    </a:lnTo>
                    <a:lnTo>
                      <a:pt x="1267" y="127"/>
                    </a:lnTo>
                    <a:lnTo>
                      <a:pt x="1267" y="127"/>
                    </a:lnTo>
                    <a:lnTo>
                      <a:pt x="1264" y="127"/>
                    </a:lnTo>
                    <a:lnTo>
                      <a:pt x="1264" y="129"/>
                    </a:lnTo>
                    <a:lnTo>
                      <a:pt x="1264" y="132"/>
                    </a:lnTo>
                    <a:lnTo>
                      <a:pt x="1276" y="137"/>
                    </a:lnTo>
                    <a:lnTo>
                      <a:pt x="1281" y="141"/>
                    </a:lnTo>
                    <a:lnTo>
                      <a:pt x="1286" y="141"/>
                    </a:lnTo>
                    <a:lnTo>
                      <a:pt x="1290" y="143"/>
                    </a:lnTo>
                    <a:lnTo>
                      <a:pt x="1291" y="144"/>
                    </a:lnTo>
                    <a:lnTo>
                      <a:pt x="1291" y="150"/>
                    </a:lnTo>
                    <a:lnTo>
                      <a:pt x="1295" y="151"/>
                    </a:lnTo>
                    <a:lnTo>
                      <a:pt x="1300" y="151"/>
                    </a:lnTo>
                    <a:lnTo>
                      <a:pt x="1305" y="150"/>
                    </a:lnTo>
                    <a:lnTo>
                      <a:pt x="1311" y="150"/>
                    </a:lnTo>
                    <a:lnTo>
                      <a:pt x="1314" y="151"/>
                    </a:lnTo>
                    <a:lnTo>
                      <a:pt x="1317" y="151"/>
                    </a:lnTo>
                    <a:lnTo>
                      <a:pt x="1317" y="150"/>
                    </a:lnTo>
                    <a:lnTo>
                      <a:pt x="1317" y="144"/>
                    </a:lnTo>
                    <a:lnTo>
                      <a:pt x="1317" y="141"/>
                    </a:lnTo>
                    <a:lnTo>
                      <a:pt x="1317" y="137"/>
                    </a:lnTo>
                    <a:lnTo>
                      <a:pt x="1317" y="137"/>
                    </a:lnTo>
                    <a:lnTo>
                      <a:pt x="1317" y="137"/>
                    </a:lnTo>
                    <a:lnTo>
                      <a:pt x="1317" y="137"/>
                    </a:lnTo>
                    <a:close/>
                    <a:moveTo>
                      <a:pt x="1317" y="71"/>
                    </a:moveTo>
                    <a:lnTo>
                      <a:pt x="1323" y="71"/>
                    </a:lnTo>
                    <a:lnTo>
                      <a:pt x="1328" y="71"/>
                    </a:lnTo>
                    <a:lnTo>
                      <a:pt x="1331" y="71"/>
                    </a:lnTo>
                    <a:lnTo>
                      <a:pt x="1342" y="77"/>
                    </a:lnTo>
                    <a:lnTo>
                      <a:pt x="1345" y="77"/>
                    </a:lnTo>
                    <a:lnTo>
                      <a:pt x="1349" y="77"/>
                    </a:lnTo>
                    <a:lnTo>
                      <a:pt x="1356" y="77"/>
                    </a:lnTo>
                    <a:lnTo>
                      <a:pt x="1364" y="78"/>
                    </a:lnTo>
                    <a:lnTo>
                      <a:pt x="1364" y="82"/>
                    </a:lnTo>
                    <a:lnTo>
                      <a:pt x="1361" y="82"/>
                    </a:lnTo>
                    <a:lnTo>
                      <a:pt x="1357" y="85"/>
                    </a:lnTo>
                    <a:lnTo>
                      <a:pt x="1357" y="87"/>
                    </a:lnTo>
                    <a:lnTo>
                      <a:pt x="1363" y="92"/>
                    </a:lnTo>
                    <a:lnTo>
                      <a:pt x="1366" y="92"/>
                    </a:lnTo>
                    <a:lnTo>
                      <a:pt x="1366" y="97"/>
                    </a:lnTo>
                    <a:lnTo>
                      <a:pt x="1368" y="99"/>
                    </a:lnTo>
                    <a:lnTo>
                      <a:pt x="1364" y="103"/>
                    </a:lnTo>
                    <a:lnTo>
                      <a:pt x="1364" y="108"/>
                    </a:lnTo>
                    <a:lnTo>
                      <a:pt x="1361" y="110"/>
                    </a:lnTo>
                    <a:lnTo>
                      <a:pt x="1359" y="113"/>
                    </a:lnTo>
                    <a:lnTo>
                      <a:pt x="1356" y="110"/>
                    </a:lnTo>
                    <a:lnTo>
                      <a:pt x="1354" y="110"/>
                    </a:lnTo>
                    <a:lnTo>
                      <a:pt x="1351" y="113"/>
                    </a:lnTo>
                    <a:lnTo>
                      <a:pt x="1349" y="113"/>
                    </a:lnTo>
                    <a:lnTo>
                      <a:pt x="1340" y="110"/>
                    </a:lnTo>
                    <a:lnTo>
                      <a:pt x="1337" y="106"/>
                    </a:lnTo>
                    <a:lnTo>
                      <a:pt x="1328" y="99"/>
                    </a:lnTo>
                    <a:lnTo>
                      <a:pt x="1326" y="94"/>
                    </a:lnTo>
                    <a:lnTo>
                      <a:pt x="1328" y="90"/>
                    </a:lnTo>
                    <a:lnTo>
                      <a:pt x="1328" y="87"/>
                    </a:lnTo>
                    <a:lnTo>
                      <a:pt x="1330" y="87"/>
                    </a:lnTo>
                    <a:lnTo>
                      <a:pt x="1328" y="82"/>
                    </a:lnTo>
                    <a:lnTo>
                      <a:pt x="1326" y="82"/>
                    </a:lnTo>
                    <a:lnTo>
                      <a:pt x="1326" y="78"/>
                    </a:lnTo>
                    <a:lnTo>
                      <a:pt x="1323" y="78"/>
                    </a:lnTo>
                    <a:lnTo>
                      <a:pt x="1321" y="75"/>
                    </a:lnTo>
                    <a:lnTo>
                      <a:pt x="1317" y="71"/>
                    </a:lnTo>
                    <a:lnTo>
                      <a:pt x="1317" y="71"/>
                    </a:lnTo>
                    <a:lnTo>
                      <a:pt x="1317" y="71"/>
                    </a:lnTo>
                    <a:lnTo>
                      <a:pt x="1317" y="71"/>
                    </a:lnTo>
                    <a:close/>
                    <a:moveTo>
                      <a:pt x="751" y="160"/>
                    </a:moveTo>
                    <a:lnTo>
                      <a:pt x="751" y="160"/>
                    </a:lnTo>
                    <a:lnTo>
                      <a:pt x="755" y="158"/>
                    </a:lnTo>
                    <a:lnTo>
                      <a:pt x="758" y="155"/>
                    </a:lnTo>
                    <a:lnTo>
                      <a:pt x="763" y="150"/>
                    </a:lnTo>
                    <a:lnTo>
                      <a:pt x="765" y="150"/>
                    </a:lnTo>
                    <a:lnTo>
                      <a:pt x="763" y="144"/>
                    </a:lnTo>
                    <a:lnTo>
                      <a:pt x="765" y="143"/>
                    </a:lnTo>
                    <a:lnTo>
                      <a:pt x="772" y="137"/>
                    </a:lnTo>
                    <a:lnTo>
                      <a:pt x="774" y="137"/>
                    </a:lnTo>
                    <a:lnTo>
                      <a:pt x="777" y="137"/>
                    </a:lnTo>
                    <a:lnTo>
                      <a:pt x="779" y="137"/>
                    </a:lnTo>
                    <a:lnTo>
                      <a:pt x="782" y="136"/>
                    </a:lnTo>
                    <a:lnTo>
                      <a:pt x="782" y="132"/>
                    </a:lnTo>
                    <a:lnTo>
                      <a:pt x="786" y="132"/>
                    </a:lnTo>
                    <a:lnTo>
                      <a:pt x="791" y="127"/>
                    </a:lnTo>
                    <a:lnTo>
                      <a:pt x="793" y="123"/>
                    </a:lnTo>
                    <a:lnTo>
                      <a:pt x="794" y="122"/>
                    </a:lnTo>
                    <a:lnTo>
                      <a:pt x="798" y="115"/>
                    </a:lnTo>
                    <a:lnTo>
                      <a:pt x="796" y="113"/>
                    </a:lnTo>
                    <a:lnTo>
                      <a:pt x="793" y="108"/>
                    </a:lnTo>
                    <a:lnTo>
                      <a:pt x="791" y="103"/>
                    </a:lnTo>
                    <a:lnTo>
                      <a:pt x="789" y="99"/>
                    </a:lnTo>
                    <a:lnTo>
                      <a:pt x="786" y="96"/>
                    </a:lnTo>
                    <a:lnTo>
                      <a:pt x="782" y="96"/>
                    </a:lnTo>
                    <a:lnTo>
                      <a:pt x="779" y="96"/>
                    </a:lnTo>
                    <a:lnTo>
                      <a:pt x="777" y="94"/>
                    </a:lnTo>
                    <a:lnTo>
                      <a:pt x="774" y="94"/>
                    </a:lnTo>
                    <a:lnTo>
                      <a:pt x="768" y="90"/>
                    </a:lnTo>
                    <a:lnTo>
                      <a:pt x="767" y="90"/>
                    </a:lnTo>
                    <a:lnTo>
                      <a:pt x="767" y="90"/>
                    </a:lnTo>
                    <a:lnTo>
                      <a:pt x="763" y="90"/>
                    </a:lnTo>
                    <a:lnTo>
                      <a:pt x="763" y="87"/>
                    </a:lnTo>
                    <a:lnTo>
                      <a:pt x="760" y="85"/>
                    </a:lnTo>
                    <a:lnTo>
                      <a:pt x="758" y="85"/>
                    </a:lnTo>
                    <a:lnTo>
                      <a:pt x="756" y="87"/>
                    </a:lnTo>
                    <a:lnTo>
                      <a:pt x="755" y="87"/>
                    </a:lnTo>
                    <a:lnTo>
                      <a:pt x="751" y="82"/>
                    </a:lnTo>
                    <a:lnTo>
                      <a:pt x="751" y="82"/>
                    </a:lnTo>
                    <a:lnTo>
                      <a:pt x="751" y="82"/>
                    </a:lnTo>
                    <a:lnTo>
                      <a:pt x="755" y="87"/>
                    </a:lnTo>
                    <a:lnTo>
                      <a:pt x="755" y="87"/>
                    </a:lnTo>
                    <a:lnTo>
                      <a:pt x="751" y="90"/>
                    </a:lnTo>
                    <a:lnTo>
                      <a:pt x="751" y="92"/>
                    </a:lnTo>
                    <a:lnTo>
                      <a:pt x="749" y="92"/>
                    </a:lnTo>
                    <a:lnTo>
                      <a:pt x="749" y="90"/>
                    </a:lnTo>
                    <a:lnTo>
                      <a:pt x="748" y="78"/>
                    </a:lnTo>
                    <a:lnTo>
                      <a:pt x="744" y="78"/>
                    </a:lnTo>
                    <a:lnTo>
                      <a:pt x="741" y="78"/>
                    </a:lnTo>
                    <a:lnTo>
                      <a:pt x="735" y="75"/>
                    </a:lnTo>
                    <a:lnTo>
                      <a:pt x="734" y="75"/>
                    </a:lnTo>
                    <a:lnTo>
                      <a:pt x="732" y="78"/>
                    </a:lnTo>
                    <a:lnTo>
                      <a:pt x="732" y="82"/>
                    </a:lnTo>
                    <a:lnTo>
                      <a:pt x="735" y="82"/>
                    </a:lnTo>
                    <a:lnTo>
                      <a:pt x="739" y="87"/>
                    </a:lnTo>
                    <a:lnTo>
                      <a:pt x="737" y="87"/>
                    </a:lnTo>
                    <a:lnTo>
                      <a:pt x="734" y="87"/>
                    </a:lnTo>
                    <a:lnTo>
                      <a:pt x="732" y="87"/>
                    </a:lnTo>
                    <a:lnTo>
                      <a:pt x="732" y="85"/>
                    </a:lnTo>
                    <a:lnTo>
                      <a:pt x="728" y="85"/>
                    </a:lnTo>
                    <a:lnTo>
                      <a:pt x="732" y="87"/>
                    </a:lnTo>
                    <a:lnTo>
                      <a:pt x="732" y="90"/>
                    </a:lnTo>
                    <a:lnTo>
                      <a:pt x="732" y="90"/>
                    </a:lnTo>
                    <a:lnTo>
                      <a:pt x="732" y="94"/>
                    </a:lnTo>
                    <a:lnTo>
                      <a:pt x="732" y="96"/>
                    </a:lnTo>
                    <a:lnTo>
                      <a:pt x="734" y="96"/>
                    </a:lnTo>
                    <a:lnTo>
                      <a:pt x="735" y="97"/>
                    </a:lnTo>
                    <a:lnTo>
                      <a:pt x="735" y="101"/>
                    </a:lnTo>
                    <a:lnTo>
                      <a:pt x="739" y="110"/>
                    </a:lnTo>
                    <a:lnTo>
                      <a:pt x="742" y="113"/>
                    </a:lnTo>
                    <a:lnTo>
                      <a:pt x="744" y="113"/>
                    </a:lnTo>
                    <a:lnTo>
                      <a:pt x="742" y="113"/>
                    </a:lnTo>
                    <a:lnTo>
                      <a:pt x="739" y="115"/>
                    </a:lnTo>
                    <a:lnTo>
                      <a:pt x="737" y="120"/>
                    </a:lnTo>
                    <a:lnTo>
                      <a:pt x="741" y="127"/>
                    </a:lnTo>
                    <a:lnTo>
                      <a:pt x="742" y="132"/>
                    </a:lnTo>
                    <a:lnTo>
                      <a:pt x="742" y="136"/>
                    </a:lnTo>
                    <a:lnTo>
                      <a:pt x="744" y="137"/>
                    </a:lnTo>
                    <a:lnTo>
                      <a:pt x="744" y="141"/>
                    </a:lnTo>
                    <a:lnTo>
                      <a:pt x="742" y="141"/>
                    </a:lnTo>
                    <a:lnTo>
                      <a:pt x="746" y="146"/>
                    </a:lnTo>
                    <a:lnTo>
                      <a:pt x="748" y="151"/>
                    </a:lnTo>
                    <a:lnTo>
                      <a:pt x="751" y="155"/>
                    </a:lnTo>
                    <a:lnTo>
                      <a:pt x="749" y="158"/>
                    </a:lnTo>
                    <a:lnTo>
                      <a:pt x="751" y="160"/>
                    </a:lnTo>
                    <a:lnTo>
                      <a:pt x="751" y="160"/>
                    </a:lnTo>
                    <a:lnTo>
                      <a:pt x="751" y="160"/>
                    </a:lnTo>
                    <a:lnTo>
                      <a:pt x="751" y="160"/>
                    </a:lnTo>
                    <a:close/>
                    <a:moveTo>
                      <a:pt x="817" y="122"/>
                    </a:moveTo>
                    <a:lnTo>
                      <a:pt x="821" y="120"/>
                    </a:lnTo>
                    <a:lnTo>
                      <a:pt x="821" y="118"/>
                    </a:lnTo>
                    <a:lnTo>
                      <a:pt x="819" y="118"/>
                    </a:lnTo>
                    <a:lnTo>
                      <a:pt x="821" y="115"/>
                    </a:lnTo>
                    <a:lnTo>
                      <a:pt x="822" y="115"/>
                    </a:lnTo>
                    <a:lnTo>
                      <a:pt x="821" y="113"/>
                    </a:lnTo>
                    <a:lnTo>
                      <a:pt x="819" y="113"/>
                    </a:lnTo>
                    <a:lnTo>
                      <a:pt x="815" y="118"/>
                    </a:lnTo>
                    <a:lnTo>
                      <a:pt x="817" y="118"/>
                    </a:lnTo>
                    <a:lnTo>
                      <a:pt x="814" y="118"/>
                    </a:lnTo>
                    <a:lnTo>
                      <a:pt x="814" y="122"/>
                    </a:lnTo>
                    <a:lnTo>
                      <a:pt x="815" y="123"/>
                    </a:lnTo>
                    <a:lnTo>
                      <a:pt x="817" y="122"/>
                    </a:lnTo>
                    <a:lnTo>
                      <a:pt x="817" y="122"/>
                    </a:lnTo>
                    <a:lnTo>
                      <a:pt x="817" y="122"/>
                    </a:lnTo>
                    <a:lnTo>
                      <a:pt x="817" y="122"/>
                    </a:lnTo>
                    <a:close/>
                    <a:moveTo>
                      <a:pt x="822" y="122"/>
                    </a:moveTo>
                    <a:lnTo>
                      <a:pt x="824" y="120"/>
                    </a:lnTo>
                    <a:lnTo>
                      <a:pt x="827" y="120"/>
                    </a:lnTo>
                    <a:lnTo>
                      <a:pt x="831" y="118"/>
                    </a:lnTo>
                    <a:lnTo>
                      <a:pt x="833" y="118"/>
                    </a:lnTo>
                    <a:lnTo>
                      <a:pt x="833" y="118"/>
                    </a:lnTo>
                    <a:lnTo>
                      <a:pt x="836" y="118"/>
                    </a:lnTo>
                    <a:lnTo>
                      <a:pt x="836" y="120"/>
                    </a:lnTo>
                    <a:lnTo>
                      <a:pt x="836" y="123"/>
                    </a:lnTo>
                    <a:lnTo>
                      <a:pt x="833" y="122"/>
                    </a:lnTo>
                    <a:lnTo>
                      <a:pt x="833" y="123"/>
                    </a:lnTo>
                    <a:lnTo>
                      <a:pt x="827" y="125"/>
                    </a:lnTo>
                    <a:lnTo>
                      <a:pt x="822" y="125"/>
                    </a:lnTo>
                    <a:lnTo>
                      <a:pt x="822" y="122"/>
                    </a:lnTo>
                    <a:lnTo>
                      <a:pt x="822" y="122"/>
                    </a:lnTo>
                    <a:lnTo>
                      <a:pt x="822" y="122"/>
                    </a:lnTo>
                    <a:lnTo>
                      <a:pt x="822" y="122"/>
                    </a:lnTo>
                    <a:close/>
                    <a:moveTo>
                      <a:pt x="855" y="155"/>
                    </a:moveTo>
                    <a:lnTo>
                      <a:pt x="855" y="158"/>
                    </a:lnTo>
                    <a:lnTo>
                      <a:pt x="859" y="160"/>
                    </a:lnTo>
                    <a:lnTo>
                      <a:pt x="859" y="163"/>
                    </a:lnTo>
                    <a:lnTo>
                      <a:pt x="859" y="165"/>
                    </a:lnTo>
                    <a:lnTo>
                      <a:pt x="862" y="163"/>
                    </a:lnTo>
                    <a:lnTo>
                      <a:pt x="862" y="160"/>
                    </a:lnTo>
                    <a:lnTo>
                      <a:pt x="861" y="155"/>
                    </a:lnTo>
                    <a:lnTo>
                      <a:pt x="859" y="155"/>
                    </a:lnTo>
                    <a:lnTo>
                      <a:pt x="855" y="155"/>
                    </a:lnTo>
                    <a:lnTo>
                      <a:pt x="855" y="155"/>
                    </a:lnTo>
                    <a:lnTo>
                      <a:pt x="855" y="155"/>
                    </a:lnTo>
                    <a:lnTo>
                      <a:pt x="855" y="155"/>
                    </a:lnTo>
                    <a:close/>
                    <a:moveTo>
                      <a:pt x="1173" y="259"/>
                    </a:moveTo>
                    <a:lnTo>
                      <a:pt x="1175" y="259"/>
                    </a:lnTo>
                    <a:lnTo>
                      <a:pt x="1175" y="256"/>
                    </a:lnTo>
                    <a:lnTo>
                      <a:pt x="1175" y="250"/>
                    </a:lnTo>
                    <a:lnTo>
                      <a:pt x="1172" y="252"/>
                    </a:lnTo>
                    <a:lnTo>
                      <a:pt x="1172" y="256"/>
                    </a:lnTo>
                    <a:lnTo>
                      <a:pt x="1172" y="259"/>
                    </a:lnTo>
                    <a:lnTo>
                      <a:pt x="1172" y="259"/>
                    </a:lnTo>
                    <a:lnTo>
                      <a:pt x="1173" y="259"/>
                    </a:lnTo>
                    <a:lnTo>
                      <a:pt x="1173" y="259"/>
                    </a:lnTo>
                    <a:lnTo>
                      <a:pt x="1173" y="259"/>
                    </a:lnTo>
                    <a:lnTo>
                      <a:pt x="1173" y="259"/>
                    </a:lnTo>
                    <a:close/>
                    <a:moveTo>
                      <a:pt x="1132" y="306"/>
                    </a:moveTo>
                    <a:lnTo>
                      <a:pt x="1137" y="306"/>
                    </a:lnTo>
                    <a:lnTo>
                      <a:pt x="1137" y="306"/>
                    </a:lnTo>
                    <a:lnTo>
                      <a:pt x="1137" y="306"/>
                    </a:lnTo>
                    <a:lnTo>
                      <a:pt x="1137" y="304"/>
                    </a:lnTo>
                    <a:lnTo>
                      <a:pt x="1137" y="303"/>
                    </a:lnTo>
                    <a:lnTo>
                      <a:pt x="1133" y="299"/>
                    </a:lnTo>
                    <a:lnTo>
                      <a:pt x="1130" y="299"/>
                    </a:lnTo>
                    <a:lnTo>
                      <a:pt x="1128" y="301"/>
                    </a:lnTo>
                    <a:lnTo>
                      <a:pt x="1130" y="303"/>
                    </a:lnTo>
                    <a:lnTo>
                      <a:pt x="1132" y="304"/>
                    </a:lnTo>
                    <a:lnTo>
                      <a:pt x="1132" y="304"/>
                    </a:lnTo>
                    <a:lnTo>
                      <a:pt x="1132" y="306"/>
                    </a:lnTo>
                    <a:lnTo>
                      <a:pt x="1132" y="306"/>
                    </a:lnTo>
                    <a:lnTo>
                      <a:pt x="1132" y="306"/>
                    </a:lnTo>
                    <a:lnTo>
                      <a:pt x="1132" y="306"/>
                    </a:lnTo>
                    <a:close/>
                    <a:moveTo>
                      <a:pt x="1013" y="287"/>
                    </a:moveTo>
                    <a:lnTo>
                      <a:pt x="1017" y="287"/>
                    </a:lnTo>
                    <a:lnTo>
                      <a:pt x="1019" y="287"/>
                    </a:lnTo>
                    <a:lnTo>
                      <a:pt x="1020" y="287"/>
                    </a:lnTo>
                    <a:lnTo>
                      <a:pt x="1022" y="282"/>
                    </a:lnTo>
                    <a:lnTo>
                      <a:pt x="1024" y="282"/>
                    </a:lnTo>
                    <a:lnTo>
                      <a:pt x="1024" y="278"/>
                    </a:lnTo>
                    <a:lnTo>
                      <a:pt x="1022" y="278"/>
                    </a:lnTo>
                    <a:lnTo>
                      <a:pt x="1020" y="271"/>
                    </a:lnTo>
                    <a:lnTo>
                      <a:pt x="1019" y="270"/>
                    </a:lnTo>
                    <a:lnTo>
                      <a:pt x="1017" y="266"/>
                    </a:lnTo>
                    <a:lnTo>
                      <a:pt x="1017" y="264"/>
                    </a:lnTo>
                    <a:lnTo>
                      <a:pt x="1015" y="263"/>
                    </a:lnTo>
                    <a:lnTo>
                      <a:pt x="1010" y="264"/>
                    </a:lnTo>
                    <a:lnTo>
                      <a:pt x="1003" y="270"/>
                    </a:lnTo>
                    <a:lnTo>
                      <a:pt x="1000" y="270"/>
                    </a:lnTo>
                    <a:lnTo>
                      <a:pt x="1000" y="271"/>
                    </a:lnTo>
                    <a:lnTo>
                      <a:pt x="1000" y="275"/>
                    </a:lnTo>
                    <a:lnTo>
                      <a:pt x="1003" y="276"/>
                    </a:lnTo>
                    <a:lnTo>
                      <a:pt x="1003" y="278"/>
                    </a:lnTo>
                    <a:lnTo>
                      <a:pt x="1001" y="282"/>
                    </a:lnTo>
                    <a:lnTo>
                      <a:pt x="998" y="278"/>
                    </a:lnTo>
                    <a:lnTo>
                      <a:pt x="998" y="282"/>
                    </a:lnTo>
                    <a:lnTo>
                      <a:pt x="1000" y="282"/>
                    </a:lnTo>
                    <a:lnTo>
                      <a:pt x="1005" y="282"/>
                    </a:lnTo>
                    <a:lnTo>
                      <a:pt x="1013" y="287"/>
                    </a:lnTo>
                    <a:lnTo>
                      <a:pt x="1013" y="287"/>
                    </a:lnTo>
                    <a:lnTo>
                      <a:pt x="1013" y="287"/>
                    </a:lnTo>
                    <a:lnTo>
                      <a:pt x="1013" y="287"/>
                    </a:lnTo>
                    <a:close/>
                    <a:moveTo>
                      <a:pt x="1359" y="181"/>
                    </a:moveTo>
                    <a:lnTo>
                      <a:pt x="1361" y="179"/>
                    </a:lnTo>
                    <a:lnTo>
                      <a:pt x="1361" y="179"/>
                    </a:lnTo>
                    <a:lnTo>
                      <a:pt x="1363" y="176"/>
                    </a:lnTo>
                    <a:lnTo>
                      <a:pt x="1364" y="172"/>
                    </a:lnTo>
                    <a:lnTo>
                      <a:pt x="1363" y="169"/>
                    </a:lnTo>
                    <a:lnTo>
                      <a:pt x="1359" y="165"/>
                    </a:lnTo>
                    <a:lnTo>
                      <a:pt x="1357" y="160"/>
                    </a:lnTo>
                    <a:lnTo>
                      <a:pt x="1354" y="160"/>
                    </a:lnTo>
                    <a:lnTo>
                      <a:pt x="1351" y="160"/>
                    </a:lnTo>
                    <a:lnTo>
                      <a:pt x="1349" y="165"/>
                    </a:lnTo>
                    <a:lnTo>
                      <a:pt x="1349" y="165"/>
                    </a:lnTo>
                    <a:lnTo>
                      <a:pt x="1349" y="172"/>
                    </a:lnTo>
                    <a:lnTo>
                      <a:pt x="1349" y="172"/>
                    </a:lnTo>
                    <a:lnTo>
                      <a:pt x="1351" y="174"/>
                    </a:lnTo>
                    <a:lnTo>
                      <a:pt x="1354" y="176"/>
                    </a:lnTo>
                    <a:lnTo>
                      <a:pt x="1356" y="179"/>
                    </a:lnTo>
                    <a:lnTo>
                      <a:pt x="1359" y="181"/>
                    </a:lnTo>
                    <a:lnTo>
                      <a:pt x="1359" y="181"/>
                    </a:lnTo>
                    <a:lnTo>
                      <a:pt x="1359" y="181"/>
                    </a:lnTo>
                    <a:lnTo>
                      <a:pt x="1359" y="181"/>
                    </a:lnTo>
                    <a:close/>
                    <a:moveTo>
                      <a:pt x="1368" y="207"/>
                    </a:moveTo>
                    <a:lnTo>
                      <a:pt x="1371" y="205"/>
                    </a:lnTo>
                    <a:lnTo>
                      <a:pt x="1373" y="202"/>
                    </a:lnTo>
                    <a:lnTo>
                      <a:pt x="1380" y="200"/>
                    </a:lnTo>
                    <a:lnTo>
                      <a:pt x="1385" y="200"/>
                    </a:lnTo>
                    <a:lnTo>
                      <a:pt x="1390" y="200"/>
                    </a:lnTo>
                    <a:lnTo>
                      <a:pt x="1396" y="200"/>
                    </a:lnTo>
                    <a:lnTo>
                      <a:pt x="1404" y="200"/>
                    </a:lnTo>
                    <a:lnTo>
                      <a:pt x="1408" y="197"/>
                    </a:lnTo>
                    <a:lnTo>
                      <a:pt x="1413" y="197"/>
                    </a:lnTo>
                    <a:lnTo>
                      <a:pt x="1417" y="197"/>
                    </a:lnTo>
                    <a:lnTo>
                      <a:pt x="1418" y="195"/>
                    </a:lnTo>
                    <a:lnTo>
                      <a:pt x="1417" y="191"/>
                    </a:lnTo>
                    <a:lnTo>
                      <a:pt x="1415" y="190"/>
                    </a:lnTo>
                    <a:lnTo>
                      <a:pt x="1411" y="183"/>
                    </a:lnTo>
                    <a:lnTo>
                      <a:pt x="1403" y="177"/>
                    </a:lnTo>
                    <a:lnTo>
                      <a:pt x="1399" y="177"/>
                    </a:lnTo>
                    <a:lnTo>
                      <a:pt x="1396" y="176"/>
                    </a:lnTo>
                    <a:lnTo>
                      <a:pt x="1390" y="172"/>
                    </a:lnTo>
                    <a:lnTo>
                      <a:pt x="1389" y="172"/>
                    </a:lnTo>
                    <a:lnTo>
                      <a:pt x="1387" y="174"/>
                    </a:lnTo>
                    <a:lnTo>
                      <a:pt x="1382" y="172"/>
                    </a:lnTo>
                    <a:lnTo>
                      <a:pt x="1378" y="172"/>
                    </a:lnTo>
                    <a:lnTo>
                      <a:pt x="1377" y="176"/>
                    </a:lnTo>
                    <a:lnTo>
                      <a:pt x="1371" y="181"/>
                    </a:lnTo>
                    <a:lnTo>
                      <a:pt x="1373" y="186"/>
                    </a:lnTo>
                    <a:lnTo>
                      <a:pt x="1373" y="191"/>
                    </a:lnTo>
                    <a:lnTo>
                      <a:pt x="1371" y="200"/>
                    </a:lnTo>
                    <a:lnTo>
                      <a:pt x="1368" y="203"/>
                    </a:lnTo>
                    <a:lnTo>
                      <a:pt x="1368" y="207"/>
                    </a:lnTo>
                    <a:lnTo>
                      <a:pt x="1368" y="207"/>
                    </a:lnTo>
                    <a:lnTo>
                      <a:pt x="1368" y="207"/>
                    </a:lnTo>
                    <a:lnTo>
                      <a:pt x="1368" y="207"/>
                    </a:lnTo>
                    <a:lnTo>
                      <a:pt x="1368" y="207"/>
                    </a:lnTo>
                    <a:close/>
                    <a:moveTo>
                      <a:pt x="1290" y="190"/>
                    </a:moveTo>
                    <a:lnTo>
                      <a:pt x="1290" y="191"/>
                    </a:lnTo>
                    <a:lnTo>
                      <a:pt x="1291" y="197"/>
                    </a:lnTo>
                    <a:lnTo>
                      <a:pt x="1295" y="197"/>
                    </a:lnTo>
                    <a:lnTo>
                      <a:pt x="1298" y="197"/>
                    </a:lnTo>
                    <a:lnTo>
                      <a:pt x="1302" y="200"/>
                    </a:lnTo>
                    <a:lnTo>
                      <a:pt x="1305" y="202"/>
                    </a:lnTo>
                    <a:lnTo>
                      <a:pt x="1307" y="202"/>
                    </a:lnTo>
                    <a:lnTo>
                      <a:pt x="1309" y="200"/>
                    </a:lnTo>
                    <a:lnTo>
                      <a:pt x="1304" y="195"/>
                    </a:lnTo>
                    <a:lnTo>
                      <a:pt x="1300" y="195"/>
                    </a:lnTo>
                    <a:lnTo>
                      <a:pt x="1295" y="191"/>
                    </a:lnTo>
                    <a:lnTo>
                      <a:pt x="1291" y="190"/>
                    </a:lnTo>
                    <a:lnTo>
                      <a:pt x="1290" y="190"/>
                    </a:lnTo>
                    <a:lnTo>
                      <a:pt x="1290" y="190"/>
                    </a:lnTo>
                    <a:lnTo>
                      <a:pt x="1290" y="190"/>
                    </a:lnTo>
                    <a:lnTo>
                      <a:pt x="1290" y="190"/>
                    </a:lnTo>
                    <a:lnTo>
                      <a:pt x="1290" y="190"/>
                    </a:lnTo>
                    <a:close/>
                    <a:moveTo>
                      <a:pt x="1396" y="299"/>
                    </a:moveTo>
                    <a:lnTo>
                      <a:pt x="1399" y="303"/>
                    </a:lnTo>
                    <a:lnTo>
                      <a:pt x="1403" y="304"/>
                    </a:lnTo>
                    <a:lnTo>
                      <a:pt x="1403" y="303"/>
                    </a:lnTo>
                    <a:lnTo>
                      <a:pt x="1408" y="301"/>
                    </a:lnTo>
                    <a:lnTo>
                      <a:pt x="1408" y="299"/>
                    </a:lnTo>
                    <a:lnTo>
                      <a:pt x="1408" y="296"/>
                    </a:lnTo>
                    <a:lnTo>
                      <a:pt x="1406" y="292"/>
                    </a:lnTo>
                    <a:lnTo>
                      <a:pt x="1404" y="292"/>
                    </a:lnTo>
                    <a:lnTo>
                      <a:pt x="1404" y="296"/>
                    </a:lnTo>
                    <a:lnTo>
                      <a:pt x="1401" y="299"/>
                    </a:lnTo>
                    <a:lnTo>
                      <a:pt x="1401" y="299"/>
                    </a:lnTo>
                    <a:lnTo>
                      <a:pt x="1396" y="299"/>
                    </a:lnTo>
                    <a:lnTo>
                      <a:pt x="1396" y="299"/>
                    </a:lnTo>
                    <a:lnTo>
                      <a:pt x="1396" y="299"/>
                    </a:lnTo>
                    <a:lnTo>
                      <a:pt x="1396" y="299"/>
                    </a:lnTo>
                    <a:close/>
                    <a:moveTo>
                      <a:pt x="1776" y="270"/>
                    </a:moveTo>
                    <a:lnTo>
                      <a:pt x="1780" y="268"/>
                    </a:lnTo>
                    <a:lnTo>
                      <a:pt x="1780" y="266"/>
                    </a:lnTo>
                    <a:lnTo>
                      <a:pt x="1776" y="263"/>
                    </a:lnTo>
                    <a:lnTo>
                      <a:pt x="1776" y="263"/>
                    </a:lnTo>
                    <a:lnTo>
                      <a:pt x="1776" y="264"/>
                    </a:lnTo>
                    <a:lnTo>
                      <a:pt x="1776" y="270"/>
                    </a:lnTo>
                    <a:lnTo>
                      <a:pt x="1776" y="270"/>
                    </a:lnTo>
                    <a:lnTo>
                      <a:pt x="1776" y="270"/>
                    </a:lnTo>
                    <a:lnTo>
                      <a:pt x="1776" y="270"/>
                    </a:lnTo>
                    <a:close/>
                    <a:moveTo>
                      <a:pt x="1774" y="271"/>
                    </a:moveTo>
                    <a:lnTo>
                      <a:pt x="1776" y="273"/>
                    </a:lnTo>
                    <a:lnTo>
                      <a:pt x="1776" y="270"/>
                    </a:lnTo>
                    <a:lnTo>
                      <a:pt x="1774" y="266"/>
                    </a:lnTo>
                    <a:lnTo>
                      <a:pt x="1773" y="266"/>
                    </a:lnTo>
                    <a:lnTo>
                      <a:pt x="1773" y="268"/>
                    </a:lnTo>
                    <a:lnTo>
                      <a:pt x="1774" y="271"/>
                    </a:lnTo>
                    <a:lnTo>
                      <a:pt x="1774" y="271"/>
                    </a:lnTo>
                    <a:lnTo>
                      <a:pt x="1774" y="271"/>
                    </a:lnTo>
                    <a:lnTo>
                      <a:pt x="1774" y="271"/>
                    </a:lnTo>
                    <a:close/>
                    <a:moveTo>
                      <a:pt x="1773" y="273"/>
                    </a:moveTo>
                    <a:lnTo>
                      <a:pt x="1774" y="278"/>
                    </a:lnTo>
                    <a:lnTo>
                      <a:pt x="1776" y="282"/>
                    </a:lnTo>
                    <a:lnTo>
                      <a:pt x="1776" y="278"/>
                    </a:lnTo>
                    <a:lnTo>
                      <a:pt x="1776" y="275"/>
                    </a:lnTo>
                    <a:lnTo>
                      <a:pt x="1773" y="271"/>
                    </a:lnTo>
                    <a:lnTo>
                      <a:pt x="1771" y="271"/>
                    </a:lnTo>
                    <a:lnTo>
                      <a:pt x="1773" y="273"/>
                    </a:lnTo>
                    <a:lnTo>
                      <a:pt x="1773" y="273"/>
                    </a:lnTo>
                    <a:lnTo>
                      <a:pt x="1773" y="273"/>
                    </a:lnTo>
                    <a:lnTo>
                      <a:pt x="1773" y="273"/>
                    </a:lnTo>
                    <a:close/>
                    <a:moveTo>
                      <a:pt x="1762" y="271"/>
                    </a:moveTo>
                    <a:lnTo>
                      <a:pt x="1764" y="275"/>
                    </a:lnTo>
                    <a:lnTo>
                      <a:pt x="1768" y="276"/>
                    </a:lnTo>
                    <a:lnTo>
                      <a:pt x="1768" y="275"/>
                    </a:lnTo>
                    <a:lnTo>
                      <a:pt x="1769" y="275"/>
                    </a:lnTo>
                    <a:lnTo>
                      <a:pt x="1768" y="270"/>
                    </a:lnTo>
                    <a:lnTo>
                      <a:pt x="1766" y="270"/>
                    </a:lnTo>
                    <a:lnTo>
                      <a:pt x="1766" y="270"/>
                    </a:lnTo>
                    <a:lnTo>
                      <a:pt x="1762" y="271"/>
                    </a:lnTo>
                    <a:lnTo>
                      <a:pt x="1762" y="271"/>
                    </a:lnTo>
                    <a:lnTo>
                      <a:pt x="1762" y="271"/>
                    </a:lnTo>
                    <a:lnTo>
                      <a:pt x="1762" y="271"/>
                    </a:lnTo>
                    <a:close/>
                    <a:moveTo>
                      <a:pt x="1858" y="231"/>
                    </a:moveTo>
                    <a:lnTo>
                      <a:pt x="1861" y="233"/>
                    </a:lnTo>
                    <a:lnTo>
                      <a:pt x="1865" y="233"/>
                    </a:lnTo>
                    <a:lnTo>
                      <a:pt x="1867" y="228"/>
                    </a:lnTo>
                    <a:lnTo>
                      <a:pt x="1867" y="224"/>
                    </a:lnTo>
                    <a:lnTo>
                      <a:pt x="1863" y="223"/>
                    </a:lnTo>
                    <a:lnTo>
                      <a:pt x="1865" y="223"/>
                    </a:lnTo>
                    <a:lnTo>
                      <a:pt x="1863" y="219"/>
                    </a:lnTo>
                    <a:lnTo>
                      <a:pt x="1861" y="216"/>
                    </a:lnTo>
                    <a:lnTo>
                      <a:pt x="1861" y="217"/>
                    </a:lnTo>
                    <a:lnTo>
                      <a:pt x="1858" y="217"/>
                    </a:lnTo>
                    <a:lnTo>
                      <a:pt x="1854" y="216"/>
                    </a:lnTo>
                    <a:lnTo>
                      <a:pt x="1851" y="216"/>
                    </a:lnTo>
                    <a:lnTo>
                      <a:pt x="1851" y="217"/>
                    </a:lnTo>
                    <a:lnTo>
                      <a:pt x="1847" y="217"/>
                    </a:lnTo>
                    <a:lnTo>
                      <a:pt x="1849" y="219"/>
                    </a:lnTo>
                    <a:lnTo>
                      <a:pt x="1846" y="219"/>
                    </a:lnTo>
                    <a:lnTo>
                      <a:pt x="1844" y="223"/>
                    </a:lnTo>
                    <a:lnTo>
                      <a:pt x="1846" y="228"/>
                    </a:lnTo>
                    <a:lnTo>
                      <a:pt x="1846" y="228"/>
                    </a:lnTo>
                    <a:lnTo>
                      <a:pt x="1849" y="228"/>
                    </a:lnTo>
                    <a:lnTo>
                      <a:pt x="1854" y="228"/>
                    </a:lnTo>
                    <a:lnTo>
                      <a:pt x="1858" y="231"/>
                    </a:lnTo>
                    <a:lnTo>
                      <a:pt x="1858" y="231"/>
                    </a:lnTo>
                    <a:lnTo>
                      <a:pt x="1858" y="231"/>
                    </a:lnTo>
                    <a:lnTo>
                      <a:pt x="1858" y="231"/>
                    </a:lnTo>
                    <a:close/>
                    <a:moveTo>
                      <a:pt x="1880" y="223"/>
                    </a:moveTo>
                    <a:lnTo>
                      <a:pt x="1880" y="223"/>
                    </a:lnTo>
                    <a:lnTo>
                      <a:pt x="1880" y="219"/>
                    </a:lnTo>
                    <a:lnTo>
                      <a:pt x="1879" y="219"/>
                    </a:lnTo>
                    <a:lnTo>
                      <a:pt x="1879" y="223"/>
                    </a:lnTo>
                    <a:lnTo>
                      <a:pt x="1880" y="223"/>
                    </a:lnTo>
                    <a:lnTo>
                      <a:pt x="1880" y="223"/>
                    </a:lnTo>
                    <a:lnTo>
                      <a:pt x="1880" y="223"/>
                    </a:lnTo>
                    <a:lnTo>
                      <a:pt x="1880" y="223"/>
                    </a:lnTo>
                    <a:close/>
                    <a:moveTo>
                      <a:pt x="1903" y="1144"/>
                    </a:moveTo>
                    <a:lnTo>
                      <a:pt x="1903" y="1137"/>
                    </a:lnTo>
                    <a:lnTo>
                      <a:pt x="1903" y="1135"/>
                    </a:lnTo>
                    <a:lnTo>
                      <a:pt x="1901" y="1132"/>
                    </a:lnTo>
                    <a:lnTo>
                      <a:pt x="1900" y="1129"/>
                    </a:lnTo>
                    <a:lnTo>
                      <a:pt x="1901" y="1122"/>
                    </a:lnTo>
                    <a:lnTo>
                      <a:pt x="1905" y="1120"/>
                    </a:lnTo>
                    <a:lnTo>
                      <a:pt x="1907" y="1120"/>
                    </a:lnTo>
                    <a:lnTo>
                      <a:pt x="1907" y="1122"/>
                    </a:lnTo>
                    <a:lnTo>
                      <a:pt x="1908" y="1123"/>
                    </a:lnTo>
                    <a:lnTo>
                      <a:pt x="1913" y="1123"/>
                    </a:lnTo>
                    <a:lnTo>
                      <a:pt x="1913" y="1122"/>
                    </a:lnTo>
                    <a:lnTo>
                      <a:pt x="1915" y="1122"/>
                    </a:lnTo>
                    <a:lnTo>
                      <a:pt x="1917" y="1123"/>
                    </a:lnTo>
                    <a:lnTo>
                      <a:pt x="1917" y="1125"/>
                    </a:lnTo>
                    <a:lnTo>
                      <a:pt x="1917" y="1127"/>
                    </a:lnTo>
                    <a:lnTo>
                      <a:pt x="1920" y="1130"/>
                    </a:lnTo>
                    <a:lnTo>
                      <a:pt x="1920" y="1132"/>
                    </a:lnTo>
                    <a:lnTo>
                      <a:pt x="1922" y="1135"/>
                    </a:lnTo>
                    <a:lnTo>
                      <a:pt x="1924" y="1132"/>
                    </a:lnTo>
                    <a:lnTo>
                      <a:pt x="1922" y="1132"/>
                    </a:lnTo>
                    <a:lnTo>
                      <a:pt x="1922" y="1129"/>
                    </a:lnTo>
                    <a:lnTo>
                      <a:pt x="1922" y="1123"/>
                    </a:lnTo>
                    <a:lnTo>
                      <a:pt x="1919" y="1122"/>
                    </a:lnTo>
                    <a:lnTo>
                      <a:pt x="1919" y="1116"/>
                    </a:lnTo>
                    <a:lnTo>
                      <a:pt x="1917" y="1113"/>
                    </a:lnTo>
                    <a:lnTo>
                      <a:pt x="1913" y="1115"/>
                    </a:lnTo>
                    <a:lnTo>
                      <a:pt x="1912" y="1115"/>
                    </a:lnTo>
                    <a:lnTo>
                      <a:pt x="1908" y="1113"/>
                    </a:lnTo>
                    <a:lnTo>
                      <a:pt x="1908" y="1108"/>
                    </a:lnTo>
                    <a:lnTo>
                      <a:pt x="1905" y="1104"/>
                    </a:lnTo>
                    <a:lnTo>
                      <a:pt x="1901" y="1099"/>
                    </a:lnTo>
                    <a:lnTo>
                      <a:pt x="1898" y="1099"/>
                    </a:lnTo>
                    <a:lnTo>
                      <a:pt x="1896" y="1095"/>
                    </a:lnTo>
                    <a:lnTo>
                      <a:pt x="1894" y="1089"/>
                    </a:lnTo>
                    <a:lnTo>
                      <a:pt x="1891" y="1085"/>
                    </a:lnTo>
                    <a:lnTo>
                      <a:pt x="1889" y="1082"/>
                    </a:lnTo>
                    <a:lnTo>
                      <a:pt x="1889" y="1076"/>
                    </a:lnTo>
                    <a:lnTo>
                      <a:pt x="1889" y="1069"/>
                    </a:lnTo>
                    <a:lnTo>
                      <a:pt x="1889" y="1066"/>
                    </a:lnTo>
                    <a:lnTo>
                      <a:pt x="1889" y="1059"/>
                    </a:lnTo>
                    <a:lnTo>
                      <a:pt x="1889" y="1057"/>
                    </a:lnTo>
                    <a:lnTo>
                      <a:pt x="1886" y="1050"/>
                    </a:lnTo>
                    <a:lnTo>
                      <a:pt x="1889" y="1050"/>
                    </a:lnTo>
                    <a:lnTo>
                      <a:pt x="1889" y="1047"/>
                    </a:lnTo>
                    <a:lnTo>
                      <a:pt x="1889" y="1045"/>
                    </a:lnTo>
                    <a:lnTo>
                      <a:pt x="1889" y="1045"/>
                    </a:lnTo>
                    <a:lnTo>
                      <a:pt x="1891" y="1045"/>
                    </a:lnTo>
                    <a:lnTo>
                      <a:pt x="1896" y="1045"/>
                    </a:lnTo>
                    <a:lnTo>
                      <a:pt x="1900" y="1045"/>
                    </a:lnTo>
                    <a:lnTo>
                      <a:pt x="1903" y="1049"/>
                    </a:lnTo>
                    <a:lnTo>
                      <a:pt x="1907" y="1054"/>
                    </a:lnTo>
                    <a:lnTo>
                      <a:pt x="1908" y="1054"/>
                    </a:lnTo>
                    <a:lnTo>
                      <a:pt x="1912" y="1057"/>
                    </a:lnTo>
                    <a:lnTo>
                      <a:pt x="1915" y="1062"/>
                    </a:lnTo>
                    <a:lnTo>
                      <a:pt x="1917" y="1062"/>
                    </a:lnTo>
                    <a:lnTo>
                      <a:pt x="1915" y="1057"/>
                    </a:lnTo>
                    <a:lnTo>
                      <a:pt x="1912" y="1054"/>
                    </a:lnTo>
                    <a:lnTo>
                      <a:pt x="1908" y="1050"/>
                    </a:lnTo>
                    <a:lnTo>
                      <a:pt x="1905" y="1045"/>
                    </a:lnTo>
                    <a:lnTo>
                      <a:pt x="1901" y="1040"/>
                    </a:lnTo>
                    <a:lnTo>
                      <a:pt x="1901" y="1038"/>
                    </a:lnTo>
                    <a:lnTo>
                      <a:pt x="1900" y="1036"/>
                    </a:lnTo>
                    <a:lnTo>
                      <a:pt x="1896" y="1031"/>
                    </a:lnTo>
                    <a:lnTo>
                      <a:pt x="1894" y="1026"/>
                    </a:lnTo>
                    <a:lnTo>
                      <a:pt x="1893" y="1026"/>
                    </a:lnTo>
                    <a:lnTo>
                      <a:pt x="1891" y="1022"/>
                    </a:lnTo>
                    <a:lnTo>
                      <a:pt x="1886" y="1015"/>
                    </a:lnTo>
                    <a:lnTo>
                      <a:pt x="1884" y="1007"/>
                    </a:lnTo>
                    <a:lnTo>
                      <a:pt x="1880" y="1003"/>
                    </a:lnTo>
                    <a:lnTo>
                      <a:pt x="1875" y="995"/>
                    </a:lnTo>
                    <a:lnTo>
                      <a:pt x="1872" y="989"/>
                    </a:lnTo>
                    <a:lnTo>
                      <a:pt x="1870" y="988"/>
                    </a:lnTo>
                    <a:lnTo>
                      <a:pt x="1870" y="984"/>
                    </a:lnTo>
                    <a:lnTo>
                      <a:pt x="1868" y="981"/>
                    </a:lnTo>
                    <a:lnTo>
                      <a:pt x="1865" y="979"/>
                    </a:lnTo>
                    <a:lnTo>
                      <a:pt x="1865" y="981"/>
                    </a:lnTo>
                    <a:lnTo>
                      <a:pt x="1863" y="981"/>
                    </a:lnTo>
                    <a:lnTo>
                      <a:pt x="1861" y="979"/>
                    </a:lnTo>
                    <a:lnTo>
                      <a:pt x="1863" y="975"/>
                    </a:lnTo>
                    <a:lnTo>
                      <a:pt x="1861" y="975"/>
                    </a:lnTo>
                    <a:lnTo>
                      <a:pt x="1858" y="972"/>
                    </a:lnTo>
                    <a:lnTo>
                      <a:pt x="1856" y="969"/>
                    </a:lnTo>
                    <a:lnTo>
                      <a:pt x="1854" y="963"/>
                    </a:lnTo>
                    <a:lnTo>
                      <a:pt x="1853" y="962"/>
                    </a:lnTo>
                    <a:lnTo>
                      <a:pt x="1853" y="958"/>
                    </a:lnTo>
                    <a:lnTo>
                      <a:pt x="1853" y="955"/>
                    </a:lnTo>
                    <a:lnTo>
                      <a:pt x="1854" y="955"/>
                    </a:lnTo>
                    <a:lnTo>
                      <a:pt x="1853" y="949"/>
                    </a:lnTo>
                    <a:lnTo>
                      <a:pt x="1853" y="944"/>
                    </a:lnTo>
                    <a:lnTo>
                      <a:pt x="1851" y="941"/>
                    </a:lnTo>
                    <a:lnTo>
                      <a:pt x="1847" y="941"/>
                    </a:lnTo>
                    <a:lnTo>
                      <a:pt x="1844" y="936"/>
                    </a:lnTo>
                    <a:lnTo>
                      <a:pt x="1844" y="934"/>
                    </a:lnTo>
                    <a:lnTo>
                      <a:pt x="1842" y="932"/>
                    </a:lnTo>
                    <a:lnTo>
                      <a:pt x="1842" y="930"/>
                    </a:lnTo>
                    <a:lnTo>
                      <a:pt x="1844" y="930"/>
                    </a:lnTo>
                    <a:lnTo>
                      <a:pt x="1847" y="932"/>
                    </a:lnTo>
                    <a:lnTo>
                      <a:pt x="1851" y="937"/>
                    </a:lnTo>
                    <a:lnTo>
                      <a:pt x="1849" y="934"/>
                    </a:lnTo>
                    <a:lnTo>
                      <a:pt x="1844" y="927"/>
                    </a:lnTo>
                    <a:lnTo>
                      <a:pt x="1841" y="925"/>
                    </a:lnTo>
                    <a:lnTo>
                      <a:pt x="1839" y="925"/>
                    </a:lnTo>
                    <a:lnTo>
                      <a:pt x="1839" y="922"/>
                    </a:lnTo>
                    <a:lnTo>
                      <a:pt x="1832" y="913"/>
                    </a:lnTo>
                    <a:lnTo>
                      <a:pt x="1830" y="911"/>
                    </a:lnTo>
                    <a:lnTo>
                      <a:pt x="1830" y="906"/>
                    </a:lnTo>
                    <a:lnTo>
                      <a:pt x="1827" y="902"/>
                    </a:lnTo>
                    <a:lnTo>
                      <a:pt x="1821" y="901"/>
                    </a:lnTo>
                    <a:lnTo>
                      <a:pt x="1820" y="896"/>
                    </a:lnTo>
                    <a:lnTo>
                      <a:pt x="1818" y="894"/>
                    </a:lnTo>
                    <a:lnTo>
                      <a:pt x="1818" y="896"/>
                    </a:lnTo>
                    <a:lnTo>
                      <a:pt x="1818" y="897"/>
                    </a:lnTo>
                    <a:lnTo>
                      <a:pt x="1818" y="901"/>
                    </a:lnTo>
                    <a:lnTo>
                      <a:pt x="1816" y="901"/>
                    </a:lnTo>
                    <a:lnTo>
                      <a:pt x="1816" y="899"/>
                    </a:lnTo>
                    <a:lnTo>
                      <a:pt x="1811" y="899"/>
                    </a:lnTo>
                    <a:lnTo>
                      <a:pt x="1816" y="904"/>
                    </a:lnTo>
                    <a:lnTo>
                      <a:pt x="1821" y="908"/>
                    </a:lnTo>
                    <a:lnTo>
                      <a:pt x="1823" y="911"/>
                    </a:lnTo>
                    <a:lnTo>
                      <a:pt x="1823" y="913"/>
                    </a:lnTo>
                    <a:lnTo>
                      <a:pt x="1825" y="913"/>
                    </a:lnTo>
                    <a:lnTo>
                      <a:pt x="1827" y="913"/>
                    </a:lnTo>
                    <a:lnTo>
                      <a:pt x="1827" y="913"/>
                    </a:lnTo>
                    <a:lnTo>
                      <a:pt x="1827" y="916"/>
                    </a:lnTo>
                    <a:lnTo>
                      <a:pt x="1823" y="916"/>
                    </a:lnTo>
                    <a:lnTo>
                      <a:pt x="1825" y="918"/>
                    </a:lnTo>
                    <a:lnTo>
                      <a:pt x="1827" y="918"/>
                    </a:lnTo>
                    <a:lnTo>
                      <a:pt x="1827" y="925"/>
                    </a:lnTo>
                    <a:lnTo>
                      <a:pt x="1825" y="925"/>
                    </a:lnTo>
                    <a:lnTo>
                      <a:pt x="1823" y="925"/>
                    </a:lnTo>
                    <a:lnTo>
                      <a:pt x="1820" y="922"/>
                    </a:lnTo>
                    <a:lnTo>
                      <a:pt x="1818" y="925"/>
                    </a:lnTo>
                    <a:lnTo>
                      <a:pt x="1816" y="929"/>
                    </a:lnTo>
                    <a:lnTo>
                      <a:pt x="1820" y="932"/>
                    </a:lnTo>
                    <a:lnTo>
                      <a:pt x="1820" y="936"/>
                    </a:lnTo>
                    <a:lnTo>
                      <a:pt x="1825" y="941"/>
                    </a:lnTo>
                    <a:lnTo>
                      <a:pt x="1827" y="944"/>
                    </a:lnTo>
                    <a:lnTo>
                      <a:pt x="1827" y="953"/>
                    </a:lnTo>
                    <a:lnTo>
                      <a:pt x="1827" y="955"/>
                    </a:lnTo>
                    <a:lnTo>
                      <a:pt x="1830" y="960"/>
                    </a:lnTo>
                    <a:lnTo>
                      <a:pt x="1832" y="969"/>
                    </a:lnTo>
                    <a:lnTo>
                      <a:pt x="1835" y="972"/>
                    </a:lnTo>
                    <a:lnTo>
                      <a:pt x="1839" y="975"/>
                    </a:lnTo>
                    <a:lnTo>
                      <a:pt x="1839" y="975"/>
                    </a:lnTo>
                    <a:lnTo>
                      <a:pt x="1835" y="977"/>
                    </a:lnTo>
                    <a:lnTo>
                      <a:pt x="1844" y="986"/>
                    </a:lnTo>
                    <a:lnTo>
                      <a:pt x="1847" y="988"/>
                    </a:lnTo>
                    <a:lnTo>
                      <a:pt x="1853" y="993"/>
                    </a:lnTo>
                    <a:lnTo>
                      <a:pt x="1853" y="1000"/>
                    </a:lnTo>
                    <a:lnTo>
                      <a:pt x="1853" y="1003"/>
                    </a:lnTo>
                    <a:lnTo>
                      <a:pt x="1856" y="1007"/>
                    </a:lnTo>
                    <a:lnTo>
                      <a:pt x="1856" y="1010"/>
                    </a:lnTo>
                    <a:lnTo>
                      <a:pt x="1858" y="1014"/>
                    </a:lnTo>
                    <a:lnTo>
                      <a:pt x="1861" y="1017"/>
                    </a:lnTo>
                    <a:lnTo>
                      <a:pt x="1861" y="1017"/>
                    </a:lnTo>
                    <a:lnTo>
                      <a:pt x="1861" y="1021"/>
                    </a:lnTo>
                    <a:lnTo>
                      <a:pt x="1863" y="1026"/>
                    </a:lnTo>
                    <a:lnTo>
                      <a:pt x="1865" y="1031"/>
                    </a:lnTo>
                    <a:lnTo>
                      <a:pt x="1867" y="1035"/>
                    </a:lnTo>
                    <a:lnTo>
                      <a:pt x="1867" y="1042"/>
                    </a:lnTo>
                    <a:lnTo>
                      <a:pt x="1868" y="1043"/>
                    </a:lnTo>
                    <a:lnTo>
                      <a:pt x="1868" y="1047"/>
                    </a:lnTo>
                    <a:lnTo>
                      <a:pt x="1868" y="1050"/>
                    </a:lnTo>
                    <a:lnTo>
                      <a:pt x="1872" y="1059"/>
                    </a:lnTo>
                    <a:lnTo>
                      <a:pt x="1870" y="1062"/>
                    </a:lnTo>
                    <a:lnTo>
                      <a:pt x="1872" y="1066"/>
                    </a:lnTo>
                    <a:lnTo>
                      <a:pt x="1875" y="1069"/>
                    </a:lnTo>
                    <a:lnTo>
                      <a:pt x="1880" y="1076"/>
                    </a:lnTo>
                    <a:lnTo>
                      <a:pt x="1880" y="1082"/>
                    </a:lnTo>
                    <a:lnTo>
                      <a:pt x="1884" y="1085"/>
                    </a:lnTo>
                    <a:lnTo>
                      <a:pt x="1884" y="1092"/>
                    </a:lnTo>
                    <a:lnTo>
                      <a:pt x="1884" y="1097"/>
                    </a:lnTo>
                    <a:lnTo>
                      <a:pt x="1886" y="1102"/>
                    </a:lnTo>
                    <a:lnTo>
                      <a:pt x="1889" y="1108"/>
                    </a:lnTo>
                    <a:lnTo>
                      <a:pt x="1891" y="1113"/>
                    </a:lnTo>
                    <a:lnTo>
                      <a:pt x="1893" y="1115"/>
                    </a:lnTo>
                    <a:lnTo>
                      <a:pt x="1891" y="1120"/>
                    </a:lnTo>
                    <a:lnTo>
                      <a:pt x="1891" y="1129"/>
                    </a:lnTo>
                    <a:lnTo>
                      <a:pt x="1893" y="1132"/>
                    </a:lnTo>
                    <a:lnTo>
                      <a:pt x="1896" y="1135"/>
                    </a:lnTo>
                    <a:lnTo>
                      <a:pt x="1898" y="1141"/>
                    </a:lnTo>
                    <a:lnTo>
                      <a:pt x="1903" y="1144"/>
                    </a:lnTo>
                    <a:lnTo>
                      <a:pt x="1903" y="1144"/>
                    </a:lnTo>
                    <a:lnTo>
                      <a:pt x="1903" y="1144"/>
                    </a:lnTo>
                    <a:lnTo>
                      <a:pt x="1903" y="1144"/>
                    </a:lnTo>
                    <a:close/>
                    <a:moveTo>
                      <a:pt x="1729" y="899"/>
                    </a:moveTo>
                    <a:lnTo>
                      <a:pt x="1731" y="899"/>
                    </a:lnTo>
                    <a:lnTo>
                      <a:pt x="1731" y="897"/>
                    </a:lnTo>
                    <a:lnTo>
                      <a:pt x="1731" y="896"/>
                    </a:lnTo>
                    <a:lnTo>
                      <a:pt x="1735" y="897"/>
                    </a:lnTo>
                    <a:lnTo>
                      <a:pt x="1735" y="899"/>
                    </a:lnTo>
                    <a:lnTo>
                      <a:pt x="1738" y="901"/>
                    </a:lnTo>
                    <a:lnTo>
                      <a:pt x="1740" y="897"/>
                    </a:lnTo>
                    <a:lnTo>
                      <a:pt x="1740" y="896"/>
                    </a:lnTo>
                    <a:lnTo>
                      <a:pt x="1740" y="894"/>
                    </a:lnTo>
                    <a:lnTo>
                      <a:pt x="1740" y="894"/>
                    </a:lnTo>
                    <a:lnTo>
                      <a:pt x="1741" y="890"/>
                    </a:lnTo>
                    <a:lnTo>
                      <a:pt x="1741" y="890"/>
                    </a:lnTo>
                    <a:lnTo>
                      <a:pt x="1740" y="890"/>
                    </a:lnTo>
                    <a:lnTo>
                      <a:pt x="1738" y="890"/>
                    </a:lnTo>
                    <a:lnTo>
                      <a:pt x="1736" y="890"/>
                    </a:lnTo>
                    <a:lnTo>
                      <a:pt x="1736" y="890"/>
                    </a:lnTo>
                    <a:lnTo>
                      <a:pt x="1738" y="889"/>
                    </a:lnTo>
                    <a:lnTo>
                      <a:pt x="1738" y="889"/>
                    </a:lnTo>
                    <a:lnTo>
                      <a:pt x="1736" y="885"/>
                    </a:lnTo>
                    <a:lnTo>
                      <a:pt x="1735" y="889"/>
                    </a:lnTo>
                    <a:lnTo>
                      <a:pt x="1731" y="885"/>
                    </a:lnTo>
                    <a:lnTo>
                      <a:pt x="1729" y="889"/>
                    </a:lnTo>
                    <a:lnTo>
                      <a:pt x="1729" y="890"/>
                    </a:lnTo>
                    <a:lnTo>
                      <a:pt x="1726" y="894"/>
                    </a:lnTo>
                    <a:lnTo>
                      <a:pt x="1726" y="896"/>
                    </a:lnTo>
                    <a:lnTo>
                      <a:pt x="1729" y="899"/>
                    </a:lnTo>
                    <a:lnTo>
                      <a:pt x="1729" y="899"/>
                    </a:lnTo>
                    <a:lnTo>
                      <a:pt x="1729" y="899"/>
                    </a:lnTo>
                    <a:lnTo>
                      <a:pt x="1729" y="899"/>
                    </a:lnTo>
                    <a:close/>
                    <a:moveTo>
                      <a:pt x="1717" y="897"/>
                    </a:moveTo>
                    <a:lnTo>
                      <a:pt x="1719" y="896"/>
                    </a:lnTo>
                    <a:lnTo>
                      <a:pt x="1719" y="896"/>
                    </a:lnTo>
                    <a:lnTo>
                      <a:pt x="1721" y="894"/>
                    </a:lnTo>
                    <a:lnTo>
                      <a:pt x="1722" y="896"/>
                    </a:lnTo>
                    <a:lnTo>
                      <a:pt x="1722" y="894"/>
                    </a:lnTo>
                    <a:lnTo>
                      <a:pt x="1722" y="894"/>
                    </a:lnTo>
                    <a:lnTo>
                      <a:pt x="1722" y="890"/>
                    </a:lnTo>
                    <a:lnTo>
                      <a:pt x="1722" y="889"/>
                    </a:lnTo>
                    <a:lnTo>
                      <a:pt x="1722" y="890"/>
                    </a:lnTo>
                    <a:lnTo>
                      <a:pt x="1721" y="890"/>
                    </a:lnTo>
                    <a:lnTo>
                      <a:pt x="1715" y="894"/>
                    </a:lnTo>
                    <a:lnTo>
                      <a:pt x="1715" y="894"/>
                    </a:lnTo>
                    <a:lnTo>
                      <a:pt x="1717" y="897"/>
                    </a:lnTo>
                    <a:lnTo>
                      <a:pt x="1717" y="897"/>
                    </a:lnTo>
                    <a:lnTo>
                      <a:pt x="1717" y="897"/>
                    </a:lnTo>
                    <a:lnTo>
                      <a:pt x="1717" y="897"/>
                    </a:lnTo>
                    <a:close/>
                    <a:moveTo>
                      <a:pt x="1741" y="909"/>
                    </a:moveTo>
                    <a:lnTo>
                      <a:pt x="1741" y="909"/>
                    </a:lnTo>
                    <a:lnTo>
                      <a:pt x="1743" y="908"/>
                    </a:lnTo>
                    <a:lnTo>
                      <a:pt x="1745" y="906"/>
                    </a:lnTo>
                    <a:lnTo>
                      <a:pt x="1743" y="904"/>
                    </a:lnTo>
                    <a:lnTo>
                      <a:pt x="1741" y="906"/>
                    </a:lnTo>
                    <a:lnTo>
                      <a:pt x="1741" y="906"/>
                    </a:lnTo>
                    <a:lnTo>
                      <a:pt x="1741" y="909"/>
                    </a:lnTo>
                    <a:lnTo>
                      <a:pt x="1741" y="909"/>
                    </a:lnTo>
                    <a:lnTo>
                      <a:pt x="1741" y="909"/>
                    </a:lnTo>
                    <a:lnTo>
                      <a:pt x="1741" y="909"/>
                    </a:lnTo>
                    <a:close/>
                    <a:moveTo>
                      <a:pt x="1736" y="904"/>
                    </a:moveTo>
                    <a:lnTo>
                      <a:pt x="1736" y="906"/>
                    </a:lnTo>
                    <a:lnTo>
                      <a:pt x="1738" y="909"/>
                    </a:lnTo>
                    <a:lnTo>
                      <a:pt x="1740" y="908"/>
                    </a:lnTo>
                    <a:lnTo>
                      <a:pt x="1740" y="904"/>
                    </a:lnTo>
                    <a:lnTo>
                      <a:pt x="1738" y="904"/>
                    </a:lnTo>
                    <a:lnTo>
                      <a:pt x="1736" y="904"/>
                    </a:lnTo>
                    <a:lnTo>
                      <a:pt x="1736" y="904"/>
                    </a:lnTo>
                    <a:lnTo>
                      <a:pt x="1736" y="904"/>
                    </a:lnTo>
                    <a:lnTo>
                      <a:pt x="1736" y="904"/>
                    </a:lnTo>
                    <a:close/>
                    <a:moveTo>
                      <a:pt x="1738" y="922"/>
                    </a:moveTo>
                    <a:lnTo>
                      <a:pt x="1740" y="916"/>
                    </a:lnTo>
                    <a:lnTo>
                      <a:pt x="1741" y="916"/>
                    </a:lnTo>
                    <a:lnTo>
                      <a:pt x="1743" y="913"/>
                    </a:lnTo>
                    <a:lnTo>
                      <a:pt x="1741" y="913"/>
                    </a:lnTo>
                    <a:lnTo>
                      <a:pt x="1743" y="911"/>
                    </a:lnTo>
                    <a:lnTo>
                      <a:pt x="1738" y="913"/>
                    </a:lnTo>
                    <a:lnTo>
                      <a:pt x="1735" y="916"/>
                    </a:lnTo>
                    <a:lnTo>
                      <a:pt x="1735" y="918"/>
                    </a:lnTo>
                    <a:lnTo>
                      <a:pt x="1738" y="922"/>
                    </a:lnTo>
                    <a:lnTo>
                      <a:pt x="1738" y="922"/>
                    </a:lnTo>
                    <a:lnTo>
                      <a:pt x="1738" y="922"/>
                    </a:lnTo>
                    <a:lnTo>
                      <a:pt x="1738" y="922"/>
                    </a:lnTo>
                    <a:close/>
                    <a:moveTo>
                      <a:pt x="1868" y="720"/>
                    </a:moveTo>
                    <a:lnTo>
                      <a:pt x="1870" y="722"/>
                    </a:lnTo>
                    <a:lnTo>
                      <a:pt x="1872" y="716"/>
                    </a:lnTo>
                    <a:lnTo>
                      <a:pt x="1874" y="715"/>
                    </a:lnTo>
                    <a:lnTo>
                      <a:pt x="1870" y="715"/>
                    </a:lnTo>
                    <a:lnTo>
                      <a:pt x="1868" y="716"/>
                    </a:lnTo>
                    <a:lnTo>
                      <a:pt x="1868" y="720"/>
                    </a:lnTo>
                    <a:lnTo>
                      <a:pt x="1868" y="720"/>
                    </a:lnTo>
                    <a:lnTo>
                      <a:pt x="1868" y="720"/>
                    </a:lnTo>
                    <a:lnTo>
                      <a:pt x="1868" y="720"/>
                    </a:lnTo>
                    <a:close/>
                    <a:moveTo>
                      <a:pt x="2077" y="697"/>
                    </a:moveTo>
                    <a:lnTo>
                      <a:pt x="2079" y="697"/>
                    </a:lnTo>
                    <a:lnTo>
                      <a:pt x="2077" y="694"/>
                    </a:lnTo>
                    <a:lnTo>
                      <a:pt x="2077" y="692"/>
                    </a:lnTo>
                    <a:lnTo>
                      <a:pt x="2077" y="690"/>
                    </a:lnTo>
                    <a:lnTo>
                      <a:pt x="2077" y="689"/>
                    </a:lnTo>
                    <a:lnTo>
                      <a:pt x="2079" y="683"/>
                    </a:lnTo>
                    <a:lnTo>
                      <a:pt x="2082" y="680"/>
                    </a:lnTo>
                    <a:lnTo>
                      <a:pt x="2085" y="676"/>
                    </a:lnTo>
                    <a:lnTo>
                      <a:pt x="2085" y="676"/>
                    </a:lnTo>
                    <a:lnTo>
                      <a:pt x="2085" y="675"/>
                    </a:lnTo>
                    <a:lnTo>
                      <a:pt x="2085" y="669"/>
                    </a:lnTo>
                    <a:lnTo>
                      <a:pt x="2080" y="663"/>
                    </a:lnTo>
                    <a:lnTo>
                      <a:pt x="2079" y="663"/>
                    </a:lnTo>
                    <a:lnTo>
                      <a:pt x="2077" y="666"/>
                    </a:lnTo>
                    <a:lnTo>
                      <a:pt x="2077" y="666"/>
                    </a:lnTo>
                    <a:lnTo>
                      <a:pt x="2075" y="669"/>
                    </a:lnTo>
                    <a:lnTo>
                      <a:pt x="2070" y="675"/>
                    </a:lnTo>
                    <a:lnTo>
                      <a:pt x="2068" y="675"/>
                    </a:lnTo>
                    <a:lnTo>
                      <a:pt x="2066" y="676"/>
                    </a:lnTo>
                    <a:lnTo>
                      <a:pt x="2068" y="676"/>
                    </a:lnTo>
                    <a:lnTo>
                      <a:pt x="2072" y="675"/>
                    </a:lnTo>
                    <a:lnTo>
                      <a:pt x="2072" y="676"/>
                    </a:lnTo>
                    <a:lnTo>
                      <a:pt x="2072" y="678"/>
                    </a:lnTo>
                    <a:lnTo>
                      <a:pt x="2073" y="685"/>
                    </a:lnTo>
                    <a:lnTo>
                      <a:pt x="2075" y="687"/>
                    </a:lnTo>
                    <a:lnTo>
                      <a:pt x="2075" y="692"/>
                    </a:lnTo>
                    <a:lnTo>
                      <a:pt x="2073" y="694"/>
                    </a:lnTo>
                    <a:lnTo>
                      <a:pt x="2073" y="694"/>
                    </a:lnTo>
                    <a:lnTo>
                      <a:pt x="2077" y="697"/>
                    </a:lnTo>
                    <a:lnTo>
                      <a:pt x="2077" y="697"/>
                    </a:lnTo>
                    <a:lnTo>
                      <a:pt x="2077" y="697"/>
                    </a:lnTo>
                    <a:lnTo>
                      <a:pt x="2077" y="697"/>
                    </a:lnTo>
                    <a:close/>
                    <a:moveTo>
                      <a:pt x="2080" y="975"/>
                    </a:moveTo>
                    <a:lnTo>
                      <a:pt x="2082" y="975"/>
                    </a:lnTo>
                    <a:lnTo>
                      <a:pt x="2084" y="972"/>
                    </a:lnTo>
                    <a:lnTo>
                      <a:pt x="2082" y="970"/>
                    </a:lnTo>
                    <a:lnTo>
                      <a:pt x="2080" y="969"/>
                    </a:lnTo>
                    <a:lnTo>
                      <a:pt x="2079" y="970"/>
                    </a:lnTo>
                    <a:lnTo>
                      <a:pt x="2079" y="972"/>
                    </a:lnTo>
                    <a:lnTo>
                      <a:pt x="2080" y="975"/>
                    </a:lnTo>
                    <a:lnTo>
                      <a:pt x="2080" y="975"/>
                    </a:lnTo>
                    <a:lnTo>
                      <a:pt x="2080" y="975"/>
                    </a:lnTo>
                    <a:lnTo>
                      <a:pt x="2080" y="975"/>
                    </a:lnTo>
                    <a:close/>
                    <a:moveTo>
                      <a:pt x="2063" y="970"/>
                    </a:moveTo>
                    <a:lnTo>
                      <a:pt x="2063" y="972"/>
                    </a:lnTo>
                    <a:lnTo>
                      <a:pt x="2063" y="975"/>
                    </a:lnTo>
                    <a:lnTo>
                      <a:pt x="2066" y="975"/>
                    </a:lnTo>
                    <a:lnTo>
                      <a:pt x="2066" y="972"/>
                    </a:lnTo>
                    <a:lnTo>
                      <a:pt x="2063" y="970"/>
                    </a:lnTo>
                    <a:lnTo>
                      <a:pt x="2063" y="970"/>
                    </a:lnTo>
                    <a:lnTo>
                      <a:pt x="2063" y="970"/>
                    </a:lnTo>
                    <a:lnTo>
                      <a:pt x="2063" y="970"/>
                    </a:lnTo>
                    <a:lnTo>
                      <a:pt x="2063" y="970"/>
                    </a:lnTo>
                    <a:close/>
                    <a:moveTo>
                      <a:pt x="2072" y="1000"/>
                    </a:moveTo>
                    <a:lnTo>
                      <a:pt x="2073" y="1000"/>
                    </a:lnTo>
                    <a:lnTo>
                      <a:pt x="2073" y="995"/>
                    </a:lnTo>
                    <a:lnTo>
                      <a:pt x="2073" y="993"/>
                    </a:lnTo>
                    <a:lnTo>
                      <a:pt x="2077" y="991"/>
                    </a:lnTo>
                    <a:lnTo>
                      <a:pt x="2079" y="988"/>
                    </a:lnTo>
                    <a:lnTo>
                      <a:pt x="2079" y="984"/>
                    </a:lnTo>
                    <a:lnTo>
                      <a:pt x="2079" y="981"/>
                    </a:lnTo>
                    <a:lnTo>
                      <a:pt x="2080" y="979"/>
                    </a:lnTo>
                    <a:lnTo>
                      <a:pt x="2080" y="975"/>
                    </a:lnTo>
                    <a:lnTo>
                      <a:pt x="2073" y="972"/>
                    </a:lnTo>
                    <a:lnTo>
                      <a:pt x="2073" y="975"/>
                    </a:lnTo>
                    <a:lnTo>
                      <a:pt x="2073" y="981"/>
                    </a:lnTo>
                    <a:lnTo>
                      <a:pt x="2073" y="984"/>
                    </a:lnTo>
                    <a:lnTo>
                      <a:pt x="2070" y="986"/>
                    </a:lnTo>
                    <a:lnTo>
                      <a:pt x="2068" y="988"/>
                    </a:lnTo>
                    <a:lnTo>
                      <a:pt x="2066" y="989"/>
                    </a:lnTo>
                    <a:lnTo>
                      <a:pt x="2066" y="989"/>
                    </a:lnTo>
                    <a:lnTo>
                      <a:pt x="2068" y="993"/>
                    </a:lnTo>
                    <a:lnTo>
                      <a:pt x="2068" y="995"/>
                    </a:lnTo>
                    <a:lnTo>
                      <a:pt x="2066" y="995"/>
                    </a:lnTo>
                    <a:lnTo>
                      <a:pt x="2066" y="998"/>
                    </a:lnTo>
                    <a:lnTo>
                      <a:pt x="2070" y="998"/>
                    </a:lnTo>
                    <a:lnTo>
                      <a:pt x="2072" y="1000"/>
                    </a:lnTo>
                    <a:lnTo>
                      <a:pt x="2072" y="1000"/>
                    </a:lnTo>
                    <a:lnTo>
                      <a:pt x="2072" y="1000"/>
                    </a:lnTo>
                    <a:lnTo>
                      <a:pt x="2072" y="1000"/>
                    </a:lnTo>
                    <a:close/>
                    <a:moveTo>
                      <a:pt x="2068" y="1021"/>
                    </a:moveTo>
                    <a:lnTo>
                      <a:pt x="2068" y="1021"/>
                    </a:lnTo>
                    <a:lnTo>
                      <a:pt x="2070" y="1019"/>
                    </a:lnTo>
                    <a:lnTo>
                      <a:pt x="2068" y="1014"/>
                    </a:lnTo>
                    <a:lnTo>
                      <a:pt x="2068" y="1012"/>
                    </a:lnTo>
                    <a:lnTo>
                      <a:pt x="2066" y="1010"/>
                    </a:lnTo>
                    <a:lnTo>
                      <a:pt x="2066" y="1014"/>
                    </a:lnTo>
                    <a:lnTo>
                      <a:pt x="2066" y="1017"/>
                    </a:lnTo>
                    <a:lnTo>
                      <a:pt x="2068" y="1021"/>
                    </a:lnTo>
                    <a:lnTo>
                      <a:pt x="2068" y="1021"/>
                    </a:lnTo>
                    <a:lnTo>
                      <a:pt x="2068" y="1021"/>
                    </a:lnTo>
                    <a:lnTo>
                      <a:pt x="2068" y="1021"/>
                    </a:lnTo>
                    <a:close/>
                    <a:moveTo>
                      <a:pt x="2070" y="1026"/>
                    </a:moveTo>
                    <a:lnTo>
                      <a:pt x="2072" y="1026"/>
                    </a:lnTo>
                    <a:lnTo>
                      <a:pt x="2070" y="1022"/>
                    </a:lnTo>
                    <a:lnTo>
                      <a:pt x="2068" y="1022"/>
                    </a:lnTo>
                    <a:lnTo>
                      <a:pt x="2066" y="1022"/>
                    </a:lnTo>
                    <a:lnTo>
                      <a:pt x="2066" y="1026"/>
                    </a:lnTo>
                    <a:lnTo>
                      <a:pt x="2070" y="1026"/>
                    </a:lnTo>
                    <a:lnTo>
                      <a:pt x="2070" y="1026"/>
                    </a:lnTo>
                    <a:lnTo>
                      <a:pt x="2070" y="1026"/>
                    </a:lnTo>
                    <a:lnTo>
                      <a:pt x="2070" y="1026"/>
                    </a:lnTo>
                    <a:close/>
                    <a:moveTo>
                      <a:pt x="2063" y="1031"/>
                    </a:moveTo>
                    <a:lnTo>
                      <a:pt x="2063" y="1031"/>
                    </a:lnTo>
                    <a:lnTo>
                      <a:pt x="2063" y="1031"/>
                    </a:lnTo>
                    <a:lnTo>
                      <a:pt x="2063" y="1031"/>
                    </a:lnTo>
                    <a:lnTo>
                      <a:pt x="2063" y="1031"/>
                    </a:lnTo>
                    <a:lnTo>
                      <a:pt x="2063" y="1031"/>
                    </a:lnTo>
                    <a:lnTo>
                      <a:pt x="2063" y="1031"/>
                    </a:lnTo>
                    <a:lnTo>
                      <a:pt x="2063" y="1031"/>
                    </a:lnTo>
                    <a:lnTo>
                      <a:pt x="2063" y="1031"/>
                    </a:lnTo>
                    <a:close/>
                    <a:moveTo>
                      <a:pt x="2066" y="1040"/>
                    </a:moveTo>
                    <a:lnTo>
                      <a:pt x="2066" y="1038"/>
                    </a:lnTo>
                    <a:lnTo>
                      <a:pt x="2068" y="1036"/>
                    </a:lnTo>
                    <a:lnTo>
                      <a:pt x="2068" y="1035"/>
                    </a:lnTo>
                    <a:lnTo>
                      <a:pt x="2066" y="1035"/>
                    </a:lnTo>
                    <a:lnTo>
                      <a:pt x="2066" y="1035"/>
                    </a:lnTo>
                    <a:lnTo>
                      <a:pt x="2066" y="1040"/>
                    </a:lnTo>
                    <a:lnTo>
                      <a:pt x="2066" y="1040"/>
                    </a:lnTo>
                    <a:lnTo>
                      <a:pt x="2066" y="1040"/>
                    </a:lnTo>
                    <a:lnTo>
                      <a:pt x="2066" y="1040"/>
                    </a:lnTo>
                    <a:close/>
                    <a:moveTo>
                      <a:pt x="2061" y="1062"/>
                    </a:moveTo>
                    <a:lnTo>
                      <a:pt x="2063" y="1059"/>
                    </a:lnTo>
                    <a:lnTo>
                      <a:pt x="2061" y="1057"/>
                    </a:lnTo>
                    <a:lnTo>
                      <a:pt x="2061" y="1059"/>
                    </a:lnTo>
                    <a:lnTo>
                      <a:pt x="2061" y="1062"/>
                    </a:lnTo>
                    <a:lnTo>
                      <a:pt x="2061" y="1062"/>
                    </a:lnTo>
                    <a:lnTo>
                      <a:pt x="2061" y="1062"/>
                    </a:lnTo>
                    <a:lnTo>
                      <a:pt x="2061" y="1062"/>
                    </a:lnTo>
                    <a:close/>
                    <a:moveTo>
                      <a:pt x="2061" y="1073"/>
                    </a:moveTo>
                    <a:lnTo>
                      <a:pt x="2061" y="1069"/>
                    </a:lnTo>
                    <a:lnTo>
                      <a:pt x="2061" y="1068"/>
                    </a:lnTo>
                    <a:lnTo>
                      <a:pt x="2058" y="1069"/>
                    </a:lnTo>
                    <a:lnTo>
                      <a:pt x="2061" y="1073"/>
                    </a:lnTo>
                    <a:lnTo>
                      <a:pt x="2061" y="1073"/>
                    </a:lnTo>
                    <a:lnTo>
                      <a:pt x="2061" y="1073"/>
                    </a:lnTo>
                    <a:lnTo>
                      <a:pt x="2061" y="1073"/>
                    </a:lnTo>
                    <a:close/>
                    <a:moveTo>
                      <a:pt x="2058" y="1076"/>
                    </a:moveTo>
                    <a:lnTo>
                      <a:pt x="2061" y="1078"/>
                    </a:lnTo>
                    <a:lnTo>
                      <a:pt x="2061" y="1076"/>
                    </a:lnTo>
                    <a:lnTo>
                      <a:pt x="2058" y="1076"/>
                    </a:lnTo>
                    <a:lnTo>
                      <a:pt x="2058" y="1076"/>
                    </a:lnTo>
                    <a:lnTo>
                      <a:pt x="2058" y="1076"/>
                    </a:lnTo>
                    <a:lnTo>
                      <a:pt x="2058" y="1076"/>
                    </a:lnTo>
                    <a:close/>
                    <a:moveTo>
                      <a:pt x="2056" y="1082"/>
                    </a:moveTo>
                    <a:lnTo>
                      <a:pt x="2058" y="1082"/>
                    </a:lnTo>
                    <a:lnTo>
                      <a:pt x="2058" y="1082"/>
                    </a:lnTo>
                    <a:lnTo>
                      <a:pt x="2058" y="1082"/>
                    </a:lnTo>
                    <a:lnTo>
                      <a:pt x="2058" y="1082"/>
                    </a:lnTo>
                    <a:lnTo>
                      <a:pt x="2056" y="1082"/>
                    </a:lnTo>
                    <a:lnTo>
                      <a:pt x="2056" y="1082"/>
                    </a:lnTo>
                    <a:lnTo>
                      <a:pt x="2056" y="1082"/>
                    </a:lnTo>
                    <a:lnTo>
                      <a:pt x="2056" y="1082"/>
                    </a:lnTo>
                    <a:close/>
                    <a:moveTo>
                      <a:pt x="2054" y="1095"/>
                    </a:moveTo>
                    <a:lnTo>
                      <a:pt x="2056" y="1094"/>
                    </a:lnTo>
                    <a:lnTo>
                      <a:pt x="2056" y="1087"/>
                    </a:lnTo>
                    <a:lnTo>
                      <a:pt x="2054" y="1087"/>
                    </a:lnTo>
                    <a:lnTo>
                      <a:pt x="2054" y="1090"/>
                    </a:lnTo>
                    <a:lnTo>
                      <a:pt x="2052" y="1095"/>
                    </a:lnTo>
                    <a:lnTo>
                      <a:pt x="2054" y="1095"/>
                    </a:lnTo>
                    <a:lnTo>
                      <a:pt x="2054" y="1095"/>
                    </a:lnTo>
                    <a:lnTo>
                      <a:pt x="2054" y="1095"/>
                    </a:lnTo>
                    <a:lnTo>
                      <a:pt x="2054" y="1095"/>
                    </a:lnTo>
                    <a:close/>
                    <a:moveTo>
                      <a:pt x="2025" y="1135"/>
                    </a:moveTo>
                    <a:lnTo>
                      <a:pt x="2026" y="1135"/>
                    </a:lnTo>
                    <a:lnTo>
                      <a:pt x="2030" y="1132"/>
                    </a:lnTo>
                    <a:lnTo>
                      <a:pt x="2032" y="1127"/>
                    </a:lnTo>
                    <a:lnTo>
                      <a:pt x="2035" y="1125"/>
                    </a:lnTo>
                    <a:lnTo>
                      <a:pt x="2035" y="1122"/>
                    </a:lnTo>
                    <a:lnTo>
                      <a:pt x="2035" y="1118"/>
                    </a:lnTo>
                    <a:lnTo>
                      <a:pt x="2039" y="1113"/>
                    </a:lnTo>
                    <a:lnTo>
                      <a:pt x="2039" y="1115"/>
                    </a:lnTo>
                    <a:lnTo>
                      <a:pt x="2033" y="1115"/>
                    </a:lnTo>
                    <a:lnTo>
                      <a:pt x="2032" y="1118"/>
                    </a:lnTo>
                    <a:lnTo>
                      <a:pt x="2032" y="1120"/>
                    </a:lnTo>
                    <a:lnTo>
                      <a:pt x="2030" y="1123"/>
                    </a:lnTo>
                    <a:lnTo>
                      <a:pt x="2028" y="1125"/>
                    </a:lnTo>
                    <a:lnTo>
                      <a:pt x="2028" y="1127"/>
                    </a:lnTo>
                    <a:lnTo>
                      <a:pt x="2025" y="1130"/>
                    </a:lnTo>
                    <a:lnTo>
                      <a:pt x="2025" y="1135"/>
                    </a:lnTo>
                    <a:lnTo>
                      <a:pt x="2025" y="1135"/>
                    </a:lnTo>
                    <a:lnTo>
                      <a:pt x="2025" y="1135"/>
                    </a:lnTo>
                    <a:lnTo>
                      <a:pt x="2025" y="1135"/>
                    </a:lnTo>
                    <a:close/>
                    <a:moveTo>
                      <a:pt x="1993" y="1172"/>
                    </a:moveTo>
                    <a:lnTo>
                      <a:pt x="1993" y="1172"/>
                    </a:lnTo>
                    <a:lnTo>
                      <a:pt x="1995" y="1169"/>
                    </a:lnTo>
                    <a:lnTo>
                      <a:pt x="1997" y="1167"/>
                    </a:lnTo>
                    <a:lnTo>
                      <a:pt x="1997" y="1162"/>
                    </a:lnTo>
                    <a:lnTo>
                      <a:pt x="1999" y="1160"/>
                    </a:lnTo>
                    <a:lnTo>
                      <a:pt x="1999" y="1158"/>
                    </a:lnTo>
                    <a:lnTo>
                      <a:pt x="2000" y="1156"/>
                    </a:lnTo>
                    <a:lnTo>
                      <a:pt x="2002" y="1158"/>
                    </a:lnTo>
                    <a:lnTo>
                      <a:pt x="2004" y="1155"/>
                    </a:lnTo>
                    <a:lnTo>
                      <a:pt x="2007" y="1149"/>
                    </a:lnTo>
                    <a:lnTo>
                      <a:pt x="2011" y="1146"/>
                    </a:lnTo>
                    <a:lnTo>
                      <a:pt x="2013" y="1146"/>
                    </a:lnTo>
                    <a:lnTo>
                      <a:pt x="2016" y="1144"/>
                    </a:lnTo>
                    <a:lnTo>
                      <a:pt x="2016" y="1141"/>
                    </a:lnTo>
                    <a:lnTo>
                      <a:pt x="2016" y="1135"/>
                    </a:lnTo>
                    <a:lnTo>
                      <a:pt x="2013" y="1137"/>
                    </a:lnTo>
                    <a:lnTo>
                      <a:pt x="2011" y="1141"/>
                    </a:lnTo>
                    <a:lnTo>
                      <a:pt x="2009" y="1144"/>
                    </a:lnTo>
                    <a:lnTo>
                      <a:pt x="2007" y="1144"/>
                    </a:lnTo>
                    <a:lnTo>
                      <a:pt x="2004" y="1146"/>
                    </a:lnTo>
                    <a:lnTo>
                      <a:pt x="2002" y="1146"/>
                    </a:lnTo>
                    <a:lnTo>
                      <a:pt x="2002" y="1144"/>
                    </a:lnTo>
                    <a:lnTo>
                      <a:pt x="2000" y="1144"/>
                    </a:lnTo>
                    <a:lnTo>
                      <a:pt x="1999" y="1146"/>
                    </a:lnTo>
                    <a:lnTo>
                      <a:pt x="2000" y="1148"/>
                    </a:lnTo>
                    <a:lnTo>
                      <a:pt x="1999" y="1151"/>
                    </a:lnTo>
                    <a:lnTo>
                      <a:pt x="1997" y="1155"/>
                    </a:lnTo>
                    <a:lnTo>
                      <a:pt x="1995" y="1155"/>
                    </a:lnTo>
                    <a:lnTo>
                      <a:pt x="1995" y="1156"/>
                    </a:lnTo>
                    <a:lnTo>
                      <a:pt x="1995" y="1160"/>
                    </a:lnTo>
                    <a:lnTo>
                      <a:pt x="1993" y="1162"/>
                    </a:lnTo>
                    <a:lnTo>
                      <a:pt x="1993" y="1163"/>
                    </a:lnTo>
                    <a:lnTo>
                      <a:pt x="1993" y="1163"/>
                    </a:lnTo>
                    <a:lnTo>
                      <a:pt x="1993" y="1167"/>
                    </a:lnTo>
                    <a:lnTo>
                      <a:pt x="1993" y="1169"/>
                    </a:lnTo>
                    <a:lnTo>
                      <a:pt x="1993" y="1172"/>
                    </a:lnTo>
                    <a:lnTo>
                      <a:pt x="1993" y="1172"/>
                    </a:lnTo>
                    <a:lnTo>
                      <a:pt x="1993" y="1172"/>
                    </a:lnTo>
                    <a:lnTo>
                      <a:pt x="1993" y="1172"/>
                    </a:lnTo>
                    <a:close/>
                    <a:moveTo>
                      <a:pt x="1978" y="1195"/>
                    </a:moveTo>
                    <a:lnTo>
                      <a:pt x="1978" y="1195"/>
                    </a:lnTo>
                    <a:lnTo>
                      <a:pt x="1978" y="1191"/>
                    </a:lnTo>
                    <a:lnTo>
                      <a:pt x="1980" y="1182"/>
                    </a:lnTo>
                    <a:lnTo>
                      <a:pt x="1981" y="1181"/>
                    </a:lnTo>
                    <a:lnTo>
                      <a:pt x="1985" y="1177"/>
                    </a:lnTo>
                    <a:lnTo>
                      <a:pt x="1985" y="1174"/>
                    </a:lnTo>
                    <a:lnTo>
                      <a:pt x="1985" y="1174"/>
                    </a:lnTo>
                    <a:lnTo>
                      <a:pt x="1981" y="1174"/>
                    </a:lnTo>
                    <a:lnTo>
                      <a:pt x="1981" y="1174"/>
                    </a:lnTo>
                    <a:lnTo>
                      <a:pt x="1980" y="1172"/>
                    </a:lnTo>
                    <a:lnTo>
                      <a:pt x="1978" y="1172"/>
                    </a:lnTo>
                    <a:lnTo>
                      <a:pt x="1978" y="1177"/>
                    </a:lnTo>
                    <a:lnTo>
                      <a:pt x="1976" y="1181"/>
                    </a:lnTo>
                    <a:lnTo>
                      <a:pt x="1976" y="1186"/>
                    </a:lnTo>
                    <a:lnTo>
                      <a:pt x="1974" y="1189"/>
                    </a:lnTo>
                    <a:lnTo>
                      <a:pt x="1976" y="1191"/>
                    </a:lnTo>
                    <a:lnTo>
                      <a:pt x="1978" y="1195"/>
                    </a:lnTo>
                    <a:lnTo>
                      <a:pt x="1978" y="1195"/>
                    </a:lnTo>
                    <a:lnTo>
                      <a:pt x="1978" y="1195"/>
                    </a:lnTo>
                    <a:lnTo>
                      <a:pt x="1978" y="1195"/>
                    </a:lnTo>
                    <a:close/>
                    <a:moveTo>
                      <a:pt x="33" y="922"/>
                    </a:moveTo>
                    <a:lnTo>
                      <a:pt x="33" y="922"/>
                    </a:lnTo>
                    <a:lnTo>
                      <a:pt x="33" y="925"/>
                    </a:lnTo>
                    <a:lnTo>
                      <a:pt x="37" y="925"/>
                    </a:lnTo>
                    <a:lnTo>
                      <a:pt x="37" y="925"/>
                    </a:lnTo>
                    <a:lnTo>
                      <a:pt x="33" y="922"/>
                    </a:lnTo>
                    <a:lnTo>
                      <a:pt x="33" y="922"/>
                    </a:lnTo>
                    <a:lnTo>
                      <a:pt x="33" y="922"/>
                    </a:lnTo>
                    <a:close/>
                  </a:path>
                </a:pathLst>
              </a:custGeom>
              <a:solidFill>
                <a:srgbClr val="BDBD00"/>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636" name="Groupe 219"/>
              <p:cNvGrpSpPr/>
              <p:nvPr/>
            </p:nvGrpSpPr>
            <p:grpSpPr>
              <a:xfrm>
                <a:off x="4556125" y="1839913"/>
                <a:ext cx="601663" cy="736600"/>
                <a:chOff x="4556125" y="1839913"/>
                <a:chExt cx="601663" cy="736600"/>
              </a:xfrm>
            </p:grpSpPr>
            <p:sp>
              <p:nvSpPr>
                <p:cNvPr id="656" name="Freeform 8"/>
                <p:cNvSpPr>
                  <a:spLocks noEditPoints="1"/>
                </p:cNvSpPr>
                <p:nvPr/>
              </p:nvSpPr>
              <p:spPr bwMode="auto">
                <a:xfrm>
                  <a:off x="4556125" y="1839913"/>
                  <a:ext cx="549275" cy="635000"/>
                </a:xfrm>
                <a:custGeom>
                  <a:avLst/>
                  <a:gdLst/>
                  <a:ahLst/>
                  <a:cxnLst>
                    <a:cxn ang="0">
                      <a:pos x="329" y="45"/>
                    </a:cxn>
                    <a:cxn ang="0">
                      <a:pos x="343" y="21"/>
                    </a:cxn>
                    <a:cxn ang="0">
                      <a:pos x="310" y="11"/>
                    </a:cxn>
                    <a:cxn ang="0">
                      <a:pos x="296" y="14"/>
                    </a:cxn>
                    <a:cxn ang="0">
                      <a:pos x="287" y="11"/>
                    </a:cxn>
                    <a:cxn ang="0">
                      <a:pos x="270" y="14"/>
                    </a:cxn>
                    <a:cxn ang="0">
                      <a:pos x="258" y="11"/>
                    </a:cxn>
                    <a:cxn ang="0">
                      <a:pos x="240" y="32"/>
                    </a:cxn>
                    <a:cxn ang="0">
                      <a:pos x="214" y="42"/>
                    </a:cxn>
                    <a:cxn ang="0">
                      <a:pos x="200" y="65"/>
                    </a:cxn>
                    <a:cxn ang="0">
                      <a:pos x="186" y="70"/>
                    </a:cxn>
                    <a:cxn ang="0">
                      <a:pos x="164" y="78"/>
                    </a:cxn>
                    <a:cxn ang="0">
                      <a:pos x="165" y="96"/>
                    </a:cxn>
                    <a:cxn ang="0">
                      <a:pos x="141" y="108"/>
                    </a:cxn>
                    <a:cxn ang="0">
                      <a:pos x="143" y="131"/>
                    </a:cxn>
                    <a:cxn ang="0">
                      <a:pos x="124" y="143"/>
                    </a:cxn>
                    <a:cxn ang="0">
                      <a:pos x="112" y="164"/>
                    </a:cxn>
                    <a:cxn ang="0">
                      <a:pos x="108" y="186"/>
                    </a:cxn>
                    <a:cxn ang="0">
                      <a:pos x="96" y="209"/>
                    </a:cxn>
                    <a:cxn ang="0">
                      <a:pos x="73" y="238"/>
                    </a:cxn>
                    <a:cxn ang="0">
                      <a:pos x="92" y="240"/>
                    </a:cxn>
                    <a:cxn ang="0">
                      <a:pos x="66" y="252"/>
                    </a:cxn>
                    <a:cxn ang="0">
                      <a:pos x="46" y="261"/>
                    </a:cxn>
                    <a:cxn ang="0">
                      <a:pos x="44" y="273"/>
                    </a:cxn>
                    <a:cxn ang="0">
                      <a:pos x="25" y="284"/>
                    </a:cxn>
                    <a:cxn ang="0">
                      <a:pos x="25" y="298"/>
                    </a:cxn>
                    <a:cxn ang="0">
                      <a:pos x="6" y="311"/>
                    </a:cxn>
                    <a:cxn ang="0">
                      <a:pos x="39" y="315"/>
                    </a:cxn>
                    <a:cxn ang="0">
                      <a:pos x="7" y="322"/>
                    </a:cxn>
                    <a:cxn ang="0">
                      <a:pos x="28" y="332"/>
                    </a:cxn>
                    <a:cxn ang="0">
                      <a:pos x="14" y="353"/>
                    </a:cxn>
                    <a:cxn ang="0">
                      <a:pos x="25" y="378"/>
                    </a:cxn>
                    <a:cxn ang="0">
                      <a:pos x="46" y="397"/>
                    </a:cxn>
                    <a:cxn ang="0">
                      <a:pos x="68" y="362"/>
                    </a:cxn>
                    <a:cxn ang="0">
                      <a:pos x="86" y="348"/>
                    </a:cxn>
                    <a:cxn ang="0">
                      <a:pos x="112" y="339"/>
                    </a:cxn>
                    <a:cxn ang="0">
                      <a:pos x="124" y="228"/>
                    </a:cxn>
                    <a:cxn ang="0">
                      <a:pos x="157" y="115"/>
                    </a:cxn>
                    <a:cxn ang="0">
                      <a:pos x="200" y="89"/>
                    </a:cxn>
                    <a:cxn ang="0">
                      <a:pos x="247" y="82"/>
                    </a:cxn>
                    <a:cxn ang="0">
                      <a:pos x="292" y="38"/>
                    </a:cxn>
                    <a:cxn ang="0">
                      <a:pos x="6" y="350"/>
                    </a:cxn>
                    <a:cxn ang="0">
                      <a:pos x="0" y="325"/>
                    </a:cxn>
                    <a:cxn ang="0">
                      <a:pos x="0" y="334"/>
                    </a:cxn>
                    <a:cxn ang="0">
                      <a:pos x="2" y="292"/>
                    </a:cxn>
                    <a:cxn ang="0">
                      <a:pos x="47" y="258"/>
                    </a:cxn>
                    <a:cxn ang="0">
                      <a:pos x="51" y="252"/>
                    </a:cxn>
                    <a:cxn ang="0">
                      <a:pos x="86" y="209"/>
                    </a:cxn>
                    <a:cxn ang="0">
                      <a:pos x="105" y="176"/>
                    </a:cxn>
                    <a:cxn ang="0">
                      <a:pos x="103" y="120"/>
                    </a:cxn>
                    <a:cxn ang="0">
                      <a:pos x="117" y="105"/>
                    </a:cxn>
                    <a:cxn ang="0">
                      <a:pos x="134" y="89"/>
                    </a:cxn>
                    <a:cxn ang="0">
                      <a:pos x="143" y="77"/>
                    </a:cxn>
                    <a:cxn ang="0">
                      <a:pos x="148" y="89"/>
                    </a:cxn>
                    <a:cxn ang="0">
                      <a:pos x="169" y="66"/>
                    </a:cxn>
                    <a:cxn ang="0">
                      <a:pos x="169" y="66"/>
                    </a:cxn>
                    <a:cxn ang="0">
                      <a:pos x="178" y="44"/>
                    </a:cxn>
                    <a:cxn ang="0">
                      <a:pos x="188" y="44"/>
                    </a:cxn>
                    <a:cxn ang="0">
                      <a:pos x="205" y="38"/>
                    </a:cxn>
                    <a:cxn ang="0">
                      <a:pos x="233" y="32"/>
                    </a:cxn>
                    <a:cxn ang="0">
                      <a:pos x="240" y="23"/>
                    </a:cxn>
                    <a:cxn ang="0">
                      <a:pos x="259" y="7"/>
                    </a:cxn>
                  </a:cxnLst>
                  <a:rect l="0" t="0" r="r" b="b"/>
                  <a:pathLst>
                    <a:path w="346" h="400">
                      <a:moveTo>
                        <a:pt x="320" y="72"/>
                      </a:moveTo>
                      <a:lnTo>
                        <a:pt x="324" y="70"/>
                      </a:lnTo>
                      <a:lnTo>
                        <a:pt x="324" y="65"/>
                      </a:lnTo>
                      <a:lnTo>
                        <a:pt x="327" y="61"/>
                      </a:lnTo>
                      <a:lnTo>
                        <a:pt x="331" y="61"/>
                      </a:lnTo>
                      <a:lnTo>
                        <a:pt x="334" y="58"/>
                      </a:lnTo>
                      <a:lnTo>
                        <a:pt x="332" y="52"/>
                      </a:lnTo>
                      <a:lnTo>
                        <a:pt x="336" y="51"/>
                      </a:lnTo>
                      <a:lnTo>
                        <a:pt x="339" y="52"/>
                      </a:lnTo>
                      <a:lnTo>
                        <a:pt x="343" y="51"/>
                      </a:lnTo>
                      <a:lnTo>
                        <a:pt x="341" y="47"/>
                      </a:lnTo>
                      <a:lnTo>
                        <a:pt x="341" y="45"/>
                      </a:lnTo>
                      <a:lnTo>
                        <a:pt x="337" y="44"/>
                      </a:lnTo>
                      <a:lnTo>
                        <a:pt x="337" y="44"/>
                      </a:lnTo>
                      <a:lnTo>
                        <a:pt x="336" y="45"/>
                      </a:lnTo>
                      <a:lnTo>
                        <a:pt x="336" y="47"/>
                      </a:lnTo>
                      <a:lnTo>
                        <a:pt x="334" y="45"/>
                      </a:lnTo>
                      <a:lnTo>
                        <a:pt x="332" y="44"/>
                      </a:lnTo>
                      <a:lnTo>
                        <a:pt x="331" y="44"/>
                      </a:lnTo>
                      <a:lnTo>
                        <a:pt x="332" y="45"/>
                      </a:lnTo>
                      <a:lnTo>
                        <a:pt x="331" y="49"/>
                      </a:lnTo>
                      <a:lnTo>
                        <a:pt x="329" y="49"/>
                      </a:lnTo>
                      <a:lnTo>
                        <a:pt x="329" y="45"/>
                      </a:lnTo>
                      <a:lnTo>
                        <a:pt x="327" y="47"/>
                      </a:lnTo>
                      <a:lnTo>
                        <a:pt x="327" y="49"/>
                      </a:lnTo>
                      <a:lnTo>
                        <a:pt x="324" y="47"/>
                      </a:lnTo>
                      <a:lnTo>
                        <a:pt x="324" y="44"/>
                      </a:lnTo>
                      <a:lnTo>
                        <a:pt x="324" y="42"/>
                      </a:lnTo>
                      <a:lnTo>
                        <a:pt x="322" y="38"/>
                      </a:lnTo>
                      <a:lnTo>
                        <a:pt x="320" y="38"/>
                      </a:lnTo>
                      <a:lnTo>
                        <a:pt x="315" y="38"/>
                      </a:lnTo>
                      <a:lnTo>
                        <a:pt x="315" y="38"/>
                      </a:lnTo>
                      <a:lnTo>
                        <a:pt x="310" y="38"/>
                      </a:lnTo>
                      <a:lnTo>
                        <a:pt x="308" y="33"/>
                      </a:lnTo>
                      <a:lnTo>
                        <a:pt x="310" y="33"/>
                      </a:lnTo>
                      <a:lnTo>
                        <a:pt x="315" y="37"/>
                      </a:lnTo>
                      <a:lnTo>
                        <a:pt x="318" y="33"/>
                      </a:lnTo>
                      <a:lnTo>
                        <a:pt x="322" y="37"/>
                      </a:lnTo>
                      <a:lnTo>
                        <a:pt x="327" y="37"/>
                      </a:lnTo>
                      <a:lnTo>
                        <a:pt x="332" y="33"/>
                      </a:lnTo>
                      <a:lnTo>
                        <a:pt x="336" y="30"/>
                      </a:lnTo>
                      <a:lnTo>
                        <a:pt x="343" y="28"/>
                      </a:lnTo>
                      <a:lnTo>
                        <a:pt x="346" y="25"/>
                      </a:lnTo>
                      <a:lnTo>
                        <a:pt x="346" y="25"/>
                      </a:lnTo>
                      <a:lnTo>
                        <a:pt x="344" y="23"/>
                      </a:lnTo>
                      <a:lnTo>
                        <a:pt x="343" y="21"/>
                      </a:lnTo>
                      <a:lnTo>
                        <a:pt x="341" y="21"/>
                      </a:lnTo>
                      <a:lnTo>
                        <a:pt x="337" y="21"/>
                      </a:lnTo>
                      <a:lnTo>
                        <a:pt x="332" y="18"/>
                      </a:lnTo>
                      <a:lnTo>
                        <a:pt x="331" y="18"/>
                      </a:lnTo>
                      <a:lnTo>
                        <a:pt x="327" y="21"/>
                      </a:lnTo>
                      <a:lnTo>
                        <a:pt x="327" y="21"/>
                      </a:lnTo>
                      <a:lnTo>
                        <a:pt x="327" y="19"/>
                      </a:lnTo>
                      <a:lnTo>
                        <a:pt x="329" y="18"/>
                      </a:lnTo>
                      <a:lnTo>
                        <a:pt x="329" y="16"/>
                      </a:lnTo>
                      <a:lnTo>
                        <a:pt x="327" y="14"/>
                      </a:lnTo>
                      <a:lnTo>
                        <a:pt x="324" y="14"/>
                      </a:lnTo>
                      <a:lnTo>
                        <a:pt x="324" y="14"/>
                      </a:lnTo>
                      <a:lnTo>
                        <a:pt x="322" y="18"/>
                      </a:lnTo>
                      <a:lnTo>
                        <a:pt x="320" y="18"/>
                      </a:lnTo>
                      <a:lnTo>
                        <a:pt x="320" y="14"/>
                      </a:lnTo>
                      <a:lnTo>
                        <a:pt x="318" y="14"/>
                      </a:lnTo>
                      <a:lnTo>
                        <a:pt x="315" y="18"/>
                      </a:lnTo>
                      <a:lnTo>
                        <a:pt x="315" y="18"/>
                      </a:lnTo>
                      <a:lnTo>
                        <a:pt x="315" y="14"/>
                      </a:lnTo>
                      <a:lnTo>
                        <a:pt x="315" y="14"/>
                      </a:lnTo>
                      <a:lnTo>
                        <a:pt x="315" y="11"/>
                      </a:lnTo>
                      <a:lnTo>
                        <a:pt x="313" y="11"/>
                      </a:lnTo>
                      <a:lnTo>
                        <a:pt x="310" y="11"/>
                      </a:lnTo>
                      <a:lnTo>
                        <a:pt x="308" y="11"/>
                      </a:lnTo>
                      <a:lnTo>
                        <a:pt x="308" y="16"/>
                      </a:lnTo>
                      <a:lnTo>
                        <a:pt x="304" y="16"/>
                      </a:lnTo>
                      <a:lnTo>
                        <a:pt x="304" y="18"/>
                      </a:lnTo>
                      <a:lnTo>
                        <a:pt x="308" y="23"/>
                      </a:lnTo>
                      <a:lnTo>
                        <a:pt x="306" y="25"/>
                      </a:lnTo>
                      <a:lnTo>
                        <a:pt x="304" y="26"/>
                      </a:lnTo>
                      <a:lnTo>
                        <a:pt x="304" y="25"/>
                      </a:lnTo>
                      <a:lnTo>
                        <a:pt x="301" y="25"/>
                      </a:lnTo>
                      <a:lnTo>
                        <a:pt x="301" y="25"/>
                      </a:lnTo>
                      <a:lnTo>
                        <a:pt x="298" y="25"/>
                      </a:lnTo>
                      <a:lnTo>
                        <a:pt x="296" y="26"/>
                      </a:lnTo>
                      <a:lnTo>
                        <a:pt x="298" y="21"/>
                      </a:lnTo>
                      <a:lnTo>
                        <a:pt x="301" y="21"/>
                      </a:lnTo>
                      <a:lnTo>
                        <a:pt x="301" y="18"/>
                      </a:lnTo>
                      <a:lnTo>
                        <a:pt x="301" y="16"/>
                      </a:lnTo>
                      <a:lnTo>
                        <a:pt x="301" y="16"/>
                      </a:lnTo>
                      <a:lnTo>
                        <a:pt x="296" y="19"/>
                      </a:lnTo>
                      <a:lnTo>
                        <a:pt x="296" y="18"/>
                      </a:lnTo>
                      <a:lnTo>
                        <a:pt x="296" y="16"/>
                      </a:lnTo>
                      <a:lnTo>
                        <a:pt x="296" y="14"/>
                      </a:lnTo>
                      <a:lnTo>
                        <a:pt x="298" y="14"/>
                      </a:lnTo>
                      <a:lnTo>
                        <a:pt x="296" y="14"/>
                      </a:lnTo>
                      <a:lnTo>
                        <a:pt x="292" y="11"/>
                      </a:lnTo>
                      <a:lnTo>
                        <a:pt x="296" y="11"/>
                      </a:lnTo>
                      <a:lnTo>
                        <a:pt x="298" y="11"/>
                      </a:lnTo>
                      <a:lnTo>
                        <a:pt x="301" y="11"/>
                      </a:lnTo>
                      <a:lnTo>
                        <a:pt x="304" y="7"/>
                      </a:lnTo>
                      <a:lnTo>
                        <a:pt x="304" y="5"/>
                      </a:lnTo>
                      <a:lnTo>
                        <a:pt x="301" y="5"/>
                      </a:lnTo>
                      <a:lnTo>
                        <a:pt x="298" y="5"/>
                      </a:lnTo>
                      <a:lnTo>
                        <a:pt x="298" y="2"/>
                      </a:lnTo>
                      <a:lnTo>
                        <a:pt x="298" y="0"/>
                      </a:lnTo>
                      <a:lnTo>
                        <a:pt x="296" y="2"/>
                      </a:lnTo>
                      <a:lnTo>
                        <a:pt x="292" y="2"/>
                      </a:lnTo>
                      <a:lnTo>
                        <a:pt x="292" y="0"/>
                      </a:lnTo>
                      <a:lnTo>
                        <a:pt x="289" y="2"/>
                      </a:lnTo>
                      <a:lnTo>
                        <a:pt x="289" y="2"/>
                      </a:lnTo>
                      <a:lnTo>
                        <a:pt x="292" y="7"/>
                      </a:lnTo>
                      <a:lnTo>
                        <a:pt x="291" y="9"/>
                      </a:lnTo>
                      <a:lnTo>
                        <a:pt x="289" y="9"/>
                      </a:lnTo>
                      <a:lnTo>
                        <a:pt x="285" y="5"/>
                      </a:lnTo>
                      <a:lnTo>
                        <a:pt x="284" y="7"/>
                      </a:lnTo>
                      <a:lnTo>
                        <a:pt x="284" y="9"/>
                      </a:lnTo>
                      <a:lnTo>
                        <a:pt x="284" y="11"/>
                      </a:lnTo>
                      <a:lnTo>
                        <a:pt x="287" y="11"/>
                      </a:lnTo>
                      <a:lnTo>
                        <a:pt x="289" y="11"/>
                      </a:lnTo>
                      <a:lnTo>
                        <a:pt x="289" y="14"/>
                      </a:lnTo>
                      <a:lnTo>
                        <a:pt x="285" y="14"/>
                      </a:lnTo>
                      <a:lnTo>
                        <a:pt x="285" y="16"/>
                      </a:lnTo>
                      <a:lnTo>
                        <a:pt x="284" y="16"/>
                      </a:lnTo>
                      <a:lnTo>
                        <a:pt x="284" y="19"/>
                      </a:lnTo>
                      <a:lnTo>
                        <a:pt x="284" y="19"/>
                      </a:lnTo>
                      <a:lnTo>
                        <a:pt x="282" y="21"/>
                      </a:lnTo>
                      <a:lnTo>
                        <a:pt x="284" y="25"/>
                      </a:lnTo>
                      <a:lnTo>
                        <a:pt x="282" y="26"/>
                      </a:lnTo>
                      <a:lnTo>
                        <a:pt x="282" y="25"/>
                      </a:lnTo>
                      <a:lnTo>
                        <a:pt x="278" y="26"/>
                      </a:lnTo>
                      <a:lnTo>
                        <a:pt x="277" y="28"/>
                      </a:lnTo>
                      <a:lnTo>
                        <a:pt x="275" y="30"/>
                      </a:lnTo>
                      <a:lnTo>
                        <a:pt x="275" y="26"/>
                      </a:lnTo>
                      <a:lnTo>
                        <a:pt x="278" y="19"/>
                      </a:lnTo>
                      <a:lnTo>
                        <a:pt x="275" y="18"/>
                      </a:lnTo>
                      <a:lnTo>
                        <a:pt x="275" y="18"/>
                      </a:lnTo>
                      <a:lnTo>
                        <a:pt x="277" y="14"/>
                      </a:lnTo>
                      <a:lnTo>
                        <a:pt x="277" y="11"/>
                      </a:lnTo>
                      <a:lnTo>
                        <a:pt x="277" y="9"/>
                      </a:lnTo>
                      <a:lnTo>
                        <a:pt x="275" y="9"/>
                      </a:lnTo>
                      <a:lnTo>
                        <a:pt x="270" y="14"/>
                      </a:lnTo>
                      <a:lnTo>
                        <a:pt x="270" y="19"/>
                      </a:lnTo>
                      <a:lnTo>
                        <a:pt x="266" y="26"/>
                      </a:lnTo>
                      <a:lnTo>
                        <a:pt x="266" y="30"/>
                      </a:lnTo>
                      <a:lnTo>
                        <a:pt x="266" y="32"/>
                      </a:lnTo>
                      <a:lnTo>
                        <a:pt x="266" y="33"/>
                      </a:lnTo>
                      <a:lnTo>
                        <a:pt x="261" y="38"/>
                      </a:lnTo>
                      <a:lnTo>
                        <a:pt x="259" y="42"/>
                      </a:lnTo>
                      <a:lnTo>
                        <a:pt x="259" y="38"/>
                      </a:lnTo>
                      <a:lnTo>
                        <a:pt x="258" y="37"/>
                      </a:lnTo>
                      <a:lnTo>
                        <a:pt x="261" y="32"/>
                      </a:lnTo>
                      <a:lnTo>
                        <a:pt x="261" y="28"/>
                      </a:lnTo>
                      <a:lnTo>
                        <a:pt x="263" y="26"/>
                      </a:lnTo>
                      <a:lnTo>
                        <a:pt x="261" y="23"/>
                      </a:lnTo>
                      <a:lnTo>
                        <a:pt x="266" y="18"/>
                      </a:lnTo>
                      <a:lnTo>
                        <a:pt x="266" y="14"/>
                      </a:lnTo>
                      <a:lnTo>
                        <a:pt x="268" y="14"/>
                      </a:lnTo>
                      <a:lnTo>
                        <a:pt x="268" y="11"/>
                      </a:lnTo>
                      <a:lnTo>
                        <a:pt x="265" y="11"/>
                      </a:lnTo>
                      <a:lnTo>
                        <a:pt x="261" y="9"/>
                      </a:lnTo>
                      <a:lnTo>
                        <a:pt x="259" y="11"/>
                      </a:lnTo>
                      <a:lnTo>
                        <a:pt x="261" y="11"/>
                      </a:lnTo>
                      <a:lnTo>
                        <a:pt x="259" y="14"/>
                      </a:lnTo>
                      <a:lnTo>
                        <a:pt x="258" y="11"/>
                      </a:lnTo>
                      <a:lnTo>
                        <a:pt x="256" y="11"/>
                      </a:lnTo>
                      <a:lnTo>
                        <a:pt x="252" y="9"/>
                      </a:lnTo>
                      <a:lnTo>
                        <a:pt x="251" y="11"/>
                      </a:lnTo>
                      <a:lnTo>
                        <a:pt x="251" y="14"/>
                      </a:lnTo>
                      <a:lnTo>
                        <a:pt x="251" y="16"/>
                      </a:lnTo>
                      <a:lnTo>
                        <a:pt x="251" y="14"/>
                      </a:lnTo>
                      <a:lnTo>
                        <a:pt x="247" y="14"/>
                      </a:lnTo>
                      <a:lnTo>
                        <a:pt x="247" y="14"/>
                      </a:lnTo>
                      <a:lnTo>
                        <a:pt x="247" y="16"/>
                      </a:lnTo>
                      <a:lnTo>
                        <a:pt x="251" y="18"/>
                      </a:lnTo>
                      <a:lnTo>
                        <a:pt x="251" y="21"/>
                      </a:lnTo>
                      <a:lnTo>
                        <a:pt x="251" y="23"/>
                      </a:lnTo>
                      <a:lnTo>
                        <a:pt x="247" y="19"/>
                      </a:lnTo>
                      <a:lnTo>
                        <a:pt x="247" y="23"/>
                      </a:lnTo>
                      <a:lnTo>
                        <a:pt x="247" y="25"/>
                      </a:lnTo>
                      <a:lnTo>
                        <a:pt x="247" y="26"/>
                      </a:lnTo>
                      <a:lnTo>
                        <a:pt x="247" y="26"/>
                      </a:lnTo>
                      <a:lnTo>
                        <a:pt x="242" y="25"/>
                      </a:lnTo>
                      <a:lnTo>
                        <a:pt x="242" y="25"/>
                      </a:lnTo>
                      <a:lnTo>
                        <a:pt x="240" y="28"/>
                      </a:lnTo>
                      <a:lnTo>
                        <a:pt x="238" y="30"/>
                      </a:lnTo>
                      <a:lnTo>
                        <a:pt x="238" y="32"/>
                      </a:lnTo>
                      <a:lnTo>
                        <a:pt x="240" y="32"/>
                      </a:lnTo>
                      <a:lnTo>
                        <a:pt x="237" y="33"/>
                      </a:lnTo>
                      <a:lnTo>
                        <a:pt x="235" y="37"/>
                      </a:lnTo>
                      <a:lnTo>
                        <a:pt x="238" y="38"/>
                      </a:lnTo>
                      <a:lnTo>
                        <a:pt x="237" y="42"/>
                      </a:lnTo>
                      <a:lnTo>
                        <a:pt x="238" y="42"/>
                      </a:lnTo>
                      <a:lnTo>
                        <a:pt x="240" y="42"/>
                      </a:lnTo>
                      <a:lnTo>
                        <a:pt x="238" y="44"/>
                      </a:lnTo>
                      <a:lnTo>
                        <a:pt x="233" y="44"/>
                      </a:lnTo>
                      <a:lnTo>
                        <a:pt x="233" y="38"/>
                      </a:lnTo>
                      <a:lnTo>
                        <a:pt x="231" y="38"/>
                      </a:lnTo>
                      <a:lnTo>
                        <a:pt x="233" y="38"/>
                      </a:lnTo>
                      <a:lnTo>
                        <a:pt x="230" y="37"/>
                      </a:lnTo>
                      <a:lnTo>
                        <a:pt x="228" y="37"/>
                      </a:lnTo>
                      <a:lnTo>
                        <a:pt x="223" y="37"/>
                      </a:lnTo>
                      <a:lnTo>
                        <a:pt x="219" y="32"/>
                      </a:lnTo>
                      <a:lnTo>
                        <a:pt x="218" y="32"/>
                      </a:lnTo>
                      <a:lnTo>
                        <a:pt x="216" y="33"/>
                      </a:lnTo>
                      <a:lnTo>
                        <a:pt x="214" y="32"/>
                      </a:lnTo>
                      <a:lnTo>
                        <a:pt x="212" y="33"/>
                      </a:lnTo>
                      <a:lnTo>
                        <a:pt x="209" y="33"/>
                      </a:lnTo>
                      <a:lnTo>
                        <a:pt x="209" y="37"/>
                      </a:lnTo>
                      <a:lnTo>
                        <a:pt x="212" y="42"/>
                      </a:lnTo>
                      <a:lnTo>
                        <a:pt x="214" y="42"/>
                      </a:lnTo>
                      <a:lnTo>
                        <a:pt x="216" y="42"/>
                      </a:lnTo>
                      <a:lnTo>
                        <a:pt x="219" y="42"/>
                      </a:lnTo>
                      <a:lnTo>
                        <a:pt x="219" y="45"/>
                      </a:lnTo>
                      <a:lnTo>
                        <a:pt x="219" y="49"/>
                      </a:lnTo>
                      <a:lnTo>
                        <a:pt x="219" y="52"/>
                      </a:lnTo>
                      <a:lnTo>
                        <a:pt x="219" y="54"/>
                      </a:lnTo>
                      <a:lnTo>
                        <a:pt x="219" y="52"/>
                      </a:lnTo>
                      <a:lnTo>
                        <a:pt x="216" y="49"/>
                      </a:lnTo>
                      <a:lnTo>
                        <a:pt x="214" y="47"/>
                      </a:lnTo>
                      <a:lnTo>
                        <a:pt x="211" y="45"/>
                      </a:lnTo>
                      <a:lnTo>
                        <a:pt x="211" y="49"/>
                      </a:lnTo>
                      <a:lnTo>
                        <a:pt x="207" y="51"/>
                      </a:lnTo>
                      <a:lnTo>
                        <a:pt x="207" y="45"/>
                      </a:lnTo>
                      <a:lnTo>
                        <a:pt x="204" y="49"/>
                      </a:lnTo>
                      <a:lnTo>
                        <a:pt x="204" y="51"/>
                      </a:lnTo>
                      <a:lnTo>
                        <a:pt x="202" y="52"/>
                      </a:lnTo>
                      <a:lnTo>
                        <a:pt x="202" y="56"/>
                      </a:lnTo>
                      <a:lnTo>
                        <a:pt x="205" y="58"/>
                      </a:lnTo>
                      <a:lnTo>
                        <a:pt x="207" y="61"/>
                      </a:lnTo>
                      <a:lnTo>
                        <a:pt x="204" y="61"/>
                      </a:lnTo>
                      <a:lnTo>
                        <a:pt x="202" y="59"/>
                      </a:lnTo>
                      <a:lnTo>
                        <a:pt x="200" y="61"/>
                      </a:lnTo>
                      <a:lnTo>
                        <a:pt x="200" y="65"/>
                      </a:lnTo>
                      <a:lnTo>
                        <a:pt x="197" y="66"/>
                      </a:lnTo>
                      <a:lnTo>
                        <a:pt x="197" y="65"/>
                      </a:lnTo>
                      <a:lnTo>
                        <a:pt x="200" y="65"/>
                      </a:lnTo>
                      <a:lnTo>
                        <a:pt x="197" y="61"/>
                      </a:lnTo>
                      <a:lnTo>
                        <a:pt x="200" y="58"/>
                      </a:lnTo>
                      <a:lnTo>
                        <a:pt x="197" y="47"/>
                      </a:lnTo>
                      <a:lnTo>
                        <a:pt x="197" y="49"/>
                      </a:lnTo>
                      <a:lnTo>
                        <a:pt x="193" y="54"/>
                      </a:lnTo>
                      <a:lnTo>
                        <a:pt x="192" y="59"/>
                      </a:lnTo>
                      <a:lnTo>
                        <a:pt x="193" y="61"/>
                      </a:lnTo>
                      <a:lnTo>
                        <a:pt x="190" y="65"/>
                      </a:lnTo>
                      <a:lnTo>
                        <a:pt x="190" y="61"/>
                      </a:lnTo>
                      <a:lnTo>
                        <a:pt x="192" y="58"/>
                      </a:lnTo>
                      <a:lnTo>
                        <a:pt x="190" y="52"/>
                      </a:lnTo>
                      <a:lnTo>
                        <a:pt x="188" y="52"/>
                      </a:lnTo>
                      <a:lnTo>
                        <a:pt x="185" y="54"/>
                      </a:lnTo>
                      <a:lnTo>
                        <a:pt x="183" y="59"/>
                      </a:lnTo>
                      <a:lnTo>
                        <a:pt x="185" y="61"/>
                      </a:lnTo>
                      <a:lnTo>
                        <a:pt x="185" y="65"/>
                      </a:lnTo>
                      <a:lnTo>
                        <a:pt x="188" y="70"/>
                      </a:lnTo>
                      <a:lnTo>
                        <a:pt x="190" y="70"/>
                      </a:lnTo>
                      <a:lnTo>
                        <a:pt x="188" y="73"/>
                      </a:lnTo>
                      <a:lnTo>
                        <a:pt x="186" y="70"/>
                      </a:lnTo>
                      <a:lnTo>
                        <a:pt x="183" y="70"/>
                      </a:lnTo>
                      <a:lnTo>
                        <a:pt x="181" y="61"/>
                      </a:lnTo>
                      <a:lnTo>
                        <a:pt x="179" y="61"/>
                      </a:lnTo>
                      <a:lnTo>
                        <a:pt x="174" y="61"/>
                      </a:lnTo>
                      <a:lnTo>
                        <a:pt x="174" y="65"/>
                      </a:lnTo>
                      <a:lnTo>
                        <a:pt x="179" y="70"/>
                      </a:lnTo>
                      <a:lnTo>
                        <a:pt x="181" y="70"/>
                      </a:lnTo>
                      <a:lnTo>
                        <a:pt x="183" y="70"/>
                      </a:lnTo>
                      <a:lnTo>
                        <a:pt x="179" y="70"/>
                      </a:lnTo>
                      <a:lnTo>
                        <a:pt x="178" y="70"/>
                      </a:lnTo>
                      <a:lnTo>
                        <a:pt x="178" y="73"/>
                      </a:lnTo>
                      <a:lnTo>
                        <a:pt x="174" y="72"/>
                      </a:lnTo>
                      <a:lnTo>
                        <a:pt x="174" y="66"/>
                      </a:lnTo>
                      <a:lnTo>
                        <a:pt x="174" y="66"/>
                      </a:lnTo>
                      <a:lnTo>
                        <a:pt x="174" y="65"/>
                      </a:lnTo>
                      <a:lnTo>
                        <a:pt x="172" y="65"/>
                      </a:lnTo>
                      <a:lnTo>
                        <a:pt x="171" y="70"/>
                      </a:lnTo>
                      <a:lnTo>
                        <a:pt x="172" y="72"/>
                      </a:lnTo>
                      <a:lnTo>
                        <a:pt x="172" y="75"/>
                      </a:lnTo>
                      <a:lnTo>
                        <a:pt x="169" y="73"/>
                      </a:lnTo>
                      <a:lnTo>
                        <a:pt x="165" y="75"/>
                      </a:lnTo>
                      <a:lnTo>
                        <a:pt x="164" y="78"/>
                      </a:lnTo>
                      <a:lnTo>
                        <a:pt x="164" y="78"/>
                      </a:lnTo>
                      <a:lnTo>
                        <a:pt x="165" y="78"/>
                      </a:lnTo>
                      <a:lnTo>
                        <a:pt x="169" y="82"/>
                      </a:lnTo>
                      <a:lnTo>
                        <a:pt x="165" y="82"/>
                      </a:lnTo>
                      <a:lnTo>
                        <a:pt x="164" y="84"/>
                      </a:lnTo>
                      <a:lnTo>
                        <a:pt x="165" y="84"/>
                      </a:lnTo>
                      <a:lnTo>
                        <a:pt x="164" y="84"/>
                      </a:lnTo>
                      <a:lnTo>
                        <a:pt x="162" y="87"/>
                      </a:lnTo>
                      <a:lnTo>
                        <a:pt x="162" y="89"/>
                      </a:lnTo>
                      <a:lnTo>
                        <a:pt x="162" y="89"/>
                      </a:lnTo>
                      <a:lnTo>
                        <a:pt x="160" y="89"/>
                      </a:lnTo>
                      <a:lnTo>
                        <a:pt x="159" y="87"/>
                      </a:lnTo>
                      <a:lnTo>
                        <a:pt x="157" y="89"/>
                      </a:lnTo>
                      <a:lnTo>
                        <a:pt x="155" y="89"/>
                      </a:lnTo>
                      <a:lnTo>
                        <a:pt x="155" y="92"/>
                      </a:lnTo>
                      <a:lnTo>
                        <a:pt x="155" y="92"/>
                      </a:lnTo>
                      <a:lnTo>
                        <a:pt x="150" y="92"/>
                      </a:lnTo>
                      <a:lnTo>
                        <a:pt x="148" y="96"/>
                      </a:lnTo>
                      <a:lnTo>
                        <a:pt x="152" y="98"/>
                      </a:lnTo>
                      <a:lnTo>
                        <a:pt x="159" y="96"/>
                      </a:lnTo>
                      <a:lnTo>
                        <a:pt x="160" y="96"/>
                      </a:lnTo>
                      <a:lnTo>
                        <a:pt x="164" y="96"/>
                      </a:lnTo>
                      <a:lnTo>
                        <a:pt x="165" y="96"/>
                      </a:lnTo>
                      <a:lnTo>
                        <a:pt x="165" y="96"/>
                      </a:lnTo>
                      <a:lnTo>
                        <a:pt x="164" y="99"/>
                      </a:lnTo>
                      <a:lnTo>
                        <a:pt x="164" y="105"/>
                      </a:lnTo>
                      <a:lnTo>
                        <a:pt x="162" y="105"/>
                      </a:lnTo>
                      <a:lnTo>
                        <a:pt x="160" y="103"/>
                      </a:lnTo>
                      <a:lnTo>
                        <a:pt x="160" y="101"/>
                      </a:lnTo>
                      <a:lnTo>
                        <a:pt x="159" y="101"/>
                      </a:lnTo>
                      <a:lnTo>
                        <a:pt x="157" y="99"/>
                      </a:lnTo>
                      <a:lnTo>
                        <a:pt x="155" y="99"/>
                      </a:lnTo>
                      <a:lnTo>
                        <a:pt x="155" y="101"/>
                      </a:lnTo>
                      <a:lnTo>
                        <a:pt x="155" y="103"/>
                      </a:lnTo>
                      <a:lnTo>
                        <a:pt x="150" y="101"/>
                      </a:lnTo>
                      <a:lnTo>
                        <a:pt x="148" y="103"/>
                      </a:lnTo>
                      <a:lnTo>
                        <a:pt x="152" y="105"/>
                      </a:lnTo>
                      <a:lnTo>
                        <a:pt x="152" y="106"/>
                      </a:lnTo>
                      <a:lnTo>
                        <a:pt x="150" y="106"/>
                      </a:lnTo>
                      <a:lnTo>
                        <a:pt x="150" y="110"/>
                      </a:lnTo>
                      <a:lnTo>
                        <a:pt x="150" y="112"/>
                      </a:lnTo>
                      <a:lnTo>
                        <a:pt x="150" y="112"/>
                      </a:lnTo>
                      <a:lnTo>
                        <a:pt x="148" y="112"/>
                      </a:lnTo>
                      <a:lnTo>
                        <a:pt x="148" y="108"/>
                      </a:lnTo>
                      <a:lnTo>
                        <a:pt x="146" y="105"/>
                      </a:lnTo>
                      <a:lnTo>
                        <a:pt x="143" y="106"/>
                      </a:lnTo>
                      <a:lnTo>
                        <a:pt x="141" y="108"/>
                      </a:lnTo>
                      <a:lnTo>
                        <a:pt x="141" y="106"/>
                      </a:lnTo>
                      <a:lnTo>
                        <a:pt x="141" y="105"/>
                      </a:lnTo>
                      <a:lnTo>
                        <a:pt x="139" y="105"/>
                      </a:lnTo>
                      <a:lnTo>
                        <a:pt x="136" y="106"/>
                      </a:lnTo>
                      <a:lnTo>
                        <a:pt x="139" y="110"/>
                      </a:lnTo>
                      <a:lnTo>
                        <a:pt x="143" y="110"/>
                      </a:lnTo>
                      <a:lnTo>
                        <a:pt x="146" y="112"/>
                      </a:lnTo>
                      <a:lnTo>
                        <a:pt x="143" y="115"/>
                      </a:lnTo>
                      <a:lnTo>
                        <a:pt x="138" y="115"/>
                      </a:lnTo>
                      <a:lnTo>
                        <a:pt x="136" y="112"/>
                      </a:lnTo>
                      <a:lnTo>
                        <a:pt x="134" y="112"/>
                      </a:lnTo>
                      <a:lnTo>
                        <a:pt x="132" y="115"/>
                      </a:lnTo>
                      <a:lnTo>
                        <a:pt x="134" y="120"/>
                      </a:lnTo>
                      <a:lnTo>
                        <a:pt x="132" y="120"/>
                      </a:lnTo>
                      <a:lnTo>
                        <a:pt x="134" y="120"/>
                      </a:lnTo>
                      <a:lnTo>
                        <a:pt x="138" y="118"/>
                      </a:lnTo>
                      <a:lnTo>
                        <a:pt x="141" y="118"/>
                      </a:lnTo>
                      <a:lnTo>
                        <a:pt x="143" y="120"/>
                      </a:lnTo>
                      <a:lnTo>
                        <a:pt x="138" y="120"/>
                      </a:lnTo>
                      <a:lnTo>
                        <a:pt x="138" y="124"/>
                      </a:lnTo>
                      <a:lnTo>
                        <a:pt x="139" y="125"/>
                      </a:lnTo>
                      <a:lnTo>
                        <a:pt x="143" y="127"/>
                      </a:lnTo>
                      <a:lnTo>
                        <a:pt x="143" y="131"/>
                      </a:lnTo>
                      <a:lnTo>
                        <a:pt x="139" y="129"/>
                      </a:lnTo>
                      <a:lnTo>
                        <a:pt x="138" y="129"/>
                      </a:lnTo>
                      <a:lnTo>
                        <a:pt x="136" y="125"/>
                      </a:lnTo>
                      <a:lnTo>
                        <a:pt x="134" y="125"/>
                      </a:lnTo>
                      <a:lnTo>
                        <a:pt x="131" y="127"/>
                      </a:lnTo>
                      <a:lnTo>
                        <a:pt x="134" y="131"/>
                      </a:lnTo>
                      <a:lnTo>
                        <a:pt x="131" y="131"/>
                      </a:lnTo>
                      <a:lnTo>
                        <a:pt x="127" y="132"/>
                      </a:lnTo>
                      <a:lnTo>
                        <a:pt x="127" y="134"/>
                      </a:lnTo>
                      <a:lnTo>
                        <a:pt x="131" y="136"/>
                      </a:lnTo>
                      <a:lnTo>
                        <a:pt x="134" y="134"/>
                      </a:lnTo>
                      <a:lnTo>
                        <a:pt x="136" y="136"/>
                      </a:lnTo>
                      <a:lnTo>
                        <a:pt x="139" y="136"/>
                      </a:lnTo>
                      <a:lnTo>
                        <a:pt x="139" y="138"/>
                      </a:lnTo>
                      <a:lnTo>
                        <a:pt x="141" y="139"/>
                      </a:lnTo>
                      <a:lnTo>
                        <a:pt x="141" y="141"/>
                      </a:lnTo>
                      <a:lnTo>
                        <a:pt x="138" y="138"/>
                      </a:lnTo>
                      <a:lnTo>
                        <a:pt x="134" y="138"/>
                      </a:lnTo>
                      <a:lnTo>
                        <a:pt x="132" y="139"/>
                      </a:lnTo>
                      <a:lnTo>
                        <a:pt x="127" y="141"/>
                      </a:lnTo>
                      <a:lnTo>
                        <a:pt x="127" y="143"/>
                      </a:lnTo>
                      <a:lnTo>
                        <a:pt x="124" y="143"/>
                      </a:lnTo>
                      <a:lnTo>
                        <a:pt x="124" y="143"/>
                      </a:lnTo>
                      <a:lnTo>
                        <a:pt x="120" y="146"/>
                      </a:lnTo>
                      <a:lnTo>
                        <a:pt x="117" y="146"/>
                      </a:lnTo>
                      <a:lnTo>
                        <a:pt x="117" y="146"/>
                      </a:lnTo>
                      <a:lnTo>
                        <a:pt x="120" y="146"/>
                      </a:lnTo>
                      <a:lnTo>
                        <a:pt x="120" y="151"/>
                      </a:lnTo>
                      <a:lnTo>
                        <a:pt x="119" y="151"/>
                      </a:lnTo>
                      <a:lnTo>
                        <a:pt x="119" y="151"/>
                      </a:lnTo>
                      <a:lnTo>
                        <a:pt x="117" y="151"/>
                      </a:lnTo>
                      <a:lnTo>
                        <a:pt x="119" y="153"/>
                      </a:lnTo>
                      <a:lnTo>
                        <a:pt x="119" y="153"/>
                      </a:lnTo>
                      <a:lnTo>
                        <a:pt x="115" y="153"/>
                      </a:lnTo>
                      <a:lnTo>
                        <a:pt x="115" y="153"/>
                      </a:lnTo>
                      <a:lnTo>
                        <a:pt x="113" y="153"/>
                      </a:lnTo>
                      <a:lnTo>
                        <a:pt x="115" y="155"/>
                      </a:lnTo>
                      <a:lnTo>
                        <a:pt x="115" y="157"/>
                      </a:lnTo>
                      <a:lnTo>
                        <a:pt x="115" y="158"/>
                      </a:lnTo>
                      <a:lnTo>
                        <a:pt x="117" y="158"/>
                      </a:lnTo>
                      <a:lnTo>
                        <a:pt x="115" y="160"/>
                      </a:lnTo>
                      <a:lnTo>
                        <a:pt x="113" y="160"/>
                      </a:lnTo>
                      <a:lnTo>
                        <a:pt x="112" y="158"/>
                      </a:lnTo>
                      <a:lnTo>
                        <a:pt x="112" y="162"/>
                      </a:lnTo>
                      <a:lnTo>
                        <a:pt x="110" y="164"/>
                      </a:lnTo>
                      <a:lnTo>
                        <a:pt x="112" y="164"/>
                      </a:lnTo>
                      <a:lnTo>
                        <a:pt x="117" y="165"/>
                      </a:lnTo>
                      <a:lnTo>
                        <a:pt x="117" y="167"/>
                      </a:lnTo>
                      <a:lnTo>
                        <a:pt x="120" y="169"/>
                      </a:lnTo>
                      <a:lnTo>
                        <a:pt x="120" y="167"/>
                      </a:lnTo>
                      <a:lnTo>
                        <a:pt x="120" y="169"/>
                      </a:lnTo>
                      <a:lnTo>
                        <a:pt x="120" y="171"/>
                      </a:lnTo>
                      <a:lnTo>
                        <a:pt x="117" y="171"/>
                      </a:lnTo>
                      <a:lnTo>
                        <a:pt x="115" y="169"/>
                      </a:lnTo>
                      <a:lnTo>
                        <a:pt x="112" y="171"/>
                      </a:lnTo>
                      <a:lnTo>
                        <a:pt x="108" y="171"/>
                      </a:lnTo>
                      <a:lnTo>
                        <a:pt x="108" y="174"/>
                      </a:lnTo>
                      <a:lnTo>
                        <a:pt x="112" y="174"/>
                      </a:lnTo>
                      <a:lnTo>
                        <a:pt x="112" y="174"/>
                      </a:lnTo>
                      <a:lnTo>
                        <a:pt x="113" y="176"/>
                      </a:lnTo>
                      <a:lnTo>
                        <a:pt x="113" y="179"/>
                      </a:lnTo>
                      <a:lnTo>
                        <a:pt x="112" y="178"/>
                      </a:lnTo>
                      <a:lnTo>
                        <a:pt x="110" y="178"/>
                      </a:lnTo>
                      <a:lnTo>
                        <a:pt x="108" y="179"/>
                      </a:lnTo>
                      <a:lnTo>
                        <a:pt x="108" y="181"/>
                      </a:lnTo>
                      <a:lnTo>
                        <a:pt x="108" y="183"/>
                      </a:lnTo>
                      <a:lnTo>
                        <a:pt x="110" y="185"/>
                      </a:lnTo>
                      <a:lnTo>
                        <a:pt x="110" y="186"/>
                      </a:lnTo>
                      <a:lnTo>
                        <a:pt x="108" y="186"/>
                      </a:lnTo>
                      <a:lnTo>
                        <a:pt x="106" y="185"/>
                      </a:lnTo>
                      <a:lnTo>
                        <a:pt x="105" y="185"/>
                      </a:lnTo>
                      <a:lnTo>
                        <a:pt x="105" y="188"/>
                      </a:lnTo>
                      <a:lnTo>
                        <a:pt x="108" y="190"/>
                      </a:lnTo>
                      <a:lnTo>
                        <a:pt x="108" y="190"/>
                      </a:lnTo>
                      <a:lnTo>
                        <a:pt x="108" y="193"/>
                      </a:lnTo>
                      <a:lnTo>
                        <a:pt x="105" y="190"/>
                      </a:lnTo>
                      <a:lnTo>
                        <a:pt x="103" y="191"/>
                      </a:lnTo>
                      <a:lnTo>
                        <a:pt x="103" y="193"/>
                      </a:lnTo>
                      <a:lnTo>
                        <a:pt x="105" y="193"/>
                      </a:lnTo>
                      <a:lnTo>
                        <a:pt x="103" y="197"/>
                      </a:lnTo>
                      <a:lnTo>
                        <a:pt x="105" y="198"/>
                      </a:lnTo>
                      <a:lnTo>
                        <a:pt x="106" y="198"/>
                      </a:lnTo>
                      <a:lnTo>
                        <a:pt x="108" y="197"/>
                      </a:lnTo>
                      <a:lnTo>
                        <a:pt x="110" y="197"/>
                      </a:lnTo>
                      <a:lnTo>
                        <a:pt x="108" y="202"/>
                      </a:lnTo>
                      <a:lnTo>
                        <a:pt x="106" y="202"/>
                      </a:lnTo>
                      <a:lnTo>
                        <a:pt x="103" y="205"/>
                      </a:lnTo>
                      <a:lnTo>
                        <a:pt x="101" y="205"/>
                      </a:lnTo>
                      <a:lnTo>
                        <a:pt x="101" y="205"/>
                      </a:lnTo>
                      <a:lnTo>
                        <a:pt x="101" y="205"/>
                      </a:lnTo>
                      <a:lnTo>
                        <a:pt x="98" y="207"/>
                      </a:lnTo>
                      <a:lnTo>
                        <a:pt x="96" y="209"/>
                      </a:lnTo>
                      <a:lnTo>
                        <a:pt x="98" y="211"/>
                      </a:lnTo>
                      <a:lnTo>
                        <a:pt x="96" y="212"/>
                      </a:lnTo>
                      <a:lnTo>
                        <a:pt x="92" y="212"/>
                      </a:lnTo>
                      <a:lnTo>
                        <a:pt x="91" y="216"/>
                      </a:lnTo>
                      <a:lnTo>
                        <a:pt x="91" y="218"/>
                      </a:lnTo>
                      <a:lnTo>
                        <a:pt x="92" y="218"/>
                      </a:lnTo>
                      <a:lnTo>
                        <a:pt x="91" y="219"/>
                      </a:lnTo>
                      <a:lnTo>
                        <a:pt x="91" y="221"/>
                      </a:lnTo>
                      <a:lnTo>
                        <a:pt x="87" y="221"/>
                      </a:lnTo>
                      <a:lnTo>
                        <a:pt x="87" y="219"/>
                      </a:lnTo>
                      <a:lnTo>
                        <a:pt x="86" y="219"/>
                      </a:lnTo>
                      <a:lnTo>
                        <a:pt x="84" y="221"/>
                      </a:lnTo>
                      <a:lnTo>
                        <a:pt x="82" y="221"/>
                      </a:lnTo>
                      <a:lnTo>
                        <a:pt x="82" y="221"/>
                      </a:lnTo>
                      <a:lnTo>
                        <a:pt x="80" y="225"/>
                      </a:lnTo>
                      <a:lnTo>
                        <a:pt x="80" y="225"/>
                      </a:lnTo>
                      <a:lnTo>
                        <a:pt x="80" y="228"/>
                      </a:lnTo>
                      <a:lnTo>
                        <a:pt x="79" y="228"/>
                      </a:lnTo>
                      <a:lnTo>
                        <a:pt x="75" y="228"/>
                      </a:lnTo>
                      <a:lnTo>
                        <a:pt x="75" y="233"/>
                      </a:lnTo>
                      <a:lnTo>
                        <a:pt x="73" y="233"/>
                      </a:lnTo>
                      <a:lnTo>
                        <a:pt x="73" y="233"/>
                      </a:lnTo>
                      <a:lnTo>
                        <a:pt x="73" y="238"/>
                      </a:lnTo>
                      <a:lnTo>
                        <a:pt x="70" y="240"/>
                      </a:lnTo>
                      <a:lnTo>
                        <a:pt x="68" y="242"/>
                      </a:lnTo>
                      <a:lnTo>
                        <a:pt x="70" y="244"/>
                      </a:lnTo>
                      <a:lnTo>
                        <a:pt x="73" y="242"/>
                      </a:lnTo>
                      <a:lnTo>
                        <a:pt x="73" y="242"/>
                      </a:lnTo>
                      <a:lnTo>
                        <a:pt x="73" y="244"/>
                      </a:lnTo>
                      <a:lnTo>
                        <a:pt x="70" y="245"/>
                      </a:lnTo>
                      <a:lnTo>
                        <a:pt x="70" y="249"/>
                      </a:lnTo>
                      <a:lnTo>
                        <a:pt x="73" y="251"/>
                      </a:lnTo>
                      <a:lnTo>
                        <a:pt x="79" y="249"/>
                      </a:lnTo>
                      <a:lnTo>
                        <a:pt x="80" y="249"/>
                      </a:lnTo>
                      <a:lnTo>
                        <a:pt x="86" y="244"/>
                      </a:lnTo>
                      <a:lnTo>
                        <a:pt x="86" y="240"/>
                      </a:lnTo>
                      <a:lnTo>
                        <a:pt x="84" y="242"/>
                      </a:lnTo>
                      <a:lnTo>
                        <a:pt x="86" y="238"/>
                      </a:lnTo>
                      <a:lnTo>
                        <a:pt x="86" y="235"/>
                      </a:lnTo>
                      <a:lnTo>
                        <a:pt x="87" y="233"/>
                      </a:lnTo>
                      <a:lnTo>
                        <a:pt x="89" y="233"/>
                      </a:lnTo>
                      <a:lnTo>
                        <a:pt x="92" y="233"/>
                      </a:lnTo>
                      <a:lnTo>
                        <a:pt x="92" y="233"/>
                      </a:lnTo>
                      <a:lnTo>
                        <a:pt x="89" y="237"/>
                      </a:lnTo>
                      <a:lnTo>
                        <a:pt x="89" y="238"/>
                      </a:lnTo>
                      <a:lnTo>
                        <a:pt x="92" y="240"/>
                      </a:lnTo>
                      <a:lnTo>
                        <a:pt x="92" y="242"/>
                      </a:lnTo>
                      <a:lnTo>
                        <a:pt x="89" y="242"/>
                      </a:lnTo>
                      <a:lnTo>
                        <a:pt x="84" y="247"/>
                      </a:lnTo>
                      <a:lnTo>
                        <a:pt x="87" y="249"/>
                      </a:lnTo>
                      <a:lnTo>
                        <a:pt x="86" y="252"/>
                      </a:lnTo>
                      <a:lnTo>
                        <a:pt x="86" y="256"/>
                      </a:lnTo>
                      <a:lnTo>
                        <a:pt x="82" y="252"/>
                      </a:lnTo>
                      <a:lnTo>
                        <a:pt x="80" y="252"/>
                      </a:lnTo>
                      <a:lnTo>
                        <a:pt x="79" y="252"/>
                      </a:lnTo>
                      <a:lnTo>
                        <a:pt x="75" y="252"/>
                      </a:lnTo>
                      <a:lnTo>
                        <a:pt x="73" y="256"/>
                      </a:lnTo>
                      <a:lnTo>
                        <a:pt x="73" y="258"/>
                      </a:lnTo>
                      <a:lnTo>
                        <a:pt x="70" y="259"/>
                      </a:lnTo>
                      <a:lnTo>
                        <a:pt x="70" y="256"/>
                      </a:lnTo>
                      <a:lnTo>
                        <a:pt x="73" y="256"/>
                      </a:lnTo>
                      <a:lnTo>
                        <a:pt x="70" y="252"/>
                      </a:lnTo>
                      <a:lnTo>
                        <a:pt x="70" y="251"/>
                      </a:lnTo>
                      <a:lnTo>
                        <a:pt x="70" y="247"/>
                      </a:lnTo>
                      <a:lnTo>
                        <a:pt x="66" y="247"/>
                      </a:lnTo>
                      <a:lnTo>
                        <a:pt x="65" y="249"/>
                      </a:lnTo>
                      <a:lnTo>
                        <a:pt x="61" y="251"/>
                      </a:lnTo>
                      <a:lnTo>
                        <a:pt x="61" y="252"/>
                      </a:lnTo>
                      <a:lnTo>
                        <a:pt x="66" y="252"/>
                      </a:lnTo>
                      <a:lnTo>
                        <a:pt x="61" y="256"/>
                      </a:lnTo>
                      <a:lnTo>
                        <a:pt x="59" y="252"/>
                      </a:lnTo>
                      <a:lnTo>
                        <a:pt x="56" y="252"/>
                      </a:lnTo>
                      <a:lnTo>
                        <a:pt x="53" y="256"/>
                      </a:lnTo>
                      <a:lnTo>
                        <a:pt x="54" y="256"/>
                      </a:lnTo>
                      <a:lnTo>
                        <a:pt x="56" y="256"/>
                      </a:lnTo>
                      <a:lnTo>
                        <a:pt x="58" y="258"/>
                      </a:lnTo>
                      <a:lnTo>
                        <a:pt x="54" y="259"/>
                      </a:lnTo>
                      <a:lnTo>
                        <a:pt x="53" y="261"/>
                      </a:lnTo>
                      <a:lnTo>
                        <a:pt x="51" y="259"/>
                      </a:lnTo>
                      <a:lnTo>
                        <a:pt x="47" y="259"/>
                      </a:lnTo>
                      <a:lnTo>
                        <a:pt x="47" y="261"/>
                      </a:lnTo>
                      <a:lnTo>
                        <a:pt x="51" y="263"/>
                      </a:lnTo>
                      <a:lnTo>
                        <a:pt x="56" y="263"/>
                      </a:lnTo>
                      <a:lnTo>
                        <a:pt x="54" y="266"/>
                      </a:lnTo>
                      <a:lnTo>
                        <a:pt x="58" y="266"/>
                      </a:lnTo>
                      <a:lnTo>
                        <a:pt x="58" y="270"/>
                      </a:lnTo>
                      <a:lnTo>
                        <a:pt x="53" y="268"/>
                      </a:lnTo>
                      <a:lnTo>
                        <a:pt x="53" y="265"/>
                      </a:lnTo>
                      <a:lnTo>
                        <a:pt x="51" y="265"/>
                      </a:lnTo>
                      <a:lnTo>
                        <a:pt x="47" y="263"/>
                      </a:lnTo>
                      <a:lnTo>
                        <a:pt x="47" y="261"/>
                      </a:lnTo>
                      <a:lnTo>
                        <a:pt x="46" y="261"/>
                      </a:lnTo>
                      <a:lnTo>
                        <a:pt x="46" y="263"/>
                      </a:lnTo>
                      <a:lnTo>
                        <a:pt x="47" y="268"/>
                      </a:lnTo>
                      <a:lnTo>
                        <a:pt x="51" y="270"/>
                      </a:lnTo>
                      <a:lnTo>
                        <a:pt x="53" y="270"/>
                      </a:lnTo>
                      <a:lnTo>
                        <a:pt x="54" y="271"/>
                      </a:lnTo>
                      <a:lnTo>
                        <a:pt x="51" y="271"/>
                      </a:lnTo>
                      <a:lnTo>
                        <a:pt x="47" y="270"/>
                      </a:lnTo>
                      <a:lnTo>
                        <a:pt x="44" y="265"/>
                      </a:lnTo>
                      <a:lnTo>
                        <a:pt x="39" y="266"/>
                      </a:lnTo>
                      <a:lnTo>
                        <a:pt x="39" y="265"/>
                      </a:lnTo>
                      <a:lnTo>
                        <a:pt x="35" y="265"/>
                      </a:lnTo>
                      <a:lnTo>
                        <a:pt x="33" y="263"/>
                      </a:lnTo>
                      <a:lnTo>
                        <a:pt x="32" y="265"/>
                      </a:lnTo>
                      <a:lnTo>
                        <a:pt x="32" y="268"/>
                      </a:lnTo>
                      <a:lnTo>
                        <a:pt x="30" y="270"/>
                      </a:lnTo>
                      <a:lnTo>
                        <a:pt x="33" y="271"/>
                      </a:lnTo>
                      <a:lnTo>
                        <a:pt x="39" y="270"/>
                      </a:lnTo>
                      <a:lnTo>
                        <a:pt x="39" y="271"/>
                      </a:lnTo>
                      <a:lnTo>
                        <a:pt x="37" y="273"/>
                      </a:lnTo>
                      <a:lnTo>
                        <a:pt x="39" y="273"/>
                      </a:lnTo>
                      <a:lnTo>
                        <a:pt x="44" y="271"/>
                      </a:lnTo>
                      <a:lnTo>
                        <a:pt x="46" y="271"/>
                      </a:lnTo>
                      <a:lnTo>
                        <a:pt x="44" y="273"/>
                      </a:lnTo>
                      <a:lnTo>
                        <a:pt x="39" y="275"/>
                      </a:lnTo>
                      <a:lnTo>
                        <a:pt x="37" y="278"/>
                      </a:lnTo>
                      <a:lnTo>
                        <a:pt x="33" y="278"/>
                      </a:lnTo>
                      <a:lnTo>
                        <a:pt x="30" y="273"/>
                      </a:lnTo>
                      <a:lnTo>
                        <a:pt x="28" y="273"/>
                      </a:lnTo>
                      <a:lnTo>
                        <a:pt x="28" y="275"/>
                      </a:lnTo>
                      <a:lnTo>
                        <a:pt x="25" y="273"/>
                      </a:lnTo>
                      <a:lnTo>
                        <a:pt x="23" y="275"/>
                      </a:lnTo>
                      <a:lnTo>
                        <a:pt x="23" y="273"/>
                      </a:lnTo>
                      <a:lnTo>
                        <a:pt x="20" y="275"/>
                      </a:lnTo>
                      <a:lnTo>
                        <a:pt x="20" y="275"/>
                      </a:lnTo>
                      <a:lnTo>
                        <a:pt x="25" y="275"/>
                      </a:lnTo>
                      <a:lnTo>
                        <a:pt x="28" y="278"/>
                      </a:lnTo>
                      <a:lnTo>
                        <a:pt x="32" y="280"/>
                      </a:lnTo>
                      <a:lnTo>
                        <a:pt x="32" y="284"/>
                      </a:lnTo>
                      <a:lnTo>
                        <a:pt x="32" y="285"/>
                      </a:lnTo>
                      <a:lnTo>
                        <a:pt x="30" y="287"/>
                      </a:lnTo>
                      <a:lnTo>
                        <a:pt x="28" y="285"/>
                      </a:lnTo>
                      <a:lnTo>
                        <a:pt x="28" y="280"/>
                      </a:lnTo>
                      <a:lnTo>
                        <a:pt x="28" y="280"/>
                      </a:lnTo>
                      <a:lnTo>
                        <a:pt x="25" y="280"/>
                      </a:lnTo>
                      <a:lnTo>
                        <a:pt x="25" y="284"/>
                      </a:lnTo>
                      <a:lnTo>
                        <a:pt x="25" y="284"/>
                      </a:lnTo>
                      <a:lnTo>
                        <a:pt x="20" y="284"/>
                      </a:lnTo>
                      <a:lnTo>
                        <a:pt x="16" y="285"/>
                      </a:lnTo>
                      <a:lnTo>
                        <a:pt x="20" y="287"/>
                      </a:lnTo>
                      <a:lnTo>
                        <a:pt x="16" y="289"/>
                      </a:lnTo>
                      <a:lnTo>
                        <a:pt x="16" y="289"/>
                      </a:lnTo>
                      <a:lnTo>
                        <a:pt x="14" y="285"/>
                      </a:lnTo>
                      <a:lnTo>
                        <a:pt x="9" y="285"/>
                      </a:lnTo>
                      <a:lnTo>
                        <a:pt x="11" y="289"/>
                      </a:lnTo>
                      <a:lnTo>
                        <a:pt x="9" y="291"/>
                      </a:lnTo>
                      <a:lnTo>
                        <a:pt x="9" y="287"/>
                      </a:lnTo>
                      <a:lnTo>
                        <a:pt x="6" y="284"/>
                      </a:lnTo>
                      <a:lnTo>
                        <a:pt x="6" y="285"/>
                      </a:lnTo>
                      <a:lnTo>
                        <a:pt x="6" y="287"/>
                      </a:lnTo>
                      <a:lnTo>
                        <a:pt x="7" y="291"/>
                      </a:lnTo>
                      <a:lnTo>
                        <a:pt x="6" y="292"/>
                      </a:lnTo>
                      <a:lnTo>
                        <a:pt x="7" y="294"/>
                      </a:lnTo>
                      <a:lnTo>
                        <a:pt x="11" y="292"/>
                      </a:lnTo>
                      <a:lnTo>
                        <a:pt x="16" y="294"/>
                      </a:lnTo>
                      <a:lnTo>
                        <a:pt x="20" y="296"/>
                      </a:lnTo>
                      <a:lnTo>
                        <a:pt x="25" y="296"/>
                      </a:lnTo>
                      <a:lnTo>
                        <a:pt x="25" y="294"/>
                      </a:lnTo>
                      <a:lnTo>
                        <a:pt x="28" y="294"/>
                      </a:lnTo>
                      <a:lnTo>
                        <a:pt x="25" y="298"/>
                      </a:lnTo>
                      <a:lnTo>
                        <a:pt x="20" y="298"/>
                      </a:lnTo>
                      <a:lnTo>
                        <a:pt x="20" y="298"/>
                      </a:lnTo>
                      <a:lnTo>
                        <a:pt x="14" y="296"/>
                      </a:lnTo>
                      <a:lnTo>
                        <a:pt x="11" y="296"/>
                      </a:lnTo>
                      <a:lnTo>
                        <a:pt x="9" y="296"/>
                      </a:lnTo>
                      <a:lnTo>
                        <a:pt x="6" y="298"/>
                      </a:lnTo>
                      <a:lnTo>
                        <a:pt x="2" y="298"/>
                      </a:lnTo>
                      <a:lnTo>
                        <a:pt x="2" y="299"/>
                      </a:lnTo>
                      <a:lnTo>
                        <a:pt x="7" y="303"/>
                      </a:lnTo>
                      <a:lnTo>
                        <a:pt x="6" y="303"/>
                      </a:lnTo>
                      <a:lnTo>
                        <a:pt x="9" y="306"/>
                      </a:lnTo>
                      <a:lnTo>
                        <a:pt x="11" y="303"/>
                      </a:lnTo>
                      <a:lnTo>
                        <a:pt x="16" y="303"/>
                      </a:lnTo>
                      <a:lnTo>
                        <a:pt x="13" y="306"/>
                      </a:lnTo>
                      <a:lnTo>
                        <a:pt x="7" y="306"/>
                      </a:lnTo>
                      <a:lnTo>
                        <a:pt x="6" y="306"/>
                      </a:lnTo>
                      <a:lnTo>
                        <a:pt x="6" y="306"/>
                      </a:lnTo>
                      <a:lnTo>
                        <a:pt x="6" y="306"/>
                      </a:lnTo>
                      <a:lnTo>
                        <a:pt x="6" y="308"/>
                      </a:lnTo>
                      <a:lnTo>
                        <a:pt x="9" y="308"/>
                      </a:lnTo>
                      <a:lnTo>
                        <a:pt x="6" y="310"/>
                      </a:lnTo>
                      <a:lnTo>
                        <a:pt x="6" y="310"/>
                      </a:lnTo>
                      <a:lnTo>
                        <a:pt x="6" y="311"/>
                      </a:lnTo>
                      <a:lnTo>
                        <a:pt x="6" y="315"/>
                      </a:lnTo>
                      <a:lnTo>
                        <a:pt x="7" y="315"/>
                      </a:lnTo>
                      <a:lnTo>
                        <a:pt x="11" y="315"/>
                      </a:lnTo>
                      <a:lnTo>
                        <a:pt x="14" y="315"/>
                      </a:lnTo>
                      <a:lnTo>
                        <a:pt x="20" y="311"/>
                      </a:lnTo>
                      <a:lnTo>
                        <a:pt x="23" y="315"/>
                      </a:lnTo>
                      <a:lnTo>
                        <a:pt x="25" y="315"/>
                      </a:lnTo>
                      <a:lnTo>
                        <a:pt x="25" y="311"/>
                      </a:lnTo>
                      <a:lnTo>
                        <a:pt x="25" y="310"/>
                      </a:lnTo>
                      <a:lnTo>
                        <a:pt x="28" y="310"/>
                      </a:lnTo>
                      <a:lnTo>
                        <a:pt x="28" y="311"/>
                      </a:lnTo>
                      <a:lnTo>
                        <a:pt x="32" y="311"/>
                      </a:lnTo>
                      <a:lnTo>
                        <a:pt x="35" y="308"/>
                      </a:lnTo>
                      <a:lnTo>
                        <a:pt x="37" y="308"/>
                      </a:lnTo>
                      <a:lnTo>
                        <a:pt x="35" y="310"/>
                      </a:lnTo>
                      <a:lnTo>
                        <a:pt x="33" y="311"/>
                      </a:lnTo>
                      <a:lnTo>
                        <a:pt x="37" y="315"/>
                      </a:lnTo>
                      <a:lnTo>
                        <a:pt x="39" y="311"/>
                      </a:lnTo>
                      <a:lnTo>
                        <a:pt x="39" y="310"/>
                      </a:lnTo>
                      <a:lnTo>
                        <a:pt x="39" y="306"/>
                      </a:lnTo>
                      <a:lnTo>
                        <a:pt x="39" y="308"/>
                      </a:lnTo>
                      <a:lnTo>
                        <a:pt x="44" y="311"/>
                      </a:lnTo>
                      <a:lnTo>
                        <a:pt x="39" y="315"/>
                      </a:lnTo>
                      <a:lnTo>
                        <a:pt x="37" y="315"/>
                      </a:lnTo>
                      <a:lnTo>
                        <a:pt x="33" y="317"/>
                      </a:lnTo>
                      <a:lnTo>
                        <a:pt x="35" y="318"/>
                      </a:lnTo>
                      <a:lnTo>
                        <a:pt x="33" y="320"/>
                      </a:lnTo>
                      <a:lnTo>
                        <a:pt x="30" y="322"/>
                      </a:lnTo>
                      <a:lnTo>
                        <a:pt x="30" y="320"/>
                      </a:lnTo>
                      <a:lnTo>
                        <a:pt x="32" y="318"/>
                      </a:lnTo>
                      <a:lnTo>
                        <a:pt x="30" y="315"/>
                      </a:lnTo>
                      <a:lnTo>
                        <a:pt x="28" y="315"/>
                      </a:lnTo>
                      <a:lnTo>
                        <a:pt x="25" y="318"/>
                      </a:lnTo>
                      <a:lnTo>
                        <a:pt x="25" y="320"/>
                      </a:lnTo>
                      <a:lnTo>
                        <a:pt x="23" y="317"/>
                      </a:lnTo>
                      <a:lnTo>
                        <a:pt x="20" y="315"/>
                      </a:lnTo>
                      <a:lnTo>
                        <a:pt x="16" y="317"/>
                      </a:lnTo>
                      <a:lnTo>
                        <a:pt x="13" y="315"/>
                      </a:lnTo>
                      <a:lnTo>
                        <a:pt x="9" y="318"/>
                      </a:lnTo>
                      <a:lnTo>
                        <a:pt x="6" y="318"/>
                      </a:lnTo>
                      <a:lnTo>
                        <a:pt x="6" y="317"/>
                      </a:lnTo>
                      <a:lnTo>
                        <a:pt x="2" y="317"/>
                      </a:lnTo>
                      <a:lnTo>
                        <a:pt x="6" y="320"/>
                      </a:lnTo>
                      <a:lnTo>
                        <a:pt x="6" y="322"/>
                      </a:lnTo>
                      <a:lnTo>
                        <a:pt x="6" y="324"/>
                      </a:lnTo>
                      <a:lnTo>
                        <a:pt x="7" y="322"/>
                      </a:lnTo>
                      <a:lnTo>
                        <a:pt x="9" y="320"/>
                      </a:lnTo>
                      <a:lnTo>
                        <a:pt x="11" y="320"/>
                      </a:lnTo>
                      <a:lnTo>
                        <a:pt x="9" y="324"/>
                      </a:lnTo>
                      <a:lnTo>
                        <a:pt x="9" y="325"/>
                      </a:lnTo>
                      <a:lnTo>
                        <a:pt x="7" y="325"/>
                      </a:lnTo>
                      <a:lnTo>
                        <a:pt x="6" y="325"/>
                      </a:lnTo>
                      <a:lnTo>
                        <a:pt x="6" y="331"/>
                      </a:lnTo>
                      <a:lnTo>
                        <a:pt x="9" y="332"/>
                      </a:lnTo>
                      <a:lnTo>
                        <a:pt x="14" y="325"/>
                      </a:lnTo>
                      <a:lnTo>
                        <a:pt x="16" y="325"/>
                      </a:lnTo>
                      <a:lnTo>
                        <a:pt x="16" y="329"/>
                      </a:lnTo>
                      <a:lnTo>
                        <a:pt x="16" y="332"/>
                      </a:lnTo>
                      <a:lnTo>
                        <a:pt x="11" y="334"/>
                      </a:lnTo>
                      <a:lnTo>
                        <a:pt x="13" y="334"/>
                      </a:lnTo>
                      <a:lnTo>
                        <a:pt x="14" y="334"/>
                      </a:lnTo>
                      <a:lnTo>
                        <a:pt x="14" y="338"/>
                      </a:lnTo>
                      <a:lnTo>
                        <a:pt x="16" y="339"/>
                      </a:lnTo>
                      <a:lnTo>
                        <a:pt x="14" y="343"/>
                      </a:lnTo>
                      <a:lnTo>
                        <a:pt x="16" y="343"/>
                      </a:lnTo>
                      <a:lnTo>
                        <a:pt x="16" y="339"/>
                      </a:lnTo>
                      <a:lnTo>
                        <a:pt x="20" y="338"/>
                      </a:lnTo>
                      <a:lnTo>
                        <a:pt x="20" y="334"/>
                      </a:lnTo>
                      <a:lnTo>
                        <a:pt x="28" y="332"/>
                      </a:lnTo>
                      <a:lnTo>
                        <a:pt x="30" y="332"/>
                      </a:lnTo>
                      <a:lnTo>
                        <a:pt x="32" y="332"/>
                      </a:lnTo>
                      <a:lnTo>
                        <a:pt x="30" y="334"/>
                      </a:lnTo>
                      <a:lnTo>
                        <a:pt x="28" y="334"/>
                      </a:lnTo>
                      <a:lnTo>
                        <a:pt x="28" y="339"/>
                      </a:lnTo>
                      <a:lnTo>
                        <a:pt x="28" y="341"/>
                      </a:lnTo>
                      <a:lnTo>
                        <a:pt x="25" y="339"/>
                      </a:lnTo>
                      <a:lnTo>
                        <a:pt x="25" y="338"/>
                      </a:lnTo>
                      <a:lnTo>
                        <a:pt x="25" y="338"/>
                      </a:lnTo>
                      <a:lnTo>
                        <a:pt x="23" y="339"/>
                      </a:lnTo>
                      <a:lnTo>
                        <a:pt x="20" y="339"/>
                      </a:lnTo>
                      <a:lnTo>
                        <a:pt x="23" y="341"/>
                      </a:lnTo>
                      <a:lnTo>
                        <a:pt x="20" y="345"/>
                      </a:lnTo>
                      <a:lnTo>
                        <a:pt x="16" y="345"/>
                      </a:lnTo>
                      <a:lnTo>
                        <a:pt x="16" y="348"/>
                      </a:lnTo>
                      <a:lnTo>
                        <a:pt x="20" y="348"/>
                      </a:lnTo>
                      <a:lnTo>
                        <a:pt x="25" y="348"/>
                      </a:lnTo>
                      <a:lnTo>
                        <a:pt x="25" y="350"/>
                      </a:lnTo>
                      <a:lnTo>
                        <a:pt x="20" y="351"/>
                      </a:lnTo>
                      <a:lnTo>
                        <a:pt x="20" y="353"/>
                      </a:lnTo>
                      <a:lnTo>
                        <a:pt x="20" y="355"/>
                      </a:lnTo>
                      <a:lnTo>
                        <a:pt x="16" y="353"/>
                      </a:lnTo>
                      <a:lnTo>
                        <a:pt x="14" y="353"/>
                      </a:lnTo>
                      <a:lnTo>
                        <a:pt x="14" y="357"/>
                      </a:lnTo>
                      <a:lnTo>
                        <a:pt x="13" y="353"/>
                      </a:lnTo>
                      <a:lnTo>
                        <a:pt x="11" y="355"/>
                      </a:lnTo>
                      <a:lnTo>
                        <a:pt x="7" y="357"/>
                      </a:lnTo>
                      <a:lnTo>
                        <a:pt x="9" y="362"/>
                      </a:lnTo>
                      <a:lnTo>
                        <a:pt x="14" y="365"/>
                      </a:lnTo>
                      <a:lnTo>
                        <a:pt x="14" y="362"/>
                      </a:lnTo>
                      <a:lnTo>
                        <a:pt x="16" y="365"/>
                      </a:lnTo>
                      <a:lnTo>
                        <a:pt x="16" y="362"/>
                      </a:lnTo>
                      <a:lnTo>
                        <a:pt x="16" y="362"/>
                      </a:lnTo>
                      <a:lnTo>
                        <a:pt x="20" y="357"/>
                      </a:lnTo>
                      <a:lnTo>
                        <a:pt x="23" y="362"/>
                      </a:lnTo>
                      <a:lnTo>
                        <a:pt x="20" y="362"/>
                      </a:lnTo>
                      <a:lnTo>
                        <a:pt x="23" y="365"/>
                      </a:lnTo>
                      <a:lnTo>
                        <a:pt x="23" y="367"/>
                      </a:lnTo>
                      <a:lnTo>
                        <a:pt x="20" y="369"/>
                      </a:lnTo>
                      <a:lnTo>
                        <a:pt x="23" y="374"/>
                      </a:lnTo>
                      <a:lnTo>
                        <a:pt x="25" y="372"/>
                      </a:lnTo>
                      <a:lnTo>
                        <a:pt x="28" y="371"/>
                      </a:lnTo>
                      <a:lnTo>
                        <a:pt x="28" y="372"/>
                      </a:lnTo>
                      <a:lnTo>
                        <a:pt x="25" y="372"/>
                      </a:lnTo>
                      <a:lnTo>
                        <a:pt x="25" y="374"/>
                      </a:lnTo>
                      <a:lnTo>
                        <a:pt x="25" y="378"/>
                      </a:lnTo>
                      <a:lnTo>
                        <a:pt x="25" y="379"/>
                      </a:lnTo>
                      <a:lnTo>
                        <a:pt x="20" y="374"/>
                      </a:lnTo>
                      <a:lnTo>
                        <a:pt x="16" y="374"/>
                      </a:lnTo>
                      <a:lnTo>
                        <a:pt x="16" y="374"/>
                      </a:lnTo>
                      <a:lnTo>
                        <a:pt x="13" y="374"/>
                      </a:lnTo>
                      <a:lnTo>
                        <a:pt x="13" y="376"/>
                      </a:lnTo>
                      <a:lnTo>
                        <a:pt x="11" y="378"/>
                      </a:lnTo>
                      <a:lnTo>
                        <a:pt x="16" y="384"/>
                      </a:lnTo>
                      <a:lnTo>
                        <a:pt x="20" y="384"/>
                      </a:lnTo>
                      <a:lnTo>
                        <a:pt x="25" y="390"/>
                      </a:lnTo>
                      <a:lnTo>
                        <a:pt x="28" y="391"/>
                      </a:lnTo>
                      <a:lnTo>
                        <a:pt x="30" y="393"/>
                      </a:lnTo>
                      <a:lnTo>
                        <a:pt x="28" y="395"/>
                      </a:lnTo>
                      <a:lnTo>
                        <a:pt x="32" y="397"/>
                      </a:lnTo>
                      <a:lnTo>
                        <a:pt x="33" y="397"/>
                      </a:lnTo>
                      <a:lnTo>
                        <a:pt x="32" y="393"/>
                      </a:lnTo>
                      <a:lnTo>
                        <a:pt x="35" y="393"/>
                      </a:lnTo>
                      <a:lnTo>
                        <a:pt x="37" y="395"/>
                      </a:lnTo>
                      <a:lnTo>
                        <a:pt x="37" y="395"/>
                      </a:lnTo>
                      <a:lnTo>
                        <a:pt x="39" y="400"/>
                      </a:lnTo>
                      <a:lnTo>
                        <a:pt x="42" y="398"/>
                      </a:lnTo>
                      <a:lnTo>
                        <a:pt x="42" y="398"/>
                      </a:lnTo>
                      <a:lnTo>
                        <a:pt x="46" y="397"/>
                      </a:lnTo>
                      <a:lnTo>
                        <a:pt x="47" y="393"/>
                      </a:lnTo>
                      <a:lnTo>
                        <a:pt x="51" y="393"/>
                      </a:lnTo>
                      <a:lnTo>
                        <a:pt x="51" y="391"/>
                      </a:lnTo>
                      <a:lnTo>
                        <a:pt x="53" y="391"/>
                      </a:lnTo>
                      <a:lnTo>
                        <a:pt x="53" y="395"/>
                      </a:lnTo>
                      <a:lnTo>
                        <a:pt x="54" y="395"/>
                      </a:lnTo>
                      <a:lnTo>
                        <a:pt x="61" y="388"/>
                      </a:lnTo>
                      <a:lnTo>
                        <a:pt x="61" y="388"/>
                      </a:lnTo>
                      <a:lnTo>
                        <a:pt x="58" y="384"/>
                      </a:lnTo>
                      <a:lnTo>
                        <a:pt x="63" y="388"/>
                      </a:lnTo>
                      <a:lnTo>
                        <a:pt x="66" y="383"/>
                      </a:lnTo>
                      <a:lnTo>
                        <a:pt x="66" y="383"/>
                      </a:lnTo>
                      <a:lnTo>
                        <a:pt x="68" y="381"/>
                      </a:lnTo>
                      <a:lnTo>
                        <a:pt x="68" y="378"/>
                      </a:lnTo>
                      <a:lnTo>
                        <a:pt x="70" y="376"/>
                      </a:lnTo>
                      <a:lnTo>
                        <a:pt x="73" y="376"/>
                      </a:lnTo>
                      <a:lnTo>
                        <a:pt x="73" y="374"/>
                      </a:lnTo>
                      <a:lnTo>
                        <a:pt x="70" y="371"/>
                      </a:lnTo>
                      <a:lnTo>
                        <a:pt x="73" y="367"/>
                      </a:lnTo>
                      <a:lnTo>
                        <a:pt x="70" y="365"/>
                      </a:lnTo>
                      <a:lnTo>
                        <a:pt x="66" y="362"/>
                      </a:lnTo>
                      <a:lnTo>
                        <a:pt x="66" y="360"/>
                      </a:lnTo>
                      <a:lnTo>
                        <a:pt x="68" y="362"/>
                      </a:lnTo>
                      <a:lnTo>
                        <a:pt x="70" y="365"/>
                      </a:lnTo>
                      <a:lnTo>
                        <a:pt x="73" y="369"/>
                      </a:lnTo>
                      <a:lnTo>
                        <a:pt x="73" y="371"/>
                      </a:lnTo>
                      <a:lnTo>
                        <a:pt x="75" y="371"/>
                      </a:lnTo>
                      <a:lnTo>
                        <a:pt x="75" y="372"/>
                      </a:lnTo>
                      <a:lnTo>
                        <a:pt x="79" y="374"/>
                      </a:lnTo>
                      <a:lnTo>
                        <a:pt x="80" y="372"/>
                      </a:lnTo>
                      <a:lnTo>
                        <a:pt x="79" y="371"/>
                      </a:lnTo>
                      <a:lnTo>
                        <a:pt x="79" y="371"/>
                      </a:lnTo>
                      <a:lnTo>
                        <a:pt x="79" y="367"/>
                      </a:lnTo>
                      <a:lnTo>
                        <a:pt x="82" y="371"/>
                      </a:lnTo>
                      <a:lnTo>
                        <a:pt x="82" y="371"/>
                      </a:lnTo>
                      <a:lnTo>
                        <a:pt x="86" y="367"/>
                      </a:lnTo>
                      <a:lnTo>
                        <a:pt x="87" y="365"/>
                      </a:lnTo>
                      <a:lnTo>
                        <a:pt x="87" y="362"/>
                      </a:lnTo>
                      <a:lnTo>
                        <a:pt x="84" y="360"/>
                      </a:lnTo>
                      <a:lnTo>
                        <a:pt x="82" y="357"/>
                      </a:lnTo>
                      <a:lnTo>
                        <a:pt x="84" y="357"/>
                      </a:lnTo>
                      <a:lnTo>
                        <a:pt x="86" y="355"/>
                      </a:lnTo>
                      <a:lnTo>
                        <a:pt x="87" y="355"/>
                      </a:lnTo>
                      <a:lnTo>
                        <a:pt x="87" y="353"/>
                      </a:lnTo>
                      <a:lnTo>
                        <a:pt x="86" y="351"/>
                      </a:lnTo>
                      <a:lnTo>
                        <a:pt x="86" y="348"/>
                      </a:lnTo>
                      <a:lnTo>
                        <a:pt x="89" y="346"/>
                      </a:lnTo>
                      <a:lnTo>
                        <a:pt x="91" y="350"/>
                      </a:lnTo>
                      <a:lnTo>
                        <a:pt x="89" y="351"/>
                      </a:lnTo>
                      <a:lnTo>
                        <a:pt x="91" y="357"/>
                      </a:lnTo>
                      <a:lnTo>
                        <a:pt x="89" y="360"/>
                      </a:lnTo>
                      <a:lnTo>
                        <a:pt x="91" y="362"/>
                      </a:lnTo>
                      <a:lnTo>
                        <a:pt x="92" y="365"/>
                      </a:lnTo>
                      <a:lnTo>
                        <a:pt x="96" y="367"/>
                      </a:lnTo>
                      <a:lnTo>
                        <a:pt x="98" y="367"/>
                      </a:lnTo>
                      <a:lnTo>
                        <a:pt x="101" y="369"/>
                      </a:lnTo>
                      <a:lnTo>
                        <a:pt x="101" y="371"/>
                      </a:lnTo>
                      <a:lnTo>
                        <a:pt x="101" y="371"/>
                      </a:lnTo>
                      <a:lnTo>
                        <a:pt x="103" y="376"/>
                      </a:lnTo>
                      <a:lnTo>
                        <a:pt x="105" y="371"/>
                      </a:lnTo>
                      <a:lnTo>
                        <a:pt x="105" y="362"/>
                      </a:lnTo>
                      <a:lnTo>
                        <a:pt x="101" y="357"/>
                      </a:lnTo>
                      <a:lnTo>
                        <a:pt x="103" y="353"/>
                      </a:lnTo>
                      <a:lnTo>
                        <a:pt x="106" y="353"/>
                      </a:lnTo>
                      <a:lnTo>
                        <a:pt x="105" y="350"/>
                      </a:lnTo>
                      <a:lnTo>
                        <a:pt x="105" y="346"/>
                      </a:lnTo>
                      <a:lnTo>
                        <a:pt x="110" y="346"/>
                      </a:lnTo>
                      <a:lnTo>
                        <a:pt x="112" y="343"/>
                      </a:lnTo>
                      <a:lnTo>
                        <a:pt x="112" y="339"/>
                      </a:lnTo>
                      <a:lnTo>
                        <a:pt x="115" y="334"/>
                      </a:lnTo>
                      <a:lnTo>
                        <a:pt x="112" y="332"/>
                      </a:lnTo>
                      <a:lnTo>
                        <a:pt x="110" y="324"/>
                      </a:lnTo>
                      <a:lnTo>
                        <a:pt x="106" y="317"/>
                      </a:lnTo>
                      <a:lnTo>
                        <a:pt x="108" y="315"/>
                      </a:lnTo>
                      <a:lnTo>
                        <a:pt x="115" y="311"/>
                      </a:lnTo>
                      <a:lnTo>
                        <a:pt x="115" y="306"/>
                      </a:lnTo>
                      <a:lnTo>
                        <a:pt x="117" y="303"/>
                      </a:lnTo>
                      <a:lnTo>
                        <a:pt x="112" y="296"/>
                      </a:lnTo>
                      <a:lnTo>
                        <a:pt x="106" y="294"/>
                      </a:lnTo>
                      <a:lnTo>
                        <a:pt x="106" y="287"/>
                      </a:lnTo>
                      <a:lnTo>
                        <a:pt x="106" y="280"/>
                      </a:lnTo>
                      <a:lnTo>
                        <a:pt x="106" y="275"/>
                      </a:lnTo>
                      <a:lnTo>
                        <a:pt x="105" y="270"/>
                      </a:lnTo>
                      <a:lnTo>
                        <a:pt x="106" y="265"/>
                      </a:lnTo>
                      <a:lnTo>
                        <a:pt x="105" y="256"/>
                      </a:lnTo>
                      <a:lnTo>
                        <a:pt x="103" y="247"/>
                      </a:lnTo>
                      <a:lnTo>
                        <a:pt x="105" y="238"/>
                      </a:lnTo>
                      <a:lnTo>
                        <a:pt x="108" y="233"/>
                      </a:lnTo>
                      <a:lnTo>
                        <a:pt x="112" y="230"/>
                      </a:lnTo>
                      <a:lnTo>
                        <a:pt x="117" y="230"/>
                      </a:lnTo>
                      <a:lnTo>
                        <a:pt x="124" y="230"/>
                      </a:lnTo>
                      <a:lnTo>
                        <a:pt x="124" y="228"/>
                      </a:lnTo>
                      <a:lnTo>
                        <a:pt x="124" y="221"/>
                      </a:lnTo>
                      <a:lnTo>
                        <a:pt x="124" y="218"/>
                      </a:lnTo>
                      <a:lnTo>
                        <a:pt x="124" y="214"/>
                      </a:lnTo>
                      <a:lnTo>
                        <a:pt x="129" y="198"/>
                      </a:lnTo>
                      <a:lnTo>
                        <a:pt x="129" y="191"/>
                      </a:lnTo>
                      <a:lnTo>
                        <a:pt x="131" y="183"/>
                      </a:lnTo>
                      <a:lnTo>
                        <a:pt x="132" y="179"/>
                      </a:lnTo>
                      <a:lnTo>
                        <a:pt x="132" y="174"/>
                      </a:lnTo>
                      <a:lnTo>
                        <a:pt x="131" y="171"/>
                      </a:lnTo>
                      <a:lnTo>
                        <a:pt x="131" y="169"/>
                      </a:lnTo>
                      <a:lnTo>
                        <a:pt x="136" y="165"/>
                      </a:lnTo>
                      <a:lnTo>
                        <a:pt x="143" y="164"/>
                      </a:lnTo>
                      <a:lnTo>
                        <a:pt x="143" y="162"/>
                      </a:lnTo>
                      <a:lnTo>
                        <a:pt x="143" y="158"/>
                      </a:lnTo>
                      <a:lnTo>
                        <a:pt x="148" y="151"/>
                      </a:lnTo>
                      <a:lnTo>
                        <a:pt x="155" y="143"/>
                      </a:lnTo>
                      <a:lnTo>
                        <a:pt x="155" y="139"/>
                      </a:lnTo>
                      <a:lnTo>
                        <a:pt x="155" y="134"/>
                      </a:lnTo>
                      <a:lnTo>
                        <a:pt x="152" y="132"/>
                      </a:lnTo>
                      <a:lnTo>
                        <a:pt x="152" y="124"/>
                      </a:lnTo>
                      <a:lnTo>
                        <a:pt x="155" y="124"/>
                      </a:lnTo>
                      <a:lnTo>
                        <a:pt x="155" y="120"/>
                      </a:lnTo>
                      <a:lnTo>
                        <a:pt x="157" y="115"/>
                      </a:lnTo>
                      <a:lnTo>
                        <a:pt x="159" y="115"/>
                      </a:lnTo>
                      <a:lnTo>
                        <a:pt x="162" y="110"/>
                      </a:lnTo>
                      <a:lnTo>
                        <a:pt x="165" y="106"/>
                      </a:lnTo>
                      <a:lnTo>
                        <a:pt x="169" y="108"/>
                      </a:lnTo>
                      <a:lnTo>
                        <a:pt x="171" y="110"/>
                      </a:lnTo>
                      <a:lnTo>
                        <a:pt x="174" y="110"/>
                      </a:lnTo>
                      <a:lnTo>
                        <a:pt x="174" y="108"/>
                      </a:lnTo>
                      <a:lnTo>
                        <a:pt x="174" y="105"/>
                      </a:lnTo>
                      <a:lnTo>
                        <a:pt x="174" y="101"/>
                      </a:lnTo>
                      <a:lnTo>
                        <a:pt x="174" y="99"/>
                      </a:lnTo>
                      <a:lnTo>
                        <a:pt x="178" y="98"/>
                      </a:lnTo>
                      <a:lnTo>
                        <a:pt x="174" y="96"/>
                      </a:lnTo>
                      <a:lnTo>
                        <a:pt x="174" y="92"/>
                      </a:lnTo>
                      <a:lnTo>
                        <a:pt x="179" y="92"/>
                      </a:lnTo>
                      <a:lnTo>
                        <a:pt x="185" y="92"/>
                      </a:lnTo>
                      <a:lnTo>
                        <a:pt x="190" y="92"/>
                      </a:lnTo>
                      <a:lnTo>
                        <a:pt x="193" y="96"/>
                      </a:lnTo>
                      <a:lnTo>
                        <a:pt x="197" y="96"/>
                      </a:lnTo>
                      <a:lnTo>
                        <a:pt x="200" y="96"/>
                      </a:lnTo>
                      <a:lnTo>
                        <a:pt x="200" y="96"/>
                      </a:lnTo>
                      <a:lnTo>
                        <a:pt x="202" y="98"/>
                      </a:lnTo>
                      <a:lnTo>
                        <a:pt x="202" y="92"/>
                      </a:lnTo>
                      <a:lnTo>
                        <a:pt x="200" y="89"/>
                      </a:lnTo>
                      <a:lnTo>
                        <a:pt x="200" y="84"/>
                      </a:lnTo>
                      <a:lnTo>
                        <a:pt x="204" y="84"/>
                      </a:lnTo>
                      <a:lnTo>
                        <a:pt x="202" y="80"/>
                      </a:lnTo>
                      <a:lnTo>
                        <a:pt x="200" y="78"/>
                      </a:lnTo>
                      <a:lnTo>
                        <a:pt x="200" y="75"/>
                      </a:lnTo>
                      <a:lnTo>
                        <a:pt x="204" y="77"/>
                      </a:lnTo>
                      <a:lnTo>
                        <a:pt x="207" y="75"/>
                      </a:lnTo>
                      <a:lnTo>
                        <a:pt x="209" y="75"/>
                      </a:lnTo>
                      <a:lnTo>
                        <a:pt x="209" y="75"/>
                      </a:lnTo>
                      <a:lnTo>
                        <a:pt x="209" y="73"/>
                      </a:lnTo>
                      <a:lnTo>
                        <a:pt x="211" y="75"/>
                      </a:lnTo>
                      <a:lnTo>
                        <a:pt x="212" y="73"/>
                      </a:lnTo>
                      <a:lnTo>
                        <a:pt x="211" y="72"/>
                      </a:lnTo>
                      <a:lnTo>
                        <a:pt x="212" y="70"/>
                      </a:lnTo>
                      <a:lnTo>
                        <a:pt x="214" y="66"/>
                      </a:lnTo>
                      <a:lnTo>
                        <a:pt x="218" y="66"/>
                      </a:lnTo>
                      <a:lnTo>
                        <a:pt x="219" y="70"/>
                      </a:lnTo>
                      <a:lnTo>
                        <a:pt x="228" y="77"/>
                      </a:lnTo>
                      <a:lnTo>
                        <a:pt x="228" y="80"/>
                      </a:lnTo>
                      <a:lnTo>
                        <a:pt x="231" y="84"/>
                      </a:lnTo>
                      <a:lnTo>
                        <a:pt x="237" y="87"/>
                      </a:lnTo>
                      <a:lnTo>
                        <a:pt x="242" y="87"/>
                      </a:lnTo>
                      <a:lnTo>
                        <a:pt x="247" y="82"/>
                      </a:lnTo>
                      <a:lnTo>
                        <a:pt x="251" y="80"/>
                      </a:lnTo>
                      <a:lnTo>
                        <a:pt x="254" y="80"/>
                      </a:lnTo>
                      <a:lnTo>
                        <a:pt x="259" y="84"/>
                      </a:lnTo>
                      <a:lnTo>
                        <a:pt x="263" y="84"/>
                      </a:lnTo>
                      <a:lnTo>
                        <a:pt x="266" y="80"/>
                      </a:lnTo>
                      <a:lnTo>
                        <a:pt x="268" y="80"/>
                      </a:lnTo>
                      <a:lnTo>
                        <a:pt x="270" y="77"/>
                      </a:lnTo>
                      <a:lnTo>
                        <a:pt x="273" y="77"/>
                      </a:lnTo>
                      <a:lnTo>
                        <a:pt x="275" y="75"/>
                      </a:lnTo>
                      <a:lnTo>
                        <a:pt x="277" y="73"/>
                      </a:lnTo>
                      <a:lnTo>
                        <a:pt x="275" y="70"/>
                      </a:lnTo>
                      <a:lnTo>
                        <a:pt x="273" y="65"/>
                      </a:lnTo>
                      <a:lnTo>
                        <a:pt x="275" y="56"/>
                      </a:lnTo>
                      <a:lnTo>
                        <a:pt x="277" y="54"/>
                      </a:lnTo>
                      <a:lnTo>
                        <a:pt x="275" y="51"/>
                      </a:lnTo>
                      <a:lnTo>
                        <a:pt x="277" y="49"/>
                      </a:lnTo>
                      <a:lnTo>
                        <a:pt x="278" y="45"/>
                      </a:lnTo>
                      <a:lnTo>
                        <a:pt x="278" y="44"/>
                      </a:lnTo>
                      <a:lnTo>
                        <a:pt x="282" y="42"/>
                      </a:lnTo>
                      <a:lnTo>
                        <a:pt x="287" y="42"/>
                      </a:lnTo>
                      <a:lnTo>
                        <a:pt x="291" y="42"/>
                      </a:lnTo>
                      <a:lnTo>
                        <a:pt x="291" y="42"/>
                      </a:lnTo>
                      <a:lnTo>
                        <a:pt x="292" y="38"/>
                      </a:lnTo>
                      <a:lnTo>
                        <a:pt x="301" y="38"/>
                      </a:lnTo>
                      <a:lnTo>
                        <a:pt x="304" y="42"/>
                      </a:lnTo>
                      <a:lnTo>
                        <a:pt x="306" y="45"/>
                      </a:lnTo>
                      <a:lnTo>
                        <a:pt x="310" y="47"/>
                      </a:lnTo>
                      <a:lnTo>
                        <a:pt x="313" y="49"/>
                      </a:lnTo>
                      <a:lnTo>
                        <a:pt x="320" y="49"/>
                      </a:lnTo>
                      <a:lnTo>
                        <a:pt x="320" y="52"/>
                      </a:lnTo>
                      <a:lnTo>
                        <a:pt x="324" y="56"/>
                      </a:lnTo>
                      <a:lnTo>
                        <a:pt x="324" y="61"/>
                      </a:lnTo>
                      <a:lnTo>
                        <a:pt x="320" y="65"/>
                      </a:lnTo>
                      <a:lnTo>
                        <a:pt x="320" y="72"/>
                      </a:lnTo>
                      <a:lnTo>
                        <a:pt x="320" y="72"/>
                      </a:lnTo>
                      <a:lnTo>
                        <a:pt x="320" y="72"/>
                      </a:lnTo>
                      <a:lnTo>
                        <a:pt x="320" y="72"/>
                      </a:lnTo>
                      <a:close/>
                      <a:moveTo>
                        <a:pt x="14" y="367"/>
                      </a:moveTo>
                      <a:lnTo>
                        <a:pt x="16" y="371"/>
                      </a:lnTo>
                      <a:lnTo>
                        <a:pt x="14" y="371"/>
                      </a:lnTo>
                      <a:lnTo>
                        <a:pt x="14" y="367"/>
                      </a:lnTo>
                      <a:lnTo>
                        <a:pt x="14" y="367"/>
                      </a:lnTo>
                      <a:lnTo>
                        <a:pt x="14" y="367"/>
                      </a:lnTo>
                      <a:lnTo>
                        <a:pt x="14" y="367"/>
                      </a:lnTo>
                      <a:close/>
                      <a:moveTo>
                        <a:pt x="6" y="350"/>
                      </a:moveTo>
                      <a:lnTo>
                        <a:pt x="6" y="350"/>
                      </a:lnTo>
                      <a:lnTo>
                        <a:pt x="9" y="348"/>
                      </a:lnTo>
                      <a:lnTo>
                        <a:pt x="11" y="350"/>
                      </a:lnTo>
                      <a:lnTo>
                        <a:pt x="9" y="353"/>
                      </a:lnTo>
                      <a:lnTo>
                        <a:pt x="6" y="350"/>
                      </a:lnTo>
                      <a:lnTo>
                        <a:pt x="6" y="350"/>
                      </a:lnTo>
                      <a:lnTo>
                        <a:pt x="6" y="350"/>
                      </a:lnTo>
                      <a:lnTo>
                        <a:pt x="6" y="350"/>
                      </a:lnTo>
                      <a:close/>
                      <a:moveTo>
                        <a:pt x="13" y="343"/>
                      </a:moveTo>
                      <a:lnTo>
                        <a:pt x="13" y="345"/>
                      </a:lnTo>
                      <a:lnTo>
                        <a:pt x="11" y="345"/>
                      </a:lnTo>
                      <a:lnTo>
                        <a:pt x="13" y="343"/>
                      </a:lnTo>
                      <a:lnTo>
                        <a:pt x="13" y="343"/>
                      </a:lnTo>
                      <a:lnTo>
                        <a:pt x="13" y="343"/>
                      </a:lnTo>
                      <a:lnTo>
                        <a:pt x="13" y="343"/>
                      </a:lnTo>
                      <a:close/>
                      <a:moveTo>
                        <a:pt x="9" y="341"/>
                      </a:moveTo>
                      <a:lnTo>
                        <a:pt x="9" y="343"/>
                      </a:lnTo>
                      <a:lnTo>
                        <a:pt x="6" y="343"/>
                      </a:lnTo>
                      <a:lnTo>
                        <a:pt x="9" y="341"/>
                      </a:lnTo>
                      <a:lnTo>
                        <a:pt x="9" y="341"/>
                      </a:lnTo>
                      <a:lnTo>
                        <a:pt x="9" y="341"/>
                      </a:lnTo>
                      <a:lnTo>
                        <a:pt x="9" y="341"/>
                      </a:lnTo>
                      <a:close/>
                      <a:moveTo>
                        <a:pt x="6" y="329"/>
                      </a:moveTo>
                      <a:lnTo>
                        <a:pt x="0" y="325"/>
                      </a:lnTo>
                      <a:lnTo>
                        <a:pt x="6" y="324"/>
                      </a:lnTo>
                      <a:lnTo>
                        <a:pt x="6" y="324"/>
                      </a:lnTo>
                      <a:lnTo>
                        <a:pt x="6" y="329"/>
                      </a:lnTo>
                      <a:lnTo>
                        <a:pt x="6" y="329"/>
                      </a:lnTo>
                      <a:lnTo>
                        <a:pt x="6" y="329"/>
                      </a:lnTo>
                      <a:lnTo>
                        <a:pt x="6" y="329"/>
                      </a:lnTo>
                      <a:close/>
                      <a:moveTo>
                        <a:pt x="2" y="331"/>
                      </a:moveTo>
                      <a:lnTo>
                        <a:pt x="6" y="331"/>
                      </a:lnTo>
                      <a:lnTo>
                        <a:pt x="6" y="332"/>
                      </a:lnTo>
                      <a:lnTo>
                        <a:pt x="2" y="331"/>
                      </a:lnTo>
                      <a:lnTo>
                        <a:pt x="2" y="331"/>
                      </a:lnTo>
                      <a:lnTo>
                        <a:pt x="2" y="331"/>
                      </a:lnTo>
                      <a:lnTo>
                        <a:pt x="2" y="331"/>
                      </a:lnTo>
                      <a:close/>
                      <a:moveTo>
                        <a:pt x="9" y="334"/>
                      </a:moveTo>
                      <a:lnTo>
                        <a:pt x="9" y="334"/>
                      </a:lnTo>
                      <a:lnTo>
                        <a:pt x="11" y="338"/>
                      </a:lnTo>
                      <a:lnTo>
                        <a:pt x="11" y="339"/>
                      </a:lnTo>
                      <a:lnTo>
                        <a:pt x="9" y="334"/>
                      </a:lnTo>
                      <a:lnTo>
                        <a:pt x="9" y="334"/>
                      </a:lnTo>
                      <a:lnTo>
                        <a:pt x="9" y="334"/>
                      </a:lnTo>
                      <a:lnTo>
                        <a:pt x="9" y="334"/>
                      </a:lnTo>
                      <a:close/>
                      <a:moveTo>
                        <a:pt x="6" y="338"/>
                      </a:moveTo>
                      <a:lnTo>
                        <a:pt x="0" y="334"/>
                      </a:lnTo>
                      <a:lnTo>
                        <a:pt x="6" y="334"/>
                      </a:lnTo>
                      <a:lnTo>
                        <a:pt x="6" y="338"/>
                      </a:lnTo>
                      <a:lnTo>
                        <a:pt x="6" y="338"/>
                      </a:lnTo>
                      <a:lnTo>
                        <a:pt x="6" y="338"/>
                      </a:lnTo>
                      <a:lnTo>
                        <a:pt x="6" y="338"/>
                      </a:lnTo>
                      <a:close/>
                      <a:moveTo>
                        <a:pt x="0" y="318"/>
                      </a:moveTo>
                      <a:lnTo>
                        <a:pt x="0" y="320"/>
                      </a:lnTo>
                      <a:lnTo>
                        <a:pt x="0" y="322"/>
                      </a:lnTo>
                      <a:lnTo>
                        <a:pt x="2" y="320"/>
                      </a:lnTo>
                      <a:lnTo>
                        <a:pt x="0" y="318"/>
                      </a:lnTo>
                      <a:lnTo>
                        <a:pt x="0" y="318"/>
                      </a:lnTo>
                      <a:lnTo>
                        <a:pt x="0" y="318"/>
                      </a:lnTo>
                      <a:lnTo>
                        <a:pt x="0" y="318"/>
                      </a:lnTo>
                      <a:close/>
                      <a:moveTo>
                        <a:pt x="0" y="294"/>
                      </a:moveTo>
                      <a:lnTo>
                        <a:pt x="6" y="296"/>
                      </a:lnTo>
                      <a:lnTo>
                        <a:pt x="0" y="298"/>
                      </a:lnTo>
                      <a:lnTo>
                        <a:pt x="0" y="294"/>
                      </a:lnTo>
                      <a:lnTo>
                        <a:pt x="0" y="294"/>
                      </a:lnTo>
                      <a:lnTo>
                        <a:pt x="0" y="294"/>
                      </a:lnTo>
                      <a:lnTo>
                        <a:pt x="0" y="294"/>
                      </a:lnTo>
                      <a:close/>
                      <a:moveTo>
                        <a:pt x="0" y="287"/>
                      </a:moveTo>
                      <a:lnTo>
                        <a:pt x="6" y="291"/>
                      </a:lnTo>
                      <a:lnTo>
                        <a:pt x="2" y="292"/>
                      </a:lnTo>
                      <a:lnTo>
                        <a:pt x="0" y="287"/>
                      </a:lnTo>
                      <a:lnTo>
                        <a:pt x="0" y="287"/>
                      </a:lnTo>
                      <a:lnTo>
                        <a:pt x="0" y="287"/>
                      </a:lnTo>
                      <a:lnTo>
                        <a:pt x="0" y="287"/>
                      </a:lnTo>
                      <a:close/>
                      <a:moveTo>
                        <a:pt x="11" y="280"/>
                      </a:moveTo>
                      <a:lnTo>
                        <a:pt x="13" y="284"/>
                      </a:lnTo>
                      <a:lnTo>
                        <a:pt x="9" y="284"/>
                      </a:lnTo>
                      <a:lnTo>
                        <a:pt x="11" y="280"/>
                      </a:lnTo>
                      <a:lnTo>
                        <a:pt x="11" y="280"/>
                      </a:lnTo>
                      <a:lnTo>
                        <a:pt x="11" y="280"/>
                      </a:lnTo>
                      <a:lnTo>
                        <a:pt x="11" y="280"/>
                      </a:lnTo>
                      <a:close/>
                      <a:moveTo>
                        <a:pt x="14" y="278"/>
                      </a:moveTo>
                      <a:lnTo>
                        <a:pt x="16" y="278"/>
                      </a:lnTo>
                      <a:lnTo>
                        <a:pt x="16" y="284"/>
                      </a:lnTo>
                      <a:lnTo>
                        <a:pt x="14" y="284"/>
                      </a:lnTo>
                      <a:lnTo>
                        <a:pt x="14" y="278"/>
                      </a:lnTo>
                      <a:lnTo>
                        <a:pt x="14" y="278"/>
                      </a:lnTo>
                      <a:lnTo>
                        <a:pt x="14" y="278"/>
                      </a:lnTo>
                      <a:lnTo>
                        <a:pt x="14" y="278"/>
                      </a:lnTo>
                      <a:close/>
                      <a:moveTo>
                        <a:pt x="46" y="258"/>
                      </a:moveTo>
                      <a:lnTo>
                        <a:pt x="46" y="258"/>
                      </a:lnTo>
                      <a:lnTo>
                        <a:pt x="47" y="256"/>
                      </a:lnTo>
                      <a:lnTo>
                        <a:pt x="47" y="258"/>
                      </a:lnTo>
                      <a:lnTo>
                        <a:pt x="47" y="259"/>
                      </a:lnTo>
                      <a:lnTo>
                        <a:pt x="46" y="258"/>
                      </a:lnTo>
                      <a:lnTo>
                        <a:pt x="46" y="258"/>
                      </a:lnTo>
                      <a:lnTo>
                        <a:pt x="46" y="258"/>
                      </a:lnTo>
                      <a:lnTo>
                        <a:pt x="46" y="258"/>
                      </a:lnTo>
                      <a:close/>
                      <a:moveTo>
                        <a:pt x="46" y="252"/>
                      </a:moveTo>
                      <a:lnTo>
                        <a:pt x="46" y="252"/>
                      </a:lnTo>
                      <a:lnTo>
                        <a:pt x="46" y="252"/>
                      </a:lnTo>
                      <a:lnTo>
                        <a:pt x="42" y="251"/>
                      </a:lnTo>
                      <a:lnTo>
                        <a:pt x="46" y="251"/>
                      </a:lnTo>
                      <a:lnTo>
                        <a:pt x="46" y="252"/>
                      </a:lnTo>
                      <a:lnTo>
                        <a:pt x="46" y="252"/>
                      </a:lnTo>
                      <a:lnTo>
                        <a:pt x="46" y="252"/>
                      </a:lnTo>
                      <a:lnTo>
                        <a:pt x="46" y="252"/>
                      </a:lnTo>
                      <a:close/>
                      <a:moveTo>
                        <a:pt x="47" y="245"/>
                      </a:moveTo>
                      <a:lnTo>
                        <a:pt x="54" y="240"/>
                      </a:lnTo>
                      <a:lnTo>
                        <a:pt x="56" y="242"/>
                      </a:lnTo>
                      <a:lnTo>
                        <a:pt x="53" y="245"/>
                      </a:lnTo>
                      <a:lnTo>
                        <a:pt x="47" y="245"/>
                      </a:lnTo>
                      <a:lnTo>
                        <a:pt x="47" y="245"/>
                      </a:lnTo>
                      <a:lnTo>
                        <a:pt x="47" y="245"/>
                      </a:lnTo>
                      <a:lnTo>
                        <a:pt x="47" y="245"/>
                      </a:lnTo>
                      <a:close/>
                      <a:moveTo>
                        <a:pt x="51" y="252"/>
                      </a:moveTo>
                      <a:lnTo>
                        <a:pt x="51" y="249"/>
                      </a:lnTo>
                      <a:lnTo>
                        <a:pt x="54" y="249"/>
                      </a:lnTo>
                      <a:lnTo>
                        <a:pt x="56" y="247"/>
                      </a:lnTo>
                      <a:lnTo>
                        <a:pt x="58" y="245"/>
                      </a:lnTo>
                      <a:lnTo>
                        <a:pt x="61" y="249"/>
                      </a:lnTo>
                      <a:lnTo>
                        <a:pt x="58" y="251"/>
                      </a:lnTo>
                      <a:lnTo>
                        <a:pt x="54" y="251"/>
                      </a:lnTo>
                      <a:lnTo>
                        <a:pt x="51" y="252"/>
                      </a:lnTo>
                      <a:lnTo>
                        <a:pt x="51" y="252"/>
                      </a:lnTo>
                      <a:lnTo>
                        <a:pt x="51" y="252"/>
                      </a:lnTo>
                      <a:lnTo>
                        <a:pt x="51" y="252"/>
                      </a:lnTo>
                      <a:lnTo>
                        <a:pt x="51" y="252"/>
                      </a:lnTo>
                      <a:close/>
                      <a:moveTo>
                        <a:pt x="92" y="202"/>
                      </a:moveTo>
                      <a:lnTo>
                        <a:pt x="96" y="202"/>
                      </a:lnTo>
                      <a:lnTo>
                        <a:pt x="98" y="198"/>
                      </a:lnTo>
                      <a:lnTo>
                        <a:pt x="96" y="205"/>
                      </a:lnTo>
                      <a:lnTo>
                        <a:pt x="92" y="202"/>
                      </a:lnTo>
                      <a:lnTo>
                        <a:pt x="92" y="202"/>
                      </a:lnTo>
                      <a:lnTo>
                        <a:pt x="92" y="202"/>
                      </a:lnTo>
                      <a:lnTo>
                        <a:pt x="92" y="202"/>
                      </a:lnTo>
                      <a:close/>
                      <a:moveTo>
                        <a:pt x="91" y="211"/>
                      </a:moveTo>
                      <a:lnTo>
                        <a:pt x="89" y="209"/>
                      </a:lnTo>
                      <a:lnTo>
                        <a:pt x="86" y="209"/>
                      </a:lnTo>
                      <a:lnTo>
                        <a:pt x="89" y="205"/>
                      </a:lnTo>
                      <a:lnTo>
                        <a:pt x="92" y="205"/>
                      </a:lnTo>
                      <a:lnTo>
                        <a:pt x="96" y="205"/>
                      </a:lnTo>
                      <a:lnTo>
                        <a:pt x="92" y="209"/>
                      </a:lnTo>
                      <a:lnTo>
                        <a:pt x="91" y="211"/>
                      </a:lnTo>
                      <a:lnTo>
                        <a:pt x="91" y="211"/>
                      </a:lnTo>
                      <a:lnTo>
                        <a:pt x="91" y="211"/>
                      </a:lnTo>
                      <a:lnTo>
                        <a:pt x="91" y="211"/>
                      </a:lnTo>
                      <a:close/>
                      <a:moveTo>
                        <a:pt x="98" y="183"/>
                      </a:moveTo>
                      <a:lnTo>
                        <a:pt x="101" y="183"/>
                      </a:lnTo>
                      <a:lnTo>
                        <a:pt x="101" y="186"/>
                      </a:lnTo>
                      <a:lnTo>
                        <a:pt x="98" y="188"/>
                      </a:lnTo>
                      <a:lnTo>
                        <a:pt x="98" y="185"/>
                      </a:lnTo>
                      <a:lnTo>
                        <a:pt x="98" y="183"/>
                      </a:lnTo>
                      <a:lnTo>
                        <a:pt x="98" y="183"/>
                      </a:lnTo>
                      <a:lnTo>
                        <a:pt x="98" y="183"/>
                      </a:lnTo>
                      <a:lnTo>
                        <a:pt x="98" y="183"/>
                      </a:lnTo>
                      <a:close/>
                      <a:moveTo>
                        <a:pt x="105" y="176"/>
                      </a:moveTo>
                      <a:lnTo>
                        <a:pt x="106" y="174"/>
                      </a:lnTo>
                      <a:lnTo>
                        <a:pt x="110" y="174"/>
                      </a:lnTo>
                      <a:lnTo>
                        <a:pt x="105" y="178"/>
                      </a:lnTo>
                      <a:lnTo>
                        <a:pt x="105" y="176"/>
                      </a:lnTo>
                      <a:lnTo>
                        <a:pt x="105" y="176"/>
                      </a:lnTo>
                      <a:lnTo>
                        <a:pt x="105" y="176"/>
                      </a:lnTo>
                      <a:lnTo>
                        <a:pt x="105" y="176"/>
                      </a:lnTo>
                      <a:close/>
                      <a:moveTo>
                        <a:pt x="103" y="171"/>
                      </a:moveTo>
                      <a:lnTo>
                        <a:pt x="105" y="167"/>
                      </a:lnTo>
                      <a:lnTo>
                        <a:pt x="106" y="171"/>
                      </a:lnTo>
                      <a:lnTo>
                        <a:pt x="103" y="174"/>
                      </a:lnTo>
                      <a:lnTo>
                        <a:pt x="103" y="171"/>
                      </a:lnTo>
                      <a:lnTo>
                        <a:pt x="103" y="171"/>
                      </a:lnTo>
                      <a:lnTo>
                        <a:pt x="103" y="171"/>
                      </a:lnTo>
                      <a:lnTo>
                        <a:pt x="103" y="171"/>
                      </a:lnTo>
                      <a:close/>
                      <a:moveTo>
                        <a:pt x="124" y="139"/>
                      </a:moveTo>
                      <a:lnTo>
                        <a:pt x="124" y="138"/>
                      </a:lnTo>
                      <a:lnTo>
                        <a:pt x="125" y="138"/>
                      </a:lnTo>
                      <a:lnTo>
                        <a:pt x="124" y="141"/>
                      </a:lnTo>
                      <a:lnTo>
                        <a:pt x="124" y="139"/>
                      </a:lnTo>
                      <a:lnTo>
                        <a:pt x="124" y="139"/>
                      </a:lnTo>
                      <a:lnTo>
                        <a:pt x="124" y="139"/>
                      </a:lnTo>
                      <a:lnTo>
                        <a:pt x="124" y="139"/>
                      </a:lnTo>
                      <a:close/>
                      <a:moveTo>
                        <a:pt x="103" y="120"/>
                      </a:moveTo>
                      <a:lnTo>
                        <a:pt x="105" y="124"/>
                      </a:lnTo>
                      <a:lnTo>
                        <a:pt x="103" y="125"/>
                      </a:lnTo>
                      <a:lnTo>
                        <a:pt x="101" y="124"/>
                      </a:lnTo>
                      <a:lnTo>
                        <a:pt x="103" y="120"/>
                      </a:lnTo>
                      <a:lnTo>
                        <a:pt x="103" y="120"/>
                      </a:lnTo>
                      <a:lnTo>
                        <a:pt x="103" y="120"/>
                      </a:lnTo>
                      <a:lnTo>
                        <a:pt x="103" y="120"/>
                      </a:lnTo>
                      <a:close/>
                      <a:moveTo>
                        <a:pt x="108" y="112"/>
                      </a:moveTo>
                      <a:lnTo>
                        <a:pt x="105" y="115"/>
                      </a:lnTo>
                      <a:lnTo>
                        <a:pt x="105" y="112"/>
                      </a:lnTo>
                      <a:lnTo>
                        <a:pt x="108" y="108"/>
                      </a:lnTo>
                      <a:lnTo>
                        <a:pt x="108" y="112"/>
                      </a:lnTo>
                      <a:lnTo>
                        <a:pt x="108" y="112"/>
                      </a:lnTo>
                      <a:lnTo>
                        <a:pt x="108" y="112"/>
                      </a:lnTo>
                      <a:lnTo>
                        <a:pt x="108" y="112"/>
                      </a:lnTo>
                      <a:close/>
                      <a:moveTo>
                        <a:pt x="112" y="112"/>
                      </a:moveTo>
                      <a:lnTo>
                        <a:pt x="110" y="108"/>
                      </a:lnTo>
                      <a:lnTo>
                        <a:pt x="112" y="106"/>
                      </a:lnTo>
                      <a:lnTo>
                        <a:pt x="113" y="108"/>
                      </a:lnTo>
                      <a:lnTo>
                        <a:pt x="112" y="112"/>
                      </a:lnTo>
                      <a:lnTo>
                        <a:pt x="112" y="112"/>
                      </a:lnTo>
                      <a:lnTo>
                        <a:pt x="112" y="112"/>
                      </a:lnTo>
                      <a:lnTo>
                        <a:pt x="112" y="112"/>
                      </a:lnTo>
                      <a:close/>
                      <a:moveTo>
                        <a:pt x="120" y="103"/>
                      </a:moveTo>
                      <a:lnTo>
                        <a:pt x="120" y="106"/>
                      </a:lnTo>
                      <a:lnTo>
                        <a:pt x="115" y="112"/>
                      </a:lnTo>
                      <a:lnTo>
                        <a:pt x="117" y="105"/>
                      </a:lnTo>
                      <a:lnTo>
                        <a:pt x="120" y="103"/>
                      </a:lnTo>
                      <a:lnTo>
                        <a:pt x="120" y="103"/>
                      </a:lnTo>
                      <a:lnTo>
                        <a:pt x="120" y="103"/>
                      </a:lnTo>
                      <a:lnTo>
                        <a:pt x="120" y="103"/>
                      </a:lnTo>
                      <a:close/>
                      <a:moveTo>
                        <a:pt x="125" y="96"/>
                      </a:moveTo>
                      <a:lnTo>
                        <a:pt x="129" y="92"/>
                      </a:lnTo>
                      <a:lnTo>
                        <a:pt x="131" y="96"/>
                      </a:lnTo>
                      <a:lnTo>
                        <a:pt x="125" y="96"/>
                      </a:lnTo>
                      <a:lnTo>
                        <a:pt x="125" y="96"/>
                      </a:lnTo>
                      <a:lnTo>
                        <a:pt x="125" y="96"/>
                      </a:lnTo>
                      <a:lnTo>
                        <a:pt x="125" y="96"/>
                      </a:lnTo>
                      <a:close/>
                      <a:moveTo>
                        <a:pt x="131" y="96"/>
                      </a:moveTo>
                      <a:lnTo>
                        <a:pt x="131" y="103"/>
                      </a:lnTo>
                      <a:lnTo>
                        <a:pt x="127" y="101"/>
                      </a:lnTo>
                      <a:lnTo>
                        <a:pt x="124" y="105"/>
                      </a:lnTo>
                      <a:lnTo>
                        <a:pt x="124" y="101"/>
                      </a:lnTo>
                      <a:lnTo>
                        <a:pt x="131" y="96"/>
                      </a:lnTo>
                      <a:lnTo>
                        <a:pt x="131" y="96"/>
                      </a:lnTo>
                      <a:lnTo>
                        <a:pt x="131" y="96"/>
                      </a:lnTo>
                      <a:lnTo>
                        <a:pt x="131" y="96"/>
                      </a:lnTo>
                      <a:close/>
                      <a:moveTo>
                        <a:pt x="132" y="80"/>
                      </a:moveTo>
                      <a:lnTo>
                        <a:pt x="134" y="84"/>
                      </a:lnTo>
                      <a:lnTo>
                        <a:pt x="134" y="89"/>
                      </a:lnTo>
                      <a:lnTo>
                        <a:pt x="129" y="92"/>
                      </a:lnTo>
                      <a:lnTo>
                        <a:pt x="127" y="89"/>
                      </a:lnTo>
                      <a:lnTo>
                        <a:pt x="132" y="87"/>
                      </a:lnTo>
                      <a:lnTo>
                        <a:pt x="129" y="87"/>
                      </a:lnTo>
                      <a:lnTo>
                        <a:pt x="125" y="89"/>
                      </a:lnTo>
                      <a:lnTo>
                        <a:pt x="124" y="89"/>
                      </a:lnTo>
                      <a:lnTo>
                        <a:pt x="125" y="84"/>
                      </a:lnTo>
                      <a:lnTo>
                        <a:pt x="129" y="84"/>
                      </a:lnTo>
                      <a:lnTo>
                        <a:pt x="131" y="82"/>
                      </a:lnTo>
                      <a:lnTo>
                        <a:pt x="131" y="80"/>
                      </a:lnTo>
                      <a:lnTo>
                        <a:pt x="132" y="80"/>
                      </a:lnTo>
                      <a:lnTo>
                        <a:pt x="132" y="80"/>
                      </a:lnTo>
                      <a:lnTo>
                        <a:pt x="132" y="80"/>
                      </a:lnTo>
                      <a:lnTo>
                        <a:pt x="132" y="80"/>
                      </a:lnTo>
                      <a:close/>
                      <a:moveTo>
                        <a:pt x="138" y="82"/>
                      </a:moveTo>
                      <a:lnTo>
                        <a:pt x="136" y="80"/>
                      </a:lnTo>
                      <a:lnTo>
                        <a:pt x="136" y="75"/>
                      </a:lnTo>
                      <a:lnTo>
                        <a:pt x="141" y="72"/>
                      </a:lnTo>
                      <a:lnTo>
                        <a:pt x="141" y="70"/>
                      </a:lnTo>
                      <a:lnTo>
                        <a:pt x="143" y="66"/>
                      </a:lnTo>
                      <a:lnTo>
                        <a:pt x="146" y="70"/>
                      </a:lnTo>
                      <a:lnTo>
                        <a:pt x="143" y="73"/>
                      </a:lnTo>
                      <a:lnTo>
                        <a:pt x="143" y="77"/>
                      </a:lnTo>
                      <a:lnTo>
                        <a:pt x="138" y="82"/>
                      </a:lnTo>
                      <a:lnTo>
                        <a:pt x="138" y="82"/>
                      </a:lnTo>
                      <a:lnTo>
                        <a:pt x="138" y="82"/>
                      </a:lnTo>
                      <a:lnTo>
                        <a:pt x="138" y="82"/>
                      </a:lnTo>
                      <a:close/>
                      <a:moveTo>
                        <a:pt x="148" y="84"/>
                      </a:moveTo>
                      <a:lnTo>
                        <a:pt x="152" y="89"/>
                      </a:lnTo>
                      <a:lnTo>
                        <a:pt x="146" y="96"/>
                      </a:lnTo>
                      <a:lnTo>
                        <a:pt x="143" y="96"/>
                      </a:lnTo>
                      <a:lnTo>
                        <a:pt x="141" y="99"/>
                      </a:lnTo>
                      <a:lnTo>
                        <a:pt x="139" y="98"/>
                      </a:lnTo>
                      <a:lnTo>
                        <a:pt x="139" y="96"/>
                      </a:lnTo>
                      <a:lnTo>
                        <a:pt x="136" y="101"/>
                      </a:lnTo>
                      <a:lnTo>
                        <a:pt x="134" y="101"/>
                      </a:lnTo>
                      <a:lnTo>
                        <a:pt x="134" y="96"/>
                      </a:lnTo>
                      <a:lnTo>
                        <a:pt x="136" y="96"/>
                      </a:lnTo>
                      <a:lnTo>
                        <a:pt x="136" y="92"/>
                      </a:lnTo>
                      <a:lnTo>
                        <a:pt x="138" y="89"/>
                      </a:lnTo>
                      <a:lnTo>
                        <a:pt x="138" y="87"/>
                      </a:lnTo>
                      <a:lnTo>
                        <a:pt x="143" y="80"/>
                      </a:lnTo>
                      <a:lnTo>
                        <a:pt x="139" y="89"/>
                      </a:lnTo>
                      <a:lnTo>
                        <a:pt x="141" y="92"/>
                      </a:lnTo>
                      <a:lnTo>
                        <a:pt x="143" y="89"/>
                      </a:lnTo>
                      <a:lnTo>
                        <a:pt x="148" y="89"/>
                      </a:lnTo>
                      <a:lnTo>
                        <a:pt x="146" y="84"/>
                      </a:lnTo>
                      <a:lnTo>
                        <a:pt x="146" y="82"/>
                      </a:lnTo>
                      <a:lnTo>
                        <a:pt x="148" y="84"/>
                      </a:lnTo>
                      <a:lnTo>
                        <a:pt x="148" y="84"/>
                      </a:lnTo>
                      <a:lnTo>
                        <a:pt x="148" y="84"/>
                      </a:lnTo>
                      <a:lnTo>
                        <a:pt x="148" y="84"/>
                      </a:lnTo>
                      <a:close/>
                      <a:moveTo>
                        <a:pt x="146" y="80"/>
                      </a:moveTo>
                      <a:lnTo>
                        <a:pt x="146" y="78"/>
                      </a:lnTo>
                      <a:lnTo>
                        <a:pt x="148" y="78"/>
                      </a:lnTo>
                      <a:lnTo>
                        <a:pt x="152" y="80"/>
                      </a:lnTo>
                      <a:lnTo>
                        <a:pt x="152" y="82"/>
                      </a:lnTo>
                      <a:lnTo>
                        <a:pt x="146" y="80"/>
                      </a:lnTo>
                      <a:lnTo>
                        <a:pt x="146" y="80"/>
                      </a:lnTo>
                      <a:lnTo>
                        <a:pt x="146" y="80"/>
                      </a:lnTo>
                      <a:lnTo>
                        <a:pt x="146" y="80"/>
                      </a:lnTo>
                      <a:close/>
                      <a:moveTo>
                        <a:pt x="157" y="84"/>
                      </a:moveTo>
                      <a:lnTo>
                        <a:pt x="159" y="82"/>
                      </a:lnTo>
                      <a:lnTo>
                        <a:pt x="160" y="84"/>
                      </a:lnTo>
                      <a:lnTo>
                        <a:pt x="157" y="84"/>
                      </a:lnTo>
                      <a:lnTo>
                        <a:pt x="157" y="84"/>
                      </a:lnTo>
                      <a:lnTo>
                        <a:pt x="157" y="84"/>
                      </a:lnTo>
                      <a:lnTo>
                        <a:pt x="157" y="84"/>
                      </a:lnTo>
                      <a:close/>
                      <a:moveTo>
                        <a:pt x="169" y="66"/>
                      </a:moveTo>
                      <a:lnTo>
                        <a:pt x="169" y="70"/>
                      </a:lnTo>
                      <a:lnTo>
                        <a:pt x="169" y="72"/>
                      </a:lnTo>
                      <a:lnTo>
                        <a:pt x="165" y="72"/>
                      </a:lnTo>
                      <a:lnTo>
                        <a:pt x="164" y="73"/>
                      </a:lnTo>
                      <a:lnTo>
                        <a:pt x="160" y="73"/>
                      </a:lnTo>
                      <a:lnTo>
                        <a:pt x="159" y="78"/>
                      </a:lnTo>
                      <a:lnTo>
                        <a:pt x="157" y="78"/>
                      </a:lnTo>
                      <a:lnTo>
                        <a:pt x="157" y="75"/>
                      </a:lnTo>
                      <a:lnTo>
                        <a:pt x="155" y="75"/>
                      </a:lnTo>
                      <a:lnTo>
                        <a:pt x="157" y="70"/>
                      </a:lnTo>
                      <a:lnTo>
                        <a:pt x="155" y="70"/>
                      </a:lnTo>
                      <a:lnTo>
                        <a:pt x="155" y="66"/>
                      </a:lnTo>
                      <a:lnTo>
                        <a:pt x="160" y="66"/>
                      </a:lnTo>
                      <a:lnTo>
                        <a:pt x="155" y="65"/>
                      </a:lnTo>
                      <a:lnTo>
                        <a:pt x="159" y="61"/>
                      </a:lnTo>
                      <a:lnTo>
                        <a:pt x="160" y="61"/>
                      </a:lnTo>
                      <a:lnTo>
                        <a:pt x="160" y="59"/>
                      </a:lnTo>
                      <a:lnTo>
                        <a:pt x="165" y="59"/>
                      </a:lnTo>
                      <a:lnTo>
                        <a:pt x="165" y="61"/>
                      </a:lnTo>
                      <a:lnTo>
                        <a:pt x="169" y="65"/>
                      </a:lnTo>
                      <a:lnTo>
                        <a:pt x="169" y="66"/>
                      </a:lnTo>
                      <a:lnTo>
                        <a:pt x="169" y="66"/>
                      </a:lnTo>
                      <a:lnTo>
                        <a:pt x="169" y="66"/>
                      </a:lnTo>
                      <a:lnTo>
                        <a:pt x="169" y="66"/>
                      </a:lnTo>
                      <a:close/>
                      <a:moveTo>
                        <a:pt x="169" y="58"/>
                      </a:moveTo>
                      <a:lnTo>
                        <a:pt x="174" y="58"/>
                      </a:lnTo>
                      <a:lnTo>
                        <a:pt x="174" y="54"/>
                      </a:lnTo>
                      <a:lnTo>
                        <a:pt x="178" y="54"/>
                      </a:lnTo>
                      <a:lnTo>
                        <a:pt x="179" y="51"/>
                      </a:lnTo>
                      <a:lnTo>
                        <a:pt x="181" y="54"/>
                      </a:lnTo>
                      <a:lnTo>
                        <a:pt x="179" y="58"/>
                      </a:lnTo>
                      <a:lnTo>
                        <a:pt x="179" y="61"/>
                      </a:lnTo>
                      <a:lnTo>
                        <a:pt x="174" y="61"/>
                      </a:lnTo>
                      <a:lnTo>
                        <a:pt x="172" y="61"/>
                      </a:lnTo>
                      <a:lnTo>
                        <a:pt x="169" y="58"/>
                      </a:lnTo>
                      <a:lnTo>
                        <a:pt x="169" y="58"/>
                      </a:lnTo>
                      <a:lnTo>
                        <a:pt x="169" y="58"/>
                      </a:lnTo>
                      <a:lnTo>
                        <a:pt x="169" y="58"/>
                      </a:lnTo>
                      <a:close/>
                      <a:moveTo>
                        <a:pt x="183" y="38"/>
                      </a:moveTo>
                      <a:lnTo>
                        <a:pt x="181" y="37"/>
                      </a:lnTo>
                      <a:lnTo>
                        <a:pt x="185" y="33"/>
                      </a:lnTo>
                      <a:lnTo>
                        <a:pt x="183" y="38"/>
                      </a:lnTo>
                      <a:lnTo>
                        <a:pt x="183" y="38"/>
                      </a:lnTo>
                      <a:lnTo>
                        <a:pt x="183" y="38"/>
                      </a:lnTo>
                      <a:lnTo>
                        <a:pt x="183" y="38"/>
                      </a:lnTo>
                      <a:close/>
                      <a:moveTo>
                        <a:pt x="178" y="44"/>
                      </a:moveTo>
                      <a:lnTo>
                        <a:pt x="178" y="42"/>
                      </a:lnTo>
                      <a:lnTo>
                        <a:pt x="181" y="38"/>
                      </a:lnTo>
                      <a:lnTo>
                        <a:pt x="179" y="42"/>
                      </a:lnTo>
                      <a:lnTo>
                        <a:pt x="179" y="42"/>
                      </a:lnTo>
                      <a:lnTo>
                        <a:pt x="178" y="44"/>
                      </a:lnTo>
                      <a:lnTo>
                        <a:pt x="178" y="44"/>
                      </a:lnTo>
                      <a:lnTo>
                        <a:pt x="178" y="44"/>
                      </a:lnTo>
                      <a:lnTo>
                        <a:pt x="178" y="44"/>
                      </a:lnTo>
                      <a:close/>
                      <a:moveTo>
                        <a:pt x="188" y="51"/>
                      </a:moveTo>
                      <a:lnTo>
                        <a:pt x="188" y="45"/>
                      </a:lnTo>
                      <a:lnTo>
                        <a:pt x="190" y="49"/>
                      </a:lnTo>
                      <a:lnTo>
                        <a:pt x="188" y="51"/>
                      </a:lnTo>
                      <a:lnTo>
                        <a:pt x="188" y="51"/>
                      </a:lnTo>
                      <a:lnTo>
                        <a:pt x="188" y="51"/>
                      </a:lnTo>
                      <a:lnTo>
                        <a:pt x="188" y="51"/>
                      </a:lnTo>
                      <a:close/>
                      <a:moveTo>
                        <a:pt x="186" y="49"/>
                      </a:moveTo>
                      <a:lnTo>
                        <a:pt x="185" y="51"/>
                      </a:lnTo>
                      <a:lnTo>
                        <a:pt x="183" y="51"/>
                      </a:lnTo>
                      <a:lnTo>
                        <a:pt x="178" y="47"/>
                      </a:lnTo>
                      <a:lnTo>
                        <a:pt x="183" y="42"/>
                      </a:lnTo>
                      <a:lnTo>
                        <a:pt x="185" y="44"/>
                      </a:lnTo>
                      <a:lnTo>
                        <a:pt x="188" y="44"/>
                      </a:lnTo>
                      <a:lnTo>
                        <a:pt x="188" y="44"/>
                      </a:lnTo>
                      <a:lnTo>
                        <a:pt x="186" y="47"/>
                      </a:lnTo>
                      <a:lnTo>
                        <a:pt x="186" y="49"/>
                      </a:lnTo>
                      <a:lnTo>
                        <a:pt x="186" y="49"/>
                      </a:lnTo>
                      <a:lnTo>
                        <a:pt x="186" y="49"/>
                      </a:lnTo>
                      <a:lnTo>
                        <a:pt x="186" y="49"/>
                      </a:lnTo>
                      <a:close/>
                      <a:moveTo>
                        <a:pt x="195" y="42"/>
                      </a:moveTo>
                      <a:lnTo>
                        <a:pt x="193" y="42"/>
                      </a:lnTo>
                      <a:lnTo>
                        <a:pt x="190" y="42"/>
                      </a:lnTo>
                      <a:lnTo>
                        <a:pt x="190" y="38"/>
                      </a:lnTo>
                      <a:lnTo>
                        <a:pt x="188" y="33"/>
                      </a:lnTo>
                      <a:lnTo>
                        <a:pt x="190" y="33"/>
                      </a:lnTo>
                      <a:lnTo>
                        <a:pt x="192" y="38"/>
                      </a:lnTo>
                      <a:lnTo>
                        <a:pt x="195" y="38"/>
                      </a:lnTo>
                      <a:lnTo>
                        <a:pt x="195" y="42"/>
                      </a:lnTo>
                      <a:lnTo>
                        <a:pt x="195" y="42"/>
                      </a:lnTo>
                      <a:lnTo>
                        <a:pt x="195" y="42"/>
                      </a:lnTo>
                      <a:lnTo>
                        <a:pt x="195" y="42"/>
                      </a:lnTo>
                      <a:close/>
                      <a:moveTo>
                        <a:pt x="204" y="47"/>
                      </a:moveTo>
                      <a:lnTo>
                        <a:pt x="202" y="44"/>
                      </a:lnTo>
                      <a:lnTo>
                        <a:pt x="200" y="42"/>
                      </a:lnTo>
                      <a:lnTo>
                        <a:pt x="200" y="38"/>
                      </a:lnTo>
                      <a:lnTo>
                        <a:pt x="200" y="33"/>
                      </a:lnTo>
                      <a:lnTo>
                        <a:pt x="205" y="38"/>
                      </a:lnTo>
                      <a:lnTo>
                        <a:pt x="204" y="42"/>
                      </a:lnTo>
                      <a:lnTo>
                        <a:pt x="205" y="44"/>
                      </a:lnTo>
                      <a:lnTo>
                        <a:pt x="204" y="47"/>
                      </a:lnTo>
                      <a:lnTo>
                        <a:pt x="204" y="47"/>
                      </a:lnTo>
                      <a:lnTo>
                        <a:pt x="204" y="47"/>
                      </a:lnTo>
                      <a:lnTo>
                        <a:pt x="204" y="47"/>
                      </a:lnTo>
                      <a:close/>
                      <a:moveTo>
                        <a:pt x="230" y="33"/>
                      </a:moveTo>
                      <a:lnTo>
                        <a:pt x="228" y="33"/>
                      </a:lnTo>
                      <a:lnTo>
                        <a:pt x="223" y="32"/>
                      </a:lnTo>
                      <a:lnTo>
                        <a:pt x="225" y="30"/>
                      </a:lnTo>
                      <a:lnTo>
                        <a:pt x="228" y="30"/>
                      </a:lnTo>
                      <a:lnTo>
                        <a:pt x="230" y="32"/>
                      </a:lnTo>
                      <a:lnTo>
                        <a:pt x="230" y="33"/>
                      </a:lnTo>
                      <a:lnTo>
                        <a:pt x="230" y="33"/>
                      </a:lnTo>
                      <a:lnTo>
                        <a:pt x="230" y="33"/>
                      </a:lnTo>
                      <a:lnTo>
                        <a:pt x="230" y="33"/>
                      </a:lnTo>
                      <a:close/>
                      <a:moveTo>
                        <a:pt x="233" y="32"/>
                      </a:moveTo>
                      <a:lnTo>
                        <a:pt x="230" y="26"/>
                      </a:lnTo>
                      <a:lnTo>
                        <a:pt x="237" y="21"/>
                      </a:lnTo>
                      <a:lnTo>
                        <a:pt x="237" y="25"/>
                      </a:lnTo>
                      <a:lnTo>
                        <a:pt x="235" y="28"/>
                      </a:lnTo>
                      <a:lnTo>
                        <a:pt x="233" y="32"/>
                      </a:lnTo>
                      <a:lnTo>
                        <a:pt x="233" y="32"/>
                      </a:lnTo>
                      <a:lnTo>
                        <a:pt x="233" y="32"/>
                      </a:lnTo>
                      <a:lnTo>
                        <a:pt x="233" y="32"/>
                      </a:lnTo>
                      <a:close/>
                      <a:moveTo>
                        <a:pt x="228" y="25"/>
                      </a:moveTo>
                      <a:lnTo>
                        <a:pt x="225" y="25"/>
                      </a:lnTo>
                      <a:lnTo>
                        <a:pt x="219" y="23"/>
                      </a:lnTo>
                      <a:lnTo>
                        <a:pt x="218" y="19"/>
                      </a:lnTo>
                      <a:lnTo>
                        <a:pt x="219" y="21"/>
                      </a:lnTo>
                      <a:lnTo>
                        <a:pt x="223" y="18"/>
                      </a:lnTo>
                      <a:lnTo>
                        <a:pt x="225" y="21"/>
                      </a:lnTo>
                      <a:lnTo>
                        <a:pt x="228" y="18"/>
                      </a:lnTo>
                      <a:lnTo>
                        <a:pt x="230" y="18"/>
                      </a:lnTo>
                      <a:lnTo>
                        <a:pt x="235" y="14"/>
                      </a:lnTo>
                      <a:lnTo>
                        <a:pt x="235" y="16"/>
                      </a:lnTo>
                      <a:lnTo>
                        <a:pt x="228" y="25"/>
                      </a:lnTo>
                      <a:lnTo>
                        <a:pt x="228" y="25"/>
                      </a:lnTo>
                      <a:lnTo>
                        <a:pt x="228" y="25"/>
                      </a:lnTo>
                      <a:lnTo>
                        <a:pt x="228" y="25"/>
                      </a:lnTo>
                      <a:close/>
                      <a:moveTo>
                        <a:pt x="237" y="18"/>
                      </a:moveTo>
                      <a:lnTo>
                        <a:pt x="237" y="18"/>
                      </a:lnTo>
                      <a:lnTo>
                        <a:pt x="242" y="16"/>
                      </a:lnTo>
                      <a:lnTo>
                        <a:pt x="247" y="18"/>
                      </a:lnTo>
                      <a:lnTo>
                        <a:pt x="245" y="21"/>
                      </a:lnTo>
                      <a:lnTo>
                        <a:pt x="240" y="23"/>
                      </a:lnTo>
                      <a:lnTo>
                        <a:pt x="240" y="19"/>
                      </a:lnTo>
                      <a:lnTo>
                        <a:pt x="237" y="18"/>
                      </a:lnTo>
                      <a:lnTo>
                        <a:pt x="237" y="18"/>
                      </a:lnTo>
                      <a:lnTo>
                        <a:pt x="237" y="18"/>
                      </a:lnTo>
                      <a:lnTo>
                        <a:pt x="237" y="18"/>
                      </a:lnTo>
                      <a:close/>
                      <a:moveTo>
                        <a:pt x="247" y="11"/>
                      </a:moveTo>
                      <a:lnTo>
                        <a:pt x="245" y="11"/>
                      </a:lnTo>
                      <a:lnTo>
                        <a:pt x="245" y="11"/>
                      </a:lnTo>
                      <a:lnTo>
                        <a:pt x="242" y="9"/>
                      </a:lnTo>
                      <a:lnTo>
                        <a:pt x="245" y="7"/>
                      </a:lnTo>
                      <a:lnTo>
                        <a:pt x="247" y="11"/>
                      </a:lnTo>
                      <a:lnTo>
                        <a:pt x="247" y="11"/>
                      </a:lnTo>
                      <a:lnTo>
                        <a:pt x="247" y="11"/>
                      </a:lnTo>
                      <a:lnTo>
                        <a:pt x="247" y="11"/>
                      </a:lnTo>
                      <a:close/>
                      <a:moveTo>
                        <a:pt x="254" y="2"/>
                      </a:moveTo>
                      <a:lnTo>
                        <a:pt x="251" y="2"/>
                      </a:lnTo>
                      <a:lnTo>
                        <a:pt x="252" y="2"/>
                      </a:lnTo>
                      <a:lnTo>
                        <a:pt x="254" y="2"/>
                      </a:lnTo>
                      <a:lnTo>
                        <a:pt x="254" y="2"/>
                      </a:lnTo>
                      <a:lnTo>
                        <a:pt x="254" y="2"/>
                      </a:lnTo>
                      <a:lnTo>
                        <a:pt x="254" y="2"/>
                      </a:lnTo>
                      <a:lnTo>
                        <a:pt x="254" y="2"/>
                      </a:lnTo>
                      <a:close/>
                      <a:moveTo>
                        <a:pt x="259" y="7"/>
                      </a:moveTo>
                      <a:lnTo>
                        <a:pt x="259" y="5"/>
                      </a:lnTo>
                      <a:lnTo>
                        <a:pt x="261" y="2"/>
                      </a:lnTo>
                      <a:lnTo>
                        <a:pt x="263" y="2"/>
                      </a:lnTo>
                      <a:lnTo>
                        <a:pt x="265" y="2"/>
                      </a:lnTo>
                      <a:lnTo>
                        <a:pt x="265" y="0"/>
                      </a:lnTo>
                      <a:lnTo>
                        <a:pt x="266" y="2"/>
                      </a:lnTo>
                      <a:lnTo>
                        <a:pt x="270" y="2"/>
                      </a:lnTo>
                      <a:lnTo>
                        <a:pt x="268" y="5"/>
                      </a:lnTo>
                      <a:lnTo>
                        <a:pt x="270" y="5"/>
                      </a:lnTo>
                      <a:lnTo>
                        <a:pt x="270" y="9"/>
                      </a:lnTo>
                      <a:lnTo>
                        <a:pt x="266" y="11"/>
                      </a:lnTo>
                      <a:lnTo>
                        <a:pt x="263" y="7"/>
                      </a:lnTo>
                      <a:lnTo>
                        <a:pt x="259" y="7"/>
                      </a:lnTo>
                      <a:lnTo>
                        <a:pt x="259" y="7"/>
                      </a:lnTo>
                      <a:lnTo>
                        <a:pt x="259" y="7"/>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7" name="Freeform 9"/>
                <p:cNvSpPr>
                  <a:spLocks noEditPoints="1"/>
                </p:cNvSpPr>
                <p:nvPr/>
              </p:nvSpPr>
              <p:spPr bwMode="auto">
                <a:xfrm>
                  <a:off x="4711700" y="1963738"/>
                  <a:ext cx="261938" cy="612775"/>
                </a:xfrm>
                <a:custGeom>
                  <a:avLst/>
                  <a:gdLst/>
                  <a:ahLst/>
                  <a:cxnLst>
                    <a:cxn ang="0">
                      <a:pos x="5" y="279"/>
                    </a:cxn>
                    <a:cxn ang="0">
                      <a:pos x="17" y="260"/>
                    </a:cxn>
                    <a:cxn ang="0">
                      <a:pos x="19" y="228"/>
                    </a:cxn>
                    <a:cxn ang="0">
                      <a:pos x="8" y="190"/>
                    </a:cxn>
                    <a:cxn ang="0">
                      <a:pos x="26" y="155"/>
                    </a:cxn>
                    <a:cxn ang="0">
                      <a:pos x="33" y="108"/>
                    </a:cxn>
                    <a:cxn ang="0">
                      <a:pos x="45" y="87"/>
                    </a:cxn>
                    <a:cxn ang="0">
                      <a:pos x="54" y="49"/>
                    </a:cxn>
                    <a:cxn ang="0">
                      <a:pos x="69" y="34"/>
                    </a:cxn>
                    <a:cxn ang="0">
                      <a:pos x="78" y="23"/>
                    </a:cxn>
                    <a:cxn ang="0">
                      <a:pos x="99" y="21"/>
                    </a:cxn>
                    <a:cxn ang="0">
                      <a:pos x="106" y="9"/>
                    </a:cxn>
                    <a:cxn ang="0">
                      <a:pos x="113" y="4"/>
                    </a:cxn>
                    <a:cxn ang="0">
                      <a:pos x="142" y="23"/>
                    </a:cxn>
                    <a:cxn ang="0">
                      <a:pos x="151" y="37"/>
                    </a:cxn>
                    <a:cxn ang="0">
                      <a:pos x="154" y="60"/>
                    </a:cxn>
                    <a:cxn ang="0">
                      <a:pos x="160" y="89"/>
                    </a:cxn>
                    <a:cxn ang="0">
                      <a:pos x="160" y="101"/>
                    </a:cxn>
                    <a:cxn ang="0">
                      <a:pos x="146" y="103"/>
                    </a:cxn>
                    <a:cxn ang="0">
                      <a:pos x="132" y="105"/>
                    </a:cxn>
                    <a:cxn ang="0">
                      <a:pos x="132" y="119"/>
                    </a:cxn>
                    <a:cxn ang="0">
                      <a:pos x="132" y="122"/>
                    </a:cxn>
                    <a:cxn ang="0">
                      <a:pos x="132" y="138"/>
                    </a:cxn>
                    <a:cxn ang="0">
                      <a:pos x="127" y="153"/>
                    </a:cxn>
                    <a:cxn ang="0">
                      <a:pos x="113" y="171"/>
                    </a:cxn>
                    <a:cxn ang="0">
                      <a:pos x="102" y="181"/>
                    </a:cxn>
                    <a:cxn ang="0">
                      <a:pos x="94" y="185"/>
                    </a:cxn>
                    <a:cxn ang="0">
                      <a:pos x="85" y="200"/>
                    </a:cxn>
                    <a:cxn ang="0">
                      <a:pos x="80" y="220"/>
                    </a:cxn>
                    <a:cxn ang="0">
                      <a:pos x="80" y="233"/>
                    </a:cxn>
                    <a:cxn ang="0">
                      <a:pos x="85" y="249"/>
                    </a:cxn>
                    <a:cxn ang="0">
                      <a:pos x="100" y="260"/>
                    </a:cxn>
                    <a:cxn ang="0">
                      <a:pos x="100" y="282"/>
                    </a:cxn>
                    <a:cxn ang="0">
                      <a:pos x="85" y="280"/>
                    </a:cxn>
                    <a:cxn ang="0">
                      <a:pos x="71" y="282"/>
                    </a:cxn>
                    <a:cxn ang="0">
                      <a:pos x="83" y="286"/>
                    </a:cxn>
                    <a:cxn ang="0">
                      <a:pos x="102" y="291"/>
                    </a:cxn>
                    <a:cxn ang="0">
                      <a:pos x="92" y="294"/>
                    </a:cxn>
                    <a:cxn ang="0">
                      <a:pos x="83" y="305"/>
                    </a:cxn>
                    <a:cxn ang="0">
                      <a:pos x="78" y="310"/>
                    </a:cxn>
                    <a:cxn ang="0">
                      <a:pos x="80" y="326"/>
                    </a:cxn>
                    <a:cxn ang="0">
                      <a:pos x="80" y="346"/>
                    </a:cxn>
                    <a:cxn ang="0">
                      <a:pos x="66" y="367"/>
                    </a:cxn>
                    <a:cxn ang="0">
                      <a:pos x="48" y="380"/>
                    </a:cxn>
                    <a:cxn ang="0">
                      <a:pos x="29" y="381"/>
                    </a:cxn>
                    <a:cxn ang="0">
                      <a:pos x="29" y="360"/>
                    </a:cxn>
                    <a:cxn ang="0">
                      <a:pos x="14" y="341"/>
                    </a:cxn>
                    <a:cxn ang="0">
                      <a:pos x="8" y="322"/>
                    </a:cxn>
                    <a:cxn ang="0">
                      <a:pos x="5" y="313"/>
                    </a:cxn>
                    <a:cxn ang="0">
                      <a:pos x="0" y="305"/>
                    </a:cxn>
                    <a:cxn ang="0">
                      <a:pos x="100" y="286"/>
                    </a:cxn>
                    <a:cxn ang="0">
                      <a:pos x="100" y="286"/>
                    </a:cxn>
                    <a:cxn ang="0">
                      <a:pos x="5" y="319"/>
                    </a:cxn>
                    <a:cxn ang="0">
                      <a:pos x="118" y="310"/>
                    </a:cxn>
                    <a:cxn ang="0">
                      <a:pos x="118" y="327"/>
                    </a:cxn>
                    <a:cxn ang="0">
                      <a:pos x="116" y="326"/>
                    </a:cxn>
                    <a:cxn ang="0">
                      <a:pos x="113" y="341"/>
                    </a:cxn>
                    <a:cxn ang="0">
                      <a:pos x="116" y="327"/>
                    </a:cxn>
                    <a:cxn ang="0">
                      <a:pos x="102" y="338"/>
                    </a:cxn>
                    <a:cxn ang="0">
                      <a:pos x="106" y="352"/>
                    </a:cxn>
                    <a:cxn ang="0">
                      <a:pos x="83" y="364"/>
                    </a:cxn>
                    <a:cxn ang="0">
                      <a:pos x="83" y="345"/>
                    </a:cxn>
                  </a:cxnLst>
                  <a:rect l="0" t="0" r="r" b="b"/>
                  <a:pathLst>
                    <a:path w="165" h="386">
                      <a:moveTo>
                        <a:pt x="3" y="296"/>
                      </a:moveTo>
                      <a:lnTo>
                        <a:pt x="5" y="296"/>
                      </a:lnTo>
                      <a:lnTo>
                        <a:pt x="5" y="301"/>
                      </a:lnTo>
                      <a:lnTo>
                        <a:pt x="8" y="296"/>
                      </a:lnTo>
                      <a:lnTo>
                        <a:pt x="8" y="286"/>
                      </a:lnTo>
                      <a:lnTo>
                        <a:pt x="5" y="282"/>
                      </a:lnTo>
                      <a:lnTo>
                        <a:pt x="5" y="279"/>
                      </a:lnTo>
                      <a:lnTo>
                        <a:pt x="8" y="279"/>
                      </a:lnTo>
                      <a:lnTo>
                        <a:pt x="8" y="275"/>
                      </a:lnTo>
                      <a:lnTo>
                        <a:pt x="8" y="272"/>
                      </a:lnTo>
                      <a:lnTo>
                        <a:pt x="12" y="272"/>
                      </a:lnTo>
                      <a:lnTo>
                        <a:pt x="14" y="268"/>
                      </a:lnTo>
                      <a:lnTo>
                        <a:pt x="14" y="265"/>
                      </a:lnTo>
                      <a:lnTo>
                        <a:pt x="17" y="260"/>
                      </a:lnTo>
                      <a:lnTo>
                        <a:pt x="14" y="258"/>
                      </a:lnTo>
                      <a:lnTo>
                        <a:pt x="12" y="249"/>
                      </a:lnTo>
                      <a:lnTo>
                        <a:pt x="8" y="242"/>
                      </a:lnTo>
                      <a:lnTo>
                        <a:pt x="12" y="240"/>
                      </a:lnTo>
                      <a:lnTo>
                        <a:pt x="17" y="237"/>
                      </a:lnTo>
                      <a:lnTo>
                        <a:pt x="17" y="232"/>
                      </a:lnTo>
                      <a:lnTo>
                        <a:pt x="19" y="228"/>
                      </a:lnTo>
                      <a:lnTo>
                        <a:pt x="14" y="221"/>
                      </a:lnTo>
                      <a:lnTo>
                        <a:pt x="8" y="220"/>
                      </a:lnTo>
                      <a:lnTo>
                        <a:pt x="8" y="213"/>
                      </a:lnTo>
                      <a:lnTo>
                        <a:pt x="8" y="206"/>
                      </a:lnTo>
                      <a:lnTo>
                        <a:pt x="8" y="200"/>
                      </a:lnTo>
                      <a:lnTo>
                        <a:pt x="8" y="195"/>
                      </a:lnTo>
                      <a:lnTo>
                        <a:pt x="8" y="190"/>
                      </a:lnTo>
                      <a:lnTo>
                        <a:pt x="8" y="181"/>
                      </a:lnTo>
                      <a:lnTo>
                        <a:pt x="5" y="173"/>
                      </a:lnTo>
                      <a:lnTo>
                        <a:pt x="8" y="164"/>
                      </a:lnTo>
                      <a:lnTo>
                        <a:pt x="12" y="159"/>
                      </a:lnTo>
                      <a:lnTo>
                        <a:pt x="14" y="155"/>
                      </a:lnTo>
                      <a:lnTo>
                        <a:pt x="19" y="155"/>
                      </a:lnTo>
                      <a:lnTo>
                        <a:pt x="26" y="155"/>
                      </a:lnTo>
                      <a:lnTo>
                        <a:pt x="26" y="153"/>
                      </a:lnTo>
                      <a:lnTo>
                        <a:pt x="26" y="147"/>
                      </a:lnTo>
                      <a:lnTo>
                        <a:pt x="26" y="143"/>
                      </a:lnTo>
                      <a:lnTo>
                        <a:pt x="26" y="140"/>
                      </a:lnTo>
                      <a:lnTo>
                        <a:pt x="31" y="124"/>
                      </a:lnTo>
                      <a:lnTo>
                        <a:pt x="31" y="117"/>
                      </a:lnTo>
                      <a:lnTo>
                        <a:pt x="33" y="108"/>
                      </a:lnTo>
                      <a:lnTo>
                        <a:pt x="34" y="105"/>
                      </a:lnTo>
                      <a:lnTo>
                        <a:pt x="34" y="100"/>
                      </a:lnTo>
                      <a:lnTo>
                        <a:pt x="33" y="96"/>
                      </a:lnTo>
                      <a:lnTo>
                        <a:pt x="33" y="94"/>
                      </a:lnTo>
                      <a:lnTo>
                        <a:pt x="38" y="91"/>
                      </a:lnTo>
                      <a:lnTo>
                        <a:pt x="43" y="89"/>
                      </a:lnTo>
                      <a:lnTo>
                        <a:pt x="45" y="87"/>
                      </a:lnTo>
                      <a:lnTo>
                        <a:pt x="45" y="84"/>
                      </a:lnTo>
                      <a:lnTo>
                        <a:pt x="50" y="77"/>
                      </a:lnTo>
                      <a:lnTo>
                        <a:pt x="55" y="68"/>
                      </a:lnTo>
                      <a:lnTo>
                        <a:pt x="57" y="65"/>
                      </a:lnTo>
                      <a:lnTo>
                        <a:pt x="55" y="60"/>
                      </a:lnTo>
                      <a:lnTo>
                        <a:pt x="54" y="58"/>
                      </a:lnTo>
                      <a:lnTo>
                        <a:pt x="54" y="49"/>
                      </a:lnTo>
                      <a:lnTo>
                        <a:pt x="55" y="49"/>
                      </a:lnTo>
                      <a:lnTo>
                        <a:pt x="57" y="46"/>
                      </a:lnTo>
                      <a:lnTo>
                        <a:pt x="59" y="42"/>
                      </a:lnTo>
                      <a:lnTo>
                        <a:pt x="61" y="40"/>
                      </a:lnTo>
                      <a:lnTo>
                        <a:pt x="62" y="35"/>
                      </a:lnTo>
                      <a:lnTo>
                        <a:pt x="66" y="32"/>
                      </a:lnTo>
                      <a:lnTo>
                        <a:pt x="69" y="34"/>
                      </a:lnTo>
                      <a:lnTo>
                        <a:pt x="71" y="35"/>
                      </a:lnTo>
                      <a:lnTo>
                        <a:pt x="74" y="35"/>
                      </a:lnTo>
                      <a:lnTo>
                        <a:pt x="76" y="34"/>
                      </a:lnTo>
                      <a:lnTo>
                        <a:pt x="74" y="30"/>
                      </a:lnTo>
                      <a:lnTo>
                        <a:pt x="76" y="27"/>
                      </a:lnTo>
                      <a:lnTo>
                        <a:pt x="76" y="27"/>
                      </a:lnTo>
                      <a:lnTo>
                        <a:pt x="78" y="23"/>
                      </a:lnTo>
                      <a:lnTo>
                        <a:pt x="74" y="21"/>
                      </a:lnTo>
                      <a:lnTo>
                        <a:pt x="76" y="18"/>
                      </a:lnTo>
                      <a:lnTo>
                        <a:pt x="80" y="18"/>
                      </a:lnTo>
                      <a:lnTo>
                        <a:pt x="85" y="18"/>
                      </a:lnTo>
                      <a:lnTo>
                        <a:pt x="90" y="18"/>
                      </a:lnTo>
                      <a:lnTo>
                        <a:pt x="94" y="21"/>
                      </a:lnTo>
                      <a:lnTo>
                        <a:pt x="99" y="21"/>
                      </a:lnTo>
                      <a:lnTo>
                        <a:pt x="100" y="21"/>
                      </a:lnTo>
                      <a:lnTo>
                        <a:pt x="102" y="21"/>
                      </a:lnTo>
                      <a:lnTo>
                        <a:pt x="102" y="23"/>
                      </a:lnTo>
                      <a:lnTo>
                        <a:pt x="102" y="18"/>
                      </a:lnTo>
                      <a:lnTo>
                        <a:pt x="102" y="14"/>
                      </a:lnTo>
                      <a:lnTo>
                        <a:pt x="102" y="11"/>
                      </a:lnTo>
                      <a:lnTo>
                        <a:pt x="106" y="9"/>
                      </a:lnTo>
                      <a:lnTo>
                        <a:pt x="102" y="6"/>
                      </a:lnTo>
                      <a:lnTo>
                        <a:pt x="102" y="4"/>
                      </a:lnTo>
                      <a:lnTo>
                        <a:pt x="100" y="0"/>
                      </a:lnTo>
                      <a:lnTo>
                        <a:pt x="106" y="2"/>
                      </a:lnTo>
                      <a:lnTo>
                        <a:pt x="107" y="0"/>
                      </a:lnTo>
                      <a:lnTo>
                        <a:pt x="109" y="0"/>
                      </a:lnTo>
                      <a:lnTo>
                        <a:pt x="113" y="4"/>
                      </a:lnTo>
                      <a:lnTo>
                        <a:pt x="116" y="6"/>
                      </a:lnTo>
                      <a:lnTo>
                        <a:pt x="123" y="14"/>
                      </a:lnTo>
                      <a:lnTo>
                        <a:pt x="127" y="18"/>
                      </a:lnTo>
                      <a:lnTo>
                        <a:pt x="133" y="18"/>
                      </a:lnTo>
                      <a:lnTo>
                        <a:pt x="133" y="18"/>
                      </a:lnTo>
                      <a:lnTo>
                        <a:pt x="139" y="18"/>
                      </a:lnTo>
                      <a:lnTo>
                        <a:pt x="142" y="23"/>
                      </a:lnTo>
                      <a:lnTo>
                        <a:pt x="142" y="27"/>
                      </a:lnTo>
                      <a:lnTo>
                        <a:pt x="146" y="27"/>
                      </a:lnTo>
                      <a:lnTo>
                        <a:pt x="146" y="27"/>
                      </a:lnTo>
                      <a:lnTo>
                        <a:pt x="147" y="30"/>
                      </a:lnTo>
                      <a:lnTo>
                        <a:pt x="151" y="30"/>
                      </a:lnTo>
                      <a:lnTo>
                        <a:pt x="153" y="34"/>
                      </a:lnTo>
                      <a:lnTo>
                        <a:pt x="151" y="37"/>
                      </a:lnTo>
                      <a:lnTo>
                        <a:pt x="151" y="42"/>
                      </a:lnTo>
                      <a:lnTo>
                        <a:pt x="149" y="46"/>
                      </a:lnTo>
                      <a:lnTo>
                        <a:pt x="151" y="49"/>
                      </a:lnTo>
                      <a:lnTo>
                        <a:pt x="154" y="49"/>
                      </a:lnTo>
                      <a:lnTo>
                        <a:pt x="156" y="53"/>
                      </a:lnTo>
                      <a:lnTo>
                        <a:pt x="154" y="54"/>
                      </a:lnTo>
                      <a:lnTo>
                        <a:pt x="154" y="60"/>
                      </a:lnTo>
                      <a:lnTo>
                        <a:pt x="158" y="63"/>
                      </a:lnTo>
                      <a:lnTo>
                        <a:pt x="158" y="68"/>
                      </a:lnTo>
                      <a:lnTo>
                        <a:pt x="158" y="72"/>
                      </a:lnTo>
                      <a:lnTo>
                        <a:pt x="158" y="73"/>
                      </a:lnTo>
                      <a:lnTo>
                        <a:pt x="158" y="80"/>
                      </a:lnTo>
                      <a:lnTo>
                        <a:pt x="156" y="84"/>
                      </a:lnTo>
                      <a:lnTo>
                        <a:pt x="160" y="89"/>
                      </a:lnTo>
                      <a:lnTo>
                        <a:pt x="163" y="89"/>
                      </a:lnTo>
                      <a:lnTo>
                        <a:pt x="163" y="96"/>
                      </a:lnTo>
                      <a:lnTo>
                        <a:pt x="165" y="96"/>
                      </a:lnTo>
                      <a:lnTo>
                        <a:pt x="165" y="101"/>
                      </a:lnTo>
                      <a:lnTo>
                        <a:pt x="165" y="101"/>
                      </a:lnTo>
                      <a:lnTo>
                        <a:pt x="163" y="101"/>
                      </a:lnTo>
                      <a:lnTo>
                        <a:pt x="160" y="101"/>
                      </a:lnTo>
                      <a:lnTo>
                        <a:pt x="160" y="100"/>
                      </a:lnTo>
                      <a:lnTo>
                        <a:pt x="154" y="101"/>
                      </a:lnTo>
                      <a:lnTo>
                        <a:pt x="153" y="101"/>
                      </a:lnTo>
                      <a:lnTo>
                        <a:pt x="151" y="103"/>
                      </a:lnTo>
                      <a:lnTo>
                        <a:pt x="147" y="103"/>
                      </a:lnTo>
                      <a:lnTo>
                        <a:pt x="146" y="100"/>
                      </a:lnTo>
                      <a:lnTo>
                        <a:pt x="146" y="103"/>
                      </a:lnTo>
                      <a:lnTo>
                        <a:pt x="142" y="100"/>
                      </a:lnTo>
                      <a:lnTo>
                        <a:pt x="140" y="100"/>
                      </a:lnTo>
                      <a:lnTo>
                        <a:pt x="140" y="103"/>
                      </a:lnTo>
                      <a:lnTo>
                        <a:pt x="139" y="108"/>
                      </a:lnTo>
                      <a:lnTo>
                        <a:pt x="137" y="108"/>
                      </a:lnTo>
                      <a:lnTo>
                        <a:pt x="133" y="105"/>
                      </a:lnTo>
                      <a:lnTo>
                        <a:pt x="132" y="105"/>
                      </a:lnTo>
                      <a:lnTo>
                        <a:pt x="133" y="108"/>
                      </a:lnTo>
                      <a:lnTo>
                        <a:pt x="137" y="110"/>
                      </a:lnTo>
                      <a:lnTo>
                        <a:pt x="133" y="113"/>
                      </a:lnTo>
                      <a:lnTo>
                        <a:pt x="132" y="113"/>
                      </a:lnTo>
                      <a:lnTo>
                        <a:pt x="128" y="115"/>
                      </a:lnTo>
                      <a:lnTo>
                        <a:pt x="132" y="117"/>
                      </a:lnTo>
                      <a:lnTo>
                        <a:pt x="132" y="119"/>
                      </a:lnTo>
                      <a:lnTo>
                        <a:pt x="130" y="119"/>
                      </a:lnTo>
                      <a:lnTo>
                        <a:pt x="130" y="117"/>
                      </a:lnTo>
                      <a:lnTo>
                        <a:pt x="127" y="117"/>
                      </a:lnTo>
                      <a:lnTo>
                        <a:pt x="127" y="117"/>
                      </a:lnTo>
                      <a:lnTo>
                        <a:pt x="128" y="119"/>
                      </a:lnTo>
                      <a:lnTo>
                        <a:pt x="130" y="119"/>
                      </a:lnTo>
                      <a:lnTo>
                        <a:pt x="132" y="122"/>
                      </a:lnTo>
                      <a:lnTo>
                        <a:pt x="130" y="122"/>
                      </a:lnTo>
                      <a:lnTo>
                        <a:pt x="128" y="131"/>
                      </a:lnTo>
                      <a:lnTo>
                        <a:pt x="128" y="133"/>
                      </a:lnTo>
                      <a:lnTo>
                        <a:pt x="125" y="133"/>
                      </a:lnTo>
                      <a:lnTo>
                        <a:pt x="128" y="136"/>
                      </a:lnTo>
                      <a:lnTo>
                        <a:pt x="132" y="136"/>
                      </a:lnTo>
                      <a:lnTo>
                        <a:pt x="132" y="138"/>
                      </a:lnTo>
                      <a:lnTo>
                        <a:pt x="130" y="140"/>
                      </a:lnTo>
                      <a:lnTo>
                        <a:pt x="132" y="141"/>
                      </a:lnTo>
                      <a:lnTo>
                        <a:pt x="133" y="141"/>
                      </a:lnTo>
                      <a:lnTo>
                        <a:pt x="132" y="147"/>
                      </a:lnTo>
                      <a:lnTo>
                        <a:pt x="128" y="147"/>
                      </a:lnTo>
                      <a:lnTo>
                        <a:pt x="127" y="150"/>
                      </a:lnTo>
                      <a:lnTo>
                        <a:pt x="127" y="153"/>
                      </a:lnTo>
                      <a:lnTo>
                        <a:pt x="123" y="160"/>
                      </a:lnTo>
                      <a:lnTo>
                        <a:pt x="123" y="160"/>
                      </a:lnTo>
                      <a:lnTo>
                        <a:pt x="120" y="164"/>
                      </a:lnTo>
                      <a:lnTo>
                        <a:pt x="116" y="160"/>
                      </a:lnTo>
                      <a:lnTo>
                        <a:pt x="116" y="164"/>
                      </a:lnTo>
                      <a:lnTo>
                        <a:pt x="118" y="167"/>
                      </a:lnTo>
                      <a:lnTo>
                        <a:pt x="113" y="171"/>
                      </a:lnTo>
                      <a:lnTo>
                        <a:pt x="111" y="174"/>
                      </a:lnTo>
                      <a:lnTo>
                        <a:pt x="109" y="174"/>
                      </a:lnTo>
                      <a:lnTo>
                        <a:pt x="109" y="171"/>
                      </a:lnTo>
                      <a:lnTo>
                        <a:pt x="106" y="171"/>
                      </a:lnTo>
                      <a:lnTo>
                        <a:pt x="106" y="174"/>
                      </a:lnTo>
                      <a:lnTo>
                        <a:pt x="106" y="178"/>
                      </a:lnTo>
                      <a:lnTo>
                        <a:pt x="102" y="181"/>
                      </a:lnTo>
                      <a:lnTo>
                        <a:pt x="102" y="178"/>
                      </a:lnTo>
                      <a:lnTo>
                        <a:pt x="100" y="178"/>
                      </a:lnTo>
                      <a:lnTo>
                        <a:pt x="100" y="181"/>
                      </a:lnTo>
                      <a:lnTo>
                        <a:pt x="99" y="181"/>
                      </a:lnTo>
                      <a:lnTo>
                        <a:pt x="97" y="181"/>
                      </a:lnTo>
                      <a:lnTo>
                        <a:pt x="94" y="181"/>
                      </a:lnTo>
                      <a:lnTo>
                        <a:pt x="94" y="185"/>
                      </a:lnTo>
                      <a:lnTo>
                        <a:pt x="95" y="185"/>
                      </a:lnTo>
                      <a:lnTo>
                        <a:pt x="95" y="188"/>
                      </a:lnTo>
                      <a:lnTo>
                        <a:pt x="90" y="192"/>
                      </a:lnTo>
                      <a:lnTo>
                        <a:pt x="87" y="190"/>
                      </a:lnTo>
                      <a:lnTo>
                        <a:pt x="87" y="193"/>
                      </a:lnTo>
                      <a:lnTo>
                        <a:pt x="88" y="195"/>
                      </a:lnTo>
                      <a:lnTo>
                        <a:pt x="85" y="200"/>
                      </a:lnTo>
                      <a:lnTo>
                        <a:pt x="80" y="200"/>
                      </a:lnTo>
                      <a:lnTo>
                        <a:pt x="78" y="200"/>
                      </a:lnTo>
                      <a:lnTo>
                        <a:pt x="83" y="204"/>
                      </a:lnTo>
                      <a:lnTo>
                        <a:pt x="83" y="209"/>
                      </a:lnTo>
                      <a:lnTo>
                        <a:pt x="80" y="209"/>
                      </a:lnTo>
                      <a:lnTo>
                        <a:pt x="83" y="214"/>
                      </a:lnTo>
                      <a:lnTo>
                        <a:pt x="80" y="220"/>
                      </a:lnTo>
                      <a:lnTo>
                        <a:pt x="83" y="221"/>
                      </a:lnTo>
                      <a:lnTo>
                        <a:pt x="83" y="225"/>
                      </a:lnTo>
                      <a:lnTo>
                        <a:pt x="80" y="223"/>
                      </a:lnTo>
                      <a:lnTo>
                        <a:pt x="80" y="225"/>
                      </a:lnTo>
                      <a:lnTo>
                        <a:pt x="80" y="228"/>
                      </a:lnTo>
                      <a:lnTo>
                        <a:pt x="80" y="232"/>
                      </a:lnTo>
                      <a:lnTo>
                        <a:pt x="80" y="233"/>
                      </a:lnTo>
                      <a:lnTo>
                        <a:pt x="80" y="235"/>
                      </a:lnTo>
                      <a:lnTo>
                        <a:pt x="80" y="235"/>
                      </a:lnTo>
                      <a:lnTo>
                        <a:pt x="80" y="240"/>
                      </a:lnTo>
                      <a:lnTo>
                        <a:pt x="80" y="244"/>
                      </a:lnTo>
                      <a:lnTo>
                        <a:pt x="80" y="246"/>
                      </a:lnTo>
                      <a:lnTo>
                        <a:pt x="83" y="247"/>
                      </a:lnTo>
                      <a:lnTo>
                        <a:pt x="85" y="249"/>
                      </a:lnTo>
                      <a:lnTo>
                        <a:pt x="85" y="251"/>
                      </a:lnTo>
                      <a:lnTo>
                        <a:pt x="87" y="251"/>
                      </a:lnTo>
                      <a:lnTo>
                        <a:pt x="88" y="254"/>
                      </a:lnTo>
                      <a:lnTo>
                        <a:pt x="92" y="251"/>
                      </a:lnTo>
                      <a:lnTo>
                        <a:pt x="94" y="251"/>
                      </a:lnTo>
                      <a:lnTo>
                        <a:pt x="95" y="256"/>
                      </a:lnTo>
                      <a:lnTo>
                        <a:pt x="100" y="260"/>
                      </a:lnTo>
                      <a:lnTo>
                        <a:pt x="100" y="263"/>
                      </a:lnTo>
                      <a:lnTo>
                        <a:pt x="106" y="265"/>
                      </a:lnTo>
                      <a:lnTo>
                        <a:pt x="106" y="267"/>
                      </a:lnTo>
                      <a:lnTo>
                        <a:pt x="107" y="270"/>
                      </a:lnTo>
                      <a:lnTo>
                        <a:pt x="106" y="275"/>
                      </a:lnTo>
                      <a:lnTo>
                        <a:pt x="102" y="280"/>
                      </a:lnTo>
                      <a:lnTo>
                        <a:pt x="100" y="282"/>
                      </a:lnTo>
                      <a:lnTo>
                        <a:pt x="95" y="286"/>
                      </a:lnTo>
                      <a:lnTo>
                        <a:pt x="94" y="282"/>
                      </a:lnTo>
                      <a:lnTo>
                        <a:pt x="94" y="282"/>
                      </a:lnTo>
                      <a:lnTo>
                        <a:pt x="88" y="280"/>
                      </a:lnTo>
                      <a:lnTo>
                        <a:pt x="87" y="279"/>
                      </a:lnTo>
                      <a:lnTo>
                        <a:pt x="87" y="280"/>
                      </a:lnTo>
                      <a:lnTo>
                        <a:pt x="85" y="280"/>
                      </a:lnTo>
                      <a:lnTo>
                        <a:pt x="83" y="279"/>
                      </a:lnTo>
                      <a:lnTo>
                        <a:pt x="80" y="279"/>
                      </a:lnTo>
                      <a:lnTo>
                        <a:pt x="80" y="280"/>
                      </a:lnTo>
                      <a:lnTo>
                        <a:pt x="78" y="282"/>
                      </a:lnTo>
                      <a:lnTo>
                        <a:pt x="76" y="280"/>
                      </a:lnTo>
                      <a:lnTo>
                        <a:pt x="74" y="282"/>
                      </a:lnTo>
                      <a:lnTo>
                        <a:pt x="71" y="282"/>
                      </a:lnTo>
                      <a:lnTo>
                        <a:pt x="69" y="282"/>
                      </a:lnTo>
                      <a:lnTo>
                        <a:pt x="69" y="282"/>
                      </a:lnTo>
                      <a:lnTo>
                        <a:pt x="74" y="286"/>
                      </a:lnTo>
                      <a:lnTo>
                        <a:pt x="76" y="286"/>
                      </a:lnTo>
                      <a:lnTo>
                        <a:pt x="76" y="282"/>
                      </a:lnTo>
                      <a:lnTo>
                        <a:pt x="80" y="282"/>
                      </a:lnTo>
                      <a:lnTo>
                        <a:pt x="83" y="286"/>
                      </a:lnTo>
                      <a:lnTo>
                        <a:pt x="85" y="286"/>
                      </a:lnTo>
                      <a:lnTo>
                        <a:pt x="87" y="287"/>
                      </a:lnTo>
                      <a:lnTo>
                        <a:pt x="90" y="286"/>
                      </a:lnTo>
                      <a:lnTo>
                        <a:pt x="92" y="287"/>
                      </a:lnTo>
                      <a:lnTo>
                        <a:pt x="95" y="286"/>
                      </a:lnTo>
                      <a:lnTo>
                        <a:pt x="100" y="286"/>
                      </a:lnTo>
                      <a:lnTo>
                        <a:pt x="102" y="291"/>
                      </a:lnTo>
                      <a:lnTo>
                        <a:pt x="102" y="293"/>
                      </a:lnTo>
                      <a:lnTo>
                        <a:pt x="100" y="294"/>
                      </a:lnTo>
                      <a:lnTo>
                        <a:pt x="97" y="294"/>
                      </a:lnTo>
                      <a:lnTo>
                        <a:pt x="94" y="300"/>
                      </a:lnTo>
                      <a:lnTo>
                        <a:pt x="92" y="298"/>
                      </a:lnTo>
                      <a:lnTo>
                        <a:pt x="94" y="296"/>
                      </a:lnTo>
                      <a:lnTo>
                        <a:pt x="92" y="294"/>
                      </a:lnTo>
                      <a:lnTo>
                        <a:pt x="90" y="296"/>
                      </a:lnTo>
                      <a:lnTo>
                        <a:pt x="90" y="298"/>
                      </a:lnTo>
                      <a:lnTo>
                        <a:pt x="88" y="298"/>
                      </a:lnTo>
                      <a:lnTo>
                        <a:pt x="87" y="301"/>
                      </a:lnTo>
                      <a:lnTo>
                        <a:pt x="85" y="305"/>
                      </a:lnTo>
                      <a:lnTo>
                        <a:pt x="83" y="303"/>
                      </a:lnTo>
                      <a:lnTo>
                        <a:pt x="83" y="305"/>
                      </a:lnTo>
                      <a:lnTo>
                        <a:pt x="80" y="306"/>
                      </a:lnTo>
                      <a:lnTo>
                        <a:pt x="80" y="306"/>
                      </a:lnTo>
                      <a:lnTo>
                        <a:pt x="80" y="306"/>
                      </a:lnTo>
                      <a:lnTo>
                        <a:pt x="78" y="308"/>
                      </a:lnTo>
                      <a:lnTo>
                        <a:pt x="80" y="308"/>
                      </a:lnTo>
                      <a:lnTo>
                        <a:pt x="83" y="310"/>
                      </a:lnTo>
                      <a:lnTo>
                        <a:pt x="78" y="310"/>
                      </a:lnTo>
                      <a:lnTo>
                        <a:pt x="83" y="313"/>
                      </a:lnTo>
                      <a:lnTo>
                        <a:pt x="83" y="315"/>
                      </a:lnTo>
                      <a:lnTo>
                        <a:pt x="80" y="319"/>
                      </a:lnTo>
                      <a:lnTo>
                        <a:pt x="83" y="322"/>
                      </a:lnTo>
                      <a:lnTo>
                        <a:pt x="80" y="324"/>
                      </a:lnTo>
                      <a:lnTo>
                        <a:pt x="76" y="322"/>
                      </a:lnTo>
                      <a:lnTo>
                        <a:pt x="80" y="326"/>
                      </a:lnTo>
                      <a:lnTo>
                        <a:pt x="78" y="329"/>
                      </a:lnTo>
                      <a:lnTo>
                        <a:pt x="80" y="331"/>
                      </a:lnTo>
                      <a:lnTo>
                        <a:pt x="78" y="333"/>
                      </a:lnTo>
                      <a:lnTo>
                        <a:pt x="80" y="336"/>
                      </a:lnTo>
                      <a:lnTo>
                        <a:pt x="78" y="341"/>
                      </a:lnTo>
                      <a:lnTo>
                        <a:pt x="78" y="345"/>
                      </a:lnTo>
                      <a:lnTo>
                        <a:pt x="80" y="346"/>
                      </a:lnTo>
                      <a:lnTo>
                        <a:pt x="80" y="348"/>
                      </a:lnTo>
                      <a:lnTo>
                        <a:pt x="78" y="357"/>
                      </a:lnTo>
                      <a:lnTo>
                        <a:pt x="76" y="360"/>
                      </a:lnTo>
                      <a:lnTo>
                        <a:pt x="74" y="367"/>
                      </a:lnTo>
                      <a:lnTo>
                        <a:pt x="71" y="373"/>
                      </a:lnTo>
                      <a:lnTo>
                        <a:pt x="67" y="369"/>
                      </a:lnTo>
                      <a:lnTo>
                        <a:pt x="66" y="367"/>
                      </a:lnTo>
                      <a:lnTo>
                        <a:pt x="62" y="369"/>
                      </a:lnTo>
                      <a:lnTo>
                        <a:pt x="55" y="367"/>
                      </a:lnTo>
                      <a:lnTo>
                        <a:pt x="55" y="367"/>
                      </a:lnTo>
                      <a:lnTo>
                        <a:pt x="54" y="373"/>
                      </a:lnTo>
                      <a:lnTo>
                        <a:pt x="48" y="373"/>
                      </a:lnTo>
                      <a:lnTo>
                        <a:pt x="45" y="378"/>
                      </a:lnTo>
                      <a:lnTo>
                        <a:pt x="48" y="380"/>
                      </a:lnTo>
                      <a:lnTo>
                        <a:pt x="48" y="383"/>
                      </a:lnTo>
                      <a:lnTo>
                        <a:pt x="45" y="386"/>
                      </a:lnTo>
                      <a:lnTo>
                        <a:pt x="40" y="383"/>
                      </a:lnTo>
                      <a:lnTo>
                        <a:pt x="33" y="386"/>
                      </a:lnTo>
                      <a:lnTo>
                        <a:pt x="29" y="386"/>
                      </a:lnTo>
                      <a:lnTo>
                        <a:pt x="27" y="383"/>
                      </a:lnTo>
                      <a:lnTo>
                        <a:pt x="29" y="381"/>
                      </a:lnTo>
                      <a:lnTo>
                        <a:pt x="27" y="373"/>
                      </a:lnTo>
                      <a:lnTo>
                        <a:pt x="26" y="373"/>
                      </a:lnTo>
                      <a:lnTo>
                        <a:pt x="22" y="369"/>
                      </a:lnTo>
                      <a:lnTo>
                        <a:pt x="22" y="367"/>
                      </a:lnTo>
                      <a:lnTo>
                        <a:pt x="22" y="367"/>
                      </a:lnTo>
                      <a:lnTo>
                        <a:pt x="26" y="364"/>
                      </a:lnTo>
                      <a:lnTo>
                        <a:pt x="29" y="360"/>
                      </a:lnTo>
                      <a:lnTo>
                        <a:pt x="27" y="357"/>
                      </a:lnTo>
                      <a:lnTo>
                        <a:pt x="26" y="359"/>
                      </a:lnTo>
                      <a:lnTo>
                        <a:pt x="22" y="355"/>
                      </a:lnTo>
                      <a:lnTo>
                        <a:pt x="21" y="352"/>
                      </a:lnTo>
                      <a:lnTo>
                        <a:pt x="17" y="350"/>
                      </a:lnTo>
                      <a:lnTo>
                        <a:pt x="17" y="346"/>
                      </a:lnTo>
                      <a:lnTo>
                        <a:pt x="14" y="341"/>
                      </a:lnTo>
                      <a:lnTo>
                        <a:pt x="12" y="338"/>
                      </a:lnTo>
                      <a:lnTo>
                        <a:pt x="12" y="333"/>
                      </a:lnTo>
                      <a:lnTo>
                        <a:pt x="8" y="333"/>
                      </a:lnTo>
                      <a:lnTo>
                        <a:pt x="5" y="331"/>
                      </a:lnTo>
                      <a:lnTo>
                        <a:pt x="8" y="329"/>
                      </a:lnTo>
                      <a:lnTo>
                        <a:pt x="8" y="326"/>
                      </a:lnTo>
                      <a:lnTo>
                        <a:pt x="8" y="322"/>
                      </a:lnTo>
                      <a:lnTo>
                        <a:pt x="8" y="319"/>
                      </a:lnTo>
                      <a:lnTo>
                        <a:pt x="12" y="317"/>
                      </a:lnTo>
                      <a:lnTo>
                        <a:pt x="8" y="315"/>
                      </a:lnTo>
                      <a:lnTo>
                        <a:pt x="8" y="313"/>
                      </a:lnTo>
                      <a:lnTo>
                        <a:pt x="8" y="313"/>
                      </a:lnTo>
                      <a:lnTo>
                        <a:pt x="5" y="313"/>
                      </a:lnTo>
                      <a:lnTo>
                        <a:pt x="5" y="313"/>
                      </a:lnTo>
                      <a:lnTo>
                        <a:pt x="8" y="317"/>
                      </a:lnTo>
                      <a:lnTo>
                        <a:pt x="5" y="319"/>
                      </a:lnTo>
                      <a:lnTo>
                        <a:pt x="5" y="313"/>
                      </a:lnTo>
                      <a:lnTo>
                        <a:pt x="5" y="313"/>
                      </a:lnTo>
                      <a:lnTo>
                        <a:pt x="0" y="313"/>
                      </a:lnTo>
                      <a:lnTo>
                        <a:pt x="0" y="306"/>
                      </a:lnTo>
                      <a:lnTo>
                        <a:pt x="0" y="305"/>
                      </a:lnTo>
                      <a:lnTo>
                        <a:pt x="0" y="298"/>
                      </a:lnTo>
                      <a:lnTo>
                        <a:pt x="3" y="296"/>
                      </a:lnTo>
                      <a:lnTo>
                        <a:pt x="3" y="296"/>
                      </a:lnTo>
                      <a:lnTo>
                        <a:pt x="3" y="296"/>
                      </a:lnTo>
                      <a:lnTo>
                        <a:pt x="3" y="296"/>
                      </a:lnTo>
                      <a:lnTo>
                        <a:pt x="3" y="296"/>
                      </a:lnTo>
                      <a:close/>
                      <a:moveTo>
                        <a:pt x="100" y="286"/>
                      </a:moveTo>
                      <a:lnTo>
                        <a:pt x="102" y="291"/>
                      </a:lnTo>
                      <a:lnTo>
                        <a:pt x="102" y="291"/>
                      </a:lnTo>
                      <a:lnTo>
                        <a:pt x="106" y="286"/>
                      </a:lnTo>
                      <a:lnTo>
                        <a:pt x="107" y="282"/>
                      </a:lnTo>
                      <a:lnTo>
                        <a:pt x="107" y="280"/>
                      </a:lnTo>
                      <a:lnTo>
                        <a:pt x="102" y="280"/>
                      </a:lnTo>
                      <a:lnTo>
                        <a:pt x="100" y="286"/>
                      </a:lnTo>
                      <a:lnTo>
                        <a:pt x="100" y="286"/>
                      </a:lnTo>
                      <a:lnTo>
                        <a:pt x="100" y="286"/>
                      </a:lnTo>
                      <a:lnTo>
                        <a:pt x="100" y="286"/>
                      </a:lnTo>
                      <a:close/>
                      <a:moveTo>
                        <a:pt x="5" y="319"/>
                      </a:moveTo>
                      <a:lnTo>
                        <a:pt x="5" y="322"/>
                      </a:lnTo>
                      <a:lnTo>
                        <a:pt x="5" y="322"/>
                      </a:lnTo>
                      <a:lnTo>
                        <a:pt x="5" y="319"/>
                      </a:lnTo>
                      <a:lnTo>
                        <a:pt x="5" y="319"/>
                      </a:lnTo>
                      <a:lnTo>
                        <a:pt x="5" y="319"/>
                      </a:lnTo>
                      <a:lnTo>
                        <a:pt x="5" y="319"/>
                      </a:lnTo>
                      <a:lnTo>
                        <a:pt x="5" y="319"/>
                      </a:lnTo>
                      <a:close/>
                      <a:moveTo>
                        <a:pt x="114" y="310"/>
                      </a:moveTo>
                      <a:lnTo>
                        <a:pt x="116" y="313"/>
                      </a:lnTo>
                      <a:lnTo>
                        <a:pt x="118" y="310"/>
                      </a:lnTo>
                      <a:lnTo>
                        <a:pt x="116" y="308"/>
                      </a:lnTo>
                      <a:lnTo>
                        <a:pt x="114" y="310"/>
                      </a:lnTo>
                      <a:lnTo>
                        <a:pt x="114" y="310"/>
                      </a:lnTo>
                      <a:lnTo>
                        <a:pt x="114" y="310"/>
                      </a:lnTo>
                      <a:lnTo>
                        <a:pt x="114" y="310"/>
                      </a:lnTo>
                      <a:close/>
                      <a:moveTo>
                        <a:pt x="116" y="326"/>
                      </a:moveTo>
                      <a:lnTo>
                        <a:pt x="118" y="327"/>
                      </a:lnTo>
                      <a:lnTo>
                        <a:pt x="120" y="324"/>
                      </a:lnTo>
                      <a:lnTo>
                        <a:pt x="123" y="324"/>
                      </a:lnTo>
                      <a:lnTo>
                        <a:pt x="120" y="322"/>
                      </a:lnTo>
                      <a:lnTo>
                        <a:pt x="118" y="322"/>
                      </a:lnTo>
                      <a:lnTo>
                        <a:pt x="116" y="326"/>
                      </a:lnTo>
                      <a:lnTo>
                        <a:pt x="116" y="326"/>
                      </a:lnTo>
                      <a:lnTo>
                        <a:pt x="116" y="326"/>
                      </a:lnTo>
                      <a:lnTo>
                        <a:pt x="116" y="326"/>
                      </a:lnTo>
                      <a:close/>
                      <a:moveTo>
                        <a:pt x="106" y="352"/>
                      </a:moveTo>
                      <a:lnTo>
                        <a:pt x="107" y="350"/>
                      </a:lnTo>
                      <a:lnTo>
                        <a:pt x="109" y="348"/>
                      </a:lnTo>
                      <a:lnTo>
                        <a:pt x="107" y="346"/>
                      </a:lnTo>
                      <a:lnTo>
                        <a:pt x="107" y="345"/>
                      </a:lnTo>
                      <a:lnTo>
                        <a:pt x="113" y="341"/>
                      </a:lnTo>
                      <a:lnTo>
                        <a:pt x="113" y="341"/>
                      </a:lnTo>
                      <a:lnTo>
                        <a:pt x="116" y="336"/>
                      </a:lnTo>
                      <a:lnTo>
                        <a:pt x="114" y="336"/>
                      </a:lnTo>
                      <a:lnTo>
                        <a:pt x="113" y="333"/>
                      </a:lnTo>
                      <a:lnTo>
                        <a:pt x="114" y="331"/>
                      </a:lnTo>
                      <a:lnTo>
                        <a:pt x="114" y="329"/>
                      </a:lnTo>
                      <a:lnTo>
                        <a:pt x="116" y="327"/>
                      </a:lnTo>
                      <a:lnTo>
                        <a:pt x="114" y="326"/>
                      </a:lnTo>
                      <a:lnTo>
                        <a:pt x="113" y="327"/>
                      </a:lnTo>
                      <a:lnTo>
                        <a:pt x="107" y="327"/>
                      </a:lnTo>
                      <a:lnTo>
                        <a:pt x="106" y="331"/>
                      </a:lnTo>
                      <a:lnTo>
                        <a:pt x="106" y="333"/>
                      </a:lnTo>
                      <a:lnTo>
                        <a:pt x="102" y="336"/>
                      </a:lnTo>
                      <a:lnTo>
                        <a:pt x="102" y="338"/>
                      </a:lnTo>
                      <a:lnTo>
                        <a:pt x="102" y="341"/>
                      </a:lnTo>
                      <a:lnTo>
                        <a:pt x="106" y="345"/>
                      </a:lnTo>
                      <a:lnTo>
                        <a:pt x="106" y="345"/>
                      </a:lnTo>
                      <a:lnTo>
                        <a:pt x="106" y="346"/>
                      </a:lnTo>
                      <a:lnTo>
                        <a:pt x="106" y="350"/>
                      </a:lnTo>
                      <a:lnTo>
                        <a:pt x="106" y="352"/>
                      </a:lnTo>
                      <a:lnTo>
                        <a:pt x="106" y="352"/>
                      </a:lnTo>
                      <a:lnTo>
                        <a:pt x="106" y="352"/>
                      </a:lnTo>
                      <a:lnTo>
                        <a:pt x="106" y="352"/>
                      </a:lnTo>
                      <a:close/>
                      <a:moveTo>
                        <a:pt x="80" y="360"/>
                      </a:moveTo>
                      <a:lnTo>
                        <a:pt x="80" y="364"/>
                      </a:lnTo>
                      <a:lnTo>
                        <a:pt x="80" y="367"/>
                      </a:lnTo>
                      <a:lnTo>
                        <a:pt x="80" y="367"/>
                      </a:lnTo>
                      <a:lnTo>
                        <a:pt x="83" y="364"/>
                      </a:lnTo>
                      <a:lnTo>
                        <a:pt x="83" y="360"/>
                      </a:lnTo>
                      <a:lnTo>
                        <a:pt x="85" y="353"/>
                      </a:lnTo>
                      <a:lnTo>
                        <a:pt x="87" y="348"/>
                      </a:lnTo>
                      <a:lnTo>
                        <a:pt x="87" y="345"/>
                      </a:lnTo>
                      <a:lnTo>
                        <a:pt x="85" y="341"/>
                      </a:lnTo>
                      <a:lnTo>
                        <a:pt x="83" y="345"/>
                      </a:lnTo>
                      <a:lnTo>
                        <a:pt x="83" y="345"/>
                      </a:lnTo>
                      <a:lnTo>
                        <a:pt x="83" y="352"/>
                      </a:lnTo>
                      <a:lnTo>
                        <a:pt x="80" y="352"/>
                      </a:lnTo>
                      <a:lnTo>
                        <a:pt x="80" y="360"/>
                      </a:lnTo>
                      <a:lnTo>
                        <a:pt x="80" y="360"/>
                      </a:lnTo>
                      <a:lnTo>
                        <a:pt x="80" y="360"/>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8" name="Freeform 10"/>
                <p:cNvSpPr>
                  <a:spLocks noEditPoints="1"/>
                </p:cNvSpPr>
                <p:nvPr/>
              </p:nvSpPr>
              <p:spPr bwMode="auto">
                <a:xfrm>
                  <a:off x="4887913" y="1903413"/>
                  <a:ext cx="269875" cy="485775"/>
                </a:xfrm>
                <a:custGeom>
                  <a:avLst/>
                  <a:gdLst/>
                  <a:ahLst/>
                  <a:cxnLst>
                    <a:cxn ang="0">
                      <a:pos x="155" y="256"/>
                    </a:cxn>
                    <a:cxn ang="0">
                      <a:pos x="158" y="209"/>
                    </a:cxn>
                    <a:cxn ang="0">
                      <a:pos x="146" y="174"/>
                    </a:cxn>
                    <a:cxn ang="0">
                      <a:pos x="141" y="153"/>
                    </a:cxn>
                    <a:cxn ang="0">
                      <a:pos x="135" y="118"/>
                    </a:cxn>
                    <a:cxn ang="0">
                      <a:pos x="130" y="77"/>
                    </a:cxn>
                    <a:cxn ang="0">
                      <a:pos x="111" y="59"/>
                    </a:cxn>
                    <a:cxn ang="0">
                      <a:pos x="108" y="35"/>
                    </a:cxn>
                    <a:cxn ang="0">
                      <a:pos x="111" y="11"/>
                    </a:cxn>
                    <a:cxn ang="0">
                      <a:pos x="83" y="0"/>
                    </a:cxn>
                    <a:cxn ang="0">
                      <a:pos x="69" y="7"/>
                    </a:cxn>
                    <a:cxn ang="0">
                      <a:pos x="66" y="32"/>
                    </a:cxn>
                    <a:cxn ang="0">
                      <a:pos x="57" y="42"/>
                    </a:cxn>
                    <a:cxn ang="0">
                      <a:pos x="35" y="49"/>
                    </a:cxn>
                    <a:cxn ang="0">
                      <a:pos x="9" y="28"/>
                    </a:cxn>
                    <a:cxn ang="0">
                      <a:pos x="0" y="35"/>
                    </a:cxn>
                    <a:cxn ang="0">
                      <a:pos x="24" y="54"/>
                    </a:cxn>
                    <a:cxn ang="0">
                      <a:pos x="36" y="63"/>
                    </a:cxn>
                    <a:cxn ang="0">
                      <a:pos x="42" y="82"/>
                    </a:cxn>
                    <a:cxn ang="0">
                      <a:pos x="50" y="99"/>
                    </a:cxn>
                    <a:cxn ang="0">
                      <a:pos x="50" y="125"/>
                    </a:cxn>
                    <a:cxn ang="0">
                      <a:pos x="61" y="138"/>
                    </a:cxn>
                    <a:cxn ang="0">
                      <a:pos x="75" y="155"/>
                    </a:cxn>
                    <a:cxn ang="0">
                      <a:pos x="78" y="167"/>
                    </a:cxn>
                    <a:cxn ang="0">
                      <a:pos x="61" y="178"/>
                    </a:cxn>
                    <a:cxn ang="0">
                      <a:pos x="50" y="186"/>
                    </a:cxn>
                    <a:cxn ang="0">
                      <a:pos x="50" y="202"/>
                    </a:cxn>
                    <a:cxn ang="0">
                      <a:pos x="38" y="204"/>
                    </a:cxn>
                    <a:cxn ang="0">
                      <a:pos x="35" y="216"/>
                    </a:cxn>
                    <a:cxn ang="0">
                      <a:pos x="26" y="218"/>
                    </a:cxn>
                    <a:cxn ang="0">
                      <a:pos x="24" y="231"/>
                    </a:cxn>
                    <a:cxn ang="0">
                      <a:pos x="28" y="244"/>
                    </a:cxn>
                    <a:cxn ang="0">
                      <a:pos x="35" y="261"/>
                    </a:cxn>
                    <a:cxn ang="0">
                      <a:pos x="31" y="284"/>
                    </a:cxn>
                    <a:cxn ang="0">
                      <a:pos x="42" y="289"/>
                    </a:cxn>
                    <a:cxn ang="0">
                      <a:pos x="54" y="292"/>
                    </a:cxn>
                    <a:cxn ang="0">
                      <a:pos x="61" y="306"/>
                    </a:cxn>
                    <a:cxn ang="0">
                      <a:pos x="73" y="303"/>
                    </a:cxn>
                    <a:cxn ang="0">
                      <a:pos x="95" y="292"/>
                    </a:cxn>
                    <a:cxn ang="0">
                      <a:pos x="101" y="291"/>
                    </a:cxn>
                    <a:cxn ang="0">
                      <a:pos x="108" y="291"/>
                    </a:cxn>
                    <a:cxn ang="0">
                      <a:pos x="120" y="287"/>
                    </a:cxn>
                    <a:cxn ang="0">
                      <a:pos x="130" y="284"/>
                    </a:cxn>
                    <a:cxn ang="0">
                      <a:pos x="135" y="284"/>
                    </a:cxn>
                    <a:cxn ang="0">
                      <a:pos x="69" y="155"/>
                    </a:cxn>
                    <a:cxn ang="0">
                      <a:pos x="73" y="160"/>
                    </a:cxn>
                    <a:cxn ang="0">
                      <a:pos x="22" y="209"/>
                    </a:cxn>
                    <a:cxn ang="0">
                      <a:pos x="26" y="211"/>
                    </a:cxn>
                    <a:cxn ang="0">
                      <a:pos x="21" y="211"/>
                    </a:cxn>
                    <a:cxn ang="0">
                      <a:pos x="56" y="303"/>
                    </a:cxn>
                    <a:cxn ang="0">
                      <a:pos x="52" y="298"/>
                    </a:cxn>
                    <a:cxn ang="0">
                      <a:pos x="52" y="298"/>
                    </a:cxn>
                    <a:cxn ang="0">
                      <a:pos x="45" y="296"/>
                    </a:cxn>
                    <a:cxn ang="0">
                      <a:pos x="42" y="292"/>
                    </a:cxn>
                    <a:cxn ang="0">
                      <a:pos x="31" y="289"/>
                    </a:cxn>
                    <a:cxn ang="0">
                      <a:pos x="31" y="289"/>
                    </a:cxn>
                    <a:cxn ang="0">
                      <a:pos x="10" y="289"/>
                    </a:cxn>
                    <a:cxn ang="0">
                      <a:pos x="16" y="299"/>
                    </a:cxn>
                    <a:cxn ang="0">
                      <a:pos x="10" y="298"/>
                    </a:cxn>
                  </a:cxnLst>
                  <a:rect l="0" t="0" r="r" b="b"/>
                  <a:pathLst>
                    <a:path w="170" h="306">
                      <a:moveTo>
                        <a:pt x="135" y="284"/>
                      </a:moveTo>
                      <a:lnTo>
                        <a:pt x="134" y="278"/>
                      </a:lnTo>
                      <a:lnTo>
                        <a:pt x="142" y="273"/>
                      </a:lnTo>
                      <a:lnTo>
                        <a:pt x="146" y="270"/>
                      </a:lnTo>
                      <a:lnTo>
                        <a:pt x="151" y="261"/>
                      </a:lnTo>
                      <a:lnTo>
                        <a:pt x="155" y="256"/>
                      </a:lnTo>
                      <a:lnTo>
                        <a:pt x="160" y="247"/>
                      </a:lnTo>
                      <a:lnTo>
                        <a:pt x="167" y="237"/>
                      </a:lnTo>
                      <a:lnTo>
                        <a:pt x="170" y="223"/>
                      </a:lnTo>
                      <a:lnTo>
                        <a:pt x="170" y="218"/>
                      </a:lnTo>
                      <a:lnTo>
                        <a:pt x="163" y="209"/>
                      </a:lnTo>
                      <a:lnTo>
                        <a:pt x="158" y="209"/>
                      </a:lnTo>
                      <a:lnTo>
                        <a:pt x="151" y="197"/>
                      </a:lnTo>
                      <a:lnTo>
                        <a:pt x="151" y="191"/>
                      </a:lnTo>
                      <a:lnTo>
                        <a:pt x="155" y="186"/>
                      </a:lnTo>
                      <a:lnTo>
                        <a:pt x="155" y="181"/>
                      </a:lnTo>
                      <a:lnTo>
                        <a:pt x="151" y="178"/>
                      </a:lnTo>
                      <a:lnTo>
                        <a:pt x="146" y="174"/>
                      </a:lnTo>
                      <a:lnTo>
                        <a:pt x="146" y="169"/>
                      </a:lnTo>
                      <a:lnTo>
                        <a:pt x="148" y="167"/>
                      </a:lnTo>
                      <a:lnTo>
                        <a:pt x="146" y="164"/>
                      </a:lnTo>
                      <a:lnTo>
                        <a:pt x="142" y="162"/>
                      </a:lnTo>
                      <a:lnTo>
                        <a:pt x="141" y="160"/>
                      </a:lnTo>
                      <a:lnTo>
                        <a:pt x="141" y="153"/>
                      </a:lnTo>
                      <a:lnTo>
                        <a:pt x="142" y="150"/>
                      </a:lnTo>
                      <a:lnTo>
                        <a:pt x="141" y="150"/>
                      </a:lnTo>
                      <a:lnTo>
                        <a:pt x="141" y="146"/>
                      </a:lnTo>
                      <a:lnTo>
                        <a:pt x="141" y="136"/>
                      </a:lnTo>
                      <a:lnTo>
                        <a:pt x="142" y="136"/>
                      </a:lnTo>
                      <a:lnTo>
                        <a:pt x="135" y="118"/>
                      </a:lnTo>
                      <a:lnTo>
                        <a:pt x="128" y="105"/>
                      </a:lnTo>
                      <a:lnTo>
                        <a:pt x="127" y="99"/>
                      </a:lnTo>
                      <a:lnTo>
                        <a:pt x="123" y="94"/>
                      </a:lnTo>
                      <a:lnTo>
                        <a:pt x="125" y="85"/>
                      </a:lnTo>
                      <a:lnTo>
                        <a:pt x="128" y="82"/>
                      </a:lnTo>
                      <a:lnTo>
                        <a:pt x="130" y="77"/>
                      </a:lnTo>
                      <a:lnTo>
                        <a:pt x="128" y="75"/>
                      </a:lnTo>
                      <a:lnTo>
                        <a:pt x="120" y="70"/>
                      </a:lnTo>
                      <a:lnTo>
                        <a:pt x="120" y="66"/>
                      </a:lnTo>
                      <a:lnTo>
                        <a:pt x="118" y="63"/>
                      </a:lnTo>
                      <a:lnTo>
                        <a:pt x="113" y="59"/>
                      </a:lnTo>
                      <a:lnTo>
                        <a:pt x="111" y="59"/>
                      </a:lnTo>
                      <a:lnTo>
                        <a:pt x="108" y="51"/>
                      </a:lnTo>
                      <a:lnTo>
                        <a:pt x="104" y="49"/>
                      </a:lnTo>
                      <a:lnTo>
                        <a:pt x="106" y="42"/>
                      </a:lnTo>
                      <a:lnTo>
                        <a:pt x="108" y="38"/>
                      </a:lnTo>
                      <a:lnTo>
                        <a:pt x="104" y="37"/>
                      </a:lnTo>
                      <a:lnTo>
                        <a:pt x="108" y="35"/>
                      </a:lnTo>
                      <a:lnTo>
                        <a:pt x="111" y="33"/>
                      </a:lnTo>
                      <a:lnTo>
                        <a:pt x="111" y="26"/>
                      </a:lnTo>
                      <a:lnTo>
                        <a:pt x="115" y="23"/>
                      </a:lnTo>
                      <a:lnTo>
                        <a:pt x="115" y="18"/>
                      </a:lnTo>
                      <a:lnTo>
                        <a:pt x="111" y="14"/>
                      </a:lnTo>
                      <a:lnTo>
                        <a:pt x="111" y="11"/>
                      </a:lnTo>
                      <a:lnTo>
                        <a:pt x="104" y="11"/>
                      </a:lnTo>
                      <a:lnTo>
                        <a:pt x="101" y="9"/>
                      </a:lnTo>
                      <a:lnTo>
                        <a:pt x="97" y="7"/>
                      </a:lnTo>
                      <a:lnTo>
                        <a:pt x="95" y="4"/>
                      </a:lnTo>
                      <a:lnTo>
                        <a:pt x="92" y="0"/>
                      </a:lnTo>
                      <a:lnTo>
                        <a:pt x="83" y="0"/>
                      </a:lnTo>
                      <a:lnTo>
                        <a:pt x="82" y="4"/>
                      </a:lnTo>
                      <a:lnTo>
                        <a:pt x="82" y="4"/>
                      </a:lnTo>
                      <a:lnTo>
                        <a:pt x="78" y="4"/>
                      </a:lnTo>
                      <a:lnTo>
                        <a:pt x="73" y="4"/>
                      </a:lnTo>
                      <a:lnTo>
                        <a:pt x="69" y="5"/>
                      </a:lnTo>
                      <a:lnTo>
                        <a:pt x="69" y="7"/>
                      </a:lnTo>
                      <a:lnTo>
                        <a:pt x="69" y="11"/>
                      </a:lnTo>
                      <a:lnTo>
                        <a:pt x="66" y="12"/>
                      </a:lnTo>
                      <a:lnTo>
                        <a:pt x="69" y="16"/>
                      </a:lnTo>
                      <a:lnTo>
                        <a:pt x="66" y="18"/>
                      </a:lnTo>
                      <a:lnTo>
                        <a:pt x="66" y="28"/>
                      </a:lnTo>
                      <a:lnTo>
                        <a:pt x="66" y="32"/>
                      </a:lnTo>
                      <a:lnTo>
                        <a:pt x="69" y="35"/>
                      </a:lnTo>
                      <a:lnTo>
                        <a:pt x="66" y="37"/>
                      </a:lnTo>
                      <a:lnTo>
                        <a:pt x="66" y="38"/>
                      </a:lnTo>
                      <a:lnTo>
                        <a:pt x="61" y="38"/>
                      </a:lnTo>
                      <a:lnTo>
                        <a:pt x="59" y="42"/>
                      </a:lnTo>
                      <a:lnTo>
                        <a:pt x="57" y="42"/>
                      </a:lnTo>
                      <a:lnTo>
                        <a:pt x="54" y="47"/>
                      </a:lnTo>
                      <a:lnTo>
                        <a:pt x="50" y="45"/>
                      </a:lnTo>
                      <a:lnTo>
                        <a:pt x="45" y="42"/>
                      </a:lnTo>
                      <a:lnTo>
                        <a:pt x="42" y="42"/>
                      </a:lnTo>
                      <a:lnTo>
                        <a:pt x="38" y="44"/>
                      </a:lnTo>
                      <a:lnTo>
                        <a:pt x="35" y="49"/>
                      </a:lnTo>
                      <a:lnTo>
                        <a:pt x="28" y="49"/>
                      </a:lnTo>
                      <a:lnTo>
                        <a:pt x="22" y="45"/>
                      </a:lnTo>
                      <a:lnTo>
                        <a:pt x="19" y="42"/>
                      </a:lnTo>
                      <a:lnTo>
                        <a:pt x="19" y="38"/>
                      </a:lnTo>
                      <a:lnTo>
                        <a:pt x="10" y="32"/>
                      </a:lnTo>
                      <a:lnTo>
                        <a:pt x="9" y="28"/>
                      </a:lnTo>
                      <a:lnTo>
                        <a:pt x="5" y="28"/>
                      </a:lnTo>
                      <a:lnTo>
                        <a:pt x="3" y="32"/>
                      </a:lnTo>
                      <a:lnTo>
                        <a:pt x="2" y="33"/>
                      </a:lnTo>
                      <a:lnTo>
                        <a:pt x="3" y="35"/>
                      </a:lnTo>
                      <a:lnTo>
                        <a:pt x="2" y="37"/>
                      </a:lnTo>
                      <a:lnTo>
                        <a:pt x="0" y="35"/>
                      </a:lnTo>
                      <a:lnTo>
                        <a:pt x="0" y="37"/>
                      </a:lnTo>
                      <a:lnTo>
                        <a:pt x="3" y="40"/>
                      </a:lnTo>
                      <a:lnTo>
                        <a:pt x="7" y="42"/>
                      </a:lnTo>
                      <a:lnTo>
                        <a:pt x="14" y="51"/>
                      </a:lnTo>
                      <a:lnTo>
                        <a:pt x="19" y="54"/>
                      </a:lnTo>
                      <a:lnTo>
                        <a:pt x="24" y="54"/>
                      </a:lnTo>
                      <a:lnTo>
                        <a:pt x="26" y="54"/>
                      </a:lnTo>
                      <a:lnTo>
                        <a:pt x="29" y="54"/>
                      </a:lnTo>
                      <a:lnTo>
                        <a:pt x="33" y="59"/>
                      </a:lnTo>
                      <a:lnTo>
                        <a:pt x="35" y="63"/>
                      </a:lnTo>
                      <a:lnTo>
                        <a:pt x="36" y="63"/>
                      </a:lnTo>
                      <a:lnTo>
                        <a:pt x="36" y="63"/>
                      </a:lnTo>
                      <a:lnTo>
                        <a:pt x="38" y="66"/>
                      </a:lnTo>
                      <a:lnTo>
                        <a:pt x="42" y="66"/>
                      </a:lnTo>
                      <a:lnTo>
                        <a:pt x="43" y="70"/>
                      </a:lnTo>
                      <a:lnTo>
                        <a:pt x="42" y="73"/>
                      </a:lnTo>
                      <a:lnTo>
                        <a:pt x="42" y="78"/>
                      </a:lnTo>
                      <a:lnTo>
                        <a:pt x="42" y="82"/>
                      </a:lnTo>
                      <a:lnTo>
                        <a:pt x="42" y="85"/>
                      </a:lnTo>
                      <a:lnTo>
                        <a:pt x="45" y="85"/>
                      </a:lnTo>
                      <a:lnTo>
                        <a:pt x="47" y="91"/>
                      </a:lnTo>
                      <a:lnTo>
                        <a:pt x="45" y="91"/>
                      </a:lnTo>
                      <a:lnTo>
                        <a:pt x="45" y="96"/>
                      </a:lnTo>
                      <a:lnTo>
                        <a:pt x="50" y="99"/>
                      </a:lnTo>
                      <a:lnTo>
                        <a:pt x="50" y="106"/>
                      </a:lnTo>
                      <a:lnTo>
                        <a:pt x="50" y="108"/>
                      </a:lnTo>
                      <a:lnTo>
                        <a:pt x="50" y="110"/>
                      </a:lnTo>
                      <a:lnTo>
                        <a:pt x="50" y="118"/>
                      </a:lnTo>
                      <a:lnTo>
                        <a:pt x="47" y="120"/>
                      </a:lnTo>
                      <a:lnTo>
                        <a:pt x="50" y="125"/>
                      </a:lnTo>
                      <a:lnTo>
                        <a:pt x="54" y="125"/>
                      </a:lnTo>
                      <a:lnTo>
                        <a:pt x="56" y="132"/>
                      </a:lnTo>
                      <a:lnTo>
                        <a:pt x="57" y="134"/>
                      </a:lnTo>
                      <a:lnTo>
                        <a:pt x="57" y="138"/>
                      </a:lnTo>
                      <a:lnTo>
                        <a:pt x="59" y="138"/>
                      </a:lnTo>
                      <a:lnTo>
                        <a:pt x="61" y="138"/>
                      </a:lnTo>
                      <a:lnTo>
                        <a:pt x="66" y="141"/>
                      </a:lnTo>
                      <a:lnTo>
                        <a:pt x="73" y="141"/>
                      </a:lnTo>
                      <a:lnTo>
                        <a:pt x="76" y="146"/>
                      </a:lnTo>
                      <a:lnTo>
                        <a:pt x="73" y="150"/>
                      </a:lnTo>
                      <a:lnTo>
                        <a:pt x="75" y="150"/>
                      </a:lnTo>
                      <a:lnTo>
                        <a:pt x="75" y="155"/>
                      </a:lnTo>
                      <a:lnTo>
                        <a:pt x="75" y="157"/>
                      </a:lnTo>
                      <a:lnTo>
                        <a:pt x="80" y="162"/>
                      </a:lnTo>
                      <a:lnTo>
                        <a:pt x="75" y="160"/>
                      </a:lnTo>
                      <a:lnTo>
                        <a:pt x="75" y="162"/>
                      </a:lnTo>
                      <a:lnTo>
                        <a:pt x="78" y="165"/>
                      </a:lnTo>
                      <a:lnTo>
                        <a:pt x="78" y="167"/>
                      </a:lnTo>
                      <a:lnTo>
                        <a:pt x="73" y="165"/>
                      </a:lnTo>
                      <a:lnTo>
                        <a:pt x="69" y="165"/>
                      </a:lnTo>
                      <a:lnTo>
                        <a:pt x="66" y="167"/>
                      </a:lnTo>
                      <a:lnTo>
                        <a:pt x="66" y="169"/>
                      </a:lnTo>
                      <a:lnTo>
                        <a:pt x="61" y="172"/>
                      </a:lnTo>
                      <a:lnTo>
                        <a:pt x="61" y="178"/>
                      </a:lnTo>
                      <a:lnTo>
                        <a:pt x="61" y="178"/>
                      </a:lnTo>
                      <a:lnTo>
                        <a:pt x="56" y="183"/>
                      </a:lnTo>
                      <a:lnTo>
                        <a:pt x="54" y="188"/>
                      </a:lnTo>
                      <a:lnTo>
                        <a:pt x="54" y="188"/>
                      </a:lnTo>
                      <a:lnTo>
                        <a:pt x="52" y="186"/>
                      </a:lnTo>
                      <a:lnTo>
                        <a:pt x="50" y="186"/>
                      </a:lnTo>
                      <a:lnTo>
                        <a:pt x="52" y="190"/>
                      </a:lnTo>
                      <a:lnTo>
                        <a:pt x="50" y="193"/>
                      </a:lnTo>
                      <a:lnTo>
                        <a:pt x="47" y="193"/>
                      </a:lnTo>
                      <a:lnTo>
                        <a:pt x="45" y="197"/>
                      </a:lnTo>
                      <a:lnTo>
                        <a:pt x="45" y="200"/>
                      </a:lnTo>
                      <a:lnTo>
                        <a:pt x="50" y="202"/>
                      </a:lnTo>
                      <a:lnTo>
                        <a:pt x="43" y="200"/>
                      </a:lnTo>
                      <a:lnTo>
                        <a:pt x="43" y="200"/>
                      </a:lnTo>
                      <a:lnTo>
                        <a:pt x="42" y="200"/>
                      </a:lnTo>
                      <a:lnTo>
                        <a:pt x="38" y="204"/>
                      </a:lnTo>
                      <a:lnTo>
                        <a:pt x="42" y="205"/>
                      </a:lnTo>
                      <a:lnTo>
                        <a:pt x="38" y="204"/>
                      </a:lnTo>
                      <a:lnTo>
                        <a:pt x="38" y="205"/>
                      </a:lnTo>
                      <a:lnTo>
                        <a:pt x="38" y="209"/>
                      </a:lnTo>
                      <a:lnTo>
                        <a:pt x="38" y="209"/>
                      </a:lnTo>
                      <a:lnTo>
                        <a:pt x="38" y="212"/>
                      </a:lnTo>
                      <a:lnTo>
                        <a:pt x="36" y="214"/>
                      </a:lnTo>
                      <a:lnTo>
                        <a:pt x="35" y="216"/>
                      </a:lnTo>
                      <a:lnTo>
                        <a:pt x="33" y="214"/>
                      </a:lnTo>
                      <a:lnTo>
                        <a:pt x="31" y="214"/>
                      </a:lnTo>
                      <a:lnTo>
                        <a:pt x="29" y="212"/>
                      </a:lnTo>
                      <a:lnTo>
                        <a:pt x="28" y="214"/>
                      </a:lnTo>
                      <a:lnTo>
                        <a:pt x="28" y="216"/>
                      </a:lnTo>
                      <a:lnTo>
                        <a:pt x="26" y="218"/>
                      </a:lnTo>
                      <a:lnTo>
                        <a:pt x="28" y="219"/>
                      </a:lnTo>
                      <a:lnTo>
                        <a:pt x="26" y="225"/>
                      </a:lnTo>
                      <a:lnTo>
                        <a:pt x="24" y="225"/>
                      </a:lnTo>
                      <a:lnTo>
                        <a:pt x="22" y="228"/>
                      </a:lnTo>
                      <a:lnTo>
                        <a:pt x="24" y="231"/>
                      </a:lnTo>
                      <a:lnTo>
                        <a:pt x="24" y="231"/>
                      </a:lnTo>
                      <a:lnTo>
                        <a:pt x="24" y="237"/>
                      </a:lnTo>
                      <a:lnTo>
                        <a:pt x="24" y="237"/>
                      </a:lnTo>
                      <a:lnTo>
                        <a:pt x="26" y="237"/>
                      </a:lnTo>
                      <a:lnTo>
                        <a:pt x="28" y="238"/>
                      </a:lnTo>
                      <a:lnTo>
                        <a:pt x="28" y="242"/>
                      </a:lnTo>
                      <a:lnTo>
                        <a:pt x="28" y="244"/>
                      </a:lnTo>
                      <a:lnTo>
                        <a:pt x="28" y="247"/>
                      </a:lnTo>
                      <a:lnTo>
                        <a:pt x="28" y="247"/>
                      </a:lnTo>
                      <a:lnTo>
                        <a:pt x="31" y="254"/>
                      </a:lnTo>
                      <a:lnTo>
                        <a:pt x="33" y="256"/>
                      </a:lnTo>
                      <a:lnTo>
                        <a:pt x="31" y="259"/>
                      </a:lnTo>
                      <a:lnTo>
                        <a:pt x="35" y="261"/>
                      </a:lnTo>
                      <a:lnTo>
                        <a:pt x="31" y="263"/>
                      </a:lnTo>
                      <a:lnTo>
                        <a:pt x="33" y="268"/>
                      </a:lnTo>
                      <a:lnTo>
                        <a:pt x="31" y="270"/>
                      </a:lnTo>
                      <a:lnTo>
                        <a:pt x="31" y="277"/>
                      </a:lnTo>
                      <a:lnTo>
                        <a:pt x="33" y="278"/>
                      </a:lnTo>
                      <a:lnTo>
                        <a:pt x="31" y="284"/>
                      </a:lnTo>
                      <a:lnTo>
                        <a:pt x="31" y="287"/>
                      </a:lnTo>
                      <a:lnTo>
                        <a:pt x="33" y="287"/>
                      </a:lnTo>
                      <a:lnTo>
                        <a:pt x="36" y="287"/>
                      </a:lnTo>
                      <a:lnTo>
                        <a:pt x="38" y="287"/>
                      </a:lnTo>
                      <a:lnTo>
                        <a:pt x="38" y="284"/>
                      </a:lnTo>
                      <a:lnTo>
                        <a:pt x="42" y="289"/>
                      </a:lnTo>
                      <a:lnTo>
                        <a:pt x="45" y="289"/>
                      </a:lnTo>
                      <a:lnTo>
                        <a:pt x="47" y="291"/>
                      </a:lnTo>
                      <a:lnTo>
                        <a:pt x="52" y="289"/>
                      </a:lnTo>
                      <a:lnTo>
                        <a:pt x="54" y="291"/>
                      </a:lnTo>
                      <a:lnTo>
                        <a:pt x="52" y="292"/>
                      </a:lnTo>
                      <a:lnTo>
                        <a:pt x="54" y="292"/>
                      </a:lnTo>
                      <a:lnTo>
                        <a:pt x="59" y="291"/>
                      </a:lnTo>
                      <a:lnTo>
                        <a:pt x="59" y="292"/>
                      </a:lnTo>
                      <a:lnTo>
                        <a:pt x="57" y="296"/>
                      </a:lnTo>
                      <a:lnTo>
                        <a:pt x="61" y="303"/>
                      </a:lnTo>
                      <a:lnTo>
                        <a:pt x="61" y="305"/>
                      </a:lnTo>
                      <a:lnTo>
                        <a:pt x="61" y="306"/>
                      </a:lnTo>
                      <a:lnTo>
                        <a:pt x="61" y="306"/>
                      </a:lnTo>
                      <a:lnTo>
                        <a:pt x="64" y="303"/>
                      </a:lnTo>
                      <a:lnTo>
                        <a:pt x="66" y="303"/>
                      </a:lnTo>
                      <a:lnTo>
                        <a:pt x="66" y="305"/>
                      </a:lnTo>
                      <a:lnTo>
                        <a:pt x="69" y="303"/>
                      </a:lnTo>
                      <a:lnTo>
                        <a:pt x="73" y="303"/>
                      </a:lnTo>
                      <a:lnTo>
                        <a:pt x="76" y="299"/>
                      </a:lnTo>
                      <a:lnTo>
                        <a:pt x="80" y="299"/>
                      </a:lnTo>
                      <a:lnTo>
                        <a:pt x="87" y="296"/>
                      </a:lnTo>
                      <a:lnTo>
                        <a:pt x="87" y="292"/>
                      </a:lnTo>
                      <a:lnTo>
                        <a:pt x="92" y="296"/>
                      </a:lnTo>
                      <a:lnTo>
                        <a:pt x="95" y="292"/>
                      </a:lnTo>
                      <a:lnTo>
                        <a:pt x="97" y="289"/>
                      </a:lnTo>
                      <a:lnTo>
                        <a:pt x="97" y="291"/>
                      </a:lnTo>
                      <a:lnTo>
                        <a:pt x="95" y="292"/>
                      </a:lnTo>
                      <a:lnTo>
                        <a:pt x="97" y="296"/>
                      </a:lnTo>
                      <a:lnTo>
                        <a:pt x="101" y="289"/>
                      </a:lnTo>
                      <a:lnTo>
                        <a:pt x="101" y="291"/>
                      </a:lnTo>
                      <a:lnTo>
                        <a:pt x="101" y="287"/>
                      </a:lnTo>
                      <a:lnTo>
                        <a:pt x="101" y="287"/>
                      </a:lnTo>
                      <a:lnTo>
                        <a:pt x="102" y="289"/>
                      </a:lnTo>
                      <a:lnTo>
                        <a:pt x="104" y="289"/>
                      </a:lnTo>
                      <a:lnTo>
                        <a:pt x="106" y="287"/>
                      </a:lnTo>
                      <a:lnTo>
                        <a:pt x="108" y="291"/>
                      </a:lnTo>
                      <a:lnTo>
                        <a:pt x="109" y="289"/>
                      </a:lnTo>
                      <a:lnTo>
                        <a:pt x="109" y="287"/>
                      </a:lnTo>
                      <a:lnTo>
                        <a:pt x="113" y="287"/>
                      </a:lnTo>
                      <a:lnTo>
                        <a:pt x="113" y="289"/>
                      </a:lnTo>
                      <a:lnTo>
                        <a:pt x="115" y="287"/>
                      </a:lnTo>
                      <a:lnTo>
                        <a:pt x="120" y="287"/>
                      </a:lnTo>
                      <a:lnTo>
                        <a:pt x="123" y="289"/>
                      </a:lnTo>
                      <a:lnTo>
                        <a:pt x="127" y="287"/>
                      </a:lnTo>
                      <a:lnTo>
                        <a:pt x="127" y="287"/>
                      </a:lnTo>
                      <a:lnTo>
                        <a:pt x="125" y="284"/>
                      </a:lnTo>
                      <a:lnTo>
                        <a:pt x="127" y="284"/>
                      </a:lnTo>
                      <a:lnTo>
                        <a:pt x="130" y="284"/>
                      </a:lnTo>
                      <a:lnTo>
                        <a:pt x="130" y="287"/>
                      </a:lnTo>
                      <a:lnTo>
                        <a:pt x="134" y="287"/>
                      </a:lnTo>
                      <a:lnTo>
                        <a:pt x="134" y="287"/>
                      </a:lnTo>
                      <a:lnTo>
                        <a:pt x="135" y="284"/>
                      </a:lnTo>
                      <a:lnTo>
                        <a:pt x="135" y="284"/>
                      </a:lnTo>
                      <a:lnTo>
                        <a:pt x="135" y="284"/>
                      </a:lnTo>
                      <a:lnTo>
                        <a:pt x="135" y="284"/>
                      </a:lnTo>
                      <a:close/>
                      <a:moveTo>
                        <a:pt x="73" y="160"/>
                      </a:moveTo>
                      <a:lnTo>
                        <a:pt x="69" y="162"/>
                      </a:lnTo>
                      <a:lnTo>
                        <a:pt x="66" y="162"/>
                      </a:lnTo>
                      <a:lnTo>
                        <a:pt x="66" y="158"/>
                      </a:lnTo>
                      <a:lnTo>
                        <a:pt x="69" y="155"/>
                      </a:lnTo>
                      <a:lnTo>
                        <a:pt x="73" y="157"/>
                      </a:lnTo>
                      <a:lnTo>
                        <a:pt x="73" y="158"/>
                      </a:lnTo>
                      <a:lnTo>
                        <a:pt x="69" y="158"/>
                      </a:lnTo>
                      <a:lnTo>
                        <a:pt x="73" y="160"/>
                      </a:lnTo>
                      <a:lnTo>
                        <a:pt x="73" y="160"/>
                      </a:lnTo>
                      <a:lnTo>
                        <a:pt x="73" y="160"/>
                      </a:lnTo>
                      <a:lnTo>
                        <a:pt x="73" y="160"/>
                      </a:lnTo>
                      <a:close/>
                      <a:moveTo>
                        <a:pt x="22" y="209"/>
                      </a:moveTo>
                      <a:lnTo>
                        <a:pt x="24" y="205"/>
                      </a:lnTo>
                      <a:lnTo>
                        <a:pt x="26" y="209"/>
                      </a:lnTo>
                      <a:lnTo>
                        <a:pt x="24" y="209"/>
                      </a:lnTo>
                      <a:lnTo>
                        <a:pt x="22" y="209"/>
                      </a:lnTo>
                      <a:lnTo>
                        <a:pt x="22" y="209"/>
                      </a:lnTo>
                      <a:lnTo>
                        <a:pt x="22" y="209"/>
                      </a:lnTo>
                      <a:lnTo>
                        <a:pt x="22" y="209"/>
                      </a:lnTo>
                      <a:close/>
                      <a:moveTo>
                        <a:pt x="21" y="211"/>
                      </a:moveTo>
                      <a:lnTo>
                        <a:pt x="24" y="212"/>
                      </a:lnTo>
                      <a:lnTo>
                        <a:pt x="26" y="211"/>
                      </a:lnTo>
                      <a:lnTo>
                        <a:pt x="26" y="214"/>
                      </a:lnTo>
                      <a:lnTo>
                        <a:pt x="22" y="216"/>
                      </a:lnTo>
                      <a:lnTo>
                        <a:pt x="21" y="214"/>
                      </a:lnTo>
                      <a:lnTo>
                        <a:pt x="21" y="211"/>
                      </a:lnTo>
                      <a:lnTo>
                        <a:pt x="21" y="211"/>
                      </a:lnTo>
                      <a:lnTo>
                        <a:pt x="21" y="211"/>
                      </a:lnTo>
                      <a:lnTo>
                        <a:pt x="21" y="211"/>
                      </a:lnTo>
                      <a:close/>
                      <a:moveTo>
                        <a:pt x="57" y="301"/>
                      </a:moveTo>
                      <a:lnTo>
                        <a:pt x="57" y="305"/>
                      </a:lnTo>
                      <a:lnTo>
                        <a:pt x="56" y="306"/>
                      </a:lnTo>
                      <a:lnTo>
                        <a:pt x="54" y="305"/>
                      </a:lnTo>
                      <a:lnTo>
                        <a:pt x="56" y="303"/>
                      </a:lnTo>
                      <a:lnTo>
                        <a:pt x="57" y="301"/>
                      </a:lnTo>
                      <a:lnTo>
                        <a:pt x="57" y="301"/>
                      </a:lnTo>
                      <a:lnTo>
                        <a:pt x="57" y="301"/>
                      </a:lnTo>
                      <a:lnTo>
                        <a:pt x="57" y="301"/>
                      </a:lnTo>
                      <a:close/>
                      <a:moveTo>
                        <a:pt x="52" y="298"/>
                      </a:moveTo>
                      <a:lnTo>
                        <a:pt x="52" y="298"/>
                      </a:lnTo>
                      <a:lnTo>
                        <a:pt x="54" y="299"/>
                      </a:lnTo>
                      <a:lnTo>
                        <a:pt x="52" y="299"/>
                      </a:lnTo>
                      <a:lnTo>
                        <a:pt x="52" y="298"/>
                      </a:lnTo>
                      <a:lnTo>
                        <a:pt x="52" y="298"/>
                      </a:lnTo>
                      <a:lnTo>
                        <a:pt x="52" y="298"/>
                      </a:lnTo>
                      <a:lnTo>
                        <a:pt x="52" y="298"/>
                      </a:lnTo>
                      <a:close/>
                      <a:moveTo>
                        <a:pt x="45" y="296"/>
                      </a:moveTo>
                      <a:lnTo>
                        <a:pt x="50" y="292"/>
                      </a:lnTo>
                      <a:lnTo>
                        <a:pt x="50" y="296"/>
                      </a:lnTo>
                      <a:lnTo>
                        <a:pt x="47" y="298"/>
                      </a:lnTo>
                      <a:lnTo>
                        <a:pt x="45" y="296"/>
                      </a:lnTo>
                      <a:lnTo>
                        <a:pt x="45" y="296"/>
                      </a:lnTo>
                      <a:lnTo>
                        <a:pt x="45" y="296"/>
                      </a:lnTo>
                      <a:lnTo>
                        <a:pt x="45" y="296"/>
                      </a:lnTo>
                      <a:lnTo>
                        <a:pt x="45" y="296"/>
                      </a:lnTo>
                      <a:close/>
                      <a:moveTo>
                        <a:pt x="38" y="287"/>
                      </a:moveTo>
                      <a:lnTo>
                        <a:pt x="42" y="291"/>
                      </a:lnTo>
                      <a:lnTo>
                        <a:pt x="42" y="292"/>
                      </a:lnTo>
                      <a:lnTo>
                        <a:pt x="38" y="291"/>
                      </a:lnTo>
                      <a:lnTo>
                        <a:pt x="38" y="287"/>
                      </a:lnTo>
                      <a:lnTo>
                        <a:pt x="38" y="287"/>
                      </a:lnTo>
                      <a:lnTo>
                        <a:pt x="38" y="287"/>
                      </a:lnTo>
                      <a:lnTo>
                        <a:pt x="38" y="287"/>
                      </a:lnTo>
                      <a:close/>
                      <a:moveTo>
                        <a:pt x="31" y="289"/>
                      </a:moveTo>
                      <a:lnTo>
                        <a:pt x="35" y="289"/>
                      </a:lnTo>
                      <a:lnTo>
                        <a:pt x="33" y="291"/>
                      </a:lnTo>
                      <a:lnTo>
                        <a:pt x="33" y="291"/>
                      </a:lnTo>
                      <a:lnTo>
                        <a:pt x="31" y="289"/>
                      </a:lnTo>
                      <a:lnTo>
                        <a:pt x="31" y="289"/>
                      </a:lnTo>
                      <a:lnTo>
                        <a:pt x="31" y="289"/>
                      </a:lnTo>
                      <a:lnTo>
                        <a:pt x="31" y="289"/>
                      </a:lnTo>
                      <a:close/>
                      <a:moveTo>
                        <a:pt x="9" y="296"/>
                      </a:moveTo>
                      <a:lnTo>
                        <a:pt x="10" y="296"/>
                      </a:lnTo>
                      <a:lnTo>
                        <a:pt x="14" y="296"/>
                      </a:lnTo>
                      <a:lnTo>
                        <a:pt x="10" y="292"/>
                      </a:lnTo>
                      <a:lnTo>
                        <a:pt x="10" y="289"/>
                      </a:lnTo>
                      <a:lnTo>
                        <a:pt x="14" y="289"/>
                      </a:lnTo>
                      <a:lnTo>
                        <a:pt x="19" y="292"/>
                      </a:lnTo>
                      <a:lnTo>
                        <a:pt x="19" y="296"/>
                      </a:lnTo>
                      <a:lnTo>
                        <a:pt x="16" y="296"/>
                      </a:lnTo>
                      <a:lnTo>
                        <a:pt x="16" y="298"/>
                      </a:lnTo>
                      <a:lnTo>
                        <a:pt x="16" y="299"/>
                      </a:lnTo>
                      <a:lnTo>
                        <a:pt x="19" y="299"/>
                      </a:lnTo>
                      <a:lnTo>
                        <a:pt x="19" y="303"/>
                      </a:lnTo>
                      <a:lnTo>
                        <a:pt x="19" y="305"/>
                      </a:lnTo>
                      <a:lnTo>
                        <a:pt x="16" y="301"/>
                      </a:lnTo>
                      <a:lnTo>
                        <a:pt x="10" y="299"/>
                      </a:lnTo>
                      <a:lnTo>
                        <a:pt x="10" y="298"/>
                      </a:lnTo>
                      <a:lnTo>
                        <a:pt x="7" y="296"/>
                      </a:lnTo>
                      <a:lnTo>
                        <a:pt x="9" y="296"/>
                      </a:lnTo>
                      <a:lnTo>
                        <a:pt x="9" y="296"/>
                      </a:lnTo>
                      <a:lnTo>
                        <a:pt x="9" y="296"/>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37" name="Groupe 218"/>
              <p:cNvGrpSpPr/>
              <p:nvPr/>
            </p:nvGrpSpPr>
            <p:grpSpPr>
              <a:xfrm>
                <a:off x="4200525" y="2351088"/>
                <a:ext cx="996950" cy="882650"/>
                <a:chOff x="4200525" y="2351088"/>
                <a:chExt cx="996950" cy="882650"/>
              </a:xfrm>
            </p:grpSpPr>
            <p:sp>
              <p:nvSpPr>
                <p:cNvPr id="638" name="Freeform 12"/>
                <p:cNvSpPr>
                  <a:spLocks/>
                </p:cNvSpPr>
                <p:nvPr/>
              </p:nvSpPr>
              <p:spPr bwMode="auto">
                <a:xfrm>
                  <a:off x="4956175" y="2830513"/>
                  <a:ext cx="241300" cy="158750"/>
                </a:xfrm>
                <a:custGeom>
                  <a:avLst/>
                  <a:gdLst/>
                  <a:ahLst/>
                  <a:cxnLst>
                    <a:cxn ang="0">
                      <a:pos x="39" y="6"/>
                    </a:cxn>
                    <a:cxn ang="0">
                      <a:pos x="44" y="4"/>
                    </a:cxn>
                    <a:cxn ang="0">
                      <a:pos x="56" y="9"/>
                    </a:cxn>
                    <a:cxn ang="0">
                      <a:pos x="59" y="13"/>
                    </a:cxn>
                    <a:cxn ang="0">
                      <a:pos x="70" y="13"/>
                    </a:cxn>
                    <a:cxn ang="0">
                      <a:pos x="77" y="9"/>
                    </a:cxn>
                    <a:cxn ang="0">
                      <a:pos x="92" y="6"/>
                    </a:cxn>
                    <a:cxn ang="0">
                      <a:pos x="105" y="9"/>
                    </a:cxn>
                    <a:cxn ang="0">
                      <a:pos x="113" y="20"/>
                    </a:cxn>
                    <a:cxn ang="0">
                      <a:pos x="124" y="32"/>
                    </a:cxn>
                    <a:cxn ang="0">
                      <a:pos x="124" y="51"/>
                    </a:cxn>
                    <a:cxn ang="0">
                      <a:pos x="131" y="61"/>
                    </a:cxn>
                    <a:cxn ang="0">
                      <a:pos x="141" y="63"/>
                    </a:cxn>
                    <a:cxn ang="0">
                      <a:pos x="148" y="60"/>
                    </a:cxn>
                    <a:cxn ang="0">
                      <a:pos x="152" y="65"/>
                    </a:cxn>
                    <a:cxn ang="0">
                      <a:pos x="152" y="68"/>
                    </a:cxn>
                    <a:cxn ang="0">
                      <a:pos x="146" y="73"/>
                    </a:cxn>
                    <a:cxn ang="0">
                      <a:pos x="139" y="77"/>
                    </a:cxn>
                    <a:cxn ang="0">
                      <a:pos x="139" y="82"/>
                    </a:cxn>
                    <a:cxn ang="0">
                      <a:pos x="136" y="91"/>
                    </a:cxn>
                    <a:cxn ang="0">
                      <a:pos x="134" y="94"/>
                    </a:cxn>
                    <a:cxn ang="0">
                      <a:pos x="129" y="91"/>
                    </a:cxn>
                    <a:cxn ang="0">
                      <a:pos x="124" y="89"/>
                    </a:cxn>
                    <a:cxn ang="0">
                      <a:pos x="113" y="87"/>
                    </a:cxn>
                    <a:cxn ang="0">
                      <a:pos x="98" y="93"/>
                    </a:cxn>
                    <a:cxn ang="0">
                      <a:pos x="92" y="96"/>
                    </a:cxn>
                    <a:cxn ang="0">
                      <a:pos x="84" y="96"/>
                    </a:cxn>
                    <a:cxn ang="0">
                      <a:pos x="77" y="96"/>
                    </a:cxn>
                    <a:cxn ang="0">
                      <a:pos x="70" y="96"/>
                    </a:cxn>
                    <a:cxn ang="0">
                      <a:pos x="59" y="96"/>
                    </a:cxn>
                    <a:cxn ang="0">
                      <a:pos x="56" y="94"/>
                    </a:cxn>
                    <a:cxn ang="0">
                      <a:pos x="47" y="96"/>
                    </a:cxn>
                    <a:cxn ang="0">
                      <a:pos x="47" y="93"/>
                    </a:cxn>
                    <a:cxn ang="0">
                      <a:pos x="46" y="87"/>
                    </a:cxn>
                    <a:cxn ang="0">
                      <a:pos x="39" y="84"/>
                    </a:cxn>
                    <a:cxn ang="0">
                      <a:pos x="42" y="77"/>
                    </a:cxn>
                    <a:cxn ang="0">
                      <a:pos x="33" y="80"/>
                    </a:cxn>
                    <a:cxn ang="0">
                      <a:pos x="26" y="80"/>
                    </a:cxn>
                    <a:cxn ang="0">
                      <a:pos x="19" y="73"/>
                    </a:cxn>
                    <a:cxn ang="0">
                      <a:pos x="21" y="70"/>
                    </a:cxn>
                    <a:cxn ang="0">
                      <a:pos x="11" y="63"/>
                    </a:cxn>
                    <a:cxn ang="0">
                      <a:pos x="6" y="54"/>
                    </a:cxn>
                    <a:cxn ang="0">
                      <a:pos x="0" y="51"/>
                    </a:cxn>
                    <a:cxn ang="0">
                      <a:pos x="9" y="47"/>
                    </a:cxn>
                    <a:cxn ang="0">
                      <a:pos x="13" y="44"/>
                    </a:cxn>
                    <a:cxn ang="0">
                      <a:pos x="16" y="37"/>
                    </a:cxn>
                    <a:cxn ang="0">
                      <a:pos x="26" y="18"/>
                    </a:cxn>
                    <a:cxn ang="0">
                      <a:pos x="33" y="11"/>
                    </a:cxn>
                    <a:cxn ang="0">
                      <a:pos x="37" y="6"/>
                    </a:cxn>
                    <a:cxn ang="0">
                      <a:pos x="37" y="6"/>
                    </a:cxn>
                  </a:cxnLst>
                  <a:rect l="0" t="0" r="r" b="b"/>
                  <a:pathLst>
                    <a:path w="152" h="100">
                      <a:moveTo>
                        <a:pt x="37" y="6"/>
                      </a:moveTo>
                      <a:lnTo>
                        <a:pt x="39" y="6"/>
                      </a:lnTo>
                      <a:lnTo>
                        <a:pt x="40" y="4"/>
                      </a:lnTo>
                      <a:lnTo>
                        <a:pt x="44" y="4"/>
                      </a:lnTo>
                      <a:lnTo>
                        <a:pt x="51" y="6"/>
                      </a:lnTo>
                      <a:lnTo>
                        <a:pt x="56" y="9"/>
                      </a:lnTo>
                      <a:lnTo>
                        <a:pt x="59" y="9"/>
                      </a:lnTo>
                      <a:lnTo>
                        <a:pt x="59" y="13"/>
                      </a:lnTo>
                      <a:lnTo>
                        <a:pt x="65" y="14"/>
                      </a:lnTo>
                      <a:lnTo>
                        <a:pt x="70" y="13"/>
                      </a:lnTo>
                      <a:lnTo>
                        <a:pt x="73" y="11"/>
                      </a:lnTo>
                      <a:lnTo>
                        <a:pt x="77" y="9"/>
                      </a:lnTo>
                      <a:lnTo>
                        <a:pt x="87" y="6"/>
                      </a:lnTo>
                      <a:lnTo>
                        <a:pt x="92" y="6"/>
                      </a:lnTo>
                      <a:lnTo>
                        <a:pt x="103" y="0"/>
                      </a:lnTo>
                      <a:lnTo>
                        <a:pt x="105" y="9"/>
                      </a:lnTo>
                      <a:lnTo>
                        <a:pt x="112" y="16"/>
                      </a:lnTo>
                      <a:lnTo>
                        <a:pt x="113" y="20"/>
                      </a:lnTo>
                      <a:lnTo>
                        <a:pt x="120" y="27"/>
                      </a:lnTo>
                      <a:lnTo>
                        <a:pt x="124" y="32"/>
                      </a:lnTo>
                      <a:lnTo>
                        <a:pt x="125" y="35"/>
                      </a:lnTo>
                      <a:lnTo>
                        <a:pt x="124" y="51"/>
                      </a:lnTo>
                      <a:lnTo>
                        <a:pt x="127" y="58"/>
                      </a:lnTo>
                      <a:lnTo>
                        <a:pt x="131" y="61"/>
                      </a:lnTo>
                      <a:lnTo>
                        <a:pt x="136" y="63"/>
                      </a:lnTo>
                      <a:lnTo>
                        <a:pt x="141" y="63"/>
                      </a:lnTo>
                      <a:lnTo>
                        <a:pt x="143" y="61"/>
                      </a:lnTo>
                      <a:lnTo>
                        <a:pt x="148" y="60"/>
                      </a:lnTo>
                      <a:lnTo>
                        <a:pt x="152" y="63"/>
                      </a:lnTo>
                      <a:lnTo>
                        <a:pt x="152" y="65"/>
                      </a:lnTo>
                      <a:lnTo>
                        <a:pt x="152" y="67"/>
                      </a:lnTo>
                      <a:lnTo>
                        <a:pt x="152" y="68"/>
                      </a:lnTo>
                      <a:lnTo>
                        <a:pt x="152" y="73"/>
                      </a:lnTo>
                      <a:lnTo>
                        <a:pt x="146" y="73"/>
                      </a:lnTo>
                      <a:lnTo>
                        <a:pt x="141" y="73"/>
                      </a:lnTo>
                      <a:lnTo>
                        <a:pt x="139" y="77"/>
                      </a:lnTo>
                      <a:lnTo>
                        <a:pt x="138" y="80"/>
                      </a:lnTo>
                      <a:lnTo>
                        <a:pt x="139" y="82"/>
                      </a:lnTo>
                      <a:lnTo>
                        <a:pt x="139" y="87"/>
                      </a:lnTo>
                      <a:lnTo>
                        <a:pt x="136" y="91"/>
                      </a:lnTo>
                      <a:lnTo>
                        <a:pt x="138" y="94"/>
                      </a:lnTo>
                      <a:lnTo>
                        <a:pt x="134" y="94"/>
                      </a:lnTo>
                      <a:lnTo>
                        <a:pt x="132" y="93"/>
                      </a:lnTo>
                      <a:lnTo>
                        <a:pt x="129" y="91"/>
                      </a:lnTo>
                      <a:lnTo>
                        <a:pt x="125" y="93"/>
                      </a:lnTo>
                      <a:lnTo>
                        <a:pt x="124" y="89"/>
                      </a:lnTo>
                      <a:lnTo>
                        <a:pt x="118" y="87"/>
                      </a:lnTo>
                      <a:lnTo>
                        <a:pt x="113" y="87"/>
                      </a:lnTo>
                      <a:lnTo>
                        <a:pt x="108" y="87"/>
                      </a:lnTo>
                      <a:lnTo>
                        <a:pt x="98" y="93"/>
                      </a:lnTo>
                      <a:lnTo>
                        <a:pt x="96" y="96"/>
                      </a:lnTo>
                      <a:lnTo>
                        <a:pt x="92" y="96"/>
                      </a:lnTo>
                      <a:lnTo>
                        <a:pt x="91" y="96"/>
                      </a:lnTo>
                      <a:lnTo>
                        <a:pt x="84" y="96"/>
                      </a:lnTo>
                      <a:lnTo>
                        <a:pt x="80" y="96"/>
                      </a:lnTo>
                      <a:lnTo>
                        <a:pt x="77" y="96"/>
                      </a:lnTo>
                      <a:lnTo>
                        <a:pt x="73" y="96"/>
                      </a:lnTo>
                      <a:lnTo>
                        <a:pt x="70" y="96"/>
                      </a:lnTo>
                      <a:lnTo>
                        <a:pt x="65" y="100"/>
                      </a:lnTo>
                      <a:lnTo>
                        <a:pt x="59" y="96"/>
                      </a:lnTo>
                      <a:lnTo>
                        <a:pt x="59" y="96"/>
                      </a:lnTo>
                      <a:lnTo>
                        <a:pt x="56" y="94"/>
                      </a:lnTo>
                      <a:lnTo>
                        <a:pt x="52" y="94"/>
                      </a:lnTo>
                      <a:lnTo>
                        <a:pt x="47" y="96"/>
                      </a:lnTo>
                      <a:lnTo>
                        <a:pt x="46" y="94"/>
                      </a:lnTo>
                      <a:lnTo>
                        <a:pt x="47" y="93"/>
                      </a:lnTo>
                      <a:lnTo>
                        <a:pt x="47" y="89"/>
                      </a:lnTo>
                      <a:lnTo>
                        <a:pt x="46" y="87"/>
                      </a:lnTo>
                      <a:lnTo>
                        <a:pt x="40" y="87"/>
                      </a:lnTo>
                      <a:lnTo>
                        <a:pt x="39" y="84"/>
                      </a:lnTo>
                      <a:lnTo>
                        <a:pt x="39" y="80"/>
                      </a:lnTo>
                      <a:lnTo>
                        <a:pt x="42" y="77"/>
                      </a:lnTo>
                      <a:lnTo>
                        <a:pt x="37" y="77"/>
                      </a:lnTo>
                      <a:lnTo>
                        <a:pt x="33" y="80"/>
                      </a:lnTo>
                      <a:lnTo>
                        <a:pt x="32" y="77"/>
                      </a:lnTo>
                      <a:lnTo>
                        <a:pt x="26" y="80"/>
                      </a:lnTo>
                      <a:lnTo>
                        <a:pt x="25" y="77"/>
                      </a:lnTo>
                      <a:lnTo>
                        <a:pt x="19" y="73"/>
                      </a:lnTo>
                      <a:lnTo>
                        <a:pt x="19" y="73"/>
                      </a:lnTo>
                      <a:lnTo>
                        <a:pt x="21" y="70"/>
                      </a:lnTo>
                      <a:lnTo>
                        <a:pt x="16" y="65"/>
                      </a:lnTo>
                      <a:lnTo>
                        <a:pt x="11" y="63"/>
                      </a:lnTo>
                      <a:lnTo>
                        <a:pt x="11" y="60"/>
                      </a:lnTo>
                      <a:lnTo>
                        <a:pt x="6" y="54"/>
                      </a:lnTo>
                      <a:lnTo>
                        <a:pt x="6" y="51"/>
                      </a:lnTo>
                      <a:lnTo>
                        <a:pt x="0" y="51"/>
                      </a:lnTo>
                      <a:lnTo>
                        <a:pt x="6" y="47"/>
                      </a:lnTo>
                      <a:lnTo>
                        <a:pt x="9" y="47"/>
                      </a:lnTo>
                      <a:lnTo>
                        <a:pt x="9" y="44"/>
                      </a:lnTo>
                      <a:lnTo>
                        <a:pt x="13" y="44"/>
                      </a:lnTo>
                      <a:lnTo>
                        <a:pt x="16" y="40"/>
                      </a:lnTo>
                      <a:lnTo>
                        <a:pt x="16" y="37"/>
                      </a:lnTo>
                      <a:lnTo>
                        <a:pt x="23" y="28"/>
                      </a:lnTo>
                      <a:lnTo>
                        <a:pt x="26" y="18"/>
                      </a:lnTo>
                      <a:lnTo>
                        <a:pt x="28" y="11"/>
                      </a:lnTo>
                      <a:lnTo>
                        <a:pt x="33" y="11"/>
                      </a:lnTo>
                      <a:lnTo>
                        <a:pt x="37" y="6"/>
                      </a:lnTo>
                      <a:lnTo>
                        <a:pt x="37" y="6"/>
                      </a:lnTo>
                      <a:lnTo>
                        <a:pt x="37" y="6"/>
                      </a:lnTo>
                      <a:lnTo>
                        <a:pt x="37" y="6"/>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9" name="Freeform 7"/>
                <p:cNvSpPr>
                  <a:spLocks noEditPoints="1"/>
                </p:cNvSpPr>
                <p:nvPr/>
              </p:nvSpPr>
              <p:spPr bwMode="auto">
                <a:xfrm>
                  <a:off x="4633913" y="2482851"/>
                  <a:ext cx="176213" cy="133350"/>
                </a:xfrm>
                <a:custGeom>
                  <a:avLst/>
                  <a:gdLst/>
                  <a:ahLst/>
                  <a:cxnLst>
                    <a:cxn ang="0">
                      <a:pos x="89" y="80"/>
                    </a:cxn>
                    <a:cxn ang="0">
                      <a:pos x="83" y="73"/>
                    </a:cxn>
                    <a:cxn ang="0">
                      <a:pos x="83" y="77"/>
                    </a:cxn>
                    <a:cxn ang="0">
                      <a:pos x="80" y="80"/>
                    </a:cxn>
                    <a:cxn ang="0">
                      <a:pos x="111" y="65"/>
                    </a:cxn>
                    <a:cxn ang="0">
                      <a:pos x="106" y="58"/>
                    </a:cxn>
                    <a:cxn ang="0">
                      <a:pos x="71" y="49"/>
                    </a:cxn>
                    <a:cxn ang="0">
                      <a:pos x="57" y="65"/>
                    </a:cxn>
                    <a:cxn ang="0">
                      <a:pos x="50" y="58"/>
                    </a:cxn>
                    <a:cxn ang="0">
                      <a:pos x="52" y="47"/>
                    </a:cxn>
                    <a:cxn ang="0">
                      <a:pos x="59" y="49"/>
                    </a:cxn>
                    <a:cxn ang="0">
                      <a:pos x="59" y="44"/>
                    </a:cxn>
                    <a:cxn ang="0">
                      <a:pos x="70" y="53"/>
                    </a:cxn>
                    <a:cxn ang="0">
                      <a:pos x="68" y="61"/>
                    </a:cxn>
                    <a:cxn ang="0">
                      <a:pos x="63" y="66"/>
                    </a:cxn>
                    <a:cxn ang="0">
                      <a:pos x="70" y="66"/>
                    </a:cxn>
                    <a:cxn ang="0">
                      <a:pos x="64" y="66"/>
                    </a:cxn>
                    <a:cxn ang="0">
                      <a:pos x="57" y="70"/>
                    </a:cxn>
                    <a:cxn ang="0">
                      <a:pos x="63" y="72"/>
                    </a:cxn>
                    <a:cxn ang="0">
                      <a:pos x="54" y="75"/>
                    </a:cxn>
                    <a:cxn ang="0">
                      <a:pos x="49" y="66"/>
                    </a:cxn>
                    <a:cxn ang="0">
                      <a:pos x="40" y="49"/>
                    </a:cxn>
                    <a:cxn ang="0">
                      <a:pos x="40" y="49"/>
                    </a:cxn>
                    <a:cxn ang="0">
                      <a:pos x="40" y="70"/>
                    </a:cxn>
                    <a:cxn ang="0">
                      <a:pos x="37" y="66"/>
                    </a:cxn>
                    <a:cxn ang="0">
                      <a:pos x="45" y="70"/>
                    </a:cxn>
                    <a:cxn ang="0">
                      <a:pos x="45" y="63"/>
                    </a:cxn>
                    <a:cxn ang="0">
                      <a:pos x="40" y="54"/>
                    </a:cxn>
                    <a:cxn ang="0">
                      <a:pos x="37" y="66"/>
                    </a:cxn>
                    <a:cxn ang="0">
                      <a:pos x="28" y="54"/>
                    </a:cxn>
                    <a:cxn ang="0">
                      <a:pos x="47" y="11"/>
                    </a:cxn>
                    <a:cxn ang="0">
                      <a:pos x="42" y="13"/>
                    </a:cxn>
                    <a:cxn ang="0">
                      <a:pos x="16" y="25"/>
                    </a:cxn>
                    <a:cxn ang="0">
                      <a:pos x="12" y="28"/>
                    </a:cxn>
                    <a:cxn ang="0">
                      <a:pos x="17" y="21"/>
                    </a:cxn>
                    <a:cxn ang="0">
                      <a:pos x="31" y="21"/>
                    </a:cxn>
                    <a:cxn ang="0">
                      <a:pos x="37" y="6"/>
                    </a:cxn>
                    <a:cxn ang="0">
                      <a:pos x="28" y="7"/>
                    </a:cxn>
                    <a:cxn ang="0">
                      <a:pos x="10" y="21"/>
                    </a:cxn>
                    <a:cxn ang="0">
                      <a:pos x="5" y="26"/>
                    </a:cxn>
                    <a:cxn ang="0">
                      <a:pos x="10" y="30"/>
                    </a:cxn>
                    <a:cxn ang="0">
                      <a:pos x="23" y="65"/>
                    </a:cxn>
                    <a:cxn ang="0">
                      <a:pos x="23" y="54"/>
                    </a:cxn>
                    <a:cxn ang="0">
                      <a:pos x="37" y="49"/>
                    </a:cxn>
                    <a:cxn ang="0">
                      <a:pos x="42" y="40"/>
                    </a:cxn>
                    <a:cxn ang="0">
                      <a:pos x="45" y="32"/>
                    </a:cxn>
                    <a:cxn ang="0">
                      <a:pos x="31" y="28"/>
                    </a:cxn>
                    <a:cxn ang="0">
                      <a:pos x="23" y="23"/>
                    </a:cxn>
                    <a:cxn ang="0">
                      <a:pos x="23" y="32"/>
                    </a:cxn>
                    <a:cxn ang="0">
                      <a:pos x="19" y="30"/>
                    </a:cxn>
                    <a:cxn ang="0">
                      <a:pos x="12" y="35"/>
                    </a:cxn>
                    <a:cxn ang="0">
                      <a:pos x="5" y="35"/>
                    </a:cxn>
                    <a:cxn ang="0">
                      <a:pos x="5" y="44"/>
                    </a:cxn>
                    <a:cxn ang="0">
                      <a:pos x="2" y="56"/>
                    </a:cxn>
                    <a:cxn ang="0">
                      <a:pos x="9" y="66"/>
                    </a:cxn>
                    <a:cxn ang="0">
                      <a:pos x="26" y="70"/>
                    </a:cxn>
                  </a:cxnLst>
                  <a:rect l="0" t="0" r="r" b="b"/>
                  <a:pathLst>
                    <a:path w="111" h="84">
                      <a:moveTo>
                        <a:pt x="80" y="80"/>
                      </a:moveTo>
                      <a:lnTo>
                        <a:pt x="82" y="82"/>
                      </a:lnTo>
                      <a:lnTo>
                        <a:pt x="83" y="84"/>
                      </a:lnTo>
                      <a:lnTo>
                        <a:pt x="87" y="80"/>
                      </a:lnTo>
                      <a:lnTo>
                        <a:pt x="89" y="80"/>
                      </a:lnTo>
                      <a:lnTo>
                        <a:pt x="89" y="79"/>
                      </a:lnTo>
                      <a:lnTo>
                        <a:pt x="89" y="77"/>
                      </a:lnTo>
                      <a:lnTo>
                        <a:pt x="89" y="73"/>
                      </a:lnTo>
                      <a:lnTo>
                        <a:pt x="87" y="73"/>
                      </a:lnTo>
                      <a:lnTo>
                        <a:pt x="83" y="73"/>
                      </a:lnTo>
                      <a:lnTo>
                        <a:pt x="83" y="73"/>
                      </a:lnTo>
                      <a:lnTo>
                        <a:pt x="82" y="73"/>
                      </a:lnTo>
                      <a:lnTo>
                        <a:pt x="82" y="75"/>
                      </a:lnTo>
                      <a:lnTo>
                        <a:pt x="83" y="75"/>
                      </a:lnTo>
                      <a:lnTo>
                        <a:pt x="83" y="77"/>
                      </a:lnTo>
                      <a:lnTo>
                        <a:pt x="82" y="79"/>
                      </a:lnTo>
                      <a:lnTo>
                        <a:pt x="80" y="80"/>
                      </a:lnTo>
                      <a:lnTo>
                        <a:pt x="80" y="80"/>
                      </a:lnTo>
                      <a:lnTo>
                        <a:pt x="80" y="80"/>
                      </a:lnTo>
                      <a:lnTo>
                        <a:pt x="80" y="80"/>
                      </a:lnTo>
                      <a:close/>
                      <a:moveTo>
                        <a:pt x="106" y="58"/>
                      </a:moveTo>
                      <a:lnTo>
                        <a:pt x="106" y="61"/>
                      </a:lnTo>
                      <a:lnTo>
                        <a:pt x="106" y="65"/>
                      </a:lnTo>
                      <a:lnTo>
                        <a:pt x="111" y="66"/>
                      </a:lnTo>
                      <a:lnTo>
                        <a:pt x="111" y="65"/>
                      </a:lnTo>
                      <a:lnTo>
                        <a:pt x="108" y="59"/>
                      </a:lnTo>
                      <a:lnTo>
                        <a:pt x="106" y="58"/>
                      </a:lnTo>
                      <a:lnTo>
                        <a:pt x="106" y="58"/>
                      </a:lnTo>
                      <a:lnTo>
                        <a:pt x="106" y="58"/>
                      </a:lnTo>
                      <a:lnTo>
                        <a:pt x="106" y="58"/>
                      </a:lnTo>
                      <a:close/>
                      <a:moveTo>
                        <a:pt x="71" y="49"/>
                      </a:moveTo>
                      <a:lnTo>
                        <a:pt x="70" y="53"/>
                      </a:lnTo>
                      <a:lnTo>
                        <a:pt x="73" y="54"/>
                      </a:lnTo>
                      <a:lnTo>
                        <a:pt x="71" y="49"/>
                      </a:lnTo>
                      <a:lnTo>
                        <a:pt x="71" y="49"/>
                      </a:lnTo>
                      <a:lnTo>
                        <a:pt x="71" y="49"/>
                      </a:lnTo>
                      <a:lnTo>
                        <a:pt x="71" y="49"/>
                      </a:lnTo>
                      <a:close/>
                      <a:moveTo>
                        <a:pt x="63" y="66"/>
                      </a:moveTo>
                      <a:lnTo>
                        <a:pt x="59" y="66"/>
                      </a:lnTo>
                      <a:lnTo>
                        <a:pt x="57" y="65"/>
                      </a:lnTo>
                      <a:lnTo>
                        <a:pt x="59" y="63"/>
                      </a:lnTo>
                      <a:lnTo>
                        <a:pt x="59" y="61"/>
                      </a:lnTo>
                      <a:lnTo>
                        <a:pt x="54" y="61"/>
                      </a:lnTo>
                      <a:lnTo>
                        <a:pt x="52" y="61"/>
                      </a:lnTo>
                      <a:lnTo>
                        <a:pt x="50" y="58"/>
                      </a:lnTo>
                      <a:lnTo>
                        <a:pt x="50" y="54"/>
                      </a:lnTo>
                      <a:lnTo>
                        <a:pt x="49" y="53"/>
                      </a:lnTo>
                      <a:lnTo>
                        <a:pt x="49" y="49"/>
                      </a:lnTo>
                      <a:lnTo>
                        <a:pt x="50" y="49"/>
                      </a:lnTo>
                      <a:lnTo>
                        <a:pt x="52" y="47"/>
                      </a:lnTo>
                      <a:lnTo>
                        <a:pt x="54" y="46"/>
                      </a:lnTo>
                      <a:lnTo>
                        <a:pt x="56" y="49"/>
                      </a:lnTo>
                      <a:lnTo>
                        <a:pt x="56" y="49"/>
                      </a:lnTo>
                      <a:lnTo>
                        <a:pt x="59" y="53"/>
                      </a:lnTo>
                      <a:lnTo>
                        <a:pt x="59" y="49"/>
                      </a:lnTo>
                      <a:lnTo>
                        <a:pt x="63" y="53"/>
                      </a:lnTo>
                      <a:lnTo>
                        <a:pt x="63" y="49"/>
                      </a:lnTo>
                      <a:lnTo>
                        <a:pt x="59" y="49"/>
                      </a:lnTo>
                      <a:lnTo>
                        <a:pt x="57" y="47"/>
                      </a:lnTo>
                      <a:lnTo>
                        <a:pt x="59" y="44"/>
                      </a:lnTo>
                      <a:lnTo>
                        <a:pt x="64" y="42"/>
                      </a:lnTo>
                      <a:lnTo>
                        <a:pt x="68" y="42"/>
                      </a:lnTo>
                      <a:lnTo>
                        <a:pt x="70" y="46"/>
                      </a:lnTo>
                      <a:lnTo>
                        <a:pt x="70" y="49"/>
                      </a:lnTo>
                      <a:lnTo>
                        <a:pt x="70" y="53"/>
                      </a:lnTo>
                      <a:lnTo>
                        <a:pt x="64" y="54"/>
                      </a:lnTo>
                      <a:lnTo>
                        <a:pt x="64" y="54"/>
                      </a:lnTo>
                      <a:lnTo>
                        <a:pt x="68" y="58"/>
                      </a:lnTo>
                      <a:lnTo>
                        <a:pt x="70" y="59"/>
                      </a:lnTo>
                      <a:lnTo>
                        <a:pt x="68" y="61"/>
                      </a:lnTo>
                      <a:lnTo>
                        <a:pt x="63" y="63"/>
                      </a:lnTo>
                      <a:lnTo>
                        <a:pt x="64" y="65"/>
                      </a:lnTo>
                      <a:lnTo>
                        <a:pt x="63" y="66"/>
                      </a:lnTo>
                      <a:lnTo>
                        <a:pt x="63" y="66"/>
                      </a:lnTo>
                      <a:lnTo>
                        <a:pt x="63" y="66"/>
                      </a:lnTo>
                      <a:lnTo>
                        <a:pt x="63" y="66"/>
                      </a:lnTo>
                      <a:close/>
                      <a:moveTo>
                        <a:pt x="64" y="66"/>
                      </a:moveTo>
                      <a:lnTo>
                        <a:pt x="64" y="70"/>
                      </a:lnTo>
                      <a:lnTo>
                        <a:pt x="66" y="66"/>
                      </a:lnTo>
                      <a:lnTo>
                        <a:pt x="70" y="66"/>
                      </a:lnTo>
                      <a:lnTo>
                        <a:pt x="68" y="65"/>
                      </a:lnTo>
                      <a:lnTo>
                        <a:pt x="66" y="66"/>
                      </a:lnTo>
                      <a:lnTo>
                        <a:pt x="64" y="66"/>
                      </a:lnTo>
                      <a:lnTo>
                        <a:pt x="64" y="66"/>
                      </a:lnTo>
                      <a:lnTo>
                        <a:pt x="64" y="66"/>
                      </a:lnTo>
                      <a:lnTo>
                        <a:pt x="64" y="66"/>
                      </a:lnTo>
                      <a:close/>
                      <a:moveTo>
                        <a:pt x="50" y="66"/>
                      </a:moveTo>
                      <a:lnTo>
                        <a:pt x="54" y="70"/>
                      </a:lnTo>
                      <a:lnTo>
                        <a:pt x="56" y="70"/>
                      </a:lnTo>
                      <a:lnTo>
                        <a:pt x="57" y="70"/>
                      </a:lnTo>
                      <a:lnTo>
                        <a:pt x="59" y="66"/>
                      </a:lnTo>
                      <a:lnTo>
                        <a:pt x="63" y="66"/>
                      </a:lnTo>
                      <a:lnTo>
                        <a:pt x="63" y="66"/>
                      </a:lnTo>
                      <a:lnTo>
                        <a:pt x="64" y="70"/>
                      </a:lnTo>
                      <a:lnTo>
                        <a:pt x="63" y="72"/>
                      </a:lnTo>
                      <a:lnTo>
                        <a:pt x="63" y="75"/>
                      </a:lnTo>
                      <a:lnTo>
                        <a:pt x="61" y="75"/>
                      </a:lnTo>
                      <a:lnTo>
                        <a:pt x="61" y="72"/>
                      </a:lnTo>
                      <a:lnTo>
                        <a:pt x="59" y="73"/>
                      </a:lnTo>
                      <a:lnTo>
                        <a:pt x="54" y="75"/>
                      </a:lnTo>
                      <a:lnTo>
                        <a:pt x="49" y="73"/>
                      </a:lnTo>
                      <a:lnTo>
                        <a:pt x="47" y="72"/>
                      </a:lnTo>
                      <a:lnTo>
                        <a:pt x="49" y="70"/>
                      </a:lnTo>
                      <a:lnTo>
                        <a:pt x="47" y="70"/>
                      </a:lnTo>
                      <a:lnTo>
                        <a:pt x="49" y="66"/>
                      </a:lnTo>
                      <a:lnTo>
                        <a:pt x="50" y="66"/>
                      </a:lnTo>
                      <a:lnTo>
                        <a:pt x="50" y="66"/>
                      </a:lnTo>
                      <a:lnTo>
                        <a:pt x="50" y="66"/>
                      </a:lnTo>
                      <a:lnTo>
                        <a:pt x="50" y="66"/>
                      </a:lnTo>
                      <a:close/>
                      <a:moveTo>
                        <a:pt x="40" y="49"/>
                      </a:moveTo>
                      <a:lnTo>
                        <a:pt x="40" y="49"/>
                      </a:lnTo>
                      <a:lnTo>
                        <a:pt x="40" y="44"/>
                      </a:lnTo>
                      <a:lnTo>
                        <a:pt x="40" y="47"/>
                      </a:lnTo>
                      <a:lnTo>
                        <a:pt x="40" y="49"/>
                      </a:lnTo>
                      <a:lnTo>
                        <a:pt x="40" y="49"/>
                      </a:lnTo>
                      <a:lnTo>
                        <a:pt x="40" y="49"/>
                      </a:lnTo>
                      <a:lnTo>
                        <a:pt x="40" y="49"/>
                      </a:lnTo>
                      <a:lnTo>
                        <a:pt x="40" y="49"/>
                      </a:lnTo>
                      <a:close/>
                      <a:moveTo>
                        <a:pt x="37" y="66"/>
                      </a:moveTo>
                      <a:lnTo>
                        <a:pt x="40" y="70"/>
                      </a:lnTo>
                      <a:lnTo>
                        <a:pt x="40" y="70"/>
                      </a:lnTo>
                      <a:lnTo>
                        <a:pt x="37" y="66"/>
                      </a:lnTo>
                      <a:lnTo>
                        <a:pt x="37" y="66"/>
                      </a:lnTo>
                      <a:lnTo>
                        <a:pt x="37" y="66"/>
                      </a:lnTo>
                      <a:lnTo>
                        <a:pt x="37" y="66"/>
                      </a:lnTo>
                      <a:close/>
                      <a:moveTo>
                        <a:pt x="45" y="63"/>
                      </a:moveTo>
                      <a:lnTo>
                        <a:pt x="45" y="66"/>
                      </a:lnTo>
                      <a:lnTo>
                        <a:pt x="42" y="70"/>
                      </a:lnTo>
                      <a:lnTo>
                        <a:pt x="42" y="70"/>
                      </a:lnTo>
                      <a:lnTo>
                        <a:pt x="45" y="70"/>
                      </a:lnTo>
                      <a:lnTo>
                        <a:pt x="47" y="65"/>
                      </a:lnTo>
                      <a:lnTo>
                        <a:pt x="47" y="65"/>
                      </a:lnTo>
                      <a:lnTo>
                        <a:pt x="45" y="63"/>
                      </a:lnTo>
                      <a:lnTo>
                        <a:pt x="45" y="63"/>
                      </a:lnTo>
                      <a:lnTo>
                        <a:pt x="45" y="63"/>
                      </a:lnTo>
                      <a:lnTo>
                        <a:pt x="45" y="63"/>
                      </a:lnTo>
                      <a:close/>
                      <a:moveTo>
                        <a:pt x="28" y="54"/>
                      </a:moveTo>
                      <a:lnTo>
                        <a:pt x="35" y="53"/>
                      </a:lnTo>
                      <a:lnTo>
                        <a:pt x="37" y="54"/>
                      </a:lnTo>
                      <a:lnTo>
                        <a:pt x="40" y="54"/>
                      </a:lnTo>
                      <a:lnTo>
                        <a:pt x="42" y="59"/>
                      </a:lnTo>
                      <a:lnTo>
                        <a:pt x="45" y="63"/>
                      </a:lnTo>
                      <a:lnTo>
                        <a:pt x="40" y="66"/>
                      </a:lnTo>
                      <a:lnTo>
                        <a:pt x="37" y="66"/>
                      </a:lnTo>
                      <a:lnTo>
                        <a:pt x="37" y="66"/>
                      </a:lnTo>
                      <a:lnTo>
                        <a:pt x="31" y="65"/>
                      </a:lnTo>
                      <a:lnTo>
                        <a:pt x="28" y="61"/>
                      </a:lnTo>
                      <a:lnTo>
                        <a:pt x="28" y="58"/>
                      </a:lnTo>
                      <a:lnTo>
                        <a:pt x="28" y="54"/>
                      </a:lnTo>
                      <a:lnTo>
                        <a:pt x="28" y="54"/>
                      </a:lnTo>
                      <a:lnTo>
                        <a:pt x="28" y="54"/>
                      </a:lnTo>
                      <a:lnTo>
                        <a:pt x="28" y="54"/>
                      </a:lnTo>
                      <a:close/>
                      <a:moveTo>
                        <a:pt x="42" y="13"/>
                      </a:moveTo>
                      <a:lnTo>
                        <a:pt x="45" y="11"/>
                      </a:lnTo>
                      <a:lnTo>
                        <a:pt x="47" y="11"/>
                      </a:lnTo>
                      <a:lnTo>
                        <a:pt x="45" y="13"/>
                      </a:lnTo>
                      <a:lnTo>
                        <a:pt x="42" y="13"/>
                      </a:lnTo>
                      <a:lnTo>
                        <a:pt x="42" y="13"/>
                      </a:lnTo>
                      <a:lnTo>
                        <a:pt x="42" y="13"/>
                      </a:lnTo>
                      <a:lnTo>
                        <a:pt x="42" y="13"/>
                      </a:lnTo>
                      <a:close/>
                      <a:moveTo>
                        <a:pt x="12" y="28"/>
                      </a:moveTo>
                      <a:lnTo>
                        <a:pt x="10" y="25"/>
                      </a:lnTo>
                      <a:lnTo>
                        <a:pt x="14" y="23"/>
                      </a:lnTo>
                      <a:lnTo>
                        <a:pt x="17" y="23"/>
                      </a:lnTo>
                      <a:lnTo>
                        <a:pt x="16" y="25"/>
                      </a:lnTo>
                      <a:lnTo>
                        <a:pt x="14" y="28"/>
                      </a:lnTo>
                      <a:lnTo>
                        <a:pt x="12" y="28"/>
                      </a:lnTo>
                      <a:lnTo>
                        <a:pt x="12" y="28"/>
                      </a:lnTo>
                      <a:lnTo>
                        <a:pt x="12" y="28"/>
                      </a:lnTo>
                      <a:lnTo>
                        <a:pt x="12" y="28"/>
                      </a:lnTo>
                      <a:close/>
                      <a:moveTo>
                        <a:pt x="10" y="30"/>
                      </a:moveTo>
                      <a:lnTo>
                        <a:pt x="9" y="26"/>
                      </a:lnTo>
                      <a:lnTo>
                        <a:pt x="10" y="23"/>
                      </a:lnTo>
                      <a:lnTo>
                        <a:pt x="16" y="21"/>
                      </a:lnTo>
                      <a:lnTo>
                        <a:pt x="17" y="21"/>
                      </a:lnTo>
                      <a:lnTo>
                        <a:pt x="21" y="21"/>
                      </a:lnTo>
                      <a:lnTo>
                        <a:pt x="23" y="21"/>
                      </a:lnTo>
                      <a:lnTo>
                        <a:pt x="26" y="21"/>
                      </a:lnTo>
                      <a:lnTo>
                        <a:pt x="28" y="21"/>
                      </a:lnTo>
                      <a:lnTo>
                        <a:pt x="31" y="21"/>
                      </a:lnTo>
                      <a:lnTo>
                        <a:pt x="35" y="21"/>
                      </a:lnTo>
                      <a:lnTo>
                        <a:pt x="37" y="16"/>
                      </a:lnTo>
                      <a:lnTo>
                        <a:pt x="37" y="11"/>
                      </a:lnTo>
                      <a:lnTo>
                        <a:pt x="37" y="11"/>
                      </a:lnTo>
                      <a:lnTo>
                        <a:pt x="37" y="6"/>
                      </a:lnTo>
                      <a:lnTo>
                        <a:pt x="40" y="2"/>
                      </a:lnTo>
                      <a:lnTo>
                        <a:pt x="40" y="0"/>
                      </a:lnTo>
                      <a:lnTo>
                        <a:pt x="35" y="6"/>
                      </a:lnTo>
                      <a:lnTo>
                        <a:pt x="28" y="7"/>
                      </a:lnTo>
                      <a:lnTo>
                        <a:pt x="28" y="7"/>
                      </a:lnTo>
                      <a:lnTo>
                        <a:pt x="23" y="11"/>
                      </a:lnTo>
                      <a:lnTo>
                        <a:pt x="23" y="16"/>
                      </a:lnTo>
                      <a:lnTo>
                        <a:pt x="19" y="18"/>
                      </a:lnTo>
                      <a:lnTo>
                        <a:pt x="16" y="18"/>
                      </a:lnTo>
                      <a:lnTo>
                        <a:pt x="10" y="21"/>
                      </a:lnTo>
                      <a:lnTo>
                        <a:pt x="10" y="21"/>
                      </a:lnTo>
                      <a:lnTo>
                        <a:pt x="7" y="21"/>
                      </a:lnTo>
                      <a:lnTo>
                        <a:pt x="5" y="23"/>
                      </a:lnTo>
                      <a:lnTo>
                        <a:pt x="4" y="26"/>
                      </a:lnTo>
                      <a:lnTo>
                        <a:pt x="5" y="26"/>
                      </a:lnTo>
                      <a:lnTo>
                        <a:pt x="7" y="26"/>
                      </a:lnTo>
                      <a:lnTo>
                        <a:pt x="10" y="30"/>
                      </a:lnTo>
                      <a:lnTo>
                        <a:pt x="10" y="30"/>
                      </a:lnTo>
                      <a:lnTo>
                        <a:pt x="10" y="30"/>
                      </a:lnTo>
                      <a:lnTo>
                        <a:pt x="10" y="30"/>
                      </a:lnTo>
                      <a:close/>
                      <a:moveTo>
                        <a:pt x="26" y="70"/>
                      </a:moveTo>
                      <a:lnTo>
                        <a:pt x="26" y="70"/>
                      </a:lnTo>
                      <a:lnTo>
                        <a:pt x="26" y="66"/>
                      </a:lnTo>
                      <a:lnTo>
                        <a:pt x="23" y="65"/>
                      </a:lnTo>
                      <a:lnTo>
                        <a:pt x="23" y="65"/>
                      </a:lnTo>
                      <a:lnTo>
                        <a:pt x="23" y="63"/>
                      </a:lnTo>
                      <a:lnTo>
                        <a:pt x="23" y="61"/>
                      </a:lnTo>
                      <a:lnTo>
                        <a:pt x="26" y="58"/>
                      </a:lnTo>
                      <a:lnTo>
                        <a:pt x="23" y="58"/>
                      </a:lnTo>
                      <a:lnTo>
                        <a:pt x="23" y="54"/>
                      </a:lnTo>
                      <a:lnTo>
                        <a:pt x="31" y="53"/>
                      </a:lnTo>
                      <a:lnTo>
                        <a:pt x="28" y="53"/>
                      </a:lnTo>
                      <a:lnTo>
                        <a:pt x="31" y="49"/>
                      </a:lnTo>
                      <a:lnTo>
                        <a:pt x="31" y="49"/>
                      </a:lnTo>
                      <a:lnTo>
                        <a:pt x="37" y="49"/>
                      </a:lnTo>
                      <a:lnTo>
                        <a:pt x="37" y="44"/>
                      </a:lnTo>
                      <a:lnTo>
                        <a:pt x="35" y="40"/>
                      </a:lnTo>
                      <a:lnTo>
                        <a:pt x="37" y="39"/>
                      </a:lnTo>
                      <a:lnTo>
                        <a:pt x="40" y="39"/>
                      </a:lnTo>
                      <a:lnTo>
                        <a:pt x="42" y="40"/>
                      </a:lnTo>
                      <a:lnTo>
                        <a:pt x="42" y="39"/>
                      </a:lnTo>
                      <a:lnTo>
                        <a:pt x="45" y="40"/>
                      </a:lnTo>
                      <a:lnTo>
                        <a:pt x="45" y="39"/>
                      </a:lnTo>
                      <a:lnTo>
                        <a:pt x="45" y="35"/>
                      </a:lnTo>
                      <a:lnTo>
                        <a:pt x="45" y="32"/>
                      </a:lnTo>
                      <a:lnTo>
                        <a:pt x="42" y="35"/>
                      </a:lnTo>
                      <a:lnTo>
                        <a:pt x="37" y="35"/>
                      </a:lnTo>
                      <a:lnTo>
                        <a:pt x="37" y="32"/>
                      </a:lnTo>
                      <a:lnTo>
                        <a:pt x="35" y="30"/>
                      </a:lnTo>
                      <a:lnTo>
                        <a:pt x="31" y="28"/>
                      </a:lnTo>
                      <a:lnTo>
                        <a:pt x="35" y="26"/>
                      </a:lnTo>
                      <a:lnTo>
                        <a:pt x="35" y="23"/>
                      </a:lnTo>
                      <a:lnTo>
                        <a:pt x="31" y="21"/>
                      </a:lnTo>
                      <a:lnTo>
                        <a:pt x="26" y="21"/>
                      </a:lnTo>
                      <a:lnTo>
                        <a:pt x="23" y="23"/>
                      </a:lnTo>
                      <a:lnTo>
                        <a:pt x="19" y="21"/>
                      </a:lnTo>
                      <a:lnTo>
                        <a:pt x="19" y="23"/>
                      </a:lnTo>
                      <a:lnTo>
                        <a:pt x="21" y="28"/>
                      </a:lnTo>
                      <a:lnTo>
                        <a:pt x="21" y="28"/>
                      </a:lnTo>
                      <a:lnTo>
                        <a:pt x="23" y="32"/>
                      </a:lnTo>
                      <a:lnTo>
                        <a:pt x="23" y="32"/>
                      </a:lnTo>
                      <a:lnTo>
                        <a:pt x="21" y="32"/>
                      </a:lnTo>
                      <a:lnTo>
                        <a:pt x="17" y="32"/>
                      </a:lnTo>
                      <a:lnTo>
                        <a:pt x="17" y="32"/>
                      </a:lnTo>
                      <a:lnTo>
                        <a:pt x="19" y="30"/>
                      </a:lnTo>
                      <a:lnTo>
                        <a:pt x="17" y="26"/>
                      </a:lnTo>
                      <a:lnTo>
                        <a:pt x="16" y="26"/>
                      </a:lnTo>
                      <a:lnTo>
                        <a:pt x="14" y="30"/>
                      </a:lnTo>
                      <a:lnTo>
                        <a:pt x="16" y="32"/>
                      </a:lnTo>
                      <a:lnTo>
                        <a:pt x="12" y="35"/>
                      </a:lnTo>
                      <a:lnTo>
                        <a:pt x="9" y="32"/>
                      </a:lnTo>
                      <a:lnTo>
                        <a:pt x="7" y="32"/>
                      </a:lnTo>
                      <a:lnTo>
                        <a:pt x="4" y="32"/>
                      </a:lnTo>
                      <a:lnTo>
                        <a:pt x="2" y="32"/>
                      </a:lnTo>
                      <a:lnTo>
                        <a:pt x="5" y="35"/>
                      </a:lnTo>
                      <a:lnTo>
                        <a:pt x="5" y="39"/>
                      </a:lnTo>
                      <a:lnTo>
                        <a:pt x="4" y="39"/>
                      </a:lnTo>
                      <a:lnTo>
                        <a:pt x="2" y="39"/>
                      </a:lnTo>
                      <a:lnTo>
                        <a:pt x="2" y="42"/>
                      </a:lnTo>
                      <a:lnTo>
                        <a:pt x="5" y="44"/>
                      </a:lnTo>
                      <a:lnTo>
                        <a:pt x="5" y="47"/>
                      </a:lnTo>
                      <a:lnTo>
                        <a:pt x="7" y="49"/>
                      </a:lnTo>
                      <a:lnTo>
                        <a:pt x="2" y="49"/>
                      </a:lnTo>
                      <a:lnTo>
                        <a:pt x="0" y="54"/>
                      </a:lnTo>
                      <a:lnTo>
                        <a:pt x="2" y="56"/>
                      </a:lnTo>
                      <a:lnTo>
                        <a:pt x="5" y="54"/>
                      </a:lnTo>
                      <a:lnTo>
                        <a:pt x="9" y="59"/>
                      </a:lnTo>
                      <a:lnTo>
                        <a:pt x="10" y="65"/>
                      </a:lnTo>
                      <a:lnTo>
                        <a:pt x="9" y="65"/>
                      </a:lnTo>
                      <a:lnTo>
                        <a:pt x="9" y="66"/>
                      </a:lnTo>
                      <a:lnTo>
                        <a:pt x="14" y="66"/>
                      </a:lnTo>
                      <a:lnTo>
                        <a:pt x="21" y="70"/>
                      </a:lnTo>
                      <a:lnTo>
                        <a:pt x="23" y="70"/>
                      </a:lnTo>
                      <a:lnTo>
                        <a:pt x="26" y="70"/>
                      </a:lnTo>
                      <a:lnTo>
                        <a:pt x="26" y="70"/>
                      </a:lnTo>
                      <a:lnTo>
                        <a:pt x="26" y="70"/>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0" name="Freeform 11"/>
                <p:cNvSpPr>
                  <a:spLocks/>
                </p:cNvSpPr>
                <p:nvPr/>
              </p:nvSpPr>
              <p:spPr bwMode="auto">
                <a:xfrm>
                  <a:off x="4587875" y="2590801"/>
                  <a:ext cx="230188" cy="273050"/>
                </a:xfrm>
                <a:custGeom>
                  <a:avLst/>
                  <a:gdLst/>
                  <a:ahLst/>
                  <a:cxnLst>
                    <a:cxn ang="0">
                      <a:pos x="52" y="4"/>
                    </a:cxn>
                    <a:cxn ang="0">
                      <a:pos x="60" y="11"/>
                    </a:cxn>
                    <a:cxn ang="0">
                      <a:pos x="64" y="18"/>
                    </a:cxn>
                    <a:cxn ang="0">
                      <a:pos x="71" y="14"/>
                    </a:cxn>
                    <a:cxn ang="0">
                      <a:pos x="79" y="16"/>
                    </a:cxn>
                    <a:cxn ang="0">
                      <a:pos x="72" y="23"/>
                    </a:cxn>
                    <a:cxn ang="0">
                      <a:pos x="81" y="26"/>
                    </a:cxn>
                    <a:cxn ang="0">
                      <a:pos x="95" y="19"/>
                    </a:cxn>
                    <a:cxn ang="0">
                      <a:pos x="100" y="12"/>
                    </a:cxn>
                    <a:cxn ang="0">
                      <a:pos x="100" y="16"/>
                    </a:cxn>
                    <a:cxn ang="0">
                      <a:pos x="107" y="16"/>
                    </a:cxn>
                    <a:cxn ang="0">
                      <a:pos x="118" y="23"/>
                    </a:cxn>
                    <a:cxn ang="0">
                      <a:pos x="126" y="28"/>
                    </a:cxn>
                    <a:cxn ang="0">
                      <a:pos x="135" y="40"/>
                    </a:cxn>
                    <a:cxn ang="0">
                      <a:pos x="135" y="56"/>
                    </a:cxn>
                    <a:cxn ang="0">
                      <a:pos x="139" y="68"/>
                    </a:cxn>
                    <a:cxn ang="0">
                      <a:pos x="144" y="82"/>
                    </a:cxn>
                    <a:cxn ang="0">
                      <a:pos x="139" y="92"/>
                    </a:cxn>
                    <a:cxn ang="0">
                      <a:pos x="126" y="96"/>
                    </a:cxn>
                    <a:cxn ang="0">
                      <a:pos x="112" y="103"/>
                    </a:cxn>
                    <a:cxn ang="0">
                      <a:pos x="99" y="106"/>
                    </a:cxn>
                    <a:cxn ang="0">
                      <a:pos x="105" y="118"/>
                    </a:cxn>
                    <a:cxn ang="0">
                      <a:pos x="116" y="131"/>
                    </a:cxn>
                    <a:cxn ang="0">
                      <a:pos x="126" y="150"/>
                    </a:cxn>
                    <a:cxn ang="0">
                      <a:pos x="112" y="158"/>
                    </a:cxn>
                    <a:cxn ang="0">
                      <a:pos x="116" y="169"/>
                    </a:cxn>
                    <a:cxn ang="0">
                      <a:pos x="100" y="167"/>
                    </a:cxn>
                    <a:cxn ang="0">
                      <a:pos x="88" y="169"/>
                    </a:cxn>
                    <a:cxn ang="0">
                      <a:pos x="76" y="169"/>
                    </a:cxn>
                    <a:cxn ang="0">
                      <a:pos x="64" y="169"/>
                    </a:cxn>
                    <a:cxn ang="0">
                      <a:pos x="53" y="167"/>
                    </a:cxn>
                    <a:cxn ang="0">
                      <a:pos x="48" y="164"/>
                    </a:cxn>
                    <a:cxn ang="0">
                      <a:pos x="39" y="167"/>
                    </a:cxn>
                    <a:cxn ang="0">
                      <a:pos x="31" y="165"/>
                    </a:cxn>
                    <a:cxn ang="0">
                      <a:pos x="33" y="150"/>
                    </a:cxn>
                    <a:cxn ang="0">
                      <a:pos x="34" y="136"/>
                    </a:cxn>
                    <a:cxn ang="0">
                      <a:pos x="20" y="134"/>
                    </a:cxn>
                    <a:cxn ang="0">
                      <a:pos x="12" y="131"/>
                    </a:cxn>
                    <a:cxn ang="0">
                      <a:pos x="6" y="122"/>
                    </a:cxn>
                    <a:cxn ang="0">
                      <a:pos x="5" y="108"/>
                    </a:cxn>
                    <a:cxn ang="0">
                      <a:pos x="1" y="94"/>
                    </a:cxn>
                    <a:cxn ang="0">
                      <a:pos x="1" y="80"/>
                    </a:cxn>
                    <a:cxn ang="0">
                      <a:pos x="13" y="73"/>
                    </a:cxn>
                    <a:cxn ang="0">
                      <a:pos x="17" y="63"/>
                    </a:cxn>
                    <a:cxn ang="0">
                      <a:pos x="12" y="59"/>
                    </a:cxn>
                    <a:cxn ang="0">
                      <a:pos x="20" y="51"/>
                    </a:cxn>
                    <a:cxn ang="0">
                      <a:pos x="22" y="44"/>
                    </a:cxn>
                    <a:cxn ang="0">
                      <a:pos x="17" y="37"/>
                    </a:cxn>
                    <a:cxn ang="0">
                      <a:pos x="31" y="35"/>
                    </a:cxn>
                    <a:cxn ang="0">
                      <a:pos x="34" y="37"/>
                    </a:cxn>
                    <a:cxn ang="0">
                      <a:pos x="38" y="40"/>
                    </a:cxn>
                    <a:cxn ang="0">
                      <a:pos x="39" y="31"/>
                    </a:cxn>
                    <a:cxn ang="0">
                      <a:pos x="52" y="28"/>
                    </a:cxn>
                    <a:cxn ang="0">
                      <a:pos x="52" y="28"/>
                    </a:cxn>
                    <a:cxn ang="0">
                      <a:pos x="48" y="21"/>
                    </a:cxn>
                    <a:cxn ang="0">
                      <a:pos x="39" y="12"/>
                    </a:cxn>
                    <a:cxn ang="0">
                      <a:pos x="43" y="5"/>
                    </a:cxn>
                    <a:cxn ang="0">
                      <a:pos x="39" y="0"/>
                    </a:cxn>
                  </a:cxnLst>
                  <a:rect l="0" t="0" r="r" b="b"/>
                  <a:pathLst>
                    <a:path w="145" h="172">
                      <a:moveTo>
                        <a:pt x="39" y="0"/>
                      </a:moveTo>
                      <a:lnTo>
                        <a:pt x="43" y="0"/>
                      </a:lnTo>
                      <a:lnTo>
                        <a:pt x="52" y="4"/>
                      </a:lnTo>
                      <a:lnTo>
                        <a:pt x="52" y="4"/>
                      </a:lnTo>
                      <a:lnTo>
                        <a:pt x="55" y="4"/>
                      </a:lnTo>
                      <a:lnTo>
                        <a:pt x="59" y="5"/>
                      </a:lnTo>
                      <a:lnTo>
                        <a:pt x="62" y="5"/>
                      </a:lnTo>
                      <a:lnTo>
                        <a:pt x="60" y="11"/>
                      </a:lnTo>
                      <a:lnTo>
                        <a:pt x="59" y="12"/>
                      </a:lnTo>
                      <a:lnTo>
                        <a:pt x="59" y="14"/>
                      </a:lnTo>
                      <a:lnTo>
                        <a:pt x="62" y="16"/>
                      </a:lnTo>
                      <a:lnTo>
                        <a:pt x="64" y="18"/>
                      </a:lnTo>
                      <a:lnTo>
                        <a:pt x="66" y="16"/>
                      </a:lnTo>
                      <a:lnTo>
                        <a:pt x="67" y="14"/>
                      </a:lnTo>
                      <a:lnTo>
                        <a:pt x="69" y="12"/>
                      </a:lnTo>
                      <a:lnTo>
                        <a:pt x="71" y="14"/>
                      </a:lnTo>
                      <a:lnTo>
                        <a:pt x="74" y="18"/>
                      </a:lnTo>
                      <a:lnTo>
                        <a:pt x="76" y="18"/>
                      </a:lnTo>
                      <a:lnTo>
                        <a:pt x="76" y="14"/>
                      </a:lnTo>
                      <a:lnTo>
                        <a:pt x="79" y="16"/>
                      </a:lnTo>
                      <a:lnTo>
                        <a:pt x="79" y="19"/>
                      </a:lnTo>
                      <a:lnTo>
                        <a:pt x="76" y="21"/>
                      </a:lnTo>
                      <a:lnTo>
                        <a:pt x="76" y="21"/>
                      </a:lnTo>
                      <a:lnTo>
                        <a:pt x="72" y="23"/>
                      </a:lnTo>
                      <a:lnTo>
                        <a:pt x="76" y="25"/>
                      </a:lnTo>
                      <a:lnTo>
                        <a:pt x="76" y="25"/>
                      </a:lnTo>
                      <a:lnTo>
                        <a:pt x="81" y="25"/>
                      </a:lnTo>
                      <a:lnTo>
                        <a:pt x="81" y="26"/>
                      </a:lnTo>
                      <a:lnTo>
                        <a:pt x="85" y="26"/>
                      </a:lnTo>
                      <a:lnTo>
                        <a:pt x="88" y="23"/>
                      </a:lnTo>
                      <a:lnTo>
                        <a:pt x="90" y="19"/>
                      </a:lnTo>
                      <a:lnTo>
                        <a:pt x="95" y="19"/>
                      </a:lnTo>
                      <a:lnTo>
                        <a:pt x="95" y="18"/>
                      </a:lnTo>
                      <a:lnTo>
                        <a:pt x="99" y="16"/>
                      </a:lnTo>
                      <a:lnTo>
                        <a:pt x="99" y="14"/>
                      </a:lnTo>
                      <a:lnTo>
                        <a:pt x="100" y="12"/>
                      </a:lnTo>
                      <a:lnTo>
                        <a:pt x="105" y="12"/>
                      </a:lnTo>
                      <a:lnTo>
                        <a:pt x="102" y="14"/>
                      </a:lnTo>
                      <a:lnTo>
                        <a:pt x="100" y="16"/>
                      </a:lnTo>
                      <a:lnTo>
                        <a:pt x="100" y="16"/>
                      </a:lnTo>
                      <a:lnTo>
                        <a:pt x="99" y="18"/>
                      </a:lnTo>
                      <a:lnTo>
                        <a:pt x="99" y="19"/>
                      </a:lnTo>
                      <a:lnTo>
                        <a:pt x="102" y="16"/>
                      </a:lnTo>
                      <a:lnTo>
                        <a:pt x="107" y="16"/>
                      </a:lnTo>
                      <a:lnTo>
                        <a:pt x="109" y="16"/>
                      </a:lnTo>
                      <a:lnTo>
                        <a:pt x="109" y="18"/>
                      </a:lnTo>
                      <a:lnTo>
                        <a:pt x="112" y="18"/>
                      </a:lnTo>
                      <a:lnTo>
                        <a:pt x="118" y="23"/>
                      </a:lnTo>
                      <a:lnTo>
                        <a:pt x="121" y="21"/>
                      </a:lnTo>
                      <a:lnTo>
                        <a:pt x="123" y="25"/>
                      </a:lnTo>
                      <a:lnTo>
                        <a:pt x="123" y="28"/>
                      </a:lnTo>
                      <a:lnTo>
                        <a:pt x="126" y="28"/>
                      </a:lnTo>
                      <a:lnTo>
                        <a:pt x="126" y="28"/>
                      </a:lnTo>
                      <a:lnTo>
                        <a:pt x="132" y="31"/>
                      </a:lnTo>
                      <a:lnTo>
                        <a:pt x="135" y="31"/>
                      </a:lnTo>
                      <a:lnTo>
                        <a:pt x="135" y="40"/>
                      </a:lnTo>
                      <a:lnTo>
                        <a:pt x="135" y="44"/>
                      </a:lnTo>
                      <a:lnTo>
                        <a:pt x="128" y="47"/>
                      </a:lnTo>
                      <a:lnTo>
                        <a:pt x="128" y="49"/>
                      </a:lnTo>
                      <a:lnTo>
                        <a:pt x="135" y="56"/>
                      </a:lnTo>
                      <a:lnTo>
                        <a:pt x="135" y="59"/>
                      </a:lnTo>
                      <a:lnTo>
                        <a:pt x="137" y="63"/>
                      </a:lnTo>
                      <a:lnTo>
                        <a:pt x="137" y="63"/>
                      </a:lnTo>
                      <a:lnTo>
                        <a:pt x="139" y="68"/>
                      </a:lnTo>
                      <a:lnTo>
                        <a:pt x="137" y="70"/>
                      </a:lnTo>
                      <a:lnTo>
                        <a:pt x="140" y="78"/>
                      </a:lnTo>
                      <a:lnTo>
                        <a:pt x="142" y="80"/>
                      </a:lnTo>
                      <a:lnTo>
                        <a:pt x="144" y="82"/>
                      </a:lnTo>
                      <a:lnTo>
                        <a:pt x="145" y="91"/>
                      </a:lnTo>
                      <a:lnTo>
                        <a:pt x="144" y="92"/>
                      </a:lnTo>
                      <a:lnTo>
                        <a:pt x="140" y="92"/>
                      </a:lnTo>
                      <a:lnTo>
                        <a:pt x="139" y="92"/>
                      </a:lnTo>
                      <a:lnTo>
                        <a:pt x="132" y="92"/>
                      </a:lnTo>
                      <a:lnTo>
                        <a:pt x="132" y="96"/>
                      </a:lnTo>
                      <a:lnTo>
                        <a:pt x="132" y="98"/>
                      </a:lnTo>
                      <a:lnTo>
                        <a:pt x="126" y="96"/>
                      </a:lnTo>
                      <a:lnTo>
                        <a:pt x="123" y="96"/>
                      </a:lnTo>
                      <a:lnTo>
                        <a:pt x="121" y="99"/>
                      </a:lnTo>
                      <a:lnTo>
                        <a:pt x="116" y="99"/>
                      </a:lnTo>
                      <a:lnTo>
                        <a:pt x="112" y="103"/>
                      </a:lnTo>
                      <a:lnTo>
                        <a:pt x="111" y="105"/>
                      </a:lnTo>
                      <a:lnTo>
                        <a:pt x="104" y="110"/>
                      </a:lnTo>
                      <a:lnTo>
                        <a:pt x="100" y="108"/>
                      </a:lnTo>
                      <a:lnTo>
                        <a:pt x="99" y="106"/>
                      </a:lnTo>
                      <a:lnTo>
                        <a:pt x="97" y="108"/>
                      </a:lnTo>
                      <a:lnTo>
                        <a:pt x="97" y="110"/>
                      </a:lnTo>
                      <a:lnTo>
                        <a:pt x="102" y="113"/>
                      </a:lnTo>
                      <a:lnTo>
                        <a:pt x="105" y="118"/>
                      </a:lnTo>
                      <a:lnTo>
                        <a:pt x="105" y="122"/>
                      </a:lnTo>
                      <a:lnTo>
                        <a:pt x="107" y="125"/>
                      </a:lnTo>
                      <a:lnTo>
                        <a:pt x="111" y="127"/>
                      </a:lnTo>
                      <a:lnTo>
                        <a:pt x="116" y="131"/>
                      </a:lnTo>
                      <a:lnTo>
                        <a:pt x="118" y="134"/>
                      </a:lnTo>
                      <a:lnTo>
                        <a:pt x="126" y="141"/>
                      </a:lnTo>
                      <a:lnTo>
                        <a:pt x="126" y="145"/>
                      </a:lnTo>
                      <a:lnTo>
                        <a:pt x="126" y="150"/>
                      </a:lnTo>
                      <a:lnTo>
                        <a:pt x="123" y="150"/>
                      </a:lnTo>
                      <a:lnTo>
                        <a:pt x="121" y="151"/>
                      </a:lnTo>
                      <a:lnTo>
                        <a:pt x="118" y="153"/>
                      </a:lnTo>
                      <a:lnTo>
                        <a:pt x="112" y="158"/>
                      </a:lnTo>
                      <a:lnTo>
                        <a:pt x="112" y="160"/>
                      </a:lnTo>
                      <a:lnTo>
                        <a:pt x="118" y="164"/>
                      </a:lnTo>
                      <a:lnTo>
                        <a:pt x="118" y="167"/>
                      </a:lnTo>
                      <a:lnTo>
                        <a:pt x="116" y="169"/>
                      </a:lnTo>
                      <a:lnTo>
                        <a:pt x="112" y="165"/>
                      </a:lnTo>
                      <a:lnTo>
                        <a:pt x="107" y="167"/>
                      </a:lnTo>
                      <a:lnTo>
                        <a:pt x="104" y="165"/>
                      </a:lnTo>
                      <a:lnTo>
                        <a:pt x="100" y="167"/>
                      </a:lnTo>
                      <a:lnTo>
                        <a:pt x="95" y="169"/>
                      </a:lnTo>
                      <a:lnTo>
                        <a:pt x="93" y="169"/>
                      </a:lnTo>
                      <a:lnTo>
                        <a:pt x="90" y="169"/>
                      </a:lnTo>
                      <a:lnTo>
                        <a:pt x="88" y="169"/>
                      </a:lnTo>
                      <a:lnTo>
                        <a:pt x="85" y="169"/>
                      </a:lnTo>
                      <a:lnTo>
                        <a:pt x="79" y="169"/>
                      </a:lnTo>
                      <a:lnTo>
                        <a:pt x="74" y="169"/>
                      </a:lnTo>
                      <a:lnTo>
                        <a:pt x="76" y="169"/>
                      </a:lnTo>
                      <a:lnTo>
                        <a:pt x="74" y="172"/>
                      </a:lnTo>
                      <a:lnTo>
                        <a:pt x="69" y="172"/>
                      </a:lnTo>
                      <a:lnTo>
                        <a:pt x="67" y="169"/>
                      </a:lnTo>
                      <a:lnTo>
                        <a:pt x="64" y="169"/>
                      </a:lnTo>
                      <a:lnTo>
                        <a:pt x="62" y="169"/>
                      </a:lnTo>
                      <a:lnTo>
                        <a:pt x="60" y="169"/>
                      </a:lnTo>
                      <a:lnTo>
                        <a:pt x="59" y="169"/>
                      </a:lnTo>
                      <a:lnTo>
                        <a:pt x="53" y="167"/>
                      </a:lnTo>
                      <a:lnTo>
                        <a:pt x="52" y="165"/>
                      </a:lnTo>
                      <a:lnTo>
                        <a:pt x="52" y="167"/>
                      </a:lnTo>
                      <a:lnTo>
                        <a:pt x="48" y="167"/>
                      </a:lnTo>
                      <a:lnTo>
                        <a:pt x="48" y="164"/>
                      </a:lnTo>
                      <a:lnTo>
                        <a:pt x="43" y="165"/>
                      </a:lnTo>
                      <a:lnTo>
                        <a:pt x="43" y="167"/>
                      </a:lnTo>
                      <a:lnTo>
                        <a:pt x="43" y="169"/>
                      </a:lnTo>
                      <a:lnTo>
                        <a:pt x="39" y="167"/>
                      </a:lnTo>
                      <a:lnTo>
                        <a:pt x="34" y="169"/>
                      </a:lnTo>
                      <a:lnTo>
                        <a:pt x="33" y="169"/>
                      </a:lnTo>
                      <a:lnTo>
                        <a:pt x="33" y="169"/>
                      </a:lnTo>
                      <a:lnTo>
                        <a:pt x="31" y="165"/>
                      </a:lnTo>
                      <a:lnTo>
                        <a:pt x="27" y="164"/>
                      </a:lnTo>
                      <a:lnTo>
                        <a:pt x="27" y="158"/>
                      </a:lnTo>
                      <a:lnTo>
                        <a:pt x="29" y="151"/>
                      </a:lnTo>
                      <a:lnTo>
                        <a:pt x="33" y="150"/>
                      </a:lnTo>
                      <a:lnTo>
                        <a:pt x="33" y="146"/>
                      </a:lnTo>
                      <a:lnTo>
                        <a:pt x="34" y="141"/>
                      </a:lnTo>
                      <a:lnTo>
                        <a:pt x="38" y="138"/>
                      </a:lnTo>
                      <a:lnTo>
                        <a:pt x="34" y="136"/>
                      </a:lnTo>
                      <a:lnTo>
                        <a:pt x="31" y="136"/>
                      </a:lnTo>
                      <a:lnTo>
                        <a:pt x="27" y="134"/>
                      </a:lnTo>
                      <a:lnTo>
                        <a:pt x="24" y="136"/>
                      </a:lnTo>
                      <a:lnTo>
                        <a:pt x="20" y="134"/>
                      </a:lnTo>
                      <a:lnTo>
                        <a:pt x="19" y="134"/>
                      </a:lnTo>
                      <a:lnTo>
                        <a:pt x="15" y="136"/>
                      </a:lnTo>
                      <a:lnTo>
                        <a:pt x="12" y="132"/>
                      </a:lnTo>
                      <a:lnTo>
                        <a:pt x="12" y="131"/>
                      </a:lnTo>
                      <a:lnTo>
                        <a:pt x="10" y="129"/>
                      </a:lnTo>
                      <a:lnTo>
                        <a:pt x="10" y="129"/>
                      </a:lnTo>
                      <a:lnTo>
                        <a:pt x="10" y="122"/>
                      </a:lnTo>
                      <a:lnTo>
                        <a:pt x="6" y="122"/>
                      </a:lnTo>
                      <a:lnTo>
                        <a:pt x="6" y="118"/>
                      </a:lnTo>
                      <a:lnTo>
                        <a:pt x="1" y="113"/>
                      </a:lnTo>
                      <a:lnTo>
                        <a:pt x="1" y="113"/>
                      </a:lnTo>
                      <a:lnTo>
                        <a:pt x="5" y="108"/>
                      </a:lnTo>
                      <a:lnTo>
                        <a:pt x="1" y="105"/>
                      </a:lnTo>
                      <a:lnTo>
                        <a:pt x="1" y="103"/>
                      </a:lnTo>
                      <a:lnTo>
                        <a:pt x="0" y="98"/>
                      </a:lnTo>
                      <a:lnTo>
                        <a:pt x="1" y="94"/>
                      </a:lnTo>
                      <a:lnTo>
                        <a:pt x="0" y="94"/>
                      </a:lnTo>
                      <a:lnTo>
                        <a:pt x="1" y="91"/>
                      </a:lnTo>
                      <a:lnTo>
                        <a:pt x="1" y="85"/>
                      </a:lnTo>
                      <a:lnTo>
                        <a:pt x="1" y="80"/>
                      </a:lnTo>
                      <a:lnTo>
                        <a:pt x="5" y="77"/>
                      </a:lnTo>
                      <a:lnTo>
                        <a:pt x="6" y="73"/>
                      </a:lnTo>
                      <a:lnTo>
                        <a:pt x="10" y="73"/>
                      </a:lnTo>
                      <a:lnTo>
                        <a:pt x="13" y="73"/>
                      </a:lnTo>
                      <a:lnTo>
                        <a:pt x="17" y="71"/>
                      </a:lnTo>
                      <a:lnTo>
                        <a:pt x="15" y="68"/>
                      </a:lnTo>
                      <a:lnTo>
                        <a:pt x="17" y="68"/>
                      </a:lnTo>
                      <a:lnTo>
                        <a:pt x="17" y="63"/>
                      </a:lnTo>
                      <a:lnTo>
                        <a:pt x="19" y="63"/>
                      </a:lnTo>
                      <a:lnTo>
                        <a:pt x="17" y="59"/>
                      </a:lnTo>
                      <a:lnTo>
                        <a:pt x="12" y="59"/>
                      </a:lnTo>
                      <a:lnTo>
                        <a:pt x="12" y="59"/>
                      </a:lnTo>
                      <a:lnTo>
                        <a:pt x="13" y="56"/>
                      </a:lnTo>
                      <a:lnTo>
                        <a:pt x="17" y="58"/>
                      </a:lnTo>
                      <a:lnTo>
                        <a:pt x="20" y="56"/>
                      </a:lnTo>
                      <a:lnTo>
                        <a:pt x="20" y="51"/>
                      </a:lnTo>
                      <a:lnTo>
                        <a:pt x="20" y="49"/>
                      </a:lnTo>
                      <a:lnTo>
                        <a:pt x="22" y="45"/>
                      </a:lnTo>
                      <a:lnTo>
                        <a:pt x="22" y="45"/>
                      </a:lnTo>
                      <a:lnTo>
                        <a:pt x="22" y="44"/>
                      </a:lnTo>
                      <a:lnTo>
                        <a:pt x="22" y="44"/>
                      </a:lnTo>
                      <a:lnTo>
                        <a:pt x="22" y="40"/>
                      </a:lnTo>
                      <a:lnTo>
                        <a:pt x="19" y="40"/>
                      </a:lnTo>
                      <a:lnTo>
                        <a:pt x="17" y="37"/>
                      </a:lnTo>
                      <a:lnTo>
                        <a:pt x="17" y="35"/>
                      </a:lnTo>
                      <a:lnTo>
                        <a:pt x="26" y="31"/>
                      </a:lnTo>
                      <a:lnTo>
                        <a:pt x="27" y="31"/>
                      </a:lnTo>
                      <a:lnTo>
                        <a:pt x="31" y="35"/>
                      </a:lnTo>
                      <a:lnTo>
                        <a:pt x="31" y="37"/>
                      </a:lnTo>
                      <a:lnTo>
                        <a:pt x="34" y="40"/>
                      </a:lnTo>
                      <a:lnTo>
                        <a:pt x="34" y="40"/>
                      </a:lnTo>
                      <a:lnTo>
                        <a:pt x="34" y="37"/>
                      </a:lnTo>
                      <a:lnTo>
                        <a:pt x="34" y="35"/>
                      </a:lnTo>
                      <a:lnTo>
                        <a:pt x="34" y="31"/>
                      </a:lnTo>
                      <a:lnTo>
                        <a:pt x="39" y="37"/>
                      </a:lnTo>
                      <a:lnTo>
                        <a:pt x="38" y="40"/>
                      </a:lnTo>
                      <a:lnTo>
                        <a:pt x="43" y="44"/>
                      </a:lnTo>
                      <a:lnTo>
                        <a:pt x="39" y="40"/>
                      </a:lnTo>
                      <a:lnTo>
                        <a:pt x="39" y="37"/>
                      </a:lnTo>
                      <a:lnTo>
                        <a:pt x="39" y="31"/>
                      </a:lnTo>
                      <a:lnTo>
                        <a:pt x="43" y="28"/>
                      </a:lnTo>
                      <a:lnTo>
                        <a:pt x="43" y="28"/>
                      </a:lnTo>
                      <a:lnTo>
                        <a:pt x="48" y="31"/>
                      </a:lnTo>
                      <a:lnTo>
                        <a:pt x="52" y="28"/>
                      </a:lnTo>
                      <a:lnTo>
                        <a:pt x="55" y="35"/>
                      </a:lnTo>
                      <a:lnTo>
                        <a:pt x="64" y="37"/>
                      </a:lnTo>
                      <a:lnTo>
                        <a:pt x="57" y="31"/>
                      </a:lnTo>
                      <a:lnTo>
                        <a:pt x="52" y="28"/>
                      </a:lnTo>
                      <a:lnTo>
                        <a:pt x="48" y="28"/>
                      </a:lnTo>
                      <a:lnTo>
                        <a:pt x="43" y="26"/>
                      </a:lnTo>
                      <a:lnTo>
                        <a:pt x="43" y="23"/>
                      </a:lnTo>
                      <a:lnTo>
                        <a:pt x="48" y="21"/>
                      </a:lnTo>
                      <a:lnTo>
                        <a:pt x="43" y="19"/>
                      </a:lnTo>
                      <a:lnTo>
                        <a:pt x="43" y="16"/>
                      </a:lnTo>
                      <a:lnTo>
                        <a:pt x="39" y="16"/>
                      </a:lnTo>
                      <a:lnTo>
                        <a:pt x="39" y="12"/>
                      </a:lnTo>
                      <a:lnTo>
                        <a:pt x="43" y="12"/>
                      </a:lnTo>
                      <a:lnTo>
                        <a:pt x="48" y="12"/>
                      </a:lnTo>
                      <a:lnTo>
                        <a:pt x="43" y="9"/>
                      </a:lnTo>
                      <a:lnTo>
                        <a:pt x="43" y="5"/>
                      </a:lnTo>
                      <a:lnTo>
                        <a:pt x="43" y="5"/>
                      </a:lnTo>
                      <a:lnTo>
                        <a:pt x="39" y="5"/>
                      </a:lnTo>
                      <a:lnTo>
                        <a:pt x="39" y="0"/>
                      </a:lnTo>
                      <a:lnTo>
                        <a:pt x="39" y="0"/>
                      </a:lnTo>
                      <a:lnTo>
                        <a:pt x="39" y="0"/>
                      </a:lnTo>
                      <a:lnTo>
                        <a:pt x="39" y="0"/>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1" name="Freeform 14"/>
                <p:cNvSpPr>
                  <a:spLocks/>
                </p:cNvSpPr>
                <p:nvPr/>
              </p:nvSpPr>
              <p:spPr bwMode="auto">
                <a:xfrm>
                  <a:off x="4857750" y="2825751"/>
                  <a:ext cx="153988" cy="100013"/>
                </a:xfrm>
                <a:custGeom>
                  <a:avLst/>
                  <a:gdLst/>
                  <a:ahLst/>
                  <a:cxnLst>
                    <a:cxn ang="0">
                      <a:pos x="62" y="54"/>
                    </a:cxn>
                    <a:cxn ang="0">
                      <a:pos x="66" y="50"/>
                    </a:cxn>
                    <a:cxn ang="0">
                      <a:pos x="69" y="50"/>
                    </a:cxn>
                    <a:cxn ang="0">
                      <a:pos x="71" y="47"/>
                    </a:cxn>
                    <a:cxn ang="0">
                      <a:pos x="75" y="47"/>
                    </a:cxn>
                    <a:cxn ang="0">
                      <a:pos x="76" y="43"/>
                    </a:cxn>
                    <a:cxn ang="0">
                      <a:pos x="76" y="40"/>
                    </a:cxn>
                    <a:cxn ang="0">
                      <a:pos x="85" y="31"/>
                    </a:cxn>
                    <a:cxn ang="0">
                      <a:pos x="88" y="21"/>
                    </a:cxn>
                    <a:cxn ang="0">
                      <a:pos x="90" y="14"/>
                    </a:cxn>
                    <a:cxn ang="0">
                      <a:pos x="95" y="14"/>
                    </a:cxn>
                    <a:cxn ang="0">
                      <a:pos x="97" y="9"/>
                    </a:cxn>
                    <a:cxn ang="0">
                      <a:pos x="95" y="7"/>
                    </a:cxn>
                    <a:cxn ang="0">
                      <a:pos x="90" y="3"/>
                    </a:cxn>
                    <a:cxn ang="0">
                      <a:pos x="88" y="0"/>
                    </a:cxn>
                    <a:cxn ang="0">
                      <a:pos x="81" y="2"/>
                    </a:cxn>
                    <a:cxn ang="0">
                      <a:pos x="76" y="0"/>
                    </a:cxn>
                    <a:cxn ang="0">
                      <a:pos x="71" y="2"/>
                    </a:cxn>
                    <a:cxn ang="0">
                      <a:pos x="66" y="0"/>
                    </a:cxn>
                    <a:cxn ang="0">
                      <a:pos x="62" y="0"/>
                    </a:cxn>
                    <a:cxn ang="0">
                      <a:pos x="59" y="3"/>
                    </a:cxn>
                    <a:cxn ang="0">
                      <a:pos x="54" y="7"/>
                    </a:cxn>
                    <a:cxn ang="0">
                      <a:pos x="54" y="12"/>
                    </a:cxn>
                    <a:cxn ang="0">
                      <a:pos x="50" y="7"/>
                    </a:cxn>
                    <a:cxn ang="0">
                      <a:pos x="45" y="9"/>
                    </a:cxn>
                    <a:cxn ang="0">
                      <a:pos x="40" y="12"/>
                    </a:cxn>
                    <a:cxn ang="0">
                      <a:pos x="40" y="14"/>
                    </a:cxn>
                    <a:cxn ang="0">
                      <a:pos x="31" y="16"/>
                    </a:cxn>
                    <a:cxn ang="0">
                      <a:pos x="24" y="17"/>
                    </a:cxn>
                    <a:cxn ang="0">
                      <a:pos x="19" y="16"/>
                    </a:cxn>
                    <a:cxn ang="0">
                      <a:pos x="8" y="9"/>
                    </a:cxn>
                    <a:cxn ang="0">
                      <a:pos x="8" y="12"/>
                    </a:cxn>
                    <a:cxn ang="0">
                      <a:pos x="8" y="16"/>
                    </a:cxn>
                    <a:cxn ang="0">
                      <a:pos x="8" y="19"/>
                    </a:cxn>
                    <a:cxn ang="0">
                      <a:pos x="0" y="19"/>
                    </a:cxn>
                    <a:cxn ang="0">
                      <a:pos x="0" y="21"/>
                    </a:cxn>
                    <a:cxn ang="0">
                      <a:pos x="3" y="24"/>
                    </a:cxn>
                    <a:cxn ang="0">
                      <a:pos x="2" y="28"/>
                    </a:cxn>
                    <a:cxn ang="0">
                      <a:pos x="2" y="31"/>
                    </a:cxn>
                    <a:cxn ang="0">
                      <a:pos x="3" y="35"/>
                    </a:cxn>
                    <a:cxn ang="0">
                      <a:pos x="0" y="38"/>
                    </a:cxn>
                    <a:cxn ang="0">
                      <a:pos x="0" y="38"/>
                    </a:cxn>
                    <a:cxn ang="0">
                      <a:pos x="3" y="43"/>
                    </a:cxn>
                    <a:cxn ang="0">
                      <a:pos x="5" y="49"/>
                    </a:cxn>
                    <a:cxn ang="0">
                      <a:pos x="7" y="49"/>
                    </a:cxn>
                    <a:cxn ang="0">
                      <a:pos x="14" y="54"/>
                    </a:cxn>
                    <a:cxn ang="0">
                      <a:pos x="17" y="57"/>
                    </a:cxn>
                    <a:cxn ang="0">
                      <a:pos x="21" y="61"/>
                    </a:cxn>
                    <a:cxn ang="0">
                      <a:pos x="29" y="61"/>
                    </a:cxn>
                    <a:cxn ang="0">
                      <a:pos x="36" y="63"/>
                    </a:cxn>
                    <a:cxn ang="0">
                      <a:pos x="40" y="61"/>
                    </a:cxn>
                    <a:cxn ang="0">
                      <a:pos x="40" y="61"/>
                    </a:cxn>
                    <a:cxn ang="0">
                      <a:pos x="41" y="57"/>
                    </a:cxn>
                    <a:cxn ang="0">
                      <a:pos x="47" y="57"/>
                    </a:cxn>
                    <a:cxn ang="0">
                      <a:pos x="48" y="57"/>
                    </a:cxn>
                    <a:cxn ang="0">
                      <a:pos x="50" y="54"/>
                    </a:cxn>
                    <a:cxn ang="0">
                      <a:pos x="54" y="52"/>
                    </a:cxn>
                    <a:cxn ang="0">
                      <a:pos x="57" y="52"/>
                    </a:cxn>
                    <a:cxn ang="0">
                      <a:pos x="59" y="54"/>
                    </a:cxn>
                    <a:cxn ang="0">
                      <a:pos x="62" y="54"/>
                    </a:cxn>
                    <a:cxn ang="0">
                      <a:pos x="62" y="54"/>
                    </a:cxn>
                    <a:cxn ang="0">
                      <a:pos x="62" y="54"/>
                    </a:cxn>
                  </a:cxnLst>
                  <a:rect l="0" t="0" r="r" b="b"/>
                  <a:pathLst>
                    <a:path w="97" h="63">
                      <a:moveTo>
                        <a:pt x="62" y="54"/>
                      </a:moveTo>
                      <a:lnTo>
                        <a:pt x="66" y="50"/>
                      </a:lnTo>
                      <a:lnTo>
                        <a:pt x="69" y="50"/>
                      </a:lnTo>
                      <a:lnTo>
                        <a:pt x="71" y="47"/>
                      </a:lnTo>
                      <a:lnTo>
                        <a:pt x="75" y="47"/>
                      </a:lnTo>
                      <a:lnTo>
                        <a:pt x="76" y="43"/>
                      </a:lnTo>
                      <a:lnTo>
                        <a:pt x="76" y="40"/>
                      </a:lnTo>
                      <a:lnTo>
                        <a:pt x="85" y="31"/>
                      </a:lnTo>
                      <a:lnTo>
                        <a:pt x="88" y="21"/>
                      </a:lnTo>
                      <a:lnTo>
                        <a:pt x="90" y="14"/>
                      </a:lnTo>
                      <a:lnTo>
                        <a:pt x="95" y="14"/>
                      </a:lnTo>
                      <a:lnTo>
                        <a:pt x="97" y="9"/>
                      </a:lnTo>
                      <a:lnTo>
                        <a:pt x="95" y="7"/>
                      </a:lnTo>
                      <a:lnTo>
                        <a:pt x="90" y="3"/>
                      </a:lnTo>
                      <a:lnTo>
                        <a:pt x="88" y="0"/>
                      </a:lnTo>
                      <a:lnTo>
                        <a:pt x="81" y="2"/>
                      </a:lnTo>
                      <a:lnTo>
                        <a:pt x="76" y="0"/>
                      </a:lnTo>
                      <a:lnTo>
                        <a:pt x="71" y="2"/>
                      </a:lnTo>
                      <a:lnTo>
                        <a:pt x="66" y="0"/>
                      </a:lnTo>
                      <a:lnTo>
                        <a:pt x="62" y="0"/>
                      </a:lnTo>
                      <a:lnTo>
                        <a:pt x="59" y="3"/>
                      </a:lnTo>
                      <a:lnTo>
                        <a:pt x="54" y="7"/>
                      </a:lnTo>
                      <a:lnTo>
                        <a:pt x="54" y="12"/>
                      </a:lnTo>
                      <a:lnTo>
                        <a:pt x="50" y="7"/>
                      </a:lnTo>
                      <a:lnTo>
                        <a:pt x="45" y="9"/>
                      </a:lnTo>
                      <a:lnTo>
                        <a:pt x="40" y="12"/>
                      </a:lnTo>
                      <a:lnTo>
                        <a:pt x="40" y="14"/>
                      </a:lnTo>
                      <a:lnTo>
                        <a:pt x="31" y="16"/>
                      </a:lnTo>
                      <a:lnTo>
                        <a:pt x="24" y="17"/>
                      </a:lnTo>
                      <a:lnTo>
                        <a:pt x="19" y="16"/>
                      </a:lnTo>
                      <a:lnTo>
                        <a:pt x="8" y="9"/>
                      </a:lnTo>
                      <a:lnTo>
                        <a:pt x="8" y="12"/>
                      </a:lnTo>
                      <a:lnTo>
                        <a:pt x="8" y="16"/>
                      </a:lnTo>
                      <a:lnTo>
                        <a:pt x="8" y="19"/>
                      </a:lnTo>
                      <a:lnTo>
                        <a:pt x="0" y="19"/>
                      </a:lnTo>
                      <a:lnTo>
                        <a:pt x="0" y="21"/>
                      </a:lnTo>
                      <a:lnTo>
                        <a:pt x="3" y="24"/>
                      </a:lnTo>
                      <a:lnTo>
                        <a:pt x="2" y="28"/>
                      </a:lnTo>
                      <a:lnTo>
                        <a:pt x="2" y="31"/>
                      </a:lnTo>
                      <a:lnTo>
                        <a:pt x="3" y="35"/>
                      </a:lnTo>
                      <a:lnTo>
                        <a:pt x="0" y="38"/>
                      </a:lnTo>
                      <a:lnTo>
                        <a:pt x="0" y="38"/>
                      </a:lnTo>
                      <a:lnTo>
                        <a:pt x="3" y="43"/>
                      </a:lnTo>
                      <a:lnTo>
                        <a:pt x="5" y="49"/>
                      </a:lnTo>
                      <a:lnTo>
                        <a:pt x="7" y="49"/>
                      </a:lnTo>
                      <a:lnTo>
                        <a:pt x="14" y="54"/>
                      </a:lnTo>
                      <a:lnTo>
                        <a:pt x="17" y="57"/>
                      </a:lnTo>
                      <a:lnTo>
                        <a:pt x="21" y="61"/>
                      </a:lnTo>
                      <a:lnTo>
                        <a:pt x="29" y="61"/>
                      </a:lnTo>
                      <a:lnTo>
                        <a:pt x="36" y="63"/>
                      </a:lnTo>
                      <a:lnTo>
                        <a:pt x="40" y="61"/>
                      </a:lnTo>
                      <a:lnTo>
                        <a:pt x="40" y="61"/>
                      </a:lnTo>
                      <a:lnTo>
                        <a:pt x="41" y="57"/>
                      </a:lnTo>
                      <a:lnTo>
                        <a:pt x="47" y="57"/>
                      </a:lnTo>
                      <a:lnTo>
                        <a:pt x="48" y="57"/>
                      </a:lnTo>
                      <a:lnTo>
                        <a:pt x="50" y="54"/>
                      </a:lnTo>
                      <a:lnTo>
                        <a:pt x="54" y="52"/>
                      </a:lnTo>
                      <a:lnTo>
                        <a:pt x="57" y="52"/>
                      </a:lnTo>
                      <a:lnTo>
                        <a:pt x="59" y="54"/>
                      </a:lnTo>
                      <a:lnTo>
                        <a:pt x="62" y="54"/>
                      </a:lnTo>
                      <a:lnTo>
                        <a:pt x="62" y="54"/>
                      </a:lnTo>
                      <a:lnTo>
                        <a:pt x="62" y="54"/>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2" name="Freeform 15"/>
                <p:cNvSpPr>
                  <a:spLocks/>
                </p:cNvSpPr>
                <p:nvPr/>
              </p:nvSpPr>
              <p:spPr bwMode="auto">
                <a:xfrm>
                  <a:off x="4873625" y="2792413"/>
                  <a:ext cx="130175" cy="55563"/>
                </a:xfrm>
                <a:custGeom>
                  <a:avLst/>
                  <a:gdLst/>
                  <a:ahLst/>
                  <a:cxnLst>
                    <a:cxn ang="0">
                      <a:pos x="0" y="28"/>
                    </a:cxn>
                    <a:cxn ang="0">
                      <a:pos x="11" y="33"/>
                    </a:cxn>
                    <a:cxn ang="0">
                      <a:pos x="18" y="35"/>
                    </a:cxn>
                    <a:cxn ang="0">
                      <a:pos x="23" y="33"/>
                    </a:cxn>
                    <a:cxn ang="0">
                      <a:pos x="30" y="31"/>
                    </a:cxn>
                    <a:cxn ang="0">
                      <a:pos x="31" y="30"/>
                    </a:cxn>
                    <a:cxn ang="0">
                      <a:pos x="37" y="28"/>
                    </a:cxn>
                    <a:cxn ang="0">
                      <a:pos x="40" y="24"/>
                    </a:cxn>
                    <a:cxn ang="0">
                      <a:pos x="45" y="30"/>
                    </a:cxn>
                    <a:cxn ang="0">
                      <a:pos x="45" y="26"/>
                    </a:cxn>
                    <a:cxn ang="0">
                      <a:pos x="49" y="23"/>
                    </a:cxn>
                    <a:cxn ang="0">
                      <a:pos x="52" y="19"/>
                    </a:cxn>
                    <a:cxn ang="0">
                      <a:pos x="58" y="19"/>
                    </a:cxn>
                    <a:cxn ang="0">
                      <a:pos x="61" y="21"/>
                    </a:cxn>
                    <a:cxn ang="0">
                      <a:pos x="68" y="19"/>
                    </a:cxn>
                    <a:cxn ang="0">
                      <a:pos x="71" y="21"/>
                    </a:cxn>
                    <a:cxn ang="0">
                      <a:pos x="78" y="18"/>
                    </a:cxn>
                    <a:cxn ang="0">
                      <a:pos x="78" y="12"/>
                    </a:cxn>
                    <a:cxn ang="0">
                      <a:pos x="82" y="5"/>
                    </a:cxn>
                    <a:cxn ang="0">
                      <a:pos x="80" y="5"/>
                    </a:cxn>
                    <a:cxn ang="0">
                      <a:pos x="75" y="2"/>
                    </a:cxn>
                    <a:cxn ang="0">
                      <a:pos x="68" y="2"/>
                    </a:cxn>
                    <a:cxn ang="0">
                      <a:pos x="66" y="2"/>
                    </a:cxn>
                    <a:cxn ang="0">
                      <a:pos x="63" y="0"/>
                    </a:cxn>
                    <a:cxn ang="0">
                      <a:pos x="61" y="2"/>
                    </a:cxn>
                    <a:cxn ang="0">
                      <a:pos x="58" y="4"/>
                    </a:cxn>
                    <a:cxn ang="0">
                      <a:pos x="58" y="2"/>
                    </a:cxn>
                    <a:cxn ang="0">
                      <a:pos x="52" y="2"/>
                    </a:cxn>
                    <a:cxn ang="0">
                      <a:pos x="51" y="2"/>
                    </a:cxn>
                    <a:cxn ang="0">
                      <a:pos x="47" y="2"/>
                    </a:cxn>
                    <a:cxn ang="0">
                      <a:pos x="45" y="5"/>
                    </a:cxn>
                    <a:cxn ang="0">
                      <a:pos x="44" y="5"/>
                    </a:cxn>
                    <a:cxn ang="0">
                      <a:pos x="40" y="5"/>
                    </a:cxn>
                    <a:cxn ang="0">
                      <a:pos x="40" y="5"/>
                    </a:cxn>
                    <a:cxn ang="0">
                      <a:pos x="33" y="5"/>
                    </a:cxn>
                    <a:cxn ang="0">
                      <a:pos x="30" y="9"/>
                    </a:cxn>
                    <a:cxn ang="0">
                      <a:pos x="26" y="9"/>
                    </a:cxn>
                    <a:cxn ang="0">
                      <a:pos x="23" y="12"/>
                    </a:cxn>
                    <a:cxn ang="0">
                      <a:pos x="18" y="12"/>
                    </a:cxn>
                    <a:cxn ang="0">
                      <a:pos x="11" y="16"/>
                    </a:cxn>
                    <a:cxn ang="0">
                      <a:pos x="9" y="14"/>
                    </a:cxn>
                    <a:cxn ang="0">
                      <a:pos x="4" y="14"/>
                    </a:cxn>
                    <a:cxn ang="0">
                      <a:pos x="0" y="18"/>
                    </a:cxn>
                    <a:cxn ang="0">
                      <a:pos x="0" y="18"/>
                    </a:cxn>
                    <a:cxn ang="0">
                      <a:pos x="0" y="21"/>
                    </a:cxn>
                    <a:cxn ang="0">
                      <a:pos x="0" y="28"/>
                    </a:cxn>
                    <a:cxn ang="0">
                      <a:pos x="0" y="28"/>
                    </a:cxn>
                    <a:cxn ang="0">
                      <a:pos x="0" y="28"/>
                    </a:cxn>
                  </a:cxnLst>
                  <a:rect l="0" t="0" r="r" b="b"/>
                  <a:pathLst>
                    <a:path w="82" h="35">
                      <a:moveTo>
                        <a:pt x="0" y="28"/>
                      </a:moveTo>
                      <a:lnTo>
                        <a:pt x="11" y="33"/>
                      </a:lnTo>
                      <a:lnTo>
                        <a:pt x="18" y="35"/>
                      </a:lnTo>
                      <a:lnTo>
                        <a:pt x="23" y="33"/>
                      </a:lnTo>
                      <a:lnTo>
                        <a:pt x="30" y="31"/>
                      </a:lnTo>
                      <a:lnTo>
                        <a:pt x="31" y="30"/>
                      </a:lnTo>
                      <a:lnTo>
                        <a:pt x="37" y="28"/>
                      </a:lnTo>
                      <a:lnTo>
                        <a:pt x="40" y="24"/>
                      </a:lnTo>
                      <a:lnTo>
                        <a:pt x="45" y="30"/>
                      </a:lnTo>
                      <a:lnTo>
                        <a:pt x="45" y="26"/>
                      </a:lnTo>
                      <a:lnTo>
                        <a:pt x="49" y="23"/>
                      </a:lnTo>
                      <a:lnTo>
                        <a:pt x="52" y="19"/>
                      </a:lnTo>
                      <a:lnTo>
                        <a:pt x="58" y="19"/>
                      </a:lnTo>
                      <a:lnTo>
                        <a:pt x="61" y="21"/>
                      </a:lnTo>
                      <a:lnTo>
                        <a:pt x="68" y="19"/>
                      </a:lnTo>
                      <a:lnTo>
                        <a:pt x="71" y="21"/>
                      </a:lnTo>
                      <a:lnTo>
                        <a:pt x="78" y="18"/>
                      </a:lnTo>
                      <a:lnTo>
                        <a:pt x="78" y="12"/>
                      </a:lnTo>
                      <a:lnTo>
                        <a:pt x="82" y="5"/>
                      </a:lnTo>
                      <a:lnTo>
                        <a:pt x="80" y="5"/>
                      </a:lnTo>
                      <a:lnTo>
                        <a:pt x="75" y="2"/>
                      </a:lnTo>
                      <a:lnTo>
                        <a:pt x="68" y="2"/>
                      </a:lnTo>
                      <a:lnTo>
                        <a:pt x="66" y="2"/>
                      </a:lnTo>
                      <a:lnTo>
                        <a:pt x="63" y="0"/>
                      </a:lnTo>
                      <a:lnTo>
                        <a:pt x="61" y="2"/>
                      </a:lnTo>
                      <a:lnTo>
                        <a:pt x="58" y="4"/>
                      </a:lnTo>
                      <a:lnTo>
                        <a:pt x="58" y="2"/>
                      </a:lnTo>
                      <a:lnTo>
                        <a:pt x="52" y="2"/>
                      </a:lnTo>
                      <a:lnTo>
                        <a:pt x="51" y="2"/>
                      </a:lnTo>
                      <a:lnTo>
                        <a:pt x="47" y="2"/>
                      </a:lnTo>
                      <a:lnTo>
                        <a:pt x="45" y="5"/>
                      </a:lnTo>
                      <a:lnTo>
                        <a:pt x="44" y="5"/>
                      </a:lnTo>
                      <a:lnTo>
                        <a:pt x="40" y="5"/>
                      </a:lnTo>
                      <a:lnTo>
                        <a:pt x="40" y="5"/>
                      </a:lnTo>
                      <a:lnTo>
                        <a:pt x="33" y="5"/>
                      </a:lnTo>
                      <a:lnTo>
                        <a:pt x="30" y="9"/>
                      </a:lnTo>
                      <a:lnTo>
                        <a:pt x="26" y="9"/>
                      </a:lnTo>
                      <a:lnTo>
                        <a:pt x="23" y="12"/>
                      </a:lnTo>
                      <a:lnTo>
                        <a:pt x="18" y="12"/>
                      </a:lnTo>
                      <a:lnTo>
                        <a:pt x="11" y="16"/>
                      </a:lnTo>
                      <a:lnTo>
                        <a:pt x="9" y="14"/>
                      </a:lnTo>
                      <a:lnTo>
                        <a:pt x="4" y="14"/>
                      </a:lnTo>
                      <a:lnTo>
                        <a:pt x="0" y="18"/>
                      </a:lnTo>
                      <a:lnTo>
                        <a:pt x="0" y="18"/>
                      </a:lnTo>
                      <a:lnTo>
                        <a:pt x="0" y="21"/>
                      </a:lnTo>
                      <a:lnTo>
                        <a:pt x="0" y="28"/>
                      </a:lnTo>
                      <a:lnTo>
                        <a:pt x="0" y="28"/>
                      </a:lnTo>
                      <a:lnTo>
                        <a:pt x="0" y="28"/>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3" name="Freeform 16"/>
                <p:cNvSpPr>
                  <a:spLocks/>
                </p:cNvSpPr>
                <p:nvPr/>
              </p:nvSpPr>
              <p:spPr bwMode="auto">
                <a:xfrm>
                  <a:off x="4686300" y="2809876"/>
                  <a:ext cx="187325" cy="93663"/>
                </a:xfrm>
                <a:custGeom>
                  <a:avLst/>
                  <a:gdLst/>
                  <a:ahLst/>
                  <a:cxnLst>
                    <a:cxn ang="0">
                      <a:pos x="73" y="55"/>
                    </a:cxn>
                    <a:cxn ang="0">
                      <a:pos x="82" y="59"/>
                    </a:cxn>
                    <a:cxn ang="0">
                      <a:pos x="89" y="55"/>
                    </a:cxn>
                    <a:cxn ang="0">
                      <a:pos x="96" y="55"/>
                    </a:cxn>
                    <a:cxn ang="0">
                      <a:pos x="104" y="50"/>
                    </a:cxn>
                    <a:cxn ang="0">
                      <a:pos x="113" y="45"/>
                    </a:cxn>
                    <a:cxn ang="0">
                      <a:pos x="111" y="38"/>
                    </a:cxn>
                    <a:cxn ang="0">
                      <a:pos x="110" y="31"/>
                    </a:cxn>
                    <a:cxn ang="0">
                      <a:pos x="118" y="31"/>
                    </a:cxn>
                    <a:cxn ang="0">
                      <a:pos x="118" y="22"/>
                    </a:cxn>
                    <a:cxn ang="0">
                      <a:pos x="116" y="8"/>
                    </a:cxn>
                    <a:cxn ang="0">
                      <a:pos x="106" y="3"/>
                    </a:cxn>
                    <a:cxn ang="0">
                      <a:pos x="99" y="5"/>
                    </a:cxn>
                    <a:cxn ang="0">
                      <a:pos x="87" y="1"/>
                    </a:cxn>
                    <a:cxn ang="0">
                      <a:pos x="82" y="3"/>
                    </a:cxn>
                    <a:cxn ang="0">
                      <a:pos x="82" y="7"/>
                    </a:cxn>
                    <a:cxn ang="0">
                      <a:pos x="75" y="10"/>
                    </a:cxn>
                    <a:cxn ang="0">
                      <a:pos x="63" y="5"/>
                    </a:cxn>
                    <a:cxn ang="0">
                      <a:pos x="63" y="12"/>
                    </a:cxn>
                    <a:cxn ang="0">
                      <a:pos x="59" y="13"/>
                    </a:cxn>
                    <a:cxn ang="0">
                      <a:pos x="50" y="22"/>
                    </a:cxn>
                    <a:cxn ang="0">
                      <a:pos x="56" y="26"/>
                    </a:cxn>
                    <a:cxn ang="0">
                      <a:pos x="54" y="31"/>
                    </a:cxn>
                    <a:cxn ang="0">
                      <a:pos x="45" y="31"/>
                    </a:cxn>
                    <a:cxn ang="0">
                      <a:pos x="38" y="31"/>
                    </a:cxn>
                    <a:cxn ang="0">
                      <a:pos x="31" y="33"/>
                    </a:cxn>
                    <a:cxn ang="0">
                      <a:pos x="26" y="33"/>
                    </a:cxn>
                    <a:cxn ang="0">
                      <a:pos x="19" y="31"/>
                    </a:cxn>
                    <a:cxn ang="0">
                      <a:pos x="16" y="33"/>
                    </a:cxn>
                    <a:cxn ang="0">
                      <a:pos x="9" y="34"/>
                    </a:cxn>
                    <a:cxn ang="0">
                      <a:pos x="4" y="33"/>
                    </a:cxn>
                    <a:cxn ang="0">
                      <a:pos x="0" y="33"/>
                    </a:cxn>
                    <a:cxn ang="0">
                      <a:pos x="2" y="38"/>
                    </a:cxn>
                    <a:cxn ang="0">
                      <a:pos x="5" y="43"/>
                    </a:cxn>
                    <a:cxn ang="0">
                      <a:pos x="10" y="41"/>
                    </a:cxn>
                    <a:cxn ang="0">
                      <a:pos x="16" y="43"/>
                    </a:cxn>
                    <a:cxn ang="0">
                      <a:pos x="19" y="45"/>
                    </a:cxn>
                    <a:cxn ang="0">
                      <a:pos x="26" y="48"/>
                    </a:cxn>
                    <a:cxn ang="0">
                      <a:pos x="37" y="43"/>
                    </a:cxn>
                    <a:cxn ang="0">
                      <a:pos x="43" y="46"/>
                    </a:cxn>
                    <a:cxn ang="0">
                      <a:pos x="61" y="53"/>
                    </a:cxn>
                    <a:cxn ang="0">
                      <a:pos x="70" y="55"/>
                    </a:cxn>
                    <a:cxn ang="0">
                      <a:pos x="70" y="55"/>
                    </a:cxn>
                  </a:cxnLst>
                  <a:rect l="0" t="0" r="r" b="b"/>
                  <a:pathLst>
                    <a:path w="118" h="59">
                      <a:moveTo>
                        <a:pt x="70" y="55"/>
                      </a:moveTo>
                      <a:lnTo>
                        <a:pt x="73" y="55"/>
                      </a:lnTo>
                      <a:lnTo>
                        <a:pt x="78" y="55"/>
                      </a:lnTo>
                      <a:lnTo>
                        <a:pt x="82" y="59"/>
                      </a:lnTo>
                      <a:lnTo>
                        <a:pt x="85" y="55"/>
                      </a:lnTo>
                      <a:lnTo>
                        <a:pt x="89" y="55"/>
                      </a:lnTo>
                      <a:lnTo>
                        <a:pt x="94" y="55"/>
                      </a:lnTo>
                      <a:lnTo>
                        <a:pt x="96" y="55"/>
                      </a:lnTo>
                      <a:lnTo>
                        <a:pt x="96" y="55"/>
                      </a:lnTo>
                      <a:lnTo>
                        <a:pt x="104" y="50"/>
                      </a:lnTo>
                      <a:lnTo>
                        <a:pt x="110" y="48"/>
                      </a:lnTo>
                      <a:lnTo>
                        <a:pt x="113" y="45"/>
                      </a:lnTo>
                      <a:lnTo>
                        <a:pt x="111" y="41"/>
                      </a:lnTo>
                      <a:lnTo>
                        <a:pt x="111" y="38"/>
                      </a:lnTo>
                      <a:lnTo>
                        <a:pt x="113" y="34"/>
                      </a:lnTo>
                      <a:lnTo>
                        <a:pt x="110" y="31"/>
                      </a:lnTo>
                      <a:lnTo>
                        <a:pt x="110" y="31"/>
                      </a:lnTo>
                      <a:lnTo>
                        <a:pt x="118" y="31"/>
                      </a:lnTo>
                      <a:lnTo>
                        <a:pt x="118" y="26"/>
                      </a:lnTo>
                      <a:lnTo>
                        <a:pt x="118" y="22"/>
                      </a:lnTo>
                      <a:lnTo>
                        <a:pt x="116" y="13"/>
                      </a:lnTo>
                      <a:lnTo>
                        <a:pt x="116" y="8"/>
                      </a:lnTo>
                      <a:lnTo>
                        <a:pt x="110" y="7"/>
                      </a:lnTo>
                      <a:lnTo>
                        <a:pt x="106" y="3"/>
                      </a:lnTo>
                      <a:lnTo>
                        <a:pt x="103" y="5"/>
                      </a:lnTo>
                      <a:lnTo>
                        <a:pt x="99" y="5"/>
                      </a:lnTo>
                      <a:lnTo>
                        <a:pt x="94" y="1"/>
                      </a:lnTo>
                      <a:lnTo>
                        <a:pt x="87" y="1"/>
                      </a:lnTo>
                      <a:lnTo>
                        <a:pt x="83" y="0"/>
                      </a:lnTo>
                      <a:lnTo>
                        <a:pt x="82" y="3"/>
                      </a:lnTo>
                      <a:lnTo>
                        <a:pt x="82" y="5"/>
                      </a:lnTo>
                      <a:lnTo>
                        <a:pt x="82" y="7"/>
                      </a:lnTo>
                      <a:lnTo>
                        <a:pt x="77" y="8"/>
                      </a:lnTo>
                      <a:lnTo>
                        <a:pt x="75" y="10"/>
                      </a:lnTo>
                      <a:lnTo>
                        <a:pt x="66" y="5"/>
                      </a:lnTo>
                      <a:lnTo>
                        <a:pt x="63" y="5"/>
                      </a:lnTo>
                      <a:lnTo>
                        <a:pt x="63" y="7"/>
                      </a:lnTo>
                      <a:lnTo>
                        <a:pt x="63" y="12"/>
                      </a:lnTo>
                      <a:lnTo>
                        <a:pt x="61" y="12"/>
                      </a:lnTo>
                      <a:lnTo>
                        <a:pt x="59" y="13"/>
                      </a:lnTo>
                      <a:lnTo>
                        <a:pt x="56" y="17"/>
                      </a:lnTo>
                      <a:lnTo>
                        <a:pt x="50" y="22"/>
                      </a:lnTo>
                      <a:lnTo>
                        <a:pt x="50" y="24"/>
                      </a:lnTo>
                      <a:lnTo>
                        <a:pt x="56" y="26"/>
                      </a:lnTo>
                      <a:lnTo>
                        <a:pt x="56" y="31"/>
                      </a:lnTo>
                      <a:lnTo>
                        <a:pt x="54" y="31"/>
                      </a:lnTo>
                      <a:lnTo>
                        <a:pt x="50" y="27"/>
                      </a:lnTo>
                      <a:lnTo>
                        <a:pt x="45" y="31"/>
                      </a:lnTo>
                      <a:lnTo>
                        <a:pt x="42" y="27"/>
                      </a:lnTo>
                      <a:lnTo>
                        <a:pt x="38" y="31"/>
                      </a:lnTo>
                      <a:lnTo>
                        <a:pt x="33" y="33"/>
                      </a:lnTo>
                      <a:lnTo>
                        <a:pt x="31" y="33"/>
                      </a:lnTo>
                      <a:lnTo>
                        <a:pt x="28" y="33"/>
                      </a:lnTo>
                      <a:lnTo>
                        <a:pt x="26" y="33"/>
                      </a:lnTo>
                      <a:lnTo>
                        <a:pt x="23" y="31"/>
                      </a:lnTo>
                      <a:lnTo>
                        <a:pt x="19" y="31"/>
                      </a:lnTo>
                      <a:lnTo>
                        <a:pt x="14" y="31"/>
                      </a:lnTo>
                      <a:lnTo>
                        <a:pt x="16" y="33"/>
                      </a:lnTo>
                      <a:lnTo>
                        <a:pt x="14" y="34"/>
                      </a:lnTo>
                      <a:lnTo>
                        <a:pt x="9" y="34"/>
                      </a:lnTo>
                      <a:lnTo>
                        <a:pt x="7" y="31"/>
                      </a:lnTo>
                      <a:lnTo>
                        <a:pt x="4" y="33"/>
                      </a:lnTo>
                      <a:lnTo>
                        <a:pt x="2" y="33"/>
                      </a:lnTo>
                      <a:lnTo>
                        <a:pt x="0" y="33"/>
                      </a:lnTo>
                      <a:lnTo>
                        <a:pt x="4" y="34"/>
                      </a:lnTo>
                      <a:lnTo>
                        <a:pt x="2" y="38"/>
                      </a:lnTo>
                      <a:lnTo>
                        <a:pt x="5" y="40"/>
                      </a:lnTo>
                      <a:lnTo>
                        <a:pt x="5" y="43"/>
                      </a:lnTo>
                      <a:lnTo>
                        <a:pt x="7" y="43"/>
                      </a:lnTo>
                      <a:lnTo>
                        <a:pt x="10" y="41"/>
                      </a:lnTo>
                      <a:lnTo>
                        <a:pt x="14" y="45"/>
                      </a:lnTo>
                      <a:lnTo>
                        <a:pt x="16" y="43"/>
                      </a:lnTo>
                      <a:lnTo>
                        <a:pt x="19" y="43"/>
                      </a:lnTo>
                      <a:lnTo>
                        <a:pt x="19" y="45"/>
                      </a:lnTo>
                      <a:lnTo>
                        <a:pt x="19" y="45"/>
                      </a:lnTo>
                      <a:lnTo>
                        <a:pt x="26" y="48"/>
                      </a:lnTo>
                      <a:lnTo>
                        <a:pt x="33" y="43"/>
                      </a:lnTo>
                      <a:lnTo>
                        <a:pt x="37" y="43"/>
                      </a:lnTo>
                      <a:lnTo>
                        <a:pt x="43" y="43"/>
                      </a:lnTo>
                      <a:lnTo>
                        <a:pt x="43" y="46"/>
                      </a:lnTo>
                      <a:lnTo>
                        <a:pt x="52" y="52"/>
                      </a:lnTo>
                      <a:lnTo>
                        <a:pt x="61" y="53"/>
                      </a:lnTo>
                      <a:lnTo>
                        <a:pt x="68" y="53"/>
                      </a:lnTo>
                      <a:lnTo>
                        <a:pt x="70" y="55"/>
                      </a:lnTo>
                      <a:lnTo>
                        <a:pt x="70" y="55"/>
                      </a:lnTo>
                      <a:lnTo>
                        <a:pt x="70" y="55"/>
                      </a:lnTo>
                      <a:lnTo>
                        <a:pt x="70" y="55"/>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4" name="Freeform 17"/>
                <p:cNvSpPr>
                  <a:spLocks/>
                </p:cNvSpPr>
                <p:nvPr/>
              </p:nvSpPr>
              <p:spPr bwMode="auto">
                <a:xfrm>
                  <a:off x="4787900" y="2590801"/>
                  <a:ext cx="254000" cy="209550"/>
                </a:xfrm>
                <a:custGeom>
                  <a:avLst/>
                  <a:gdLst/>
                  <a:ahLst/>
                  <a:cxnLst>
                    <a:cxn ang="0">
                      <a:pos x="99" y="132"/>
                    </a:cxn>
                    <a:cxn ang="0">
                      <a:pos x="103" y="129"/>
                    </a:cxn>
                    <a:cxn ang="0">
                      <a:pos x="108" y="129"/>
                    </a:cxn>
                    <a:cxn ang="0">
                      <a:pos x="115" y="132"/>
                    </a:cxn>
                    <a:cxn ang="0">
                      <a:pos x="119" y="127"/>
                    </a:cxn>
                    <a:cxn ang="0">
                      <a:pos x="124" y="129"/>
                    </a:cxn>
                    <a:cxn ang="0">
                      <a:pos x="138" y="132"/>
                    </a:cxn>
                    <a:cxn ang="0">
                      <a:pos x="143" y="127"/>
                    </a:cxn>
                    <a:cxn ang="0">
                      <a:pos x="152" y="111"/>
                    </a:cxn>
                    <a:cxn ang="0">
                      <a:pos x="155" y="105"/>
                    </a:cxn>
                    <a:cxn ang="0">
                      <a:pos x="160" y="99"/>
                    </a:cxn>
                    <a:cxn ang="0">
                      <a:pos x="160" y="94"/>
                    </a:cxn>
                    <a:cxn ang="0">
                      <a:pos x="155" y="91"/>
                    </a:cxn>
                    <a:cxn ang="0">
                      <a:pos x="152" y="82"/>
                    </a:cxn>
                    <a:cxn ang="0">
                      <a:pos x="152" y="70"/>
                    </a:cxn>
                    <a:cxn ang="0">
                      <a:pos x="148" y="59"/>
                    </a:cxn>
                    <a:cxn ang="0">
                      <a:pos x="152" y="54"/>
                    </a:cxn>
                    <a:cxn ang="0">
                      <a:pos x="152" y="42"/>
                    </a:cxn>
                    <a:cxn ang="0">
                      <a:pos x="148" y="33"/>
                    </a:cxn>
                    <a:cxn ang="0">
                      <a:pos x="143" y="23"/>
                    </a:cxn>
                    <a:cxn ang="0">
                      <a:pos x="141" y="11"/>
                    </a:cxn>
                    <a:cxn ang="0">
                      <a:pos x="136" y="7"/>
                    </a:cxn>
                    <a:cxn ang="0">
                      <a:pos x="91" y="9"/>
                    </a:cxn>
                    <a:cxn ang="0">
                      <a:pos x="82" y="14"/>
                    </a:cxn>
                    <a:cxn ang="0">
                      <a:pos x="75" y="14"/>
                    </a:cxn>
                    <a:cxn ang="0">
                      <a:pos x="85" y="7"/>
                    </a:cxn>
                    <a:cxn ang="0">
                      <a:pos x="80" y="11"/>
                    </a:cxn>
                    <a:cxn ang="0">
                      <a:pos x="66" y="12"/>
                    </a:cxn>
                    <a:cxn ang="0">
                      <a:pos x="65" y="5"/>
                    </a:cxn>
                    <a:cxn ang="0">
                      <a:pos x="72" y="7"/>
                    </a:cxn>
                    <a:cxn ang="0">
                      <a:pos x="66" y="2"/>
                    </a:cxn>
                    <a:cxn ang="0">
                      <a:pos x="52" y="5"/>
                    </a:cxn>
                    <a:cxn ang="0">
                      <a:pos x="40" y="5"/>
                    </a:cxn>
                    <a:cxn ang="0">
                      <a:pos x="32" y="11"/>
                    </a:cxn>
                    <a:cxn ang="0">
                      <a:pos x="30" y="18"/>
                    </a:cxn>
                    <a:cxn ang="0">
                      <a:pos x="16" y="19"/>
                    </a:cxn>
                    <a:cxn ang="0">
                      <a:pos x="9" y="25"/>
                    </a:cxn>
                    <a:cxn ang="0">
                      <a:pos x="6" y="30"/>
                    </a:cxn>
                    <a:cxn ang="0">
                      <a:pos x="6" y="31"/>
                    </a:cxn>
                    <a:cxn ang="0">
                      <a:pos x="6" y="45"/>
                    </a:cxn>
                    <a:cxn ang="0">
                      <a:pos x="0" y="51"/>
                    </a:cxn>
                    <a:cxn ang="0">
                      <a:pos x="6" y="59"/>
                    </a:cxn>
                    <a:cxn ang="0">
                      <a:pos x="9" y="65"/>
                    </a:cxn>
                    <a:cxn ang="0">
                      <a:pos x="9" y="70"/>
                    </a:cxn>
                    <a:cxn ang="0">
                      <a:pos x="14" y="82"/>
                    </a:cxn>
                    <a:cxn ang="0">
                      <a:pos x="18" y="92"/>
                    </a:cxn>
                    <a:cxn ang="0">
                      <a:pos x="18" y="96"/>
                    </a:cxn>
                    <a:cxn ang="0">
                      <a:pos x="21" y="96"/>
                    </a:cxn>
                    <a:cxn ang="0">
                      <a:pos x="30" y="96"/>
                    </a:cxn>
                    <a:cxn ang="0">
                      <a:pos x="32" y="101"/>
                    </a:cxn>
                    <a:cxn ang="0">
                      <a:pos x="39" y="101"/>
                    </a:cxn>
                    <a:cxn ang="0">
                      <a:pos x="37" y="106"/>
                    </a:cxn>
                    <a:cxn ang="0">
                      <a:pos x="39" y="111"/>
                    </a:cxn>
                    <a:cxn ang="0">
                      <a:pos x="44" y="110"/>
                    </a:cxn>
                    <a:cxn ang="0">
                      <a:pos x="40" y="105"/>
                    </a:cxn>
                    <a:cxn ang="0">
                      <a:pos x="51" y="108"/>
                    </a:cxn>
                    <a:cxn ang="0">
                      <a:pos x="54" y="111"/>
                    </a:cxn>
                    <a:cxn ang="0">
                      <a:pos x="65" y="113"/>
                    </a:cxn>
                    <a:cxn ang="0">
                      <a:pos x="82" y="122"/>
                    </a:cxn>
                    <a:cxn ang="0">
                      <a:pos x="87" y="127"/>
                    </a:cxn>
                    <a:cxn ang="0">
                      <a:pos x="94" y="127"/>
                    </a:cxn>
                    <a:cxn ang="0">
                      <a:pos x="96" y="132"/>
                    </a:cxn>
                    <a:cxn ang="0">
                      <a:pos x="96" y="132"/>
                    </a:cxn>
                  </a:cxnLst>
                  <a:rect l="0" t="0" r="r" b="b"/>
                  <a:pathLst>
                    <a:path w="160" h="132">
                      <a:moveTo>
                        <a:pt x="96" y="132"/>
                      </a:moveTo>
                      <a:lnTo>
                        <a:pt x="99" y="132"/>
                      </a:lnTo>
                      <a:lnTo>
                        <a:pt x="101" y="132"/>
                      </a:lnTo>
                      <a:lnTo>
                        <a:pt x="103" y="129"/>
                      </a:lnTo>
                      <a:lnTo>
                        <a:pt x="106" y="129"/>
                      </a:lnTo>
                      <a:lnTo>
                        <a:pt x="108" y="129"/>
                      </a:lnTo>
                      <a:lnTo>
                        <a:pt x="113" y="129"/>
                      </a:lnTo>
                      <a:lnTo>
                        <a:pt x="115" y="132"/>
                      </a:lnTo>
                      <a:lnTo>
                        <a:pt x="119" y="129"/>
                      </a:lnTo>
                      <a:lnTo>
                        <a:pt x="119" y="127"/>
                      </a:lnTo>
                      <a:lnTo>
                        <a:pt x="124" y="129"/>
                      </a:lnTo>
                      <a:lnTo>
                        <a:pt x="124" y="129"/>
                      </a:lnTo>
                      <a:lnTo>
                        <a:pt x="131" y="129"/>
                      </a:lnTo>
                      <a:lnTo>
                        <a:pt x="138" y="132"/>
                      </a:lnTo>
                      <a:lnTo>
                        <a:pt x="143" y="132"/>
                      </a:lnTo>
                      <a:lnTo>
                        <a:pt x="143" y="127"/>
                      </a:lnTo>
                      <a:lnTo>
                        <a:pt x="141" y="124"/>
                      </a:lnTo>
                      <a:lnTo>
                        <a:pt x="152" y="111"/>
                      </a:lnTo>
                      <a:lnTo>
                        <a:pt x="155" y="106"/>
                      </a:lnTo>
                      <a:lnTo>
                        <a:pt x="155" y="105"/>
                      </a:lnTo>
                      <a:lnTo>
                        <a:pt x="160" y="105"/>
                      </a:lnTo>
                      <a:lnTo>
                        <a:pt x="160" y="99"/>
                      </a:lnTo>
                      <a:lnTo>
                        <a:pt x="160" y="98"/>
                      </a:lnTo>
                      <a:lnTo>
                        <a:pt x="160" y="94"/>
                      </a:lnTo>
                      <a:lnTo>
                        <a:pt x="160" y="92"/>
                      </a:lnTo>
                      <a:lnTo>
                        <a:pt x="155" y="91"/>
                      </a:lnTo>
                      <a:lnTo>
                        <a:pt x="155" y="84"/>
                      </a:lnTo>
                      <a:lnTo>
                        <a:pt x="152" y="82"/>
                      </a:lnTo>
                      <a:lnTo>
                        <a:pt x="152" y="73"/>
                      </a:lnTo>
                      <a:lnTo>
                        <a:pt x="152" y="70"/>
                      </a:lnTo>
                      <a:lnTo>
                        <a:pt x="148" y="65"/>
                      </a:lnTo>
                      <a:lnTo>
                        <a:pt x="148" y="59"/>
                      </a:lnTo>
                      <a:lnTo>
                        <a:pt x="150" y="54"/>
                      </a:lnTo>
                      <a:lnTo>
                        <a:pt x="152" y="54"/>
                      </a:lnTo>
                      <a:lnTo>
                        <a:pt x="152" y="44"/>
                      </a:lnTo>
                      <a:lnTo>
                        <a:pt x="152" y="42"/>
                      </a:lnTo>
                      <a:lnTo>
                        <a:pt x="152" y="38"/>
                      </a:lnTo>
                      <a:lnTo>
                        <a:pt x="148" y="33"/>
                      </a:lnTo>
                      <a:lnTo>
                        <a:pt x="146" y="25"/>
                      </a:lnTo>
                      <a:lnTo>
                        <a:pt x="143" y="23"/>
                      </a:lnTo>
                      <a:lnTo>
                        <a:pt x="143" y="18"/>
                      </a:lnTo>
                      <a:lnTo>
                        <a:pt x="141" y="11"/>
                      </a:lnTo>
                      <a:lnTo>
                        <a:pt x="138" y="11"/>
                      </a:lnTo>
                      <a:lnTo>
                        <a:pt x="136" y="7"/>
                      </a:lnTo>
                      <a:lnTo>
                        <a:pt x="112" y="11"/>
                      </a:lnTo>
                      <a:lnTo>
                        <a:pt x="91" y="9"/>
                      </a:lnTo>
                      <a:lnTo>
                        <a:pt x="87" y="9"/>
                      </a:lnTo>
                      <a:lnTo>
                        <a:pt x="82" y="14"/>
                      </a:lnTo>
                      <a:lnTo>
                        <a:pt x="77" y="16"/>
                      </a:lnTo>
                      <a:lnTo>
                        <a:pt x="75" y="14"/>
                      </a:lnTo>
                      <a:lnTo>
                        <a:pt x="80" y="12"/>
                      </a:lnTo>
                      <a:lnTo>
                        <a:pt x="85" y="7"/>
                      </a:lnTo>
                      <a:lnTo>
                        <a:pt x="82" y="7"/>
                      </a:lnTo>
                      <a:lnTo>
                        <a:pt x="80" y="11"/>
                      </a:lnTo>
                      <a:lnTo>
                        <a:pt x="73" y="14"/>
                      </a:lnTo>
                      <a:lnTo>
                        <a:pt x="66" y="12"/>
                      </a:lnTo>
                      <a:lnTo>
                        <a:pt x="65" y="7"/>
                      </a:lnTo>
                      <a:lnTo>
                        <a:pt x="65" y="5"/>
                      </a:lnTo>
                      <a:lnTo>
                        <a:pt x="70" y="5"/>
                      </a:lnTo>
                      <a:lnTo>
                        <a:pt x="72" y="7"/>
                      </a:lnTo>
                      <a:lnTo>
                        <a:pt x="72" y="5"/>
                      </a:lnTo>
                      <a:lnTo>
                        <a:pt x="66" y="2"/>
                      </a:lnTo>
                      <a:lnTo>
                        <a:pt x="58" y="0"/>
                      </a:lnTo>
                      <a:lnTo>
                        <a:pt x="52" y="5"/>
                      </a:lnTo>
                      <a:lnTo>
                        <a:pt x="46" y="5"/>
                      </a:lnTo>
                      <a:lnTo>
                        <a:pt x="40" y="5"/>
                      </a:lnTo>
                      <a:lnTo>
                        <a:pt x="39" y="11"/>
                      </a:lnTo>
                      <a:lnTo>
                        <a:pt x="32" y="11"/>
                      </a:lnTo>
                      <a:lnTo>
                        <a:pt x="30" y="14"/>
                      </a:lnTo>
                      <a:lnTo>
                        <a:pt x="30" y="18"/>
                      </a:lnTo>
                      <a:lnTo>
                        <a:pt x="25" y="18"/>
                      </a:lnTo>
                      <a:lnTo>
                        <a:pt x="16" y="19"/>
                      </a:lnTo>
                      <a:lnTo>
                        <a:pt x="11" y="23"/>
                      </a:lnTo>
                      <a:lnTo>
                        <a:pt x="9" y="25"/>
                      </a:lnTo>
                      <a:lnTo>
                        <a:pt x="7" y="30"/>
                      </a:lnTo>
                      <a:lnTo>
                        <a:pt x="6" y="30"/>
                      </a:lnTo>
                      <a:lnTo>
                        <a:pt x="7" y="31"/>
                      </a:lnTo>
                      <a:lnTo>
                        <a:pt x="6" y="31"/>
                      </a:lnTo>
                      <a:lnTo>
                        <a:pt x="7" y="40"/>
                      </a:lnTo>
                      <a:lnTo>
                        <a:pt x="6" y="45"/>
                      </a:lnTo>
                      <a:lnTo>
                        <a:pt x="0" y="47"/>
                      </a:lnTo>
                      <a:lnTo>
                        <a:pt x="0" y="51"/>
                      </a:lnTo>
                      <a:lnTo>
                        <a:pt x="7" y="56"/>
                      </a:lnTo>
                      <a:lnTo>
                        <a:pt x="6" y="59"/>
                      </a:lnTo>
                      <a:lnTo>
                        <a:pt x="9" y="63"/>
                      </a:lnTo>
                      <a:lnTo>
                        <a:pt x="9" y="65"/>
                      </a:lnTo>
                      <a:lnTo>
                        <a:pt x="11" y="70"/>
                      </a:lnTo>
                      <a:lnTo>
                        <a:pt x="9" y="70"/>
                      </a:lnTo>
                      <a:lnTo>
                        <a:pt x="13" y="78"/>
                      </a:lnTo>
                      <a:lnTo>
                        <a:pt x="14" y="82"/>
                      </a:lnTo>
                      <a:lnTo>
                        <a:pt x="16" y="82"/>
                      </a:lnTo>
                      <a:lnTo>
                        <a:pt x="18" y="92"/>
                      </a:lnTo>
                      <a:lnTo>
                        <a:pt x="16" y="94"/>
                      </a:lnTo>
                      <a:lnTo>
                        <a:pt x="18" y="96"/>
                      </a:lnTo>
                      <a:lnTo>
                        <a:pt x="18" y="94"/>
                      </a:lnTo>
                      <a:lnTo>
                        <a:pt x="21" y="96"/>
                      </a:lnTo>
                      <a:lnTo>
                        <a:pt x="21" y="94"/>
                      </a:lnTo>
                      <a:lnTo>
                        <a:pt x="30" y="96"/>
                      </a:lnTo>
                      <a:lnTo>
                        <a:pt x="30" y="98"/>
                      </a:lnTo>
                      <a:lnTo>
                        <a:pt x="32" y="101"/>
                      </a:lnTo>
                      <a:lnTo>
                        <a:pt x="35" y="101"/>
                      </a:lnTo>
                      <a:lnTo>
                        <a:pt x="39" y="101"/>
                      </a:lnTo>
                      <a:lnTo>
                        <a:pt x="37" y="105"/>
                      </a:lnTo>
                      <a:lnTo>
                        <a:pt x="37" y="106"/>
                      </a:lnTo>
                      <a:lnTo>
                        <a:pt x="39" y="108"/>
                      </a:lnTo>
                      <a:lnTo>
                        <a:pt x="39" y="111"/>
                      </a:lnTo>
                      <a:lnTo>
                        <a:pt x="42" y="111"/>
                      </a:lnTo>
                      <a:lnTo>
                        <a:pt x="44" y="110"/>
                      </a:lnTo>
                      <a:lnTo>
                        <a:pt x="46" y="110"/>
                      </a:lnTo>
                      <a:lnTo>
                        <a:pt x="40" y="105"/>
                      </a:lnTo>
                      <a:lnTo>
                        <a:pt x="42" y="105"/>
                      </a:lnTo>
                      <a:lnTo>
                        <a:pt x="51" y="108"/>
                      </a:lnTo>
                      <a:lnTo>
                        <a:pt x="54" y="108"/>
                      </a:lnTo>
                      <a:lnTo>
                        <a:pt x="54" y="111"/>
                      </a:lnTo>
                      <a:lnTo>
                        <a:pt x="58" y="113"/>
                      </a:lnTo>
                      <a:lnTo>
                        <a:pt x="65" y="113"/>
                      </a:lnTo>
                      <a:lnTo>
                        <a:pt x="70" y="115"/>
                      </a:lnTo>
                      <a:lnTo>
                        <a:pt x="82" y="122"/>
                      </a:lnTo>
                      <a:lnTo>
                        <a:pt x="85" y="127"/>
                      </a:lnTo>
                      <a:lnTo>
                        <a:pt x="87" y="127"/>
                      </a:lnTo>
                      <a:lnTo>
                        <a:pt x="87" y="127"/>
                      </a:lnTo>
                      <a:lnTo>
                        <a:pt x="94" y="127"/>
                      </a:lnTo>
                      <a:lnTo>
                        <a:pt x="96" y="127"/>
                      </a:lnTo>
                      <a:lnTo>
                        <a:pt x="96" y="132"/>
                      </a:lnTo>
                      <a:lnTo>
                        <a:pt x="96" y="132"/>
                      </a:lnTo>
                      <a:lnTo>
                        <a:pt x="96" y="132"/>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5" name="Freeform 18"/>
                <p:cNvSpPr>
                  <a:spLocks/>
                </p:cNvSpPr>
                <p:nvPr/>
              </p:nvSpPr>
              <p:spPr bwMode="auto">
                <a:xfrm>
                  <a:off x="4741863" y="2740026"/>
                  <a:ext cx="201613" cy="85725"/>
                </a:xfrm>
                <a:custGeom>
                  <a:avLst/>
                  <a:gdLst/>
                  <a:ahLst/>
                  <a:cxnLst>
                    <a:cxn ang="0">
                      <a:pos x="47" y="2"/>
                    </a:cxn>
                    <a:cxn ang="0">
                      <a:pos x="50" y="2"/>
                    </a:cxn>
                    <a:cxn ang="0">
                      <a:pos x="61" y="2"/>
                    </a:cxn>
                    <a:cxn ang="0">
                      <a:pos x="62" y="7"/>
                    </a:cxn>
                    <a:cxn ang="0">
                      <a:pos x="69" y="9"/>
                    </a:cxn>
                    <a:cxn ang="0">
                      <a:pos x="68" y="12"/>
                    </a:cxn>
                    <a:cxn ang="0">
                      <a:pos x="69" y="17"/>
                    </a:cxn>
                    <a:cxn ang="0">
                      <a:pos x="75" y="16"/>
                    </a:cxn>
                    <a:cxn ang="0">
                      <a:pos x="71" y="12"/>
                    </a:cxn>
                    <a:cxn ang="0">
                      <a:pos x="80" y="16"/>
                    </a:cxn>
                    <a:cxn ang="0">
                      <a:pos x="85" y="17"/>
                    </a:cxn>
                    <a:cxn ang="0">
                      <a:pos x="95" y="19"/>
                    </a:cxn>
                    <a:cxn ang="0">
                      <a:pos x="111" y="28"/>
                    </a:cxn>
                    <a:cxn ang="0">
                      <a:pos x="116" y="35"/>
                    </a:cxn>
                    <a:cxn ang="0">
                      <a:pos x="123" y="33"/>
                    </a:cxn>
                    <a:cxn ang="0">
                      <a:pos x="127" y="38"/>
                    </a:cxn>
                    <a:cxn ang="0">
                      <a:pos x="116" y="42"/>
                    </a:cxn>
                    <a:cxn ang="0">
                      <a:pos x="108" y="47"/>
                    </a:cxn>
                    <a:cxn ang="0">
                      <a:pos x="94" y="51"/>
                    </a:cxn>
                    <a:cxn ang="0">
                      <a:pos x="87" y="49"/>
                    </a:cxn>
                    <a:cxn ang="0">
                      <a:pos x="75" y="51"/>
                    </a:cxn>
                    <a:cxn ang="0">
                      <a:pos x="69" y="49"/>
                    </a:cxn>
                    <a:cxn ang="0">
                      <a:pos x="59" y="45"/>
                    </a:cxn>
                    <a:cxn ang="0">
                      <a:pos x="48" y="44"/>
                    </a:cxn>
                    <a:cxn ang="0">
                      <a:pos x="47" y="49"/>
                    </a:cxn>
                    <a:cxn ang="0">
                      <a:pos x="42" y="52"/>
                    </a:cxn>
                    <a:cxn ang="0">
                      <a:pos x="31" y="49"/>
                    </a:cxn>
                    <a:cxn ang="0">
                      <a:pos x="29" y="49"/>
                    </a:cxn>
                    <a:cxn ang="0">
                      <a:pos x="19" y="38"/>
                    </a:cxn>
                    <a:cxn ang="0">
                      <a:pos x="10" y="33"/>
                    </a:cxn>
                    <a:cxn ang="0">
                      <a:pos x="7" y="26"/>
                    </a:cxn>
                    <a:cxn ang="0">
                      <a:pos x="0" y="17"/>
                    </a:cxn>
                    <a:cxn ang="0">
                      <a:pos x="2" y="12"/>
                    </a:cxn>
                    <a:cxn ang="0">
                      <a:pos x="7" y="16"/>
                    </a:cxn>
                    <a:cxn ang="0">
                      <a:pos x="14" y="11"/>
                    </a:cxn>
                    <a:cxn ang="0">
                      <a:pos x="22" y="7"/>
                    </a:cxn>
                    <a:cxn ang="0">
                      <a:pos x="29" y="4"/>
                    </a:cxn>
                    <a:cxn ang="0">
                      <a:pos x="35" y="4"/>
                    </a:cxn>
                    <a:cxn ang="0">
                      <a:pos x="42" y="0"/>
                    </a:cxn>
                    <a:cxn ang="0">
                      <a:pos x="47" y="0"/>
                    </a:cxn>
                    <a:cxn ang="0">
                      <a:pos x="47" y="0"/>
                    </a:cxn>
                  </a:cxnLst>
                  <a:rect l="0" t="0" r="r" b="b"/>
                  <a:pathLst>
                    <a:path w="127" h="54">
                      <a:moveTo>
                        <a:pt x="47" y="0"/>
                      </a:moveTo>
                      <a:lnTo>
                        <a:pt x="47" y="2"/>
                      </a:lnTo>
                      <a:lnTo>
                        <a:pt x="48" y="0"/>
                      </a:lnTo>
                      <a:lnTo>
                        <a:pt x="50" y="2"/>
                      </a:lnTo>
                      <a:lnTo>
                        <a:pt x="52" y="0"/>
                      </a:lnTo>
                      <a:lnTo>
                        <a:pt x="61" y="2"/>
                      </a:lnTo>
                      <a:lnTo>
                        <a:pt x="61" y="4"/>
                      </a:lnTo>
                      <a:lnTo>
                        <a:pt x="62" y="7"/>
                      </a:lnTo>
                      <a:lnTo>
                        <a:pt x="66" y="7"/>
                      </a:lnTo>
                      <a:lnTo>
                        <a:pt x="69" y="9"/>
                      </a:lnTo>
                      <a:lnTo>
                        <a:pt x="68" y="12"/>
                      </a:lnTo>
                      <a:lnTo>
                        <a:pt x="68" y="12"/>
                      </a:lnTo>
                      <a:lnTo>
                        <a:pt x="69" y="16"/>
                      </a:lnTo>
                      <a:lnTo>
                        <a:pt x="69" y="17"/>
                      </a:lnTo>
                      <a:lnTo>
                        <a:pt x="71" y="17"/>
                      </a:lnTo>
                      <a:lnTo>
                        <a:pt x="75" y="16"/>
                      </a:lnTo>
                      <a:lnTo>
                        <a:pt x="75" y="16"/>
                      </a:lnTo>
                      <a:lnTo>
                        <a:pt x="71" y="12"/>
                      </a:lnTo>
                      <a:lnTo>
                        <a:pt x="71" y="12"/>
                      </a:lnTo>
                      <a:lnTo>
                        <a:pt x="80" y="16"/>
                      </a:lnTo>
                      <a:lnTo>
                        <a:pt x="85" y="16"/>
                      </a:lnTo>
                      <a:lnTo>
                        <a:pt x="85" y="17"/>
                      </a:lnTo>
                      <a:lnTo>
                        <a:pt x="88" y="19"/>
                      </a:lnTo>
                      <a:lnTo>
                        <a:pt x="95" y="19"/>
                      </a:lnTo>
                      <a:lnTo>
                        <a:pt x="101" y="21"/>
                      </a:lnTo>
                      <a:lnTo>
                        <a:pt x="111" y="28"/>
                      </a:lnTo>
                      <a:lnTo>
                        <a:pt x="116" y="35"/>
                      </a:lnTo>
                      <a:lnTo>
                        <a:pt x="116" y="35"/>
                      </a:lnTo>
                      <a:lnTo>
                        <a:pt x="118" y="33"/>
                      </a:lnTo>
                      <a:lnTo>
                        <a:pt x="123" y="33"/>
                      </a:lnTo>
                      <a:lnTo>
                        <a:pt x="127" y="35"/>
                      </a:lnTo>
                      <a:lnTo>
                        <a:pt x="127" y="38"/>
                      </a:lnTo>
                      <a:lnTo>
                        <a:pt x="118" y="38"/>
                      </a:lnTo>
                      <a:lnTo>
                        <a:pt x="116" y="42"/>
                      </a:lnTo>
                      <a:lnTo>
                        <a:pt x="111" y="42"/>
                      </a:lnTo>
                      <a:lnTo>
                        <a:pt x="108" y="47"/>
                      </a:lnTo>
                      <a:lnTo>
                        <a:pt x="101" y="47"/>
                      </a:lnTo>
                      <a:lnTo>
                        <a:pt x="94" y="51"/>
                      </a:lnTo>
                      <a:lnTo>
                        <a:pt x="92" y="49"/>
                      </a:lnTo>
                      <a:lnTo>
                        <a:pt x="87" y="49"/>
                      </a:lnTo>
                      <a:lnTo>
                        <a:pt x="83" y="52"/>
                      </a:lnTo>
                      <a:lnTo>
                        <a:pt x="75" y="51"/>
                      </a:lnTo>
                      <a:lnTo>
                        <a:pt x="71" y="47"/>
                      </a:lnTo>
                      <a:lnTo>
                        <a:pt x="69" y="49"/>
                      </a:lnTo>
                      <a:lnTo>
                        <a:pt x="64" y="49"/>
                      </a:lnTo>
                      <a:lnTo>
                        <a:pt x="59" y="45"/>
                      </a:lnTo>
                      <a:lnTo>
                        <a:pt x="52" y="45"/>
                      </a:lnTo>
                      <a:lnTo>
                        <a:pt x="48" y="44"/>
                      </a:lnTo>
                      <a:lnTo>
                        <a:pt x="47" y="47"/>
                      </a:lnTo>
                      <a:lnTo>
                        <a:pt x="47" y="49"/>
                      </a:lnTo>
                      <a:lnTo>
                        <a:pt x="47" y="51"/>
                      </a:lnTo>
                      <a:lnTo>
                        <a:pt x="42" y="52"/>
                      </a:lnTo>
                      <a:lnTo>
                        <a:pt x="38" y="54"/>
                      </a:lnTo>
                      <a:lnTo>
                        <a:pt x="31" y="49"/>
                      </a:lnTo>
                      <a:lnTo>
                        <a:pt x="28" y="49"/>
                      </a:lnTo>
                      <a:lnTo>
                        <a:pt x="29" y="49"/>
                      </a:lnTo>
                      <a:lnTo>
                        <a:pt x="21" y="40"/>
                      </a:lnTo>
                      <a:lnTo>
                        <a:pt x="19" y="38"/>
                      </a:lnTo>
                      <a:lnTo>
                        <a:pt x="14" y="35"/>
                      </a:lnTo>
                      <a:lnTo>
                        <a:pt x="10" y="33"/>
                      </a:lnTo>
                      <a:lnTo>
                        <a:pt x="7" y="30"/>
                      </a:lnTo>
                      <a:lnTo>
                        <a:pt x="7" y="26"/>
                      </a:lnTo>
                      <a:lnTo>
                        <a:pt x="5" y="19"/>
                      </a:lnTo>
                      <a:lnTo>
                        <a:pt x="0" y="17"/>
                      </a:lnTo>
                      <a:lnTo>
                        <a:pt x="0" y="16"/>
                      </a:lnTo>
                      <a:lnTo>
                        <a:pt x="2" y="12"/>
                      </a:lnTo>
                      <a:lnTo>
                        <a:pt x="2" y="16"/>
                      </a:lnTo>
                      <a:lnTo>
                        <a:pt x="7" y="16"/>
                      </a:lnTo>
                      <a:lnTo>
                        <a:pt x="14" y="12"/>
                      </a:lnTo>
                      <a:lnTo>
                        <a:pt x="14" y="11"/>
                      </a:lnTo>
                      <a:lnTo>
                        <a:pt x="19" y="7"/>
                      </a:lnTo>
                      <a:lnTo>
                        <a:pt x="22" y="7"/>
                      </a:lnTo>
                      <a:lnTo>
                        <a:pt x="24" y="4"/>
                      </a:lnTo>
                      <a:lnTo>
                        <a:pt x="29" y="4"/>
                      </a:lnTo>
                      <a:lnTo>
                        <a:pt x="33" y="5"/>
                      </a:lnTo>
                      <a:lnTo>
                        <a:pt x="35" y="4"/>
                      </a:lnTo>
                      <a:lnTo>
                        <a:pt x="35" y="0"/>
                      </a:lnTo>
                      <a:lnTo>
                        <a:pt x="42" y="0"/>
                      </a:lnTo>
                      <a:lnTo>
                        <a:pt x="43" y="0"/>
                      </a:lnTo>
                      <a:lnTo>
                        <a:pt x="47" y="0"/>
                      </a:lnTo>
                      <a:lnTo>
                        <a:pt x="47" y="0"/>
                      </a:lnTo>
                      <a:lnTo>
                        <a:pt x="47" y="0"/>
                      </a:lnTo>
                      <a:lnTo>
                        <a:pt x="47" y="0"/>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6" name="Freeform 19"/>
                <p:cNvSpPr>
                  <a:spLocks/>
                </p:cNvSpPr>
                <p:nvPr/>
              </p:nvSpPr>
              <p:spPr bwMode="auto">
                <a:xfrm>
                  <a:off x="4595813" y="2847976"/>
                  <a:ext cx="123825" cy="68263"/>
                </a:xfrm>
                <a:custGeom>
                  <a:avLst/>
                  <a:gdLst/>
                  <a:ahLst/>
                  <a:cxnLst>
                    <a:cxn ang="0">
                      <a:pos x="33" y="7"/>
                    </a:cxn>
                    <a:cxn ang="0">
                      <a:pos x="40" y="5"/>
                    </a:cxn>
                    <a:cxn ang="0">
                      <a:pos x="41" y="2"/>
                    </a:cxn>
                    <a:cxn ang="0">
                      <a:pos x="45" y="3"/>
                    </a:cxn>
                    <a:cxn ang="0">
                      <a:pos x="50" y="2"/>
                    </a:cxn>
                    <a:cxn ang="0">
                      <a:pos x="55" y="7"/>
                    </a:cxn>
                    <a:cxn ang="0">
                      <a:pos x="59" y="10"/>
                    </a:cxn>
                    <a:cxn ang="0">
                      <a:pos x="62" y="16"/>
                    </a:cxn>
                    <a:cxn ang="0">
                      <a:pos x="67" y="14"/>
                    </a:cxn>
                    <a:cxn ang="0">
                      <a:pos x="74" y="16"/>
                    </a:cxn>
                    <a:cxn ang="0">
                      <a:pos x="78" y="17"/>
                    </a:cxn>
                    <a:cxn ang="0">
                      <a:pos x="76" y="28"/>
                    </a:cxn>
                    <a:cxn ang="0">
                      <a:pos x="67" y="36"/>
                    </a:cxn>
                    <a:cxn ang="0">
                      <a:pos x="62" y="33"/>
                    </a:cxn>
                    <a:cxn ang="0">
                      <a:pos x="54" y="36"/>
                    </a:cxn>
                    <a:cxn ang="0">
                      <a:pos x="50" y="38"/>
                    </a:cxn>
                    <a:cxn ang="0">
                      <a:pos x="45" y="33"/>
                    </a:cxn>
                    <a:cxn ang="0">
                      <a:pos x="34" y="40"/>
                    </a:cxn>
                    <a:cxn ang="0">
                      <a:pos x="22" y="43"/>
                    </a:cxn>
                    <a:cxn ang="0">
                      <a:pos x="21" y="38"/>
                    </a:cxn>
                    <a:cxn ang="0">
                      <a:pos x="17" y="33"/>
                    </a:cxn>
                    <a:cxn ang="0">
                      <a:pos x="8" y="28"/>
                    </a:cxn>
                    <a:cxn ang="0">
                      <a:pos x="8" y="36"/>
                    </a:cxn>
                    <a:cxn ang="0">
                      <a:pos x="0" y="36"/>
                    </a:cxn>
                    <a:cxn ang="0">
                      <a:pos x="1" y="33"/>
                    </a:cxn>
                    <a:cxn ang="0">
                      <a:pos x="3" y="31"/>
                    </a:cxn>
                    <a:cxn ang="0">
                      <a:pos x="8" y="17"/>
                    </a:cxn>
                    <a:cxn ang="0">
                      <a:pos x="14" y="14"/>
                    </a:cxn>
                    <a:cxn ang="0">
                      <a:pos x="17" y="9"/>
                    </a:cxn>
                    <a:cxn ang="0">
                      <a:pos x="17" y="5"/>
                    </a:cxn>
                    <a:cxn ang="0">
                      <a:pos x="21" y="7"/>
                    </a:cxn>
                    <a:cxn ang="0">
                      <a:pos x="29" y="5"/>
                    </a:cxn>
                    <a:cxn ang="0">
                      <a:pos x="29" y="5"/>
                    </a:cxn>
                  </a:cxnLst>
                  <a:rect l="0" t="0" r="r" b="b"/>
                  <a:pathLst>
                    <a:path w="78" h="43">
                      <a:moveTo>
                        <a:pt x="29" y="5"/>
                      </a:moveTo>
                      <a:lnTo>
                        <a:pt x="33" y="7"/>
                      </a:lnTo>
                      <a:lnTo>
                        <a:pt x="36" y="3"/>
                      </a:lnTo>
                      <a:lnTo>
                        <a:pt x="40" y="5"/>
                      </a:lnTo>
                      <a:lnTo>
                        <a:pt x="41" y="3"/>
                      </a:lnTo>
                      <a:lnTo>
                        <a:pt x="41" y="2"/>
                      </a:lnTo>
                      <a:lnTo>
                        <a:pt x="45" y="0"/>
                      </a:lnTo>
                      <a:lnTo>
                        <a:pt x="45" y="3"/>
                      </a:lnTo>
                      <a:lnTo>
                        <a:pt x="48" y="3"/>
                      </a:lnTo>
                      <a:lnTo>
                        <a:pt x="50" y="2"/>
                      </a:lnTo>
                      <a:lnTo>
                        <a:pt x="50" y="3"/>
                      </a:lnTo>
                      <a:lnTo>
                        <a:pt x="55" y="7"/>
                      </a:lnTo>
                      <a:lnTo>
                        <a:pt x="62" y="9"/>
                      </a:lnTo>
                      <a:lnTo>
                        <a:pt x="59" y="10"/>
                      </a:lnTo>
                      <a:lnTo>
                        <a:pt x="59" y="14"/>
                      </a:lnTo>
                      <a:lnTo>
                        <a:pt x="62" y="16"/>
                      </a:lnTo>
                      <a:lnTo>
                        <a:pt x="64" y="16"/>
                      </a:lnTo>
                      <a:lnTo>
                        <a:pt x="67" y="14"/>
                      </a:lnTo>
                      <a:lnTo>
                        <a:pt x="71" y="17"/>
                      </a:lnTo>
                      <a:lnTo>
                        <a:pt x="74" y="16"/>
                      </a:lnTo>
                      <a:lnTo>
                        <a:pt x="76" y="16"/>
                      </a:lnTo>
                      <a:lnTo>
                        <a:pt x="78" y="17"/>
                      </a:lnTo>
                      <a:lnTo>
                        <a:pt x="74" y="22"/>
                      </a:lnTo>
                      <a:lnTo>
                        <a:pt x="76" y="28"/>
                      </a:lnTo>
                      <a:lnTo>
                        <a:pt x="69" y="28"/>
                      </a:lnTo>
                      <a:lnTo>
                        <a:pt x="67" y="36"/>
                      </a:lnTo>
                      <a:lnTo>
                        <a:pt x="66" y="33"/>
                      </a:lnTo>
                      <a:lnTo>
                        <a:pt x="62" y="33"/>
                      </a:lnTo>
                      <a:lnTo>
                        <a:pt x="54" y="31"/>
                      </a:lnTo>
                      <a:lnTo>
                        <a:pt x="54" y="36"/>
                      </a:lnTo>
                      <a:lnTo>
                        <a:pt x="50" y="42"/>
                      </a:lnTo>
                      <a:lnTo>
                        <a:pt x="50" y="38"/>
                      </a:lnTo>
                      <a:lnTo>
                        <a:pt x="45" y="36"/>
                      </a:lnTo>
                      <a:lnTo>
                        <a:pt x="45" y="33"/>
                      </a:lnTo>
                      <a:lnTo>
                        <a:pt x="41" y="28"/>
                      </a:lnTo>
                      <a:lnTo>
                        <a:pt x="34" y="40"/>
                      </a:lnTo>
                      <a:lnTo>
                        <a:pt x="29" y="38"/>
                      </a:lnTo>
                      <a:lnTo>
                        <a:pt x="22" y="43"/>
                      </a:lnTo>
                      <a:lnTo>
                        <a:pt x="21" y="42"/>
                      </a:lnTo>
                      <a:lnTo>
                        <a:pt x="21" y="38"/>
                      </a:lnTo>
                      <a:lnTo>
                        <a:pt x="17" y="36"/>
                      </a:lnTo>
                      <a:lnTo>
                        <a:pt x="17" y="33"/>
                      </a:lnTo>
                      <a:lnTo>
                        <a:pt x="14" y="31"/>
                      </a:lnTo>
                      <a:lnTo>
                        <a:pt x="8" y="28"/>
                      </a:lnTo>
                      <a:lnTo>
                        <a:pt x="7" y="33"/>
                      </a:lnTo>
                      <a:lnTo>
                        <a:pt x="8" y="36"/>
                      </a:lnTo>
                      <a:lnTo>
                        <a:pt x="3" y="36"/>
                      </a:lnTo>
                      <a:lnTo>
                        <a:pt x="0" y="36"/>
                      </a:lnTo>
                      <a:lnTo>
                        <a:pt x="0" y="33"/>
                      </a:lnTo>
                      <a:lnTo>
                        <a:pt x="1" y="33"/>
                      </a:lnTo>
                      <a:lnTo>
                        <a:pt x="3" y="33"/>
                      </a:lnTo>
                      <a:lnTo>
                        <a:pt x="3" y="31"/>
                      </a:lnTo>
                      <a:lnTo>
                        <a:pt x="5" y="26"/>
                      </a:lnTo>
                      <a:lnTo>
                        <a:pt x="8" y="17"/>
                      </a:lnTo>
                      <a:lnTo>
                        <a:pt x="12" y="17"/>
                      </a:lnTo>
                      <a:lnTo>
                        <a:pt x="14" y="14"/>
                      </a:lnTo>
                      <a:lnTo>
                        <a:pt x="17" y="10"/>
                      </a:lnTo>
                      <a:lnTo>
                        <a:pt x="17" y="9"/>
                      </a:lnTo>
                      <a:lnTo>
                        <a:pt x="12" y="7"/>
                      </a:lnTo>
                      <a:lnTo>
                        <a:pt x="17" y="5"/>
                      </a:lnTo>
                      <a:lnTo>
                        <a:pt x="21" y="3"/>
                      </a:lnTo>
                      <a:lnTo>
                        <a:pt x="21" y="7"/>
                      </a:lnTo>
                      <a:lnTo>
                        <a:pt x="26" y="7"/>
                      </a:lnTo>
                      <a:lnTo>
                        <a:pt x="29" y="5"/>
                      </a:lnTo>
                      <a:lnTo>
                        <a:pt x="29" y="5"/>
                      </a:lnTo>
                      <a:lnTo>
                        <a:pt x="29" y="5"/>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7" name="Freeform 20"/>
                <p:cNvSpPr>
                  <a:spLocks noEditPoints="1"/>
                </p:cNvSpPr>
                <p:nvPr/>
              </p:nvSpPr>
              <p:spPr bwMode="auto">
                <a:xfrm>
                  <a:off x="4525963" y="2654301"/>
                  <a:ext cx="100013" cy="85725"/>
                </a:xfrm>
                <a:custGeom>
                  <a:avLst/>
                  <a:gdLst/>
                  <a:ahLst/>
                  <a:cxnLst>
                    <a:cxn ang="0">
                      <a:pos x="40" y="51"/>
                    </a:cxn>
                    <a:cxn ang="0">
                      <a:pos x="40" y="40"/>
                    </a:cxn>
                    <a:cxn ang="0">
                      <a:pos x="45" y="33"/>
                    </a:cxn>
                    <a:cxn ang="0">
                      <a:pos x="54" y="33"/>
                    </a:cxn>
                    <a:cxn ang="0">
                      <a:pos x="56" y="28"/>
                    </a:cxn>
                    <a:cxn ang="0">
                      <a:pos x="56" y="23"/>
                    </a:cxn>
                    <a:cxn ang="0">
                      <a:pos x="56" y="19"/>
                    </a:cxn>
                    <a:cxn ang="0">
                      <a:pos x="52" y="19"/>
                    </a:cxn>
                    <a:cxn ang="0">
                      <a:pos x="56" y="18"/>
                    </a:cxn>
                    <a:cxn ang="0">
                      <a:pos x="61" y="11"/>
                    </a:cxn>
                    <a:cxn ang="0">
                      <a:pos x="63" y="5"/>
                    </a:cxn>
                    <a:cxn ang="0">
                      <a:pos x="63" y="5"/>
                    </a:cxn>
                    <a:cxn ang="0">
                      <a:pos x="56" y="2"/>
                    </a:cxn>
                    <a:cxn ang="0">
                      <a:pos x="47" y="0"/>
                    </a:cxn>
                    <a:cxn ang="0">
                      <a:pos x="40" y="2"/>
                    </a:cxn>
                    <a:cxn ang="0">
                      <a:pos x="33" y="2"/>
                    </a:cxn>
                    <a:cxn ang="0">
                      <a:pos x="23" y="11"/>
                    </a:cxn>
                    <a:cxn ang="0">
                      <a:pos x="18" y="11"/>
                    </a:cxn>
                    <a:cxn ang="0">
                      <a:pos x="16" y="18"/>
                    </a:cxn>
                    <a:cxn ang="0">
                      <a:pos x="16" y="25"/>
                    </a:cxn>
                    <a:cxn ang="0">
                      <a:pos x="12" y="30"/>
                    </a:cxn>
                    <a:cxn ang="0">
                      <a:pos x="9" y="33"/>
                    </a:cxn>
                    <a:cxn ang="0">
                      <a:pos x="18" y="37"/>
                    </a:cxn>
                    <a:cxn ang="0">
                      <a:pos x="12" y="40"/>
                    </a:cxn>
                    <a:cxn ang="0">
                      <a:pos x="12" y="42"/>
                    </a:cxn>
                    <a:cxn ang="0">
                      <a:pos x="16" y="44"/>
                    </a:cxn>
                    <a:cxn ang="0">
                      <a:pos x="9" y="40"/>
                    </a:cxn>
                    <a:cxn ang="0">
                      <a:pos x="2" y="40"/>
                    </a:cxn>
                    <a:cxn ang="0">
                      <a:pos x="7" y="42"/>
                    </a:cxn>
                    <a:cxn ang="0">
                      <a:pos x="9" y="45"/>
                    </a:cxn>
                    <a:cxn ang="0">
                      <a:pos x="9" y="45"/>
                    </a:cxn>
                    <a:cxn ang="0">
                      <a:pos x="4" y="44"/>
                    </a:cxn>
                    <a:cxn ang="0">
                      <a:pos x="0" y="44"/>
                    </a:cxn>
                    <a:cxn ang="0">
                      <a:pos x="4" y="47"/>
                    </a:cxn>
                    <a:cxn ang="0">
                      <a:pos x="9" y="51"/>
                    </a:cxn>
                    <a:cxn ang="0">
                      <a:pos x="12" y="47"/>
                    </a:cxn>
                    <a:cxn ang="0">
                      <a:pos x="18" y="45"/>
                    </a:cxn>
                    <a:cxn ang="0">
                      <a:pos x="23" y="44"/>
                    </a:cxn>
                    <a:cxn ang="0">
                      <a:pos x="28" y="45"/>
                    </a:cxn>
                    <a:cxn ang="0">
                      <a:pos x="35" y="47"/>
                    </a:cxn>
                    <a:cxn ang="0">
                      <a:pos x="37" y="51"/>
                    </a:cxn>
                    <a:cxn ang="0">
                      <a:pos x="39" y="54"/>
                    </a:cxn>
                    <a:cxn ang="0">
                      <a:pos x="39" y="54"/>
                    </a:cxn>
                    <a:cxn ang="0">
                      <a:pos x="9" y="37"/>
                    </a:cxn>
                    <a:cxn ang="0">
                      <a:pos x="9" y="40"/>
                    </a:cxn>
                    <a:cxn ang="0">
                      <a:pos x="4" y="40"/>
                    </a:cxn>
                    <a:cxn ang="0">
                      <a:pos x="4" y="40"/>
                    </a:cxn>
                    <a:cxn ang="0">
                      <a:pos x="7" y="37"/>
                    </a:cxn>
                    <a:cxn ang="0">
                      <a:pos x="12" y="37"/>
                    </a:cxn>
                    <a:cxn ang="0">
                      <a:pos x="9" y="37"/>
                    </a:cxn>
                    <a:cxn ang="0">
                      <a:pos x="9" y="37"/>
                    </a:cxn>
                    <a:cxn ang="0">
                      <a:pos x="7" y="37"/>
                    </a:cxn>
                  </a:cxnLst>
                  <a:rect l="0" t="0" r="r" b="b"/>
                  <a:pathLst>
                    <a:path w="63" h="54">
                      <a:moveTo>
                        <a:pt x="39" y="54"/>
                      </a:moveTo>
                      <a:lnTo>
                        <a:pt x="40" y="51"/>
                      </a:lnTo>
                      <a:lnTo>
                        <a:pt x="42" y="44"/>
                      </a:lnTo>
                      <a:lnTo>
                        <a:pt x="40" y="40"/>
                      </a:lnTo>
                      <a:lnTo>
                        <a:pt x="44" y="37"/>
                      </a:lnTo>
                      <a:lnTo>
                        <a:pt x="45" y="33"/>
                      </a:lnTo>
                      <a:lnTo>
                        <a:pt x="51" y="33"/>
                      </a:lnTo>
                      <a:lnTo>
                        <a:pt x="54" y="33"/>
                      </a:lnTo>
                      <a:lnTo>
                        <a:pt x="56" y="31"/>
                      </a:lnTo>
                      <a:lnTo>
                        <a:pt x="56" y="28"/>
                      </a:lnTo>
                      <a:lnTo>
                        <a:pt x="56" y="28"/>
                      </a:lnTo>
                      <a:lnTo>
                        <a:pt x="56" y="23"/>
                      </a:lnTo>
                      <a:lnTo>
                        <a:pt x="59" y="23"/>
                      </a:lnTo>
                      <a:lnTo>
                        <a:pt x="56" y="19"/>
                      </a:lnTo>
                      <a:lnTo>
                        <a:pt x="52" y="19"/>
                      </a:lnTo>
                      <a:lnTo>
                        <a:pt x="52" y="19"/>
                      </a:lnTo>
                      <a:lnTo>
                        <a:pt x="54" y="16"/>
                      </a:lnTo>
                      <a:lnTo>
                        <a:pt x="56" y="18"/>
                      </a:lnTo>
                      <a:lnTo>
                        <a:pt x="61" y="16"/>
                      </a:lnTo>
                      <a:lnTo>
                        <a:pt x="61" y="11"/>
                      </a:lnTo>
                      <a:lnTo>
                        <a:pt x="61" y="9"/>
                      </a:lnTo>
                      <a:lnTo>
                        <a:pt x="63" y="5"/>
                      </a:lnTo>
                      <a:lnTo>
                        <a:pt x="63" y="5"/>
                      </a:lnTo>
                      <a:lnTo>
                        <a:pt x="63" y="5"/>
                      </a:lnTo>
                      <a:lnTo>
                        <a:pt x="59" y="5"/>
                      </a:lnTo>
                      <a:lnTo>
                        <a:pt x="56" y="2"/>
                      </a:lnTo>
                      <a:lnTo>
                        <a:pt x="52" y="0"/>
                      </a:lnTo>
                      <a:lnTo>
                        <a:pt x="47" y="0"/>
                      </a:lnTo>
                      <a:lnTo>
                        <a:pt x="44" y="2"/>
                      </a:lnTo>
                      <a:lnTo>
                        <a:pt x="40" y="2"/>
                      </a:lnTo>
                      <a:lnTo>
                        <a:pt x="39" y="2"/>
                      </a:lnTo>
                      <a:lnTo>
                        <a:pt x="33" y="2"/>
                      </a:lnTo>
                      <a:lnTo>
                        <a:pt x="30" y="5"/>
                      </a:lnTo>
                      <a:lnTo>
                        <a:pt x="23" y="11"/>
                      </a:lnTo>
                      <a:lnTo>
                        <a:pt x="21" y="9"/>
                      </a:lnTo>
                      <a:lnTo>
                        <a:pt x="18" y="11"/>
                      </a:lnTo>
                      <a:lnTo>
                        <a:pt x="18" y="14"/>
                      </a:lnTo>
                      <a:lnTo>
                        <a:pt x="16" y="18"/>
                      </a:lnTo>
                      <a:lnTo>
                        <a:pt x="18" y="19"/>
                      </a:lnTo>
                      <a:lnTo>
                        <a:pt x="16" y="25"/>
                      </a:lnTo>
                      <a:lnTo>
                        <a:pt x="12" y="26"/>
                      </a:lnTo>
                      <a:lnTo>
                        <a:pt x="12" y="30"/>
                      </a:lnTo>
                      <a:lnTo>
                        <a:pt x="9" y="31"/>
                      </a:lnTo>
                      <a:lnTo>
                        <a:pt x="9" y="33"/>
                      </a:lnTo>
                      <a:lnTo>
                        <a:pt x="12" y="37"/>
                      </a:lnTo>
                      <a:lnTo>
                        <a:pt x="18" y="37"/>
                      </a:lnTo>
                      <a:lnTo>
                        <a:pt x="12" y="37"/>
                      </a:lnTo>
                      <a:lnTo>
                        <a:pt x="12" y="40"/>
                      </a:lnTo>
                      <a:lnTo>
                        <a:pt x="9" y="40"/>
                      </a:lnTo>
                      <a:lnTo>
                        <a:pt x="12" y="42"/>
                      </a:lnTo>
                      <a:lnTo>
                        <a:pt x="16" y="42"/>
                      </a:lnTo>
                      <a:lnTo>
                        <a:pt x="16" y="44"/>
                      </a:lnTo>
                      <a:lnTo>
                        <a:pt x="12" y="44"/>
                      </a:lnTo>
                      <a:lnTo>
                        <a:pt x="9" y="40"/>
                      </a:lnTo>
                      <a:lnTo>
                        <a:pt x="4" y="40"/>
                      </a:lnTo>
                      <a:lnTo>
                        <a:pt x="2" y="40"/>
                      </a:lnTo>
                      <a:lnTo>
                        <a:pt x="4" y="42"/>
                      </a:lnTo>
                      <a:lnTo>
                        <a:pt x="7" y="42"/>
                      </a:lnTo>
                      <a:lnTo>
                        <a:pt x="9" y="45"/>
                      </a:lnTo>
                      <a:lnTo>
                        <a:pt x="9" y="45"/>
                      </a:lnTo>
                      <a:lnTo>
                        <a:pt x="12" y="47"/>
                      </a:lnTo>
                      <a:lnTo>
                        <a:pt x="9" y="45"/>
                      </a:lnTo>
                      <a:lnTo>
                        <a:pt x="9" y="45"/>
                      </a:lnTo>
                      <a:lnTo>
                        <a:pt x="4" y="44"/>
                      </a:lnTo>
                      <a:lnTo>
                        <a:pt x="0" y="44"/>
                      </a:lnTo>
                      <a:lnTo>
                        <a:pt x="0" y="44"/>
                      </a:lnTo>
                      <a:lnTo>
                        <a:pt x="2" y="45"/>
                      </a:lnTo>
                      <a:lnTo>
                        <a:pt x="4" y="47"/>
                      </a:lnTo>
                      <a:lnTo>
                        <a:pt x="7" y="47"/>
                      </a:lnTo>
                      <a:lnTo>
                        <a:pt x="9" y="51"/>
                      </a:lnTo>
                      <a:lnTo>
                        <a:pt x="9" y="47"/>
                      </a:lnTo>
                      <a:lnTo>
                        <a:pt x="12" y="47"/>
                      </a:lnTo>
                      <a:lnTo>
                        <a:pt x="12" y="45"/>
                      </a:lnTo>
                      <a:lnTo>
                        <a:pt x="18" y="45"/>
                      </a:lnTo>
                      <a:lnTo>
                        <a:pt x="18" y="44"/>
                      </a:lnTo>
                      <a:lnTo>
                        <a:pt x="23" y="44"/>
                      </a:lnTo>
                      <a:lnTo>
                        <a:pt x="26" y="45"/>
                      </a:lnTo>
                      <a:lnTo>
                        <a:pt x="28" y="45"/>
                      </a:lnTo>
                      <a:lnTo>
                        <a:pt x="30" y="47"/>
                      </a:lnTo>
                      <a:lnTo>
                        <a:pt x="35" y="47"/>
                      </a:lnTo>
                      <a:lnTo>
                        <a:pt x="37" y="51"/>
                      </a:lnTo>
                      <a:lnTo>
                        <a:pt x="37" y="51"/>
                      </a:lnTo>
                      <a:lnTo>
                        <a:pt x="39" y="54"/>
                      </a:lnTo>
                      <a:lnTo>
                        <a:pt x="39" y="54"/>
                      </a:lnTo>
                      <a:lnTo>
                        <a:pt x="39" y="54"/>
                      </a:lnTo>
                      <a:lnTo>
                        <a:pt x="39" y="54"/>
                      </a:lnTo>
                      <a:close/>
                      <a:moveTo>
                        <a:pt x="4" y="40"/>
                      </a:moveTo>
                      <a:lnTo>
                        <a:pt x="9" y="37"/>
                      </a:lnTo>
                      <a:lnTo>
                        <a:pt x="9" y="40"/>
                      </a:lnTo>
                      <a:lnTo>
                        <a:pt x="9" y="40"/>
                      </a:lnTo>
                      <a:lnTo>
                        <a:pt x="9" y="40"/>
                      </a:lnTo>
                      <a:lnTo>
                        <a:pt x="4" y="40"/>
                      </a:lnTo>
                      <a:lnTo>
                        <a:pt x="4" y="40"/>
                      </a:lnTo>
                      <a:lnTo>
                        <a:pt x="4" y="40"/>
                      </a:lnTo>
                      <a:lnTo>
                        <a:pt x="4" y="40"/>
                      </a:lnTo>
                      <a:close/>
                      <a:moveTo>
                        <a:pt x="7" y="37"/>
                      </a:moveTo>
                      <a:lnTo>
                        <a:pt x="9" y="37"/>
                      </a:lnTo>
                      <a:lnTo>
                        <a:pt x="12" y="37"/>
                      </a:lnTo>
                      <a:lnTo>
                        <a:pt x="12" y="37"/>
                      </a:lnTo>
                      <a:lnTo>
                        <a:pt x="9" y="37"/>
                      </a:lnTo>
                      <a:lnTo>
                        <a:pt x="9" y="37"/>
                      </a:lnTo>
                      <a:lnTo>
                        <a:pt x="9" y="37"/>
                      </a:lnTo>
                      <a:lnTo>
                        <a:pt x="7" y="37"/>
                      </a:lnTo>
                      <a:lnTo>
                        <a:pt x="7" y="37"/>
                      </a:lnTo>
                      <a:lnTo>
                        <a:pt x="7" y="37"/>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8" name="Freeform 21"/>
                <p:cNvSpPr>
                  <a:spLocks/>
                </p:cNvSpPr>
                <p:nvPr/>
              </p:nvSpPr>
              <p:spPr bwMode="auto">
                <a:xfrm>
                  <a:off x="4518025" y="2724151"/>
                  <a:ext cx="77788" cy="63500"/>
                </a:xfrm>
                <a:custGeom>
                  <a:avLst/>
                  <a:gdLst/>
                  <a:ahLst/>
                  <a:cxnLst>
                    <a:cxn ang="0">
                      <a:pos x="45" y="26"/>
                    </a:cxn>
                    <a:cxn ang="0">
                      <a:pos x="49" y="22"/>
                    </a:cxn>
                    <a:cxn ang="0">
                      <a:pos x="45" y="19"/>
                    </a:cxn>
                    <a:cxn ang="0">
                      <a:pos x="45" y="17"/>
                    </a:cxn>
                    <a:cxn ang="0">
                      <a:pos x="44" y="12"/>
                    </a:cxn>
                    <a:cxn ang="0">
                      <a:pos x="45" y="8"/>
                    </a:cxn>
                    <a:cxn ang="0">
                      <a:pos x="42" y="7"/>
                    </a:cxn>
                    <a:cxn ang="0">
                      <a:pos x="42" y="5"/>
                    </a:cxn>
                    <a:cxn ang="0">
                      <a:pos x="40" y="1"/>
                    </a:cxn>
                    <a:cxn ang="0">
                      <a:pos x="35" y="1"/>
                    </a:cxn>
                    <a:cxn ang="0">
                      <a:pos x="33" y="1"/>
                    </a:cxn>
                    <a:cxn ang="0">
                      <a:pos x="31" y="1"/>
                    </a:cxn>
                    <a:cxn ang="0">
                      <a:pos x="28" y="0"/>
                    </a:cxn>
                    <a:cxn ang="0">
                      <a:pos x="23" y="0"/>
                    </a:cxn>
                    <a:cxn ang="0">
                      <a:pos x="23" y="1"/>
                    </a:cxn>
                    <a:cxn ang="0">
                      <a:pos x="19" y="1"/>
                    </a:cxn>
                    <a:cxn ang="0">
                      <a:pos x="19" y="1"/>
                    </a:cxn>
                    <a:cxn ang="0">
                      <a:pos x="16" y="1"/>
                    </a:cxn>
                    <a:cxn ang="0">
                      <a:pos x="14" y="5"/>
                    </a:cxn>
                    <a:cxn ang="0">
                      <a:pos x="12" y="1"/>
                    </a:cxn>
                    <a:cxn ang="0">
                      <a:pos x="9" y="1"/>
                    </a:cxn>
                    <a:cxn ang="0">
                      <a:pos x="9" y="1"/>
                    </a:cxn>
                    <a:cxn ang="0">
                      <a:pos x="5" y="0"/>
                    </a:cxn>
                    <a:cxn ang="0">
                      <a:pos x="4" y="1"/>
                    </a:cxn>
                    <a:cxn ang="0">
                      <a:pos x="0" y="7"/>
                    </a:cxn>
                    <a:cxn ang="0">
                      <a:pos x="4" y="8"/>
                    </a:cxn>
                    <a:cxn ang="0">
                      <a:pos x="4" y="14"/>
                    </a:cxn>
                    <a:cxn ang="0">
                      <a:pos x="5" y="15"/>
                    </a:cxn>
                    <a:cxn ang="0">
                      <a:pos x="9" y="19"/>
                    </a:cxn>
                    <a:cxn ang="0">
                      <a:pos x="12" y="22"/>
                    </a:cxn>
                    <a:cxn ang="0">
                      <a:pos x="14" y="22"/>
                    </a:cxn>
                    <a:cxn ang="0">
                      <a:pos x="16" y="22"/>
                    </a:cxn>
                    <a:cxn ang="0">
                      <a:pos x="19" y="24"/>
                    </a:cxn>
                    <a:cxn ang="0">
                      <a:pos x="19" y="29"/>
                    </a:cxn>
                    <a:cxn ang="0">
                      <a:pos x="23" y="31"/>
                    </a:cxn>
                    <a:cxn ang="0">
                      <a:pos x="23" y="29"/>
                    </a:cxn>
                    <a:cxn ang="0">
                      <a:pos x="26" y="29"/>
                    </a:cxn>
                    <a:cxn ang="0">
                      <a:pos x="26" y="31"/>
                    </a:cxn>
                    <a:cxn ang="0">
                      <a:pos x="31" y="33"/>
                    </a:cxn>
                    <a:cxn ang="0">
                      <a:pos x="33" y="36"/>
                    </a:cxn>
                    <a:cxn ang="0">
                      <a:pos x="37" y="36"/>
                    </a:cxn>
                    <a:cxn ang="0">
                      <a:pos x="40" y="40"/>
                    </a:cxn>
                    <a:cxn ang="0">
                      <a:pos x="42" y="36"/>
                    </a:cxn>
                    <a:cxn ang="0">
                      <a:pos x="45" y="36"/>
                    </a:cxn>
                    <a:cxn ang="0">
                      <a:pos x="45" y="36"/>
                    </a:cxn>
                    <a:cxn ang="0">
                      <a:pos x="44" y="36"/>
                    </a:cxn>
                    <a:cxn ang="0">
                      <a:pos x="44" y="33"/>
                    </a:cxn>
                    <a:cxn ang="0">
                      <a:pos x="42" y="31"/>
                    </a:cxn>
                    <a:cxn ang="0">
                      <a:pos x="44" y="29"/>
                    </a:cxn>
                    <a:cxn ang="0">
                      <a:pos x="45" y="26"/>
                    </a:cxn>
                    <a:cxn ang="0">
                      <a:pos x="45" y="26"/>
                    </a:cxn>
                    <a:cxn ang="0">
                      <a:pos x="45" y="26"/>
                    </a:cxn>
                    <a:cxn ang="0">
                      <a:pos x="45" y="26"/>
                    </a:cxn>
                  </a:cxnLst>
                  <a:rect l="0" t="0" r="r" b="b"/>
                  <a:pathLst>
                    <a:path w="49" h="40">
                      <a:moveTo>
                        <a:pt x="45" y="26"/>
                      </a:moveTo>
                      <a:lnTo>
                        <a:pt x="49" y="22"/>
                      </a:lnTo>
                      <a:lnTo>
                        <a:pt x="45" y="19"/>
                      </a:lnTo>
                      <a:lnTo>
                        <a:pt x="45" y="17"/>
                      </a:lnTo>
                      <a:lnTo>
                        <a:pt x="44" y="12"/>
                      </a:lnTo>
                      <a:lnTo>
                        <a:pt x="45" y="8"/>
                      </a:lnTo>
                      <a:lnTo>
                        <a:pt x="42" y="7"/>
                      </a:lnTo>
                      <a:lnTo>
                        <a:pt x="42" y="5"/>
                      </a:lnTo>
                      <a:lnTo>
                        <a:pt x="40" y="1"/>
                      </a:lnTo>
                      <a:lnTo>
                        <a:pt x="35" y="1"/>
                      </a:lnTo>
                      <a:lnTo>
                        <a:pt x="33" y="1"/>
                      </a:lnTo>
                      <a:lnTo>
                        <a:pt x="31" y="1"/>
                      </a:lnTo>
                      <a:lnTo>
                        <a:pt x="28" y="0"/>
                      </a:lnTo>
                      <a:lnTo>
                        <a:pt x="23" y="0"/>
                      </a:lnTo>
                      <a:lnTo>
                        <a:pt x="23" y="1"/>
                      </a:lnTo>
                      <a:lnTo>
                        <a:pt x="19" y="1"/>
                      </a:lnTo>
                      <a:lnTo>
                        <a:pt x="19" y="1"/>
                      </a:lnTo>
                      <a:lnTo>
                        <a:pt x="16" y="1"/>
                      </a:lnTo>
                      <a:lnTo>
                        <a:pt x="14" y="5"/>
                      </a:lnTo>
                      <a:lnTo>
                        <a:pt x="12" y="1"/>
                      </a:lnTo>
                      <a:lnTo>
                        <a:pt x="9" y="1"/>
                      </a:lnTo>
                      <a:lnTo>
                        <a:pt x="9" y="1"/>
                      </a:lnTo>
                      <a:lnTo>
                        <a:pt x="5" y="0"/>
                      </a:lnTo>
                      <a:lnTo>
                        <a:pt x="4" y="1"/>
                      </a:lnTo>
                      <a:lnTo>
                        <a:pt x="0" y="7"/>
                      </a:lnTo>
                      <a:lnTo>
                        <a:pt x="4" y="8"/>
                      </a:lnTo>
                      <a:lnTo>
                        <a:pt x="4" y="14"/>
                      </a:lnTo>
                      <a:lnTo>
                        <a:pt x="5" y="15"/>
                      </a:lnTo>
                      <a:lnTo>
                        <a:pt x="9" y="19"/>
                      </a:lnTo>
                      <a:lnTo>
                        <a:pt x="12" y="22"/>
                      </a:lnTo>
                      <a:lnTo>
                        <a:pt x="14" y="22"/>
                      </a:lnTo>
                      <a:lnTo>
                        <a:pt x="16" y="22"/>
                      </a:lnTo>
                      <a:lnTo>
                        <a:pt x="19" y="24"/>
                      </a:lnTo>
                      <a:lnTo>
                        <a:pt x="19" y="29"/>
                      </a:lnTo>
                      <a:lnTo>
                        <a:pt x="23" y="31"/>
                      </a:lnTo>
                      <a:lnTo>
                        <a:pt x="23" y="29"/>
                      </a:lnTo>
                      <a:lnTo>
                        <a:pt x="26" y="29"/>
                      </a:lnTo>
                      <a:lnTo>
                        <a:pt x="26" y="31"/>
                      </a:lnTo>
                      <a:lnTo>
                        <a:pt x="31" y="33"/>
                      </a:lnTo>
                      <a:lnTo>
                        <a:pt x="33" y="36"/>
                      </a:lnTo>
                      <a:lnTo>
                        <a:pt x="37" y="36"/>
                      </a:lnTo>
                      <a:lnTo>
                        <a:pt x="40" y="40"/>
                      </a:lnTo>
                      <a:lnTo>
                        <a:pt x="42" y="36"/>
                      </a:lnTo>
                      <a:lnTo>
                        <a:pt x="45" y="36"/>
                      </a:lnTo>
                      <a:lnTo>
                        <a:pt x="45" y="36"/>
                      </a:lnTo>
                      <a:lnTo>
                        <a:pt x="44" y="36"/>
                      </a:lnTo>
                      <a:lnTo>
                        <a:pt x="44" y="33"/>
                      </a:lnTo>
                      <a:lnTo>
                        <a:pt x="42" y="31"/>
                      </a:lnTo>
                      <a:lnTo>
                        <a:pt x="44" y="29"/>
                      </a:lnTo>
                      <a:lnTo>
                        <a:pt x="45" y="26"/>
                      </a:lnTo>
                      <a:lnTo>
                        <a:pt x="45" y="26"/>
                      </a:lnTo>
                      <a:lnTo>
                        <a:pt x="45" y="26"/>
                      </a:lnTo>
                      <a:lnTo>
                        <a:pt x="45" y="26"/>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9" name="Freeform 22"/>
                <p:cNvSpPr>
                  <a:spLocks/>
                </p:cNvSpPr>
                <p:nvPr/>
              </p:nvSpPr>
              <p:spPr bwMode="auto">
                <a:xfrm>
                  <a:off x="4587875" y="2770188"/>
                  <a:ext cx="15875" cy="22225"/>
                </a:xfrm>
                <a:custGeom>
                  <a:avLst/>
                  <a:gdLst/>
                  <a:ahLst/>
                  <a:cxnLst>
                    <a:cxn ang="0">
                      <a:pos x="3" y="11"/>
                    </a:cxn>
                    <a:cxn ang="0">
                      <a:pos x="3" y="9"/>
                    </a:cxn>
                    <a:cxn ang="0">
                      <a:pos x="1" y="9"/>
                    </a:cxn>
                    <a:cxn ang="0">
                      <a:pos x="1" y="5"/>
                    </a:cxn>
                    <a:cxn ang="0">
                      <a:pos x="0" y="5"/>
                    </a:cxn>
                    <a:cxn ang="0">
                      <a:pos x="1" y="2"/>
                    </a:cxn>
                    <a:cxn ang="0">
                      <a:pos x="3" y="0"/>
                    </a:cxn>
                    <a:cxn ang="0">
                      <a:pos x="3" y="0"/>
                    </a:cxn>
                    <a:cxn ang="0">
                      <a:pos x="6" y="5"/>
                    </a:cxn>
                    <a:cxn ang="0">
                      <a:pos x="6" y="9"/>
                    </a:cxn>
                    <a:cxn ang="0">
                      <a:pos x="10" y="9"/>
                    </a:cxn>
                    <a:cxn ang="0">
                      <a:pos x="10" y="14"/>
                    </a:cxn>
                    <a:cxn ang="0">
                      <a:pos x="6" y="14"/>
                    </a:cxn>
                    <a:cxn ang="0">
                      <a:pos x="3" y="14"/>
                    </a:cxn>
                    <a:cxn ang="0">
                      <a:pos x="3" y="11"/>
                    </a:cxn>
                    <a:cxn ang="0">
                      <a:pos x="3" y="11"/>
                    </a:cxn>
                    <a:cxn ang="0">
                      <a:pos x="3" y="11"/>
                    </a:cxn>
                    <a:cxn ang="0">
                      <a:pos x="3" y="11"/>
                    </a:cxn>
                  </a:cxnLst>
                  <a:rect l="0" t="0" r="r" b="b"/>
                  <a:pathLst>
                    <a:path w="10" h="14">
                      <a:moveTo>
                        <a:pt x="3" y="11"/>
                      </a:moveTo>
                      <a:lnTo>
                        <a:pt x="3" y="9"/>
                      </a:lnTo>
                      <a:lnTo>
                        <a:pt x="1" y="9"/>
                      </a:lnTo>
                      <a:lnTo>
                        <a:pt x="1" y="5"/>
                      </a:lnTo>
                      <a:lnTo>
                        <a:pt x="0" y="5"/>
                      </a:lnTo>
                      <a:lnTo>
                        <a:pt x="1" y="2"/>
                      </a:lnTo>
                      <a:lnTo>
                        <a:pt x="3" y="0"/>
                      </a:lnTo>
                      <a:lnTo>
                        <a:pt x="3" y="0"/>
                      </a:lnTo>
                      <a:lnTo>
                        <a:pt x="6" y="5"/>
                      </a:lnTo>
                      <a:lnTo>
                        <a:pt x="6" y="9"/>
                      </a:lnTo>
                      <a:lnTo>
                        <a:pt x="10" y="9"/>
                      </a:lnTo>
                      <a:lnTo>
                        <a:pt x="10" y="14"/>
                      </a:lnTo>
                      <a:lnTo>
                        <a:pt x="6" y="14"/>
                      </a:lnTo>
                      <a:lnTo>
                        <a:pt x="3" y="14"/>
                      </a:lnTo>
                      <a:lnTo>
                        <a:pt x="3" y="11"/>
                      </a:lnTo>
                      <a:lnTo>
                        <a:pt x="3" y="11"/>
                      </a:lnTo>
                      <a:lnTo>
                        <a:pt x="3" y="11"/>
                      </a:lnTo>
                      <a:lnTo>
                        <a:pt x="3" y="11"/>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0" name="Freeform 23"/>
                <p:cNvSpPr>
                  <a:spLocks/>
                </p:cNvSpPr>
                <p:nvPr/>
              </p:nvSpPr>
              <p:spPr bwMode="auto">
                <a:xfrm>
                  <a:off x="4200525" y="2576513"/>
                  <a:ext cx="107950" cy="138113"/>
                </a:xfrm>
                <a:custGeom>
                  <a:avLst/>
                  <a:gdLst/>
                  <a:ahLst/>
                  <a:cxnLst>
                    <a:cxn ang="0">
                      <a:pos x="28" y="84"/>
                    </a:cxn>
                    <a:cxn ang="0">
                      <a:pos x="33" y="80"/>
                    </a:cxn>
                    <a:cxn ang="0">
                      <a:pos x="38" y="79"/>
                    </a:cxn>
                    <a:cxn ang="0">
                      <a:pos x="52" y="74"/>
                    </a:cxn>
                    <a:cxn ang="0">
                      <a:pos x="56" y="72"/>
                    </a:cxn>
                    <a:cxn ang="0">
                      <a:pos x="59" y="70"/>
                    </a:cxn>
                    <a:cxn ang="0">
                      <a:pos x="65" y="63"/>
                    </a:cxn>
                    <a:cxn ang="0">
                      <a:pos x="66" y="49"/>
                    </a:cxn>
                    <a:cxn ang="0">
                      <a:pos x="66" y="42"/>
                    </a:cxn>
                    <a:cxn ang="0">
                      <a:pos x="63" y="35"/>
                    </a:cxn>
                    <a:cxn ang="0">
                      <a:pos x="63" y="30"/>
                    </a:cxn>
                    <a:cxn ang="0">
                      <a:pos x="52" y="21"/>
                    </a:cxn>
                    <a:cxn ang="0">
                      <a:pos x="47" y="28"/>
                    </a:cxn>
                    <a:cxn ang="0">
                      <a:pos x="47" y="14"/>
                    </a:cxn>
                    <a:cxn ang="0">
                      <a:pos x="52" y="7"/>
                    </a:cxn>
                    <a:cxn ang="0">
                      <a:pos x="56" y="4"/>
                    </a:cxn>
                    <a:cxn ang="0">
                      <a:pos x="52" y="0"/>
                    </a:cxn>
                    <a:cxn ang="0">
                      <a:pos x="45" y="9"/>
                    </a:cxn>
                    <a:cxn ang="0">
                      <a:pos x="45" y="4"/>
                    </a:cxn>
                    <a:cxn ang="0">
                      <a:pos x="42" y="4"/>
                    </a:cxn>
                    <a:cxn ang="0">
                      <a:pos x="37" y="6"/>
                    </a:cxn>
                    <a:cxn ang="0">
                      <a:pos x="37" y="11"/>
                    </a:cxn>
                    <a:cxn ang="0">
                      <a:pos x="33" y="13"/>
                    </a:cxn>
                    <a:cxn ang="0">
                      <a:pos x="33" y="18"/>
                    </a:cxn>
                    <a:cxn ang="0">
                      <a:pos x="38" y="18"/>
                    </a:cxn>
                    <a:cxn ang="0">
                      <a:pos x="33" y="23"/>
                    </a:cxn>
                    <a:cxn ang="0">
                      <a:pos x="23" y="27"/>
                    </a:cxn>
                    <a:cxn ang="0">
                      <a:pos x="14" y="23"/>
                    </a:cxn>
                    <a:cxn ang="0">
                      <a:pos x="11" y="25"/>
                    </a:cxn>
                    <a:cxn ang="0">
                      <a:pos x="14" y="30"/>
                    </a:cxn>
                    <a:cxn ang="0">
                      <a:pos x="5" y="30"/>
                    </a:cxn>
                    <a:cxn ang="0">
                      <a:pos x="16" y="35"/>
                    </a:cxn>
                    <a:cxn ang="0">
                      <a:pos x="14" y="39"/>
                    </a:cxn>
                    <a:cxn ang="0">
                      <a:pos x="5" y="42"/>
                    </a:cxn>
                    <a:cxn ang="0">
                      <a:pos x="9" y="44"/>
                    </a:cxn>
                    <a:cxn ang="0">
                      <a:pos x="25" y="47"/>
                    </a:cxn>
                    <a:cxn ang="0">
                      <a:pos x="16" y="54"/>
                    </a:cxn>
                    <a:cxn ang="0">
                      <a:pos x="9" y="63"/>
                    </a:cxn>
                    <a:cxn ang="0">
                      <a:pos x="16" y="61"/>
                    </a:cxn>
                    <a:cxn ang="0">
                      <a:pos x="23" y="60"/>
                    </a:cxn>
                    <a:cxn ang="0">
                      <a:pos x="14" y="63"/>
                    </a:cxn>
                    <a:cxn ang="0">
                      <a:pos x="9" y="67"/>
                    </a:cxn>
                    <a:cxn ang="0">
                      <a:pos x="9" y="70"/>
                    </a:cxn>
                    <a:cxn ang="0">
                      <a:pos x="2" y="70"/>
                    </a:cxn>
                    <a:cxn ang="0">
                      <a:pos x="9" y="72"/>
                    </a:cxn>
                    <a:cxn ang="0">
                      <a:pos x="2" y="79"/>
                    </a:cxn>
                    <a:cxn ang="0">
                      <a:pos x="14" y="79"/>
                    </a:cxn>
                    <a:cxn ang="0">
                      <a:pos x="9" y="84"/>
                    </a:cxn>
                    <a:cxn ang="0">
                      <a:pos x="9" y="84"/>
                    </a:cxn>
                    <a:cxn ang="0">
                      <a:pos x="14" y="87"/>
                    </a:cxn>
                    <a:cxn ang="0">
                      <a:pos x="16" y="87"/>
                    </a:cxn>
                  </a:cxnLst>
                  <a:rect l="0" t="0" r="r" b="b"/>
                  <a:pathLst>
                    <a:path w="68" h="87">
                      <a:moveTo>
                        <a:pt x="16" y="87"/>
                      </a:moveTo>
                      <a:lnTo>
                        <a:pt x="23" y="87"/>
                      </a:lnTo>
                      <a:lnTo>
                        <a:pt x="28" y="84"/>
                      </a:lnTo>
                      <a:lnTo>
                        <a:pt x="33" y="80"/>
                      </a:lnTo>
                      <a:lnTo>
                        <a:pt x="32" y="79"/>
                      </a:lnTo>
                      <a:lnTo>
                        <a:pt x="33" y="80"/>
                      </a:lnTo>
                      <a:lnTo>
                        <a:pt x="33" y="80"/>
                      </a:lnTo>
                      <a:lnTo>
                        <a:pt x="37" y="80"/>
                      </a:lnTo>
                      <a:lnTo>
                        <a:pt x="38" y="79"/>
                      </a:lnTo>
                      <a:lnTo>
                        <a:pt x="42" y="79"/>
                      </a:lnTo>
                      <a:lnTo>
                        <a:pt x="42" y="75"/>
                      </a:lnTo>
                      <a:lnTo>
                        <a:pt x="52" y="74"/>
                      </a:lnTo>
                      <a:lnTo>
                        <a:pt x="54" y="72"/>
                      </a:lnTo>
                      <a:lnTo>
                        <a:pt x="54" y="74"/>
                      </a:lnTo>
                      <a:lnTo>
                        <a:pt x="56" y="72"/>
                      </a:lnTo>
                      <a:lnTo>
                        <a:pt x="59" y="74"/>
                      </a:lnTo>
                      <a:lnTo>
                        <a:pt x="63" y="74"/>
                      </a:lnTo>
                      <a:lnTo>
                        <a:pt x="59" y="70"/>
                      </a:lnTo>
                      <a:lnTo>
                        <a:pt x="61" y="67"/>
                      </a:lnTo>
                      <a:lnTo>
                        <a:pt x="65" y="65"/>
                      </a:lnTo>
                      <a:lnTo>
                        <a:pt x="65" y="63"/>
                      </a:lnTo>
                      <a:lnTo>
                        <a:pt x="66" y="60"/>
                      </a:lnTo>
                      <a:lnTo>
                        <a:pt x="68" y="56"/>
                      </a:lnTo>
                      <a:lnTo>
                        <a:pt x="66" y="49"/>
                      </a:lnTo>
                      <a:lnTo>
                        <a:pt x="65" y="47"/>
                      </a:lnTo>
                      <a:lnTo>
                        <a:pt x="66" y="46"/>
                      </a:lnTo>
                      <a:lnTo>
                        <a:pt x="66" y="42"/>
                      </a:lnTo>
                      <a:lnTo>
                        <a:pt x="65" y="39"/>
                      </a:lnTo>
                      <a:lnTo>
                        <a:pt x="65" y="35"/>
                      </a:lnTo>
                      <a:lnTo>
                        <a:pt x="63" y="35"/>
                      </a:lnTo>
                      <a:lnTo>
                        <a:pt x="65" y="32"/>
                      </a:lnTo>
                      <a:lnTo>
                        <a:pt x="66" y="32"/>
                      </a:lnTo>
                      <a:lnTo>
                        <a:pt x="63" y="30"/>
                      </a:lnTo>
                      <a:lnTo>
                        <a:pt x="59" y="30"/>
                      </a:lnTo>
                      <a:lnTo>
                        <a:pt x="56" y="23"/>
                      </a:lnTo>
                      <a:lnTo>
                        <a:pt x="52" y="21"/>
                      </a:lnTo>
                      <a:lnTo>
                        <a:pt x="51" y="23"/>
                      </a:lnTo>
                      <a:lnTo>
                        <a:pt x="47" y="27"/>
                      </a:lnTo>
                      <a:lnTo>
                        <a:pt x="47" y="28"/>
                      </a:lnTo>
                      <a:lnTo>
                        <a:pt x="38" y="21"/>
                      </a:lnTo>
                      <a:lnTo>
                        <a:pt x="44" y="14"/>
                      </a:lnTo>
                      <a:lnTo>
                        <a:pt x="47" y="14"/>
                      </a:lnTo>
                      <a:lnTo>
                        <a:pt x="47" y="11"/>
                      </a:lnTo>
                      <a:lnTo>
                        <a:pt x="51" y="9"/>
                      </a:lnTo>
                      <a:lnTo>
                        <a:pt x="52" y="7"/>
                      </a:lnTo>
                      <a:lnTo>
                        <a:pt x="51" y="7"/>
                      </a:lnTo>
                      <a:lnTo>
                        <a:pt x="54" y="6"/>
                      </a:lnTo>
                      <a:lnTo>
                        <a:pt x="56" y="4"/>
                      </a:lnTo>
                      <a:lnTo>
                        <a:pt x="52" y="0"/>
                      </a:lnTo>
                      <a:lnTo>
                        <a:pt x="51" y="0"/>
                      </a:lnTo>
                      <a:lnTo>
                        <a:pt x="52" y="0"/>
                      </a:lnTo>
                      <a:lnTo>
                        <a:pt x="47" y="0"/>
                      </a:lnTo>
                      <a:lnTo>
                        <a:pt x="47" y="6"/>
                      </a:lnTo>
                      <a:lnTo>
                        <a:pt x="45" y="9"/>
                      </a:lnTo>
                      <a:lnTo>
                        <a:pt x="47" y="7"/>
                      </a:lnTo>
                      <a:lnTo>
                        <a:pt x="47" y="6"/>
                      </a:lnTo>
                      <a:lnTo>
                        <a:pt x="45" y="4"/>
                      </a:lnTo>
                      <a:lnTo>
                        <a:pt x="44" y="4"/>
                      </a:lnTo>
                      <a:lnTo>
                        <a:pt x="45" y="4"/>
                      </a:lnTo>
                      <a:lnTo>
                        <a:pt x="42" y="4"/>
                      </a:lnTo>
                      <a:lnTo>
                        <a:pt x="40" y="4"/>
                      </a:lnTo>
                      <a:lnTo>
                        <a:pt x="37" y="4"/>
                      </a:lnTo>
                      <a:lnTo>
                        <a:pt x="37" y="6"/>
                      </a:lnTo>
                      <a:lnTo>
                        <a:pt x="37" y="7"/>
                      </a:lnTo>
                      <a:lnTo>
                        <a:pt x="33" y="9"/>
                      </a:lnTo>
                      <a:lnTo>
                        <a:pt x="37" y="11"/>
                      </a:lnTo>
                      <a:lnTo>
                        <a:pt x="37" y="13"/>
                      </a:lnTo>
                      <a:lnTo>
                        <a:pt x="33" y="13"/>
                      </a:lnTo>
                      <a:lnTo>
                        <a:pt x="33" y="13"/>
                      </a:lnTo>
                      <a:lnTo>
                        <a:pt x="32" y="14"/>
                      </a:lnTo>
                      <a:lnTo>
                        <a:pt x="32" y="18"/>
                      </a:lnTo>
                      <a:lnTo>
                        <a:pt x="33" y="18"/>
                      </a:lnTo>
                      <a:lnTo>
                        <a:pt x="33" y="18"/>
                      </a:lnTo>
                      <a:lnTo>
                        <a:pt x="37" y="18"/>
                      </a:lnTo>
                      <a:lnTo>
                        <a:pt x="38" y="18"/>
                      </a:lnTo>
                      <a:lnTo>
                        <a:pt x="37" y="20"/>
                      </a:lnTo>
                      <a:lnTo>
                        <a:pt x="32" y="21"/>
                      </a:lnTo>
                      <a:lnTo>
                        <a:pt x="33" y="23"/>
                      </a:lnTo>
                      <a:lnTo>
                        <a:pt x="28" y="25"/>
                      </a:lnTo>
                      <a:lnTo>
                        <a:pt x="25" y="23"/>
                      </a:lnTo>
                      <a:lnTo>
                        <a:pt x="23" y="27"/>
                      </a:lnTo>
                      <a:lnTo>
                        <a:pt x="21" y="23"/>
                      </a:lnTo>
                      <a:lnTo>
                        <a:pt x="14" y="21"/>
                      </a:lnTo>
                      <a:lnTo>
                        <a:pt x="14" y="23"/>
                      </a:lnTo>
                      <a:lnTo>
                        <a:pt x="9" y="21"/>
                      </a:lnTo>
                      <a:lnTo>
                        <a:pt x="9" y="27"/>
                      </a:lnTo>
                      <a:lnTo>
                        <a:pt x="11" y="25"/>
                      </a:lnTo>
                      <a:lnTo>
                        <a:pt x="11" y="27"/>
                      </a:lnTo>
                      <a:lnTo>
                        <a:pt x="14" y="28"/>
                      </a:lnTo>
                      <a:lnTo>
                        <a:pt x="14" y="30"/>
                      </a:lnTo>
                      <a:lnTo>
                        <a:pt x="11" y="32"/>
                      </a:lnTo>
                      <a:lnTo>
                        <a:pt x="11" y="30"/>
                      </a:lnTo>
                      <a:lnTo>
                        <a:pt x="5" y="30"/>
                      </a:lnTo>
                      <a:lnTo>
                        <a:pt x="11" y="32"/>
                      </a:lnTo>
                      <a:lnTo>
                        <a:pt x="14" y="32"/>
                      </a:lnTo>
                      <a:lnTo>
                        <a:pt x="16" y="35"/>
                      </a:lnTo>
                      <a:lnTo>
                        <a:pt x="11" y="35"/>
                      </a:lnTo>
                      <a:lnTo>
                        <a:pt x="11" y="37"/>
                      </a:lnTo>
                      <a:lnTo>
                        <a:pt x="14" y="39"/>
                      </a:lnTo>
                      <a:lnTo>
                        <a:pt x="9" y="39"/>
                      </a:lnTo>
                      <a:lnTo>
                        <a:pt x="9" y="40"/>
                      </a:lnTo>
                      <a:lnTo>
                        <a:pt x="5" y="42"/>
                      </a:lnTo>
                      <a:lnTo>
                        <a:pt x="9" y="44"/>
                      </a:lnTo>
                      <a:lnTo>
                        <a:pt x="11" y="42"/>
                      </a:lnTo>
                      <a:lnTo>
                        <a:pt x="9" y="44"/>
                      </a:lnTo>
                      <a:lnTo>
                        <a:pt x="14" y="44"/>
                      </a:lnTo>
                      <a:lnTo>
                        <a:pt x="14" y="47"/>
                      </a:lnTo>
                      <a:lnTo>
                        <a:pt x="25" y="47"/>
                      </a:lnTo>
                      <a:lnTo>
                        <a:pt x="21" y="49"/>
                      </a:lnTo>
                      <a:lnTo>
                        <a:pt x="19" y="49"/>
                      </a:lnTo>
                      <a:lnTo>
                        <a:pt x="16" y="54"/>
                      </a:lnTo>
                      <a:lnTo>
                        <a:pt x="18" y="54"/>
                      </a:lnTo>
                      <a:lnTo>
                        <a:pt x="14" y="58"/>
                      </a:lnTo>
                      <a:lnTo>
                        <a:pt x="9" y="63"/>
                      </a:lnTo>
                      <a:lnTo>
                        <a:pt x="11" y="63"/>
                      </a:lnTo>
                      <a:lnTo>
                        <a:pt x="14" y="60"/>
                      </a:lnTo>
                      <a:lnTo>
                        <a:pt x="16" y="61"/>
                      </a:lnTo>
                      <a:lnTo>
                        <a:pt x="21" y="61"/>
                      </a:lnTo>
                      <a:lnTo>
                        <a:pt x="23" y="60"/>
                      </a:lnTo>
                      <a:lnTo>
                        <a:pt x="23" y="60"/>
                      </a:lnTo>
                      <a:lnTo>
                        <a:pt x="25" y="61"/>
                      </a:lnTo>
                      <a:lnTo>
                        <a:pt x="19" y="63"/>
                      </a:lnTo>
                      <a:lnTo>
                        <a:pt x="14" y="63"/>
                      </a:lnTo>
                      <a:lnTo>
                        <a:pt x="14" y="65"/>
                      </a:lnTo>
                      <a:lnTo>
                        <a:pt x="9" y="67"/>
                      </a:lnTo>
                      <a:lnTo>
                        <a:pt x="9" y="67"/>
                      </a:lnTo>
                      <a:lnTo>
                        <a:pt x="9" y="70"/>
                      </a:lnTo>
                      <a:lnTo>
                        <a:pt x="11" y="70"/>
                      </a:lnTo>
                      <a:lnTo>
                        <a:pt x="9" y="70"/>
                      </a:lnTo>
                      <a:lnTo>
                        <a:pt x="5" y="67"/>
                      </a:lnTo>
                      <a:lnTo>
                        <a:pt x="5" y="70"/>
                      </a:lnTo>
                      <a:lnTo>
                        <a:pt x="2" y="70"/>
                      </a:lnTo>
                      <a:lnTo>
                        <a:pt x="0" y="70"/>
                      </a:lnTo>
                      <a:lnTo>
                        <a:pt x="0" y="72"/>
                      </a:lnTo>
                      <a:lnTo>
                        <a:pt x="9" y="72"/>
                      </a:lnTo>
                      <a:lnTo>
                        <a:pt x="5" y="74"/>
                      </a:lnTo>
                      <a:lnTo>
                        <a:pt x="2" y="75"/>
                      </a:lnTo>
                      <a:lnTo>
                        <a:pt x="2" y="79"/>
                      </a:lnTo>
                      <a:lnTo>
                        <a:pt x="2" y="79"/>
                      </a:lnTo>
                      <a:lnTo>
                        <a:pt x="5" y="80"/>
                      </a:lnTo>
                      <a:lnTo>
                        <a:pt x="14" y="79"/>
                      </a:lnTo>
                      <a:lnTo>
                        <a:pt x="5" y="80"/>
                      </a:lnTo>
                      <a:lnTo>
                        <a:pt x="2" y="84"/>
                      </a:lnTo>
                      <a:lnTo>
                        <a:pt x="9" y="84"/>
                      </a:lnTo>
                      <a:lnTo>
                        <a:pt x="14" y="80"/>
                      </a:lnTo>
                      <a:lnTo>
                        <a:pt x="14" y="84"/>
                      </a:lnTo>
                      <a:lnTo>
                        <a:pt x="9" y="84"/>
                      </a:lnTo>
                      <a:lnTo>
                        <a:pt x="11" y="84"/>
                      </a:lnTo>
                      <a:lnTo>
                        <a:pt x="9" y="87"/>
                      </a:lnTo>
                      <a:lnTo>
                        <a:pt x="14" y="87"/>
                      </a:lnTo>
                      <a:lnTo>
                        <a:pt x="16" y="87"/>
                      </a:lnTo>
                      <a:lnTo>
                        <a:pt x="16" y="87"/>
                      </a:lnTo>
                      <a:lnTo>
                        <a:pt x="16" y="87"/>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1" name="Freeform 24"/>
                <p:cNvSpPr>
                  <a:spLocks noEditPoints="1"/>
                </p:cNvSpPr>
                <p:nvPr/>
              </p:nvSpPr>
              <p:spPr bwMode="auto">
                <a:xfrm>
                  <a:off x="4260850" y="2351088"/>
                  <a:ext cx="231775" cy="436563"/>
                </a:xfrm>
                <a:custGeom>
                  <a:avLst/>
                  <a:gdLst/>
                  <a:ahLst/>
                  <a:cxnLst>
                    <a:cxn ang="0">
                      <a:pos x="9" y="153"/>
                    </a:cxn>
                    <a:cxn ang="0">
                      <a:pos x="39" y="160"/>
                    </a:cxn>
                    <a:cxn ang="0">
                      <a:pos x="28" y="176"/>
                    </a:cxn>
                    <a:cxn ang="0">
                      <a:pos x="106" y="5"/>
                    </a:cxn>
                    <a:cxn ang="0">
                      <a:pos x="98" y="12"/>
                    </a:cxn>
                    <a:cxn ang="0">
                      <a:pos x="103" y="10"/>
                    </a:cxn>
                    <a:cxn ang="0">
                      <a:pos x="103" y="14"/>
                    </a:cxn>
                    <a:cxn ang="0">
                      <a:pos x="136" y="235"/>
                    </a:cxn>
                    <a:cxn ang="0">
                      <a:pos x="103" y="259"/>
                    </a:cxn>
                    <a:cxn ang="0">
                      <a:pos x="44" y="130"/>
                    </a:cxn>
                    <a:cxn ang="0">
                      <a:pos x="20" y="116"/>
                    </a:cxn>
                    <a:cxn ang="0">
                      <a:pos x="32" y="106"/>
                    </a:cxn>
                    <a:cxn ang="0">
                      <a:pos x="27" y="102"/>
                    </a:cxn>
                    <a:cxn ang="0">
                      <a:pos x="70" y="56"/>
                    </a:cxn>
                    <a:cxn ang="0">
                      <a:pos x="66" y="59"/>
                    </a:cxn>
                    <a:cxn ang="0">
                      <a:pos x="23" y="76"/>
                    </a:cxn>
                    <a:cxn ang="0">
                      <a:pos x="20" y="80"/>
                    </a:cxn>
                    <a:cxn ang="0">
                      <a:pos x="18" y="89"/>
                    </a:cxn>
                    <a:cxn ang="0">
                      <a:pos x="18" y="92"/>
                    </a:cxn>
                    <a:cxn ang="0">
                      <a:pos x="13" y="102"/>
                    </a:cxn>
                    <a:cxn ang="0">
                      <a:pos x="16" y="101"/>
                    </a:cxn>
                    <a:cxn ang="0">
                      <a:pos x="28" y="92"/>
                    </a:cxn>
                    <a:cxn ang="0">
                      <a:pos x="32" y="102"/>
                    </a:cxn>
                    <a:cxn ang="0">
                      <a:pos x="30" y="120"/>
                    </a:cxn>
                    <a:cxn ang="0">
                      <a:pos x="32" y="134"/>
                    </a:cxn>
                    <a:cxn ang="0">
                      <a:pos x="40" y="142"/>
                    </a:cxn>
                    <a:cxn ang="0">
                      <a:pos x="56" y="189"/>
                    </a:cxn>
                    <a:cxn ang="0">
                      <a:pos x="51" y="176"/>
                    </a:cxn>
                    <a:cxn ang="0">
                      <a:pos x="49" y="262"/>
                    </a:cxn>
                    <a:cxn ang="0">
                      <a:pos x="66" y="261"/>
                    </a:cxn>
                    <a:cxn ang="0">
                      <a:pos x="100" y="256"/>
                    </a:cxn>
                    <a:cxn ang="0">
                      <a:pos x="129" y="250"/>
                    </a:cxn>
                    <a:cxn ang="0">
                      <a:pos x="136" y="238"/>
                    </a:cxn>
                    <a:cxn ang="0">
                      <a:pos x="134" y="229"/>
                    </a:cxn>
                    <a:cxn ang="0">
                      <a:pos x="141" y="222"/>
                    </a:cxn>
                    <a:cxn ang="0">
                      <a:pos x="120" y="203"/>
                    </a:cxn>
                    <a:cxn ang="0">
                      <a:pos x="110" y="181"/>
                    </a:cxn>
                    <a:cxn ang="0">
                      <a:pos x="113" y="170"/>
                    </a:cxn>
                    <a:cxn ang="0">
                      <a:pos x="84" y="130"/>
                    </a:cxn>
                    <a:cxn ang="0">
                      <a:pos x="72" y="125"/>
                    </a:cxn>
                    <a:cxn ang="0">
                      <a:pos x="79" y="111"/>
                    </a:cxn>
                    <a:cxn ang="0">
                      <a:pos x="77" y="87"/>
                    </a:cxn>
                    <a:cxn ang="0">
                      <a:pos x="60" y="87"/>
                    </a:cxn>
                    <a:cxn ang="0">
                      <a:pos x="72" y="64"/>
                    </a:cxn>
                    <a:cxn ang="0">
                      <a:pos x="49" y="66"/>
                    </a:cxn>
                    <a:cxn ang="0">
                      <a:pos x="44" y="83"/>
                    </a:cxn>
                    <a:cxn ang="0">
                      <a:pos x="40" y="92"/>
                    </a:cxn>
                    <a:cxn ang="0">
                      <a:pos x="39" y="97"/>
                    </a:cxn>
                    <a:cxn ang="0">
                      <a:pos x="33" y="109"/>
                    </a:cxn>
                    <a:cxn ang="0">
                      <a:pos x="44" y="111"/>
                    </a:cxn>
                    <a:cxn ang="0">
                      <a:pos x="37" y="137"/>
                    </a:cxn>
                    <a:cxn ang="0">
                      <a:pos x="40" y="127"/>
                    </a:cxn>
                    <a:cxn ang="0">
                      <a:pos x="47" y="134"/>
                    </a:cxn>
                    <a:cxn ang="0">
                      <a:pos x="54" y="160"/>
                    </a:cxn>
                    <a:cxn ang="0">
                      <a:pos x="68" y="170"/>
                    </a:cxn>
                    <a:cxn ang="0">
                      <a:pos x="80" y="191"/>
                    </a:cxn>
                    <a:cxn ang="0">
                      <a:pos x="54" y="202"/>
                    </a:cxn>
                    <a:cxn ang="0">
                      <a:pos x="56" y="219"/>
                    </a:cxn>
                    <a:cxn ang="0">
                      <a:pos x="46" y="235"/>
                    </a:cxn>
                    <a:cxn ang="0">
                      <a:pos x="66" y="238"/>
                    </a:cxn>
                    <a:cxn ang="0">
                      <a:pos x="68" y="243"/>
                    </a:cxn>
                    <a:cxn ang="0">
                      <a:pos x="40" y="266"/>
                    </a:cxn>
                  </a:cxnLst>
                  <a:rect l="0" t="0" r="r" b="b"/>
                  <a:pathLst>
                    <a:path w="146" h="275">
                      <a:moveTo>
                        <a:pt x="28" y="176"/>
                      </a:moveTo>
                      <a:lnTo>
                        <a:pt x="27" y="174"/>
                      </a:lnTo>
                      <a:lnTo>
                        <a:pt x="23" y="174"/>
                      </a:lnTo>
                      <a:lnTo>
                        <a:pt x="20" y="167"/>
                      </a:lnTo>
                      <a:lnTo>
                        <a:pt x="14" y="165"/>
                      </a:lnTo>
                      <a:lnTo>
                        <a:pt x="13" y="167"/>
                      </a:lnTo>
                      <a:lnTo>
                        <a:pt x="11" y="170"/>
                      </a:lnTo>
                      <a:lnTo>
                        <a:pt x="9" y="170"/>
                      </a:lnTo>
                      <a:lnTo>
                        <a:pt x="0" y="165"/>
                      </a:lnTo>
                      <a:lnTo>
                        <a:pt x="6" y="156"/>
                      </a:lnTo>
                      <a:lnTo>
                        <a:pt x="9" y="156"/>
                      </a:lnTo>
                      <a:lnTo>
                        <a:pt x="9" y="153"/>
                      </a:lnTo>
                      <a:lnTo>
                        <a:pt x="13" y="151"/>
                      </a:lnTo>
                      <a:lnTo>
                        <a:pt x="14" y="151"/>
                      </a:lnTo>
                      <a:lnTo>
                        <a:pt x="18" y="151"/>
                      </a:lnTo>
                      <a:lnTo>
                        <a:pt x="18" y="148"/>
                      </a:lnTo>
                      <a:lnTo>
                        <a:pt x="20" y="148"/>
                      </a:lnTo>
                      <a:lnTo>
                        <a:pt x="23" y="148"/>
                      </a:lnTo>
                      <a:lnTo>
                        <a:pt x="28" y="148"/>
                      </a:lnTo>
                      <a:lnTo>
                        <a:pt x="30" y="148"/>
                      </a:lnTo>
                      <a:lnTo>
                        <a:pt x="30" y="151"/>
                      </a:lnTo>
                      <a:lnTo>
                        <a:pt x="35" y="158"/>
                      </a:lnTo>
                      <a:lnTo>
                        <a:pt x="33" y="160"/>
                      </a:lnTo>
                      <a:lnTo>
                        <a:pt x="39" y="160"/>
                      </a:lnTo>
                      <a:lnTo>
                        <a:pt x="39" y="169"/>
                      </a:lnTo>
                      <a:lnTo>
                        <a:pt x="37" y="162"/>
                      </a:lnTo>
                      <a:lnTo>
                        <a:pt x="35" y="162"/>
                      </a:lnTo>
                      <a:lnTo>
                        <a:pt x="37" y="165"/>
                      </a:lnTo>
                      <a:lnTo>
                        <a:pt x="35" y="167"/>
                      </a:lnTo>
                      <a:lnTo>
                        <a:pt x="39" y="169"/>
                      </a:lnTo>
                      <a:lnTo>
                        <a:pt x="37" y="170"/>
                      </a:lnTo>
                      <a:lnTo>
                        <a:pt x="33" y="170"/>
                      </a:lnTo>
                      <a:lnTo>
                        <a:pt x="33" y="170"/>
                      </a:lnTo>
                      <a:lnTo>
                        <a:pt x="30" y="176"/>
                      </a:lnTo>
                      <a:lnTo>
                        <a:pt x="28" y="174"/>
                      </a:lnTo>
                      <a:lnTo>
                        <a:pt x="28" y="176"/>
                      </a:lnTo>
                      <a:lnTo>
                        <a:pt x="28" y="176"/>
                      </a:lnTo>
                      <a:lnTo>
                        <a:pt x="28" y="176"/>
                      </a:lnTo>
                      <a:lnTo>
                        <a:pt x="28" y="176"/>
                      </a:lnTo>
                      <a:lnTo>
                        <a:pt x="28" y="176"/>
                      </a:lnTo>
                      <a:close/>
                      <a:moveTo>
                        <a:pt x="100" y="24"/>
                      </a:moveTo>
                      <a:lnTo>
                        <a:pt x="101" y="23"/>
                      </a:lnTo>
                      <a:lnTo>
                        <a:pt x="101" y="24"/>
                      </a:lnTo>
                      <a:lnTo>
                        <a:pt x="100" y="24"/>
                      </a:lnTo>
                      <a:lnTo>
                        <a:pt x="100" y="24"/>
                      </a:lnTo>
                      <a:lnTo>
                        <a:pt x="100" y="24"/>
                      </a:lnTo>
                      <a:lnTo>
                        <a:pt x="100" y="24"/>
                      </a:lnTo>
                      <a:close/>
                      <a:moveTo>
                        <a:pt x="106" y="5"/>
                      </a:moveTo>
                      <a:lnTo>
                        <a:pt x="103" y="3"/>
                      </a:lnTo>
                      <a:lnTo>
                        <a:pt x="106" y="0"/>
                      </a:lnTo>
                      <a:lnTo>
                        <a:pt x="106" y="5"/>
                      </a:lnTo>
                      <a:lnTo>
                        <a:pt x="106" y="5"/>
                      </a:lnTo>
                      <a:lnTo>
                        <a:pt x="106" y="5"/>
                      </a:lnTo>
                      <a:lnTo>
                        <a:pt x="106" y="5"/>
                      </a:lnTo>
                      <a:close/>
                      <a:moveTo>
                        <a:pt x="98" y="12"/>
                      </a:moveTo>
                      <a:lnTo>
                        <a:pt x="98" y="9"/>
                      </a:lnTo>
                      <a:lnTo>
                        <a:pt x="96" y="9"/>
                      </a:lnTo>
                      <a:lnTo>
                        <a:pt x="96" y="12"/>
                      </a:lnTo>
                      <a:lnTo>
                        <a:pt x="96" y="12"/>
                      </a:lnTo>
                      <a:lnTo>
                        <a:pt x="98" y="12"/>
                      </a:lnTo>
                      <a:lnTo>
                        <a:pt x="98" y="12"/>
                      </a:lnTo>
                      <a:lnTo>
                        <a:pt x="98" y="12"/>
                      </a:lnTo>
                      <a:lnTo>
                        <a:pt x="98" y="12"/>
                      </a:lnTo>
                      <a:close/>
                      <a:moveTo>
                        <a:pt x="103" y="10"/>
                      </a:moveTo>
                      <a:lnTo>
                        <a:pt x="100" y="9"/>
                      </a:lnTo>
                      <a:lnTo>
                        <a:pt x="101" y="7"/>
                      </a:lnTo>
                      <a:lnTo>
                        <a:pt x="101" y="3"/>
                      </a:lnTo>
                      <a:lnTo>
                        <a:pt x="103" y="5"/>
                      </a:lnTo>
                      <a:lnTo>
                        <a:pt x="103" y="9"/>
                      </a:lnTo>
                      <a:lnTo>
                        <a:pt x="103" y="10"/>
                      </a:lnTo>
                      <a:lnTo>
                        <a:pt x="103" y="10"/>
                      </a:lnTo>
                      <a:lnTo>
                        <a:pt x="103" y="10"/>
                      </a:lnTo>
                      <a:lnTo>
                        <a:pt x="103" y="10"/>
                      </a:lnTo>
                      <a:close/>
                      <a:moveTo>
                        <a:pt x="101" y="21"/>
                      </a:moveTo>
                      <a:lnTo>
                        <a:pt x="100" y="19"/>
                      </a:lnTo>
                      <a:lnTo>
                        <a:pt x="94" y="17"/>
                      </a:lnTo>
                      <a:lnTo>
                        <a:pt x="93" y="16"/>
                      </a:lnTo>
                      <a:lnTo>
                        <a:pt x="96" y="16"/>
                      </a:lnTo>
                      <a:lnTo>
                        <a:pt x="100" y="16"/>
                      </a:lnTo>
                      <a:lnTo>
                        <a:pt x="100" y="14"/>
                      </a:lnTo>
                      <a:lnTo>
                        <a:pt x="100" y="12"/>
                      </a:lnTo>
                      <a:lnTo>
                        <a:pt x="100" y="12"/>
                      </a:lnTo>
                      <a:lnTo>
                        <a:pt x="101" y="12"/>
                      </a:lnTo>
                      <a:lnTo>
                        <a:pt x="103" y="14"/>
                      </a:lnTo>
                      <a:lnTo>
                        <a:pt x="103" y="16"/>
                      </a:lnTo>
                      <a:lnTo>
                        <a:pt x="103" y="17"/>
                      </a:lnTo>
                      <a:lnTo>
                        <a:pt x="101" y="19"/>
                      </a:lnTo>
                      <a:lnTo>
                        <a:pt x="103" y="23"/>
                      </a:lnTo>
                      <a:lnTo>
                        <a:pt x="101" y="21"/>
                      </a:lnTo>
                      <a:lnTo>
                        <a:pt x="101" y="21"/>
                      </a:lnTo>
                      <a:lnTo>
                        <a:pt x="101" y="21"/>
                      </a:lnTo>
                      <a:lnTo>
                        <a:pt x="101" y="21"/>
                      </a:lnTo>
                      <a:close/>
                      <a:moveTo>
                        <a:pt x="133" y="238"/>
                      </a:moveTo>
                      <a:lnTo>
                        <a:pt x="134" y="238"/>
                      </a:lnTo>
                      <a:lnTo>
                        <a:pt x="136" y="238"/>
                      </a:lnTo>
                      <a:lnTo>
                        <a:pt x="136" y="235"/>
                      </a:lnTo>
                      <a:lnTo>
                        <a:pt x="134" y="235"/>
                      </a:lnTo>
                      <a:lnTo>
                        <a:pt x="133" y="238"/>
                      </a:lnTo>
                      <a:lnTo>
                        <a:pt x="133" y="238"/>
                      </a:lnTo>
                      <a:lnTo>
                        <a:pt x="133" y="238"/>
                      </a:lnTo>
                      <a:lnTo>
                        <a:pt x="133" y="238"/>
                      </a:lnTo>
                      <a:close/>
                      <a:moveTo>
                        <a:pt x="98" y="256"/>
                      </a:moveTo>
                      <a:lnTo>
                        <a:pt x="103" y="254"/>
                      </a:lnTo>
                      <a:lnTo>
                        <a:pt x="103" y="256"/>
                      </a:lnTo>
                      <a:lnTo>
                        <a:pt x="106" y="256"/>
                      </a:lnTo>
                      <a:lnTo>
                        <a:pt x="106" y="257"/>
                      </a:lnTo>
                      <a:lnTo>
                        <a:pt x="106" y="259"/>
                      </a:lnTo>
                      <a:lnTo>
                        <a:pt x="103" y="259"/>
                      </a:lnTo>
                      <a:lnTo>
                        <a:pt x="101" y="257"/>
                      </a:lnTo>
                      <a:lnTo>
                        <a:pt x="98" y="256"/>
                      </a:lnTo>
                      <a:lnTo>
                        <a:pt x="98" y="256"/>
                      </a:lnTo>
                      <a:lnTo>
                        <a:pt x="98" y="256"/>
                      </a:lnTo>
                      <a:lnTo>
                        <a:pt x="98" y="256"/>
                      </a:lnTo>
                      <a:close/>
                      <a:moveTo>
                        <a:pt x="44" y="130"/>
                      </a:moveTo>
                      <a:lnTo>
                        <a:pt x="44" y="134"/>
                      </a:lnTo>
                      <a:lnTo>
                        <a:pt x="44" y="136"/>
                      </a:lnTo>
                      <a:lnTo>
                        <a:pt x="44" y="132"/>
                      </a:lnTo>
                      <a:lnTo>
                        <a:pt x="44" y="130"/>
                      </a:lnTo>
                      <a:lnTo>
                        <a:pt x="44" y="130"/>
                      </a:lnTo>
                      <a:lnTo>
                        <a:pt x="44" y="130"/>
                      </a:lnTo>
                      <a:lnTo>
                        <a:pt x="44" y="130"/>
                      </a:lnTo>
                      <a:close/>
                      <a:moveTo>
                        <a:pt x="28" y="129"/>
                      </a:moveTo>
                      <a:lnTo>
                        <a:pt x="28" y="125"/>
                      </a:lnTo>
                      <a:lnTo>
                        <a:pt x="30" y="127"/>
                      </a:lnTo>
                      <a:lnTo>
                        <a:pt x="28" y="129"/>
                      </a:lnTo>
                      <a:lnTo>
                        <a:pt x="28" y="129"/>
                      </a:lnTo>
                      <a:lnTo>
                        <a:pt x="28" y="129"/>
                      </a:lnTo>
                      <a:lnTo>
                        <a:pt x="28" y="129"/>
                      </a:lnTo>
                      <a:close/>
                      <a:moveTo>
                        <a:pt x="20" y="116"/>
                      </a:moveTo>
                      <a:lnTo>
                        <a:pt x="20" y="115"/>
                      </a:lnTo>
                      <a:lnTo>
                        <a:pt x="23" y="115"/>
                      </a:lnTo>
                      <a:lnTo>
                        <a:pt x="20" y="116"/>
                      </a:lnTo>
                      <a:lnTo>
                        <a:pt x="20" y="116"/>
                      </a:lnTo>
                      <a:lnTo>
                        <a:pt x="20" y="116"/>
                      </a:lnTo>
                      <a:lnTo>
                        <a:pt x="20" y="116"/>
                      </a:lnTo>
                      <a:close/>
                      <a:moveTo>
                        <a:pt x="23" y="115"/>
                      </a:moveTo>
                      <a:lnTo>
                        <a:pt x="27" y="111"/>
                      </a:lnTo>
                      <a:lnTo>
                        <a:pt x="27" y="111"/>
                      </a:lnTo>
                      <a:lnTo>
                        <a:pt x="23" y="115"/>
                      </a:lnTo>
                      <a:lnTo>
                        <a:pt x="23" y="115"/>
                      </a:lnTo>
                      <a:lnTo>
                        <a:pt x="23" y="115"/>
                      </a:lnTo>
                      <a:lnTo>
                        <a:pt x="23" y="115"/>
                      </a:lnTo>
                      <a:close/>
                      <a:moveTo>
                        <a:pt x="30" y="108"/>
                      </a:moveTo>
                      <a:lnTo>
                        <a:pt x="32" y="106"/>
                      </a:lnTo>
                      <a:lnTo>
                        <a:pt x="30" y="106"/>
                      </a:lnTo>
                      <a:lnTo>
                        <a:pt x="30" y="108"/>
                      </a:lnTo>
                      <a:lnTo>
                        <a:pt x="30" y="108"/>
                      </a:lnTo>
                      <a:lnTo>
                        <a:pt x="30" y="108"/>
                      </a:lnTo>
                      <a:lnTo>
                        <a:pt x="30" y="108"/>
                      </a:lnTo>
                      <a:close/>
                      <a:moveTo>
                        <a:pt x="27" y="102"/>
                      </a:moveTo>
                      <a:lnTo>
                        <a:pt x="28" y="106"/>
                      </a:lnTo>
                      <a:lnTo>
                        <a:pt x="28" y="104"/>
                      </a:lnTo>
                      <a:lnTo>
                        <a:pt x="28" y="102"/>
                      </a:lnTo>
                      <a:lnTo>
                        <a:pt x="27" y="102"/>
                      </a:lnTo>
                      <a:lnTo>
                        <a:pt x="27" y="102"/>
                      </a:lnTo>
                      <a:lnTo>
                        <a:pt x="27" y="102"/>
                      </a:lnTo>
                      <a:lnTo>
                        <a:pt x="27" y="102"/>
                      </a:lnTo>
                      <a:close/>
                      <a:moveTo>
                        <a:pt x="70" y="52"/>
                      </a:moveTo>
                      <a:lnTo>
                        <a:pt x="72" y="52"/>
                      </a:lnTo>
                      <a:lnTo>
                        <a:pt x="72" y="52"/>
                      </a:lnTo>
                      <a:lnTo>
                        <a:pt x="70" y="52"/>
                      </a:lnTo>
                      <a:lnTo>
                        <a:pt x="70" y="52"/>
                      </a:lnTo>
                      <a:lnTo>
                        <a:pt x="70" y="52"/>
                      </a:lnTo>
                      <a:lnTo>
                        <a:pt x="70" y="52"/>
                      </a:lnTo>
                      <a:close/>
                      <a:moveTo>
                        <a:pt x="66" y="52"/>
                      </a:moveTo>
                      <a:lnTo>
                        <a:pt x="68" y="52"/>
                      </a:lnTo>
                      <a:lnTo>
                        <a:pt x="72" y="56"/>
                      </a:lnTo>
                      <a:lnTo>
                        <a:pt x="70" y="56"/>
                      </a:lnTo>
                      <a:lnTo>
                        <a:pt x="73" y="56"/>
                      </a:lnTo>
                      <a:lnTo>
                        <a:pt x="73" y="59"/>
                      </a:lnTo>
                      <a:lnTo>
                        <a:pt x="72" y="59"/>
                      </a:lnTo>
                      <a:lnTo>
                        <a:pt x="68" y="59"/>
                      </a:lnTo>
                      <a:lnTo>
                        <a:pt x="68" y="56"/>
                      </a:lnTo>
                      <a:lnTo>
                        <a:pt x="66" y="59"/>
                      </a:lnTo>
                      <a:lnTo>
                        <a:pt x="66" y="56"/>
                      </a:lnTo>
                      <a:lnTo>
                        <a:pt x="66" y="52"/>
                      </a:lnTo>
                      <a:lnTo>
                        <a:pt x="66" y="52"/>
                      </a:lnTo>
                      <a:lnTo>
                        <a:pt x="66" y="52"/>
                      </a:lnTo>
                      <a:lnTo>
                        <a:pt x="66" y="52"/>
                      </a:lnTo>
                      <a:close/>
                      <a:moveTo>
                        <a:pt x="66" y="59"/>
                      </a:moveTo>
                      <a:lnTo>
                        <a:pt x="68" y="61"/>
                      </a:lnTo>
                      <a:lnTo>
                        <a:pt x="68" y="59"/>
                      </a:lnTo>
                      <a:lnTo>
                        <a:pt x="68" y="59"/>
                      </a:lnTo>
                      <a:lnTo>
                        <a:pt x="66" y="59"/>
                      </a:lnTo>
                      <a:lnTo>
                        <a:pt x="66" y="59"/>
                      </a:lnTo>
                      <a:lnTo>
                        <a:pt x="66" y="59"/>
                      </a:lnTo>
                      <a:lnTo>
                        <a:pt x="66" y="59"/>
                      </a:lnTo>
                      <a:close/>
                      <a:moveTo>
                        <a:pt x="20" y="80"/>
                      </a:moveTo>
                      <a:lnTo>
                        <a:pt x="21" y="78"/>
                      </a:lnTo>
                      <a:lnTo>
                        <a:pt x="20" y="76"/>
                      </a:lnTo>
                      <a:lnTo>
                        <a:pt x="21" y="75"/>
                      </a:lnTo>
                      <a:lnTo>
                        <a:pt x="23" y="76"/>
                      </a:lnTo>
                      <a:lnTo>
                        <a:pt x="23" y="73"/>
                      </a:lnTo>
                      <a:lnTo>
                        <a:pt x="30" y="68"/>
                      </a:lnTo>
                      <a:lnTo>
                        <a:pt x="30" y="71"/>
                      </a:lnTo>
                      <a:lnTo>
                        <a:pt x="28" y="75"/>
                      </a:lnTo>
                      <a:lnTo>
                        <a:pt x="27" y="78"/>
                      </a:lnTo>
                      <a:lnTo>
                        <a:pt x="28" y="78"/>
                      </a:lnTo>
                      <a:lnTo>
                        <a:pt x="27" y="82"/>
                      </a:lnTo>
                      <a:lnTo>
                        <a:pt x="23" y="80"/>
                      </a:lnTo>
                      <a:lnTo>
                        <a:pt x="21" y="82"/>
                      </a:lnTo>
                      <a:lnTo>
                        <a:pt x="20" y="80"/>
                      </a:lnTo>
                      <a:lnTo>
                        <a:pt x="20" y="80"/>
                      </a:lnTo>
                      <a:lnTo>
                        <a:pt x="20" y="80"/>
                      </a:lnTo>
                      <a:lnTo>
                        <a:pt x="20" y="80"/>
                      </a:lnTo>
                      <a:close/>
                      <a:moveTo>
                        <a:pt x="20" y="83"/>
                      </a:moveTo>
                      <a:lnTo>
                        <a:pt x="21" y="87"/>
                      </a:lnTo>
                      <a:lnTo>
                        <a:pt x="23" y="83"/>
                      </a:lnTo>
                      <a:lnTo>
                        <a:pt x="23" y="82"/>
                      </a:lnTo>
                      <a:lnTo>
                        <a:pt x="21" y="83"/>
                      </a:lnTo>
                      <a:lnTo>
                        <a:pt x="20" y="83"/>
                      </a:lnTo>
                      <a:lnTo>
                        <a:pt x="20" y="83"/>
                      </a:lnTo>
                      <a:lnTo>
                        <a:pt x="20" y="83"/>
                      </a:lnTo>
                      <a:lnTo>
                        <a:pt x="20" y="83"/>
                      </a:lnTo>
                      <a:lnTo>
                        <a:pt x="20" y="83"/>
                      </a:lnTo>
                      <a:close/>
                      <a:moveTo>
                        <a:pt x="18" y="89"/>
                      </a:moveTo>
                      <a:lnTo>
                        <a:pt x="14" y="92"/>
                      </a:lnTo>
                      <a:lnTo>
                        <a:pt x="13" y="87"/>
                      </a:lnTo>
                      <a:lnTo>
                        <a:pt x="14" y="87"/>
                      </a:lnTo>
                      <a:lnTo>
                        <a:pt x="18" y="87"/>
                      </a:lnTo>
                      <a:lnTo>
                        <a:pt x="18" y="89"/>
                      </a:lnTo>
                      <a:lnTo>
                        <a:pt x="18" y="89"/>
                      </a:lnTo>
                      <a:lnTo>
                        <a:pt x="18" y="89"/>
                      </a:lnTo>
                      <a:lnTo>
                        <a:pt x="18" y="89"/>
                      </a:lnTo>
                      <a:close/>
                      <a:moveTo>
                        <a:pt x="16" y="94"/>
                      </a:moveTo>
                      <a:lnTo>
                        <a:pt x="14" y="92"/>
                      </a:lnTo>
                      <a:lnTo>
                        <a:pt x="14" y="92"/>
                      </a:lnTo>
                      <a:lnTo>
                        <a:pt x="18" y="92"/>
                      </a:lnTo>
                      <a:lnTo>
                        <a:pt x="16" y="94"/>
                      </a:lnTo>
                      <a:lnTo>
                        <a:pt x="16" y="94"/>
                      </a:lnTo>
                      <a:lnTo>
                        <a:pt x="16" y="94"/>
                      </a:lnTo>
                      <a:lnTo>
                        <a:pt x="16" y="94"/>
                      </a:lnTo>
                      <a:close/>
                      <a:moveTo>
                        <a:pt x="13" y="102"/>
                      </a:moveTo>
                      <a:lnTo>
                        <a:pt x="14" y="104"/>
                      </a:lnTo>
                      <a:lnTo>
                        <a:pt x="11" y="106"/>
                      </a:lnTo>
                      <a:lnTo>
                        <a:pt x="11" y="104"/>
                      </a:lnTo>
                      <a:lnTo>
                        <a:pt x="13" y="102"/>
                      </a:lnTo>
                      <a:lnTo>
                        <a:pt x="13" y="102"/>
                      </a:lnTo>
                      <a:lnTo>
                        <a:pt x="13" y="102"/>
                      </a:lnTo>
                      <a:lnTo>
                        <a:pt x="13" y="102"/>
                      </a:lnTo>
                      <a:close/>
                      <a:moveTo>
                        <a:pt x="16" y="101"/>
                      </a:moveTo>
                      <a:lnTo>
                        <a:pt x="16" y="97"/>
                      </a:lnTo>
                      <a:lnTo>
                        <a:pt x="16" y="96"/>
                      </a:lnTo>
                      <a:lnTo>
                        <a:pt x="16" y="94"/>
                      </a:lnTo>
                      <a:lnTo>
                        <a:pt x="14" y="94"/>
                      </a:lnTo>
                      <a:lnTo>
                        <a:pt x="14" y="96"/>
                      </a:lnTo>
                      <a:lnTo>
                        <a:pt x="13" y="97"/>
                      </a:lnTo>
                      <a:lnTo>
                        <a:pt x="14" y="101"/>
                      </a:lnTo>
                      <a:lnTo>
                        <a:pt x="16" y="101"/>
                      </a:lnTo>
                      <a:lnTo>
                        <a:pt x="16" y="101"/>
                      </a:lnTo>
                      <a:lnTo>
                        <a:pt x="16" y="101"/>
                      </a:lnTo>
                      <a:lnTo>
                        <a:pt x="16" y="101"/>
                      </a:lnTo>
                      <a:close/>
                      <a:moveTo>
                        <a:pt x="32" y="102"/>
                      </a:moveTo>
                      <a:lnTo>
                        <a:pt x="32" y="99"/>
                      </a:lnTo>
                      <a:lnTo>
                        <a:pt x="28" y="99"/>
                      </a:lnTo>
                      <a:lnTo>
                        <a:pt x="27" y="96"/>
                      </a:lnTo>
                      <a:lnTo>
                        <a:pt x="27" y="94"/>
                      </a:lnTo>
                      <a:lnTo>
                        <a:pt x="27" y="94"/>
                      </a:lnTo>
                      <a:lnTo>
                        <a:pt x="27" y="96"/>
                      </a:lnTo>
                      <a:lnTo>
                        <a:pt x="23" y="92"/>
                      </a:lnTo>
                      <a:lnTo>
                        <a:pt x="23" y="92"/>
                      </a:lnTo>
                      <a:lnTo>
                        <a:pt x="23" y="92"/>
                      </a:lnTo>
                      <a:lnTo>
                        <a:pt x="23" y="89"/>
                      </a:lnTo>
                      <a:lnTo>
                        <a:pt x="28" y="92"/>
                      </a:lnTo>
                      <a:lnTo>
                        <a:pt x="27" y="87"/>
                      </a:lnTo>
                      <a:lnTo>
                        <a:pt x="28" y="87"/>
                      </a:lnTo>
                      <a:lnTo>
                        <a:pt x="30" y="92"/>
                      </a:lnTo>
                      <a:lnTo>
                        <a:pt x="30" y="96"/>
                      </a:lnTo>
                      <a:lnTo>
                        <a:pt x="33" y="97"/>
                      </a:lnTo>
                      <a:lnTo>
                        <a:pt x="35" y="97"/>
                      </a:lnTo>
                      <a:lnTo>
                        <a:pt x="37" y="97"/>
                      </a:lnTo>
                      <a:lnTo>
                        <a:pt x="35" y="99"/>
                      </a:lnTo>
                      <a:lnTo>
                        <a:pt x="33" y="102"/>
                      </a:lnTo>
                      <a:lnTo>
                        <a:pt x="32" y="102"/>
                      </a:lnTo>
                      <a:lnTo>
                        <a:pt x="32" y="102"/>
                      </a:lnTo>
                      <a:lnTo>
                        <a:pt x="32" y="102"/>
                      </a:lnTo>
                      <a:lnTo>
                        <a:pt x="32" y="102"/>
                      </a:lnTo>
                      <a:close/>
                      <a:moveTo>
                        <a:pt x="27" y="120"/>
                      </a:moveTo>
                      <a:lnTo>
                        <a:pt x="33" y="120"/>
                      </a:lnTo>
                      <a:lnTo>
                        <a:pt x="33" y="120"/>
                      </a:lnTo>
                      <a:lnTo>
                        <a:pt x="37" y="120"/>
                      </a:lnTo>
                      <a:lnTo>
                        <a:pt x="35" y="115"/>
                      </a:lnTo>
                      <a:lnTo>
                        <a:pt x="33" y="115"/>
                      </a:lnTo>
                      <a:lnTo>
                        <a:pt x="30" y="111"/>
                      </a:lnTo>
                      <a:lnTo>
                        <a:pt x="27" y="115"/>
                      </a:lnTo>
                      <a:lnTo>
                        <a:pt x="32" y="116"/>
                      </a:lnTo>
                      <a:lnTo>
                        <a:pt x="28" y="116"/>
                      </a:lnTo>
                      <a:lnTo>
                        <a:pt x="30" y="120"/>
                      </a:lnTo>
                      <a:lnTo>
                        <a:pt x="27" y="120"/>
                      </a:lnTo>
                      <a:lnTo>
                        <a:pt x="27" y="120"/>
                      </a:lnTo>
                      <a:lnTo>
                        <a:pt x="27" y="120"/>
                      </a:lnTo>
                      <a:lnTo>
                        <a:pt x="27" y="120"/>
                      </a:lnTo>
                      <a:close/>
                      <a:moveTo>
                        <a:pt x="32" y="134"/>
                      </a:moveTo>
                      <a:lnTo>
                        <a:pt x="30" y="130"/>
                      </a:lnTo>
                      <a:lnTo>
                        <a:pt x="37" y="123"/>
                      </a:lnTo>
                      <a:lnTo>
                        <a:pt x="33" y="130"/>
                      </a:lnTo>
                      <a:lnTo>
                        <a:pt x="32" y="134"/>
                      </a:lnTo>
                      <a:lnTo>
                        <a:pt x="32" y="134"/>
                      </a:lnTo>
                      <a:lnTo>
                        <a:pt x="32" y="134"/>
                      </a:lnTo>
                      <a:lnTo>
                        <a:pt x="32" y="134"/>
                      </a:lnTo>
                      <a:close/>
                      <a:moveTo>
                        <a:pt x="27" y="137"/>
                      </a:moveTo>
                      <a:lnTo>
                        <a:pt x="30" y="136"/>
                      </a:lnTo>
                      <a:lnTo>
                        <a:pt x="30" y="130"/>
                      </a:lnTo>
                      <a:lnTo>
                        <a:pt x="27" y="132"/>
                      </a:lnTo>
                      <a:lnTo>
                        <a:pt x="27" y="137"/>
                      </a:lnTo>
                      <a:lnTo>
                        <a:pt x="28" y="134"/>
                      </a:lnTo>
                      <a:lnTo>
                        <a:pt x="27" y="137"/>
                      </a:lnTo>
                      <a:lnTo>
                        <a:pt x="27" y="137"/>
                      </a:lnTo>
                      <a:lnTo>
                        <a:pt x="27" y="137"/>
                      </a:lnTo>
                      <a:lnTo>
                        <a:pt x="27" y="137"/>
                      </a:lnTo>
                      <a:close/>
                      <a:moveTo>
                        <a:pt x="40" y="137"/>
                      </a:moveTo>
                      <a:lnTo>
                        <a:pt x="40" y="142"/>
                      </a:lnTo>
                      <a:lnTo>
                        <a:pt x="44" y="142"/>
                      </a:lnTo>
                      <a:lnTo>
                        <a:pt x="44" y="139"/>
                      </a:lnTo>
                      <a:lnTo>
                        <a:pt x="44" y="136"/>
                      </a:lnTo>
                      <a:lnTo>
                        <a:pt x="40" y="137"/>
                      </a:lnTo>
                      <a:lnTo>
                        <a:pt x="40" y="137"/>
                      </a:lnTo>
                      <a:lnTo>
                        <a:pt x="40" y="137"/>
                      </a:lnTo>
                      <a:lnTo>
                        <a:pt x="40" y="137"/>
                      </a:lnTo>
                      <a:close/>
                      <a:moveTo>
                        <a:pt x="51" y="193"/>
                      </a:moveTo>
                      <a:lnTo>
                        <a:pt x="56" y="196"/>
                      </a:lnTo>
                      <a:lnTo>
                        <a:pt x="60" y="193"/>
                      </a:lnTo>
                      <a:lnTo>
                        <a:pt x="56" y="193"/>
                      </a:lnTo>
                      <a:lnTo>
                        <a:pt x="56" y="189"/>
                      </a:lnTo>
                      <a:lnTo>
                        <a:pt x="51" y="191"/>
                      </a:lnTo>
                      <a:lnTo>
                        <a:pt x="51" y="191"/>
                      </a:lnTo>
                      <a:lnTo>
                        <a:pt x="51" y="193"/>
                      </a:lnTo>
                      <a:lnTo>
                        <a:pt x="51" y="193"/>
                      </a:lnTo>
                      <a:lnTo>
                        <a:pt x="51" y="193"/>
                      </a:lnTo>
                      <a:lnTo>
                        <a:pt x="51" y="193"/>
                      </a:lnTo>
                      <a:close/>
                      <a:moveTo>
                        <a:pt x="47" y="176"/>
                      </a:moveTo>
                      <a:lnTo>
                        <a:pt x="49" y="170"/>
                      </a:lnTo>
                      <a:lnTo>
                        <a:pt x="54" y="167"/>
                      </a:lnTo>
                      <a:lnTo>
                        <a:pt x="54" y="169"/>
                      </a:lnTo>
                      <a:lnTo>
                        <a:pt x="54" y="170"/>
                      </a:lnTo>
                      <a:lnTo>
                        <a:pt x="51" y="176"/>
                      </a:lnTo>
                      <a:lnTo>
                        <a:pt x="47" y="176"/>
                      </a:lnTo>
                      <a:lnTo>
                        <a:pt x="47" y="176"/>
                      </a:lnTo>
                      <a:lnTo>
                        <a:pt x="47" y="176"/>
                      </a:lnTo>
                      <a:lnTo>
                        <a:pt x="47" y="176"/>
                      </a:lnTo>
                      <a:close/>
                      <a:moveTo>
                        <a:pt x="40" y="275"/>
                      </a:moveTo>
                      <a:lnTo>
                        <a:pt x="44" y="271"/>
                      </a:lnTo>
                      <a:lnTo>
                        <a:pt x="44" y="271"/>
                      </a:lnTo>
                      <a:lnTo>
                        <a:pt x="44" y="268"/>
                      </a:lnTo>
                      <a:lnTo>
                        <a:pt x="44" y="268"/>
                      </a:lnTo>
                      <a:lnTo>
                        <a:pt x="46" y="266"/>
                      </a:lnTo>
                      <a:lnTo>
                        <a:pt x="47" y="266"/>
                      </a:lnTo>
                      <a:lnTo>
                        <a:pt x="49" y="262"/>
                      </a:lnTo>
                      <a:lnTo>
                        <a:pt x="53" y="266"/>
                      </a:lnTo>
                      <a:lnTo>
                        <a:pt x="54" y="262"/>
                      </a:lnTo>
                      <a:lnTo>
                        <a:pt x="58" y="262"/>
                      </a:lnTo>
                      <a:lnTo>
                        <a:pt x="58" y="262"/>
                      </a:lnTo>
                      <a:lnTo>
                        <a:pt x="60" y="266"/>
                      </a:lnTo>
                      <a:lnTo>
                        <a:pt x="61" y="266"/>
                      </a:lnTo>
                      <a:lnTo>
                        <a:pt x="63" y="266"/>
                      </a:lnTo>
                      <a:lnTo>
                        <a:pt x="66" y="266"/>
                      </a:lnTo>
                      <a:lnTo>
                        <a:pt x="66" y="266"/>
                      </a:lnTo>
                      <a:lnTo>
                        <a:pt x="66" y="266"/>
                      </a:lnTo>
                      <a:lnTo>
                        <a:pt x="68" y="262"/>
                      </a:lnTo>
                      <a:lnTo>
                        <a:pt x="66" y="261"/>
                      </a:lnTo>
                      <a:lnTo>
                        <a:pt x="70" y="259"/>
                      </a:lnTo>
                      <a:lnTo>
                        <a:pt x="72" y="257"/>
                      </a:lnTo>
                      <a:lnTo>
                        <a:pt x="72" y="257"/>
                      </a:lnTo>
                      <a:lnTo>
                        <a:pt x="79" y="256"/>
                      </a:lnTo>
                      <a:lnTo>
                        <a:pt x="80" y="256"/>
                      </a:lnTo>
                      <a:lnTo>
                        <a:pt x="84" y="259"/>
                      </a:lnTo>
                      <a:lnTo>
                        <a:pt x="86" y="257"/>
                      </a:lnTo>
                      <a:lnTo>
                        <a:pt x="89" y="257"/>
                      </a:lnTo>
                      <a:lnTo>
                        <a:pt x="91" y="259"/>
                      </a:lnTo>
                      <a:lnTo>
                        <a:pt x="93" y="256"/>
                      </a:lnTo>
                      <a:lnTo>
                        <a:pt x="96" y="254"/>
                      </a:lnTo>
                      <a:lnTo>
                        <a:pt x="100" y="256"/>
                      </a:lnTo>
                      <a:lnTo>
                        <a:pt x="103" y="252"/>
                      </a:lnTo>
                      <a:lnTo>
                        <a:pt x="106" y="252"/>
                      </a:lnTo>
                      <a:lnTo>
                        <a:pt x="106" y="252"/>
                      </a:lnTo>
                      <a:lnTo>
                        <a:pt x="106" y="252"/>
                      </a:lnTo>
                      <a:lnTo>
                        <a:pt x="108" y="252"/>
                      </a:lnTo>
                      <a:lnTo>
                        <a:pt x="110" y="254"/>
                      </a:lnTo>
                      <a:lnTo>
                        <a:pt x="113" y="252"/>
                      </a:lnTo>
                      <a:lnTo>
                        <a:pt x="119" y="252"/>
                      </a:lnTo>
                      <a:lnTo>
                        <a:pt x="120" y="252"/>
                      </a:lnTo>
                      <a:lnTo>
                        <a:pt x="126" y="252"/>
                      </a:lnTo>
                      <a:lnTo>
                        <a:pt x="126" y="252"/>
                      </a:lnTo>
                      <a:lnTo>
                        <a:pt x="129" y="250"/>
                      </a:lnTo>
                      <a:lnTo>
                        <a:pt x="131" y="250"/>
                      </a:lnTo>
                      <a:lnTo>
                        <a:pt x="134" y="247"/>
                      </a:lnTo>
                      <a:lnTo>
                        <a:pt x="136" y="247"/>
                      </a:lnTo>
                      <a:lnTo>
                        <a:pt x="138" y="249"/>
                      </a:lnTo>
                      <a:lnTo>
                        <a:pt x="138" y="245"/>
                      </a:lnTo>
                      <a:lnTo>
                        <a:pt x="141" y="243"/>
                      </a:lnTo>
                      <a:lnTo>
                        <a:pt x="143" y="243"/>
                      </a:lnTo>
                      <a:lnTo>
                        <a:pt x="143" y="240"/>
                      </a:lnTo>
                      <a:lnTo>
                        <a:pt x="143" y="238"/>
                      </a:lnTo>
                      <a:lnTo>
                        <a:pt x="143" y="238"/>
                      </a:lnTo>
                      <a:lnTo>
                        <a:pt x="139" y="238"/>
                      </a:lnTo>
                      <a:lnTo>
                        <a:pt x="136" y="238"/>
                      </a:lnTo>
                      <a:lnTo>
                        <a:pt x="134" y="238"/>
                      </a:lnTo>
                      <a:lnTo>
                        <a:pt x="131" y="238"/>
                      </a:lnTo>
                      <a:lnTo>
                        <a:pt x="131" y="238"/>
                      </a:lnTo>
                      <a:lnTo>
                        <a:pt x="131" y="235"/>
                      </a:lnTo>
                      <a:lnTo>
                        <a:pt x="133" y="235"/>
                      </a:lnTo>
                      <a:lnTo>
                        <a:pt x="133" y="235"/>
                      </a:lnTo>
                      <a:lnTo>
                        <a:pt x="129" y="235"/>
                      </a:lnTo>
                      <a:lnTo>
                        <a:pt x="129" y="235"/>
                      </a:lnTo>
                      <a:lnTo>
                        <a:pt x="131" y="233"/>
                      </a:lnTo>
                      <a:lnTo>
                        <a:pt x="133" y="235"/>
                      </a:lnTo>
                      <a:lnTo>
                        <a:pt x="136" y="233"/>
                      </a:lnTo>
                      <a:lnTo>
                        <a:pt x="134" y="229"/>
                      </a:lnTo>
                      <a:lnTo>
                        <a:pt x="133" y="229"/>
                      </a:lnTo>
                      <a:lnTo>
                        <a:pt x="134" y="226"/>
                      </a:lnTo>
                      <a:lnTo>
                        <a:pt x="136" y="226"/>
                      </a:lnTo>
                      <a:lnTo>
                        <a:pt x="138" y="226"/>
                      </a:lnTo>
                      <a:lnTo>
                        <a:pt x="139" y="226"/>
                      </a:lnTo>
                      <a:lnTo>
                        <a:pt x="141" y="224"/>
                      </a:lnTo>
                      <a:lnTo>
                        <a:pt x="139" y="224"/>
                      </a:lnTo>
                      <a:lnTo>
                        <a:pt x="141" y="224"/>
                      </a:lnTo>
                      <a:lnTo>
                        <a:pt x="138" y="222"/>
                      </a:lnTo>
                      <a:lnTo>
                        <a:pt x="139" y="221"/>
                      </a:lnTo>
                      <a:lnTo>
                        <a:pt x="141" y="221"/>
                      </a:lnTo>
                      <a:lnTo>
                        <a:pt x="141" y="222"/>
                      </a:lnTo>
                      <a:lnTo>
                        <a:pt x="143" y="221"/>
                      </a:lnTo>
                      <a:lnTo>
                        <a:pt x="143" y="219"/>
                      </a:lnTo>
                      <a:lnTo>
                        <a:pt x="146" y="216"/>
                      </a:lnTo>
                      <a:lnTo>
                        <a:pt x="146" y="210"/>
                      </a:lnTo>
                      <a:lnTo>
                        <a:pt x="146" y="207"/>
                      </a:lnTo>
                      <a:lnTo>
                        <a:pt x="143" y="203"/>
                      </a:lnTo>
                      <a:lnTo>
                        <a:pt x="139" y="198"/>
                      </a:lnTo>
                      <a:lnTo>
                        <a:pt x="131" y="198"/>
                      </a:lnTo>
                      <a:lnTo>
                        <a:pt x="126" y="198"/>
                      </a:lnTo>
                      <a:lnTo>
                        <a:pt x="126" y="203"/>
                      </a:lnTo>
                      <a:lnTo>
                        <a:pt x="126" y="203"/>
                      </a:lnTo>
                      <a:lnTo>
                        <a:pt x="120" y="203"/>
                      </a:lnTo>
                      <a:lnTo>
                        <a:pt x="119" y="202"/>
                      </a:lnTo>
                      <a:lnTo>
                        <a:pt x="126" y="196"/>
                      </a:lnTo>
                      <a:lnTo>
                        <a:pt x="126" y="193"/>
                      </a:lnTo>
                      <a:lnTo>
                        <a:pt x="120" y="188"/>
                      </a:lnTo>
                      <a:lnTo>
                        <a:pt x="119" y="188"/>
                      </a:lnTo>
                      <a:lnTo>
                        <a:pt x="115" y="184"/>
                      </a:lnTo>
                      <a:lnTo>
                        <a:pt x="113" y="181"/>
                      </a:lnTo>
                      <a:lnTo>
                        <a:pt x="112" y="182"/>
                      </a:lnTo>
                      <a:lnTo>
                        <a:pt x="110" y="182"/>
                      </a:lnTo>
                      <a:lnTo>
                        <a:pt x="108" y="181"/>
                      </a:lnTo>
                      <a:lnTo>
                        <a:pt x="106" y="181"/>
                      </a:lnTo>
                      <a:lnTo>
                        <a:pt x="110" y="181"/>
                      </a:lnTo>
                      <a:lnTo>
                        <a:pt x="112" y="181"/>
                      </a:lnTo>
                      <a:lnTo>
                        <a:pt x="113" y="181"/>
                      </a:lnTo>
                      <a:lnTo>
                        <a:pt x="115" y="181"/>
                      </a:lnTo>
                      <a:lnTo>
                        <a:pt x="117" y="182"/>
                      </a:lnTo>
                      <a:lnTo>
                        <a:pt x="119" y="182"/>
                      </a:lnTo>
                      <a:lnTo>
                        <a:pt x="120" y="182"/>
                      </a:lnTo>
                      <a:lnTo>
                        <a:pt x="115" y="179"/>
                      </a:lnTo>
                      <a:lnTo>
                        <a:pt x="113" y="176"/>
                      </a:lnTo>
                      <a:lnTo>
                        <a:pt x="115" y="174"/>
                      </a:lnTo>
                      <a:lnTo>
                        <a:pt x="117" y="174"/>
                      </a:lnTo>
                      <a:lnTo>
                        <a:pt x="113" y="170"/>
                      </a:lnTo>
                      <a:lnTo>
                        <a:pt x="113" y="170"/>
                      </a:lnTo>
                      <a:lnTo>
                        <a:pt x="112" y="170"/>
                      </a:lnTo>
                      <a:lnTo>
                        <a:pt x="108" y="165"/>
                      </a:lnTo>
                      <a:lnTo>
                        <a:pt x="106" y="162"/>
                      </a:lnTo>
                      <a:lnTo>
                        <a:pt x="100" y="162"/>
                      </a:lnTo>
                      <a:lnTo>
                        <a:pt x="100" y="158"/>
                      </a:lnTo>
                      <a:lnTo>
                        <a:pt x="98" y="158"/>
                      </a:lnTo>
                      <a:lnTo>
                        <a:pt x="96" y="151"/>
                      </a:lnTo>
                      <a:lnTo>
                        <a:pt x="94" y="148"/>
                      </a:lnTo>
                      <a:lnTo>
                        <a:pt x="93" y="139"/>
                      </a:lnTo>
                      <a:lnTo>
                        <a:pt x="91" y="137"/>
                      </a:lnTo>
                      <a:lnTo>
                        <a:pt x="89" y="137"/>
                      </a:lnTo>
                      <a:lnTo>
                        <a:pt x="84" y="130"/>
                      </a:lnTo>
                      <a:lnTo>
                        <a:pt x="84" y="130"/>
                      </a:lnTo>
                      <a:lnTo>
                        <a:pt x="80" y="129"/>
                      </a:lnTo>
                      <a:lnTo>
                        <a:pt x="77" y="127"/>
                      </a:lnTo>
                      <a:lnTo>
                        <a:pt x="75" y="127"/>
                      </a:lnTo>
                      <a:lnTo>
                        <a:pt x="72" y="130"/>
                      </a:lnTo>
                      <a:lnTo>
                        <a:pt x="68" y="129"/>
                      </a:lnTo>
                      <a:lnTo>
                        <a:pt x="66" y="129"/>
                      </a:lnTo>
                      <a:lnTo>
                        <a:pt x="63" y="127"/>
                      </a:lnTo>
                      <a:lnTo>
                        <a:pt x="63" y="125"/>
                      </a:lnTo>
                      <a:lnTo>
                        <a:pt x="63" y="127"/>
                      </a:lnTo>
                      <a:lnTo>
                        <a:pt x="68" y="127"/>
                      </a:lnTo>
                      <a:lnTo>
                        <a:pt x="72" y="125"/>
                      </a:lnTo>
                      <a:lnTo>
                        <a:pt x="72" y="123"/>
                      </a:lnTo>
                      <a:lnTo>
                        <a:pt x="75" y="123"/>
                      </a:lnTo>
                      <a:lnTo>
                        <a:pt x="79" y="123"/>
                      </a:lnTo>
                      <a:lnTo>
                        <a:pt x="75" y="120"/>
                      </a:lnTo>
                      <a:lnTo>
                        <a:pt x="75" y="120"/>
                      </a:lnTo>
                      <a:lnTo>
                        <a:pt x="73" y="116"/>
                      </a:lnTo>
                      <a:lnTo>
                        <a:pt x="70" y="120"/>
                      </a:lnTo>
                      <a:lnTo>
                        <a:pt x="68" y="120"/>
                      </a:lnTo>
                      <a:lnTo>
                        <a:pt x="72" y="115"/>
                      </a:lnTo>
                      <a:lnTo>
                        <a:pt x="77" y="116"/>
                      </a:lnTo>
                      <a:lnTo>
                        <a:pt x="79" y="115"/>
                      </a:lnTo>
                      <a:lnTo>
                        <a:pt x="79" y="111"/>
                      </a:lnTo>
                      <a:lnTo>
                        <a:pt x="80" y="111"/>
                      </a:lnTo>
                      <a:lnTo>
                        <a:pt x="84" y="108"/>
                      </a:lnTo>
                      <a:lnTo>
                        <a:pt x="84" y="106"/>
                      </a:lnTo>
                      <a:lnTo>
                        <a:pt x="84" y="104"/>
                      </a:lnTo>
                      <a:lnTo>
                        <a:pt x="84" y="101"/>
                      </a:lnTo>
                      <a:lnTo>
                        <a:pt x="84" y="99"/>
                      </a:lnTo>
                      <a:lnTo>
                        <a:pt x="86" y="96"/>
                      </a:lnTo>
                      <a:lnTo>
                        <a:pt x="89" y="92"/>
                      </a:lnTo>
                      <a:lnTo>
                        <a:pt x="89" y="92"/>
                      </a:lnTo>
                      <a:lnTo>
                        <a:pt x="84" y="87"/>
                      </a:lnTo>
                      <a:lnTo>
                        <a:pt x="84" y="87"/>
                      </a:lnTo>
                      <a:lnTo>
                        <a:pt x="77" y="87"/>
                      </a:lnTo>
                      <a:lnTo>
                        <a:pt x="73" y="87"/>
                      </a:lnTo>
                      <a:lnTo>
                        <a:pt x="72" y="87"/>
                      </a:lnTo>
                      <a:lnTo>
                        <a:pt x="70" y="87"/>
                      </a:lnTo>
                      <a:lnTo>
                        <a:pt x="66" y="87"/>
                      </a:lnTo>
                      <a:lnTo>
                        <a:pt x="66" y="87"/>
                      </a:lnTo>
                      <a:lnTo>
                        <a:pt x="66" y="87"/>
                      </a:lnTo>
                      <a:lnTo>
                        <a:pt x="63" y="89"/>
                      </a:lnTo>
                      <a:lnTo>
                        <a:pt x="61" y="92"/>
                      </a:lnTo>
                      <a:lnTo>
                        <a:pt x="60" y="92"/>
                      </a:lnTo>
                      <a:lnTo>
                        <a:pt x="58" y="92"/>
                      </a:lnTo>
                      <a:lnTo>
                        <a:pt x="58" y="92"/>
                      </a:lnTo>
                      <a:lnTo>
                        <a:pt x="60" y="87"/>
                      </a:lnTo>
                      <a:lnTo>
                        <a:pt x="63" y="83"/>
                      </a:lnTo>
                      <a:lnTo>
                        <a:pt x="61" y="83"/>
                      </a:lnTo>
                      <a:lnTo>
                        <a:pt x="58" y="83"/>
                      </a:lnTo>
                      <a:lnTo>
                        <a:pt x="60" y="83"/>
                      </a:lnTo>
                      <a:lnTo>
                        <a:pt x="60" y="82"/>
                      </a:lnTo>
                      <a:lnTo>
                        <a:pt x="66" y="76"/>
                      </a:lnTo>
                      <a:lnTo>
                        <a:pt x="68" y="73"/>
                      </a:lnTo>
                      <a:lnTo>
                        <a:pt x="70" y="73"/>
                      </a:lnTo>
                      <a:lnTo>
                        <a:pt x="72" y="69"/>
                      </a:lnTo>
                      <a:lnTo>
                        <a:pt x="70" y="68"/>
                      </a:lnTo>
                      <a:lnTo>
                        <a:pt x="72" y="66"/>
                      </a:lnTo>
                      <a:lnTo>
                        <a:pt x="72" y="64"/>
                      </a:lnTo>
                      <a:lnTo>
                        <a:pt x="68" y="64"/>
                      </a:lnTo>
                      <a:lnTo>
                        <a:pt x="66" y="66"/>
                      </a:lnTo>
                      <a:lnTo>
                        <a:pt x="63" y="64"/>
                      </a:lnTo>
                      <a:lnTo>
                        <a:pt x="61" y="66"/>
                      </a:lnTo>
                      <a:lnTo>
                        <a:pt x="60" y="66"/>
                      </a:lnTo>
                      <a:lnTo>
                        <a:pt x="56" y="68"/>
                      </a:lnTo>
                      <a:lnTo>
                        <a:pt x="54" y="68"/>
                      </a:lnTo>
                      <a:lnTo>
                        <a:pt x="53" y="69"/>
                      </a:lnTo>
                      <a:lnTo>
                        <a:pt x="53" y="68"/>
                      </a:lnTo>
                      <a:lnTo>
                        <a:pt x="53" y="66"/>
                      </a:lnTo>
                      <a:lnTo>
                        <a:pt x="49" y="69"/>
                      </a:lnTo>
                      <a:lnTo>
                        <a:pt x="49" y="66"/>
                      </a:lnTo>
                      <a:lnTo>
                        <a:pt x="46" y="64"/>
                      </a:lnTo>
                      <a:lnTo>
                        <a:pt x="46" y="68"/>
                      </a:lnTo>
                      <a:lnTo>
                        <a:pt x="44" y="68"/>
                      </a:lnTo>
                      <a:lnTo>
                        <a:pt x="44" y="71"/>
                      </a:lnTo>
                      <a:lnTo>
                        <a:pt x="44" y="71"/>
                      </a:lnTo>
                      <a:lnTo>
                        <a:pt x="44" y="73"/>
                      </a:lnTo>
                      <a:lnTo>
                        <a:pt x="40" y="75"/>
                      </a:lnTo>
                      <a:lnTo>
                        <a:pt x="44" y="76"/>
                      </a:lnTo>
                      <a:lnTo>
                        <a:pt x="40" y="80"/>
                      </a:lnTo>
                      <a:lnTo>
                        <a:pt x="40" y="80"/>
                      </a:lnTo>
                      <a:lnTo>
                        <a:pt x="44" y="82"/>
                      </a:lnTo>
                      <a:lnTo>
                        <a:pt x="44" y="83"/>
                      </a:lnTo>
                      <a:lnTo>
                        <a:pt x="40" y="83"/>
                      </a:lnTo>
                      <a:lnTo>
                        <a:pt x="40" y="83"/>
                      </a:lnTo>
                      <a:lnTo>
                        <a:pt x="39" y="82"/>
                      </a:lnTo>
                      <a:lnTo>
                        <a:pt x="39" y="83"/>
                      </a:lnTo>
                      <a:lnTo>
                        <a:pt x="39" y="83"/>
                      </a:lnTo>
                      <a:lnTo>
                        <a:pt x="39" y="87"/>
                      </a:lnTo>
                      <a:lnTo>
                        <a:pt x="37" y="83"/>
                      </a:lnTo>
                      <a:lnTo>
                        <a:pt x="35" y="87"/>
                      </a:lnTo>
                      <a:lnTo>
                        <a:pt x="37" y="87"/>
                      </a:lnTo>
                      <a:lnTo>
                        <a:pt x="35" y="89"/>
                      </a:lnTo>
                      <a:lnTo>
                        <a:pt x="37" y="92"/>
                      </a:lnTo>
                      <a:lnTo>
                        <a:pt x="40" y="92"/>
                      </a:lnTo>
                      <a:lnTo>
                        <a:pt x="37" y="92"/>
                      </a:lnTo>
                      <a:lnTo>
                        <a:pt x="35" y="92"/>
                      </a:lnTo>
                      <a:lnTo>
                        <a:pt x="35" y="94"/>
                      </a:lnTo>
                      <a:lnTo>
                        <a:pt x="35" y="96"/>
                      </a:lnTo>
                      <a:lnTo>
                        <a:pt x="40" y="94"/>
                      </a:lnTo>
                      <a:lnTo>
                        <a:pt x="37" y="96"/>
                      </a:lnTo>
                      <a:lnTo>
                        <a:pt x="37" y="97"/>
                      </a:lnTo>
                      <a:lnTo>
                        <a:pt x="37" y="97"/>
                      </a:lnTo>
                      <a:lnTo>
                        <a:pt x="40" y="96"/>
                      </a:lnTo>
                      <a:lnTo>
                        <a:pt x="40" y="97"/>
                      </a:lnTo>
                      <a:lnTo>
                        <a:pt x="40" y="99"/>
                      </a:lnTo>
                      <a:lnTo>
                        <a:pt x="39" y="97"/>
                      </a:lnTo>
                      <a:lnTo>
                        <a:pt x="39" y="97"/>
                      </a:lnTo>
                      <a:lnTo>
                        <a:pt x="37" y="101"/>
                      </a:lnTo>
                      <a:lnTo>
                        <a:pt x="39" y="101"/>
                      </a:lnTo>
                      <a:lnTo>
                        <a:pt x="37" y="101"/>
                      </a:lnTo>
                      <a:lnTo>
                        <a:pt x="35" y="102"/>
                      </a:lnTo>
                      <a:lnTo>
                        <a:pt x="37" y="104"/>
                      </a:lnTo>
                      <a:lnTo>
                        <a:pt x="39" y="104"/>
                      </a:lnTo>
                      <a:lnTo>
                        <a:pt x="35" y="104"/>
                      </a:lnTo>
                      <a:lnTo>
                        <a:pt x="33" y="106"/>
                      </a:lnTo>
                      <a:lnTo>
                        <a:pt x="35" y="108"/>
                      </a:lnTo>
                      <a:lnTo>
                        <a:pt x="35" y="108"/>
                      </a:lnTo>
                      <a:lnTo>
                        <a:pt x="33" y="109"/>
                      </a:lnTo>
                      <a:lnTo>
                        <a:pt x="30" y="109"/>
                      </a:lnTo>
                      <a:lnTo>
                        <a:pt x="28" y="111"/>
                      </a:lnTo>
                      <a:lnTo>
                        <a:pt x="30" y="111"/>
                      </a:lnTo>
                      <a:lnTo>
                        <a:pt x="33" y="111"/>
                      </a:lnTo>
                      <a:lnTo>
                        <a:pt x="35" y="111"/>
                      </a:lnTo>
                      <a:lnTo>
                        <a:pt x="33" y="111"/>
                      </a:lnTo>
                      <a:lnTo>
                        <a:pt x="32" y="111"/>
                      </a:lnTo>
                      <a:lnTo>
                        <a:pt x="35" y="115"/>
                      </a:lnTo>
                      <a:lnTo>
                        <a:pt x="35" y="115"/>
                      </a:lnTo>
                      <a:lnTo>
                        <a:pt x="37" y="115"/>
                      </a:lnTo>
                      <a:lnTo>
                        <a:pt x="44" y="109"/>
                      </a:lnTo>
                      <a:lnTo>
                        <a:pt x="44" y="111"/>
                      </a:lnTo>
                      <a:lnTo>
                        <a:pt x="44" y="111"/>
                      </a:lnTo>
                      <a:lnTo>
                        <a:pt x="40" y="111"/>
                      </a:lnTo>
                      <a:lnTo>
                        <a:pt x="40" y="115"/>
                      </a:lnTo>
                      <a:lnTo>
                        <a:pt x="40" y="116"/>
                      </a:lnTo>
                      <a:lnTo>
                        <a:pt x="39" y="123"/>
                      </a:lnTo>
                      <a:lnTo>
                        <a:pt x="39" y="123"/>
                      </a:lnTo>
                      <a:lnTo>
                        <a:pt x="37" y="127"/>
                      </a:lnTo>
                      <a:lnTo>
                        <a:pt x="39" y="130"/>
                      </a:lnTo>
                      <a:lnTo>
                        <a:pt x="37" y="132"/>
                      </a:lnTo>
                      <a:lnTo>
                        <a:pt x="37" y="134"/>
                      </a:lnTo>
                      <a:lnTo>
                        <a:pt x="39" y="134"/>
                      </a:lnTo>
                      <a:lnTo>
                        <a:pt x="37" y="137"/>
                      </a:lnTo>
                      <a:lnTo>
                        <a:pt x="37" y="142"/>
                      </a:lnTo>
                      <a:lnTo>
                        <a:pt x="35" y="142"/>
                      </a:lnTo>
                      <a:lnTo>
                        <a:pt x="35" y="142"/>
                      </a:lnTo>
                      <a:lnTo>
                        <a:pt x="39" y="142"/>
                      </a:lnTo>
                      <a:lnTo>
                        <a:pt x="37" y="142"/>
                      </a:lnTo>
                      <a:lnTo>
                        <a:pt x="39" y="139"/>
                      </a:lnTo>
                      <a:lnTo>
                        <a:pt x="39" y="136"/>
                      </a:lnTo>
                      <a:lnTo>
                        <a:pt x="40" y="134"/>
                      </a:lnTo>
                      <a:lnTo>
                        <a:pt x="40" y="127"/>
                      </a:lnTo>
                      <a:lnTo>
                        <a:pt x="40" y="127"/>
                      </a:lnTo>
                      <a:lnTo>
                        <a:pt x="44" y="123"/>
                      </a:lnTo>
                      <a:lnTo>
                        <a:pt x="40" y="127"/>
                      </a:lnTo>
                      <a:lnTo>
                        <a:pt x="40" y="130"/>
                      </a:lnTo>
                      <a:lnTo>
                        <a:pt x="44" y="132"/>
                      </a:lnTo>
                      <a:lnTo>
                        <a:pt x="44" y="129"/>
                      </a:lnTo>
                      <a:lnTo>
                        <a:pt x="44" y="127"/>
                      </a:lnTo>
                      <a:lnTo>
                        <a:pt x="46" y="130"/>
                      </a:lnTo>
                      <a:lnTo>
                        <a:pt x="47" y="127"/>
                      </a:lnTo>
                      <a:lnTo>
                        <a:pt x="47" y="123"/>
                      </a:lnTo>
                      <a:lnTo>
                        <a:pt x="47" y="123"/>
                      </a:lnTo>
                      <a:lnTo>
                        <a:pt x="47" y="127"/>
                      </a:lnTo>
                      <a:lnTo>
                        <a:pt x="51" y="130"/>
                      </a:lnTo>
                      <a:lnTo>
                        <a:pt x="47" y="129"/>
                      </a:lnTo>
                      <a:lnTo>
                        <a:pt x="47" y="134"/>
                      </a:lnTo>
                      <a:lnTo>
                        <a:pt x="47" y="137"/>
                      </a:lnTo>
                      <a:lnTo>
                        <a:pt x="49" y="137"/>
                      </a:lnTo>
                      <a:lnTo>
                        <a:pt x="51" y="139"/>
                      </a:lnTo>
                      <a:lnTo>
                        <a:pt x="47" y="142"/>
                      </a:lnTo>
                      <a:lnTo>
                        <a:pt x="46" y="151"/>
                      </a:lnTo>
                      <a:lnTo>
                        <a:pt x="46" y="153"/>
                      </a:lnTo>
                      <a:lnTo>
                        <a:pt x="44" y="151"/>
                      </a:lnTo>
                      <a:lnTo>
                        <a:pt x="44" y="156"/>
                      </a:lnTo>
                      <a:lnTo>
                        <a:pt x="47" y="160"/>
                      </a:lnTo>
                      <a:lnTo>
                        <a:pt x="46" y="156"/>
                      </a:lnTo>
                      <a:lnTo>
                        <a:pt x="47" y="155"/>
                      </a:lnTo>
                      <a:lnTo>
                        <a:pt x="54" y="160"/>
                      </a:lnTo>
                      <a:lnTo>
                        <a:pt x="54" y="156"/>
                      </a:lnTo>
                      <a:lnTo>
                        <a:pt x="53" y="155"/>
                      </a:lnTo>
                      <a:lnTo>
                        <a:pt x="54" y="153"/>
                      </a:lnTo>
                      <a:lnTo>
                        <a:pt x="58" y="156"/>
                      </a:lnTo>
                      <a:lnTo>
                        <a:pt x="63" y="156"/>
                      </a:lnTo>
                      <a:lnTo>
                        <a:pt x="63" y="155"/>
                      </a:lnTo>
                      <a:lnTo>
                        <a:pt x="63" y="155"/>
                      </a:lnTo>
                      <a:lnTo>
                        <a:pt x="66" y="151"/>
                      </a:lnTo>
                      <a:lnTo>
                        <a:pt x="73" y="153"/>
                      </a:lnTo>
                      <a:lnTo>
                        <a:pt x="68" y="153"/>
                      </a:lnTo>
                      <a:lnTo>
                        <a:pt x="66" y="163"/>
                      </a:lnTo>
                      <a:lnTo>
                        <a:pt x="68" y="170"/>
                      </a:lnTo>
                      <a:lnTo>
                        <a:pt x="70" y="170"/>
                      </a:lnTo>
                      <a:lnTo>
                        <a:pt x="70" y="176"/>
                      </a:lnTo>
                      <a:lnTo>
                        <a:pt x="73" y="170"/>
                      </a:lnTo>
                      <a:lnTo>
                        <a:pt x="77" y="170"/>
                      </a:lnTo>
                      <a:lnTo>
                        <a:pt x="75" y="176"/>
                      </a:lnTo>
                      <a:lnTo>
                        <a:pt x="77" y="176"/>
                      </a:lnTo>
                      <a:lnTo>
                        <a:pt x="73" y="179"/>
                      </a:lnTo>
                      <a:lnTo>
                        <a:pt x="75" y="182"/>
                      </a:lnTo>
                      <a:lnTo>
                        <a:pt x="73" y="188"/>
                      </a:lnTo>
                      <a:lnTo>
                        <a:pt x="75" y="189"/>
                      </a:lnTo>
                      <a:lnTo>
                        <a:pt x="77" y="191"/>
                      </a:lnTo>
                      <a:lnTo>
                        <a:pt x="80" y="191"/>
                      </a:lnTo>
                      <a:lnTo>
                        <a:pt x="79" y="193"/>
                      </a:lnTo>
                      <a:lnTo>
                        <a:pt x="75" y="193"/>
                      </a:lnTo>
                      <a:lnTo>
                        <a:pt x="73" y="189"/>
                      </a:lnTo>
                      <a:lnTo>
                        <a:pt x="72" y="191"/>
                      </a:lnTo>
                      <a:lnTo>
                        <a:pt x="73" y="195"/>
                      </a:lnTo>
                      <a:lnTo>
                        <a:pt x="75" y="195"/>
                      </a:lnTo>
                      <a:lnTo>
                        <a:pt x="72" y="195"/>
                      </a:lnTo>
                      <a:lnTo>
                        <a:pt x="70" y="193"/>
                      </a:lnTo>
                      <a:lnTo>
                        <a:pt x="66" y="195"/>
                      </a:lnTo>
                      <a:lnTo>
                        <a:pt x="63" y="193"/>
                      </a:lnTo>
                      <a:lnTo>
                        <a:pt x="58" y="196"/>
                      </a:lnTo>
                      <a:lnTo>
                        <a:pt x="54" y="202"/>
                      </a:lnTo>
                      <a:lnTo>
                        <a:pt x="51" y="203"/>
                      </a:lnTo>
                      <a:lnTo>
                        <a:pt x="47" y="207"/>
                      </a:lnTo>
                      <a:lnTo>
                        <a:pt x="51" y="203"/>
                      </a:lnTo>
                      <a:lnTo>
                        <a:pt x="53" y="207"/>
                      </a:lnTo>
                      <a:lnTo>
                        <a:pt x="53" y="203"/>
                      </a:lnTo>
                      <a:lnTo>
                        <a:pt x="60" y="203"/>
                      </a:lnTo>
                      <a:lnTo>
                        <a:pt x="58" y="207"/>
                      </a:lnTo>
                      <a:lnTo>
                        <a:pt x="61" y="207"/>
                      </a:lnTo>
                      <a:lnTo>
                        <a:pt x="58" y="210"/>
                      </a:lnTo>
                      <a:lnTo>
                        <a:pt x="60" y="210"/>
                      </a:lnTo>
                      <a:lnTo>
                        <a:pt x="61" y="212"/>
                      </a:lnTo>
                      <a:lnTo>
                        <a:pt x="56" y="219"/>
                      </a:lnTo>
                      <a:lnTo>
                        <a:pt x="54" y="219"/>
                      </a:lnTo>
                      <a:lnTo>
                        <a:pt x="51" y="222"/>
                      </a:lnTo>
                      <a:lnTo>
                        <a:pt x="49" y="222"/>
                      </a:lnTo>
                      <a:lnTo>
                        <a:pt x="46" y="224"/>
                      </a:lnTo>
                      <a:lnTo>
                        <a:pt x="44" y="224"/>
                      </a:lnTo>
                      <a:lnTo>
                        <a:pt x="40" y="226"/>
                      </a:lnTo>
                      <a:lnTo>
                        <a:pt x="44" y="226"/>
                      </a:lnTo>
                      <a:lnTo>
                        <a:pt x="44" y="229"/>
                      </a:lnTo>
                      <a:lnTo>
                        <a:pt x="40" y="231"/>
                      </a:lnTo>
                      <a:lnTo>
                        <a:pt x="44" y="233"/>
                      </a:lnTo>
                      <a:lnTo>
                        <a:pt x="44" y="233"/>
                      </a:lnTo>
                      <a:lnTo>
                        <a:pt x="46" y="235"/>
                      </a:lnTo>
                      <a:lnTo>
                        <a:pt x="47" y="233"/>
                      </a:lnTo>
                      <a:lnTo>
                        <a:pt x="51" y="231"/>
                      </a:lnTo>
                      <a:lnTo>
                        <a:pt x="56" y="229"/>
                      </a:lnTo>
                      <a:lnTo>
                        <a:pt x="56" y="233"/>
                      </a:lnTo>
                      <a:lnTo>
                        <a:pt x="60" y="233"/>
                      </a:lnTo>
                      <a:lnTo>
                        <a:pt x="56" y="235"/>
                      </a:lnTo>
                      <a:lnTo>
                        <a:pt x="56" y="235"/>
                      </a:lnTo>
                      <a:lnTo>
                        <a:pt x="61" y="235"/>
                      </a:lnTo>
                      <a:lnTo>
                        <a:pt x="61" y="235"/>
                      </a:lnTo>
                      <a:lnTo>
                        <a:pt x="63" y="235"/>
                      </a:lnTo>
                      <a:lnTo>
                        <a:pt x="66" y="235"/>
                      </a:lnTo>
                      <a:lnTo>
                        <a:pt x="66" y="238"/>
                      </a:lnTo>
                      <a:lnTo>
                        <a:pt x="73" y="238"/>
                      </a:lnTo>
                      <a:lnTo>
                        <a:pt x="73" y="238"/>
                      </a:lnTo>
                      <a:lnTo>
                        <a:pt x="77" y="235"/>
                      </a:lnTo>
                      <a:lnTo>
                        <a:pt x="80" y="235"/>
                      </a:lnTo>
                      <a:lnTo>
                        <a:pt x="80" y="233"/>
                      </a:lnTo>
                      <a:lnTo>
                        <a:pt x="84" y="231"/>
                      </a:lnTo>
                      <a:lnTo>
                        <a:pt x="80" y="235"/>
                      </a:lnTo>
                      <a:lnTo>
                        <a:pt x="77" y="238"/>
                      </a:lnTo>
                      <a:lnTo>
                        <a:pt x="77" y="243"/>
                      </a:lnTo>
                      <a:lnTo>
                        <a:pt x="73" y="243"/>
                      </a:lnTo>
                      <a:lnTo>
                        <a:pt x="72" y="245"/>
                      </a:lnTo>
                      <a:lnTo>
                        <a:pt x="68" y="243"/>
                      </a:lnTo>
                      <a:lnTo>
                        <a:pt x="63" y="243"/>
                      </a:lnTo>
                      <a:lnTo>
                        <a:pt x="58" y="243"/>
                      </a:lnTo>
                      <a:lnTo>
                        <a:pt x="58" y="247"/>
                      </a:lnTo>
                      <a:lnTo>
                        <a:pt x="54" y="249"/>
                      </a:lnTo>
                      <a:lnTo>
                        <a:pt x="53" y="249"/>
                      </a:lnTo>
                      <a:lnTo>
                        <a:pt x="51" y="256"/>
                      </a:lnTo>
                      <a:lnTo>
                        <a:pt x="49" y="257"/>
                      </a:lnTo>
                      <a:lnTo>
                        <a:pt x="47" y="259"/>
                      </a:lnTo>
                      <a:lnTo>
                        <a:pt x="44" y="261"/>
                      </a:lnTo>
                      <a:lnTo>
                        <a:pt x="44" y="262"/>
                      </a:lnTo>
                      <a:lnTo>
                        <a:pt x="44" y="262"/>
                      </a:lnTo>
                      <a:lnTo>
                        <a:pt x="40" y="266"/>
                      </a:lnTo>
                      <a:lnTo>
                        <a:pt x="39" y="266"/>
                      </a:lnTo>
                      <a:lnTo>
                        <a:pt x="37" y="266"/>
                      </a:lnTo>
                      <a:lnTo>
                        <a:pt x="33" y="268"/>
                      </a:lnTo>
                      <a:lnTo>
                        <a:pt x="33" y="271"/>
                      </a:lnTo>
                      <a:lnTo>
                        <a:pt x="37" y="271"/>
                      </a:lnTo>
                      <a:lnTo>
                        <a:pt x="37" y="271"/>
                      </a:lnTo>
                      <a:lnTo>
                        <a:pt x="40" y="271"/>
                      </a:lnTo>
                      <a:lnTo>
                        <a:pt x="40" y="275"/>
                      </a:lnTo>
                      <a:lnTo>
                        <a:pt x="40" y="275"/>
                      </a:lnTo>
                      <a:lnTo>
                        <a:pt x="40" y="275"/>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2" name="Freeform 25"/>
                <p:cNvSpPr>
                  <a:spLocks noEditPoints="1"/>
                </p:cNvSpPr>
                <p:nvPr/>
              </p:nvSpPr>
              <p:spPr bwMode="auto">
                <a:xfrm>
                  <a:off x="4338638" y="2740026"/>
                  <a:ext cx="355600" cy="325438"/>
                </a:xfrm>
                <a:custGeom>
                  <a:avLst/>
                  <a:gdLst/>
                  <a:ahLst/>
                  <a:cxnLst>
                    <a:cxn ang="0">
                      <a:pos x="176" y="101"/>
                    </a:cxn>
                    <a:cxn ang="0">
                      <a:pos x="162" y="106"/>
                    </a:cxn>
                    <a:cxn ang="0">
                      <a:pos x="167" y="96"/>
                    </a:cxn>
                    <a:cxn ang="0">
                      <a:pos x="179" y="78"/>
                    </a:cxn>
                    <a:cxn ang="0">
                      <a:pos x="188" y="77"/>
                    </a:cxn>
                    <a:cxn ang="0">
                      <a:pos x="188" y="57"/>
                    </a:cxn>
                    <a:cxn ang="0">
                      <a:pos x="193" y="42"/>
                    </a:cxn>
                    <a:cxn ang="0">
                      <a:pos x="179" y="40"/>
                    </a:cxn>
                    <a:cxn ang="0">
                      <a:pos x="167" y="35"/>
                    </a:cxn>
                    <a:cxn ang="0">
                      <a:pos x="151" y="31"/>
                    </a:cxn>
                    <a:cxn ang="0">
                      <a:pos x="139" y="23"/>
                    </a:cxn>
                    <a:cxn ang="0">
                      <a:pos x="129" y="16"/>
                    </a:cxn>
                    <a:cxn ang="0">
                      <a:pos x="118" y="2"/>
                    </a:cxn>
                    <a:cxn ang="0">
                      <a:pos x="101" y="5"/>
                    </a:cxn>
                    <a:cxn ang="0">
                      <a:pos x="96" y="24"/>
                    </a:cxn>
                    <a:cxn ang="0">
                      <a:pos x="77" y="31"/>
                    </a:cxn>
                    <a:cxn ang="0">
                      <a:pos x="64" y="38"/>
                    </a:cxn>
                    <a:cxn ang="0">
                      <a:pos x="56" y="31"/>
                    </a:cxn>
                    <a:cxn ang="0">
                      <a:pos x="47" y="35"/>
                    </a:cxn>
                    <a:cxn ang="0">
                      <a:pos x="51" y="47"/>
                    </a:cxn>
                    <a:cxn ang="0">
                      <a:pos x="42" y="52"/>
                    </a:cxn>
                    <a:cxn ang="0">
                      <a:pos x="24" y="47"/>
                    </a:cxn>
                    <a:cxn ang="0">
                      <a:pos x="14" y="52"/>
                    </a:cxn>
                    <a:cxn ang="0">
                      <a:pos x="2" y="57"/>
                    </a:cxn>
                    <a:cxn ang="0">
                      <a:pos x="2" y="61"/>
                    </a:cxn>
                    <a:cxn ang="0">
                      <a:pos x="5" y="64"/>
                    </a:cxn>
                    <a:cxn ang="0">
                      <a:pos x="9" y="71"/>
                    </a:cxn>
                    <a:cxn ang="0">
                      <a:pos x="23" y="75"/>
                    </a:cxn>
                    <a:cxn ang="0">
                      <a:pos x="31" y="77"/>
                    </a:cxn>
                    <a:cxn ang="0">
                      <a:pos x="37" y="84"/>
                    </a:cxn>
                    <a:cxn ang="0">
                      <a:pos x="45" y="84"/>
                    </a:cxn>
                    <a:cxn ang="0">
                      <a:pos x="42" y="92"/>
                    </a:cxn>
                    <a:cxn ang="0">
                      <a:pos x="56" y="103"/>
                    </a:cxn>
                    <a:cxn ang="0">
                      <a:pos x="56" y="115"/>
                    </a:cxn>
                    <a:cxn ang="0">
                      <a:pos x="61" y="122"/>
                    </a:cxn>
                    <a:cxn ang="0">
                      <a:pos x="59" y="137"/>
                    </a:cxn>
                    <a:cxn ang="0">
                      <a:pos x="52" y="164"/>
                    </a:cxn>
                    <a:cxn ang="0">
                      <a:pos x="59" y="172"/>
                    </a:cxn>
                    <a:cxn ang="0">
                      <a:pos x="82" y="179"/>
                    </a:cxn>
                    <a:cxn ang="0">
                      <a:pos x="101" y="179"/>
                    </a:cxn>
                    <a:cxn ang="0">
                      <a:pos x="123" y="183"/>
                    </a:cxn>
                    <a:cxn ang="0">
                      <a:pos x="132" y="160"/>
                    </a:cxn>
                    <a:cxn ang="0">
                      <a:pos x="148" y="164"/>
                    </a:cxn>
                    <a:cxn ang="0">
                      <a:pos x="174" y="170"/>
                    </a:cxn>
                    <a:cxn ang="0">
                      <a:pos x="190" y="157"/>
                    </a:cxn>
                    <a:cxn ang="0">
                      <a:pos x="179" y="134"/>
                    </a:cxn>
                    <a:cxn ang="0">
                      <a:pos x="179" y="117"/>
                    </a:cxn>
                    <a:cxn ang="0">
                      <a:pos x="183" y="111"/>
                    </a:cxn>
                    <a:cxn ang="0">
                      <a:pos x="212" y="200"/>
                    </a:cxn>
                    <a:cxn ang="0">
                      <a:pos x="210" y="195"/>
                    </a:cxn>
                    <a:cxn ang="0">
                      <a:pos x="207" y="186"/>
                    </a:cxn>
                    <a:cxn ang="0">
                      <a:pos x="216" y="179"/>
                    </a:cxn>
                    <a:cxn ang="0">
                      <a:pos x="219" y="172"/>
                    </a:cxn>
                    <a:cxn ang="0">
                      <a:pos x="224" y="186"/>
                    </a:cxn>
                    <a:cxn ang="0">
                      <a:pos x="217" y="205"/>
                    </a:cxn>
                  </a:cxnLst>
                  <a:rect l="0" t="0" r="r" b="b"/>
                  <a:pathLst>
                    <a:path w="224" h="205">
                      <a:moveTo>
                        <a:pt x="183" y="111"/>
                      </a:moveTo>
                      <a:lnTo>
                        <a:pt x="183" y="108"/>
                      </a:lnTo>
                      <a:lnTo>
                        <a:pt x="179" y="106"/>
                      </a:lnTo>
                      <a:lnTo>
                        <a:pt x="179" y="103"/>
                      </a:lnTo>
                      <a:lnTo>
                        <a:pt x="176" y="101"/>
                      </a:lnTo>
                      <a:lnTo>
                        <a:pt x="170" y="99"/>
                      </a:lnTo>
                      <a:lnTo>
                        <a:pt x="169" y="103"/>
                      </a:lnTo>
                      <a:lnTo>
                        <a:pt x="170" y="106"/>
                      </a:lnTo>
                      <a:lnTo>
                        <a:pt x="165" y="106"/>
                      </a:lnTo>
                      <a:lnTo>
                        <a:pt x="162" y="106"/>
                      </a:lnTo>
                      <a:lnTo>
                        <a:pt x="162" y="103"/>
                      </a:lnTo>
                      <a:lnTo>
                        <a:pt x="163" y="103"/>
                      </a:lnTo>
                      <a:lnTo>
                        <a:pt x="165" y="103"/>
                      </a:lnTo>
                      <a:lnTo>
                        <a:pt x="165" y="101"/>
                      </a:lnTo>
                      <a:lnTo>
                        <a:pt x="167" y="96"/>
                      </a:lnTo>
                      <a:lnTo>
                        <a:pt x="172" y="89"/>
                      </a:lnTo>
                      <a:lnTo>
                        <a:pt x="174" y="89"/>
                      </a:lnTo>
                      <a:lnTo>
                        <a:pt x="176" y="84"/>
                      </a:lnTo>
                      <a:lnTo>
                        <a:pt x="179" y="80"/>
                      </a:lnTo>
                      <a:lnTo>
                        <a:pt x="179" y="78"/>
                      </a:lnTo>
                      <a:lnTo>
                        <a:pt x="176" y="77"/>
                      </a:lnTo>
                      <a:lnTo>
                        <a:pt x="179" y="75"/>
                      </a:lnTo>
                      <a:lnTo>
                        <a:pt x="183" y="73"/>
                      </a:lnTo>
                      <a:lnTo>
                        <a:pt x="184" y="77"/>
                      </a:lnTo>
                      <a:lnTo>
                        <a:pt x="188" y="77"/>
                      </a:lnTo>
                      <a:lnTo>
                        <a:pt x="191" y="75"/>
                      </a:lnTo>
                      <a:lnTo>
                        <a:pt x="190" y="71"/>
                      </a:lnTo>
                      <a:lnTo>
                        <a:pt x="188" y="70"/>
                      </a:lnTo>
                      <a:lnTo>
                        <a:pt x="188" y="64"/>
                      </a:lnTo>
                      <a:lnTo>
                        <a:pt x="188" y="57"/>
                      </a:lnTo>
                      <a:lnTo>
                        <a:pt x="191" y="57"/>
                      </a:lnTo>
                      <a:lnTo>
                        <a:pt x="191" y="54"/>
                      </a:lnTo>
                      <a:lnTo>
                        <a:pt x="193" y="49"/>
                      </a:lnTo>
                      <a:lnTo>
                        <a:pt x="196" y="45"/>
                      </a:lnTo>
                      <a:lnTo>
                        <a:pt x="193" y="42"/>
                      </a:lnTo>
                      <a:lnTo>
                        <a:pt x="190" y="42"/>
                      </a:lnTo>
                      <a:lnTo>
                        <a:pt x="188" y="40"/>
                      </a:lnTo>
                      <a:lnTo>
                        <a:pt x="184" y="42"/>
                      </a:lnTo>
                      <a:lnTo>
                        <a:pt x="179" y="40"/>
                      </a:lnTo>
                      <a:lnTo>
                        <a:pt x="179" y="40"/>
                      </a:lnTo>
                      <a:lnTo>
                        <a:pt x="176" y="42"/>
                      </a:lnTo>
                      <a:lnTo>
                        <a:pt x="172" y="38"/>
                      </a:lnTo>
                      <a:lnTo>
                        <a:pt x="172" y="38"/>
                      </a:lnTo>
                      <a:lnTo>
                        <a:pt x="169" y="35"/>
                      </a:lnTo>
                      <a:lnTo>
                        <a:pt x="167" y="35"/>
                      </a:lnTo>
                      <a:lnTo>
                        <a:pt x="162" y="35"/>
                      </a:lnTo>
                      <a:lnTo>
                        <a:pt x="160" y="31"/>
                      </a:lnTo>
                      <a:lnTo>
                        <a:pt x="157" y="31"/>
                      </a:lnTo>
                      <a:lnTo>
                        <a:pt x="157" y="33"/>
                      </a:lnTo>
                      <a:lnTo>
                        <a:pt x="151" y="31"/>
                      </a:lnTo>
                      <a:lnTo>
                        <a:pt x="148" y="31"/>
                      </a:lnTo>
                      <a:lnTo>
                        <a:pt x="146" y="26"/>
                      </a:lnTo>
                      <a:lnTo>
                        <a:pt x="143" y="24"/>
                      </a:lnTo>
                      <a:lnTo>
                        <a:pt x="143" y="23"/>
                      </a:lnTo>
                      <a:lnTo>
                        <a:pt x="139" y="23"/>
                      </a:lnTo>
                      <a:lnTo>
                        <a:pt x="137" y="24"/>
                      </a:lnTo>
                      <a:lnTo>
                        <a:pt x="134" y="23"/>
                      </a:lnTo>
                      <a:lnTo>
                        <a:pt x="134" y="17"/>
                      </a:lnTo>
                      <a:lnTo>
                        <a:pt x="130" y="16"/>
                      </a:lnTo>
                      <a:lnTo>
                        <a:pt x="129" y="16"/>
                      </a:lnTo>
                      <a:lnTo>
                        <a:pt x="127" y="16"/>
                      </a:lnTo>
                      <a:lnTo>
                        <a:pt x="123" y="12"/>
                      </a:lnTo>
                      <a:lnTo>
                        <a:pt x="120" y="9"/>
                      </a:lnTo>
                      <a:lnTo>
                        <a:pt x="118" y="7"/>
                      </a:lnTo>
                      <a:lnTo>
                        <a:pt x="118" y="2"/>
                      </a:lnTo>
                      <a:lnTo>
                        <a:pt x="115" y="0"/>
                      </a:lnTo>
                      <a:lnTo>
                        <a:pt x="115" y="0"/>
                      </a:lnTo>
                      <a:lnTo>
                        <a:pt x="108" y="4"/>
                      </a:lnTo>
                      <a:lnTo>
                        <a:pt x="106" y="2"/>
                      </a:lnTo>
                      <a:lnTo>
                        <a:pt x="101" y="5"/>
                      </a:lnTo>
                      <a:lnTo>
                        <a:pt x="101" y="9"/>
                      </a:lnTo>
                      <a:lnTo>
                        <a:pt x="101" y="12"/>
                      </a:lnTo>
                      <a:lnTo>
                        <a:pt x="101" y="17"/>
                      </a:lnTo>
                      <a:lnTo>
                        <a:pt x="96" y="23"/>
                      </a:lnTo>
                      <a:lnTo>
                        <a:pt x="96" y="24"/>
                      </a:lnTo>
                      <a:lnTo>
                        <a:pt x="89" y="26"/>
                      </a:lnTo>
                      <a:lnTo>
                        <a:pt x="89" y="26"/>
                      </a:lnTo>
                      <a:lnTo>
                        <a:pt x="84" y="26"/>
                      </a:lnTo>
                      <a:lnTo>
                        <a:pt x="78" y="30"/>
                      </a:lnTo>
                      <a:lnTo>
                        <a:pt x="77" y="31"/>
                      </a:lnTo>
                      <a:lnTo>
                        <a:pt x="77" y="35"/>
                      </a:lnTo>
                      <a:lnTo>
                        <a:pt x="80" y="35"/>
                      </a:lnTo>
                      <a:lnTo>
                        <a:pt x="77" y="38"/>
                      </a:lnTo>
                      <a:lnTo>
                        <a:pt x="71" y="38"/>
                      </a:lnTo>
                      <a:lnTo>
                        <a:pt x="64" y="38"/>
                      </a:lnTo>
                      <a:lnTo>
                        <a:pt x="61" y="35"/>
                      </a:lnTo>
                      <a:lnTo>
                        <a:pt x="59" y="38"/>
                      </a:lnTo>
                      <a:lnTo>
                        <a:pt x="59" y="35"/>
                      </a:lnTo>
                      <a:lnTo>
                        <a:pt x="56" y="35"/>
                      </a:lnTo>
                      <a:lnTo>
                        <a:pt x="56" y="31"/>
                      </a:lnTo>
                      <a:lnTo>
                        <a:pt x="54" y="30"/>
                      </a:lnTo>
                      <a:lnTo>
                        <a:pt x="52" y="31"/>
                      </a:lnTo>
                      <a:lnTo>
                        <a:pt x="47" y="31"/>
                      </a:lnTo>
                      <a:lnTo>
                        <a:pt x="45" y="30"/>
                      </a:lnTo>
                      <a:lnTo>
                        <a:pt x="47" y="35"/>
                      </a:lnTo>
                      <a:lnTo>
                        <a:pt x="45" y="35"/>
                      </a:lnTo>
                      <a:lnTo>
                        <a:pt x="52" y="40"/>
                      </a:lnTo>
                      <a:lnTo>
                        <a:pt x="51" y="42"/>
                      </a:lnTo>
                      <a:lnTo>
                        <a:pt x="52" y="45"/>
                      </a:lnTo>
                      <a:lnTo>
                        <a:pt x="51" y="47"/>
                      </a:lnTo>
                      <a:lnTo>
                        <a:pt x="52" y="51"/>
                      </a:lnTo>
                      <a:lnTo>
                        <a:pt x="54" y="52"/>
                      </a:lnTo>
                      <a:lnTo>
                        <a:pt x="47" y="52"/>
                      </a:lnTo>
                      <a:lnTo>
                        <a:pt x="44" y="52"/>
                      </a:lnTo>
                      <a:lnTo>
                        <a:pt x="42" y="52"/>
                      </a:lnTo>
                      <a:lnTo>
                        <a:pt x="38" y="54"/>
                      </a:lnTo>
                      <a:lnTo>
                        <a:pt x="37" y="52"/>
                      </a:lnTo>
                      <a:lnTo>
                        <a:pt x="33" y="56"/>
                      </a:lnTo>
                      <a:lnTo>
                        <a:pt x="28" y="49"/>
                      </a:lnTo>
                      <a:lnTo>
                        <a:pt x="24" y="47"/>
                      </a:lnTo>
                      <a:lnTo>
                        <a:pt x="23" y="49"/>
                      </a:lnTo>
                      <a:lnTo>
                        <a:pt x="19" y="52"/>
                      </a:lnTo>
                      <a:lnTo>
                        <a:pt x="17" y="51"/>
                      </a:lnTo>
                      <a:lnTo>
                        <a:pt x="16" y="52"/>
                      </a:lnTo>
                      <a:lnTo>
                        <a:pt x="14" y="52"/>
                      </a:lnTo>
                      <a:lnTo>
                        <a:pt x="11" y="52"/>
                      </a:lnTo>
                      <a:lnTo>
                        <a:pt x="9" y="54"/>
                      </a:lnTo>
                      <a:lnTo>
                        <a:pt x="2" y="54"/>
                      </a:lnTo>
                      <a:lnTo>
                        <a:pt x="0" y="57"/>
                      </a:lnTo>
                      <a:lnTo>
                        <a:pt x="2" y="57"/>
                      </a:lnTo>
                      <a:lnTo>
                        <a:pt x="4" y="57"/>
                      </a:lnTo>
                      <a:lnTo>
                        <a:pt x="9" y="57"/>
                      </a:lnTo>
                      <a:lnTo>
                        <a:pt x="9" y="61"/>
                      </a:lnTo>
                      <a:lnTo>
                        <a:pt x="5" y="61"/>
                      </a:lnTo>
                      <a:lnTo>
                        <a:pt x="2" y="61"/>
                      </a:lnTo>
                      <a:lnTo>
                        <a:pt x="4" y="63"/>
                      </a:lnTo>
                      <a:lnTo>
                        <a:pt x="5" y="61"/>
                      </a:lnTo>
                      <a:lnTo>
                        <a:pt x="9" y="61"/>
                      </a:lnTo>
                      <a:lnTo>
                        <a:pt x="9" y="63"/>
                      </a:lnTo>
                      <a:lnTo>
                        <a:pt x="5" y="64"/>
                      </a:lnTo>
                      <a:lnTo>
                        <a:pt x="2" y="64"/>
                      </a:lnTo>
                      <a:lnTo>
                        <a:pt x="2" y="66"/>
                      </a:lnTo>
                      <a:lnTo>
                        <a:pt x="5" y="66"/>
                      </a:lnTo>
                      <a:lnTo>
                        <a:pt x="9" y="70"/>
                      </a:lnTo>
                      <a:lnTo>
                        <a:pt x="9" y="71"/>
                      </a:lnTo>
                      <a:lnTo>
                        <a:pt x="11" y="70"/>
                      </a:lnTo>
                      <a:lnTo>
                        <a:pt x="12" y="70"/>
                      </a:lnTo>
                      <a:lnTo>
                        <a:pt x="16" y="70"/>
                      </a:lnTo>
                      <a:lnTo>
                        <a:pt x="21" y="71"/>
                      </a:lnTo>
                      <a:lnTo>
                        <a:pt x="23" y="75"/>
                      </a:lnTo>
                      <a:lnTo>
                        <a:pt x="24" y="75"/>
                      </a:lnTo>
                      <a:lnTo>
                        <a:pt x="28" y="77"/>
                      </a:lnTo>
                      <a:lnTo>
                        <a:pt x="31" y="75"/>
                      </a:lnTo>
                      <a:lnTo>
                        <a:pt x="31" y="75"/>
                      </a:lnTo>
                      <a:lnTo>
                        <a:pt x="31" y="77"/>
                      </a:lnTo>
                      <a:lnTo>
                        <a:pt x="31" y="78"/>
                      </a:lnTo>
                      <a:lnTo>
                        <a:pt x="37" y="77"/>
                      </a:lnTo>
                      <a:lnTo>
                        <a:pt x="37" y="78"/>
                      </a:lnTo>
                      <a:lnTo>
                        <a:pt x="37" y="80"/>
                      </a:lnTo>
                      <a:lnTo>
                        <a:pt x="37" y="84"/>
                      </a:lnTo>
                      <a:lnTo>
                        <a:pt x="38" y="84"/>
                      </a:lnTo>
                      <a:lnTo>
                        <a:pt x="42" y="80"/>
                      </a:lnTo>
                      <a:lnTo>
                        <a:pt x="47" y="80"/>
                      </a:lnTo>
                      <a:lnTo>
                        <a:pt x="49" y="84"/>
                      </a:lnTo>
                      <a:lnTo>
                        <a:pt x="45" y="84"/>
                      </a:lnTo>
                      <a:lnTo>
                        <a:pt x="42" y="84"/>
                      </a:lnTo>
                      <a:lnTo>
                        <a:pt x="40" y="85"/>
                      </a:lnTo>
                      <a:lnTo>
                        <a:pt x="42" y="85"/>
                      </a:lnTo>
                      <a:lnTo>
                        <a:pt x="44" y="89"/>
                      </a:lnTo>
                      <a:lnTo>
                        <a:pt x="42" y="92"/>
                      </a:lnTo>
                      <a:lnTo>
                        <a:pt x="42" y="96"/>
                      </a:lnTo>
                      <a:lnTo>
                        <a:pt x="45" y="96"/>
                      </a:lnTo>
                      <a:lnTo>
                        <a:pt x="49" y="101"/>
                      </a:lnTo>
                      <a:lnTo>
                        <a:pt x="54" y="101"/>
                      </a:lnTo>
                      <a:lnTo>
                        <a:pt x="56" y="103"/>
                      </a:lnTo>
                      <a:lnTo>
                        <a:pt x="56" y="106"/>
                      </a:lnTo>
                      <a:lnTo>
                        <a:pt x="59" y="108"/>
                      </a:lnTo>
                      <a:lnTo>
                        <a:pt x="56" y="111"/>
                      </a:lnTo>
                      <a:lnTo>
                        <a:pt x="56" y="111"/>
                      </a:lnTo>
                      <a:lnTo>
                        <a:pt x="56" y="115"/>
                      </a:lnTo>
                      <a:lnTo>
                        <a:pt x="59" y="117"/>
                      </a:lnTo>
                      <a:lnTo>
                        <a:pt x="64" y="120"/>
                      </a:lnTo>
                      <a:lnTo>
                        <a:pt x="68" y="130"/>
                      </a:lnTo>
                      <a:lnTo>
                        <a:pt x="64" y="125"/>
                      </a:lnTo>
                      <a:lnTo>
                        <a:pt x="61" y="122"/>
                      </a:lnTo>
                      <a:lnTo>
                        <a:pt x="59" y="120"/>
                      </a:lnTo>
                      <a:lnTo>
                        <a:pt x="56" y="122"/>
                      </a:lnTo>
                      <a:lnTo>
                        <a:pt x="56" y="130"/>
                      </a:lnTo>
                      <a:lnTo>
                        <a:pt x="56" y="137"/>
                      </a:lnTo>
                      <a:lnTo>
                        <a:pt x="59" y="137"/>
                      </a:lnTo>
                      <a:lnTo>
                        <a:pt x="56" y="139"/>
                      </a:lnTo>
                      <a:lnTo>
                        <a:pt x="56" y="151"/>
                      </a:lnTo>
                      <a:lnTo>
                        <a:pt x="52" y="160"/>
                      </a:lnTo>
                      <a:lnTo>
                        <a:pt x="49" y="162"/>
                      </a:lnTo>
                      <a:lnTo>
                        <a:pt x="52" y="164"/>
                      </a:lnTo>
                      <a:lnTo>
                        <a:pt x="52" y="165"/>
                      </a:lnTo>
                      <a:lnTo>
                        <a:pt x="54" y="165"/>
                      </a:lnTo>
                      <a:lnTo>
                        <a:pt x="54" y="169"/>
                      </a:lnTo>
                      <a:lnTo>
                        <a:pt x="54" y="172"/>
                      </a:lnTo>
                      <a:lnTo>
                        <a:pt x="59" y="172"/>
                      </a:lnTo>
                      <a:lnTo>
                        <a:pt x="64" y="174"/>
                      </a:lnTo>
                      <a:lnTo>
                        <a:pt x="68" y="177"/>
                      </a:lnTo>
                      <a:lnTo>
                        <a:pt x="73" y="176"/>
                      </a:lnTo>
                      <a:lnTo>
                        <a:pt x="77" y="179"/>
                      </a:lnTo>
                      <a:lnTo>
                        <a:pt x="82" y="179"/>
                      </a:lnTo>
                      <a:lnTo>
                        <a:pt x="84" y="183"/>
                      </a:lnTo>
                      <a:lnTo>
                        <a:pt x="87" y="179"/>
                      </a:lnTo>
                      <a:lnTo>
                        <a:pt x="96" y="177"/>
                      </a:lnTo>
                      <a:lnTo>
                        <a:pt x="97" y="179"/>
                      </a:lnTo>
                      <a:lnTo>
                        <a:pt x="101" y="179"/>
                      </a:lnTo>
                      <a:lnTo>
                        <a:pt x="106" y="183"/>
                      </a:lnTo>
                      <a:lnTo>
                        <a:pt x="115" y="179"/>
                      </a:lnTo>
                      <a:lnTo>
                        <a:pt x="120" y="183"/>
                      </a:lnTo>
                      <a:lnTo>
                        <a:pt x="123" y="184"/>
                      </a:lnTo>
                      <a:lnTo>
                        <a:pt x="123" y="183"/>
                      </a:lnTo>
                      <a:lnTo>
                        <a:pt x="120" y="179"/>
                      </a:lnTo>
                      <a:lnTo>
                        <a:pt x="123" y="172"/>
                      </a:lnTo>
                      <a:lnTo>
                        <a:pt x="123" y="170"/>
                      </a:lnTo>
                      <a:lnTo>
                        <a:pt x="127" y="165"/>
                      </a:lnTo>
                      <a:lnTo>
                        <a:pt x="132" y="160"/>
                      </a:lnTo>
                      <a:lnTo>
                        <a:pt x="134" y="160"/>
                      </a:lnTo>
                      <a:lnTo>
                        <a:pt x="137" y="160"/>
                      </a:lnTo>
                      <a:lnTo>
                        <a:pt x="141" y="162"/>
                      </a:lnTo>
                      <a:lnTo>
                        <a:pt x="146" y="164"/>
                      </a:lnTo>
                      <a:lnTo>
                        <a:pt x="148" y="164"/>
                      </a:lnTo>
                      <a:lnTo>
                        <a:pt x="151" y="162"/>
                      </a:lnTo>
                      <a:lnTo>
                        <a:pt x="151" y="162"/>
                      </a:lnTo>
                      <a:lnTo>
                        <a:pt x="163" y="169"/>
                      </a:lnTo>
                      <a:lnTo>
                        <a:pt x="165" y="170"/>
                      </a:lnTo>
                      <a:lnTo>
                        <a:pt x="174" y="170"/>
                      </a:lnTo>
                      <a:lnTo>
                        <a:pt x="176" y="169"/>
                      </a:lnTo>
                      <a:lnTo>
                        <a:pt x="176" y="167"/>
                      </a:lnTo>
                      <a:lnTo>
                        <a:pt x="179" y="162"/>
                      </a:lnTo>
                      <a:lnTo>
                        <a:pt x="190" y="157"/>
                      </a:lnTo>
                      <a:lnTo>
                        <a:pt x="190" y="157"/>
                      </a:lnTo>
                      <a:lnTo>
                        <a:pt x="190" y="151"/>
                      </a:lnTo>
                      <a:lnTo>
                        <a:pt x="191" y="146"/>
                      </a:lnTo>
                      <a:lnTo>
                        <a:pt x="188" y="146"/>
                      </a:lnTo>
                      <a:lnTo>
                        <a:pt x="183" y="143"/>
                      </a:lnTo>
                      <a:lnTo>
                        <a:pt x="179" y="134"/>
                      </a:lnTo>
                      <a:lnTo>
                        <a:pt x="176" y="130"/>
                      </a:lnTo>
                      <a:lnTo>
                        <a:pt x="179" y="125"/>
                      </a:lnTo>
                      <a:lnTo>
                        <a:pt x="183" y="125"/>
                      </a:lnTo>
                      <a:lnTo>
                        <a:pt x="184" y="120"/>
                      </a:lnTo>
                      <a:lnTo>
                        <a:pt x="179" y="117"/>
                      </a:lnTo>
                      <a:lnTo>
                        <a:pt x="179" y="115"/>
                      </a:lnTo>
                      <a:lnTo>
                        <a:pt x="183" y="111"/>
                      </a:lnTo>
                      <a:lnTo>
                        <a:pt x="183" y="111"/>
                      </a:lnTo>
                      <a:lnTo>
                        <a:pt x="183" y="111"/>
                      </a:lnTo>
                      <a:lnTo>
                        <a:pt x="183" y="111"/>
                      </a:lnTo>
                      <a:lnTo>
                        <a:pt x="183" y="111"/>
                      </a:lnTo>
                      <a:close/>
                      <a:moveTo>
                        <a:pt x="217" y="205"/>
                      </a:moveTo>
                      <a:lnTo>
                        <a:pt x="212" y="202"/>
                      </a:lnTo>
                      <a:lnTo>
                        <a:pt x="212" y="202"/>
                      </a:lnTo>
                      <a:lnTo>
                        <a:pt x="212" y="200"/>
                      </a:lnTo>
                      <a:lnTo>
                        <a:pt x="216" y="200"/>
                      </a:lnTo>
                      <a:lnTo>
                        <a:pt x="212" y="198"/>
                      </a:lnTo>
                      <a:lnTo>
                        <a:pt x="212" y="198"/>
                      </a:lnTo>
                      <a:lnTo>
                        <a:pt x="212" y="197"/>
                      </a:lnTo>
                      <a:lnTo>
                        <a:pt x="210" y="195"/>
                      </a:lnTo>
                      <a:lnTo>
                        <a:pt x="207" y="193"/>
                      </a:lnTo>
                      <a:lnTo>
                        <a:pt x="210" y="191"/>
                      </a:lnTo>
                      <a:lnTo>
                        <a:pt x="210" y="191"/>
                      </a:lnTo>
                      <a:lnTo>
                        <a:pt x="207" y="190"/>
                      </a:lnTo>
                      <a:lnTo>
                        <a:pt x="207" y="186"/>
                      </a:lnTo>
                      <a:lnTo>
                        <a:pt x="207" y="186"/>
                      </a:lnTo>
                      <a:lnTo>
                        <a:pt x="210" y="184"/>
                      </a:lnTo>
                      <a:lnTo>
                        <a:pt x="207" y="183"/>
                      </a:lnTo>
                      <a:lnTo>
                        <a:pt x="210" y="179"/>
                      </a:lnTo>
                      <a:lnTo>
                        <a:pt x="216" y="179"/>
                      </a:lnTo>
                      <a:lnTo>
                        <a:pt x="216" y="176"/>
                      </a:lnTo>
                      <a:lnTo>
                        <a:pt x="219" y="179"/>
                      </a:lnTo>
                      <a:lnTo>
                        <a:pt x="221" y="179"/>
                      </a:lnTo>
                      <a:lnTo>
                        <a:pt x="221" y="176"/>
                      </a:lnTo>
                      <a:lnTo>
                        <a:pt x="219" y="172"/>
                      </a:lnTo>
                      <a:lnTo>
                        <a:pt x="221" y="170"/>
                      </a:lnTo>
                      <a:lnTo>
                        <a:pt x="224" y="170"/>
                      </a:lnTo>
                      <a:lnTo>
                        <a:pt x="224" y="176"/>
                      </a:lnTo>
                      <a:lnTo>
                        <a:pt x="224" y="179"/>
                      </a:lnTo>
                      <a:lnTo>
                        <a:pt x="224" y="186"/>
                      </a:lnTo>
                      <a:lnTo>
                        <a:pt x="224" y="193"/>
                      </a:lnTo>
                      <a:lnTo>
                        <a:pt x="224" y="198"/>
                      </a:lnTo>
                      <a:lnTo>
                        <a:pt x="221" y="202"/>
                      </a:lnTo>
                      <a:lnTo>
                        <a:pt x="217" y="205"/>
                      </a:lnTo>
                      <a:lnTo>
                        <a:pt x="217" y="205"/>
                      </a:lnTo>
                      <a:lnTo>
                        <a:pt x="217" y="205"/>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3" name="Freeform 26"/>
                <p:cNvSpPr>
                  <a:spLocks noEditPoints="1"/>
                </p:cNvSpPr>
                <p:nvPr/>
              </p:nvSpPr>
              <p:spPr bwMode="auto">
                <a:xfrm>
                  <a:off x="4618038" y="2873376"/>
                  <a:ext cx="307975" cy="347663"/>
                </a:xfrm>
                <a:custGeom>
                  <a:avLst/>
                  <a:gdLst/>
                  <a:ahLst/>
                  <a:cxnLst>
                    <a:cxn ang="0">
                      <a:pos x="7" y="57"/>
                    </a:cxn>
                    <a:cxn ang="0">
                      <a:pos x="7" y="34"/>
                    </a:cxn>
                    <a:cxn ang="0">
                      <a:pos x="15" y="22"/>
                    </a:cxn>
                    <a:cxn ang="0">
                      <a:pos x="34" y="22"/>
                    </a:cxn>
                    <a:cxn ang="0">
                      <a:pos x="52" y="15"/>
                    </a:cxn>
                    <a:cxn ang="0">
                      <a:pos x="62" y="1"/>
                    </a:cxn>
                    <a:cxn ang="0">
                      <a:pos x="86" y="3"/>
                    </a:cxn>
                    <a:cxn ang="0">
                      <a:pos x="109" y="17"/>
                    </a:cxn>
                    <a:cxn ang="0">
                      <a:pos x="104" y="29"/>
                    </a:cxn>
                    <a:cxn ang="0">
                      <a:pos x="88" y="38"/>
                    </a:cxn>
                    <a:cxn ang="0">
                      <a:pos x="90" y="53"/>
                    </a:cxn>
                    <a:cxn ang="0">
                      <a:pos x="107" y="71"/>
                    </a:cxn>
                    <a:cxn ang="0">
                      <a:pos x="121" y="93"/>
                    </a:cxn>
                    <a:cxn ang="0">
                      <a:pos x="139" y="106"/>
                    </a:cxn>
                    <a:cxn ang="0">
                      <a:pos x="156" y="109"/>
                    </a:cxn>
                    <a:cxn ang="0">
                      <a:pos x="156" y="120"/>
                    </a:cxn>
                    <a:cxn ang="0">
                      <a:pos x="189" y="137"/>
                    </a:cxn>
                    <a:cxn ang="0">
                      <a:pos x="194" y="149"/>
                    </a:cxn>
                    <a:cxn ang="0">
                      <a:pos x="186" y="146"/>
                    </a:cxn>
                    <a:cxn ang="0">
                      <a:pos x="173" y="139"/>
                    </a:cxn>
                    <a:cxn ang="0">
                      <a:pos x="166" y="147"/>
                    </a:cxn>
                    <a:cxn ang="0">
                      <a:pos x="166" y="156"/>
                    </a:cxn>
                    <a:cxn ang="0">
                      <a:pos x="172" y="172"/>
                    </a:cxn>
                    <a:cxn ang="0">
                      <a:pos x="161" y="191"/>
                    </a:cxn>
                    <a:cxn ang="0">
                      <a:pos x="151" y="186"/>
                    </a:cxn>
                    <a:cxn ang="0">
                      <a:pos x="156" y="177"/>
                    </a:cxn>
                    <a:cxn ang="0">
                      <a:pos x="156" y="161"/>
                    </a:cxn>
                    <a:cxn ang="0">
                      <a:pos x="147" y="149"/>
                    </a:cxn>
                    <a:cxn ang="0">
                      <a:pos x="139" y="140"/>
                    </a:cxn>
                    <a:cxn ang="0">
                      <a:pos x="130" y="132"/>
                    </a:cxn>
                    <a:cxn ang="0">
                      <a:pos x="116" y="125"/>
                    </a:cxn>
                    <a:cxn ang="0">
                      <a:pos x="104" y="120"/>
                    </a:cxn>
                    <a:cxn ang="0">
                      <a:pos x="85" y="102"/>
                    </a:cxn>
                    <a:cxn ang="0">
                      <a:pos x="67" y="85"/>
                    </a:cxn>
                    <a:cxn ang="0">
                      <a:pos x="57" y="69"/>
                    </a:cxn>
                    <a:cxn ang="0">
                      <a:pos x="47" y="59"/>
                    </a:cxn>
                    <a:cxn ang="0">
                      <a:pos x="14" y="69"/>
                    </a:cxn>
                    <a:cxn ang="0">
                      <a:pos x="29" y="126"/>
                    </a:cxn>
                    <a:cxn ang="0">
                      <a:pos x="26" y="125"/>
                    </a:cxn>
                    <a:cxn ang="0">
                      <a:pos x="71" y="99"/>
                    </a:cxn>
                    <a:cxn ang="0">
                      <a:pos x="71" y="99"/>
                    </a:cxn>
                    <a:cxn ang="0">
                      <a:pos x="60" y="90"/>
                    </a:cxn>
                    <a:cxn ang="0">
                      <a:pos x="57" y="90"/>
                    </a:cxn>
                    <a:cxn ang="0">
                      <a:pos x="36" y="172"/>
                    </a:cxn>
                    <a:cxn ang="0">
                      <a:pos x="47" y="166"/>
                    </a:cxn>
                    <a:cxn ang="0">
                      <a:pos x="52" y="156"/>
                    </a:cxn>
                    <a:cxn ang="0">
                      <a:pos x="52" y="135"/>
                    </a:cxn>
                    <a:cxn ang="0">
                      <a:pos x="41" y="125"/>
                    </a:cxn>
                    <a:cxn ang="0">
                      <a:pos x="26" y="132"/>
                    </a:cxn>
                    <a:cxn ang="0">
                      <a:pos x="31" y="147"/>
                    </a:cxn>
                    <a:cxn ang="0">
                      <a:pos x="31" y="154"/>
                    </a:cxn>
                    <a:cxn ang="0">
                      <a:pos x="36" y="172"/>
                    </a:cxn>
                    <a:cxn ang="0">
                      <a:pos x="146" y="212"/>
                    </a:cxn>
                    <a:cxn ang="0">
                      <a:pos x="149" y="189"/>
                    </a:cxn>
                    <a:cxn ang="0">
                      <a:pos x="133" y="191"/>
                    </a:cxn>
                    <a:cxn ang="0">
                      <a:pos x="107" y="189"/>
                    </a:cxn>
                    <a:cxn ang="0">
                      <a:pos x="104" y="201"/>
                    </a:cxn>
                    <a:cxn ang="0">
                      <a:pos x="128" y="212"/>
                    </a:cxn>
                    <a:cxn ang="0">
                      <a:pos x="144" y="219"/>
                    </a:cxn>
                  </a:cxnLst>
                  <a:rect l="0" t="0" r="r" b="b"/>
                  <a:pathLst>
                    <a:path w="194" h="219">
                      <a:moveTo>
                        <a:pt x="14" y="69"/>
                      </a:moveTo>
                      <a:lnTo>
                        <a:pt x="14" y="66"/>
                      </a:lnTo>
                      <a:lnTo>
                        <a:pt x="15" y="60"/>
                      </a:lnTo>
                      <a:lnTo>
                        <a:pt x="10" y="60"/>
                      </a:lnTo>
                      <a:lnTo>
                        <a:pt x="7" y="57"/>
                      </a:lnTo>
                      <a:lnTo>
                        <a:pt x="3" y="46"/>
                      </a:lnTo>
                      <a:lnTo>
                        <a:pt x="0" y="43"/>
                      </a:lnTo>
                      <a:lnTo>
                        <a:pt x="3" y="40"/>
                      </a:lnTo>
                      <a:lnTo>
                        <a:pt x="7" y="40"/>
                      </a:lnTo>
                      <a:lnTo>
                        <a:pt x="7" y="34"/>
                      </a:lnTo>
                      <a:lnTo>
                        <a:pt x="3" y="31"/>
                      </a:lnTo>
                      <a:lnTo>
                        <a:pt x="3" y="27"/>
                      </a:lnTo>
                      <a:lnTo>
                        <a:pt x="7" y="26"/>
                      </a:lnTo>
                      <a:lnTo>
                        <a:pt x="8" y="27"/>
                      </a:lnTo>
                      <a:lnTo>
                        <a:pt x="15" y="22"/>
                      </a:lnTo>
                      <a:lnTo>
                        <a:pt x="20" y="24"/>
                      </a:lnTo>
                      <a:lnTo>
                        <a:pt x="26" y="12"/>
                      </a:lnTo>
                      <a:lnTo>
                        <a:pt x="29" y="15"/>
                      </a:lnTo>
                      <a:lnTo>
                        <a:pt x="29" y="19"/>
                      </a:lnTo>
                      <a:lnTo>
                        <a:pt x="34" y="22"/>
                      </a:lnTo>
                      <a:lnTo>
                        <a:pt x="36" y="26"/>
                      </a:lnTo>
                      <a:lnTo>
                        <a:pt x="40" y="19"/>
                      </a:lnTo>
                      <a:lnTo>
                        <a:pt x="40" y="15"/>
                      </a:lnTo>
                      <a:lnTo>
                        <a:pt x="48" y="17"/>
                      </a:lnTo>
                      <a:lnTo>
                        <a:pt x="52" y="15"/>
                      </a:lnTo>
                      <a:lnTo>
                        <a:pt x="53" y="19"/>
                      </a:lnTo>
                      <a:lnTo>
                        <a:pt x="53" y="12"/>
                      </a:lnTo>
                      <a:lnTo>
                        <a:pt x="60" y="10"/>
                      </a:lnTo>
                      <a:lnTo>
                        <a:pt x="59" y="6"/>
                      </a:lnTo>
                      <a:lnTo>
                        <a:pt x="62" y="1"/>
                      </a:lnTo>
                      <a:lnTo>
                        <a:pt x="69" y="5"/>
                      </a:lnTo>
                      <a:lnTo>
                        <a:pt x="76" y="0"/>
                      </a:lnTo>
                      <a:lnTo>
                        <a:pt x="81" y="0"/>
                      </a:lnTo>
                      <a:lnTo>
                        <a:pt x="86" y="0"/>
                      </a:lnTo>
                      <a:lnTo>
                        <a:pt x="86" y="3"/>
                      </a:lnTo>
                      <a:lnTo>
                        <a:pt x="95" y="6"/>
                      </a:lnTo>
                      <a:lnTo>
                        <a:pt x="104" y="10"/>
                      </a:lnTo>
                      <a:lnTo>
                        <a:pt x="113" y="10"/>
                      </a:lnTo>
                      <a:lnTo>
                        <a:pt x="113" y="10"/>
                      </a:lnTo>
                      <a:lnTo>
                        <a:pt x="109" y="17"/>
                      </a:lnTo>
                      <a:lnTo>
                        <a:pt x="109" y="19"/>
                      </a:lnTo>
                      <a:lnTo>
                        <a:pt x="107" y="24"/>
                      </a:lnTo>
                      <a:lnTo>
                        <a:pt x="109" y="29"/>
                      </a:lnTo>
                      <a:lnTo>
                        <a:pt x="104" y="29"/>
                      </a:lnTo>
                      <a:lnTo>
                        <a:pt x="104" y="29"/>
                      </a:lnTo>
                      <a:lnTo>
                        <a:pt x="100" y="33"/>
                      </a:lnTo>
                      <a:lnTo>
                        <a:pt x="97" y="33"/>
                      </a:lnTo>
                      <a:lnTo>
                        <a:pt x="93" y="34"/>
                      </a:lnTo>
                      <a:lnTo>
                        <a:pt x="90" y="34"/>
                      </a:lnTo>
                      <a:lnTo>
                        <a:pt x="88" y="38"/>
                      </a:lnTo>
                      <a:lnTo>
                        <a:pt x="90" y="43"/>
                      </a:lnTo>
                      <a:lnTo>
                        <a:pt x="92" y="45"/>
                      </a:lnTo>
                      <a:lnTo>
                        <a:pt x="90" y="48"/>
                      </a:lnTo>
                      <a:lnTo>
                        <a:pt x="88" y="50"/>
                      </a:lnTo>
                      <a:lnTo>
                        <a:pt x="90" y="53"/>
                      </a:lnTo>
                      <a:lnTo>
                        <a:pt x="90" y="59"/>
                      </a:lnTo>
                      <a:lnTo>
                        <a:pt x="92" y="62"/>
                      </a:lnTo>
                      <a:lnTo>
                        <a:pt x="100" y="66"/>
                      </a:lnTo>
                      <a:lnTo>
                        <a:pt x="104" y="67"/>
                      </a:lnTo>
                      <a:lnTo>
                        <a:pt x="107" y="71"/>
                      </a:lnTo>
                      <a:lnTo>
                        <a:pt x="118" y="81"/>
                      </a:lnTo>
                      <a:lnTo>
                        <a:pt x="118" y="85"/>
                      </a:lnTo>
                      <a:lnTo>
                        <a:pt x="120" y="85"/>
                      </a:lnTo>
                      <a:lnTo>
                        <a:pt x="120" y="90"/>
                      </a:lnTo>
                      <a:lnTo>
                        <a:pt x="121" y="93"/>
                      </a:lnTo>
                      <a:lnTo>
                        <a:pt x="125" y="97"/>
                      </a:lnTo>
                      <a:lnTo>
                        <a:pt x="126" y="99"/>
                      </a:lnTo>
                      <a:lnTo>
                        <a:pt x="133" y="104"/>
                      </a:lnTo>
                      <a:lnTo>
                        <a:pt x="135" y="106"/>
                      </a:lnTo>
                      <a:lnTo>
                        <a:pt x="139" y="106"/>
                      </a:lnTo>
                      <a:lnTo>
                        <a:pt x="139" y="107"/>
                      </a:lnTo>
                      <a:lnTo>
                        <a:pt x="146" y="107"/>
                      </a:lnTo>
                      <a:lnTo>
                        <a:pt x="149" y="109"/>
                      </a:lnTo>
                      <a:lnTo>
                        <a:pt x="153" y="107"/>
                      </a:lnTo>
                      <a:lnTo>
                        <a:pt x="156" y="109"/>
                      </a:lnTo>
                      <a:lnTo>
                        <a:pt x="156" y="113"/>
                      </a:lnTo>
                      <a:lnTo>
                        <a:pt x="151" y="116"/>
                      </a:lnTo>
                      <a:lnTo>
                        <a:pt x="151" y="116"/>
                      </a:lnTo>
                      <a:lnTo>
                        <a:pt x="153" y="120"/>
                      </a:lnTo>
                      <a:lnTo>
                        <a:pt x="156" y="120"/>
                      </a:lnTo>
                      <a:lnTo>
                        <a:pt x="163" y="121"/>
                      </a:lnTo>
                      <a:lnTo>
                        <a:pt x="177" y="128"/>
                      </a:lnTo>
                      <a:lnTo>
                        <a:pt x="182" y="132"/>
                      </a:lnTo>
                      <a:lnTo>
                        <a:pt x="186" y="135"/>
                      </a:lnTo>
                      <a:lnTo>
                        <a:pt x="189" y="137"/>
                      </a:lnTo>
                      <a:lnTo>
                        <a:pt x="194" y="139"/>
                      </a:lnTo>
                      <a:lnTo>
                        <a:pt x="194" y="142"/>
                      </a:lnTo>
                      <a:lnTo>
                        <a:pt x="194" y="146"/>
                      </a:lnTo>
                      <a:lnTo>
                        <a:pt x="194" y="149"/>
                      </a:lnTo>
                      <a:lnTo>
                        <a:pt x="194" y="149"/>
                      </a:lnTo>
                      <a:lnTo>
                        <a:pt x="191" y="153"/>
                      </a:lnTo>
                      <a:lnTo>
                        <a:pt x="191" y="153"/>
                      </a:lnTo>
                      <a:lnTo>
                        <a:pt x="189" y="153"/>
                      </a:lnTo>
                      <a:lnTo>
                        <a:pt x="186" y="149"/>
                      </a:lnTo>
                      <a:lnTo>
                        <a:pt x="186" y="146"/>
                      </a:lnTo>
                      <a:lnTo>
                        <a:pt x="186" y="142"/>
                      </a:lnTo>
                      <a:lnTo>
                        <a:pt x="184" y="142"/>
                      </a:lnTo>
                      <a:lnTo>
                        <a:pt x="179" y="142"/>
                      </a:lnTo>
                      <a:lnTo>
                        <a:pt x="177" y="140"/>
                      </a:lnTo>
                      <a:lnTo>
                        <a:pt x="173" y="139"/>
                      </a:lnTo>
                      <a:lnTo>
                        <a:pt x="172" y="139"/>
                      </a:lnTo>
                      <a:lnTo>
                        <a:pt x="170" y="139"/>
                      </a:lnTo>
                      <a:lnTo>
                        <a:pt x="168" y="144"/>
                      </a:lnTo>
                      <a:lnTo>
                        <a:pt x="166" y="146"/>
                      </a:lnTo>
                      <a:lnTo>
                        <a:pt x="166" y="147"/>
                      </a:lnTo>
                      <a:lnTo>
                        <a:pt x="166" y="149"/>
                      </a:lnTo>
                      <a:lnTo>
                        <a:pt x="163" y="153"/>
                      </a:lnTo>
                      <a:lnTo>
                        <a:pt x="163" y="154"/>
                      </a:lnTo>
                      <a:lnTo>
                        <a:pt x="166" y="156"/>
                      </a:lnTo>
                      <a:lnTo>
                        <a:pt x="166" y="156"/>
                      </a:lnTo>
                      <a:lnTo>
                        <a:pt x="172" y="161"/>
                      </a:lnTo>
                      <a:lnTo>
                        <a:pt x="173" y="163"/>
                      </a:lnTo>
                      <a:lnTo>
                        <a:pt x="173" y="168"/>
                      </a:lnTo>
                      <a:lnTo>
                        <a:pt x="173" y="170"/>
                      </a:lnTo>
                      <a:lnTo>
                        <a:pt x="172" y="172"/>
                      </a:lnTo>
                      <a:lnTo>
                        <a:pt x="170" y="172"/>
                      </a:lnTo>
                      <a:lnTo>
                        <a:pt x="166" y="175"/>
                      </a:lnTo>
                      <a:lnTo>
                        <a:pt x="166" y="184"/>
                      </a:lnTo>
                      <a:lnTo>
                        <a:pt x="163" y="186"/>
                      </a:lnTo>
                      <a:lnTo>
                        <a:pt x="161" y="191"/>
                      </a:lnTo>
                      <a:lnTo>
                        <a:pt x="158" y="194"/>
                      </a:lnTo>
                      <a:lnTo>
                        <a:pt x="154" y="194"/>
                      </a:lnTo>
                      <a:lnTo>
                        <a:pt x="151" y="191"/>
                      </a:lnTo>
                      <a:lnTo>
                        <a:pt x="151" y="189"/>
                      </a:lnTo>
                      <a:lnTo>
                        <a:pt x="151" y="186"/>
                      </a:lnTo>
                      <a:lnTo>
                        <a:pt x="153" y="186"/>
                      </a:lnTo>
                      <a:lnTo>
                        <a:pt x="156" y="184"/>
                      </a:lnTo>
                      <a:lnTo>
                        <a:pt x="156" y="180"/>
                      </a:lnTo>
                      <a:lnTo>
                        <a:pt x="156" y="177"/>
                      </a:lnTo>
                      <a:lnTo>
                        <a:pt x="156" y="177"/>
                      </a:lnTo>
                      <a:lnTo>
                        <a:pt x="158" y="177"/>
                      </a:lnTo>
                      <a:lnTo>
                        <a:pt x="158" y="172"/>
                      </a:lnTo>
                      <a:lnTo>
                        <a:pt x="158" y="170"/>
                      </a:lnTo>
                      <a:lnTo>
                        <a:pt x="158" y="168"/>
                      </a:lnTo>
                      <a:lnTo>
                        <a:pt x="156" y="161"/>
                      </a:lnTo>
                      <a:lnTo>
                        <a:pt x="154" y="161"/>
                      </a:lnTo>
                      <a:lnTo>
                        <a:pt x="154" y="153"/>
                      </a:lnTo>
                      <a:lnTo>
                        <a:pt x="153" y="149"/>
                      </a:lnTo>
                      <a:lnTo>
                        <a:pt x="149" y="147"/>
                      </a:lnTo>
                      <a:lnTo>
                        <a:pt x="147" y="149"/>
                      </a:lnTo>
                      <a:lnTo>
                        <a:pt x="144" y="147"/>
                      </a:lnTo>
                      <a:lnTo>
                        <a:pt x="140" y="144"/>
                      </a:lnTo>
                      <a:lnTo>
                        <a:pt x="139" y="144"/>
                      </a:lnTo>
                      <a:lnTo>
                        <a:pt x="135" y="142"/>
                      </a:lnTo>
                      <a:lnTo>
                        <a:pt x="139" y="140"/>
                      </a:lnTo>
                      <a:lnTo>
                        <a:pt x="139" y="137"/>
                      </a:lnTo>
                      <a:lnTo>
                        <a:pt x="135" y="135"/>
                      </a:lnTo>
                      <a:lnTo>
                        <a:pt x="133" y="133"/>
                      </a:lnTo>
                      <a:lnTo>
                        <a:pt x="130" y="135"/>
                      </a:lnTo>
                      <a:lnTo>
                        <a:pt x="130" y="132"/>
                      </a:lnTo>
                      <a:lnTo>
                        <a:pt x="126" y="130"/>
                      </a:lnTo>
                      <a:lnTo>
                        <a:pt x="125" y="132"/>
                      </a:lnTo>
                      <a:lnTo>
                        <a:pt x="123" y="130"/>
                      </a:lnTo>
                      <a:lnTo>
                        <a:pt x="118" y="125"/>
                      </a:lnTo>
                      <a:lnTo>
                        <a:pt x="116" y="125"/>
                      </a:lnTo>
                      <a:lnTo>
                        <a:pt x="113" y="121"/>
                      </a:lnTo>
                      <a:lnTo>
                        <a:pt x="109" y="125"/>
                      </a:lnTo>
                      <a:lnTo>
                        <a:pt x="107" y="125"/>
                      </a:lnTo>
                      <a:lnTo>
                        <a:pt x="107" y="121"/>
                      </a:lnTo>
                      <a:lnTo>
                        <a:pt x="104" y="120"/>
                      </a:lnTo>
                      <a:lnTo>
                        <a:pt x="100" y="120"/>
                      </a:lnTo>
                      <a:lnTo>
                        <a:pt x="93" y="114"/>
                      </a:lnTo>
                      <a:lnTo>
                        <a:pt x="86" y="104"/>
                      </a:lnTo>
                      <a:lnTo>
                        <a:pt x="85" y="104"/>
                      </a:lnTo>
                      <a:lnTo>
                        <a:pt x="85" y="102"/>
                      </a:lnTo>
                      <a:lnTo>
                        <a:pt x="81" y="97"/>
                      </a:lnTo>
                      <a:lnTo>
                        <a:pt x="76" y="97"/>
                      </a:lnTo>
                      <a:lnTo>
                        <a:pt x="76" y="93"/>
                      </a:lnTo>
                      <a:lnTo>
                        <a:pt x="71" y="90"/>
                      </a:lnTo>
                      <a:lnTo>
                        <a:pt x="67" y="85"/>
                      </a:lnTo>
                      <a:lnTo>
                        <a:pt x="64" y="85"/>
                      </a:lnTo>
                      <a:lnTo>
                        <a:pt x="64" y="80"/>
                      </a:lnTo>
                      <a:lnTo>
                        <a:pt x="60" y="78"/>
                      </a:lnTo>
                      <a:lnTo>
                        <a:pt x="60" y="74"/>
                      </a:lnTo>
                      <a:lnTo>
                        <a:pt x="57" y="69"/>
                      </a:lnTo>
                      <a:lnTo>
                        <a:pt x="57" y="66"/>
                      </a:lnTo>
                      <a:lnTo>
                        <a:pt x="57" y="66"/>
                      </a:lnTo>
                      <a:lnTo>
                        <a:pt x="53" y="62"/>
                      </a:lnTo>
                      <a:lnTo>
                        <a:pt x="50" y="62"/>
                      </a:lnTo>
                      <a:lnTo>
                        <a:pt x="47" y="59"/>
                      </a:lnTo>
                      <a:lnTo>
                        <a:pt x="34" y="57"/>
                      </a:lnTo>
                      <a:lnTo>
                        <a:pt x="26" y="62"/>
                      </a:lnTo>
                      <a:lnTo>
                        <a:pt x="26" y="62"/>
                      </a:lnTo>
                      <a:lnTo>
                        <a:pt x="22" y="67"/>
                      </a:lnTo>
                      <a:lnTo>
                        <a:pt x="14" y="69"/>
                      </a:lnTo>
                      <a:lnTo>
                        <a:pt x="14" y="69"/>
                      </a:lnTo>
                      <a:lnTo>
                        <a:pt x="14" y="69"/>
                      </a:lnTo>
                      <a:lnTo>
                        <a:pt x="14" y="69"/>
                      </a:lnTo>
                      <a:close/>
                      <a:moveTo>
                        <a:pt x="26" y="126"/>
                      </a:moveTo>
                      <a:lnTo>
                        <a:pt x="29" y="126"/>
                      </a:lnTo>
                      <a:lnTo>
                        <a:pt x="29" y="125"/>
                      </a:lnTo>
                      <a:lnTo>
                        <a:pt x="29" y="125"/>
                      </a:lnTo>
                      <a:lnTo>
                        <a:pt x="29" y="121"/>
                      </a:lnTo>
                      <a:lnTo>
                        <a:pt x="29" y="125"/>
                      </a:lnTo>
                      <a:lnTo>
                        <a:pt x="26" y="125"/>
                      </a:lnTo>
                      <a:lnTo>
                        <a:pt x="26" y="126"/>
                      </a:lnTo>
                      <a:lnTo>
                        <a:pt x="26" y="126"/>
                      </a:lnTo>
                      <a:lnTo>
                        <a:pt x="26" y="126"/>
                      </a:lnTo>
                      <a:lnTo>
                        <a:pt x="26" y="126"/>
                      </a:lnTo>
                      <a:close/>
                      <a:moveTo>
                        <a:pt x="71" y="99"/>
                      </a:moveTo>
                      <a:lnTo>
                        <a:pt x="73" y="99"/>
                      </a:lnTo>
                      <a:lnTo>
                        <a:pt x="73" y="97"/>
                      </a:lnTo>
                      <a:lnTo>
                        <a:pt x="71" y="99"/>
                      </a:lnTo>
                      <a:lnTo>
                        <a:pt x="71" y="99"/>
                      </a:lnTo>
                      <a:lnTo>
                        <a:pt x="71" y="99"/>
                      </a:lnTo>
                      <a:lnTo>
                        <a:pt x="71" y="99"/>
                      </a:lnTo>
                      <a:close/>
                      <a:moveTo>
                        <a:pt x="57" y="90"/>
                      </a:moveTo>
                      <a:lnTo>
                        <a:pt x="57" y="92"/>
                      </a:lnTo>
                      <a:lnTo>
                        <a:pt x="57" y="92"/>
                      </a:lnTo>
                      <a:lnTo>
                        <a:pt x="60" y="90"/>
                      </a:lnTo>
                      <a:lnTo>
                        <a:pt x="62" y="90"/>
                      </a:lnTo>
                      <a:lnTo>
                        <a:pt x="62" y="88"/>
                      </a:lnTo>
                      <a:lnTo>
                        <a:pt x="60" y="85"/>
                      </a:lnTo>
                      <a:lnTo>
                        <a:pt x="60" y="88"/>
                      </a:lnTo>
                      <a:lnTo>
                        <a:pt x="57" y="90"/>
                      </a:lnTo>
                      <a:lnTo>
                        <a:pt x="57" y="90"/>
                      </a:lnTo>
                      <a:lnTo>
                        <a:pt x="57" y="90"/>
                      </a:lnTo>
                      <a:lnTo>
                        <a:pt x="57" y="90"/>
                      </a:lnTo>
                      <a:close/>
                      <a:moveTo>
                        <a:pt x="36" y="172"/>
                      </a:moveTo>
                      <a:lnTo>
                        <a:pt x="36" y="172"/>
                      </a:lnTo>
                      <a:lnTo>
                        <a:pt x="38" y="172"/>
                      </a:lnTo>
                      <a:lnTo>
                        <a:pt x="41" y="172"/>
                      </a:lnTo>
                      <a:lnTo>
                        <a:pt x="41" y="168"/>
                      </a:lnTo>
                      <a:lnTo>
                        <a:pt x="43" y="166"/>
                      </a:lnTo>
                      <a:lnTo>
                        <a:pt x="47" y="166"/>
                      </a:lnTo>
                      <a:lnTo>
                        <a:pt x="48" y="168"/>
                      </a:lnTo>
                      <a:lnTo>
                        <a:pt x="50" y="168"/>
                      </a:lnTo>
                      <a:lnTo>
                        <a:pt x="52" y="165"/>
                      </a:lnTo>
                      <a:lnTo>
                        <a:pt x="52" y="161"/>
                      </a:lnTo>
                      <a:lnTo>
                        <a:pt x="52" y="156"/>
                      </a:lnTo>
                      <a:lnTo>
                        <a:pt x="52" y="149"/>
                      </a:lnTo>
                      <a:lnTo>
                        <a:pt x="53" y="144"/>
                      </a:lnTo>
                      <a:lnTo>
                        <a:pt x="48" y="140"/>
                      </a:lnTo>
                      <a:lnTo>
                        <a:pt x="52" y="139"/>
                      </a:lnTo>
                      <a:lnTo>
                        <a:pt x="52" y="135"/>
                      </a:lnTo>
                      <a:lnTo>
                        <a:pt x="52" y="132"/>
                      </a:lnTo>
                      <a:lnTo>
                        <a:pt x="50" y="128"/>
                      </a:lnTo>
                      <a:lnTo>
                        <a:pt x="47" y="125"/>
                      </a:lnTo>
                      <a:lnTo>
                        <a:pt x="45" y="125"/>
                      </a:lnTo>
                      <a:lnTo>
                        <a:pt x="41" y="125"/>
                      </a:lnTo>
                      <a:lnTo>
                        <a:pt x="40" y="125"/>
                      </a:lnTo>
                      <a:lnTo>
                        <a:pt x="34" y="130"/>
                      </a:lnTo>
                      <a:lnTo>
                        <a:pt x="29" y="130"/>
                      </a:lnTo>
                      <a:lnTo>
                        <a:pt x="26" y="128"/>
                      </a:lnTo>
                      <a:lnTo>
                        <a:pt x="26" y="132"/>
                      </a:lnTo>
                      <a:lnTo>
                        <a:pt x="26" y="135"/>
                      </a:lnTo>
                      <a:lnTo>
                        <a:pt x="29" y="137"/>
                      </a:lnTo>
                      <a:lnTo>
                        <a:pt x="29" y="140"/>
                      </a:lnTo>
                      <a:lnTo>
                        <a:pt x="31" y="142"/>
                      </a:lnTo>
                      <a:lnTo>
                        <a:pt x="31" y="147"/>
                      </a:lnTo>
                      <a:lnTo>
                        <a:pt x="29" y="149"/>
                      </a:lnTo>
                      <a:lnTo>
                        <a:pt x="29" y="153"/>
                      </a:lnTo>
                      <a:lnTo>
                        <a:pt x="34" y="153"/>
                      </a:lnTo>
                      <a:lnTo>
                        <a:pt x="34" y="153"/>
                      </a:lnTo>
                      <a:lnTo>
                        <a:pt x="31" y="154"/>
                      </a:lnTo>
                      <a:lnTo>
                        <a:pt x="29" y="161"/>
                      </a:lnTo>
                      <a:lnTo>
                        <a:pt x="31" y="163"/>
                      </a:lnTo>
                      <a:lnTo>
                        <a:pt x="34" y="170"/>
                      </a:lnTo>
                      <a:lnTo>
                        <a:pt x="36" y="172"/>
                      </a:lnTo>
                      <a:lnTo>
                        <a:pt x="36" y="172"/>
                      </a:lnTo>
                      <a:lnTo>
                        <a:pt x="36" y="172"/>
                      </a:lnTo>
                      <a:lnTo>
                        <a:pt x="36" y="172"/>
                      </a:lnTo>
                      <a:close/>
                      <a:moveTo>
                        <a:pt x="144" y="219"/>
                      </a:moveTo>
                      <a:lnTo>
                        <a:pt x="144" y="213"/>
                      </a:lnTo>
                      <a:lnTo>
                        <a:pt x="146" y="212"/>
                      </a:lnTo>
                      <a:lnTo>
                        <a:pt x="144" y="208"/>
                      </a:lnTo>
                      <a:lnTo>
                        <a:pt x="140" y="205"/>
                      </a:lnTo>
                      <a:lnTo>
                        <a:pt x="144" y="196"/>
                      </a:lnTo>
                      <a:lnTo>
                        <a:pt x="147" y="193"/>
                      </a:lnTo>
                      <a:lnTo>
                        <a:pt x="149" y="189"/>
                      </a:lnTo>
                      <a:lnTo>
                        <a:pt x="146" y="184"/>
                      </a:lnTo>
                      <a:lnTo>
                        <a:pt x="140" y="189"/>
                      </a:lnTo>
                      <a:lnTo>
                        <a:pt x="139" y="189"/>
                      </a:lnTo>
                      <a:lnTo>
                        <a:pt x="135" y="186"/>
                      </a:lnTo>
                      <a:lnTo>
                        <a:pt x="133" y="191"/>
                      </a:lnTo>
                      <a:lnTo>
                        <a:pt x="125" y="189"/>
                      </a:lnTo>
                      <a:lnTo>
                        <a:pt x="118" y="193"/>
                      </a:lnTo>
                      <a:lnTo>
                        <a:pt x="113" y="191"/>
                      </a:lnTo>
                      <a:lnTo>
                        <a:pt x="113" y="189"/>
                      </a:lnTo>
                      <a:lnTo>
                        <a:pt x="107" y="189"/>
                      </a:lnTo>
                      <a:lnTo>
                        <a:pt x="104" y="191"/>
                      </a:lnTo>
                      <a:lnTo>
                        <a:pt x="104" y="189"/>
                      </a:lnTo>
                      <a:lnTo>
                        <a:pt x="100" y="191"/>
                      </a:lnTo>
                      <a:lnTo>
                        <a:pt x="99" y="198"/>
                      </a:lnTo>
                      <a:lnTo>
                        <a:pt x="104" y="201"/>
                      </a:lnTo>
                      <a:lnTo>
                        <a:pt x="107" y="200"/>
                      </a:lnTo>
                      <a:lnTo>
                        <a:pt x="113" y="205"/>
                      </a:lnTo>
                      <a:lnTo>
                        <a:pt x="116" y="206"/>
                      </a:lnTo>
                      <a:lnTo>
                        <a:pt x="120" y="208"/>
                      </a:lnTo>
                      <a:lnTo>
                        <a:pt x="128" y="212"/>
                      </a:lnTo>
                      <a:lnTo>
                        <a:pt x="130" y="212"/>
                      </a:lnTo>
                      <a:lnTo>
                        <a:pt x="133" y="212"/>
                      </a:lnTo>
                      <a:lnTo>
                        <a:pt x="133" y="215"/>
                      </a:lnTo>
                      <a:lnTo>
                        <a:pt x="140" y="219"/>
                      </a:lnTo>
                      <a:lnTo>
                        <a:pt x="144" y="219"/>
                      </a:lnTo>
                      <a:lnTo>
                        <a:pt x="144" y="219"/>
                      </a:lnTo>
                      <a:lnTo>
                        <a:pt x="144" y="219"/>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4" name="Freeform 27"/>
                <p:cNvSpPr>
                  <a:spLocks noEditPoints="1"/>
                </p:cNvSpPr>
                <p:nvPr/>
              </p:nvSpPr>
              <p:spPr bwMode="auto">
                <a:xfrm>
                  <a:off x="4222750" y="2989263"/>
                  <a:ext cx="342900" cy="244475"/>
                </a:xfrm>
                <a:custGeom>
                  <a:avLst/>
                  <a:gdLst/>
                  <a:ahLst/>
                  <a:cxnLst>
                    <a:cxn ang="0">
                      <a:pos x="125" y="8"/>
                    </a:cxn>
                    <a:cxn ang="0">
                      <a:pos x="127" y="13"/>
                    </a:cxn>
                    <a:cxn ang="0">
                      <a:pos x="143" y="20"/>
                    </a:cxn>
                    <a:cxn ang="0">
                      <a:pos x="155" y="22"/>
                    </a:cxn>
                    <a:cxn ang="0">
                      <a:pos x="169" y="20"/>
                    </a:cxn>
                    <a:cxn ang="0">
                      <a:pos x="179" y="26"/>
                    </a:cxn>
                    <a:cxn ang="0">
                      <a:pos x="196" y="27"/>
                    </a:cxn>
                    <a:cxn ang="0">
                      <a:pos x="195" y="36"/>
                    </a:cxn>
                    <a:cxn ang="0">
                      <a:pos x="186" y="48"/>
                    </a:cxn>
                    <a:cxn ang="0">
                      <a:pos x="183" y="52"/>
                    </a:cxn>
                    <a:cxn ang="0">
                      <a:pos x="167" y="57"/>
                    </a:cxn>
                    <a:cxn ang="0">
                      <a:pos x="163" y="62"/>
                    </a:cxn>
                    <a:cxn ang="0">
                      <a:pos x="162" y="66"/>
                    </a:cxn>
                    <a:cxn ang="0">
                      <a:pos x="151" y="73"/>
                    </a:cxn>
                    <a:cxn ang="0">
                      <a:pos x="146" y="92"/>
                    </a:cxn>
                    <a:cxn ang="0">
                      <a:pos x="153" y="102"/>
                    </a:cxn>
                    <a:cxn ang="0">
                      <a:pos x="144" y="111"/>
                    </a:cxn>
                    <a:cxn ang="0">
                      <a:pos x="139" y="125"/>
                    </a:cxn>
                    <a:cxn ang="0">
                      <a:pos x="122" y="133"/>
                    </a:cxn>
                    <a:cxn ang="0">
                      <a:pos x="115" y="140"/>
                    </a:cxn>
                    <a:cxn ang="0">
                      <a:pos x="106" y="142"/>
                    </a:cxn>
                    <a:cxn ang="0">
                      <a:pos x="99" y="142"/>
                    </a:cxn>
                    <a:cxn ang="0">
                      <a:pos x="84" y="140"/>
                    </a:cxn>
                    <a:cxn ang="0">
                      <a:pos x="66" y="147"/>
                    </a:cxn>
                    <a:cxn ang="0">
                      <a:pos x="59" y="154"/>
                    </a:cxn>
                    <a:cxn ang="0">
                      <a:pos x="45" y="140"/>
                    </a:cxn>
                    <a:cxn ang="0">
                      <a:pos x="33" y="133"/>
                    </a:cxn>
                    <a:cxn ang="0">
                      <a:pos x="28" y="125"/>
                    </a:cxn>
                    <a:cxn ang="0">
                      <a:pos x="37" y="111"/>
                    </a:cxn>
                    <a:cxn ang="0">
                      <a:pos x="35" y="99"/>
                    </a:cxn>
                    <a:cxn ang="0">
                      <a:pos x="28" y="81"/>
                    </a:cxn>
                    <a:cxn ang="0">
                      <a:pos x="38" y="76"/>
                    </a:cxn>
                    <a:cxn ang="0">
                      <a:pos x="40" y="59"/>
                    </a:cxn>
                    <a:cxn ang="0">
                      <a:pos x="47" y="48"/>
                    </a:cxn>
                    <a:cxn ang="0">
                      <a:pos x="45" y="36"/>
                    </a:cxn>
                    <a:cxn ang="0">
                      <a:pos x="24" y="36"/>
                    </a:cxn>
                    <a:cxn ang="0">
                      <a:pos x="18" y="33"/>
                    </a:cxn>
                    <a:cxn ang="0">
                      <a:pos x="7" y="33"/>
                    </a:cxn>
                    <a:cxn ang="0">
                      <a:pos x="11" y="26"/>
                    </a:cxn>
                    <a:cxn ang="0">
                      <a:pos x="7" y="26"/>
                    </a:cxn>
                    <a:cxn ang="0">
                      <a:pos x="5" y="19"/>
                    </a:cxn>
                    <a:cxn ang="0">
                      <a:pos x="0" y="13"/>
                    </a:cxn>
                    <a:cxn ang="0">
                      <a:pos x="12" y="8"/>
                    </a:cxn>
                    <a:cxn ang="0">
                      <a:pos x="19" y="5"/>
                    </a:cxn>
                    <a:cxn ang="0">
                      <a:pos x="24" y="0"/>
                    </a:cxn>
                    <a:cxn ang="0">
                      <a:pos x="35" y="3"/>
                    </a:cxn>
                    <a:cxn ang="0">
                      <a:pos x="47" y="3"/>
                    </a:cxn>
                    <a:cxn ang="0">
                      <a:pos x="56" y="0"/>
                    </a:cxn>
                    <a:cxn ang="0">
                      <a:pos x="80" y="7"/>
                    </a:cxn>
                    <a:cxn ang="0">
                      <a:pos x="94" y="7"/>
                    </a:cxn>
                    <a:cxn ang="0">
                      <a:pos x="108" y="3"/>
                    </a:cxn>
                    <a:cxn ang="0">
                      <a:pos x="120" y="7"/>
                    </a:cxn>
                    <a:cxn ang="0">
                      <a:pos x="122" y="5"/>
                    </a:cxn>
                    <a:cxn ang="0">
                      <a:pos x="212" y="81"/>
                    </a:cxn>
                    <a:cxn ang="0">
                      <a:pos x="212" y="76"/>
                    </a:cxn>
                    <a:cxn ang="0">
                      <a:pos x="203" y="80"/>
                    </a:cxn>
                    <a:cxn ang="0">
                      <a:pos x="195" y="90"/>
                    </a:cxn>
                    <a:cxn ang="0">
                      <a:pos x="196" y="81"/>
                    </a:cxn>
                    <a:cxn ang="0">
                      <a:pos x="190" y="88"/>
                    </a:cxn>
                    <a:cxn ang="0">
                      <a:pos x="195" y="90"/>
                    </a:cxn>
                    <a:cxn ang="0">
                      <a:pos x="176" y="102"/>
                    </a:cxn>
                    <a:cxn ang="0">
                      <a:pos x="176" y="95"/>
                    </a:cxn>
                    <a:cxn ang="0">
                      <a:pos x="176" y="102"/>
                    </a:cxn>
                  </a:cxnLst>
                  <a:rect l="0" t="0" r="r" b="b"/>
                  <a:pathLst>
                    <a:path w="216" h="154">
                      <a:moveTo>
                        <a:pt x="122" y="5"/>
                      </a:moveTo>
                      <a:lnTo>
                        <a:pt x="125" y="7"/>
                      </a:lnTo>
                      <a:lnTo>
                        <a:pt x="125" y="8"/>
                      </a:lnTo>
                      <a:lnTo>
                        <a:pt x="127" y="8"/>
                      </a:lnTo>
                      <a:lnTo>
                        <a:pt x="127" y="12"/>
                      </a:lnTo>
                      <a:lnTo>
                        <a:pt x="127" y="13"/>
                      </a:lnTo>
                      <a:lnTo>
                        <a:pt x="132" y="13"/>
                      </a:lnTo>
                      <a:lnTo>
                        <a:pt x="139" y="17"/>
                      </a:lnTo>
                      <a:lnTo>
                        <a:pt x="143" y="20"/>
                      </a:lnTo>
                      <a:lnTo>
                        <a:pt x="148" y="19"/>
                      </a:lnTo>
                      <a:lnTo>
                        <a:pt x="151" y="22"/>
                      </a:lnTo>
                      <a:lnTo>
                        <a:pt x="155" y="22"/>
                      </a:lnTo>
                      <a:lnTo>
                        <a:pt x="157" y="26"/>
                      </a:lnTo>
                      <a:lnTo>
                        <a:pt x="160" y="22"/>
                      </a:lnTo>
                      <a:lnTo>
                        <a:pt x="169" y="20"/>
                      </a:lnTo>
                      <a:lnTo>
                        <a:pt x="172" y="22"/>
                      </a:lnTo>
                      <a:lnTo>
                        <a:pt x="176" y="22"/>
                      </a:lnTo>
                      <a:lnTo>
                        <a:pt x="179" y="26"/>
                      </a:lnTo>
                      <a:lnTo>
                        <a:pt x="188" y="22"/>
                      </a:lnTo>
                      <a:lnTo>
                        <a:pt x="195" y="26"/>
                      </a:lnTo>
                      <a:lnTo>
                        <a:pt x="196" y="27"/>
                      </a:lnTo>
                      <a:lnTo>
                        <a:pt x="196" y="29"/>
                      </a:lnTo>
                      <a:lnTo>
                        <a:pt x="195" y="31"/>
                      </a:lnTo>
                      <a:lnTo>
                        <a:pt x="195" y="36"/>
                      </a:lnTo>
                      <a:lnTo>
                        <a:pt x="195" y="40"/>
                      </a:lnTo>
                      <a:lnTo>
                        <a:pt x="193" y="43"/>
                      </a:lnTo>
                      <a:lnTo>
                        <a:pt x="186" y="48"/>
                      </a:lnTo>
                      <a:lnTo>
                        <a:pt x="186" y="48"/>
                      </a:lnTo>
                      <a:lnTo>
                        <a:pt x="183" y="52"/>
                      </a:lnTo>
                      <a:lnTo>
                        <a:pt x="183" y="52"/>
                      </a:lnTo>
                      <a:lnTo>
                        <a:pt x="179" y="53"/>
                      </a:lnTo>
                      <a:lnTo>
                        <a:pt x="172" y="53"/>
                      </a:lnTo>
                      <a:lnTo>
                        <a:pt x="167" y="57"/>
                      </a:lnTo>
                      <a:lnTo>
                        <a:pt x="163" y="59"/>
                      </a:lnTo>
                      <a:lnTo>
                        <a:pt x="165" y="59"/>
                      </a:lnTo>
                      <a:lnTo>
                        <a:pt x="163" y="62"/>
                      </a:lnTo>
                      <a:lnTo>
                        <a:pt x="162" y="66"/>
                      </a:lnTo>
                      <a:lnTo>
                        <a:pt x="162" y="66"/>
                      </a:lnTo>
                      <a:lnTo>
                        <a:pt x="162" y="66"/>
                      </a:lnTo>
                      <a:lnTo>
                        <a:pt x="160" y="62"/>
                      </a:lnTo>
                      <a:lnTo>
                        <a:pt x="155" y="71"/>
                      </a:lnTo>
                      <a:lnTo>
                        <a:pt x="151" y="73"/>
                      </a:lnTo>
                      <a:lnTo>
                        <a:pt x="146" y="85"/>
                      </a:lnTo>
                      <a:lnTo>
                        <a:pt x="144" y="88"/>
                      </a:lnTo>
                      <a:lnTo>
                        <a:pt x="146" y="92"/>
                      </a:lnTo>
                      <a:lnTo>
                        <a:pt x="148" y="95"/>
                      </a:lnTo>
                      <a:lnTo>
                        <a:pt x="148" y="97"/>
                      </a:lnTo>
                      <a:lnTo>
                        <a:pt x="153" y="102"/>
                      </a:lnTo>
                      <a:lnTo>
                        <a:pt x="151" y="106"/>
                      </a:lnTo>
                      <a:lnTo>
                        <a:pt x="144" y="107"/>
                      </a:lnTo>
                      <a:lnTo>
                        <a:pt x="144" y="111"/>
                      </a:lnTo>
                      <a:lnTo>
                        <a:pt x="139" y="118"/>
                      </a:lnTo>
                      <a:lnTo>
                        <a:pt x="139" y="121"/>
                      </a:lnTo>
                      <a:lnTo>
                        <a:pt x="139" y="125"/>
                      </a:lnTo>
                      <a:lnTo>
                        <a:pt x="139" y="128"/>
                      </a:lnTo>
                      <a:lnTo>
                        <a:pt x="132" y="128"/>
                      </a:lnTo>
                      <a:lnTo>
                        <a:pt x="122" y="133"/>
                      </a:lnTo>
                      <a:lnTo>
                        <a:pt x="122" y="135"/>
                      </a:lnTo>
                      <a:lnTo>
                        <a:pt x="117" y="142"/>
                      </a:lnTo>
                      <a:lnTo>
                        <a:pt x="115" y="140"/>
                      </a:lnTo>
                      <a:lnTo>
                        <a:pt x="111" y="137"/>
                      </a:lnTo>
                      <a:lnTo>
                        <a:pt x="110" y="140"/>
                      </a:lnTo>
                      <a:lnTo>
                        <a:pt x="106" y="142"/>
                      </a:lnTo>
                      <a:lnTo>
                        <a:pt x="104" y="140"/>
                      </a:lnTo>
                      <a:lnTo>
                        <a:pt x="101" y="140"/>
                      </a:lnTo>
                      <a:lnTo>
                        <a:pt x="99" y="142"/>
                      </a:lnTo>
                      <a:lnTo>
                        <a:pt x="94" y="142"/>
                      </a:lnTo>
                      <a:lnTo>
                        <a:pt x="87" y="139"/>
                      </a:lnTo>
                      <a:lnTo>
                        <a:pt x="84" y="140"/>
                      </a:lnTo>
                      <a:lnTo>
                        <a:pt x="78" y="142"/>
                      </a:lnTo>
                      <a:lnTo>
                        <a:pt x="73" y="147"/>
                      </a:lnTo>
                      <a:lnTo>
                        <a:pt x="66" y="147"/>
                      </a:lnTo>
                      <a:lnTo>
                        <a:pt x="64" y="151"/>
                      </a:lnTo>
                      <a:lnTo>
                        <a:pt x="64" y="153"/>
                      </a:lnTo>
                      <a:lnTo>
                        <a:pt x="59" y="154"/>
                      </a:lnTo>
                      <a:lnTo>
                        <a:pt x="52" y="154"/>
                      </a:lnTo>
                      <a:lnTo>
                        <a:pt x="47" y="147"/>
                      </a:lnTo>
                      <a:lnTo>
                        <a:pt x="45" y="140"/>
                      </a:lnTo>
                      <a:lnTo>
                        <a:pt x="45" y="140"/>
                      </a:lnTo>
                      <a:lnTo>
                        <a:pt x="38" y="133"/>
                      </a:lnTo>
                      <a:lnTo>
                        <a:pt x="33" y="133"/>
                      </a:lnTo>
                      <a:lnTo>
                        <a:pt x="30" y="133"/>
                      </a:lnTo>
                      <a:lnTo>
                        <a:pt x="30" y="128"/>
                      </a:lnTo>
                      <a:lnTo>
                        <a:pt x="28" y="125"/>
                      </a:lnTo>
                      <a:lnTo>
                        <a:pt x="31" y="116"/>
                      </a:lnTo>
                      <a:lnTo>
                        <a:pt x="37" y="113"/>
                      </a:lnTo>
                      <a:lnTo>
                        <a:pt x="37" y="111"/>
                      </a:lnTo>
                      <a:lnTo>
                        <a:pt x="33" y="111"/>
                      </a:lnTo>
                      <a:lnTo>
                        <a:pt x="30" y="106"/>
                      </a:lnTo>
                      <a:lnTo>
                        <a:pt x="35" y="99"/>
                      </a:lnTo>
                      <a:lnTo>
                        <a:pt x="35" y="93"/>
                      </a:lnTo>
                      <a:lnTo>
                        <a:pt x="31" y="90"/>
                      </a:lnTo>
                      <a:lnTo>
                        <a:pt x="28" y="81"/>
                      </a:lnTo>
                      <a:lnTo>
                        <a:pt x="31" y="81"/>
                      </a:lnTo>
                      <a:lnTo>
                        <a:pt x="33" y="81"/>
                      </a:lnTo>
                      <a:lnTo>
                        <a:pt x="38" y="76"/>
                      </a:lnTo>
                      <a:lnTo>
                        <a:pt x="35" y="73"/>
                      </a:lnTo>
                      <a:lnTo>
                        <a:pt x="40" y="69"/>
                      </a:lnTo>
                      <a:lnTo>
                        <a:pt x="40" y="59"/>
                      </a:lnTo>
                      <a:lnTo>
                        <a:pt x="38" y="53"/>
                      </a:lnTo>
                      <a:lnTo>
                        <a:pt x="45" y="48"/>
                      </a:lnTo>
                      <a:lnTo>
                        <a:pt x="47" y="48"/>
                      </a:lnTo>
                      <a:lnTo>
                        <a:pt x="51" y="45"/>
                      </a:lnTo>
                      <a:lnTo>
                        <a:pt x="45" y="40"/>
                      </a:lnTo>
                      <a:lnTo>
                        <a:pt x="45" y="36"/>
                      </a:lnTo>
                      <a:lnTo>
                        <a:pt x="37" y="34"/>
                      </a:lnTo>
                      <a:lnTo>
                        <a:pt x="33" y="36"/>
                      </a:lnTo>
                      <a:lnTo>
                        <a:pt x="24" y="36"/>
                      </a:lnTo>
                      <a:lnTo>
                        <a:pt x="19" y="40"/>
                      </a:lnTo>
                      <a:lnTo>
                        <a:pt x="18" y="36"/>
                      </a:lnTo>
                      <a:lnTo>
                        <a:pt x="18" y="33"/>
                      </a:lnTo>
                      <a:lnTo>
                        <a:pt x="16" y="33"/>
                      </a:lnTo>
                      <a:lnTo>
                        <a:pt x="7" y="33"/>
                      </a:lnTo>
                      <a:lnTo>
                        <a:pt x="7" y="33"/>
                      </a:lnTo>
                      <a:lnTo>
                        <a:pt x="11" y="29"/>
                      </a:lnTo>
                      <a:lnTo>
                        <a:pt x="9" y="27"/>
                      </a:lnTo>
                      <a:lnTo>
                        <a:pt x="11" y="26"/>
                      </a:lnTo>
                      <a:lnTo>
                        <a:pt x="9" y="26"/>
                      </a:lnTo>
                      <a:lnTo>
                        <a:pt x="9" y="22"/>
                      </a:lnTo>
                      <a:lnTo>
                        <a:pt x="7" y="26"/>
                      </a:lnTo>
                      <a:lnTo>
                        <a:pt x="5" y="22"/>
                      </a:lnTo>
                      <a:lnTo>
                        <a:pt x="7" y="19"/>
                      </a:lnTo>
                      <a:lnTo>
                        <a:pt x="5" y="19"/>
                      </a:lnTo>
                      <a:lnTo>
                        <a:pt x="5" y="17"/>
                      </a:lnTo>
                      <a:lnTo>
                        <a:pt x="2" y="17"/>
                      </a:lnTo>
                      <a:lnTo>
                        <a:pt x="0" y="13"/>
                      </a:lnTo>
                      <a:lnTo>
                        <a:pt x="4" y="10"/>
                      </a:lnTo>
                      <a:lnTo>
                        <a:pt x="11" y="7"/>
                      </a:lnTo>
                      <a:lnTo>
                        <a:pt x="12" y="8"/>
                      </a:lnTo>
                      <a:lnTo>
                        <a:pt x="18" y="8"/>
                      </a:lnTo>
                      <a:lnTo>
                        <a:pt x="19" y="5"/>
                      </a:lnTo>
                      <a:lnTo>
                        <a:pt x="19" y="5"/>
                      </a:lnTo>
                      <a:lnTo>
                        <a:pt x="18" y="3"/>
                      </a:lnTo>
                      <a:lnTo>
                        <a:pt x="24" y="0"/>
                      </a:lnTo>
                      <a:lnTo>
                        <a:pt x="24" y="0"/>
                      </a:lnTo>
                      <a:lnTo>
                        <a:pt x="28" y="0"/>
                      </a:lnTo>
                      <a:lnTo>
                        <a:pt x="31" y="0"/>
                      </a:lnTo>
                      <a:lnTo>
                        <a:pt x="35" y="3"/>
                      </a:lnTo>
                      <a:lnTo>
                        <a:pt x="38" y="0"/>
                      </a:lnTo>
                      <a:lnTo>
                        <a:pt x="42" y="0"/>
                      </a:lnTo>
                      <a:lnTo>
                        <a:pt x="47" y="3"/>
                      </a:lnTo>
                      <a:lnTo>
                        <a:pt x="51" y="0"/>
                      </a:lnTo>
                      <a:lnTo>
                        <a:pt x="56" y="0"/>
                      </a:lnTo>
                      <a:lnTo>
                        <a:pt x="56" y="0"/>
                      </a:lnTo>
                      <a:lnTo>
                        <a:pt x="61" y="3"/>
                      </a:lnTo>
                      <a:lnTo>
                        <a:pt x="73" y="5"/>
                      </a:lnTo>
                      <a:lnTo>
                        <a:pt x="80" y="7"/>
                      </a:lnTo>
                      <a:lnTo>
                        <a:pt x="87" y="3"/>
                      </a:lnTo>
                      <a:lnTo>
                        <a:pt x="94" y="3"/>
                      </a:lnTo>
                      <a:lnTo>
                        <a:pt x="94" y="7"/>
                      </a:lnTo>
                      <a:lnTo>
                        <a:pt x="101" y="7"/>
                      </a:lnTo>
                      <a:lnTo>
                        <a:pt x="104" y="3"/>
                      </a:lnTo>
                      <a:lnTo>
                        <a:pt x="108" y="3"/>
                      </a:lnTo>
                      <a:lnTo>
                        <a:pt x="115" y="10"/>
                      </a:lnTo>
                      <a:lnTo>
                        <a:pt x="117" y="7"/>
                      </a:lnTo>
                      <a:lnTo>
                        <a:pt x="120" y="7"/>
                      </a:lnTo>
                      <a:lnTo>
                        <a:pt x="122" y="5"/>
                      </a:lnTo>
                      <a:lnTo>
                        <a:pt x="122" y="5"/>
                      </a:lnTo>
                      <a:lnTo>
                        <a:pt x="122" y="5"/>
                      </a:lnTo>
                      <a:lnTo>
                        <a:pt x="122" y="5"/>
                      </a:lnTo>
                      <a:close/>
                      <a:moveTo>
                        <a:pt x="203" y="80"/>
                      </a:moveTo>
                      <a:lnTo>
                        <a:pt x="212" y="81"/>
                      </a:lnTo>
                      <a:lnTo>
                        <a:pt x="212" y="81"/>
                      </a:lnTo>
                      <a:lnTo>
                        <a:pt x="216" y="80"/>
                      </a:lnTo>
                      <a:lnTo>
                        <a:pt x="212" y="76"/>
                      </a:lnTo>
                      <a:lnTo>
                        <a:pt x="207" y="78"/>
                      </a:lnTo>
                      <a:lnTo>
                        <a:pt x="203" y="80"/>
                      </a:lnTo>
                      <a:lnTo>
                        <a:pt x="203" y="80"/>
                      </a:lnTo>
                      <a:lnTo>
                        <a:pt x="203" y="80"/>
                      </a:lnTo>
                      <a:lnTo>
                        <a:pt x="203" y="80"/>
                      </a:lnTo>
                      <a:close/>
                      <a:moveTo>
                        <a:pt x="195" y="90"/>
                      </a:moveTo>
                      <a:lnTo>
                        <a:pt x="196" y="88"/>
                      </a:lnTo>
                      <a:lnTo>
                        <a:pt x="202" y="81"/>
                      </a:lnTo>
                      <a:lnTo>
                        <a:pt x="196" y="81"/>
                      </a:lnTo>
                      <a:lnTo>
                        <a:pt x="193" y="81"/>
                      </a:lnTo>
                      <a:lnTo>
                        <a:pt x="190" y="85"/>
                      </a:lnTo>
                      <a:lnTo>
                        <a:pt x="190" y="88"/>
                      </a:lnTo>
                      <a:lnTo>
                        <a:pt x="193" y="88"/>
                      </a:lnTo>
                      <a:lnTo>
                        <a:pt x="195" y="90"/>
                      </a:lnTo>
                      <a:lnTo>
                        <a:pt x="195" y="90"/>
                      </a:lnTo>
                      <a:lnTo>
                        <a:pt x="195" y="90"/>
                      </a:lnTo>
                      <a:lnTo>
                        <a:pt x="195" y="90"/>
                      </a:lnTo>
                      <a:close/>
                      <a:moveTo>
                        <a:pt x="176" y="102"/>
                      </a:moveTo>
                      <a:lnTo>
                        <a:pt x="176" y="99"/>
                      </a:lnTo>
                      <a:lnTo>
                        <a:pt x="179" y="97"/>
                      </a:lnTo>
                      <a:lnTo>
                        <a:pt x="176" y="95"/>
                      </a:lnTo>
                      <a:lnTo>
                        <a:pt x="172" y="97"/>
                      </a:lnTo>
                      <a:lnTo>
                        <a:pt x="172" y="99"/>
                      </a:lnTo>
                      <a:lnTo>
                        <a:pt x="176" y="102"/>
                      </a:lnTo>
                      <a:lnTo>
                        <a:pt x="176" y="102"/>
                      </a:lnTo>
                      <a:lnTo>
                        <a:pt x="176" y="102"/>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55" name="Freeform 28"/>
                <p:cNvSpPr>
                  <a:spLocks/>
                </p:cNvSpPr>
                <p:nvPr/>
              </p:nvSpPr>
              <p:spPr bwMode="auto">
                <a:xfrm>
                  <a:off x="4217988" y="3041651"/>
                  <a:ext cx="82550" cy="169863"/>
                </a:xfrm>
                <a:custGeom>
                  <a:avLst/>
                  <a:gdLst/>
                  <a:ahLst/>
                  <a:cxnLst>
                    <a:cxn ang="0">
                      <a:pos x="33" y="99"/>
                    </a:cxn>
                    <a:cxn ang="0">
                      <a:pos x="34" y="87"/>
                    </a:cxn>
                    <a:cxn ang="0">
                      <a:pos x="40" y="80"/>
                    </a:cxn>
                    <a:cxn ang="0">
                      <a:pos x="33" y="74"/>
                    </a:cxn>
                    <a:cxn ang="0">
                      <a:pos x="36" y="62"/>
                    </a:cxn>
                    <a:cxn ang="0">
                      <a:pos x="29" y="50"/>
                    </a:cxn>
                    <a:cxn ang="0">
                      <a:pos x="36" y="50"/>
                    </a:cxn>
                    <a:cxn ang="0">
                      <a:pos x="36" y="41"/>
                    </a:cxn>
                    <a:cxn ang="0">
                      <a:pos x="43" y="27"/>
                    </a:cxn>
                    <a:cxn ang="0">
                      <a:pos x="48" y="17"/>
                    </a:cxn>
                    <a:cxn ang="0">
                      <a:pos x="52" y="14"/>
                    </a:cxn>
                    <a:cxn ang="0">
                      <a:pos x="48" y="3"/>
                    </a:cxn>
                    <a:cxn ang="0">
                      <a:pos x="36" y="5"/>
                    </a:cxn>
                    <a:cxn ang="0">
                      <a:pos x="22" y="7"/>
                    </a:cxn>
                    <a:cxn ang="0">
                      <a:pos x="21" y="0"/>
                    </a:cxn>
                    <a:cxn ang="0">
                      <a:pos x="10" y="0"/>
                    </a:cxn>
                    <a:cxn ang="0">
                      <a:pos x="14" y="12"/>
                    </a:cxn>
                    <a:cxn ang="0">
                      <a:pos x="12" y="22"/>
                    </a:cxn>
                    <a:cxn ang="0">
                      <a:pos x="14" y="31"/>
                    </a:cxn>
                    <a:cxn ang="0">
                      <a:pos x="10" y="38"/>
                    </a:cxn>
                    <a:cxn ang="0">
                      <a:pos x="5" y="48"/>
                    </a:cxn>
                    <a:cxn ang="0">
                      <a:pos x="0" y="59"/>
                    </a:cxn>
                    <a:cxn ang="0">
                      <a:pos x="0" y="71"/>
                    </a:cxn>
                    <a:cxn ang="0">
                      <a:pos x="3" y="67"/>
                    </a:cxn>
                    <a:cxn ang="0">
                      <a:pos x="7" y="67"/>
                    </a:cxn>
                    <a:cxn ang="0">
                      <a:pos x="3" y="73"/>
                    </a:cxn>
                    <a:cxn ang="0">
                      <a:pos x="3" y="78"/>
                    </a:cxn>
                    <a:cxn ang="0">
                      <a:pos x="12" y="76"/>
                    </a:cxn>
                    <a:cxn ang="0">
                      <a:pos x="10" y="81"/>
                    </a:cxn>
                    <a:cxn ang="0">
                      <a:pos x="8" y="95"/>
                    </a:cxn>
                    <a:cxn ang="0">
                      <a:pos x="5" y="104"/>
                    </a:cxn>
                    <a:cxn ang="0">
                      <a:pos x="12" y="102"/>
                    </a:cxn>
                    <a:cxn ang="0">
                      <a:pos x="22" y="107"/>
                    </a:cxn>
                    <a:cxn ang="0">
                      <a:pos x="33" y="104"/>
                    </a:cxn>
                    <a:cxn ang="0">
                      <a:pos x="33" y="102"/>
                    </a:cxn>
                    <a:cxn ang="0">
                      <a:pos x="33" y="102"/>
                    </a:cxn>
                  </a:cxnLst>
                  <a:rect l="0" t="0" r="r" b="b"/>
                  <a:pathLst>
                    <a:path w="52" h="107">
                      <a:moveTo>
                        <a:pt x="33" y="102"/>
                      </a:moveTo>
                      <a:lnTo>
                        <a:pt x="33" y="99"/>
                      </a:lnTo>
                      <a:lnTo>
                        <a:pt x="31" y="94"/>
                      </a:lnTo>
                      <a:lnTo>
                        <a:pt x="34" y="87"/>
                      </a:lnTo>
                      <a:lnTo>
                        <a:pt x="40" y="81"/>
                      </a:lnTo>
                      <a:lnTo>
                        <a:pt x="40" y="80"/>
                      </a:lnTo>
                      <a:lnTo>
                        <a:pt x="36" y="80"/>
                      </a:lnTo>
                      <a:lnTo>
                        <a:pt x="33" y="74"/>
                      </a:lnTo>
                      <a:lnTo>
                        <a:pt x="36" y="69"/>
                      </a:lnTo>
                      <a:lnTo>
                        <a:pt x="36" y="62"/>
                      </a:lnTo>
                      <a:lnTo>
                        <a:pt x="34" y="59"/>
                      </a:lnTo>
                      <a:lnTo>
                        <a:pt x="29" y="50"/>
                      </a:lnTo>
                      <a:lnTo>
                        <a:pt x="34" y="50"/>
                      </a:lnTo>
                      <a:lnTo>
                        <a:pt x="36" y="50"/>
                      </a:lnTo>
                      <a:lnTo>
                        <a:pt x="41" y="45"/>
                      </a:lnTo>
                      <a:lnTo>
                        <a:pt x="36" y="41"/>
                      </a:lnTo>
                      <a:lnTo>
                        <a:pt x="43" y="38"/>
                      </a:lnTo>
                      <a:lnTo>
                        <a:pt x="43" y="27"/>
                      </a:lnTo>
                      <a:lnTo>
                        <a:pt x="41" y="22"/>
                      </a:lnTo>
                      <a:lnTo>
                        <a:pt x="48" y="17"/>
                      </a:lnTo>
                      <a:lnTo>
                        <a:pt x="50" y="17"/>
                      </a:lnTo>
                      <a:lnTo>
                        <a:pt x="52" y="14"/>
                      </a:lnTo>
                      <a:lnTo>
                        <a:pt x="48" y="7"/>
                      </a:lnTo>
                      <a:lnTo>
                        <a:pt x="48" y="3"/>
                      </a:lnTo>
                      <a:lnTo>
                        <a:pt x="40" y="3"/>
                      </a:lnTo>
                      <a:lnTo>
                        <a:pt x="36" y="5"/>
                      </a:lnTo>
                      <a:lnTo>
                        <a:pt x="26" y="3"/>
                      </a:lnTo>
                      <a:lnTo>
                        <a:pt x="22" y="7"/>
                      </a:lnTo>
                      <a:lnTo>
                        <a:pt x="21" y="3"/>
                      </a:lnTo>
                      <a:lnTo>
                        <a:pt x="21" y="0"/>
                      </a:lnTo>
                      <a:lnTo>
                        <a:pt x="17" y="0"/>
                      </a:lnTo>
                      <a:lnTo>
                        <a:pt x="10" y="0"/>
                      </a:lnTo>
                      <a:lnTo>
                        <a:pt x="10" y="5"/>
                      </a:lnTo>
                      <a:lnTo>
                        <a:pt x="14" y="12"/>
                      </a:lnTo>
                      <a:lnTo>
                        <a:pt x="12" y="22"/>
                      </a:lnTo>
                      <a:lnTo>
                        <a:pt x="12" y="22"/>
                      </a:lnTo>
                      <a:lnTo>
                        <a:pt x="12" y="27"/>
                      </a:lnTo>
                      <a:lnTo>
                        <a:pt x="14" y="31"/>
                      </a:lnTo>
                      <a:lnTo>
                        <a:pt x="12" y="34"/>
                      </a:lnTo>
                      <a:lnTo>
                        <a:pt x="10" y="38"/>
                      </a:lnTo>
                      <a:lnTo>
                        <a:pt x="10" y="43"/>
                      </a:lnTo>
                      <a:lnTo>
                        <a:pt x="5" y="48"/>
                      </a:lnTo>
                      <a:lnTo>
                        <a:pt x="5" y="50"/>
                      </a:lnTo>
                      <a:lnTo>
                        <a:pt x="0" y="59"/>
                      </a:lnTo>
                      <a:lnTo>
                        <a:pt x="0" y="67"/>
                      </a:lnTo>
                      <a:lnTo>
                        <a:pt x="0" y="71"/>
                      </a:lnTo>
                      <a:lnTo>
                        <a:pt x="3" y="71"/>
                      </a:lnTo>
                      <a:lnTo>
                        <a:pt x="3" y="67"/>
                      </a:lnTo>
                      <a:lnTo>
                        <a:pt x="7" y="66"/>
                      </a:lnTo>
                      <a:lnTo>
                        <a:pt x="7" y="67"/>
                      </a:lnTo>
                      <a:lnTo>
                        <a:pt x="8" y="71"/>
                      </a:lnTo>
                      <a:lnTo>
                        <a:pt x="3" y="73"/>
                      </a:lnTo>
                      <a:lnTo>
                        <a:pt x="3" y="76"/>
                      </a:lnTo>
                      <a:lnTo>
                        <a:pt x="3" y="78"/>
                      </a:lnTo>
                      <a:lnTo>
                        <a:pt x="7" y="76"/>
                      </a:lnTo>
                      <a:lnTo>
                        <a:pt x="12" y="76"/>
                      </a:lnTo>
                      <a:lnTo>
                        <a:pt x="8" y="78"/>
                      </a:lnTo>
                      <a:lnTo>
                        <a:pt x="10" y="81"/>
                      </a:lnTo>
                      <a:lnTo>
                        <a:pt x="8" y="87"/>
                      </a:lnTo>
                      <a:lnTo>
                        <a:pt x="8" y="95"/>
                      </a:lnTo>
                      <a:lnTo>
                        <a:pt x="7" y="102"/>
                      </a:lnTo>
                      <a:lnTo>
                        <a:pt x="5" y="104"/>
                      </a:lnTo>
                      <a:lnTo>
                        <a:pt x="7" y="106"/>
                      </a:lnTo>
                      <a:lnTo>
                        <a:pt x="12" y="102"/>
                      </a:lnTo>
                      <a:lnTo>
                        <a:pt x="21" y="104"/>
                      </a:lnTo>
                      <a:lnTo>
                        <a:pt x="22" y="107"/>
                      </a:lnTo>
                      <a:lnTo>
                        <a:pt x="27" y="104"/>
                      </a:lnTo>
                      <a:lnTo>
                        <a:pt x="33" y="104"/>
                      </a:lnTo>
                      <a:lnTo>
                        <a:pt x="33" y="102"/>
                      </a:lnTo>
                      <a:lnTo>
                        <a:pt x="33" y="102"/>
                      </a:lnTo>
                      <a:lnTo>
                        <a:pt x="33" y="102"/>
                      </a:lnTo>
                      <a:lnTo>
                        <a:pt x="33" y="102"/>
                      </a:lnTo>
                      <a:close/>
                    </a:path>
                  </a:pathLst>
                </a:custGeom>
                <a:solidFill>
                  <a:srgbClr val="BDBD00"/>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470" name="Groupe 221"/>
            <p:cNvGrpSpPr/>
            <p:nvPr/>
          </p:nvGrpSpPr>
          <p:grpSpPr>
            <a:xfrm>
              <a:off x="2060575" y="887413"/>
              <a:ext cx="6970713" cy="4395788"/>
              <a:chOff x="2060575" y="887413"/>
              <a:chExt cx="6970713" cy="4395788"/>
            </a:xfrm>
          </p:grpSpPr>
          <p:sp>
            <p:nvSpPr>
              <p:cNvPr id="479" name="Freeform 29"/>
              <p:cNvSpPr>
                <a:spLocks/>
              </p:cNvSpPr>
              <p:nvPr/>
            </p:nvSpPr>
            <p:spPr bwMode="auto">
              <a:xfrm>
                <a:off x="5830888" y="3529013"/>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rgbClr val="ED771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30"/>
              <p:cNvSpPr>
                <a:spLocks/>
              </p:cNvSpPr>
              <p:nvPr/>
            </p:nvSpPr>
            <p:spPr bwMode="auto">
              <a:xfrm>
                <a:off x="5830888" y="3529013"/>
                <a:ext cx="133350" cy="103188"/>
              </a:xfrm>
              <a:custGeom>
                <a:avLst/>
                <a:gdLst/>
                <a:ahLst/>
                <a:cxnLst>
                  <a:cxn ang="0">
                    <a:pos x="0" y="33"/>
                  </a:cxn>
                  <a:cxn ang="0">
                    <a:pos x="0" y="40"/>
                  </a:cxn>
                  <a:cxn ang="0">
                    <a:pos x="4" y="46"/>
                  </a:cxn>
                  <a:cxn ang="0">
                    <a:pos x="5" y="58"/>
                  </a:cxn>
                  <a:cxn ang="0">
                    <a:pos x="59" y="65"/>
                  </a:cxn>
                  <a:cxn ang="0">
                    <a:pos x="64" y="60"/>
                  </a:cxn>
                  <a:cxn ang="0">
                    <a:pos x="78" y="14"/>
                  </a:cxn>
                  <a:cxn ang="0">
                    <a:pos x="84" y="14"/>
                  </a:cxn>
                  <a:cxn ang="0">
                    <a:pos x="82" y="11"/>
                  </a:cxn>
                  <a:cxn ang="0">
                    <a:pos x="82" y="7"/>
                  </a:cxn>
                  <a:cxn ang="0">
                    <a:pos x="78" y="9"/>
                  </a:cxn>
                  <a:cxn ang="0">
                    <a:pos x="78" y="7"/>
                  </a:cxn>
                  <a:cxn ang="0">
                    <a:pos x="78" y="7"/>
                  </a:cxn>
                  <a:cxn ang="0">
                    <a:pos x="78" y="7"/>
                  </a:cxn>
                  <a:cxn ang="0">
                    <a:pos x="77" y="0"/>
                  </a:cxn>
                  <a:cxn ang="0">
                    <a:pos x="75" y="0"/>
                  </a:cxn>
                  <a:cxn ang="0">
                    <a:pos x="75" y="4"/>
                  </a:cxn>
                  <a:cxn ang="0">
                    <a:pos x="73" y="4"/>
                  </a:cxn>
                  <a:cxn ang="0">
                    <a:pos x="63" y="11"/>
                  </a:cxn>
                  <a:cxn ang="0">
                    <a:pos x="63" y="14"/>
                  </a:cxn>
                  <a:cxn ang="0">
                    <a:pos x="52" y="23"/>
                  </a:cxn>
                  <a:cxn ang="0">
                    <a:pos x="51" y="26"/>
                  </a:cxn>
                  <a:cxn ang="0">
                    <a:pos x="52" y="26"/>
                  </a:cxn>
                  <a:cxn ang="0">
                    <a:pos x="52" y="28"/>
                  </a:cxn>
                  <a:cxn ang="0">
                    <a:pos x="51" y="33"/>
                  </a:cxn>
                  <a:cxn ang="0">
                    <a:pos x="47" y="32"/>
                  </a:cxn>
                  <a:cxn ang="0">
                    <a:pos x="47" y="32"/>
                  </a:cxn>
                  <a:cxn ang="0">
                    <a:pos x="42" y="32"/>
                  </a:cxn>
                  <a:cxn ang="0">
                    <a:pos x="45" y="35"/>
                  </a:cxn>
                  <a:cxn ang="0">
                    <a:pos x="42" y="35"/>
                  </a:cxn>
                  <a:cxn ang="0">
                    <a:pos x="42" y="37"/>
                  </a:cxn>
                  <a:cxn ang="0">
                    <a:pos x="37" y="39"/>
                  </a:cxn>
                  <a:cxn ang="0">
                    <a:pos x="33" y="39"/>
                  </a:cxn>
                  <a:cxn ang="0">
                    <a:pos x="31" y="37"/>
                  </a:cxn>
                  <a:cxn ang="0">
                    <a:pos x="28" y="37"/>
                  </a:cxn>
                  <a:cxn ang="0">
                    <a:pos x="26" y="35"/>
                  </a:cxn>
                  <a:cxn ang="0">
                    <a:pos x="24" y="37"/>
                  </a:cxn>
                  <a:cxn ang="0">
                    <a:pos x="18" y="35"/>
                  </a:cxn>
                  <a:cxn ang="0">
                    <a:pos x="12" y="40"/>
                  </a:cxn>
                  <a:cxn ang="0">
                    <a:pos x="9" y="40"/>
                  </a:cxn>
                  <a:cxn ang="0">
                    <a:pos x="5" y="40"/>
                  </a:cxn>
                  <a:cxn ang="0">
                    <a:pos x="4" y="40"/>
                  </a:cxn>
                  <a:cxn ang="0">
                    <a:pos x="2" y="33"/>
                  </a:cxn>
                  <a:cxn ang="0">
                    <a:pos x="2" y="33"/>
                  </a:cxn>
                  <a:cxn ang="0">
                    <a:pos x="0" y="33"/>
                  </a:cxn>
                  <a:cxn ang="0">
                    <a:pos x="0" y="33"/>
                  </a:cxn>
                  <a:cxn ang="0">
                    <a:pos x="0" y="33"/>
                  </a:cxn>
                </a:cxnLst>
                <a:rect l="0" t="0" r="r" b="b"/>
                <a:pathLst>
                  <a:path w="84" h="65">
                    <a:moveTo>
                      <a:pt x="0" y="33"/>
                    </a:moveTo>
                    <a:lnTo>
                      <a:pt x="0" y="40"/>
                    </a:lnTo>
                    <a:lnTo>
                      <a:pt x="4" y="46"/>
                    </a:lnTo>
                    <a:lnTo>
                      <a:pt x="5" y="58"/>
                    </a:lnTo>
                    <a:lnTo>
                      <a:pt x="59" y="65"/>
                    </a:lnTo>
                    <a:lnTo>
                      <a:pt x="64" y="60"/>
                    </a:lnTo>
                    <a:lnTo>
                      <a:pt x="78" y="14"/>
                    </a:lnTo>
                    <a:lnTo>
                      <a:pt x="84" y="14"/>
                    </a:lnTo>
                    <a:lnTo>
                      <a:pt x="82" y="11"/>
                    </a:lnTo>
                    <a:lnTo>
                      <a:pt x="82" y="7"/>
                    </a:lnTo>
                    <a:lnTo>
                      <a:pt x="78" y="9"/>
                    </a:lnTo>
                    <a:lnTo>
                      <a:pt x="78" y="7"/>
                    </a:lnTo>
                    <a:lnTo>
                      <a:pt x="78" y="7"/>
                    </a:lnTo>
                    <a:lnTo>
                      <a:pt x="78" y="7"/>
                    </a:lnTo>
                    <a:lnTo>
                      <a:pt x="77" y="0"/>
                    </a:lnTo>
                    <a:lnTo>
                      <a:pt x="75" y="0"/>
                    </a:lnTo>
                    <a:lnTo>
                      <a:pt x="75" y="4"/>
                    </a:lnTo>
                    <a:lnTo>
                      <a:pt x="73" y="4"/>
                    </a:lnTo>
                    <a:lnTo>
                      <a:pt x="63" y="11"/>
                    </a:lnTo>
                    <a:lnTo>
                      <a:pt x="63" y="14"/>
                    </a:lnTo>
                    <a:lnTo>
                      <a:pt x="52" y="23"/>
                    </a:lnTo>
                    <a:lnTo>
                      <a:pt x="51" y="26"/>
                    </a:lnTo>
                    <a:lnTo>
                      <a:pt x="52" y="26"/>
                    </a:lnTo>
                    <a:lnTo>
                      <a:pt x="52" y="28"/>
                    </a:lnTo>
                    <a:lnTo>
                      <a:pt x="51" y="33"/>
                    </a:lnTo>
                    <a:lnTo>
                      <a:pt x="47" y="32"/>
                    </a:lnTo>
                    <a:lnTo>
                      <a:pt x="47" y="32"/>
                    </a:lnTo>
                    <a:lnTo>
                      <a:pt x="42" y="32"/>
                    </a:lnTo>
                    <a:lnTo>
                      <a:pt x="45" y="35"/>
                    </a:lnTo>
                    <a:lnTo>
                      <a:pt x="42" y="35"/>
                    </a:lnTo>
                    <a:lnTo>
                      <a:pt x="42" y="37"/>
                    </a:lnTo>
                    <a:lnTo>
                      <a:pt x="37" y="39"/>
                    </a:lnTo>
                    <a:lnTo>
                      <a:pt x="33" y="39"/>
                    </a:lnTo>
                    <a:lnTo>
                      <a:pt x="31" y="37"/>
                    </a:lnTo>
                    <a:lnTo>
                      <a:pt x="28" y="37"/>
                    </a:lnTo>
                    <a:lnTo>
                      <a:pt x="26" y="35"/>
                    </a:lnTo>
                    <a:lnTo>
                      <a:pt x="24" y="37"/>
                    </a:lnTo>
                    <a:lnTo>
                      <a:pt x="18" y="35"/>
                    </a:lnTo>
                    <a:lnTo>
                      <a:pt x="12" y="40"/>
                    </a:lnTo>
                    <a:lnTo>
                      <a:pt x="9" y="40"/>
                    </a:lnTo>
                    <a:lnTo>
                      <a:pt x="5" y="40"/>
                    </a:lnTo>
                    <a:lnTo>
                      <a:pt x="4" y="40"/>
                    </a:lnTo>
                    <a:lnTo>
                      <a:pt x="2" y="33"/>
                    </a:lnTo>
                    <a:lnTo>
                      <a:pt x="2" y="33"/>
                    </a:lnTo>
                    <a:lnTo>
                      <a:pt x="0" y="33"/>
                    </a:lnTo>
                    <a:lnTo>
                      <a:pt x="0" y="33"/>
                    </a:lnTo>
                    <a:lnTo>
                      <a:pt x="0" y="33"/>
                    </a:lnTo>
                    <a:close/>
                  </a:path>
                </a:pathLst>
              </a:custGeom>
              <a:solidFill>
                <a:srgbClr val="ED771A"/>
              </a:solidFill>
              <a:ln w="11113"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32"/>
              <p:cNvSpPr>
                <a:spLocks/>
              </p:cNvSpPr>
              <p:nvPr/>
            </p:nvSpPr>
            <p:spPr bwMode="auto">
              <a:xfrm>
                <a:off x="4132263" y="3243263"/>
                <a:ext cx="300038" cy="258763"/>
              </a:xfrm>
              <a:custGeom>
                <a:avLst/>
                <a:gdLst/>
                <a:ahLst/>
                <a:cxnLst>
                  <a:cxn ang="0">
                    <a:pos x="62" y="154"/>
                  </a:cxn>
                  <a:cxn ang="0">
                    <a:pos x="62" y="154"/>
                  </a:cxn>
                  <a:cxn ang="0">
                    <a:pos x="71" y="135"/>
                  </a:cxn>
                  <a:cxn ang="0">
                    <a:pos x="80" y="128"/>
                  </a:cxn>
                  <a:cxn ang="0">
                    <a:pos x="92" y="125"/>
                  </a:cxn>
                  <a:cxn ang="0">
                    <a:pos x="102" y="125"/>
                  </a:cxn>
                  <a:cxn ang="0">
                    <a:pos x="121" y="116"/>
                  </a:cxn>
                  <a:cxn ang="0">
                    <a:pos x="151" y="97"/>
                  </a:cxn>
                  <a:cxn ang="0">
                    <a:pos x="153" y="88"/>
                  </a:cxn>
                  <a:cxn ang="0">
                    <a:pos x="158" y="83"/>
                  </a:cxn>
                  <a:cxn ang="0">
                    <a:pos x="165" y="74"/>
                  </a:cxn>
                  <a:cxn ang="0">
                    <a:pos x="187" y="71"/>
                  </a:cxn>
                  <a:cxn ang="0">
                    <a:pos x="189" y="66"/>
                  </a:cxn>
                  <a:cxn ang="0">
                    <a:pos x="187" y="66"/>
                  </a:cxn>
                  <a:cxn ang="0">
                    <a:pos x="182" y="62"/>
                  </a:cxn>
                  <a:cxn ang="0">
                    <a:pos x="179" y="53"/>
                  </a:cxn>
                  <a:cxn ang="0">
                    <a:pos x="177" y="40"/>
                  </a:cxn>
                  <a:cxn ang="0">
                    <a:pos x="177" y="26"/>
                  </a:cxn>
                  <a:cxn ang="0">
                    <a:pos x="175" y="22"/>
                  </a:cxn>
                  <a:cxn ang="0">
                    <a:pos x="174" y="17"/>
                  </a:cxn>
                  <a:cxn ang="0">
                    <a:pos x="168" y="17"/>
                  </a:cxn>
                  <a:cxn ang="0">
                    <a:pos x="158" y="13"/>
                  </a:cxn>
                  <a:cxn ang="0">
                    <a:pos x="156" y="10"/>
                  </a:cxn>
                  <a:cxn ang="0">
                    <a:pos x="153" y="13"/>
                  </a:cxn>
                  <a:cxn ang="0">
                    <a:pos x="142" y="13"/>
                  </a:cxn>
                  <a:cxn ang="0">
                    <a:pos x="135" y="15"/>
                  </a:cxn>
                  <a:cxn ang="0">
                    <a:pos x="127" y="15"/>
                  </a:cxn>
                  <a:cxn ang="0">
                    <a:pos x="121" y="8"/>
                  </a:cxn>
                  <a:cxn ang="0">
                    <a:pos x="120" y="3"/>
                  </a:cxn>
                  <a:cxn ang="0">
                    <a:pos x="120" y="0"/>
                  </a:cxn>
                  <a:cxn ang="0">
                    <a:pos x="114" y="3"/>
                  </a:cxn>
                  <a:cxn ang="0">
                    <a:pos x="108" y="6"/>
                  </a:cxn>
                  <a:cxn ang="0">
                    <a:pos x="104" y="22"/>
                  </a:cxn>
                  <a:cxn ang="0">
                    <a:pos x="102" y="33"/>
                  </a:cxn>
                  <a:cxn ang="0">
                    <a:pos x="92" y="40"/>
                  </a:cxn>
                  <a:cxn ang="0">
                    <a:pos x="81" y="43"/>
                  </a:cxn>
                  <a:cxn ang="0">
                    <a:pos x="76" y="48"/>
                  </a:cxn>
                  <a:cxn ang="0">
                    <a:pos x="64" y="55"/>
                  </a:cxn>
                  <a:cxn ang="0">
                    <a:pos x="55" y="62"/>
                  </a:cxn>
                  <a:cxn ang="0">
                    <a:pos x="57" y="74"/>
                  </a:cxn>
                  <a:cxn ang="0">
                    <a:pos x="45" y="88"/>
                  </a:cxn>
                  <a:cxn ang="0">
                    <a:pos x="48" y="99"/>
                  </a:cxn>
                  <a:cxn ang="0">
                    <a:pos x="48" y="107"/>
                  </a:cxn>
                  <a:cxn ang="0">
                    <a:pos x="48" y="113"/>
                  </a:cxn>
                  <a:cxn ang="0">
                    <a:pos x="36" y="128"/>
                  </a:cxn>
                  <a:cxn ang="0">
                    <a:pos x="26" y="135"/>
                  </a:cxn>
                  <a:cxn ang="0">
                    <a:pos x="0" y="154"/>
                  </a:cxn>
                </a:cxnLst>
                <a:rect l="0" t="0" r="r" b="b"/>
                <a:pathLst>
                  <a:path w="189" h="163">
                    <a:moveTo>
                      <a:pt x="62" y="163"/>
                    </a:moveTo>
                    <a:lnTo>
                      <a:pt x="62" y="154"/>
                    </a:lnTo>
                    <a:lnTo>
                      <a:pt x="62" y="154"/>
                    </a:lnTo>
                    <a:lnTo>
                      <a:pt x="62" y="154"/>
                    </a:lnTo>
                    <a:lnTo>
                      <a:pt x="62" y="142"/>
                    </a:lnTo>
                    <a:lnTo>
                      <a:pt x="71" y="135"/>
                    </a:lnTo>
                    <a:lnTo>
                      <a:pt x="75" y="130"/>
                    </a:lnTo>
                    <a:lnTo>
                      <a:pt x="80" y="128"/>
                    </a:lnTo>
                    <a:lnTo>
                      <a:pt x="87" y="125"/>
                    </a:lnTo>
                    <a:lnTo>
                      <a:pt x="92" y="125"/>
                    </a:lnTo>
                    <a:lnTo>
                      <a:pt x="95" y="125"/>
                    </a:lnTo>
                    <a:lnTo>
                      <a:pt x="102" y="125"/>
                    </a:lnTo>
                    <a:lnTo>
                      <a:pt x="108" y="125"/>
                    </a:lnTo>
                    <a:lnTo>
                      <a:pt x="121" y="116"/>
                    </a:lnTo>
                    <a:lnTo>
                      <a:pt x="139" y="106"/>
                    </a:lnTo>
                    <a:lnTo>
                      <a:pt x="151" y="97"/>
                    </a:lnTo>
                    <a:lnTo>
                      <a:pt x="153" y="93"/>
                    </a:lnTo>
                    <a:lnTo>
                      <a:pt x="153" y="88"/>
                    </a:lnTo>
                    <a:lnTo>
                      <a:pt x="154" y="85"/>
                    </a:lnTo>
                    <a:lnTo>
                      <a:pt x="158" y="83"/>
                    </a:lnTo>
                    <a:lnTo>
                      <a:pt x="161" y="76"/>
                    </a:lnTo>
                    <a:lnTo>
                      <a:pt x="165" y="74"/>
                    </a:lnTo>
                    <a:lnTo>
                      <a:pt x="187" y="74"/>
                    </a:lnTo>
                    <a:lnTo>
                      <a:pt x="187" y="71"/>
                    </a:lnTo>
                    <a:lnTo>
                      <a:pt x="187" y="69"/>
                    </a:lnTo>
                    <a:lnTo>
                      <a:pt x="189" y="66"/>
                    </a:lnTo>
                    <a:lnTo>
                      <a:pt x="187" y="66"/>
                    </a:lnTo>
                    <a:lnTo>
                      <a:pt x="187" y="66"/>
                    </a:lnTo>
                    <a:lnTo>
                      <a:pt x="184" y="62"/>
                    </a:lnTo>
                    <a:lnTo>
                      <a:pt x="182" y="62"/>
                    </a:lnTo>
                    <a:lnTo>
                      <a:pt x="182" y="59"/>
                    </a:lnTo>
                    <a:lnTo>
                      <a:pt x="179" y="53"/>
                    </a:lnTo>
                    <a:lnTo>
                      <a:pt x="177" y="40"/>
                    </a:lnTo>
                    <a:lnTo>
                      <a:pt x="177" y="40"/>
                    </a:lnTo>
                    <a:lnTo>
                      <a:pt x="177" y="33"/>
                    </a:lnTo>
                    <a:lnTo>
                      <a:pt x="177" y="26"/>
                    </a:lnTo>
                    <a:lnTo>
                      <a:pt x="177" y="26"/>
                    </a:lnTo>
                    <a:lnTo>
                      <a:pt x="175" y="22"/>
                    </a:lnTo>
                    <a:lnTo>
                      <a:pt x="174" y="20"/>
                    </a:lnTo>
                    <a:lnTo>
                      <a:pt x="174" y="17"/>
                    </a:lnTo>
                    <a:lnTo>
                      <a:pt x="172" y="17"/>
                    </a:lnTo>
                    <a:lnTo>
                      <a:pt x="168" y="17"/>
                    </a:lnTo>
                    <a:lnTo>
                      <a:pt x="160" y="15"/>
                    </a:lnTo>
                    <a:lnTo>
                      <a:pt x="158" y="13"/>
                    </a:lnTo>
                    <a:lnTo>
                      <a:pt x="158" y="10"/>
                    </a:lnTo>
                    <a:lnTo>
                      <a:pt x="156" y="10"/>
                    </a:lnTo>
                    <a:lnTo>
                      <a:pt x="156" y="10"/>
                    </a:lnTo>
                    <a:lnTo>
                      <a:pt x="153" y="13"/>
                    </a:lnTo>
                    <a:lnTo>
                      <a:pt x="147" y="13"/>
                    </a:lnTo>
                    <a:lnTo>
                      <a:pt x="142" y="13"/>
                    </a:lnTo>
                    <a:lnTo>
                      <a:pt x="139" y="12"/>
                    </a:lnTo>
                    <a:lnTo>
                      <a:pt x="135" y="15"/>
                    </a:lnTo>
                    <a:lnTo>
                      <a:pt x="130" y="15"/>
                    </a:lnTo>
                    <a:lnTo>
                      <a:pt x="127" y="15"/>
                    </a:lnTo>
                    <a:lnTo>
                      <a:pt x="121" y="10"/>
                    </a:lnTo>
                    <a:lnTo>
                      <a:pt x="121" y="8"/>
                    </a:lnTo>
                    <a:lnTo>
                      <a:pt x="120" y="5"/>
                    </a:lnTo>
                    <a:lnTo>
                      <a:pt x="120" y="3"/>
                    </a:lnTo>
                    <a:lnTo>
                      <a:pt x="121" y="3"/>
                    </a:lnTo>
                    <a:lnTo>
                      <a:pt x="120" y="0"/>
                    </a:lnTo>
                    <a:lnTo>
                      <a:pt x="116" y="3"/>
                    </a:lnTo>
                    <a:lnTo>
                      <a:pt x="114" y="3"/>
                    </a:lnTo>
                    <a:lnTo>
                      <a:pt x="111" y="3"/>
                    </a:lnTo>
                    <a:lnTo>
                      <a:pt x="108" y="6"/>
                    </a:lnTo>
                    <a:lnTo>
                      <a:pt x="108" y="17"/>
                    </a:lnTo>
                    <a:lnTo>
                      <a:pt x="104" y="22"/>
                    </a:lnTo>
                    <a:lnTo>
                      <a:pt x="102" y="27"/>
                    </a:lnTo>
                    <a:lnTo>
                      <a:pt x="102" y="33"/>
                    </a:lnTo>
                    <a:lnTo>
                      <a:pt x="94" y="40"/>
                    </a:lnTo>
                    <a:lnTo>
                      <a:pt x="92" y="40"/>
                    </a:lnTo>
                    <a:lnTo>
                      <a:pt x="88" y="43"/>
                    </a:lnTo>
                    <a:lnTo>
                      <a:pt x="81" y="43"/>
                    </a:lnTo>
                    <a:lnTo>
                      <a:pt x="76" y="48"/>
                    </a:lnTo>
                    <a:lnTo>
                      <a:pt x="76" y="48"/>
                    </a:lnTo>
                    <a:lnTo>
                      <a:pt x="69" y="53"/>
                    </a:lnTo>
                    <a:lnTo>
                      <a:pt x="64" y="55"/>
                    </a:lnTo>
                    <a:lnTo>
                      <a:pt x="62" y="59"/>
                    </a:lnTo>
                    <a:lnTo>
                      <a:pt x="55" y="62"/>
                    </a:lnTo>
                    <a:lnTo>
                      <a:pt x="59" y="69"/>
                    </a:lnTo>
                    <a:lnTo>
                      <a:pt x="57" y="74"/>
                    </a:lnTo>
                    <a:lnTo>
                      <a:pt x="50" y="80"/>
                    </a:lnTo>
                    <a:lnTo>
                      <a:pt x="45" y="88"/>
                    </a:lnTo>
                    <a:lnTo>
                      <a:pt x="45" y="92"/>
                    </a:lnTo>
                    <a:lnTo>
                      <a:pt x="48" y="99"/>
                    </a:lnTo>
                    <a:lnTo>
                      <a:pt x="47" y="106"/>
                    </a:lnTo>
                    <a:lnTo>
                      <a:pt x="48" y="107"/>
                    </a:lnTo>
                    <a:lnTo>
                      <a:pt x="50" y="107"/>
                    </a:lnTo>
                    <a:lnTo>
                      <a:pt x="48" y="113"/>
                    </a:lnTo>
                    <a:lnTo>
                      <a:pt x="36" y="125"/>
                    </a:lnTo>
                    <a:lnTo>
                      <a:pt x="36" y="128"/>
                    </a:lnTo>
                    <a:lnTo>
                      <a:pt x="33" y="135"/>
                    </a:lnTo>
                    <a:lnTo>
                      <a:pt x="26" y="135"/>
                    </a:lnTo>
                    <a:lnTo>
                      <a:pt x="14" y="147"/>
                    </a:lnTo>
                    <a:lnTo>
                      <a:pt x="0" y="15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2" name="Line 33"/>
              <p:cNvSpPr>
                <a:spLocks noChangeShapeType="1"/>
              </p:cNvSpPr>
              <p:nvPr/>
            </p:nvSpPr>
            <p:spPr bwMode="auto">
              <a:xfrm>
                <a:off x="4230688" y="3498851"/>
                <a:ext cx="1588" cy="1588"/>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3" name="Line 34"/>
              <p:cNvSpPr>
                <a:spLocks noChangeShapeType="1"/>
              </p:cNvSpPr>
              <p:nvPr/>
            </p:nvSpPr>
            <p:spPr bwMode="auto">
              <a:xfrm>
                <a:off x="4230688" y="3498851"/>
                <a:ext cx="1588" cy="1588"/>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4" name="Freeform 36"/>
              <p:cNvSpPr>
                <a:spLocks/>
              </p:cNvSpPr>
              <p:nvPr/>
            </p:nvSpPr>
            <p:spPr bwMode="auto">
              <a:xfrm>
                <a:off x="4008438" y="3479801"/>
                <a:ext cx="222250" cy="198438"/>
              </a:xfrm>
              <a:custGeom>
                <a:avLst/>
                <a:gdLst/>
                <a:ahLst/>
                <a:cxnLst>
                  <a:cxn ang="0">
                    <a:pos x="78" y="0"/>
                  </a:cxn>
                  <a:cxn ang="0">
                    <a:pos x="64" y="17"/>
                  </a:cxn>
                  <a:cxn ang="0">
                    <a:pos x="64" y="23"/>
                  </a:cxn>
                  <a:cxn ang="0">
                    <a:pos x="60" y="23"/>
                  </a:cxn>
                  <a:cxn ang="0">
                    <a:pos x="48" y="31"/>
                  </a:cxn>
                  <a:cxn ang="0">
                    <a:pos x="48" y="35"/>
                  </a:cxn>
                  <a:cxn ang="0">
                    <a:pos x="45" y="35"/>
                  </a:cxn>
                  <a:cxn ang="0">
                    <a:pos x="45" y="40"/>
                  </a:cxn>
                  <a:cxn ang="0">
                    <a:pos x="34" y="56"/>
                  </a:cxn>
                  <a:cxn ang="0">
                    <a:pos x="34" y="61"/>
                  </a:cxn>
                  <a:cxn ang="0">
                    <a:pos x="26" y="70"/>
                  </a:cxn>
                  <a:cxn ang="0">
                    <a:pos x="22" y="70"/>
                  </a:cxn>
                  <a:cxn ang="0">
                    <a:pos x="20" y="78"/>
                  </a:cxn>
                  <a:cxn ang="0">
                    <a:pos x="20" y="82"/>
                  </a:cxn>
                  <a:cxn ang="0">
                    <a:pos x="14" y="92"/>
                  </a:cxn>
                  <a:cxn ang="0">
                    <a:pos x="14" y="94"/>
                  </a:cxn>
                  <a:cxn ang="0">
                    <a:pos x="14" y="96"/>
                  </a:cxn>
                  <a:cxn ang="0">
                    <a:pos x="12" y="96"/>
                  </a:cxn>
                  <a:cxn ang="0">
                    <a:pos x="7" y="106"/>
                  </a:cxn>
                  <a:cxn ang="0">
                    <a:pos x="3" y="108"/>
                  </a:cxn>
                  <a:cxn ang="0">
                    <a:pos x="1" y="110"/>
                  </a:cxn>
                  <a:cxn ang="0">
                    <a:pos x="1" y="115"/>
                  </a:cxn>
                  <a:cxn ang="0">
                    <a:pos x="0" y="117"/>
                  </a:cxn>
                  <a:cxn ang="0">
                    <a:pos x="0" y="125"/>
                  </a:cxn>
                  <a:cxn ang="0">
                    <a:pos x="67" y="124"/>
                  </a:cxn>
                  <a:cxn ang="0">
                    <a:pos x="67" y="91"/>
                  </a:cxn>
                  <a:cxn ang="0">
                    <a:pos x="71" y="87"/>
                  </a:cxn>
                  <a:cxn ang="0">
                    <a:pos x="73" y="84"/>
                  </a:cxn>
                  <a:cxn ang="0">
                    <a:pos x="78" y="82"/>
                  </a:cxn>
                  <a:cxn ang="0">
                    <a:pos x="85" y="82"/>
                  </a:cxn>
                  <a:cxn ang="0">
                    <a:pos x="85" y="37"/>
                  </a:cxn>
                  <a:cxn ang="0">
                    <a:pos x="139" y="37"/>
                  </a:cxn>
                  <a:cxn ang="0">
                    <a:pos x="140" y="14"/>
                  </a:cxn>
                </a:cxnLst>
                <a:rect l="0" t="0" r="r" b="b"/>
                <a:pathLst>
                  <a:path w="140" h="125">
                    <a:moveTo>
                      <a:pt x="78" y="0"/>
                    </a:moveTo>
                    <a:lnTo>
                      <a:pt x="64" y="17"/>
                    </a:lnTo>
                    <a:lnTo>
                      <a:pt x="64" y="23"/>
                    </a:lnTo>
                    <a:lnTo>
                      <a:pt x="60" y="23"/>
                    </a:lnTo>
                    <a:lnTo>
                      <a:pt x="48" y="31"/>
                    </a:lnTo>
                    <a:lnTo>
                      <a:pt x="48" y="35"/>
                    </a:lnTo>
                    <a:lnTo>
                      <a:pt x="45" y="35"/>
                    </a:lnTo>
                    <a:lnTo>
                      <a:pt x="45" y="40"/>
                    </a:lnTo>
                    <a:lnTo>
                      <a:pt x="34" y="56"/>
                    </a:lnTo>
                    <a:lnTo>
                      <a:pt x="34" y="61"/>
                    </a:lnTo>
                    <a:lnTo>
                      <a:pt x="26" y="70"/>
                    </a:lnTo>
                    <a:lnTo>
                      <a:pt x="22" y="70"/>
                    </a:lnTo>
                    <a:lnTo>
                      <a:pt x="20" y="78"/>
                    </a:lnTo>
                    <a:lnTo>
                      <a:pt x="20" y="82"/>
                    </a:lnTo>
                    <a:lnTo>
                      <a:pt x="14" y="92"/>
                    </a:lnTo>
                    <a:lnTo>
                      <a:pt x="14" y="94"/>
                    </a:lnTo>
                    <a:lnTo>
                      <a:pt x="14" y="96"/>
                    </a:lnTo>
                    <a:lnTo>
                      <a:pt x="12" y="96"/>
                    </a:lnTo>
                    <a:lnTo>
                      <a:pt x="7" y="106"/>
                    </a:lnTo>
                    <a:lnTo>
                      <a:pt x="3" y="108"/>
                    </a:lnTo>
                    <a:lnTo>
                      <a:pt x="1" y="110"/>
                    </a:lnTo>
                    <a:lnTo>
                      <a:pt x="1" y="115"/>
                    </a:lnTo>
                    <a:lnTo>
                      <a:pt x="0" y="117"/>
                    </a:lnTo>
                    <a:lnTo>
                      <a:pt x="0" y="125"/>
                    </a:lnTo>
                    <a:lnTo>
                      <a:pt x="67" y="124"/>
                    </a:lnTo>
                    <a:lnTo>
                      <a:pt x="67" y="91"/>
                    </a:lnTo>
                    <a:lnTo>
                      <a:pt x="71" y="87"/>
                    </a:lnTo>
                    <a:lnTo>
                      <a:pt x="73" y="84"/>
                    </a:lnTo>
                    <a:lnTo>
                      <a:pt x="78" y="82"/>
                    </a:lnTo>
                    <a:lnTo>
                      <a:pt x="85" y="82"/>
                    </a:lnTo>
                    <a:lnTo>
                      <a:pt x="85" y="37"/>
                    </a:lnTo>
                    <a:lnTo>
                      <a:pt x="139" y="37"/>
                    </a:lnTo>
                    <a:lnTo>
                      <a:pt x="140" y="1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5" name="Freeform 48"/>
              <p:cNvSpPr>
                <a:spLocks/>
              </p:cNvSpPr>
              <p:nvPr/>
            </p:nvSpPr>
            <p:spPr bwMode="auto">
              <a:xfrm>
                <a:off x="6642100" y="2576513"/>
                <a:ext cx="841375" cy="395288"/>
              </a:xfrm>
              <a:custGeom>
                <a:avLst/>
                <a:gdLst/>
                <a:ahLst/>
                <a:cxnLst>
                  <a:cxn ang="0">
                    <a:pos x="19" y="77"/>
                  </a:cxn>
                  <a:cxn ang="0">
                    <a:pos x="33" y="60"/>
                  </a:cxn>
                  <a:cxn ang="0">
                    <a:pos x="38" y="49"/>
                  </a:cxn>
                  <a:cxn ang="0">
                    <a:pos x="61" y="44"/>
                  </a:cxn>
                  <a:cxn ang="0">
                    <a:pos x="75" y="46"/>
                  </a:cxn>
                  <a:cxn ang="0">
                    <a:pos x="92" y="46"/>
                  </a:cxn>
                  <a:cxn ang="0">
                    <a:pos x="111" y="63"/>
                  </a:cxn>
                  <a:cxn ang="0">
                    <a:pos x="129" y="60"/>
                  </a:cxn>
                  <a:cxn ang="0">
                    <a:pos x="151" y="60"/>
                  </a:cxn>
                  <a:cxn ang="0">
                    <a:pos x="156" y="40"/>
                  </a:cxn>
                  <a:cxn ang="0">
                    <a:pos x="142" y="20"/>
                  </a:cxn>
                  <a:cxn ang="0">
                    <a:pos x="155" y="9"/>
                  </a:cxn>
                  <a:cxn ang="0">
                    <a:pos x="165" y="4"/>
                  </a:cxn>
                  <a:cxn ang="0">
                    <a:pos x="189" y="9"/>
                  </a:cxn>
                  <a:cxn ang="0">
                    <a:pos x="210" y="14"/>
                  </a:cxn>
                  <a:cxn ang="0">
                    <a:pos x="217" y="30"/>
                  </a:cxn>
                  <a:cxn ang="0">
                    <a:pos x="229" y="40"/>
                  </a:cxn>
                  <a:cxn ang="0">
                    <a:pos x="248" y="40"/>
                  </a:cxn>
                  <a:cxn ang="0">
                    <a:pos x="271" y="35"/>
                  </a:cxn>
                  <a:cxn ang="0">
                    <a:pos x="299" y="40"/>
                  </a:cxn>
                  <a:cxn ang="0">
                    <a:pos x="320" y="51"/>
                  </a:cxn>
                  <a:cxn ang="0">
                    <a:pos x="344" y="58"/>
                  </a:cxn>
                  <a:cxn ang="0">
                    <a:pos x="372" y="58"/>
                  </a:cxn>
                  <a:cxn ang="0">
                    <a:pos x="398" y="46"/>
                  </a:cxn>
                  <a:cxn ang="0">
                    <a:pos x="412" y="30"/>
                  </a:cxn>
                  <a:cxn ang="0">
                    <a:pos x="427" y="23"/>
                  </a:cxn>
                  <a:cxn ang="0">
                    <a:pos x="443" y="30"/>
                  </a:cxn>
                  <a:cxn ang="0">
                    <a:pos x="459" y="56"/>
                  </a:cxn>
                  <a:cxn ang="0">
                    <a:pos x="467" y="87"/>
                  </a:cxn>
                  <a:cxn ang="0">
                    <a:pos x="493" y="77"/>
                  </a:cxn>
                  <a:cxn ang="0">
                    <a:pos x="518" y="84"/>
                  </a:cxn>
                  <a:cxn ang="0">
                    <a:pos x="528" y="105"/>
                  </a:cxn>
                  <a:cxn ang="0">
                    <a:pos x="518" y="108"/>
                  </a:cxn>
                  <a:cxn ang="0">
                    <a:pos x="495" y="115"/>
                  </a:cxn>
                  <a:cxn ang="0">
                    <a:pos x="487" y="122"/>
                  </a:cxn>
                  <a:cxn ang="0">
                    <a:pos x="471" y="145"/>
                  </a:cxn>
                  <a:cxn ang="0">
                    <a:pos x="452" y="157"/>
                  </a:cxn>
                  <a:cxn ang="0">
                    <a:pos x="434" y="157"/>
                  </a:cxn>
                  <a:cxn ang="0">
                    <a:pos x="412" y="169"/>
                  </a:cxn>
                  <a:cxn ang="0">
                    <a:pos x="422" y="190"/>
                  </a:cxn>
                  <a:cxn ang="0">
                    <a:pos x="400" y="218"/>
                  </a:cxn>
                  <a:cxn ang="0">
                    <a:pos x="370" y="227"/>
                  </a:cxn>
                  <a:cxn ang="0">
                    <a:pos x="327" y="249"/>
                  </a:cxn>
                  <a:cxn ang="0">
                    <a:pos x="304" y="247"/>
                  </a:cxn>
                  <a:cxn ang="0">
                    <a:pos x="261" y="228"/>
                  </a:cxn>
                  <a:cxn ang="0">
                    <a:pos x="226" y="232"/>
                  </a:cxn>
                  <a:cxn ang="0">
                    <a:pos x="175" y="232"/>
                  </a:cxn>
                  <a:cxn ang="0">
                    <a:pos x="156" y="206"/>
                  </a:cxn>
                  <a:cxn ang="0">
                    <a:pos x="149" y="197"/>
                  </a:cxn>
                  <a:cxn ang="0">
                    <a:pos x="129" y="188"/>
                  </a:cxn>
                  <a:cxn ang="0">
                    <a:pos x="106" y="181"/>
                  </a:cxn>
                  <a:cxn ang="0">
                    <a:pos x="68" y="169"/>
                  </a:cxn>
                  <a:cxn ang="0">
                    <a:pos x="69" y="155"/>
                  </a:cxn>
                  <a:cxn ang="0">
                    <a:pos x="64" y="140"/>
                  </a:cxn>
                  <a:cxn ang="0">
                    <a:pos x="54" y="122"/>
                  </a:cxn>
                  <a:cxn ang="0">
                    <a:pos x="42" y="119"/>
                  </a:cxn>
                  <a:cxn ang="0">
                    <a:pos x="26" y="117"/>
                  </a:cxn>
                  <a:cxn ang="0">
                    <a:pos x="19" y="114"/>
                  </a:cxn>
                  <a:cxn ang="0">
                    <a:pos x="7" y="100"/>
                  </a:cxn>
                  <a:cxn ang="0">
                    <a:pos x="2" y="96"/>
                  </a:cxn>
                </a:cxnLst>
                <a:rect l="0" t="0" r="r" b="b"/>
                <a:pathLst>
                  <a:path w="530" h="249">
                    <a:moveTo>
                      <a:pt x="0" y="89"/>
                    </a:moveTo>
                    <a:lnTo>
                      <a:pt x="3" y="84"/>
                    </a:lnTo>
                    <a:lnTo>
                      <a:pt x="7" y="82"/>
                    </a:lnTo>
                    <a:lnTo>
                      <a:pt x="14" y="82"/>
                    </a:lnTo>
                    <a:lnTo>
                      <a:pt x="14" y="80"/>
                    </a:lnTo>
                    <a:lnTo>
                      <a:pt x="19" y="77"/>
                    </a:lnTo>
                    <a:lnTo>
                      <a:pt x="23" y="75"/>
                    </a:lnTo>
                    <a:lnTo>
                      <a:pt x="24" y="72"/>
                    </a:lnTo>
                    <a:lnTo>
                      <a:pt x="24" y="68"/>
                    </a:lnTo>
                    <a:lnTo>
                      <a:pt x="30" y="67"/>
                    </a:lnTo>
                    <a:lnTo>
                      <a:pt x="30" y="63"/>
                    </a:lnTo>
                    <a:lnTo>
                      <a:pt x="33" y="60"/>
                    </a:lnTo>
                    <a:lnTo>
                      <a:pt x="36" y="60"/>
                    </a:lnTo>
                    <a:lnTo>
                      <a:pt x="38" y="56"/>
                    </a:lnTo>
                    <a:lnTo>
                      <a:pt x="40" y="56"/>
                    </a:lnTo>
                    <a:lnTo>
                      <a:pt x="38" y="54"/>
                    </a:lnTo>
                    <a:lnTo>
                      <a:pt x="38" y="51"/>
                    </a:lnTo>
                    <a:lnTo>
                      <a:pt x="38" y="49"/>
                    </a:lnTo>
                    <a:lnTo>
                      <a:pt x="45" y="51"/>
                    </a:lnTo>
                    <a:lnTo>
                      <a:pt x="47" y="51"/>
                    </a:lnTo>
                    <a:lnTo>
                      <a:pt x="47" y="46"/>
                    </a:lnTo>
                    <a:lnTo>
                      <a:pt x="50" y="44"/>
                    </a:lnTo>
                    <a:lnTo>
                      <a:pt x="57" y="44"/>
                    </a:lnTo>
                    <a:lnTo>
                      <a:pt x="61" y="44"/>
                    </a:lnTo>
                    <a:lnTo>
                      <a:pt x="63" y="44"/>
                    </a:lnTo>
                    <a:lnTo>
                      <a:pt x="68" y="44"/>
                    </a:lnTo>
                    <a:lnTo>
                      <a:pt x="69" y="40"/>
                    </a:lnTo>
                    <a:lnTo>
                      <a:pt x="69" y="40"/>
                    </a:lnTo>
                    <a:lnTo>
                      <a:pt x="73" y="44"/>
                    </a:lnTo>
                    <a:lnTo>
                      <a:pt x="75" y="46"/>
                    </a:lnTo>
                    <a:lnTo>
                      <a:pt x="75" y="49"/>
                    </a:lnTo>
                    <a:lnTo>
                      <a:pt x="78" y="47"/>
                    </a:lnTo>
                    <a:lnTo>
                      <a:pt x="82" y="47"/>
                    </a:lnTo>
                    <a:lnTo>
                      <a:pt x="83" y="47"/>
                    </a:lnTo>
                    <a:lnTo>
                      <a:pt x="85" y="46"/>
                    </a:lnTo>
                    <a:lnTo>
                      <a:pt x="92" y="46"/>
                    </a:lnTo>
                    <a:lnTo>
                      <a:pt x="92" y="49"/>
                    </a:lnTo>
                    <a:lnTo>
                      <a:pt x="94" y="51"/>
                    </a:lnTo>
                    <a:lnTo>
                      <a:pt x="94" y="54"/>
                    </a:lnTo>
                    <a:lnTo>
                      <a:pt x="104" y="60"/>
                    </a:lnTo>
                    <a:lnTo>
                      <a:pt x="106" y="60"/>
                    </a:lnTo>
                    <a:lnTo>
                      <a:pt x="111" y="63"/>
                    </a:lnTo>
                    <a:lnTo>
                      <a:pt x="115" y="63"/>
                    </a:lnTo>
                    <a:lnTo>
                      <a:pt x="118" y="60"/>
                    </a:lnTo>
                    <a:lnTo>
                      <a:pt x="122" y="60"/>
                    </a:lnTo>
                    <a:lnTo>
                      <a:pt x="125" y="60"/>
                    </a:lnTo>
                    <a:lnTo>
                      <a:pt x="129" y="60"/>
                    </a:lnTo>
                    <a:lnTo>
                      <a:pt x="129" y="60"/>
                    </a:lnTo>
                    <a:lnTo>
                      <a:pt x="134" y="60"/>
                    </a:lnTo>
                    <a:lnTo>
                      <a:pt x="141" y="60"/>
                    </a:lnTo>
                    <a:lnTo>
                      <a:pt x="142" y="63"/>
                    </a:lnTo>
                    <a:lnTo>
                      <a:pt x="146" y="60"/>
                    </a:lnTo>
                    <a:lnTo>
                      <a:pt x="148" y="60"/>
                    </a:lnTo>
                    <a:lnTo>
                      <a:pt x="151" y="60"/>
                    </a:lnTo>
                    <a:lnTo>
                      <a:pt x="156" y="60"/>
                    </a:lnTo>
                    <a:lnTo>
                      <a:pt x="160" y="56"/>
                    </a:lnTo>
                    <a:lnTo>
                      <a:pt x="156" y="53"/>
                    </a:lnTo>
                    <a:lnTo>
                      <a:pt x="155" y="51"/>
                    </a:lnTo>
                    <a:lnTo>
                      <a:pt x="155" y="46"/>
                    </a:lnTo>
                    <a:lnTo>
                      <a:pt x="156" y="40"/>
                    </a:lnTo>
                    <a:lnTo>
                      <a:pt x="155" y="37"/>
                    </a:lnTo>
                    <a:lnTo>
                      <a:pt x="151" y="37"/>
                    </a:lnTo>
                    <a:lnTo>
                      <a:pt x="149" y="35"/>
                    </a:lnTo>
                    <a:lnTo>
                      <a:pt x="146" y="34"/>
                    </a:lnTo>
                    <a:lnTo>
                      <a:pt x="142" y="30"/>
                    </a:lnTo>
                    <a:lnTo>
                      <a:pt x="142" y="20"/>
                    </a:lnTo>
                    <a:lnTo>
                      <a:pt x="148" y="18"/>
                    </a:lnTo>
                    <a:lnTo>
                      <a:pt x="148" y="13"/>
                    </a:lnTo>
                    <a:lnTo>
                      <a:pt x="149" y="13"/>
                    </a:lnTo>
                    <a:lnTo>
                      <a:pt x="151" y="9"/>
                    </a:lnTo>
                    <a:lnTo>
                      <a:pt x="153" y="9"/>
                    </a:lnTo>
                    <a:lnTo>
                      <a:pt x="155" y="9"/>
                    </a:lnTo>
                    <a:lnTo>
                      <a:pt x="155" y="6"/>
                    </a:lnTo>
                    <a:lnTo>
                      <a:pt x="155" y="2"/>
                    </a:lnTo>
                    <a:lnTo>
                      <a:pt x="156" y="0"/>
                    </a:lnTo>
                    <a:lnTo>
                      <a:pt x="160" y="0"/>
                    </a:lnTo>
                    <a:lnTo>
                      <a:pt x="162" y="2"/>
                    </a:lnTo>
                    <a:lnTo>
                      <a:pt x="165" y="4"/>
                    </a:lnTo>
                    <a:lnTo>
                      <a:pt x="170" y="6"/>
                    </a:lnTo>
                    <a:lnTo>
                      <a:pt x="174" y="7"/>
                    </a:lnTo>
                    <a:lnTo>
                      <a:pt x="175" y="9"/>
                    </a:lnTo>
                    <a:lnTo>
                      <a:pt x="181" y="9"/>
                    </a:lnTo>
                    <a:lnTo>
                      <a:pt x="184" y="9"/>
                    </a:lnTo>
                    <a:lnTo>
                      <a:pt x="189" y="9"/>
                    </a:lnTo>
                    <a:lnTo>
                      <a:pt x="191" y="13"/>
                    </a:lnTo>
                    <a:lnTo>
                      <a:pt x="193" y="13"/>
                    </a:lnTo>
                    <a:lnTo>
                      <a:pt x="196" y="13"/>
                    </a:lnTo>
                    <a:lnTo>
                      <a:pt x="202" y="13"/>
                    </a:lnTo>
                    <a:lnTo>
                      <a:pt x="207" y="13"/>
                    </a:lnTo>
                    <a:lnTo>
                      <a:pt x="210" y="14"/>
                    </a:lnTo>
                    <a:lnTo>
                      <a:pt x="212" y="18"/>
                    </a:lnTo>
                    <a:lnTo>
                      <a:pt x="212" y="20"/>
                    </a:lnTo>
                    <a:lnTo>
                      <a:pt x="214" y="21"/>
                    </a:lnTo>
                    <a:lnTo>
                      <a:pt x="214" y="25"/>
                    </a:lnTo>
                    <a:lnTo>
                      <a:pt x="215" y="27"/>
                    </a:lnTo>
                    <a:lnTo>
                      <a:pt x="217" y="30"/>
                    </a:lnTo>
                    <a:lnTo>
                      <a:pt x="217" y="34"/>
                    </a:lnTo>
                    <a:lnTo>
                      <a:pt x="219" y="35"/>
                    </a:lnTo>
                    <a:lnTo>
                      <a:pt x="221" y="35"/>
                    </a:lnTo>
                    <a:lnTo>
                      <a:pt x="224" y="37"/>
                    </a:lnTo>
                    <a:lnTo>
                      <a:pt x="224" y="40"/>
                    </a:lnTo>
                    <a:lnTo>
                      <a:pt x="229" y="40"/>
                    </a:lnTo>
                    <a:lnTo>
                      <a:pt x="235" y="44"/>
                    </a:lnTo>
                    <a:lnTo>
                      <a:pt x="238" y="44"/>
                    </a:lnTo>
                    <a:lnTo>
                      <a:pt x="238" y="44"/>
                    </a:lnTo>
                    <a:lnTo>
                      <a:pt x="245" y="44"/>
                    </a:lnTo>
                    <a:lnTo>
                      <a:pt x="247" y="40"/>
                    </a:lnTo>
                    <a:lnTo>
                      <a:pt x="248" y="40"/>
                    </a:lnTo>
                    <a:lnTo>
                      <a:pt x="252" y="44"/>
                    </a:lnTo>
                    <a:lnTo>
                      <a:pt x="252" y="40"/>
                    </a:lnTo>
                    <a:lnTo>
                      <a:pt x="257" y="37"/>
                    </a:lnTo>
                    <a:lnTo>
                      <a:pt x="261" y="37"/>
                    </a:lnTo>
                    <a:lnTo>
                      <a:pt x="268" y="37"/>
                    </a:lnTo>
                    <a:lnTo>
                      <a:pt x="271" y="35"/>
                    </a:lnTo>
                    <a:lnTo>
                      <a:pt x="276" y="35"/>
                    </a:lnTo>
                    <a:lnTo>
                      <a:pt x="280" y="34"/>
                    </a:lnTo>
                    <a:lnTo>
                      <a:pt x="285" y="35"/>
                    </a:lnTo>
                    <a:lnTo>
                      <a:pt x="288" y="37"/>
                    </a:lnTo>
                    <a:lnTo>
                      <a:pt x="295" y="35"/>
                    </a:lnTo>
                    <a:lnTo>
                      <a:pt x="299" y="40"/>
                    </a:lnTo>
                    <a:lnTo>
                      <a:pt x="306" y="44"/>
                    </a:lnTo>
                    <a:lnTo>
                      <a:pt x="311" y="44"/>
                    </a:lnTo>
                    <a:lnTo>
                      <a:pt x="313" y="40"/>
                    </a:lnTo>
                    <a:lnTo>
                      <a:pt x="316" y="44"/>
                    </a:lnTo>
                    <a:lnTo>
                      <a:pt x="316" y="49"/>
                    </a:lnTo>
                    <a:lnTo>
                      <a:pt x="320" y="51"/>
                    </a:lnTo>
                    <a:lnTo>
                      <a:pt x="323" y="53"/>
                    </a:lnTo>
                    <a:lnTo>
                      <a:pt x="325" y="53"/>
                    </a:lnTo>
                    <a:lnTo>
                      <a:pt x="328" y="56"/>
                    </a:lnTo>
                    <a:lnTo>
                      <a:pt x="332" y="56"/>
                    </a:lnTo>
                    <a:lnTo>
                      <a:pt x="339" y="56"/>
                    </a:lnTo>
                    <a:lnTo>
                      <a:pt x="344" y="58"/>
                    </a:lnTo>
                    <a:lnTo>
                      <a:pt x="356" y="58"/>
                    </a:lnTo>
                    <a:lnTo>
                      <a:pt x="360" y="56"/>
                    </a:lnTo>
                    <a:lnTo>
                      <a:pt x="361" y="56"/>
                    </a:lnTo>
                    <a:lnTo>
                      <a:pt x="367" y="56"/>
                    </a:lnTo>
                    <a:lnTo>
                      <a:pt x="370" y="58"/>
                    </a:lnTo>
                    <a:lnTo>
                      <a:pt x="372" y="58"/>
                    </a:lnTo>
                    <a:lnTo>
                      <a:pt x="375" y="53"/>
                    </a:lnTo>
                    <a:lnTo>
                      <a:pt x="379" y="49"/>
                    </a:lnTo>
                    <a:lnTo>
                      <a:pt x="384" y="49"/>
                    </a:lnTo>
                    <a:lnTo>
                      <a:pt x="387" y="46"/>
                    </a:lnTo>
                    <a:lnTo>
                      <a:pt x="389" y="46"/>
                    </a:lnTo>
                    <a:lnTo>
                      <a:pt x="398" y="46"/>
                    </a:lnTo>
                    <a:lnTo>
                      <a:pt x="400" y="44"/>
                    </a:lnTo>
                    <a:lnTo>
                      <a:pt x="403" y="40"/>
                    </a:lnTo>
                    <a:lnTo>
                      <a:pt x="403" y="37"/>
                    </a:lnTo>
                    <a:lnTo>
                      <a:pt x="403" y="35"/>
                    </a:lnTo>
                    <a:lnTo>
                      <a:pt x="407" y="34"/>
                    </a:lnTo>
                    <a:lnTo>
                      <a:pt x="412" y="30"/>
                    </a:lnTo>
                    <a:lnTo>
                      <a:pt x="412" y="27"/>
                    </a:lnTo>
                    <a:lnTo>
                      <a:pt x="414" y="23"/>
                    </a:lnTo>
                    <a:lnTo>
                      <a:pt x="417" y="23"/>
                    </a:lnTo>
                    <a:lnTo>
                      <a:pt x="419" y="25"/>
                    </a:lnTo>
                    <a:lnTo>
                      <a:pt x="422" y="23"/>
                    </a:lnTo>
                    <a:lnTo>
                      <a:pt x="427" y="23"/>
                    </a:lnTo>
                    <a:lnTo>
                      <a:pt x="431" y="27"/>
                    </a:lnTo>
                    <a:lnTo>
                      <a:pt x="431" y="30"/>
                    </a:lnTo>
                    <a:lnTo>
                      <a:pt x="434" y="30"/>
                    </a:lnTo>
                    <a:lnTo>
                      <a:pt x="440" y="28"/>
                    </a:lnTo>
                    <a:lnTo>
                      <a:pt x="440" y="30"/>
                    </a:lnTo>
                    <a:lnTo>
                      <a:pt x="443" y="30"/>
                    </a:lnTo>
                    <a:lnTo>
                      <a:pt x="447" y="28"/>
                    </a:lnTo>
                    <a:lnTo>
                      <a:pt x="447" y="27"/>
                    </a:lnTo>
                    <a:lnTo>
                      <a:pt x="453" y="25"/>
                    </a:lnTo>
                    <a:lnTo>
                      <a:pt x="459" y="27"/>
                    </a:lnTo>
                    <a:lnTo>
                      <a:pt x="462" y="30"/>
                    </a:lnTo>
                    <a:lnTo>
                      <a:pt x="459" y="56"/>
                    </a:lnTo>
                    <a:lnTo>
                      <a:pt x="459" y="60"/>
                    </a:lnTo>
                    <a:lnTo>
                      <a:pt x="457" y="67"/>
                    </a:lnTo>
                    <a:lnTo>
                      <a:pt x="457" y="68"/>
                    </a:lnTo>
                    <a:lnTo>
                      <a:pt x="455" y="77"/>
                    </a:lnTo>
                    <a:lnTo>
                      <a:pt x="459" y="82"/>
                    </a:lnTo>
                    <a:lnTo>
                      <a:pt x="467" y="87"/>
                    </a:lnTo>
                    <a:lnTo>
                      <a:pt x="471" y="82"/>
                    </a:lnTo>
                    <a:lnTo>
                      <a:pt x="478" y="82"/>
                    </a:lnTo>
                    <a:lnTo>
                      <a:pt x="487" y="84"/>
                    </a:lnTo>
                    <a:lnTo>
                      <a:pt x="490" y="87"/>
                    </a:lnTo>
                    <a:lnTo>
                      <a:pt x="493" y="80"/>
                    </a:lnTo>
                    <a:lnTo>
                      <a:pt x="493" y="77"/>
                    </a:lnTo>
                    <a:lnTo>
                      <a:pt x="493" y="74"/>
                    </a:lnTo>
                    <a:lnTo>
                      <a:pt x="499" y="72"/>
                    </a:lnTo>
                    <a:lnTo>
                      <a:pt x="499" y="72"/>
                    </a:lnTo>
                    <a:lnTo>
                      <a:pt x="507" y="72"/>
                    </a:lnTo>
                    <a:lnTo>
                      <a:pt x="513" y="79"/>
                    </a:lnTo>
                    <a:lnTo>
                      <a:pt x="518" y="84"/>
                    </a:lnTo>
                    <a:lnTo>
                      <a:pt x="523" y="91"/>
                    </a:lnTo>
                    <a:lnTo>
                      <a:pt x="528" y="94"/>
                    </a:lnTo>
                    <a:lnTo>
                      <a:pt x="528" y="96"/>
                    </a:lnTo>
                    <a:lnTo>
                      <a:pt x="530" y="100"/>
                    </a:lnTo>
                    <a:lnTo>
                      <a:pt x="530" y="103"/>
                    </a:lnTo>
                    <a:lnTo>
                      <a:pt x="528" y="105"/>
                    </a:lnTo>
                    <a:lnTo>
                      <a:pt x="528" y="107"/>
                    </a:lnTo>
                    <a:lnTo>
                      <a:pt x="526" y="110"/>
                    </a:lnTo>
                    <a:lnTo>
                      <a:pt x="526" y="108"/>
                    </a:lnTo>
                    <a:lnTo>
                      <a:pt x="523" y="107"/>
                    </a:lnTo>
                    <a:lnTo>
                      <a:pt x="521" y="108"/>
                    </a:lnTo>
                    <a:lnTo>
                      <a:pt x="518" y="108"/>
                    </a:lnTo>
                    <a:lnTo>
                      <a:pt x="514" y="107"/>
                    </a:lnTo>
                    <a:lnTo>
                      <a:pt x="511" y="107"/>
                    </a:lnTo>
                    <a:lnTo>
                      <a:pt x="507" y="112"/>
                    </a:lnTo>
                    <a:lnTo>
                      <a:pt x="502" y="115"/>
                    </a:lnTo>
                    <a:lnTo>
                      <a:pt x="499" y="117"/>
                    </a:lnTo>
                    <a:lnTo>
                      <a:pt x="495" y="115"/>
                    </a:lnTo>
                    <a:lnTo>
                      <a:pt x="495" y="115"/>
                    </a:lnTo>
                    <a:lnTo>
                      <a:pt x="495" y="119"/>
                    </a:lnTo>
                    <a:lnTo>
                      <a:pt x="495" y="119"/>
                    </a:lnTo>
                    <a:lnTo>
                      <a:pt x="490" y="122"/>
                    </a:lnTo>
                    <a:lnTo>
                      <a:pt x="490" y="119"/>
                    </a:lnTo>
                    <a:lnTo>
                      <a:pt x="487" y="122"/>
                    </a:lnTo>
                    <a:lnTo>
                      <a:pt x="487" y="126"/>
                    </a:lnTo>
                    <a:lnTo>
                      <a:pt x="485" y="133"/>
                    </a:lnTo>
                    <a:lnTo>
                      <a:pt x="485" y="136"/>
                    </a:lnTo>
                    <a:lnTo>
                      <a:pt x="483" y="138"/>
                    </a:lnTo>
                    <a:lnTo>
                      <a:pt x="480" y="140"/>
                    </a:lnTo>
                    <a:lnTo>
                      <a:pt x="471" y="145"/>
                    </a:lnTo>
                    <a:lnTo>
                      <a:pt x="467" y="145"/>
                    </a:lnTo>
                    <a:lnTo>
                      <a:pt x="462" y="141"/>
                    </a:lnTo>
                    <a:lnTo>
                      <a:pt x="462" y="145"/>
                    </a:lnTo>
                    <a:lnTo>
                      <a:pt x="459" y="150"/>
                    </a:lnTo>
                    <a:lnTo>
                      <a:pt x="455" y="154"/>
                    </a:lnTo>
                    <a:lnTo>
                      <a:pt x="452" y="157"/>
                    </a:lnTo>
                    <a:lnTo>
                      <a:pt x="448" y="159"/>
                    </a:lnTo>
                    <a:lnTo>
                      <a:pt x="448" y="162"/>
                    </a:lnTo>
                    <a:lnTo>
                      <a:pt x="447" y="162"/>
                    </a:lnTo>
                    <a:lnTo>
                      <a:pt x="441" y="160"/>
                    </a:lnTo>
                    <a:lnTo>
                      <a:pt x="440" y="159"/>
                    </a:lnTo>
                    <a:lnTo>
                      <a:pt x="434" y="157"/>
                    </a:lnTo>
                    <a:lnTo>
                      <a:pt x="429" y="154"/>
                    </a:lnTo>
                    <a:lnTo>
                      <a:pt x="426" y="154"/>
                    </a:lnTo>
                    <a:lnTo>
                      <a:pt x="419" y="155"/>
                    </a:lnTo>
                    <a:lnTo>
                      <a:pt x="414" y="159"/>
                    </a:lnTo>
                    <a:lnTo>
                      <a:pt x="412" y="162"/>
                    </a:lnTo>
                    <a:lnTo>
                      <a:pt x="412" y="169"/>
                    </a:lnTo>
                    <a:lnTo>
                      <a:pt x="412" y="173"/>
                    </a:lnTo>
                    <a:lnTo>
                      <a:pt x="412" y="176"/>
                    </a:lnTo>
                    <a:lnTo>
                      <a:pt x="419" y="181"/>
                    </a:lnTo>
                    <a:lnTo>
                      <a:pt x="427" y="185"/>
                    </a:lnTo>
                    <a:lnTo>
                      <a:pt x="427" y="187"/>
                    </a:lnTo>
                    <a:lnTo>
                      <a:pt x="422" y="190"/>
                    </a:lnTo>
                    <a:lnTo>
                      <a:pt x="422" y="193"/>
                    </a:lnTo>
                    <a:lnTo>
                      <a:pt x="414" y="204"/>
                    </a:lnTo>
                    <a:lnTo>
                      <a:pt x="412" y="209"/>
                    </a:lnTo>
                    <a:lnTo>
                      <a:pt x="407" y="216"/>
                    </a:lnTo>
                    <a:lnTo>
                      <a:pt x="407" y="216"/>
                    </a:lnTo>
                    <a:lnTo>
                      <a:pt x="400" y="218"/>
                    </a:lnTo>
                    <a:lnTo>
                      <a:pt x="396" y="218"/>
                    </a:lnTo>
                    <a:lnTo>
                      <a:pt x="391" y="221"/>
                    </a:lnTo>
                    <a:lnTo>
                      <a:pt x="386" y="223"/>
                    </a:lnTo>
                    <a:lnTo>
                      <a:pt x="381" y="223"/>
                    </a:lnTo>
                    <a:lnTo>
                      <a:pt x="375" y="223"/>
                    </a:lnTo>
                    <a:lnTo>
                      <a:pt x="370" y="227"/>
                    </a:lnTo>
                    <a:lnTo>
                      <a:pt x="365" y="228"/>
                    </a:lnTo>
                    <a:lnTo>
                      <a:pt x="351" y="232"/>
                    </a:lnTo>
                    <a:lnTo>
                      <a:pt x="342" y="235"/>
                    </a:lnTo>
                    <a:lnTo>
                      <a:pt x="335" y="240"/>
                    </a:lnTo>
                    <a:lnTo>
                      <a:pt x="330" y="247"/>
                    </a:lnTo>
                    <a:lnTo>
                      <a:pt x="327" y="249"/>
                    </a:lnTo>
                    <a:lnTo>
                      <a:pt x="321" y="249"/>
                    </a:lnTo>
                    <a:lnTo>
                      <a:pt x="316" y="249"/>
                    </a:lnTo>
                    <a:lnTo>
                      <a:pt x="316" y="246"/>
                    </a:lnTo>
                    <a:lnTo>
                      <a:pt x="316" y="244"/>
                    </a:lnTo>
                    <a:lnTo>
                      <a:pt x="308" y="246"/>
                    </a:lnTo>
                    <a:lnTo>
                      <a:pt x="304" y="247"/>
                    </a:lnTo>
                    <a:lnTo>
                      <a:pt x="297" y="244"/>
                    </a:lnTo>
                    <a:lnTo>
                      <a:pt x="292" y="242"/>
                    </a:lnTo>
                    <a:lnTo>
                      <a:pt x="280" y="239"/>
                    </a:lnTo>
                    <a:lnTo>
                      <a:pt x="271" y="233"/>
                    </a:lnTo>
                    <a:lnTo>
                      <a:pt x="264" y="228"/>
                    </a:lnTo>
                    <a:lnTo>
                      <a:pt x="261" y="228"/>
                    </a:lnTo>
                    <a:lnTo>
                      <a:pt x="248" y="228"/>
                    </a:lnTo>
                    <a:lnTo>
                      <a:pt x="238" y="228"/>
                    </a:lnTo>
                    <a:lnTo>
                      <a:pt x="235" y="227"/>
                    </a:lnTo>
                    <a:lnTo>
                      <a:pt x="233" y="228"/>
                    </a:lnTo>
                    <a:lnTo>
                      <a:pt x="233" y="228"/>
                    </a:lnTo>
                    <a:lnTo>
                      <a:pt x="226" y="232"/>
                    </a:lnTo>
                    <a:lnTo>
                      <a:pt x="219" y="232"/>
                    </a:lnTo>
                    <a:lnTo>
                      <a:pt x="203" y="232"/>
                    </a:lnTo>
                    <a:lnTo>
                      <a:pt x="193" y="232"/>
                    </a:lnTo>
                    <a:lnTo>
                      <a:pt x="184" y="232"/>
                    </a:lnTo>
                    <a:lnTo>
                      <a:pt x="179" y="232"/>
                    </a:lnTo>
                    <a:lnTo>
                      <a:pt x="175" y="232"/>
                    </a:lnTo>
                    <a:lnTo>
                      <a:pt x="174" y="232"/>
                    </a:lnTo>
                    <a:lnTo>
                      <a:pt x="169" y="223"/>
                    </a:lnTo>
                    <a:lnTo>
                      <a:pt x="169" y="221"/>
                    </a:lnTo>
                    <a:lnTo>
                      <a:pt x="162" y="214"/>
                    </a:lnTo>
                    <a:lnTo>
                      <a:pt x="162" y="211"/>
                    </a:lnTo>
                    <a:lnTo>
                      <a:pt x="156" y="206"/>
                    </a:lnTo>
                    <a:lnTo>
                      <a:pt x="156" y="204"/>
                    </a:lnTo>
                    <a:lnTo>
                      <a:pt x="156" y="200"/>
                    </a:lnTo>
                    <a:lnTo>
                      <a:pt x="153" y="200"/>
                    </a:lnTo>
                    <a:lnTo>
                      <a:pt x="151" y="200"/>
                    </a:lnTo>
                    <a:lnTo>
                      <a:pt x="151" y="199"/>
                    </a:lnTo>
                    <a:lnTo>
                      <a:pt x="149" y="197"/>
                    </a:lnTo>
                    <a:lnTo>
                      <a:pt x="149" y="195"/>
                    </a:lnTo>
                    <a:lnTo>
                      <a:pt x="148" y="195"/>
                    </a:lnTo>
                    <a:lnTo>
                      <a:pt x="142" y="195"/>
                    </a:lnTo>
                    <a:lnTo>
                      <a:pt x="137" y="193"/>
                    </a:lnTo>
                    <a:lnTo>
                      <a:pt x="134" y="188"/>
                    </a:lnTo>
                    <a:lnTo>
                      <a:pt x="129" y="188"/>
                    </a:lnTo>
                    <a:lnTo>
                      <a:pt x="129" y="188"/>
                    </a:lnTo>
                    <a:lnTo>
                      <a:pt x="125" y="188"/>
                    </a:lnTo>
                    <a:lnTo>
                      <a:pt x="125" y="185"/>
                    </a:lnTo>
                    <a:lnTo>
                      <a:pt x="118" y="181"/>
                    </a:lnTo>
                    <a:lnTo>
                      <a:pt x="106" y="181"/>
                    </a:lnTo>
                    <a:lnTo>
                      <a:pt x="106" y="181"/>
                    </a:lnTo>
                    <a:lnTo>
                      <a:pt x="106" y="181"/>
                    </a:lnTo>
                    <a:lnTo>
                      <a:pt x="101" y="181"/>
                    </a:lnTo>
                    <a:lnTo>
                      <a:pt x="92" y="181"/>
                    </a:lnTo>
                    <a:lnTo>
                      <a:pt x="75" y="178"/>
                    </a:lnTo>
                    <a:lnTo>
                      <a:pt x="73" y="178"/>
                    </a:lnTo>
                    <a:lnTo>
                      <a:pt x="68" y="169"/>
                    </a:lnTo>
                    <a:lnTo>
                      <a:pt x="68" y="167"/>
                    </a:lnTo>
                    <a:lnTo>
                      <a:pt x="68" y="166"/>
                    </a:lnTo>
                    <a:lnTo>
                      <a:pt x="69" y="164"/>
                    </a:lnTo>
                    <a:lnTo>
                      <a:pt x="69" y="160"/>
                    </a:lnTo>
                    <a:lnTo>
                      <a:pt x="73" y="159"/>
                    </a:lnTo>
                    <a:lnTo>
                      <a:pt x="69" y="155"/>
                    </a:lnTo>
                    <a:lnTo>
                      <a:pt x="69" y="154"/>
                    </a:lnTo>
                    <a:lnTo>
                      <a:pt x="69" y="150"/>
                    </a:lnTo>
                    <a:lnTo>
                      <a:pt x="69" y="147"/>
                    </a:lnTo>
                    <a:lnTo>
                      <a:pt x="68" y="145"/>
                    </a:lnTo>
                    <a:lnTo>
                      <a:pt x="66" y="141"/>
                    </a:lnTo>
                    <a:lnTo>
                      <a:pt x="64" y="140"/>
                    </a:lnTo>
                    <a:lnTo>
                      <a:pt x="61" y="138"/>
                    </a:lnTo>
                    <a:lnTo>
                      <a:pt x="59" y="134"/>
                    </a:lnTo>
                    <a:lnTo>
                      <a:pt x="57" y="131"/>
                    </a:lnTo>
                    <a:lnTo>
                      <a:pt x="57" y="127"/>
                    </a:lnTo>
                    <a:lnTo>
                      <a:pt x="56" y="126"/>
                    </a:lnTo>
                    <a:lnTo>
                      <a:pt x="54" y="122"/>
                    </a:lnTo>
                    <a:lnTo>
                      <a:pt x="52" y="122"/>
                    </a:lnTo>
                    <a:lnTo>
                      <a:pt x="50" y="119"/>
                    </a:lnTo>
                    <a:lnTo>
                      <a:pt x="47" y="119"/>
                    </a:lnTo>
                    <a:lnTo>
                      <a:pt x="45" y="117"/>
                    </a:lnTo>
                    <a:lnTo>
                      <a:pt x="42" y="117"/>
                    </a:lnTo>
                    <a:lnTo>
                      <a:pt x="42" y="119"/>
                    </a:lnTo>
                    <a:lnTo>
                      <a:pt x="40" y="119"/>
                    </a:lnTo>
                    <a:lnTo>
                      <a:pt x="38" y="119"/>
                    </a:lnTo>
                    <a:lnTo>
                      <a:pt x="35" y="117"/>
                    </a:lnTo>
                    <a:lnTo>
                      <a:pt x="33" y="115"/>
                    </a:lnTo>
                    <a:lnTo>
                      <a:pt x="30" y="115"/>
                    </a:lnTo>
                    <a:lnTo>
                      <a:pt x="26" y="117"/>
                    </a:lnTo>
                    <a:lnTo>
                      <a:pt x="26" y="119"/>
                    </a:lnTo>
                    <a:lnTo>
                      <a:pt x="24" y="119"/>
                    </a:lnTo>
                    <a:lnTo>
                      <a:pt x="23" y="119"/>
                    </a:lnTo>
                    <a:lnTo>
                      <a:pt x="19" y="117"/>
                    </a:lnTo>
                    <a:lnTo>
                      <a:pt x="19" y="115"/>
                    </a:lnTo>
                    <a:lnTo>
                      <a:pt x="19" y="114"/>
                    </a:lnTo>
                    <a:lnTo>
                      <a:pt x="17" y="110"/>
                    </a:lnTo>
                    <a:lnTo>
                      <a:pt x="14" y="108"/>
                    </a:lnTo>
                    <a:lnTo>
                      <a:pt x="10" y="105"/>
                    </a:lnTo>
                    <a:lnTo>
                      <a:pt x="9" y="105"/>
                    </a:lnTo>
                    <a:lnTo>
                      <a:pt x="7" y="103"/>
                    </a:lnTo>
                    <a:lnTo>
                      <a:pt x="7" y="100"/>
                    </a:lnTo>
                    <a:lnTo>
                      <a:pt x="7" y="100"/>
                    </a:lnTo>
                    <a:lnTo>
                      <a:pt x="5" y="96"/>
                    </a:lnTo>
                    <a:lnTo>
                      <a:pt x="5" y="96"/>
                    </a:lnTo>
                    <a:lnTo>
                      <a:pt x="3" y="100"/>
                    </a:lnTo>
                    <a:lnTo>
                      <a:pt x="3" y="100"/>
                    </a:lnTo>
                    <a:lnTo>
                      <a:pt x="2" y="96"/>
                    </a:lnTo>
                    <a:lnTo>
                      <a:pt x="0" y="94"/>
                    </a:lnTo>
                    <a:lnTo>
                      <a:pt x="0" y="91"/>
                    </a:lnTo>
                    <a:lnTo>
                      <a:pt x="0" y="89"/>
                    </a:lnTo>
                    <a:lnTo>
                      <a:pt x="0" y="89"/>
                    </a:lnTo>
                    <a:lnTo>
                      <a:pt x="0" y="8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49"/>
              <p:cNvSpPr>
                <a:spLocks noEditPoints="1"/>
              </p:cNvSpPr>
              <p:nvPr/>
            </p:nvSpPr>
            <p:spPr bwMode="auto">
              <a:xfrm>
                <a:off x="6534150" y="4017963"/>
                <a:ext cx="60325" cy="107950"/>
              </a:xfrm>
              <a:custGeom>
                <a:avLst/>
                <a:gdLst/>
                <a:ahLst/>
                <a:cxnLst>
                  <a:cxn ang="0">
                    <a:pos x="0" y="30"/>
                  </a:cxn>
                  <a:cxn ang="0">
                    <a:pos x="2" y="26"/>
                  </a:cxn>
                  <a:cxn ang="0">
                    <a:pos x="0" y="26"/>
                  </a:cxn>
                  <a:cxn ang="0">
                    <a:pos x="0" y="33"/>
                  </a:cxn>
                  <a:cxn ang="0">
                    <a:pos x="0" y="33"/>
                  </a:cxn>
                  <a:cxn ang="0">
                    <a:pos x="5" y="5"/>
                  </a:cxn>
                  <a:cxn ang="0">
                    <a:pos x="2" y="0"/>
                  </a:cxn>
                  <a:cxn ang="0">
                    <a:pos x="9" y="0"/>
                  </a:cxn>
                  <a:cxn ang="0">
                    <a:pos x="5" y="4"/>
                  </a:cxn>
                  <a:cxn ang="0">
                    <a:pos x="5" y="5"/>
                  </a:cxn>
                  <a:cxn ang="0">
                    <a:pos x="5" y="5"/>
                  </a:cxn>
                  <a:cxn ang="0">
                    <a:pos x="11" y="2"/>
                  </a:cxn>
                  <a:cxn ang="0">
                    <a:pos x="16" y="7"/>
                  </a:cxn>
                  <a:cxn ang="0">
                    <a:pos x="16" y="7"/>
                  </a:cxn>
                  <a:cxn ang="0">
                    <a:pos x="11" y="5"/>
                  </a:cxn>
                  <a:cxn ang="0">
                    <a:pos x="9" y="4"/>
                  </a:cxn>
                  <a:cxn ang="0">
                    <a:pos x="11" y="2"/>
                  </a:cxn>
                  <a:cxn ang="0">
                    <a:pos x="11" y="0"/>
                  </a:cxn>
                  <a:cxn ang="0">
                    <a:pos x="11" y="0"/>
                  </a:cxn>
                  <a:cxn ang="0">
                    <a:pos x="5" y="7"/>
                  </a:cxn>
                  <a:cxn ang="0">
                    <a:pos x="5" y="9"/>
                  </a:cxn>
                  <a:cxn ang="0">
                    <a:pos x="5" y="9"/>
                  </a:cxn>
                  <a:cxn ang="0">
                    <a:pos x="5" y="16"/>
                  </a:cxn>
                  <a:cxn ang="0">
                    <a:pos x="2" y="12"/>
                  </a:cxn>
                  <a:cxn ang="0">
                    <a:pos x="0" y="12"/>
                  </a:cxn>
                  <a:cxn ang="0">
                    <a:pos x="2" y="16"/>
                  </a:cxn>
                  <a:cxn ang="0">
                    <a:pos x="2" y="19"/>
                  </a:cxn>
                  <a:cxn ang="0">
                    <a:pos x="2" y="26"/>
                  </a:cxn>
                  <a:cxn ang="0">
                    <a:pos x="2" y="35"/>
                  </a:cxn>
                  <a:cxn ang="0">
                    <a:pos x="2" y="44"/>
                  </a:cxn>
                  <a:cxn ang="0">
                    <a:pos x="2" y="52"/>
                  </a:cxn>
                  <a:cxn ang="0">
                    <a:pos x="9" y="64"/>
                  </a:cxn>
                  <a:cxn ang="0">
                    <a:pos x="16" y="66"/>
                  </a:cxn>
                  <a:cxn ang="0">
                    <a:pos x="28" y="64"/>
                  </a:cxn>
                  <a:cxn ang="0">
                    <a:pos x="38" y="54"/>
                  </a:cxn>
                  <a:cxn ang="0">
                    <a:pos x="38" y="47"/>
                  </a:cxn>
                  <a:cxn ang="0">
                    <a:pos x="38" y="44"/>
                  </a:cxn>
                  <a:cxn ang="0">
                    <a:pos x="38" y="38"/>
                  </a:cxn>
                  <a:cxn ang="0">
                    <a:pos x="33" y="30"/>
                  </a:cxn>
                  <a:cxn ang="0">
                    <a:pos x="26" y="24"/>
                  </a:cxn>
                  <a:cxn ang="0">
                    <a:pos x="25" y="24"/>
                  </a:cxn>
                  <a:cxn ang="0">
                    <a:pos x="26" y="21"/>
                  </a:cxn>
                  <a:cxn ang="0">
                    <a:pos x="25" y="16"/>
                  </a:cxn>
                  <a:cxn ang="0">
                    <a:pos x="19" y="12"/>
                  </a:cxn>
                  <a:cxn ang="0">
                    <a:pos x="19" y="9"/>
                  </a:cxn>
                  <a:cxn ang="0">
                    <a:pos x="14" y="9"/>
                  </a:cxn>
                  <a:cxn ang="0">
                    <a:pos x="11" y="7"/>
                  </a:cxn>
                  <a:cxn ang="0">
                    <a:pos x="5" y="5"/>
                  </a:cxn>
                </a:cxnLst>
                <a:rect l="0" t="0" r="r" b="b"/>
                <a:pathLst>
                  <a:path w="38" h="68">
                    <a:moveTo>
                      <a:pt x="0" y="33"/>
                    </a:moveTo>
                    <a:lnTo>
                      <a:pt x="0" y="30"/>
                    </a:lnTo>
                    <a:lnTo>
                      <a:pt x="0" y="26"/>
                    </a:lnTo>
                    <a:lnTo>
                      <a:pt x="2" y="26"/>
                    </a:lnTo>
                    <a:lnTo>
                      <a:pt x="2" y="26"/>
                    </a:lnTo>
                    <a:lnTo>
                      <a:pt x="0" y="26"/>
                    </a:lnTo>
                    <a:lnTo>
                      <a:pt x="2" y="30"/>
                    </a:lnTo>
                    <a:lnTo>
                      <a:pt x="0" y="33"/>
                    </a:lnTo>
                    <a:lnTo>
                      <a:pt x="0" y="33"/>
                    </a:lnTo>
                    <a:lnTo>
                      <a:pt x="0" y="33"/>
                    </a:lnTo>
                    <a:lnTo>
                      <a:pt x="0" y="33"/>
                    </a:lnTo>
                    <a:close/>
                    <a:moveTo>
                      <a:pt x="5" y="5"/>
                    </a:moveTo>
                    <a:lnTo>
                      <a:pt x="2" y="2"/>
                    </a:lnTo>
                    <a:lnTo>
                      <a:pt x="2" y="0"/>
                    </a:lnTo>
                    <a:lnTo>
                      <a:pt x="5" y="0"/>
                    </a:lnTo>
                    <a:lnTo>
                      <a:pt x="9" y="0"/>
                    </a:lnTo>
                    <a:lnTo>
                      <a:pt x="5" y="4"/>
                    </a:lnTo>
                    <a:lnTo>
                      <a:pt x="5" y="4"/>
                    </a:lnTo>
                    <a:lnTo>
                      <a:pt x="5" y="5"/>
                    </a:lnTo>
                    <a:lnTo>
                      <a:pt x="5" y="5"/>
                    </a:lnTo>
                    <a:lnTo>
                      <a:pt x="5" y="5"/>
                    </a:lnTo>
                    <a:lnTo>
                      <a:pt x="5" y="5"/>
                    </a:lnTo>
                    <a:close/>
                    <a:moveTo>
                      <a:pt x="11" y="0"/>
                    </a:moveTo>
                    <a:lnTo>
                      <a:pt x="11" y="2"/>
                    </a:lnTo>
                    <a:lnTo>
                      <a:pt x="14" y="4"/>
                    </a:lnTo>
                    <a:lnTo>
                      <a:pt x="16" y="7"/>
                    </a:lnTo>
                    <a:lnTo>
                      <a:pt x="19" y="9"/>
                    </a:lnTo>
                    <a:lnTo>
                      <a:pt x="16" y="7"/>
                    </a:lnTo>
                    <a:lnTo>
                      <a:pt x="14" y="7"/>
                    </a:lnTo>
                    <a:lnTo>
                      <a:pt x="11" y="5"/>
                    </a:lnTo>
                    <a:lnTo>
                      <a:pt x="9" y="4"/>
                    </a:lnTo>
                    <a:lnTo>
                      <a:pt x="9" y="4"/>
                    </a:lnTo>
                    <a:lnTo>
                      <a:pt x="11" y="2"/>
                    </a:lnTo>
                    <a:lnTo>
                      <a:pt x="11" y="2"/>
                    </a:lnTo>
                    <a:lnTo>
                      <a:pt x="11" y="0"/>
                    </a:lnTo>
                    <a:lnTo>
                      <a:pt x="11" y="0"/>
                    </a:lnTo>
                    <a:lnTo>
                      <a:pt x="11" y="0"/>
                    </a:lnTo>
                    <a:lnTo>
                      <a:pt x="11" y="0"/>
                    </a:lnTo>
                    <a:close/>
                    <a:moveTo>
                      <a:pt x="5" y="5"/>
                    </a:moveTo>
                    <a:lnTo>
                      <a:pt x="5" y="7"/>
                    </a:lnTo>
                    <a:lnTo>
                      <a:pt x="9" y="9"/>
                    </a:lnTo>
                    <a:lnTo>
                      <a:pt x="5" y="9"/>
                    </a:lnTo>
                    <a:lnTo>
                      <a:pt x="5" y="9"/>
                    </a:lnTo>
                    <a:lnTo>
                      <a:pt x="5" y="9"/>
                    </a:lnTo>
                    <a:lnTo>
                      <a:pt x="5" y="12"/>
                    </a:lnTo>
                    <a:lnTo>
                      <a:pt x="5" y="16"/>
                    </a:lnTo>
                    <a:lnTo>
                      <a:pt x="2" y="16"/>
                    </a:lnTo>
                    <a:lnTo>
                      <a:pt x="2" y="12"/>
                    </a:lnTo>
                    <a:lnTo>
                      <a:pt x="0" y="12"/>
                    </a:lnTo>
                    <a:lnTo>
                      <a:pt x="0" y="12"/>
                    </a:lnTo>
                    <a:lnTo>
                      <a:pt x="2" y="16"/>
                    </a:lnTo>
                    <a:lnTo>
                      <a:pt x="2" y="16"/>
                    </a:lnTo>
                    <a:lnTo>
                      <a:pt x="2" y="16"/>
                    </a:lnTo>
                    <a:lnTo>
                      <a:pt x="2" y="19"/>
                    </a:lnTo>
                    <a:lnTo>
                      <a:pt x="2" y="24"/>
                    </a:lnTo>
                    <a:lnTo>
                      <a:pt x="2" y="26"/>
                    </a:lnTo>
                    <a:lnTo>
                      <a:pt x="2" y="33"/>
                    </a:lnTo>
                    <a:lnTo>
                      <a:pt x="2" y="35"/>
                    </a:lnTo>
                    <a:lnTo>
                      <a:pt x="0" y="37"/>
                    </a:lnTo>
                    <a:lnTo>
                      <a:pt x="2" y="44"/>
                    </a:lnTo>
                    <a:lnTo>
                      <a:pt x="2" y="44"/>
                    </a:lnTo>
                    <a:lnTo>
                      <a:pt x="2" y="52"/>
                    </a:lnTo>
                    <a:lnTo>
                      <a:pt x="5" y="61"/>
                    </a:lnTo>
                    <a:lnTo>
                      <a:pt x="9" y="64"/>
                    </a:lnTo>
                    <a:lnTo>
                      <a:pt x="14" y="68"/>
                    </a:lnTo>
                    <a:lnTo>
                      <a:pt x="16" y="66"/>
                    </a:lnTo>
                    <a:lnTo>
                      <a:pt x="21" y="66"/>
                    </a:lnTo>
                    <a:lnTo>
                      <a:pt x="28" y="64"/>
                    </a:lnTo>
                    <a:lnTo>
                      <a:pt x="33" y="59"/>
                    </a:lnTo>
                    <a:lnTo>
                      <a:pt x="38" y="54"/>
                    </a:lnTo>
                    <a:lnTo>
                      <a:pt x="38" y="51"/>
                    </a:lnTo>
                    <a:lnTo>
                      <a:pt x="38" y="47"/>
                    </a:lnTo>
                    <a:lnTo>
                      <a:pt x="38" y="47"/>
                    </a:lnTo>
                    <a:lnTo>
                      <a:pt x="38" y="44"/>
                    </a:lnTo>
                    <a:lnTo>
                      <a:pt x="38" y="42"/>
                    </a:lnTo>
                    <a:lnTo>
                      <a:pt x="38" y="38"/>
                    </a:lnTo>
                    <a:lnTo>
                      <a:pt x="35" y="37"/>
                    </a:lnTo>
                    <a:lnTo>
                      <a:pt x="33" y="30"/>
                    </a:lnTo>
                    <a:lnTo>
                      <a:pt x="30" y="24"/>
                    </a:lnTo>
                    <a:lnTo>
                      <a:pt x="26" y="24"/>
                    </a:lnTo>
                    <a:lnTo>
                      <a:pt x="26" y="24"/>
                    </a:lnTo>
                    <a:lnTo>
                      <a:pt x="25" y="24"/>
                    </a:lnTo>
                    <a:lnTo>
                      <a:pt x="26" y="21"/>
                    </a:lnTo>
                    <a:lnTo>
                      <a:pt x="26" y="21"/>
                    </a:lnTo>
                    <a:lnTo>
                      <a:pt x="25" y="19"/>
                    </a:lnTo>
                    <a:lnTo>
                      <a:pt x="25" y="16"/>
                    </a:lnTo>
                    <a:lnTo>
                      <a:pt x="21" y="16"/>
                    </a:lnTo>
                    <a:lnTo>
                      <a:pt x="19" y="12"/>
                    </a:lnTo>
                    <a:lnTo>
                      <a:pt x="19" y="12"/>
                    </a:lnTo>
                    <a:lnTo>
                      <a:pt x="19" y="9"/>
                    </a:lnTo>
                    <a:lnTo>
                      <a:pt x="14" y="9"/>
                    </a:lnTo>
                    <a:lnTo>
                      <a:pt x="14" y="9"/>
                    </a:lnTo>
                    <a:lnTo>
                      <a:pt x="11" y="9"/>
                    </a:lnTo>
                    <a:lnTo>
                      <a:pt x="11" y="7"/>
                    </a:lnTo>
                    <a:lnTo>
                      <a:pt x="5" y="5"/>
                    </a:lnTo>
                    <a:lnTo>
                      <a:pt x="5" y="5"/>
                    </a:lnTo>
                    <a:lnTo>
                      <a:pt x="5"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50"/>
              <p:cNvSpPr>
                <a:spLocks/>
              </p:cNvSpPr>
              <p:nvPr/>
            </p:nvSpPr>
            <p:spPr bwMode="auto">
              <a:xfrm>
                <a:off x="6548438" y="3397251"/>
                <a:ext cx="225425" cy="119063"/>
              </a:xfrm>
              <a:custGeom>
                <a:avLst/>
                <a:gdLst/>
                <a:ahLst/>
                <a:cxnLst>
                  <a:cxn ang="0">
                    <a:pos x="9" y="0"/>
                  </a:cxn>
                  <a:cxn ang="0">
                    <a:pos x="14" y="3"/>
                  </a:cxn>
                  <a:cxn ang="0">
                    <a:pos x="19" y="7"/>
                  </a:cxn>
                  <a:cxn ang="0">
                    <a:pos x="26" y="3"/>
                  </a:cxn>
                  <a:cxn ang="0">
                    <a:pos x="35" y="7"/>
                  </a:cxn>
                  <a:cxn ang="0">
                    <a:pos x="40" y="7"/>
                  </a:cxn>
                  <a:cxn ang="0">
                    <a:pos x="49" y="14"/>
                  </a:cxn>
                  <a:cxn ang="0">
                    <a:pos x="54" y="17"/>
                  </a:cxn>
                  <a:cxn ang="0">
                    <a:pos x="57" y="24"/>
                  </a:cxn>
                  <a:cxn ang="0">
                    <a:pos x="61" y="17"/>
                  </a:cxn>
                  <a:cxn ang="0">
                    <a:pos x="62" y="17"/>
                  </a:cxn>
                  <a:cxn ang="0">
                    <a:pos x="71" y="21"/>
                  </a:cxn>
                  <a:cxn ang="0">
                    <a:pos x="75" y="28"/>
                  </a:cxn>
                  <a:cxn ang="0">
                    <a:pos x="85" y="28"/>
                  </a:cxn>
                  <a:cxn ang="0">
                    <a:pos x="85" y="38"/>
                  </a:cxn>
                  <a:cxn ang="0">
                    <a:pos x="94" y="40"/>
                  </a:cxn>
                  <a:cxn ang="0">
                    <a:pos x="99" y="38"/>
                  </a:cxn>
                  <a:cxn ang="0">
                    <a:pos x="108" y="35"/>
                  </a:cxn>
                  <a:cxn ang="0">
                    <a:pos x="113" y="40"/>
                  </a:cxn>
                  <a:cxn ang="0">
                    <a:pos x="122" y="47"/>
                  </a:cxn>
                  <a:cxn ang="0">
                    <a:pos x="128" y="45"/>
                  </a:cxn>
                  <a:cxn ang="0">
                    <a:pos x="135" y="45"/>
                  </a:cxn>
                  <a:cxn ang="0">
                    <a:pos x="139" y="49"/>
                  </a:cxn>
                  <a:cxn ang="0">
                    <a:pos x="142" y="63"/>
                  </a:cxn>
                  <a:cxn ang="0">
                    <a:pos x="128" y="75"/>
                  </a:cxn>
                  <a:cxn ang="0">
                    <a:pos x="120" y="73"/>
                  </a:cxn>
                  <a:cxn ang="0">
                    <a:pos x="99" y="66"/>
                  </a:cxn>
                  <a:cxn ang="0">
                    <a:pos x="87" y="66"/>
                  </a:cxn>
                  <a:cxn ang="0">
                    <a:pos x="82" y="57"/>
                  </a:cxn>
                  <a:cxn ang="0">
                    <a:pos x="64" y="57"/>
                  </a:cxn>
                  <a:cxn ang="0">
                    <a:pos x="54" y="57"/>
                  </a:cxn>
                  <a:cxn ang="0">
                    <a:pos x="43" y="54"/>
                  </a:cxn>
                  <a:cxn ang="0">
                    <a:pos x="35" y="49"/>
                  </a:cxn>
                  <a:cxn ang="0">
                    <a:pos x="21" y="38"/>
                  </a:cxn>
                  <a:cxn ang="0">
                    <a:pos x="12" y="35"/>
                  </a:cxn>
                  <a:cxn ang="0">
                    <a:pos x="5" y="31"/>
                  </a:cxn>
                  <a:cxn ang="0">
                    <a:pos x="0" y="28"/>
                  </a:cxn>
                  <a:cxn ang="0">
                    <a:pos x="5" y="16"/>
                  </a:cxn>
                  <a:cxn ang="0">
                    <a:pos x="9" y="0"/>
                  </a:cxn>
                  <a:cxn ang="0">
                    <a:pos x="9" y="0"/>
                  </a:cxn>
                </a:cxnLst>
                <a:rect l="0" t="0" r="r" b="b"/>
                <a:pathLst>
                  <a:path w="142" h="75">
                    <a:moveTo>
                      <a:pt x="9" y="0"/>
                    </a:moveTo>
                    <a:lnTo>
                      <a:pt x="9" y="0"/>
                    </a:lnTo>
                    <a:lnTo>
                      <a:pt x="12" y="3"/>
                    </a:lnTo>
                    <a:lnTo>
                      <a:pt x="14" y="3"/>
                    </a:lnTo>
                    <a:lnTo>
                      <a:pt x="17" y="3"/>
                    </a:lnTo>
                    <a:lnTo>
                      <a:pt x="19" y="7"/>
                    </a:lnTo>
                    <a:lnTo>
                      <a:pt x="21" y="3"/>
                    </a:lnTo>
                    <a:lnTo>
                      <a:pt x="26" y="3"/>
                    </a:lnTo>
                    <a:lnTo>
                      <a:pt x="31" y="3"/>
                    </a:lnTo>
                    <a:lnTo>
                      <a:pt x="35" y="7"/>
                    </a:lnTo>
                    <a:lnTo>
                      <a:pt x="36" y="7"/>
                    </a:lnTo>
                    <a:lnTo>
                      <a:pt x="40" y="7"/>
                    </a:lnTo>
                    <a:lnTo>
                      <a:pt x="45" y="14"/>
                    </a:lnTo>
                    <a:lnTo>
                      <a:pt x="49" y="14"/>
                    </a:lnTo>
                    <a:lnTo>
                      <a:pt x="54" y="16"/>
                    </a:lnTo>
                    <a:lnTo>
                      <a:pt x="54" y="17"/>
                    </a:lnTo>
                    <a:lnTo>
                      <a:pt x="57" y="21"/>
                    </a:lnTo>
                    <a:lnTo>
                      <a:pt x="57" y="24"/>
                    </a:lnTo>
                    <a:lnTo>
                      <a:pt x="59" y="23"/>
                    </a:lnTo>
                    <a:lnTo>
                      <a:pt x="61" y="17"/>
                    </a:lnTo>
                    <a:lnTo>
                      <a:pt x="62" y="17"/>
                    </a:lnTo>
                    <a:lnTo>
                      <a:pt x="62" y="17"/>
                    </a:lnTo>
                    <a:lnTo>
                      <a:pt x="68" y="17"/>
                    </a:lnTo>
                    <a:lnTo>
                      <a:pt x="71" y="21"/>
                    </a:lnTo>
                    <a:lnTo>
                      <a:pt x="71" y="24"/>
                    </a:lnTo>
                    <a:lnTo>
                      <a:pt x="75" y="28"/>
                    </a:lnTo>
                    <a:lnTo>
                      <a:pt x="80" y="28"/>
                    </a:lnTo>
                    <a:lnTo>
                      <a:pt x="85" y="28"/>
                    </a:lnTo>
                    <a:lnTo>
                      <a:pt x="83" y="35"/>
                    </a:lnTo>
                    <a:lnTo>
                      <a:pt x="85" y="38"/>
                    </a:lnTo>
                    <a:lnTo>
                      <a:pt x="89" y="38"/>
                    </a:lnTo>
                    <a:lnTo>
                      <a:pt x="94" y="40"/>
                    </a:lnTo>
                    <a:lnTo>
                      <a:pt x="94" y="38"/>
                    </a:lnTo>
                    <a:lnTo>
                      <a:pt x="99" y="38"/>
                    </a:lnTo>
                    <a:lnTo>
                      <a:pt x="101" y="35"/>
                    </a:lnTo>
                    <a:lnTo>
                      <a:pt x="108" y="35"/>
                    </a:lnTo>
                    <a:lnTo>
                      <a:pt x="113" y="38"/>
                    </a:lnTo>
                    <a:lnTo>
                      <a:pt x="113" y="40"/>
                    </a:lnTo>
                    <a:lnTo>
                      <a:pt x="120" y="43"/>
                    </a:lnTo>
                    <a:lnTo>
                      <a:pt x="122" y="47"/>
                    </a:lnTo>
                    <a:lnTo>
                      <a:pt x="123" y="49"/>
                    </a:lnTo>
                    <a:lnTo>
                      <a:pt x="128" y="45"/>
                    </a:lnTo>
                    <a:lnTo>
                      <a:pt x="130" y="47"/>
                    </a:lnTo>
                    <a:lnTo>
                      <a:pt x="135" y="45"/>
                    </a:lnTo>
                    <a:lnTo>
                      <a:pt x="139" y="45"/>
                    </a:lnTo>
                    <a:lnTo>
                      <a:pt x="139" y="49"/>
                    </a:lnTo>
                    <a:lnTo>
                      <a:pt x="139" y="57"/>
                    </a:lnTo>
                    <a:lnTo>
                      <a:pt x="142" y="63"/>
                    </a:lnTo>
                    <a:lnTo>
                      <a:pt x="139" y="71"/>
                    </a:lnTo>
                    <a:lnTo>
                      <a:pt x="128" y="75"/>
                    </a:lnTo>
                    <a:lnTo>
                      <a:pt x="123" y="69"/>
                    </a:lnTo>
                    <a:lnTo>
                      <a:pt x="120" y="73"/>
                    </a:lnTo>
                    <a:lnTo>
                      <a:pt x="104" y="66"/>
                    </a:lnTo>
                    <a:lnTo>
                      <a:pt x="99" y="66"/>
                    </a:lnTo>
                    <a:lnTo>
                      <a:pt x="97" y="69"/>
                    </a:lnTo>
                    <a:lnTo>
                      <a:pt x="87" y="66"/>
                    </a:lnTo>
                    <a:lnTo>
                      <a:pt x="82" y="63"/>
                    </a:lnTo>
                    <a:lnTo>
                      <a:pt x="82" y="57"/>
                    </a:lnTo>
                    <a:lnTo>
                      <a:pt x="73" y="57"/>
                    </a:lnTo>
                    <a:lnTo>
                      <a:pt x="64" y="57"/>
                    </a:lnTo>
                    <a:lnTo>
                      <a:pt x="61" y="57"/>
                    </a:lnTo>
                    <a:lnTo>
                      <a:pt x="54" y="57"/>
                    </a:lnTo>
                    <a:lnTo>
                      <a:pt x="49" y="54"/>
                    </a:lnTo>
                    <a:lnTo>
                      <a:pt x="43" y="54"/>
                    </a:lnTo>
                    <a:lnTo>
                      <a:pt x="40" y="50"/>
                    </a:lnTo>
                    <a:lnTo>
                      <a:pt x="35" y="49"/>
                    </a:lnTo>
                    <a:lnTo>
                      <a:pt x="28" y="43"/>
                    </a:lnTo>
                    <a:lnTo>
                      <a:pt x="21" y="38"/>
                    </a:lnTo>
                    <a:lnTo>
                      <a:pt x="14" y="35"/>
                    </a:lnTo>
                    <a:lnTo>
                      <a:pt x="12" y="35"/>
                    </a:lnTo>
                    <a:lnTo>
                      <a:pt x="9" y="35"/>
                    </a:lnTo>
                    <a:lnTo>
                      <a:pt x="5" y="31"/>
                    </a:lnTo>
                    <a:lnTo>
                      <a:pt x="0" y="31"/>
                    </a:lnTo>
                    <a:lnTo>
                      <a:pt x="0" y="28"/>
                    </a:lnTo>
                    <a:lnTo>
                      <a:pt x="5" y="21"/>
                    </a:lnTo>
                    <a:lnTo>
                      <a:pt x="5" y="16"/>
                    </a:lnTo>
                    <a:lnTo>
                      <a:pt x="9" y="7"/>
                    </a:lnTo>
                    <a:lnTo>
                      <a:pt x="9" y="0"/>
                    </a:lnTo>
                    <a:lnTo>
                      <a:pt x="9" y="0"/>
                    </a:lnTo>
                    <a:lnTo>
                      <a:pt x="9"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8" name="Freeform 51"/>
              <p:cNvSpPr>
                <a:spLocks/>
              </p:cNvSpPr>
              <p:nvPr/>
            </p:nvSpPr>
            <p:spPr bwMode="auto">
              <a:xfrm>
                <a:off x="5607050" y="2508251"/>
                <a:ext cx="1027113" cy="533400"/>
              </a:xfrm>
              <a:custGeom>
                <a:avLst/>
                <a:gdLst/>
                <a:ahLst/>
                <a:cxnLst>
                  <a:cxn ang="0">
                    <a:pos x="16" y="197"/>
                  </a:cxn>
                  <a:cxn ang="0">
                    <a:pos x="0" y="157"/>
                  </a:cxn>
                  <a:cxn ang="0">
                    <a:pos x="32" y="151"/>
                  </a:cxn>
                  <a:cxn ang="0">
                    <a:pos x="47" y="120"/>
                  </a:cxn>
                  <a:cxn ang="0">
                    <a:pos x="63" y="115"/>
                  </a:cxn>
                  <a:cxn ang="0">
                    <a:pos x="73" y="111"/>
                  </a:cxn>
                  <a:cxn ang="0">
                    <a:pos x="105" y="120"/>
                  </a:cxn>
                  <a:cxn ang="0">
                    <a:pos x="122" y="127"/>
                  </a:cxn>
                  <a:cxn ang="0">
                    <a:pos x="146" y="120"/>
                  </a:cxn>
                  <a:cxn ang="0">
                    <a:pos x="171" y="120"/>
                  </a:cxn>
                  <a:cxn ang="0">
                    <a:pos x="186" y="129"/>
                  </a:cxn>
                  <a:cxn ang="0">
                    <a:pos x="218" y="129"/>
                  </a:cxn>
                  <a:cxn ang="0">
                    <a:pos x="209" y="101"/>
                  </a:cxn>
                  <a:cxn ang="0">
                    <a:pos x="205" y="83"/>
                  </a:cxn>
                  <a:cxn ang="0">
                    <a:pos x="219" y="63"/>
                  </a:cxn>
                  <a:cxn ang="0">
                    <a:pos x="205" y="57"/>
                  </a:cxn>
                  <a:cxn ang="0">
                    <a:pos x="218" y="49"/>
                  </a:cxn>
                  <a:cxn ang="0">
                    <a:pos x="237" y="40"/>
                  </a:cxn>
                  <a:cxn ang="0">
                    <a:pos x="268" y="33"/>
                  </a:cxn>
                  <a:cxn ang="0">
                    <a:pos x="285" y="24"/>
                  </a:cxn>
                  <a:cxn ang="0">
                    <a:pos x="311" y="9"/>
                  </a:cxn>
                  <a:cxn ang="0">
                    <a:pos x="336" y="2"/>
                  </a:cxn>
                  <a:cxn ang="0">
                    <a:pos x="358" y="16"/>
                  </a:cxn>
                  <a:cxn ang="0">
                    <a:pos x="365" y="30"/>
                  </a:cxn>
                  <a:cxn ang="0">
                    <a:pos x="377" y="26"/>
                  </a:cxn>
                  <a:cxn ang="0">
                    <a:pos x="397" y="33"/>
                  </a:cxn>
                  <a:cxn ang="0">
                    <a:pos x="409" y="40"/>
                  </a:cxn>
                  <a:cxn ang="0">
                    <a:pos x="431" y="30"/>
                  </a:cxn>
                  <a:cxn ang="0">
                    <a:pos x="449" y="24"/>
                  </a:cxn>
                  <a:cxn ang="0">
                    <a:pos x="527" y="92"/>
                  </a:cxn>
                  <a:cxn ang="0">
                    <a:pos x="549" y="99"/>
                  </a:cxn>
                  <a:cxn ang="0">
                    <a:pos x="576" y="94"/>
                  </a:cxn>
                  <a:cxn ang="0">
                    <a:pos x="603" y="111"/>
                  </a:cxn>
                  <a:cxn ang="0">
                    <a:pos x="612" y="127"/>
                  </a:cxn>
                  <a:cxn ang="0">
                    <a:pos x="635" y="125"/>
                  </a:cxn>
                  <a:cxn ang="0">
                    <a:pos x="636" y="146"/>
                  </a:cxn>
                  <a:cxn ang="0">
                    <a:pos x="629" y="183"/>
                  </a:cxn>
                  <a:cxn ang="0">
                    <a:pos x="596" y="184"/>
                  </a:cxn>
                  <a:cxn ang="0">
                    <a:pos x="586" y="223"/>
                  </a:cxn>
                  <a:cxn ang="0">
                    <a:pos x="574" y="231"/>
                  </a:cxn>
                  <a:cxn ang="0">
                    <a:pos x="558" y="242"/>
                  </a:cxn>
                  <a:cxn ang="0">
                    <a:pos x="567" y="268"/>
                  </a:cxn>
                  <a:cxn ang="0">
                    <a:pos x="567" y="294"/>
                  </a:cxn>
                  <a:cxn ang="0">
                    <a:pos x="508" y="285"/>
                  </a:cxn>
                  <a:cxn ang="0">
                    <a:pos x="464" y="285"/>
                  </a:cxn>
                  <a:cxn ang="0">
                    <a:pos x="428" y="296"/>
                  </a:cxn>
                  <a:cxn ang="0">
                    <a:pos x="409" y="310"/>
                  </a:cxn>
                  <a:cxn ang="0">
                    <a:pos x="365" y="332"/>
                  </a:cxn>
                  <a:cxn ang="0">
                    <a:pos x="287" y="275"/>
                  </a:cxn>
                  <a:cxn ang="0">
                    <a:pos x="159" y="325"/>
                  </a:cxn>
                  <a:cxn ang="0">
                    <a:pos x="119" y="310"/>
                  </a:cxn>
                  <a:cxn ang="0">
                    <a:pos x="101" y="301"/>
                  </a:cxn>
                  <a:cxn ang="0">
                    <a:pos x="87" y="285"/>
                  </a:cxn>
                  <a:cxn ang="0">
                    <a:pos x="73" y="268"/>
                  </a:cxn>
                  <a:cxn ang="0">
                    <a:pos x="94" y="268"/>
                  </a:cxn>
                  <a:cxn ang="0">
                    <a:pos x="86" y="254"/>
                  </a:cxn>
                  <a:cxn ang="0">
                    <a:pos x="108" y="249"/>
                  </a:cxn>
                  <a:cxn ang="0">
                    <a:pos x="113" y="238"/>
                  </a:cxn>
                  <a:cxn ang="0">
                    <a:pos x="112" y="219"/>
                  </a:cxn>
                  <a:cxn ang="0">
                    <a:pos x="96" y="217"/>
                  </a:cxn>
                  <a:cxn ang="0">
                    <a:pos x="86" y="214"/>
                  </a:cxn>
                  <a:cxn ang="0">
                    <a:pos x="70" y="217"/>
                  </a:cxn>
                  <a:cxn ang="0">
                    <a:pos x="54" y="228"/>
                  </a:cxn>
                </a:cxnLst>
                <a:rect l="0" t="0" r="r" b="b"/>
                <a:pathLst>
                  <a:path w="647" h="336">
                    <a:moveTo>
                      <a:pt x="51" y="228"/>
                    </a:moveTo>
                    <a:lnTo>
                      <a:pt x="46" y="223"/>
                    </a:lnTo>
                    <a:lnTo>
                      <a:pt x="40" y="224"/>
                    </a:lnTo>
                    <a:lnTo>
                      <a:pt x="35" y="219"/>
                    </a:lnTo>
                    <a:lnTo>
                      <a:pt x="35" y="219"/>
                    </a:lnTo>
                    <a:lnTo>
                      <a:pt x="42" y="219"/>
                    </a:lnTo>
                    <a:lnTo>
                      <a:pt x="35" y="205"/>
                    </a:lnTo>
                    <a:lnTo>
                      <a:pt x="28" y="200"/>
                    </a:lnTo>
                    <a:lnTo>
                      <a:pt x="16" y="197"/>
                    </a:lnTo>
                    <a:lnTo>
                      <a:pt x="14" y="200"/>
                    </a:lnTo>
                    <a:lnTo>
                      <a:pt x="9" y="195"/>
                    </a:lnTo>
                    <a:lnTo>
                      <a:pt x="9" y="191"/>
                    </a:lnTo>
                    <a:lnTo>
                      <a:pt x="9" y="186"/>
                    </a:lnTo>
                    <a:lnTo>
                      <a:pt x="0" y="184"/>
                    </a:lnTo>
                    <a:lnTo>
                      <a:pt x="4" y="179"/>
                    </a:lnTo>
                    <a:lnTo>
                      <a:pt x="4" y="167"/>
                    </a:lnTo>
                    <a:lnTo>
                      <a:pt x="0" y="165"/>
                    </a:lnTo>
                    <a:lnTo>
                      <a:pt x="0" y="157"/>
                    </a:lnTo>
                    <a:lnTo>
                      <a:pt x="4" y="157"/>
                    </a:lnTo>
                    <a:lnTo>
                      <a:pt x="9" y="150"/>
                    </a:lnTo>
                    <a:lnTo>
                      <a:pt x="9" y="146"/>
                    </a:lnTo>
                    <a:lnTo>
                      <a:pt x="11" y="143"/>
                    </a:lnTo>
                    <a:lnTo>
                      <a:pt x="20" y="151"/>
                    </a:lnTo>
                    <a:lnTo>
                      <a:pt x="20" y="155"/>
                    </a:lnTo>
                    <a:lnTo>
                      <a:pt x="26" y="157"/>
                    </a:lnTo>
                    <a:lnTo>
                      <a:pt x="32" y="157"/>
                    </a:lnTo>
                    <a:lnTo>
                      <a:pt x="32" y="151"/>
                    </a:lnTo>
                    <a:lnTo>
                      <a:pt x="33" y="150"/>
                    </a:lnTo>
                    <a:lnTo>
                      <a:pt x="28" y="137"/>
                    </a:lnTo>
                    <a:lnTo>
                      <a:pt x="33" y="134"/>
                    </a:lnTo>
                    <a:lnTo>
                      <a:pt x="40" y="134"/>
                    </a:lnTo>
                    <a:lnTo>
                      <a:pt x="40" y="132"/>
                    </a:lnTo>
                    <a:lnTo>
                      <a:pt x="37" y="129"/>
                    </a:lnTo>
                    <a:lnTo>
                      <a:pt x="39" y="125"/>
                    </a:lnTo>
                    <a:lnTo>
                      <a:pt x="44" y="122"/>
                    </a:lnTo>
                    <a:lnTo>
                      <a:pt x="47" y="120"/>
                    </a:lnTo>
                    <a:lnTo>
                      <a:pt x="49" y="117"/>
                    </a:lnTo>
                    <a:lnTo>
                      <a:pt x="51" y="115"/>
                    </a:lnTo>
                    <a:lnTo>
                      <a:pt x="54" y="115"/>
                    </a:lnTo>
                    <a:lnTo>
                      <a:pt x="54" y="111"/>
                    </a:lnTo>
                    <a:lnTo>
                      <a:pt x="54" y="110"/>
                    </a:lnTo>
                    <a:lnTo>
                      <a:pt x="54" y="108"/>
                    </a:lnTo>
                    <a:lnTo>
                      <a:pt x="59" y="111"/>
                    </a:lnTo>
                    <a:lnTo>
                      <a:pt x="63" y="111"/>
                    </a:lnTo>
                    <a:lnTo>
                      <a:pt x="63" y="115"/>
                    </a:lnTo>
                    <a:lnTo>
                      <a:pt x="59" y="117"/>
                    </a:lnTo>
                    <a:lnTo>
                      <a:pt x="63" y="118"/>
                    </a:lnTo>
                    <a:lnTo>
                      <a:pt x="65" y="117"/>
                    </a:lnTo>
                    <a:lnTo>
                      <a:pt x="66" y="115"/>
                    </a:lnTo>
                    <a:lnTo>
                      <a:pt x="68" y="111"/>
                    </a:lnTo>
                    <a:lnTo>
                      <a:pt x="70" y="115"/>
                    </a:lnTo>
                    <a:lnTo>
                      <a:pt x="72" y="115"/>
                    </a:lnTo>
                    <a:lnTo>
                      <a:pt x="72" y="111"/>
                    </a:lnTo>
                    <a:lnTo>
                      <a:pt x="73" y="111"/>
                    </a:lnTo>
                    <a:lnTo>
                      <a:pt x="77" y="110"/>
                    </a:lnTo>
                    <a:lnTo>
                      <a:pt x="82" y="110"/>
                    </a:lnTo>
                    <a:lnTo>
                      <a:pt x="82" y="111"/>
                    </a:lnTo>
                    <a:lnTo>
                      <a:pt x="87" y="115"/>
                    </a:lnTo>
                    <a:lnTo>
                      <a:pt x="94" y="115"/>
                    </a:lnTo>
                    <a:lnTo>
                      <a:pt x="96" y="115"/>
                    </a:lnTo>
                    <a:lnTo>
                      <a:pt x="98" y="115"/>
                    </a:lnTo>
                    <a:lnTo>
                      <a:pt x="101" y="117"/>
                    </a:lnTo>
                    <a:lnTo>
                      <a:pt x="105" y="120"/>
                    </a:lnTo>
                    <a:lnTo>
                      <a:pt x="106" y="120"/>
                    </a:lnTo>
                    <a:lnTo>
                      <a:pt x="110" y="123"/>
                    </a:lnTo>
                    <a:lnTo>
                      <a:pt x="113" y="129"/>
                    </a:lnTo>
                    <a:lnTo>
                      <a:pt x="117" y="129"/>
                    </a:lnTo>
                    <a:lnTo>
                      <a:pt x="119" y="130"/>
                    </a:lnTo>
                    <a:lnTo>
                      <a:pt x="119" y="134"/>
                    </a:lnTo>
                    <a:lnTo>
                      <a:pt x="120" y="134"/>
                    </a:lnTo>
                    <a:lnTo>
                      <a:pt x="124" y="132"/>
                    </a:lnTo>
                    <a:lnTo>
                      <a:pt x="122" y="127"/>
                    </a:lnTo>
                    <a:lnTo>
                      <a:pt x="124" y="125"/>
                    </a:lnTo>
                    <a:lnTo>
                      <a:pt x="127" y="129"/>
                    </a:lnTo>
                    <a:lnTo>
                      <a:pt x="136" y="130"/>
                    </a:lnTo>
                    <a:lnTo>
                      <a:pt x="136" y="134"/>
                    </a:lnTo>
                    <a:lnTo>
                      <a:pt x="139" y="134"/>
                    </a:lnTo>
                    <a:lnTo>
                      <a:pt x="143" y="130"/>
                    </a:lnTo>
                    <a:lnTo>
                      <a:pt x="145" y="125"/>
                    </a:lnTo>
                    <a:lnTo>
                      <a:pt x="146" y="123"/>
                    </a:lnTo>
                    <a:lnTo>
                      <a:pt x="146" y="120"/>
                    </a:lnTo>
                    <a:lnTo>
                      <a:pt x="152" y="120"/>
                    </a:lnTo>
                    <a:lnTo>
                      <a:pt x="153" y="122"/>
                    </a:lnTo>
                    <a:lnTo>
                      <a:pt x="155" y="120"/>
                    </a:lnTo>
                    <a:lnTo>
                      <a:pt x="159" y="118"/>
                    </a:lnTo>
                    <a:lnTo>
                      <a:pt x="162" y="123"/>
                    </a:lnTo>
                    <a:lnTo>
                      <a:pt x="164" y="125"/>
                    </a:lnTo>
                    <a:lnTo>
                      <a:pt x="169" y="125"/>
                    </a:lnTo>
                    <a:lnTo>
                      <a:pt x="167" y="120"/>
                    </a:lnTo>
                    <a:lnTo>
                      <a:pt x="171" y="120"/>
                    </a:lnTo>
                    <a:lnTo>
                      <a:pt x="174" y="120"/>
                    </a:lnTo>
                    <a:lnTo>
                      <a:pt x="176" y="118"/>
                    </a:lnTo>
                    <a:lnTo>
                      <a:pt x="181" y="120"/>
                    </a:lnTo>
                    <a:lnTo>
                      <a:pt x="181" y="122"/>
                    </a:lnTo>
                    <a:lnTo>
                      <a:pt x="181" y="123"/>
                    </a:lnTo>
                    <a:lnTo>
                      <a:pt x="178" y="125"/>
                    </a:lnTo>
                    <a:lnTo>
                      <a:pt x="181" y="129"/>
                    </a:lnTo>
                    <a:lnTo>
                      <a:pt x="185" y="130"/>
                    </a:lnTo>
                    <a:lnTo>
                      <a:pt x="186" y="129"/>
                    </a:lnTo>
                    <a:lnTo>
                      <a:pt x="188" y="130"/>
                    </a:lnTo>
                    <a:lnTo>
                      <a:pt x="195" y="130"/>
                    </a:lnTo>
                    <a:lnTo>
                      <a:pt x="200" y="134"/>
                    </a:lnTo>
                    <a:lnTo>
                      <a:pt x="204" y="134"/>
                    </a:lnTo>
                    <a:lnTo>
                      <a:pt x="205" y="129"/>
                    </a:lnTo>
                    <a:lnTo>
                      <a:pt x="205" y="125"/>
                    </a:lnTo>
                    <a:lnTo>
                      <a:pt x="209" y="123"/>
                    </a:lnTo>
                    <a:lnTo>
                      <a:pt x="212" y="127"/>
                    </a:lnTo>
                    <a:lnTo>
                      <a:pt x="218" y="129"/>
                    </a:lnTo>
                    <a:lnTo>
                      <a:pt x="225" y="127"/>
                    </a:lnTo>
                    <a:lnTo>
                      <a:pt x="226" y="123"/>
                    </a:lnTo>
                    <a:lnTo>
                      <a:pt x="225" y="111"/>
                    </a:lnTo>
                    <a:lnTo>
                      <a:pt x="223" y="110"/>
                    </a:lnTo>
                    <a:lnTo>
                      <a:pt x="218" y="110"/>
                    </a:lnTo>
                    <a:lnTo>
                      <a:pt x="214" y="106"/>
                    </a:lnTo>
                    <a:lnTo>
                      <a:pt x="214" y="104"/>
                    </a:lnTo>
                    <a:lnTo>
                      <a:pt x="209" y="103"/>
                    </a:lnTo>
                    <a:lnTo>
                      <a:pt x="209" y="101"/>
                    </a:lnTo>
                    <a:lnTo>
                      <a:pt x="204" y="101"/>
                    </a:lnTo>
                    <a:lnTo>
                      <a:pt x="204" y="99"/>
                    </a:lnTo>
                    <a:lnTo>
                      <a:pt x="204" y="96"/>
                    </a:lnTo>
                    <a:lnTo>
                      <a:pt x="204" y="94"/>
                    </a:lnTo>
                    <a:lnTo>
                      <a:pt x="205" y="94"/>
                    </a:lnTo>
                    <a:lnTo>
                      <a:pt x="205" y="92"/>
                    </a:lnTo>
                    <a:lnTo>
                      <a:pt x="209" y="89"/>
                    </a:lnTo>
                    <a:lnTo>
                      <a:pt x="209" y="85"/>
                    </a:lnTo>
                    <a:lnTo>
                      <a:pt x="205" y="83"/>
                    </a:lnTo>
                    <a:lnTo>
                      <a:pt x="204" y="80"/>
                    </a:lnTo>
                    <a:lnTo>
                      <a:pt x="209" y="75"/>
                    </a:lnTo>
                    <a:lnTo>
                      <a:pt x="212" y="71"/>
                    </a:lnTo>
                    <a:lnTo>
                      <a:pt x="221" y="70"/>
                    </a:lnTo>
                    <a:lnTo>
                      <a:pt x="223" y="71"/>
                    </a:lnTo>
                    <a:lnTo>
                      <a:pt x="226" y="70"/>
                    </a:lnTo>
                    <a:lnTo>
                      <a:pt x="226" y="66"/>
                    </a:lnTo>
                    <a:lnTo>
                      <a:pt x="223" y="66"/>
                    </a:lnTo>
                    <a:lnTo>
                      <a:pt x="219" y="63"/>
                    </a:lnTo>
                    <a:lnTo>
                      <a:pt x="216" y="63"/>
                    </a:lnTo>
                    <a:lnTo>
                      <a:pt x="214" y="66"/>
                    </a:lnTo>
                    <a:lnTo>
                      <a:pt x="211" y="63"/>
                    </a:lnTo>
                    <a:lnTo>
                      <a:pt x="205" y="63"/>
                    </a:lnTo>
                    <a:lnTo>
                      <a:pt x="205" y="61"/>
                    </a:lnTo>
                    <a:lnTo>
                      <a:pt x="209" y="59"/>
                    </a:lnTo>
                    <a:lnTo>
                      <a:pt x="212" y="59"/>
                    </a:lnTo>
                    <a:lnTo>
                      <a:pt x="211" y="56"/>
                    </a:lnTo>
                    <a:lnTo>
                      <a:pt x="205" y="57"/>
                    </a:lnTo>
                    <a:lnTo>
                      <a:pt x="204" y="56"/>
                    </a:lnTo>
                    <a:lnTo>
                      <a:pt x="204" y="54"/>
                    </a:lnTo>
                    <a:lnTo>
                      <a:pt x="204" y="49"/>
                    </a:lnTo>
                    <a:lnTo>
                      <a:pt x="204" y="49"/>
                    </a:lnTo>
                    <a:lnTo>
                      <a:pt x="209" y="49"/>
                    </a:lnTo>
                    <a:lnTo>
                      <a:pt x="209" y="47"/>
                    </a:lnTo>
                    <a:lnTo>
                      <a:pt x="212" y="47"/>
                    </a:lnTo>
                    <a:lnTo>
                      <a:pt x="212" y="49"/>
                    </a:lnTo>
                    <a:lnTo>
                      <a:pt x="218" y="49"/>
                    </a:lnTo>
                    <a:lnTo>
                      <a:pt x="221" y="52"/>
                    </a:lnTo>
                    <a:lnTo>
                      <a:pt x="223" y="49"/>
                    </a:lnTo>
                    <a:lnTo>
                      <a:pt x="223" y="47"/>
                    </a:lnTo>
                    <a:lnTo>
                      <a:pt x="225" y="43"/>
                    </a:lnTo>
                    <a:lnTo>
                      <a:pt x="228" y="43"/>
                    </a:lnTo>
                    <a:lnTo>
                      <a:pt x="228" y="49"/>
                    </a:lnTo>
                    <a:lnTo>
                      <a:pt x="232" y="47"/>
                    </a:lnTo>
                    <a:lnTo>
                      <a:pt x="232" y="43"/>
                    </a:lnTo>
                    <a:lnTo>
                      <a:pt x="237" y="40"/>
                    </a:lnTo>
                    <a:lnTo>
                      <a:pt x="242" y="40"/>
                    </a:lnTo>
                    <a:lnTo>
                      <a:pt x="245" y="40"/>
                    </a:lnTo>
                    <a:lnTo>
                      <a:pt x="251" y="38"/>
                    </a:lnTo>
                    <a:lnTo>
                      <a:pt x="251" y="37"/>
                    </a:lnTo>
                    <a:lnTo>
                      <a:pt x="254" y="35"/>
                    </a:lnTo>
                    <a:lnTo>
                      <a:pt x="259" y="35"/>
                    </a:lnTo>
                    <a:lnTo>
                      <a:pt x="263" y="33"/>
                    </a:lnTo>
                    <a:lnTo>
                      <a:pt x="265" y="31"/>
                    </a:lnTo>
                    <a:lnTo>
                      <a:pt x="268" y="33"/>
                    </a:lnTo>
                    <a:lnTo>
                      <a:pt x="268" y="31"/>
                    </a:lnTo>
                    <a:lnTo>
                      <a:pt x="268" y="30"/>
                    </a:lnTo>
                    <a:lnTo>
                      <a:pt x="271" y="26"/>
                    </a:lnTo>
                    <a:lnTo>
                      <a:pt x="273" y="26"/>
                    </a:lnTo>
                    <a:lnTo>
                      <a:pt x="273" y="26"/>
                    </a:lnTo>
                    <a:lnTo>
                      <a:pt x="277" y="23"/>
                    </a:lnTo>
                    <a:lnTo>
                      <a:pt x="278" y="26"/>
                    </a:lnTo>
                    <a:lnTo>
                      <a:pt x="282" y="26"/>
                    </a:lnTo>
                    <a:lnTo>
                      <a:pt x="285" y="24"/>
                    </a:lnTo>
                    <a:lnTo>
                      <a:pt x="287" y="23"/>
                    </a:lnTo>
                    <a:lnTo>
                      <a:pt x="296" y="17"/>
                    </a:lnTo>
                    <a:lnTo>
                      <a:pt x="298" y="17"/>
                    </a:lnTo>
                    <a:lnTo>
                      <a:pt x="299" y="16"/>
                    </a:lnTo>
                    <a:lnTo>
                      <a:pt x="303" y="16"/>
                    </a:lnTo>
                    <a:lnTo>
                      <a:pt x="304" y="12"/>
                    </a:lnTo>
                    <a:lnTo>
                      <a:pt x="308" y="12"/>
                    </a:lnTo>
                    <a:lnTo>
                      <a:pt x="311" y="12"/>
                    </a:lnTo>
                    <a:lnTo>
                      <a:pt x="311" y="9"/>
                    </a:lnTo>
                    <a:lnTo>
                      <a:pt x="310" y="7"/>
                    </a:lnTo>
                    <a:lnTo>
                      <a:pt x="311" y="7"/>
                    </a:lnTo>
                    <a:lnTo>
                      <a:pt x="317" y="7"/>
                    </a:lnTo>
                    <a:lnTo>
                      <a:pt x="317" y="3"/>
                    </a:lnTo>
                    <a:lnTo>
                      <a:pt x="320" y="2"/>
                    </a:lnTo>
                    <a:lnTo>
                      <a:pt x="324" y="2"/>
                    </a:lnTo>
                    <a:lnTo>
                      <a:pt x="325" y="0"/>
                    </a:lnTo>
                    <a:lnTo>
                      <a:pt x="331" y="3"/>
                    </a:lnTo>
                    <a:lnTo>
                      <a:pt x="336" y="2"/>
                    </a:lnTo>
                    <a:lnTo>
                      <a:pt x="337" y="3"/>
                    </a:lnTo>
                    <a:lnTo>
                      <a:pt x="343" y="3"/>
                    </a:lnTo>
                    <a:lnTo>
                      <a:pt x="346" y="3"/>
                    </a:lnTo>
                    <a:lnTo>
                      <a:pt x="350" y="3"/>
                    </a:lnTo>
                    <a:lnTo>
                      <a:pt x="351" y="7"/>
                    </a:lnTo>
                    <a:lnTo>
                      <a:pt x="353" y="7"/>
                    </a:lnTo>
                    <a:lnTo>
                      <a:pt x="353" y="10"/>
                    </a:lnTo>
                    <a:lnTo>
                      <a:pt x="355" y="14"/>
                    </a:lnTo>
                    <a:lnTo>
                      <a:pt x="358" y="16"/>
                    </a:lnTo>
                    <a:lnTo>
                      <a:pt x="358" y="17"/>
                    </a:lnTo>
                    <a:lnTo>
                      <a:pt x="358" y="21"/>
                    </a:lnTo>
                    <a:lnTo>
                      <a:pt x="358" y="24"/>
                    </a:lnTo>
                    <a:lnTo>
                      <a:pt x="358" y="26"/>
                    </a:lnTo>
                    <a:lnTo>
                      <a:pt x="355" y="26"/>
                    </a:lnTo>
                    <a:lnTo>
                      <a:pt x="358" y="30"/>
                    </a:lnTo>
                    <a:lnTo>
                      <a:pt x="358" y="30"/>
                    </a:lnTo>
                    <a:lnTo>
                      <a:pt x="362" y="30"/>
                    </a:lnTo>
                    <a:lnTo>
                      <a:pt x="365" y="30"/>
                    </a:lnTo>
                    <a:lnTo>
                      <a:pt x="367" y="30"/>
                    </a:lnTo>
                    <a:lnTo>
                      <a:pt x="367" y="26"/>
                    </a:lnTo>
                    <a:lnTo>
                      <a:pt x="371" y="26"/>
                    </a:lnTo>
                    <a:lnTo>
                      <a:pt x="371" y="30"/>
                    </a:lnTo>
                    <a:lnTo>
                      <a:pt x="374" y="30"/>
                    </a:lnTo>
                    <a:lnTo>
                      <a:pt x="374" y="26"/>
                    </a:lnTo>
                    <a:lnTo>
                      <a:pt x="372" y="23"/>
                    </a:lnTo>
                    <a:lnTo>
                      <a:pt x="374" y="23"/>
                    </a:lnTo>
                    <a:lnTo>
                      <a:pt x="377" y="26"/>
                    </a:lnTo>
                    <a:lnTo>
                      <a:pt x="381" y="31"/>
                    </a:lnTo>
                    <a:lnTo>
                      <a:pt x="381" y="37"/>
                    </a:lnTo>
                    <a:lnTo>
                      <a:pt x="383" y="35"/>
                    </a:lnTo>
                    <a:lnTo>
                      <a:pt x="386" y="33"/>
                    </a:lnTo>
                    <a:lnTo>
                      <a:pt x="384" y="31"/>
                    </a:lnTo>
                    <a:lnTo>
                      <a:pt x="383" y="30"/>
                    </a:lnTo>
                    <a:lnTo>
                      <a:pt x="386" y="30"/>
                    </a:lnTo>
                    <a:lnTo>
                      <a:pt x="393" y="33"/>
                    </a:lnTo>
                    <a:lnTo>
                      <a:pt x="397" y="33"/>
                    </a:lnTo>
                    <a:lnTo>
                      <a:pt x="398" y="30"/>
                    </a:lnTo>
                    <a:lnTo>
                      <a:pt x="400" y="31"/>
                    </a:lnTo>
                    <a:lnTo>
                      <a:pt x="400" y="35"/>
                    </a:lnTo>
                    <a:lnTo>
                      <a:pt x="397" y="37"/>
                    </a:lnTo>
                    <a:lnTo>
                      <a:pt x="397" y="40"/>
                    </a:lnTo>
                    <a:lnTo>
                      <a:pt x="400" y="43"/>
                    </a:lnTo>
                    <a:lnTo>
                      <a:pt x="400" y="43"/>
                    </a:lnTo>
                    <a:lnTo>
                      <a:pt x="404" y="40"/>
                    </a:lnTo>
                    <a:lnTo>
                      <a:pt x="409" y="40"/>
                    </a:lnTo>
                    <a:lnTo>
                      <a:pt x="414" y="40"/>
                    </a:lnTo>
                    <a:lnTo>
                      <a:pt x="416" y="43"/>
                    </a:lnTo>
                    <a:lnTo>
                      <a:pt x="417" y="40"/>
                    </a:lnTo>
                    <a:lnTo>
                      <a:pt x="417" y="38"/>
                    </a:lnTo>
                    <a:lnTo>
                      <a:pt x="421" y="37"/>
                    </a:lnTo>
                    <a:lnTo>
                      <a:pt x="426" y="37"/>
                    </a:lnTo>
                    <a:lnTo>
                      <a:pt x="428" y="33"/>
                    </a:lnTo>
                    <a:lnTo>
                      <a:pt x="431" y="31"/>
                    </a:lnTo>
                    <a:lnTo>
                      <a:pt x="431" y="30"/>
                    </a:lnTo>
                    <a:lnTo>
                      <a:pt x="431" y="26"/>
                    </a:lnTo>
                    <a:lnTo>
                      <a:pt x="437" y="23"/>
                    </a:lnTo>
                    <a:lnTo>
                      <a:pt x="438" y="23"/>
                    </a:lnTo>
                    <a:lnTo>
                      <a:pt x="442" y="17"/>
                    </a:lnTo>
                    <a:lnTo>
                      <a:pt x="445" y="17"/>
                    </a:lnTo>
                    <a:lnTo>
                      <a:pt x="450" y="17"/>
                    </a:lnTo>
                    <a:lnTo>
                      <a:pt x="450" y="17"/>
                    </a:lnTo>
                    <a:lnTo>
                      <a:pt x="450" y="21"/>
                    </a:lnTo>
                    <a:lnTo>
                      <a:pt x="449" y="24"/>
                    </a:lnTo>
                    <a:lnTo>
                      <a:pt x="447" y="26"/>
                    </a:lnTo>
                    <a:lnTo>
                      <a:pt x="447" y="26"/>
                    </a:lnTo>
                    <a:lnTo>
                      <a:pt x="476" y="49"/>
                    </a:lnTo>
                    <a:lnTo>
                      <a:pt x="520" y="101"/>
                    </a:lnTo>
                    <a:lnTo>
                      <a:pt x="525" y="101"/>
                    </a:lnTo>
                    <a:lnTo>
                      <a:pt x="527" y="99"/>
                    </a:lnTo>
                    <a:lnTo>
                      <a:pt x="527" y="97"/>
                    </a:lnTo>
                    <a:lnTo>
                      <a:pt x="527" y="96"/>
                    </a:lnTo>
                    <a:lnTo>
                      <a:pt x="527" y="92"/>
                    </a:lnTo>
                    <a:lnTo>
                      <a:pt x="530" y="92"/>
                    </a:lnTo>
                    <a:lnTo>
                      <a:pt x="536" y="94"/>
                    </a:lnTo>
                    <a:lnTo>
                      <a:pt x="532" y="96"/>
                    </a:lnTo>
                    <a:lnTo>
                      <a:pt x="536" y="97"/>
                    </a:lnTo>
                    <a:lnTo>
                      <a:pt x="539" y="99"/>
                    </a:lnTo>
                    <a:lnTo>
                      <a:pt x="541" y="103"/>
                    </a:lnTo>
                    <a:lnTo>
                      <a:pt x="543" y="103"/>
                    </a:lnTo>
                    <a:lnTo>
                      <a:pt x="546" y="101"/>
                    </a:lnTo>
                    <a:lnTo>
                      <a:pt x="549" y="99"/>
                    </a:lnTo>
                    <a:lnTo>
                      <a:pt x="553" y="103"/>
                    </a:lnTo>
                    <a:lnTo>
                      <a:pt x="558" y="101"/>
                    </a:lnTo>
                    <a:lnTo>
                      <a:pt x="558" y="101"/>
                    </a:lnTo>
                    <a:lnTo>
                      <a:pt x="562" y="99"/>
                    </a:lnTo>
                    <a:lnTo>
                      <a:pt x="563" y="99"/>
                    </a:lnTo>
                    <a:lnTo>
                      <a:pt x="562" y="96"/>
                    </a:lnTo>
                    <a:lnTo>
                      <a:pt x="563" y="94"/>
                    </a:lnTo>
                    <a:lnTo>
                      <a:pt x="569" y="94"/>
                    </a:lnTo>
                    <a:lnTo>
                      <a:pt x="576" y="94"/>
                    </a:lnTo>
                    <a:lnTo>
                      <a:pt x="581" y="96"/>
                    </a:lnTo>
                    <a:lnTo>
                      <a:pt x="584" y="99"/>
                    </a:lnTo>
                    <a:lnTo>
                      <a:pt x="589" y="104"/>
                    </a:lnTo>
                    <a:lnTo>
                      <a:pt x="589" y="108"/>
                    </a:lnTo>
                    <a:lnTo>
                      <a:pt x="591" y="108"/>
                    </a:lnTo>
                    <a:lnTo>
                      <a:pt x="595" y="110"/>
                    </a:lnTo>
                    <a:lnTo>
                      <a:pt x="598" y="111"/>
                    </a:lnTo>
                    <a:lnTo>
                      <a:pt x="600" y="111"/>
                    </a:lnTo>
                    <a:lnTo>
                      <a:pt x="603" y="111"/>
                    </a:lnTo>
                    <a:lnTo>
                      <a:pt x="603" y="115"/>
                    </a:lnTo>
                    <a:lnTo>
                      <a:pt x="600" y="117"/>
                    </a:lnTo>
                    <a:lnTo>
                      <a:pt x="603" y="118"/>
                    </a:lnTo>
                    <a:lnTo>
                      <a:pt x="603" y="122"/>
                    </a:lnTo>
                    <a:lnTo>
                      <a:pt x="603" y="123"/>
                    </a:lnTo>
                    <a:lnTo>
                      <a:pt x="607" y="123"/>
                    </a:lnTo>
                    <a:lnTo>
                      <a:pt x="609" y="123"/>
                    </a:lnTo>
                    <a:lnTo>
                      <a:pt x="612" y="125"/>
                    </a:lnTo>
                    <a:lnTo>
                      <a:pt x="612" y="127"/>
                    </a:lnTo>
                    <a:lnTo>
                      <a:pt x="614" y="125"/>
                    </a:lnTo>
                    <a:lnTo>
                      <a:pt x="616" y="123"/>
                    </a:lnTo>
                    <a:lnTo>
                      <a:pt x="624" y="123"/>
                    </a:lnTo>
                    <a:lnTo>
                      <a:pt x="629" y="122"/>
                    </a:lnTo>
                    <a:lnTo>
                      <a:pt x="631" y="118"/>
                    </a:lnTo>
                    <a:lnTo>
                      <a:pt x="635" y="117"/>
                    </a:lnTo>
                    <a:lnTo>
                      <a:pt x="635" y="117"/>
                    </a:lnTo>
                    <a:lnTo>
                      <a:pt x="635" y="122"/>
                    </a:lnTo>
                    <a:lnTo>
                      <a:pt x="635" y="125"/>
                    </a:lnTo>
                    <a:lnTo>
                      <a:pt x="636" y="125"/>
                    </a:lnTo>
                    <a:lnTo>
                      <a:pt x="640" y="129"/>
                    </a:lnTo>
                    <a:lnTo>
                      <a:pt x="645" y="130"/>
                    </a:lnTo>
                    <a:lnTo>
                      <a:pt x="647" y="132"/>
                    </a:lnTo>
                    <a:lnTo>
                      <a:pt x="643" y="134"/>
                    </a:lnTo>
                    <a:lnTo>
                      <a:pt x="642" y="137"/>
                    </a:lnTo>
                    <a:lnTo>
                      <a:pt x="636" y="141"/>
                    </a:lnTo>
                    <a:lnTo>
                      <a:pt x="636" y="144"/>
                    </a:lnTo>
                    <a:lnTo>
                      <a:pt x="636" y="146"/>
                    </a:lnTo>
                    <a:lnTo>
                      <a:pt x="635" y="150"/>
                    </a:lnTo>
                    <a:lnTo>
                      <a:pt x="631" y="151"/>
                    </a:lnTo>
                    <a:lnTo>
                      <a:pt x="628" y="155"/>
                    </a:lnTo>
                    <a:lnTo>
                      <a:pt x="628" y="157"/>
                    </a:lnTo>
                    <a:lnTo>
                      <a:pt x="628" y="163"/>
                    </a:lnTo>
                    <a:lnTo>
                      <a:pt x="631" y="172"/>
                    </a:lnTo>
                    <a:lnTo>
                      <a:pt x="635" y="176"/>
                    </a:lnTo>
                    <a:lnTo>
                      <a:pt x="635" y="179"/>
                    </a:lnTo>
                    <a:lnTo>
                      <a:pt x="629" y="183"/>
                    </a:lnTo>
                    <a:lnTo>
                      <a:pt x="626" y="183"/>
                    </a:lnTo>
                    <a:lnTo>
                      <a:pt x="622" y="188"/>
                    </a:lnTo>
                    <a:lnTo>
                      <a:pt x="619" y="188"/>
                    </a:lnTo>
                    <a:lnTo>
                      <a:pt x="617" y="188"/>
                    </a:lnTo>
                    <a:lnTo>
                      <a:pt x="617" y="184"/>
                    </a:lnTo>
                    <a:lnTo>
                      <a:pt x="614" y="184"/>
                    </a:lnTo>
                    <a:lnTo>
                      <a:pt x="609" y="186"/>
                    </a:lnTo>
                    <a:lnTo>
                      <a:pt x="603" y="186"/>
                    </a:lnTo>
                    <a:lnTo>
                      <a:pt x="596" y="184"/>
                    </a:lnTo>
                    <a:lnTo>
                      <a:pt x="593" y="183"/>
                    </a:lnTo>
                    <a:lnTo>
                      <a:pt x="591" y="184"/>
                    </a:lnTo>
                    <a:lnTo>
                      <a:pt x="589" y="191"/>
                    </a:lnTo>
                    <a:lnTo>
                      <a:pt x="589" y="197"/>
                    </a:lnTo>
                    <a:lnTo>
                      <a:pt x="589" y="202"/>
                    </a:lnTo>
                    <a:lnTo>
                      <a:pt x="586" y="210"/>
                    </a:lnTo>
                    <a:lnTo>
                      <a:pt x="586" y="217"/>
                    </a:lnTo>
                    <a:lnTo>
                      <a:pt x="584" y="219"/>
                    </a:lnTo>
                    <a:lnTo>
                      <a:pt x="586" y="223"/>
                    </a:lnTo>
                    <a:lnTo>
                      <a:pt x="591" y="223"/>
                    </a:lnTo>
                    <a:lnTo>
                      <a:pt x="589" y="228"/>
                    </a:lnTo>
                    <a:lnTo>
                      <a:pt x="589" y="230"/>
                    </a:lnTo>
                    <a:lnTo>
                      <a:pt x="586" y="230"/>
                    </a:lnTo>
                    <a:lnTo>
                      <a:pt x="584" y="230"/>
                    </a:lnTo>
                    <a:lnTo>
                      <a:pt x="581" y="230"/>
                    </a:lnTo>
                    <a:lnTo>
                      <a:pt x="581" y="228"/>
                    </a:lnTo>
                    <a:lnTo>
                      <a:pt x="577" y="230"/>
                    </a:lnTo>
                    <a:lnTo>
                      <a:pt x="574" y="231"/>
                    </a:lnTo>
                    <a:lnTo>
                      <a:pt x="567" y="233"/>
                    </a:lnTo>
                    <a:lnTo>
                      <a:pt x="562" y="235"/>
                    </a:lnTo>
                    <a:lnTo>
                      <a:pt x="558" y="235"/>
                    </a:lnTo>
                    <a:lnTo>
                      <a:pt x="558" y="233"/>
                    </a:lnTo>
                    <a:lnTo>
                      <a:pt x="555" y="235"/>
                    </a:lnTo>
                    <a:lnTo>
                      <a:pt x="551" y="238"/>
                    </a:lnTo>
                    <a:lnTo>
                      <a:pt x="551" y="240"/>
                    </a:lnTo>
                    <a:lnTo>
                      <a:pt x="555" y="242"/>
                    </a:lnTo>
                    <a:lnTo>
                      <a:pt x="558" y="242"/>
                    </a:lnTo>
                    <a:lnTo>
                      <a:pt x="562" y="242"/>
                    </a:lnTo>
                    <a:lnTo>
                      <a:pt x="562" y="245"/>
                    </a:lnTo>
                    <a:lnTo>
                      <a:pt x="562" y="245"/>
                    </a:lnTo>
                    <a:lnTo>
                      <a:pt x="562" y="250"/>
                    </a:lnTo>
                    <a:lnTo>
                      <a:pt x="562" y="254"/>
                    </a:lnTo>
                    <a:lnTo>
                      <a:pt x="563" y="256"/>
                    </a:lnTo>
                    <a:lnTo>
                      <a:pt x="563" y="259"/>
                    </a:lnTo>
                    <a:lnTo>
                      <a:pt x="567" y="264"/>
                    </a:lnTo>
                    <a:lnTo>
                      <a:pt x="567" y="268"/>
                    </a:lnTo>
                    <a:lnTo>
                      <a:pt x="572" y="270"/>
                    </a:lnTo>
                    <a:lnTo>
                      <a:pt x="572" y="276"/>
                    </a:lnTo>
                    <a:lnTo>
                      <a:pt x="570" y="278"/>
                    </a:lnTo>
                    <a:lnTo>
                      <a:pt x="569" y="282"/>
                    </a:lnTo>
                    <a:lnTo>
                      <a:pt x="572" y="285"/>
                    </a:lnTo>
                    <a:lnTo>
                      <a:pt x="570" y="287"/>
                    </a:lnTo>
                    <a:lnTo>
                      <a:pt x="570" y="287"/>
                    </a:lnTo>
                    <a:lnTo>
                      <a:pt x="567" y="290"/>
                    </a:lnTo>
                    <a:lnTo>
                      <a:pt x="567" y="294"/>
                    </a:lnTo>
                    <a:lnTo>
                      <a:pt x="563" y="296"/>
                    </a:lnTo>
                    <a:lnTo>
                      <a:pt x="558" y="294"/>
                    </a:lnTo>
                    <a:lnTo>
                      <a:pt x="549" y="287"/>
                    </a:lnTo>
                    <a:lnTo>
                      <a:pt x="546" y="287"/>
                    </a:lnTo>
                    <a:lnTo>
                      <a:pt x="539" y="283"/>
                    </a:lnTo>
                    <a:lnTo>
                      <a:pt x="527" y="283"/>
                    </a:lnTo>
                    <a:lnTo>
                      <a:pt x="523" y="285"/>
                    </a:lnTo>
                    <a:lnTo>
                      <a:pt x="515" y="283"/>
                    </a:lnTo>
                    <a:lnTo>
                      <a:pt x="508" y="285"/>
                    </a:lnTo>
                    <a:lnTo>
                      <a:pt x="503" y="285"/>
                    </a:lnTo>
                    <a:lnTo>
                      <a:pt x="499" y="285"/>
                    </a:lnTo>
                    <a:lnTo>
                      <a:pt x="496" y="287"/>
                    </a:lnTo>
                    <a:lnTo>
                      <a:pt x="492" y="287"/>
                    </a:lnTo>
                    <a:lnTo>
                      <a:pt x="482" y="287"/>
                    </a:lnTo>
                    <a:lnTo>
                      <a:pt x="476" y="285"/>
                    </a:lnTo>
                    <a:lnTo>
                      <a:pt x="473" y="283"/>
                    </a:lnTo>
                    <a:lnTo>
                      <a:pt x="468" y="283"/>
                    </a:lnTo>
                    <a:lnTo>
                      <a:pt x="464" y="285"/>
                    </a:lnTo>
                    <a:lnTo>
                      <a:pt x="463" y="283"/>
                    </a:lnTo>
                    <a:lnTo>
                      <a:pt x="457" y="283"/>
                    </a:lnTo>
                    <a:lnTo>
                      <a:pt x="457" y="285"/>
                    </a:lnTo>
                    <a:lnTo>
                      <a:pt x="457" y="287"/>
                    </a:lnTo>
                    <a:lnTo>
                      <a:pt x="457" y="290"/>
                    </a:lnTo>
                    <a:lnTo>
                      <a:pt x="457" y="296"/>
                    </a:lnTo>
                    <a:lnTo>
                      <a:pt x="450" y="297"/>
                    </a:lnTo>
                    <a:lnTo>
                      <a:pt x="442" y="297"/>
                    </a:lnTo>
                    <a:lnTo>
                      <a:pt x="428" y="296"/>
                    </a:lnTo>
                    <a:lnTo>
                      <a:pt x="426" y="294"/>
                    </a:lnTo>
                    <a:lnTo>
                      <a:pt x="421" y="292"/>
                    </a:lnTo>
                    <a:lnTo>
                      <a:pt x="417" y="297"/>
                    </a:lnTo>
                    <a:lnTo>
                      <a:pt x="419" y="299"/>
                    </a:lnTo>
                    <a:lnTo>
                      <a:pt x="414" y="301"/>
                    </a:lnTo>
                    <a:lnTo>
                      <a:pt x="414" y="303"/>
                    </a:lnTo>
                    <a:lnTo>
                      <a:pt x="412" y="303"/>
                    </a:lnTo>
                    <a:lnTo>
                      <a:pt x="409" y="308"/>
                    </a:lnTo>
                    <a:lnTo>
                      <a:pt x="409" y="310"/>
                    </a:lnTo>
                    <a:lnTo>
                      <a:pt x="400" y="316"/>
                    </a:lnTo>
                    <a:lnTo>
                      <a:pt x="398" y="320"/>
                    </a:lnTo>
                    <a:lnTo>
                      <a:pt x="397" y="323"/>
                    </a:lnTo>
                    <a:lnTo>
                      <a:pt x="393" y="330"/>
                    </a:lnTo>
                    <a:lnTo>
                      <a:pt x="386" y="336"/>
                    </a:lnTo>
                    <a:lnTo>
                      <a:pt x="383" y="336"/>
                    </a:lnTo>
                    <a:lnTo>
                      <a:pt x="377" y="332"/>
                    </a:lnTo>
                    <a:lnTo>
                      <a:pt x="371" y="330"/>
                    </a:lnTo>
                    <a:lnTo>
                      <a:pt x="365" y="332"/>
                    </a:lnTo>
                    <a:lnTo>
                      <a:pt x="358" y="336"/>
                    </a:lnTo>
                    <a:lnTo>
                      <a:pt x="355" y="336"/>
                    </a:lnTo>
                    <a:lnTo>
                      <a:pt x="348" y="315"/>
                    </a:lnTo>
                    <a:lnTo>
                      <a:pt x="336" y="313"/>
                    </a:lnTo>
                    <a:lnTo>
                      <a:pt x="336" y="290"/>
                    </a:lnTo>
                    <a:lnTo>
                      <a:pt x="327" y="290"/>
                    </a:lnTo>
                    <a:lnTo>
                      <a:pt x="325" y="282"/>
                    </a:lnTo>
                    <a:lnTo>
                      <a:pt x="315" y="275"/>
                    </a:lnTo>
                    <a:lnTo>
                      <a:pt x="287" y="275"/>
                    </a:lnTo>
                    <a:lnTo>
                      <a:pt x="263" y="278"/>
                    </a:lnTo>
                    <a:lnTo>
                      <a:pt x="249" y="268"/>
                    </a:lnTo>
                    <a:lnTo>
                      <a:pt x="237" y="264"/>
                    </a:lnTo>
                    <a:lnTo>
                      <a:pt x="211" y="245"/>
                    </a:lnTo>
                    <a:lnTo>
                      <a:pt x="165" y="254"/>
                    </a:lnTo>
                    <a:lnTo>
                      <a:pt x="181" y="336"/>
                    </a:lnTo>
                    <a:lnTo>
                      <a:pt x="178" y="336"/>
                    </a:lnTo>
                    <a:lnTo>
                      <a:pt x="171" y="336"/>
                    </a:lnTo>
                    <a:lnTo>
                      <a:pt x="159" y="325"/>
                    </a:lnTo>
                    <a:lnTo>
                      <a:pt x="146" y="316"/>
                    </a:lnTo>
                    <a:lnTo>
                      <a:pt x="136" y="315"/>
                    </a:lnTo>
                    <a:lnTo>
                      <a:pt x="127" y="318"/>
                    </a:lnTo>
                    <a:lnTo>
                      <a:pt x="117" y="329"/>
                    </a:lnTo>
                    <a:lnTo>
                      <a:pt x="117" y="323"/>
                    </a:lnTo>
                    <a:lnTo>
                      <a:pt x="117" y="320"/>
                    </a:lnTo>
                    <a:lnTo>
                      <a:pt x="119" y="315"/>
                    </a:lnTo>
                    <a:lnTo>
                      <a:pt x="119" y="310"/>
                    </a:lnTo>
                    <a:lnTo>
                      <a:pt x="119" y="310"/>
                    </a:lnTo>
                    <a:lnTo>
                      <a:pt x="119" y="308"/>
                    </a:lnTo>
                    <a:lnTo>
                      <a:pt x="119" y="308"/>
                    </a:lnTo>
                    <a:lnTo>
                      <a:pt x="113" y="308"/>
                    </a:lnTo>
                    <a:lnTo>
                      <a:pt x="112" y="306"/>
                    </a:lnTo>
                    <a:lnTo>
                      <a:pt x="108" y="306"/>
                    </a:lnTo>
                    <a:lnTo>
                      <a:pt x="105" y="306"/>
                    </a:lnTo>
                    <a:lnTo>
                      <a:pt x="105" y="306"/>
                    </a:lnTo>
                    <a:lnTo>
                      <a:pt x="101" y="303"/>
                    </a:lnTo>
                    <a:lnTo>
                      <a:pt x="101" y="301"/>
                    </a:lnTo>
                    <a:lnTo>
                      <a:pt x="101" y="299"/>
                    </a:lnTo>
                    <a:lnTo>
                      <a:pt x="99" y="297"/>
                    </a:lnTo>
                    <a:lnTo>
                      <a:pt x="98" y="297"/>
                    </a:lnTo>
                    <a:lnTo>
                      <a:pt x="94" y="299"/>
                    </a:lnTo>
                    <a:lnTo>
                      <a:pt x="92" y="299"/>
                    </a:lnTo>
                    <a:lnTo>
                      <a:pt x="92" y="294"/>
                    </a:lnTo>
                    <a:lnTo>
                      <a:pt x="92" y="290"/>
                    </a:lnTo>
                    <a:lnTo>
                      <a:pt x="87" y="287"/>
                    </a:lnTo>
                    <a:lnTo>
                      <a:pt x="87" y="285"/>
                    </a:lnTo>
                    <a:lnTo>
                      <a:pt x="86" y="283"/>
                    </a:lnTo>
                    <a:lnTo>
                      <a:pt x="84" y="280"/>
                    </a:lnTo>
                    <a:lnTo>
                      <a:pt x="82" y="278"/>
                    </a:lnTo>
                    <a:lnTo>
                      <a:pt x="82" y="276"/>
                    </a:lnTo>
                    <a:lnTo>
                      <a:pt x="77" y="275"/>
                    </a:lnTo>
                    <a:lnTo>
                      <a:pt x="77" y="275"/>
                    </a:lnTo>
                    <a:lnTo>
                      <a:pt x="73" y="271"/>
                    </a:lnTo>
                    <a:lnTo>
                      <a:pt x="73" y="270"/>
                    </a:lnTo>
                    <a:lnTo>
                      <a:pt x="73" y="268"/>
                    </a:lnTo>
                    <a:lnTo>
                      <a:pt x="77" y="270"/>
                    </a:lnTo>
                    <a:lnTo>
                      <a:pt x="82" y="268"/>
                    </a:lnTo>
                    <a:lnTo>
                      <a:pt x="82" y="270"/>
                    </a:lnTo>
                    <a:lnTo>
                      <a:pt x="86" y="270"/>
                    </a:lnTo>
                    <a:lnTo>
                      <a:pt x="87" y="270"/>
                    </a:lnTo>
                    <a:lnTo>
                      <a:pt x="89" y="268"/>
                    </a:lnTo>
                    <a:lnTo>
                      <a:pt x="91" y="268"/>
                    </a:lnTo>
                    <a:lnTo>
                      <a:pt x="92" y="270"/>
                    </a:lnTo>
                    <a:lnTo>
                      <a:pt x="94" y="268"/>
                    </a:lnTo>
                    <a:lnTo>
                      <a:pt x="92" y="268"/>
                    </a:lnTo>
                    <a:lnTo>
                      <a:pt x="89" y="268"/>
                    </a:lnTo>
                    <a:lnTo>
                      <a:pt x="89" y="268"/>
                    </a:lnTo>
                    <a:lnTo>
                      <a:pt x="89" y="264"/>
                    </a:lnTo>
                    <a:lnTo>
                      <a:pt x="86" y="261"/>
                    </a:lnTo>
                    <a:lnTo>
                      <a:pt x="86" y="259"/>
                    </a:lnTo>
                    <a:lnTo>
                      <a:pt x="87" y="257"/>
                    </a:lnTo>
                    <a:lnTo>
                      <a:pt x="87" y="254"/>
                    </a:lnTo>
                    <a:lnTo>
                      <a:pt x="86" y="254"/>
                    </a:lnTo>
                    <a:lnTo>
                      <a:pt x="87" y="250"/>
                    </a:lnTo>
                    <a:lnTo>
                      <a:pt x="92" y="250"/>
                    </a:lnTo>
                    <a:lnTo>
                      <a:pt x="96" y="249"/>
                    </a:lnTo>
                    <a:lnTo>
                      <a:pt x="98" y="250"/>
                    </a:lnTo>
                    <a:lnTo>
                      <a:pt x="101" y="249"/>
                    </a:lnTo>
                    <a:lnTo>
                      <a:pt x="105" y="249"/>
                    </a:lnTo>
                    <a:lnTo>
                      <a:pt x="105" y="250"/>
                    </a:lnTo>
                    <a:lnTo>
                      <a:pt x="106" y="249"/>
                    </a:lnTo>
                    <a:lnTo>
                      <a:pt x="108" y="249"/>
                    </a:lnTo>
                    <a:lnTo>
                      <a:pt x="112" y="252"/>
                    </a:lnTo>
                    <a:lnTo>
                      <a:pt x="115" y="252"/>
                    </a:lnTo>
                    <a:lnTo>
                      <a:pt x="119" y="250"/>
                    </a:lnTo>
                    <a:lnTo>
                      <a:pt x="119" y="249"/>
                    </a:lnTo>
                    <a:lnTo>
                      <a:pt x="117" y="247"/>
                    </a:lnTo>
                    <a:lnTo>
                      <a:pt x="113" y="247"/>
                    </a:lnTo>
                    <a:lnTo>
                      <a:pt x="110" y="242"/>
                    </a:lnTo>
                    <a:lnTo>
                      <a:pt x="112" y="240"/>
                    </a:lnTo>
                    <a:lnTo>
                      <a:pt x="113" y="238"/>
                    </a:lnTo>
                    <a:lnTo>
                      <a:pt x="115" y="236"/>
                    </a:lnTo>
                    <a:lnTo>
                      <a:pt x="113" y="236"/>
                    </a:lnTo>
                    <a:lnTo>
                      <a:pt x="112" y="235"/>
                    </a:lnTo>
                    <a:lnTo>
                      <a:pt x="112" y="233"/>
                    </a:lnTo>
                    <a:lnTo>
                      <a:pt x="113" y="230"/>
                    </a:lnTo>
                    <a:lnTo>
                      <a:pt x="113" y="228"/>
                    </a:lnTo>
                    <a:lnTo>
                      <a:pt x="112" y="223"/>
                    </a:lnTo>
                    <a:lnTo>
                      <a:pt x="110" y="223"/>
                    </a:lnTo>
                    <a:lnTo>
                      <a:pt x="112" y="219"/>
                    </a:lnTo>
                    <a:lnTo>
                      <a:pt x="112" y="219"/>
                    </a:lnTo>
                    <a:lnTo>
                      <a:pt x="110" y="219"/>
                    </a:lnTo>
                    <a:lnTo>
                      <a:pt x="108" y="217"/>
                    </a:lnTo>
                    <a:lnTo>
                      <a:pt x="108" y="216"/>
                    </a:lnTo>
                    <a:lnTo>
                      <a:pt x="101" y="214"/>
                    </a:lnTo>
                    <a:lnTo>
                      <a:pt x="101" y="214"/>
                    </a:lnTo>
                    <a:lnTo>
                      <a:pt x="98" y="216"/>
                    </a:lnTo>
                    <a:lnTo>
                      <a:pt x="98" y="216"/>
                    </a:lnTo>
                    <a:lnTo>
                      <a:pt x="96" y="217"/>
                    </a:lnTo>
                    <a:lnTo>
                      <a:pt x="96" y="219"/>
                    </a:lnTo>
                    <a:lnTo>
                      <a:pt x="94" y="219"/>
                    </a:lnTo>
                    <a:lnTo>
                      <a:pt x="91" y="219"/>
                    </a:lnTo>
                    <a:lnTo>
                      <a:pt x="91" y="217"/>
                    </a:lnTo>
                    <a:lnTo>
                      <a:pt x="89" y="217"/>
                    </a:lnTo>
                    <a:lnTo>
                      <a:pt x="87" y="219"/>
                    </a:lnTo>
                    <a:lnTo>
                      <a:pt x="86" y="217"/>
                    </a:lnTo>
                    <a:lnTo>
                      <a:pt x="86" y="214"/>
                    </a:lnTo>
                    <a:lnTo>
                      <a:pt x="86" y="214"/>
                    </a:lnTo>
                    <a:lnTo>
                      <a:pt x="84" y="214"/>
                    </a:lnTo>
                    <a:lnTo>
                      <a:pt x="82" y="214"/>
                    </a:lnTo>
                    <a:lnTo>
                      <a:pt x="82" y="214"/>
                    </a:lnTo>
                    <a:lnTo>
                      <a:pt x="77" y="214"/>
                    </a:lnTo>
                    <a:lnTo>
                      <a:pt x="73" y="216"/>
                    </a:lnTo>
                    <a:lnTo>
                      <a:pt x="73" y="219"/>
                    </a:lnTo>
                    <a:lnTo>
                      <a:pt x="73" y="219"/>
                    </a:lnTo>
                    <a:lnTo>
                      <a:pt x="72" y="217"/>
                    </a:lnTo>
                    <a:lnTo>
                      <a:pt x="70" y="217"/>
                    </a:lnTo>
                    <a:lnTo>
                      <a:pt x="68" y="219"/>
                    </a:lnTo>
                    <a:lnTo>
                      <a:pt x="66" y="219"/>
                    </a:lnTo>
                    <a:lnTo>
                      <a:pt x="65" y="223"/>
                    </a:lnTo>
                    <a:lnTo>
                      <a:pt x="61" y="224"/>
                    </a:lnTo>
                    <a:lnTo>
                      <a:pt x="59" y="223"/>
                    </a:lnTo>
                    <a:lnTo>
                      <a:pt x="59" y="228"/>
                    </a:lnTo>
                    <a:lnTo>
                      <a:pt x="58" y="228"/>
                    </a:lnTo>
                    <a:lnTo>
                      <a:pt x="56" y="228"/>
                    </a:lnTo>
                    <a:lnTo>
                      <a:pt x="54" y="228"/>
                    </a:lnTo>
                    <a:lnTo>
                      <a:pt x="54" y="228"/>
                    </a:lnTo>
                    <a:lnTo>
                      <a:pt x="51" y="228"/>
                    </a:lnTo>
                    <a:lnTo>
                      <a:pt x="51" y="228"/>
                    </a:lnTo>
                    <a:lnTo>
                      <a:pt x="51" y="228"/>
                    </a:lnTo>
                    <a:lnTo>
                      <a:pt x="51" y="228"/>
                    </a:lnTo>
                    <a:lnTo>
                      <a:pt x="51" y="22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9" name="Freeform 52"/>
              <p:cNvSpPr>
                <a:spLocks/>
              </p:cNvSpPr>
              <p:nvPr/>
            </p:nvSpPr>
            <p:spPr bwMode="auto">
              <a:xfrm>
                <a:off x="5868988" y="2903538"/>
                <a:ext cx="441325" cy="269875"/>
              </a:xfrm>
              <a:custGeom>
                <a:avLst/>
                <a:gdLst/>
                <a:ahLst/>
                <a:cxnLst>
                  <a:cxn ang="0">
                    <a:pos x="219" y="158"/>
                  </a:cxn>
                  <a:cxn ang="0">
                    <a:pos x="226" y="149"/>
                  </a:cxn>
                  <a:cxn ang="0">
                    <a:pos x="223" y="142"/>
                  </a:cxn>
                  <a:cxn ang="0">
                    <a:pos x="223" y="134"/>
                  </a:cxn>
                  <a:cxn ang="0">
                    <a:pos x="216" y="130"/>
                  </a:cxn>
                  <a:cxn ang="0">
                    <a:pos x="209" y="127"/>
                  </a:cxn>
                  <a:cxn ang="0">
                    <a:pos x="212" y="118"/>
                  </a:cxn>
                  <a:cxn ang="0">
                    <a:pos x="223" y="118"/>
                  </a:cxn>
                  <a:cxn ang="0">
                    <a:pos x="232" y="111"/>
                  </a:cxn>
                  <a:cxn ang="0">
                    <a:pos x="226" y="107"/>
                  </a:cxn>
                  <a:cxn ang="0">
                    <a:pos x="240" y="104"/>
                  </a:cxn>
                  <a:cxn ang="0">
                    <a:pos x="235" y="99"/>
                  </a:cxn>
                  <a:cxn ang="0">
                    <a:pos x="240" y="92"/>
                  </a:cxn>
                  <a:cxn ang="0">
                    <a:pos x="249" y="88"/>
                  </a:cxn>
                  <a:cxn ang="0">
                    <a:pos x="256" y="87"/>
                  </a:cxn>
                  <a:cxn ang="0">
                    <a:pos x="266" y="88"/>
                  </a:cxn>
                  <a:cxn ang="0">
                    <a:pos x="278" y="85"/>
                  </a:cxn>
                  <a:cxn ang="0">
                    <a:pos x="268" y="74"/>
                  </a:cxn>
                  <a:cxn ang="0">
                    <a:pos x="266" y="76"/>
                  </a:cxn>
                  <a:cxn ang="0">
                    <a:pos x="259" y="80"/>
                  </a:cxn>
                  <a:cxn ang="0">
                    <a:pos x="249" y="76"/>
                  </a:cxn>
                  <a:cxn ang="0">
                    <a:pos x="249" y="69"/>
                  </a:cxn>
                  <a:cxn ang="0">
                    <a:pos x="254" y="57"/>
                  </a:cxn>
                  <a:cxn ang="0">
                    <a:pos x="247" y="61"/>
                  </a:cxn>
                  <a:cxn ang="0">
                    <a:pos x="237" y="71"/>
                  </a:cxn>
                  <a:cxn ang="0">
                    <a:pos x="233" y="76"/>
                  </a:cxn>
                  <a:cxn ang="0">
                    <a:pos x="223" y="90"/>
                  </a:cxn>
                  <a:cxn ang="0">
                    <a:pos x="214" y="85"/>
                  </a:cxn>
                  <a:cxn ang="0">
                    <a:pos x="202" y="85"/>
                  </a:cxn>
                  <a:cxn ang="0">
                    <a:pos x="192" y="88"/>
                  </a:cxn>
                  <a:cxn ang="0">
                    <a:pos x="172" y="67"/>
                  </a:cxn>
                  <a:cxn ang="0">
                    <a:pos x="164" y="45"/>
                  </a:cxn>
                  <a:cxn ang="0">
                    <a:pos x="152" y="27"/>
                  </a:cxn>
                  <a:cxn ang="0">
                    <a:pos x="100" y="31"/>
                  </a:cxn>
                  <a:cxn ang="0">
                    <a:pos x="73" y="19"/>
                  </a:cxn>
                  <a:cxn ang="0">
                    <a:pos x="0" y="8"/>
                  </a:cxn>
                  <a:cxn ang="0">
                    <a:pos x="21" y="88"/>
                  </a:cxn>
                  <a:cxn ang="0">
                    <a:pos x="32" y="85"/>
                  </a:cxn>
                  <a:cxn ang="0">
                    <a:pos x="27" y="76"/>
                  </a:cxn>
                  <a:cxn ang="0">
                    <a:pos x="37" y="69"/>
                  </a:cxn>
                  <a:cxn ang="0">
                    <a:pos x="44" y="62"/>
                  </a:cxn>
                  <a:cxn ang="0">
                    <a:pos x="49" y="62"/>
                  </a:cxn>
                  <a:cxn ang="0">
                    <a:pos x="54" y="59"/>
                  </a:cxn>
                  <a:cxn ang="0">
                    <a:pos x="77" y="71"/>
                  </a:cxn>
                  <a:cxn ang="0">
                    <a:pos x="89" y="81"/>
                  </a:cxn>
                  <a:cxn ang="0">
                    <a:pos x="103" y="85"/>
                  </a:cxn>
                  <a:cxn ang="0">
                    <a:pos x="113" y="92"/>
                  </a:cxn>
                  <a:cxn ang="0">
                    <a:pos x="120" y="104"/>
                  </a:cxn>
                  <a:cxn ang="0">
                    <a:pos x="126" y="114"/>
                  </a:cxn>
                  <a:cxn ang="0">
                    <a:pos x="141" y="127"/>
                  </a:cxn>
                  <a:cxn ang="0">
                    <a:pos x="167" y="139"/>
                  </a:cxn>
                  <a:cxn ang="0">
                    <a:pos x="188" y="149"/>
                  </a:cxn>
                  <a:cxn ang="0">
                    <a:pos x="192" y="149"/>
                  </a:cxn>
                  <a:cxn ang="0">
                    <a:pos x="200" y="158"/>
                  </a:cxn>
                  <a:cxn ang="0">
                    <a:pos x="204" y="165"/>
                  </a:cxn>
                  <a:cxn ang="0">
                    <a:pos x="211" y="170"/>
                  </a:cxn>
                  <a:cxn ang="0">
                    <a:pos x="216" y="168"/>
                  </a:cxn>
                  <a:cxn ang="0">
                    <a:pos x="219" y="170"/>
                  </a:cxn>
                  <a:cxn ang="0">
                    <a:pos x="219" y="170"/>
                  </a:cxn>
                </a:cxnLst>
                <a:rect l="0" t="0" r="r" b="b"/>
                <a:pathLst>
                  <a:path w="278" h="170">
                    <a:moveTo>
                      <a:pt x="219" y="170"/>
                    </a:moveTo>
                    <a:lnTo>
                      <a:pt x="219" y="158"/>
                    </a:lnTo>
                    <a:lnTo>
                      <a:pt x="226" y="149"/>
                    </a:lnTo>
                    <a:lnTo>
                      <a:pt x="226" y="149"/>
                    </a:lnTo>
                    <a:lnTo>
                      <a:pt x="226" y="144"/>
                    </a:lnTo>
                    <a:lnTo>
                      <a:pt x="223" y="142"/>
                    </a:lnTo>
                    <a:lnTo>
                      <a:pt x="219" y="137"/>
                    </a:lnTo>
                    <a:lnTo>
                      <a:pt x="223" y="134"/>
                    </a:lnTo>
                    <a:lnTo>
                      <a:pt x="219" y="130"/>
                    </a:lnTo>
                    <a:lnTo>
                      <a:pt x="216" y="130"/>
                    </a:lnTo>
                    <a:lnTo>
                      <a:pt x="214" y="132"/>
                    </a:lnTo>
                    <a:lnTo>
                      <a:pt x="209" y="127"/>
                    </a:lnTo>
                    <a:lnTo>
                      <a:pt x="209" y="121"/>
                    </a:lnTo>
                    <a:lnTo>
                      <a:pt x="212" y="118"/>
                    </a:lnTo>
                    <a:lnTo>
                      <a:pt x="219" y="120"/>
                    </a:lnTo>
                    <a:lnTo>
                      <a:pt x="223" y="118"/>
                    </a:lnTo>
                    <a:lnTo>
                      <a:pt x="223" y="114"/>
                    </a:lnTo>
                    <a:lnTo>
                      <a:pt x="232" y="111"/>
                    </a:lnTo>
                    <a:lnTo>
                      <a:pt x="228" y="109"/>
                    </a:lnTo>
                    <a:lnTo>
                      <a:pt x="226" y="107"/>
                    </a:lnTo>
                    <a:lnTo>
                      <a:pt x="235" y="107"/>
                    </a:lnTo>
                    <a:lnTo>
                      <a:pt x="240" y="104"/>
                    </a:lnTo>
                    <a:lnTo>
                      <a:pt x="240" y="99"/>
                    </a:lnTo>
                    <a:lnTo>
                      <a:pt x="235" y="99"/>
                    </a:lnTo>
                    <a:lnTo>
                      <a:pt x="235" y="94"/>
                    </a:lnTo>
                    <a:lnTo>
                      <a:pt x="240" y="92"/>
                    </a:lnTo>
                    <a:lnTo>
                      <a:pt x="245" y="88"/>
                    </a:lnTo>
                    <a:lnTo>
                      <a:pt x="249" y="88"/>
                    </a:lnTo>
                    <a:lnTo>
                      <a:pt x="254" y="85"/>
                    </a:lnTo>
                    <a:lnTo>
                      <a:pt x="256" y="87"/>
                    </a:lnTo>
                    <a:lnTo>
                      <a:pt x="259" y="90"/>
                    </a:lnTo>
                    <a:lnTo>
                      <a:pt x="266" y="88"/>
                    </a:lnTo>
                    <a:lnTo>
                      <a:pt x="273" y="88"/>
                    </a:lnTo>
                    <a:lnTo>
                      <a:pt x="278" y="85"/>
                    </a:lnTo>
                    <a:lnTo>
                      <a:pt x="277" y="80"/>
                    </a:lnTo>
                    <a:lnTo>
                      <a:pt x="268" y="74"/>
                    </a:lnTo>
                    <a:lnTo>
                      <a:pt x="266" y="73"/>
                    </a:lnTo>
                    <a:lnTo>
                      <a:pt x="266" y="76"/>
                    </a:lnTo>
                    <a:lnTo>
                      <a:pt x="263" y="80"/>
                    </a:lnTo>
                    <a:lnTo>
                      <a:pt x="259" y="80"/>
                    </a:lnTo>
                    <a:lnTo>
                      <a:pt x="256" y="76"/>
                    </a:lnTo>
                    <a:lnTo>
                      <a:pt x="249" y="76"/>
                    </a:lnTo>
                    <a:lnTo>
                      <a:pt x="245" y="73"/>
                    </a:lnTo>
                    <a:lnTo>
                      <a:pt x="249" y="69"/>
                    </a:lnTo>
                    <a:lnTo>
                      <a:pt x="254" y="61"/>
                    </a:lnTo>
                    <a:lnTo>
                      <a:pt x="254" y="57"/>
                    </a:lnTo>
                    <a:lnTo>
                      <a:pt x="251" y="57"/>
                    </a:lnTo>
                    <a:lnTo>
                      <a:pt x="247" y="61"/>
                    </a:lnTo>
                    <a:lnTo>
                      <a:pt x="245" y="62"/>
                    </a:lnTo>
                    <a:lnTo>
                      <a:pt x="237" y="71"/>
                    </a:lnTo>
                    <a:lnTo>
                      <a:pt x="235" y="74"/>
                    </a:lnTo>
                    <a:lnTo>
                      <a:pt x="233" y="76"/>
                    </a:lnTo>
                    <a:lnTo>
                      <a:pt x="232" y="85"/>
                    </a:lnTo>
                    <a:lnTo>
                      <a:pt x="223" y="90"/>
                    </a:lnTo>
                    <a:lnTo>
                      <a:pt x="219" y="88"/>
                    </a:lnTo>
                    <a:lnTo>
                      <a:pt x="214" y="85"/>
                    </a:lnTo>
                    <a:lnTo>
                      <a:pt x="207" y="85"/>
                    </a:lnTo>
                    <a:lnTo>
                      <a:pt x="202" y="85"/>
                    </a:lnTo>
                    <a:lnTo>
                      <a:pt x="195" y="88"/>
                    </a:lnTo>
                    <a:lnTo>
                      <a:pt x="192" y="88"/>
                    </a:lnTo>
                    <a:lnTo>
                      <a:pt x="185" y="69"/>
                    </a:lnTo>
                    <a:lnTo>
                      <a:pt x="172" y="67"/>
                    </a:lnTo>
                    <a:lnTo>
                      <a:pt x="172" y="43"/>
                    </a:lnTo>
                    <a:lnTo>
                      <a:pt x="164" y="45"/>
                    </a:lnTo>
                    <a:lnTo>
                      <a:pt x="162" y="34"/>
                    </a:lnTo>
                    <a:lnTo>
                      <a:pt x="152" y="27"/>
                    </a:lnTo>
                    <a:lnTo>
                      <a:pt x="124" y="27"/>
                    </a:lnTo>
                    <a:lnTo>
                      <a:pt x="100" y="31"/>
                    </a:lnTo>
                    <a:lnTo>
                      <a:pt x="86" y="22"/>
                    </a:lnTo>
                    <a:lnTo>
                      <a:pt x="73" y="19"/>
                    </a:lnTo>
                    <a:lnTo>
                      <a:pt x="46" y="0"/>
                    </a:lnTo>
                    <a:lnTo>
                      <a:pt x="0" y="8"/>
                    </a:lnTo>
                    <a:lnTo>
                      <a:pt x="16" y="88"/>
                    </a:lnTo>
                    <a:lnTo>
                      <a:pt x="21" y="88"/>
                    </a:lnTo>
                    <a:lnTo>
                      <a:pt x="30" y="90"/>
                    </a:lnTo>
                    <a:lnTo>
                      <a:pt x="32" y="85"/>
                    </a:lnTo>
                    <a:lnTo>
                      <a:pt x="28" y="81"/>
                    </a:lnTo>
                    <a:lnTo>
                      <a:pt x="27" y="76"/>
                    </a:lnTo>
                    <a:lnTo>
                      <a:pt x="32" y="69"/>
                    </a:lnTo>
                    <a:lnTo>
                      <a:pt x="37" y="69"/>
                    </a:lnTo>
                    <a:lnTo>
                      <a:pt x="39" y="64"/>
                    </a:lnTo>
                    <a:lnTo>
                      <a:pt x="44" y="62"/>
                    </a:lnTo>
                    <a:lnTo>
                      <a:pt x="46" y="64"/>
                    </a:lnTo>
                    <a:lnTo>
                      <a:pt x="49" y="62"/>
                    </a:lnTo>
                    <a:lnTo>
                      <a:pt x="46" y="59"/>
                    </a:lnTo>
                    <a:lnTo>
                      <a:pt x="54" y="59"/>
                    </a:lnTo>
                    <a:lnTo>
                      <a:pt x="67" y="66"/>
                    </a:lnTo>
                    <a:lnTo>
                      <a:pt x="77" y="71"/>
                    </a:lnTo>
                    <a:lnTo>
                      <a:pt x="77" y="76"/>
                    </a:lnTo>
                    <a:lnTo>
                      <a:pt x="89" y="81"/>
                    </a:lnTo>
                    <a:lnTo>
                      <a:pt x="101" y="87"/>
                    </a:lnTo>
                    <a:lnTo>
                      <a:pt x="103" y="85"/>
                    </a:lnTo>
                    <a:lnTo>
                      <a:pt x="105" y="87"/>
                    </a:lnTo>
                    <a:lnTo>
                      <a:pt x="113" y="92"/>
                    </a:lnTo>
                    <a:lnTo>
                      <a:pt x="117" y="102"/>
                    </a:lnTo>
                    <a:lnTo>
                      <a:pt x="120" y="104"/>
                    </a:lnTo>
                    <a:lnTo>
                      <a:pt x="120" y="107"/>
                    </a:lnTo>
                    <a:lnTo>
                      <a:pt x="126" y="114"/>
                    </a:lnTo>
                    <a:lnTo>
                      <a:pt x="131" y="118"/>
                    </a:lnTo>
                    <a:lnTo>
                      <a:pt x="141" y="127"/>
                    </a:lnTo>
                    <a:lnTo>
                      <a:pt x="153" y="134"/>
                    </a:lnTo>
                    <a:lnTo>
                      <a:pt x="167" y="139"/>
                    </a:lnTo>
                    <a:lnTo>
                      <a:pt x="178" y="147"/>
                    </a:lnTo>
                    <a:lnTo>
                      <a:pt x="188" y="149"/>
                    </a:lnTo>
                    <a:lnTo>
                      <a:pt x="190" y="149"/>
                    </a:lnTo>
                    <a:lnTo>
                      <a:pt x="192" y="149"/>
                    </a:lnTo>
                    <a:lnTo>
                      <a:pt x="200" y="154"/>
                    </a:lnTo>
                    <a:lnTo>
                      <a:pt x="200" y="158"/>
                    </a:lnTo>
                    <a:lnTo>
                      <a:pt x="200" y="167"/>
                    </a:lnTo>
                    <a:lnTo>
                      <a:pt x="204" y="165"/>
                    </a:lnTo>
                    <a:lnTo>
                      <a:pt x="207" y="167"/>
                    </a:lnTo>
                    <a:lnTo>
                      <a:pt x="211" y="170"/>
                    </a:lnTo>
                    <a:lnTo>
                      <a:pt x="212" y="170"/>
                    </a:lnTo>
                    <a:lnTo>
                      <a:pt x="216" y="168"/>
                    </a:lnTo>
                    <a:lnTo>
                      <a:pt x="219" y="168"/>
                    </a:lnTo>
                    <a:lnTo>
                      <a:pt x="219" y="170"/>
                    </a:lnTo>
                    <a:lnTo>
                      <a:pt x="219" y="170"/>
                    </a:lnTo>
                    <a:lnTo>
                      <a:pt x="219" y="1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53"/>
              <p:cNvSpPr>
                <a:spLocks/>
              </p:cNvSpPr>
              <p:nvPr/>
            </p:nvSpPr>
            <p:spPr bwMode="auto">
              <a:xfrm>
                <a:off x="5792788" y="2994026"/>
                <a:ext cx="393700" cy="249238"/>
              </a:xfrm>
              <a:custGeom>
                <a:avLst/>
                <a:gdLst/>
                <a:ahLst/>
                <a:cxnLst>
                  <a:cxn ang="0">
                    <a:pos x="248" y="97"/>
                  </a:cxn>
                  <a:cxn ang="0">
                    <a:pos x="236" y="92"/>
                  </a:cxn>
                  <a:cxn ang="0">
                    <a:pos x="201" y="77"/>
                  </a:cxn>
                  <a:cxn ang="0">
                    <a:pos x="174" y="56"/>
                  </a:cxn>
                  <a:cxn ang="0">
                    <a:pos x="165" y="45"/>
                  </a:cxn>
                  <a:cxn ang="0">
                    <a:pos x="151" y="28"/>
                  </a:cxn>
                  <a:cxn ang="0">
                    <a:pos x="125" y="17"/>
                  </a:cxn>
                  <a:cxn ang="0">
                    <a:pos x="102" y="0"/>
                  </a:cxn>
                  <a:cxn ang="0">
                    <a:pos x="94" y="5"/>
                  </a:cxn>
                  <a:cxn ang="0">
                    <a:pos x="85" y="10"/>
                  </a:cxn>
                  <a:cxn ang="0">
                    <a:pos x="76" y="24"/>
                  </a:cxn>
                  <a:cxn ang="0">
                    <a:pos x="69" y="31"/>
                  </a:cxn>
                  <a:cxn ang="0">
                    <a:pos x="42" y="21"/>
                  </a:cxn>
                  <a:cxn ang="0">
                    <a:pos x="10" y="14"/>
                  </a:cxn>
                  <a:cxn ang="0">
                    <a:pos x="2" y="28"/>
                  </a:cxn>
                  <a:cxn ang="0">
                    <a:pos x="7" y="37"/>
                  </a:cxn>
                  <a:cxn ang="0">
                    <a:pos x="10" y="50"/>
                  </a:cxn>
                  <a:cxn ang="0">
                    <a:pos x="12" y="64"/>
                  </a:cxn>
                  <a:cxn ang="0">
                    <a:pos x="15" y="64"/>
                  </a:cxn>
                  <a:cxn ang="0">
                    <a:pos x="24" y="64"/>
                  </a:cxn>
                  <a:cxn ang="0">
                    <a:pos x="26" y="73"/>
                  </a:cxn>
                  <a:cxn ang="0">
                    <a:pos x="29" y="75"/>
                  </a:cxn>
                  <a:cxn ang="0">
                    <a:pos x="22" y="73"/>
                  </a:cxn>
                  <a:cxn ang="0">
                    <a:pos x="22" y="82"/>
                  </a:cxn>
                  <a:cxn ang="0">
                    <a:pos x="24" y="78"/>
                  </a:cxn>
                  <a:cxn ang="0">
                    <a:pos x="33" y="85"/>
                  </a:cxn>
                  <a:cxn ang="0">
                    <a:pos x="36" y="96"/>
                  </a:cxn>
                  <a:cxn ang="0">
                    <a:pos x="42" y="120"/>
                  </a:cxn>
                  <a:cxn ang="0">
                    <a:pos x="54" y="111"/>
                  </a:cxn>
                  <a:cxn ang="0">
                    <a:pos x="66" y="104"/>
                  </a:cxn>
                  <a:cxn ang="0">
                    <a:pos x="80" y="97"/>
                  </a:cxn>
                  <a:cxn ang="0">
                    <a:pos x="92" y="101"/>
                  </a:cxn>
                  <a:cxn ang="0">
                    <a:pos x="113" y="111"/>
                  </a:cxn>
                  <a:cxn ang="0">
                    <a:pos x="125" y="113"/>
                  </a:cxn>
                  <a:cxn ang="0">
                    <a:pos x="130" y="120"/>
                  </a:cxn>
                  <a:cxn ang="0">
                    <a:pos x="149" y="129"/>
                  </a:cxn>
                  <a:cxn ang="0">
                    <a:pos x="163" y="137"/>
                  </a:cxn>
                  <a:cxn ang="0">
                    <a:pos x="163" y="148"/>
                  </a:cxn>
                  <a:cxn ang="0">
                    <a:pos x="170" y="150"/>
                  </a:cxn>
                  <a:cxn ang="0">
                    <a:pos x="179" y="150"/>
                  </a:cxn>
                  <a:cxn ang="0">
                    <a:pos x="186" y="157"/>
                  </a:cxn>
                  <a:cxn ang="0">
                    <a:pos x="193" y="155"/>
                  </a:cxn>
                  <a:cxn ang="0">
                    <a:pos x="198" y="148"/>
                  </a:cxn>
                  <a:cxn ang="0">
                    <a:pos x="210" y="141"/>
                  </a:cxn>
                  <a:cxn ang="0">
                    <a:pos x="217" y="136"/>
                  </a:cxn>
                  <a:cxn ang="0">
                    <a:pos x="220" y="124"/>
                  </a:cxn>
                  <a:cxn ang="0">
                    <a:pos x="220" y="117"/>
                  </a:cxn>
                  <a:cxn ang="0">
                    <a:pos x="227" y="113"/>
                  </a:cxn>
                  <a:cxn ang="0">
                    <a:pos x="240" y="108"/>
                  </a:cxn>
                  <a:cxn ang="0">
                    <a:pos x="248" y="110"/>
                  </a:cxn>
                  <a:cxn ang="0">
                    <a:pos x="248" y="110"/>
                  </a:cxn>
                </a:cxnLst>
                <a:rect l="0" t="0" r="r" b="b"/>
                <a:pathLst>
                  <a:path w="248" h="157">
                    <a:moveTo>
                      <a:pt x="248" y="110"/>
                    </a:moveTo>
                    <a:lnTo>
                      <a:pt x="248" y="101"/>
                    </a:lnTo>
                    <a:lnTo>
                      <a:pt x="248" y="97"/>
                    </a:lnTo>
                    <a:lnTo>
                      <a:pt x="241" y="92"/>
                    </a:lnTo>
                    <a:lnTo>
                      <a:pt x="238" y="92"/>
                    </a:lnTo>
                    <a:lnTo>
                      <a:pt x="236" y="92"/>
                    </a:lnTo>
                    <a:lnTo>
                      <a:pt x="226" y="90"/>
                    </a:lnTo>
                    <a:lnTo>
                      <a:pt x="215" y="82"/>
                    </a:lnTo>
                    <a:lnTo>
                      <a:pt x="201" y="77"/>
                    </a:lnTo>
                    <a:lnTo>
                      <a:pt x="189" y="68"/>
                    </a:lnTo>
                    <a:lnTo>
                      <a:pt x="179" y="61"/>
                    </a:lnTo>
                    <a:lnTo>
                      <a:pt x="174" y="56"/>
                    </a:lnTo>
                    <a:lnTo>
                      <a:pt x="170" y="50"/>
                    </a:lnTo>
                    <a:lnTo>
                      <a:pt x="170" y="45"/>
                    </a:lnTo>
                    <a:lnTo>
                      <a:pt x="165" y="45"/>
                    </a:lnTo>
                    <a:lnTo>
                      <a:pt x="161" y="33"/>
                    </a:lnTo>
                    <a:lnTo>
                      <a:pt x="153" y="28"/>
                    </a:lnTo>
                    <a:lnTo>
                      <a:pt x="151" y="28"/>
                    </a:lnTo>
                    <a:lnTo>
                      <a:pt x="149" y="28"/>
                    </a:lnTo>
                    <a:lnTo>
                      <a:pt x="137" y="24"/>
                    </a:lnTo>
                    <a:lnTo>
                      <a:pt x="125" y="17"/>
                    </a:lnTo>
                    <a:lnTo>
                      <a:pt x="125" y="12"/>
                    </a:lnTo>
                    <a:lnTo>
                      <a:pt x="115" y="9"/>
                    </a:lnTo>
                    <a:lnTo>
                      <a:pt x="102" y="0"/>
                    </a:lnTo>
                    <a:lnTo>
                      <a:pt x="94" y="0"/>
                    </a:lnTo>
                    <a:lnTo>
                      <a:pt x="97" y="5"/>
                    </a:lnTo>
                    <a:lnTo>
                      <a:pt x="94" y="5"/>
                    </a:lnTo>
                    <a:lnTo>
                      <a:pt x="92" y="5"/>
                    </a:lnTo>
                    <a:lnTo>
                      <a:pt x="87" y="5"/>
                    </a:lnTo>
                    <a:lnTo>
                      <a:pt x="85" y="10"/>
                    </a:lnTo>
                    <a:lnTo>
                      <a:pt x="80" y="10"/>
                    </a:lnTo>
                    <a:lnTo>
                      <a:pt x="75" y="19"/>
                    </a:lnTo>
                    <a:lnTo>
                      <a:pt x="76" y="24"/>
                    </a:lnTo>
                    <a:lnTo>
                      <a:pt x="80" y="28"/>
                    </a:lnTo>
                    <a:lnTo>
                      <a:pt x="78" y="33"/>
                    </a:lnTo>
                    <a:lnTo>
                      <a:pt x="69" y="31"/>
                    </a:lnTo>
                    <a:lnTo>
                      <a:pt x="61" y="31"/>
                    </a:lnTo>
                    <a:lnTo>
                      <a:pt x="54" y="33"/>
                    </a:lnTo>
                    <a:lnTo>
                      <a:pt x="42" y="21"/>
                    </a:lnTo>
                    <a:lnTo>
                      <a:pt x="29" y="12"/>
                    </a:lnTo>
                    <a:lnTo>
                      <a:pt x="19" y="10"/>
                    </a:lnTo>
                    <a:lnTo>
                      <a:pt x="10" y="14"/>
                    </a:lnTo>
                    <a:lnTo>
                      <a:pt x="0" y="24"/>
                    </a:lnTo>
                    <a:lnTo>
                      <a:pt x="0" y="26"/>
                    </a:lnTo>
                    <a:lnTo>
                      <a:pt x="2" y="28"/>
                    </a:lnTo>
                    <a:lnTo>
                      <a:pt x="5" y="31"/>
                    </a:lnTo>
                    <a:lnTo>
                      <a:pt x="5" y="33"/>
                    </a:lnTo>
                    <a:lnTo>
                      <a:pt x="7" y="37"/>
                    </a:lnTo>
                    <a:lnTo>
                      <a:pt x="10" y="42"/>
                    </a:lnTo>
                    <a:lnTo>
                      <a:pt x="10" y="47"/>
                    </a:lnTo>
                    <a:lnTo>
                      <a:pt x="10" y="50"/>
                    </a:lnTo>
                    <a:lnTo>
                      <a:pt x="10" y="59"/>
                    </a:lnTo>
                    <a:lnTo>
                      <a:pt x="10" y="63"/>
                    </a:lnTo>
                    <a:lnTo>
                      <a:pt x="12" y="64"/>
                    </a:lnTo>
                    <a:lnTo>
                      <a:pt x="17" y="70"/>
                    </a:lnTo>
                    <a:lnTo>
                      <a:pt x="17" y="68"/>
                    </a:lnTo>
                    <a:lnTo>
                      <a:pt x="15" y="64"/>
                    </a:lnTo>
                    <a:lnTo>
                      <a:pt x="17" y="64"/>
                    </a:lnTo>
                    <a:lnTo>
                      <a:pt x="22" y="64"/>
                    </a:lnTo>
                    <a:lnTo>
                      <a:pt x="24" y="64"/>
                    </a:lnTo>
                    <a:lnTo>
                      <a:pt x="26" y="64"/>
                    </a:lnTo>
                    <a:lnTo>
                      <a:pt x="24" y="68"/>
                    </a:lnTo>
                    <a:lnTo>
                      <a:pt x="26" y="73"/>
                    </a:lnTo>
                    <a:lnTo>
                      <a:pt x="28" y="70"/>
                    </a:lnTo>
                    <a:lnTo>
                      <a:pt x="29" y="73"/>
                    </a:lnTo>
                    <a:lnTo>
                      <a:pt x="29" y="75"/>
                    </a:lnTo>
                    <a:lnTo>
                      <a:pt x="26" y="75"/>
                    </a:lnTo>
                    <a:lnTo>
                      <a:pt x="24" y="75"/>
                    </a:lnTo>
                    <a:lnTo>
                      <a:pt x="22" y="73"/>
                    </a:lnTo>
                    <a:lnTo>
                      <a:pt x="19" y="77"/>
                    </a:lnTo>
                    <a:lnTo>
                      <a:pt x="19" y="78"/>
                    </a:lnTo>
                    <a:lnTo>
                      <a:pt x="22" y="82"/>
                    </a:lnTo>
                    <a:lnTo>
                      <a:pt x="21" y="78"/>
                    </a:lnTo>
                    <a:lnTo>
                      <a:pt x="24" y="77"/>
                    </a:lnTo>
                    <a:lnTo>
                      <a:pt x="24" y="78"/>
                    </a:lnTo>
                    <a:lnTo>
                      <a:pt x="28" y="78"/>
                    </a:lnTo>
                    <a:lnTo>
                      <a:pt x="29" y="82"/>
                    </a:lnTo>
                    <a:lnTo>
                      <a:pt x="33" y="85"/>
                    </a:lnTo>
                    <a:lnTo>
                      <a:pt x="36" y="89"/>
                    </a:lnTo>
                    <a:lnTo>
                      <a:pt x="36" y="92"/>
                    </a:lnTo>
                    <a:lnTo>
                      <a:pt x="36" y="96"/>
                    </a:lnTo>
                    <a:lnTo>
                      <a:pt x="36" y="104"/>
                    </a:lnTo>
                    <a:lnTo>
                      <a:pt x="38" y="111"/>
                    </a:lnTo>
                    <a:lnTo>
                      <a:pt x="42" y="120"/>
                    </a:lnTo>
                    <a:lnTo>
                      <a:pt x="43" y="118"/>
                    </a:lnTo>
                    <a:lnTo>
                      <a:pt x="52" y="117"/>
                    </a:lnTo>
                    <a:lnTo>
                      <a:pt x="54" y="111"/>
                    </a:lnTo>
                    <a:lnTo>
                      <a:pt x="55" y="110"/>
                    </a:lnTo>
                    <a:lnTo>
                      <a:pt x="59" y="110"/>
                    </a:lnTo>
                    <a:lnTo>
                      <a:pt x="66" y="104"/>
                    </a:lnTo>
                    <a:lnTo>
                      <a:pt x="73" y="101"/>
                    </a:lnTo>
                    <a:lnTo>
                      <a:pt x="80" y="104"/>
                    </a:lnTo>
                    <a:lnTo>
                      <a:pt x="80" y="97"/>
                    </a:lnTo>
                    <a:lnTo>
                      <a:pt x="83" y="97"/>
                    </a:lnTo>
                    <a:lnTo>
                      <a:pt x="88" y="101"/>
                    </a:lnTo>
                    <a:lnTo>
                      <a:pt x="92" y="101"/>
                    </a:lnTo>
                    <a:lnTo>
                      <a:pt x="97" y="104"/>
                    </a:lnTo>
                    <a:lnTo>
                      <a:pt x="102" y="106"/>
                    </a:lnTo>
                    <a:lnTo>
                      <a:pt x="113" y="111"/>
                    </a:lnTo>
                    <a:lnTo>
                      <a:pt x="116" y="111"/>
                    </a:lnTo>
                    <a:lnTo>
                      <a:pt x="118" y="110"/>
                    </a:lnTo>
                    <a:lnTo>
                      <a:pt x="125" y="113"/>
                    </a:lnTo>
                    <a:lnTo>
                      <a:pt x="130" y="113"/>
                    </a:lnTo>
                    <a:lnTo>
                      <a:pt x="130" y="118"/>
                    </a:lnTo>
                    <a:lnTo>
                      <a:pt x="130" y="120"/>
                    </a:lnTo>
                    <a:lnTo>
                      <a:pt x="134" y="120"/>
                    </a:lnTo>
                    <a:lnTo>
                      <a:pt x="141" y="120"/>
                    </a:lnTo>
                    <a:lnTo>
                      <a:pt x="149" y="129"/>
                    </a:lnTo>
                    <a:lnTo>
                      <a:pt x="156" y="132"/>
                    </a:lnTo>
                    <a:lnTo>
                      <a:pt x="161" y="132"/>
                    </a:lnTo>
                    <a:lnTo>
                      <a:pt x="163" y="137"/>
                    </a:lnTo>
                    <a:lnTo>
                      <a:pt x="161" y="139"/>
                    </a:lnTo>
                    <a:lnTo>
                      <a:pt x="163" y="144"/>
                    </a:lnTo>
                    <a:lnTo>
                      <a:pt x="163" y="148"/>
                    </a:lnTo>
                    <a:lnTo>
                      <a:pt x="163" y="150"/>
                    </a:lnTo>
                    <a:lnTo>
                      <a:pt x="165" y="150"/>
                    </a:lnTo>
                    <a:lnTo>
                      <a:pt x="170" y="150"/>
                    </a:lnTo>
                    <a:lnTo>
                      <a:pt x="172" y="151"/>
                    </a:lnTo>
                    <a:lnTo>
                      <a:pt x="175" y="151"/>
                    </a:lnTo>
                    <a:lnTo>
                      <a:pt x="179" y="150"/>
                    </a:lnTo>
                    <a:lnTo>
                      <a:pt x="181" y="150"/>
                    </a:lnTo>
                    <a:lnTo>
                      <a:pt x="186" y="151"/>
                    </a:lnTo>
                    <a:lnTo>
                      <a:pt x="186" y="157"/>
                    </a:lnTo>
                    <a:lnTo>
                      <a:pt x="187" y="157"/>
                    </a:lnTo>
                    <a:lnTo>
                      <a:pt x="189" y="155"/>
                    </a:lnTo>
                    <a:lnTo>
                      <a:pt x="193" y="155"/>
                    </a:lnTo>
                    <a:lnTo>
                      <a:pt x="198" y="151"/>
                    </a:lnTo>
                    <a:lnTo>
                      <a:pt x="198" y="150"/>
                    </a:lnTo>
                    <a:lnTo>
                      <a:pt x="198" y="148"/>
                    </a:lnTo>
                    <a:lnTo>
                      <a:pt x="198" y="144"/>
                    </a:lnTo>
                    <a:lnTo>
                      <a:pt x="203" y="141"/>
                    </a:lnTo>
                    <a:lnTo>
                      <a:pt x="210" y="141"/>
                    </a:lnTo>
                    <a:lnTo>
                      <a:pt x="212" y="139"/>
                    </a:lnTo>
                    <a:lnTo>
                      <a:pt x="214" y="136"/>
                    </a:lnTo>
                    <a:lnTo>
                      <a:pt x="217" y="136"/>
                    </a:lnTo>
                    <a:lnTo>
                      <a:pt x="217" y="132"/>
                    </a:lnTo>
                    <a:lnTo>
                      <a:pt x="217" y="129"/>
                    </a:lnTo>
                    <a:lnTo>
                      <a:pt x="220" y="124"/>
                    </a:lnTo>
                    <a:lnTo>
                      <a:pt x="220" y="120"/>
                    </a:lnTo>
                    <a:lnTo>
                      <a:pt x="220" y="118"/>
                    </a:lnTo>
                    <a:lnTo>
                      <a:pt x="220" y="117"/>
                    </a:lnTo>
                    <a:lnTo>
                      <a:pt x="220" y="115"/>
                    </a:lnTo>
                    <a:lnTo>
                      <a:pt x="222" y="113"/>
                    </a:lnTo>
                    <a:lnTo>
                      <a:pt x="227" y="113"/>
                    </a:lnTo>
                    <a:lnTo>
                      <a:pt x="229" y="113"/>
                    </a:lnTo>
                    <a:lnTo>
                      <a:pt x="234" y="108"/>
                    </a:lnTo>
                    <a:lnTo>
                      <a:pt x="240" y="108"/>
                    </a:lnTo>
                    <a:lnTo>
                      <a:pt x="243" y="110"/>
                    </a:lnTo>
                    <a:lnTo>
                      <a:pt x="245" y="108"/>
                    </a:lnTo>
                    <a:lnTo>
                      <a:pt x="248" y="110"/>
                    </a:lnTo>
                    <a:lnTo>
                      <a:pt x="248" y="110"/>
                    </a:lnTo>
                    <a:lnTo>
                      <a:pt x="248" y="110"/>
                    </a:lnTo>
                    <a:lnTo>
                      <a:pt x="248" y="1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54"/>
              <p:cNvSpPr>
                <a:spLocks/>
              </p:cNvSpPr>
              <p:nvPr/>
            </p:nvSpPr>
            <p:spPr bwMode="auto">
              <a:xfrm>
                <a:off x="6070600" y="3181351"/>
                <a:ext cx="369888" cy="417513"/>
              </a:xfrm>
              <a:custGeom>
                <a:avLst/>
                <a:gdLst/>
                <a:ahLst/>
                <a:cxnLst>
                  <a:cxn ang="0">
                    <a:pos x="141" y="254"/>
                  </a:cxn>
                  <a:cxn ang="0">
                    <a:pos x="158" y="249"/>
                  </a:cxn>
                  <a:cxn ang="0">
                    <a:pos x="171" y="247"/>
                  </a:cxn>
                  <a:cxn ang="0">
                    <a:pos x="178" y="244"/>
                  </a:cxn>
                  <a:cxn ang="0">
                    <a:pos x="171" y="223"/>
                  </a:cxn>
                  <a:cxn ang="0">
                    <a:pos x="158" y="212"/>
                  </a:cxn>
                  <a:cxn ang="0">
                    <a:pos x="151" y="204"/>
                  </a:cxn>
                  <a:cxn ang="0">
                    <a:pos x="148" y="192"/>
                  </a:cxn>
                  <a:cxn ang="0">
                    <a:pos x="158" y="178"/>
                  </a:cxn>
                  <a:cxn ang="0">
                    <a:pos x="167" y="183"/>
                  </a:cxn>
                  <a:cxn ang="0">
                    <a:pos x="191" y="162"/>
                  </a:cxn>
                  <a:cxn ang="0">
                    <a:pos x="207" y="141"/>
                  </a:cxn>
                  <a:cxn ang="0">
                    <a:pos x="211" y="131"/>
                  </a:cxn>
                  <a:cxn ang="0">
                    <a:pos x="219" y="110"/>
                  </a:cxn>
                  <a:cxn ang="0">
                    <a:pos x="224" y="96"/>
                  </a:cxn>
                  <a:cxn ang="0">
                    <a:pos x="233" y="85"/>
                  </a:cxn>
                  <a:cxn ang="0">
                    <a:pos x="218" y="80"/>
                  </a:cxn>
                  <a:cxn ang="0">
                    <a:pos x="200" y="66"/>
                  </a:cxn>
                  <a:cxn ang="0">
                    <a:pos x="197" y="44"/>
                  </a:cxn>
                  <a:cxn ang="0">
                    <a:pos x="197" y="32"/>
                  </a:cxn>
                  <a:cxn ang="0">
                    <a:pos x="183" y="18"/>
                  </a:cxn>
                  <a:cxn ang="0">
                    <a:pos x="174" y="11"/>
                  </a:cxn>
                  <a:cxn ang="0">
                    <a:pos x="172" y="0"/>
                  </a:cxn>
                  <a:cxn ang="0">
                    <a:pos x="155" y="11"/>
                  </a:cxn>
                  <a:cxn ang="0">
                    <a:pos x="151" y="44"/>
                  </a:cxn>
                  <a:cxn ang="0">
                    <a:pos x="145" y="58"/>
                  </a:cxn>
                  <a:cxn ang="0">
                    <a:pos x="141" y="65"/>
                  </a:cxn>
                  <a:cxn ang="0">
                    <a:pos x="134" y="77"/>
                  </a:cxn>
                  <a:cxn ang="0">
                    <a:pos x="131" y="91"/>
                  </a:cxn>
                  <a:cxn ang="0">
                    <a:pos x="125" y="101"/>
                  </a:cxn>
                  <a:cxn ang="0">
                    <a:pos x="117" y="103"/>
                  </a:cxn>
                  <a:cxn ang="0">
                    <a:pos x="108" y="110"/>
                  </a:cxn>
                  <a:cxn ang="0">
                    <a:pos x="94" y="117"/>
                  </a:cxn>
                  <a:cxn ang="0">
                    <a:pos x="85" y="124"/>
                  </a:cxn>
                  <a:cxn ang="0">
                    <a:pos x="89" y="141"/>
                  </a:cxn>
                  <a:cxn ang="0">
                    <a:pos x="70" y="148"/>
                  </a:cxn>
                  <a:cxn ang="0">
                    <a:pos x="47" y="152"/>
                  </a:cxn>
                  <a:cxn ang="0">
                    <a:pos x="0" y="146"/>
                  </a:cxn>
                  <a:cxn ang="0">
                    <a:pos x="19" y="169"/>
                  </a:cxn>
                  <a:cxn ang="0">
                    <a:pos x="30" y="174"/>
                  </a:cxn>
                  <a:cxn ang="0">
                    <a:pos x="37" y="192"/>
                  </a:cxn>
                  <a:cxn ang="0">
                    <a:pos x="45" y="204"/>
                  </a:cxn>
                  <a:cxn ang="0">
                    <a:pos x="30" y="207"/>
                  </a:cxn>
                  <a:cxn ang="0">
                    <a:pos x="19" y="219"/>
                  </a:cxn>
                  <a:cxn ang="0">
                    <a:pos x="23" y="232"/>
                  </a:cxn>
                  <a:cxn ang="0">
                    <a:pos x="33" y="232"/>
                  </a:cxn>
                  <a:cxn ang="0">
                    <a:pos x="42" y="232"/>
                  </a:cxn>
                  <a:cxn ang="0">
                    <a:pos x="49" y="232"/>
                  </a:cxn>
                  <a:cxn ang="0">
                    <a:pos x="58" y="232"/>
                  </a:cxn>
                  <a:cxn ang="0">
                    <a:pos x="63" y="232"/>
                  </a:cxn>
                  <a:cxn ang="0">
                    <a:pos x="77" y="228"/>
                  </a:cxn>
                  <a:cxn ang="0">
                    <a:pos x="85" y="228"/>
                  </a:cxn>
                  <a:cxn ang="0">
                    <a:pos x="101" y="228"/>
                  </a:cxn>
                  <a:cxn ang="0">
                    <a:pos x="105" y="237"/>
                  </a:cxn>
                  <a:cxn ang="0">
                    <a:pos x="112" y="237"/>
                  </a:cxn>
                  <a:cxn ang="0">
                    <a:pos x="117" y="251"/>
                  </a:cxn>
                  <a:cxn ang="0">
                    <a:pos x="118" y="256"/>
                  </a:cxn>
                  <a:cxn ang="0">
                    <a:pos x="132" y="261"/>
                  </a:cxn>
                  <a:cxn ang="0">
                    <a:pos x="136" y="261"/>
                  </a:cxn>
                </a:cxnLst>
                <a:rect l="0" t="0" r="r" b="b"/>
                <a:pathLst>
                  <a:path w="233" h="263">
                    <a:moveTo>
                      <a:pt x="136" y="261"/>
                    </a:moveTo>
                    <a:lnTo>
                      <a:pt x="136" y="256"/>
                    </a:lnTo>
                    <a:lnTo>
                      <a:pt x="139" y="256"/>
                    </a:lnTo>
                    <a:lnTo>
                      <a:pt x="141" y="254"/>
                    </a:lnTo>
                    <a:lnTo>
                      <a:pt x="143" y="251"/>
                    </a:lnTo>
                    <a:lnTo>
                      <a:pt x="145" y="251"/>
                    </a:lnTo>
                    <a:lnTo>
                      <a:pt x="148" y="249"/>
                    </a:lnTo>
                    <a:lnTo>
                      <a:pt x="158" y="249"/>
                    </a:lnTo>
                    <a:lnTo>
                      <a:pt x="167" y="247"/>
                    </a:lnTo>
                    <a:lnTo>
                      <a:pt x="167" y="245"/>
                    </a:lnTo>
                    <a:lnTo>
                      <a:pt x="171" y="244"/>
                    </a:lnTo>
                    <a:lnTo>
                      <a:pt x="171" y="247"/>
                    </a:lnTo>
                    <a:lnTo>
                      <a:pt x="171" y="249"/>
                    </a:lnTo>
                    <a:lnTo>
                      <a:pt x="176" y="247"/>
                    </a:lnTo>
                    <a:lnTo>
                      <a:pt x="179" y="245"/>
                    </a:lnTo>
                    <a:lnTo>
                      <a:pt x="178" y="244"/>
                    </a:lnTo>
                    <a:lnTo>
                      <a:pt x="178" y="240"/>
                    </a:lnTo>
                    <a:lnTo>
                      <a:pt x="174" y="232"/>
                    </a:lnTo>
                    <a:lnTo>
                      <a:pt x="171" y="226"/>
                    </a:lnTo>
                    <a:lnTo>
                      <a:pt x="171" y="223"/>
                    </a:lnTo>
                    <a:lnTo>
                      <a:pt x="171" y="221"/>
                    </a:lnTo>
                    <a:lnTo>
                      <a:pt x="167" y="223"/>
                    </a:lnTo>
                    <a:lnTo>
                      <a:pt x="158" y="218"/>
                    </a:lnTo>
                    <a:lnTo>
                      <a:pt x="158" y="212"/>
                    </a:lnTo>
                    <a:lnTo>
                      <a:pt x="158" y="207"/>
                    </a:lnTo>
                    <a:lnTo>
                      <a:pt x="158" y="204"/>
                    </a:lnTo>
                    <a:lnTo>
                      <a:pt x="155" y="204"/>
                    </a:lnTo>
                    <a:lnTo>
                      <a:pt x="151" y="204"/>
                    </a:lnTo>
                    <a:lnTo>
                      <a:pt x="148" y="200"/>
                    </a:lnTo>
                    <a:lnTo>
                      <a:pt x="145" y="204"/>
                    </a:lnTo>
                    <a:lnTo>
                      <a:pt x="145" y="197"/>
                    </a:lnTo>
                    <a:lnTo>
                      <a:pt x="148" y="192"/>
                    </a:lnTo>
                    <a:lnTo>
                      <a:pt x="150" y="190"/>
                    </a:lnTo>
                    <a:lnTo>
                      <a:pt x="155" y="183"/>
                    </a:lnTo>
                    <a:lnTo>
                      <a:pt x="157" y="179"/>
                    </a:lnTo>
                    <a:lnTo>
                      <a:pt x="158" y="178"/>
                    </a:lnTo>
                    <a:lnTo>
                      <a:pt x="162" y="176"/>
                    </a:lnTo>
                    <a:lnTo>
                      <a:pt x="165" y="178"/>
                    </a:lnTo>
                    <a:lnTo>
                      <a:pt x="167" y="181"/>
                    </a:lnTo>
                    <a:lnTo>
                      <a:pt x="167" y="183"/>
                    </a:lnTo>
                    <a:lnTo>
                      <a:pt x="174" y="179"/>
                    </a:lnTo>
                    <a:lnTo>
                      <a:pt x="184" y="178"/>
                    </a:lnTo>
                    <a:lnTo>
                      <a:pt x="188" y="172"/>
                    </a:lnTo>
                    <a:lnTo>
                      <a:pt x="191" y="162"/>
                    </a:lnTo>
                    <a:lnTo>
                      <a:pt x="200" y="157"/>
                    </a:lnTo>
                    <a:lnTo>
                      <a:pt x="202" y="153"/>
                    </a:lnTo>
                    <a:lnTo>
                      <a:pt x="202" y="146"/>
                    </a:lnTo>
                    <a:lnTo>
                      <a:pt x="207" y="141"/>
                    </a:lnTo>
                    <a:lnTo>
                      <a:pt x="211" y="139"/>
                    </a:lnTo>
                    <a:lnTo>
                      <a:pt x="212" y="136"/>
                    </a:lnTo>
                    <a:lnTo>
                      <a:pt x="212" y="132"/>
                    </a:lnTo>
                    <a:lnTo>
                      <a:pt x="211" y="131"/>
                    </a:lnTo>
                    <a:lnTo>
                      <a:pt x="216" y="125"/>
                    </a:lnTo>
                    <a:lnTo>
                      <a:pt x="219" y="122"/>
                    </a:lnTo>
                    <a:lnTo>
                      <a:pt x="219" y="119"/>
                    </a:lnTo>
                    <a:lnTo>
                      <a:pt x="219" y="110"/>
                    </a:lnTo>
                    <a:lnTo>
                      <a:pt x="218" y="105"/>
                    </a:lnTo>
                    <a:lnTo>
                      <a:pt x="218" y="103"/>
                    </a:lnTo>
                    <a:lnTo>
                      <a:pt x="221" y="98"/>
                    </a:lnTo>
                    <a:lnTo>
                      <a:pt x="224" y="96"/>
                    </a:lnTo>
                    <a:lnTo>
                      <a:pt x="230" y="94"/>
                    </a:lnTo>
                    <a:lnTo>
                      <a:pt x="230" y="94"/>
                    </a:lnTo>
                    <a:lnTo>
                      <a:pt x="233" y="91"/>
                    </a:lnTo>
                    <a:lnTo>
                      <a:pt x="233" y="85"/>
                    </a:lnTo>
                    <a:lnTo>
                      <a:pt x="230" y="85"/>
                    </a:lnTo>
                    <a:lnTo>
                      <a:pt x="224" y="87"/>
                    </a:lnTo>
                    <a:lnTo>
                      <a:pt x="221" y="85"/>
                    </a:lnTo>
                    <a:lnTo>
                      <a:pt x="218" y="80"/>
                    </a:lnTo>
                    <a:lnTo>
                      <a:pt x="212" y="80"/>
                    </a:lnTo>
                    <a:lnTo>
                      <a:pt x="207" y="77"/>
                    </a:lnTo>
                    <a:lnTo>
                      <a:pt x="200" y="72"/>
                    </a:lnTo>
                    <a:lnTo>
                      <a:pt x="200" y="66"/>
                    </a:lnTo>
                    <a:lnTo>
                      <a:pt x="197" y="54"/>
                    </a:lnTo>
                    <a:lnTo>
                      <a:pt x="193" y="49"/>
                    </a:lnTo>
                    <a:lnTo>
                      <a:pt x="193" y="45"/>
                    </a:lnTo>
                    <a:lnTo>
                      <a:pt x="197" y="44"/>
                    </a:lnTo>
                    <a:lnTo>
                      <a:pt x="197" y="40"/>
                    </a:lnTo>
                    <a:lnTo>
                      <a:pt x="202" y="37"/>
                    </a:lnTo>
                    <a:lnTo>
                      <a:pt x="202" y="33"/>
                    </a:lnTo>
                    <a:lnTo>
                      <a:pt x="197" y="32"/>
                    </a:lnTo>
                    <a:lnTo>
                      <a:pt x="195" y="30"/>
                    </a:lnTo>
                    <a:lnTo>
                      <a:pt x="190" y="25"/>
                    </a:lnTo>
                    <a:lnTo>
                      <a:pt x="188" y="21"/>
                    </a:lnTo>
                    <a:lnTo>
                      <a:pt x="183" y="18"/>
                    </a:lnTo>
                    <a:lnTo>
                      <a:pt x="179" y="18"/>
                    </a:lnTo>
                    <a:lnTo>
                      <a:pt x="178" y="18"/>
                    </a:lnTo>
                    <a:lnTo>
                      <a:pt x="174" y="18"/>
                    </a:lnTo>
                    <a:lnTo>
                      <a:pt x="174" y="11"/>
                    </a:lnTo>
                    <a:lnTo>
                      <a:pt x="183" y="4"/>
                    </a:lnTo>
                    <a:lnTo>
                      <a:pt x="181" y="0"/>
                    </a:lnTo>
                    <a:lnTo>
                      <a:pt x="176" y="2"/>
                    </a:lnTo>
                    <a:lnTo>
                      <a:pt x="172" y="0"/>
                    </a:lnTo>
                    <a:lnTo>
                      <a:pt x="167" y="4"/>
                    </a:lnTo>
                    <a:lnTo>
                      <a:pt x="164" y="7"/>
                    </a:lnTo>
                    <a:lnTo>
                      <a:pt x="158" y="7"/>
                    </a:lnTo>
                    <a:lnTo>
                      <a:pt x="155" y="11"/>
                    </a:lnTo>
                    <a:lnTo>
                      <a:pt x="151" y="12"/>
                    </a:lnTo>
                    <a:lnTo>
                      <a:pt x="158" y="25"/>
                    </a:lnTo>
                    <a:lnTo>
                      <a:pt x="158" y="32"/>
                    </a:lnTo>
                    <a:lnTo>
                      <a:pt x="151" y="44"/>
                    </a:lnTo>
                    <a:lnTo>
                      <a:pt x="157" y="47"/>
                    </a:lnTo>
                    <a:lnTo>
                      <a:pt x="157" y="52"/>
                    </a:lnTo>
                    <a:lnTo>
                      <a:pt x="151" y="58"/>
                    </a:lnTo>
                    <a:lnTo>
                      <a:pt x="145" y="58"/>
                    </a:lnTo>
                    <a:lnTo>
                      <a:pt x="139" y="58"/>
                    </a:lnTo>
                    <a:lnTo>
                      <a:pt x="136" y="59"/>
                    </a:lnTo>
                    <a:lnTo>
                      <a:pt x="138" y="63"/>
                    </a:lnTo>
                    <a:lnTo>
                      <a:pt x="141" y="65"/>
                    </a:lnTo>
                    <a:lnTo>
                      <a:pt x="143" y="70"/>
                    </a:lnTo>
                    <a:lnTo>
                      <a:pt x="143" y="73"/>
                    </a:lnTo>
                    <a:lnTo>
                      <a:pt x="138" y="75"/>
                    </a:lnTo>
                    <a:lnTo>
                      <a:pt x="134" y="77"/>
                    </a:lnTo>
                    <a:lnTo>
                      <a:pt x="132" y="77"/>
                    </a:lnTo>
                    <a:lnTo>
                      <a:pt x="132" y="85"/>
                    </a:lnTo>
                    <a:lnTo>
                      <a:pt x="131" y="87"/>
                    </a:lnTo>
                    <a:lnTo>
                      <a:pt x="131" y="91"/>
                    </a:lnTo>
                    <a:lnTo>
                      <a:pt x="129" y="92"/>
                    </a:lnTo>
                    <a:lnTo>
                      <a:pt x="131" y="99"/>
                    </a:lnTo>
                    <a:lnTo>
                      <a:pt x="127" y="105"/>
                    </a:lnTo>
                    <a:lnTo>
                      <a:pt x="125" y="101"/>
                    </a:lnTo>
                    <a:lnTo>
                      <a:pt x="122" y="101"/>
                    </a:lnTo>
                    <a:lnTo>
                      <a:pt x="122" y="103"/>
                    </a:lnTo>
                    <a:lnTo>
                      <a:pt x="118" y="103"/>
                    </a:lnTo>
                    <a:lnTo>
                      <a:pt x="117" y="103"/>
                    </a:lnTo>
                    <a:lnTo>
                      <a:pt x="112" y="103"/>
                    </a:lnTo>
                    <a:lnTo>
                      <a:pt x="112" y="105"/>
                    </a:lnTo>
                    <a:lnTo>
                      <a:pt x="105" y="108"/>
                    </a:lnTo>
                    <a:lnTo>
                      <a:pt x="108" y="110"/>
                    </a:lnTo>
                    <a:lnTo>
                      <a:pt x="105" y="113"/>
                    </a:lnTo>
                    <a:lnTo>
                      <a:pt x="99" y="117"/>
                    </a:lnTo>
                    <a:lnTo>
                      <a:pt x="98" y="113"/>
                    </a:lnTo>
                    <a:lnTo>
                      <a:pt x="94" y="117"/>
                    </a:lnTo>
                    <a:lnTo>
                      <a:pt x="92" y="117"/>
                    </a:lnTo>
                    <a:lnTo>
                      <a:pt x="91" y="120"/>
                    </a:lnTo>
                    <a:lnTo>
                      <a:pt x="87" y="122"/>
                    </a:lnTo>
                    <a:lnTo>
                      <a:pt x="85" y="124"/>
                    </a:lnTo>
                    <a:lnTo>
                      <a:pt x="85" y="129"/>
                    </a:lnTo>
                    <a:lnTo>
                      <a:pt x="87" y="134"/>
                    </a:lnTo>
                    <a:lnTo>
                      <a:pt x="87" y="139"/>
                    </a:lnTo>
                    <a:lnTo>
                      <a:pt x="89" y="141"/>
                    </a:lnTo>
                    <a:lnTo>
                      <a:pt x="87" y="145"/>
                    </a:lnTo>
                    <a:lnTo>
                      <a:pt x="82" y="146"/>
                    </a:lnTo>
                    <a:lnTo>
                      <a:pt x="75" y="146"/>
                    </a:lnTo>
                    <a:lnTo>
                      <a:pt x="70" y="148"/>
                    </a:lnTo>
                    <a:lnTo>
                      <a:pt x="63" y="148"/>
                    </a:lnTo>
                    <a:lnTo>
                      <a:pt x="56" y="150"/>
                    </a:lnTo>
                    <a:lnTo>
                      <a:pt x="54" y="152"/>
                    </a:lnTo>
                    <a:lnTo>
                      <a:pt x="47" y="152"/>
                    </a:lnTo>
                    <a:lnTo>
                      <a:pt x="42" y="153"/>
                    </a:lnTo>
                    <a:lnTo>
                      <a:pt x="23" y="153"/>
                    </a:lnTo>
                    <a:lnTo>
                      <a:pt x="0" y="146"/>
                    </a:lnTo>
                    <a:lnTo>
                      <a:pt x="0" y="146"/>
                    </a:lnTo>
                    <a:lnTo>
                      <a:pt x="9" y="159"/>
                    </a:lnTo>
                    <a:lnTo>
                      <a:pt x="11" y="164"/>
                    </a:lnTo>
                    <a:lnTo>
                      <a:pt x="16" y="167"/>
                    </a:lnTo>
                    <a:lnTo>
                      <a:pt x="19" y="169"/>
                    </a:lnTo>
                    <a:lnTo>
                      <a:pt x="19" y="172"/>
                    </a:lnTo>
                    <a:lnTo>
                      <a:pt x="26" y="172"/>
                    </a:lnTo>
                    <a:lnTo>
                      <a:pt x="30" y="172"/>
                    </a:lnTo>
                    <a:lnTo>
                      <a:pt x="30" y="174"/>
                    </a:lnTo>
                    <a:lnTo>
                      <a:pt x="35" y="176"/>
                    </a:lnTo>
                    <a:lnTo>
                      <a:pt x="35" y="181"/>
                    </a:lnTo>
                    <a:lnTo>
                      <a:pt x="37" y="186"/>
                    </a:lnTo>
                    <a:lnTo>
                      <a:pt x="37" y="192"/>
                    </a:lnTo>
                    <a:lnTo>
                      <a:pt x="37" y="192"/>
                    </a:lnTo>
                    <a:lnTo>
                      <a:pt x="42" y="192"/>
                    </a:lnTo>
                    <a:lnTo>
                      <a:pt x="45" y="195"/>
                    </a:lnTo>
                    <a:lnTo>
                      <a:pt x="45" y="204"/>
                    </a:lnTo>
                    <a:lnTo>
                      <a:pt x="42" y="205"/>
                    </a:lnTo>
                    <a:lnTo>
                      <a:pt x="40" y="204"/>
                    </a:lnTo>
                    <a:lnTo>
                      <a:pt x="32" y="205"/>
                    </a:lnTo>
                    <a:lnTo>
                      <a:pt x="30" y="207"/>
                    </a:lnTo>
                    <a:lnTo>
                      <a:pt x="23" y="209"/>
                    </a:lnTo>
                    <a:lnTo>
                      <a:pt x="23" y="212"/>
                    </a:lnTo>
                    <a:lnTo>
                      <a:pt x="23" y="216"/>
                    </a:lnTo>
                    <a:lnTo>
                      <a:pt x="19" y="219"/>
                    </a:lnTo>
                    <a:lnTo>
                      <a:pt x="23" y="223"/>
                    </a:lnTo>
                    <a:lnTo>
                      <a:pt x="23" y="232"/>
                    </a:lnTo>
                    <a:lnTo>
                      <a:pt x="23" y="232"/>
                    </a:lnTo>
                    <a:lnTo>
                      <a:pt x="23" y="232"/>
                    </a:lnTo>
                    <a:lnTo>
                      <a:pt x="23" y="235"/>
                    </a:lnTo>
                    <a:lnTo>
                      <a:pt x="25" y="235"/>
                    </a:lnTo>
                    <a:lnTo>
                      <a:pt x="30" y="232"/>
                    </a:lnTo>
                    <a:lnTo>
                      <a:pt x="33" y="232"/>
                    </a:lnTo>
                    <a:lnTo>
                      <a:pt x="35" y="233"/>
                    </a:lnTo>
                    <a:lnTo>
                      <a:pt x="35" y="233"/>
                    </a:lnTo>
                    <a:lnTo>
                      <a:pt x="39" y="232"/>
                    </a:lnTo>
                    <a:lnTo>
                      <a:pt x="42" y="232"/>
                    </a:lnTo>
                    <a:lnTo>
                      <a:pt x="42" y="232"/>
                    </a:lnTo>
                    <a:lnTo>
                      <a:pt x="45" y="232"/>
                    </a:lnTo>
                    <a:lnTo>
                      <a:pt x="47" y="232"/>
                    </a:lnTo>
                    <a:lnTo>
                      <a:pt x="49" y="232"/>
                    </a:lnTo>
                    <a:lnTo>
                      <a:pt x="51" y="232"/>
                    </a:lnTo>
                    <a:lnTo>
                      <a:pt x="52" y="228"/>
                    </a:lnTo>
                    <a:lnTo>
                      <a:pt x="56" y="232"/>
                    </a:lnTo>
                    <a:lnTo>
                      <a:pt x="58" y="232"/>
                    </a:lnTo>
                    <a:lnTo>
                      <a:pt x="58" y="228"/>
                    </a:lnTo>
                    <a:lnTo>
                      <a:pt x="59" y="228"/>
                    </a:lnTo>
                    <a:lnTo>
                      <a:pt x="59" y="232"/>
                    </a:lnTo>
                    <a:lnTo>
                      <a:pt x="63" y="232"/>
                    </a:lnTo>
                    <a:lnTo>
                      <a:pt x="65" y="233"/>
                    </a:lnTo>
                    <a:lnTo>
                      <a:pt x="68" y="233"/>
                    </a:lnTo>
                    <a:lnTo>
                      <a:pt x="72" y="228"/>
                    </a:lnTo>
                    <a:lnTo>
                      <a:pt x="77" y="228"/>
                    </a:lnTo>
                    <a:lnTo>
                      <a:pt x="80" y="232"/>
                    </a:lnTo>
                    <a:lnTo>
                      <a:pt x="82" y="228"/>
                    </a:lnTo>
                    <a:lnTo>
                      <a:pt x="85" y="228"/>
                    </a:lnTo>
                    <a:lnTo>
                      <a:pt x="85" y="228"/>
                    </a:lnTo>
                    <a:lnTo>
                      <a:pt x="85" y="228"/>
                    </a:lnTo>
                    <a:lnTo>
                      <a:pt x="91" y="228"/>
                    </a:lnTo>
                    <a:lnTo>
                      <a:pt x="94" y="228"/>
                    </a:lnTo>
                    <a:lnTo>
                      <a:pt x="101" y="228"/>
                    </a:lnTo>
                    <a:lnTo>
                      <a:pt x="105" y="232"/>
                    </a:lnTo>
                    <a:lnTo>
                      <a:pt x="105" y="233"/>
                    </a:lnTo>
                    <a:lnTo>
                      <a:pt x="105" y="237"/>
                    </a:lnTo>
                    <a:lnTo>
                      <a:pt x="105" y="237"/>
                    </a:lnTo>
                    <a:lnTo>
                      <a:pt x="105" y="237"/>
                    </a:lnTo>
                    <a:lnTo>
                      <a:pt x="105" y="239"/>
                    </a:lnTo>
                    <a:lnTo>
                      <a:pt x="108" y="239"/>
                    </a:lnTo>
                    <a:lnTo>
                      <a:pt x="112" y="237"/>
                    </a:lnTo>
                    <a:lnTo>
                      <a:pt x="112" y="240"/>
                    </a:lnTo>
                    <a:lnTo>
                      <a:pt x="115" y="244"/>
                    </a:lnTo>
                    <a:lnTo>
                      <a:pt x="117" y="251"/>
                    </a:lnTo>
                    <a:lnTo>
                      <a:pt x="117" y="251"/>
                    </a:lnTo>
                    <a:lnTo>
                      <a:pt x="117" y="254"/>
                    </a:lnTo>
                    <a:lnTo>
                      <a:pt x="115" y="256"/>
                    </a:lnTo>
                    <a:lnTo>
                      <a:pt x="117" y="256"/>
                    </a:lnTo>
                    <a:lnTo>
                      <a:pt x="118" y="256"/>
                    </a:lnTo>
                    <a:lnTo>
                      <a:pt x="120" y="259"/>
                    </a:lnTo>
                    <a:lnTo>
                      <a:pt x="122" y="259"/>
                    </a:lnTo>
                    <a:lnTo>
                      <a:pt x="125" y="259"/>
                    </a:lnTo>
                    <a:lnTo>
                      <a:pt x="132" y="261"/>
                    </a:lnTo>
                    <a:lnTo>
                      <a:pt x="132" y="263"/>
                    </a:lnTo>
                    <a:lnTo>
                      <a:pt x="136" y="261"/>
                    </a:lnTo>
                    <a:lnTo>
                      <a:pt x="136" y="261"/>
                    </a:lnTo>
                    <a:lnTo>
                      <a:pt x="136" y="26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55"/>
              <p:cNvSpPr>
                <a:spLocks/>
              </p:cNvSpPr>
              <p:nvPr/>
            </p:nvSpPr>
            <p:spPr bwMode="auto">
              <a:xfrm>
                <a:off x="6040438" y="3127376"/>
                <a:ext cx="361950" cy="303213"/>
              </a:xfrm>
              <a:custGeom>
                <a:avLst/>
                <a:gdLst/>
                <a:ahLst/>
                <a:cxnLst>
                  <a:cxn ang="0">
                    <a:pos x="210" y="15"/>
                  </a:cxn>
                  <a:cxn ang="0">
                    <a:pos x="219" y="15"/>
                  </a:cxn>
                  <a:cxn ang="0">
                    <a:pos x="223" y="24"/>
                  </a:cxn>
                  <a:cxn ang="0">
                    <a:pos x="216" y="34"/>
                  </a:cxn>
                  <a:cxn ang="0">
                    <a:pos x="188" y="40"/>
                  </a:cxn>
                  <a:cxn ang="0">
                    <a:pos x="176" y="46"/>
                  </a:cxn>
                  <a:cxn ang="0">
                    <a:pos x="179" y="67"/>
                  </a:cxn>
                  <a:cxn ang="0">
                    <a:pos x="177" y="88"/>
                  </a:cxn>
                  <a:cxn ang="0">
                    <a:pos x="160" y="93"/>
                  </a:cxn>
                  <a:cxn ang="0">
                    <a:pos x="160" y="100"/>
                  </a:cxn>
                  <a:cxn ang="0">
                    <a:pos x="157" y="111"/>
                  </a:cxn>
                  <a:cxn ang="0">
                    <a:pos x="151" y="121"/>
                  </a:cxn>
                  <a:cxn ang="0">
                    <a:pos x="150" y="130"/>
                  </a:cxn>
                  <a:cxn ang="0">
                    <a:pos x="144" y="137"/>
                  </a:cxn>
                  <a:cxn ang="0">
                    <a:pos x="137" y="139"/>
                  </a:cxn>
                  <a:cxn ang="0">
                    <a:pos x="132" y="140"/>
                  </a:cxn>
                  <a:cxn ang="0">
                    <a:pos x="124" y="149"/>
                  </a:cxn>
                  <a:cxn ang="0">
                    <a:pos x="113" y="153"/>
                  </a:cxn>
                  <a:cxn ang="0">
                    <a:pos x="106" y="158"/>
                  </a:cxn>
                  <a:cxn ang="0">
                    <a:pos x="106" y="170"/>
                  </a:cxn>
                  <a:cxn ang="0">
                    <a:pos x="106" y="182"/>
                  </a:cxn>
                  <a:cxn ang="0">
                    <a:pos x="87" y="186"/>
                  </a:cxn>
                  <a:cxn ang="0">
                    <a:pos x="71" y="187"/>
                  </a:cxn>
                  <a:cxn ang="0">
                    <a:pos x="40" y="191"/>
                  </a:cxn>
                  <a:cxn ang="0">
                    <a:pos x="31" y="163"/>
                  </a:cxn>
                  <a:cxn ang="0">
                    <a:pos x="28" y="146"/>
                  </a:cxn>
                  <a:cxn ang="0">
                    <a:pos x="9" y="137"/>
                  </a:cxn>
                  <a:cxn ang="0">
                    <a:pos x="4" y="118"/>
                  </a:cxn>
                  <a:cxn ang="0">
                    <a:pos x="7" y="106"/>
                  </a:cxn>
                  <a:cxn ang="0">
                    <a:pos x="0" y="95"/>
                  </a:cxn>
                  <a:cxn ang="0">
                    <a:pos x="0" y="88"/>
                  </a:cxn>
                  <a:cxn ang="0">
                    <a:pos x="7" y="79"/>
                  </a:cxn>
                  <a:cxn ang="0">
                    <a:pos x="5" y="74"/>
                  </a:cxn>
                  <a:cxn ang="0">
                    <a:pos x="7" y="64"/>
                  </a:cxn>
                  <a:cxn ang="0">
                    <a:pos x="12" y="64"/>
                  </a:cxn>
                  <a:cxn ang="0">
                    <a:pos x="21" y="64"/>
                  </a:cxn>
                  <a:cxn ang="0">
                    <a:pos x="28" y="71"/>
                  </a:cxn>
                  <a:cxn ang="0">
                    <a:pos x="35" y="69"/>
                  </a:cxn>
                  <a:cxn ang="0">
                    <a:pos x="40" y="62"/>
                  </a:cxn>
                  <a:cxn ang="0">
                    <a:pos x="52" y="55"/>
                  </a:cxn>
                  <a:cxn ang="0">
                    <a:pos x="59" y="52"/>
                  </a:cxn>
                  <a:cxn ang="0">
                    <a:pos x="64" y="38"/>
                  </a:cxn>
                  <a:cxn ang="0">
                    <a:pos x="63" y="31"/>
                  </a:cxn>
                  <a:cxn ang="0">
                    <a:pos x="70" y="27"/>
                  </a:cxn>
                  <a:cxn ang="0">
                    <a:pos x="82" y="24"/>
                  </a:cxn>
                  <a:cxn ang="0">
                    <a:pos x="91" y="24"/>
                  </a:cxn>
                  <a:cxn ang="0">
                    <a:pos x="101" y="27"/>
                  </a:cxn>
                  <a:cxn ang="0">
                    <a:pos x="110" y="26"/>
                  </a:cxn>
                  <a:cxn ang="0">
                    <a:pos x="122" y="31"/>
                  </a:cxn>
                  <a:cxn ang="0">
                    <a:pos x="129" y="26"/>
                  </a:cxn>
                  <a:cxn ang="0">
                    <a:pos x="134" y="27"/>
                  </a:cxn>
                  <a:cxn ang="0">
                    <a:pos x="139" y="24"/>
                  </a:cxn>
                  <a:cxn ang="0">
                    <a:pos x="144" y="19"/>
                  </a:cxn>
                  <a:cxn ang="0">
                    <a:pos x="150" y="19"/>
                  </a:cxn>
                  <a:cxn ang="0">
                    <a:pos x="151" y="10"/>
                  </a:cxn>
                  <a:cxn ang="0">
                    <a:pos x="157" y="0"/>
                  </a:cxn>
                  <a:cxn ang="0">
                    <a:pos x="167" y="3"/>
                  </a:cxn>
                  <a:cxn ang="0">
                    <a:pos x="167" y="12"/>
                  </a:cxn>
                  <a:cxn ang="0">
                    <a:pos x="172" y="19"/>
                  </a:cxn>
                  <a:cxn ang="0">
                    <a:pos x="176" y="34"/>
                  </a:cxn>
                  <a:cxn ang="0">
                    <a:pos x="183" y="38"/>
                  </a:cxn>
                  <a:cxn ang="0">
                    <a:pos x="191" y="31"/>
                  </a:cxn>
                  <a:cxn ang="0">
                    <a:pos x="198" y="24"/>
                  </a:cxn>
                </a:cxnLst>
                <a:rect l="0" t="0" r="r" b="b"/>
                <a:pathLst>
                  <a:path w="228" h="191">
                    <a:moveTo>
                      <a:pt x="198" y="24"/>
                    </a:moveTo>
                    <a:lnTo>
                      <a:pt x="205" y="19"/>
                    </a:lnTo>
                    <a:lnTo>
                      <a:pt x="210" y="15"/>
                    </a:lnTo>
                    <a:lnTo>
                      <a:pt x="210" y="20"/>
                    </a:lnTo>
                    <a:lnTo>
                      <a:pt x="219" y="19"/>
                    </a:lnTo>
                    <a:lnTo>
                      <a:pt x="219" y="15"/>
                    </a:lnTo>
                    <a:lnTo>
                      <a:pt x="228" y="15"/>
                    </a:lnTo>
                    <a:lnTo>
                      <a:pt x="228" y="19"/>
                    </a:lnTo>
                    <a:lnTo>
                      <a:pt x="223" y="24"/>
                    </a:lnTo>
                    <a:lnTo>
                      <a:pt x="228" y="24"/>
                    </a:lnTo>
                    <a:lnTo>
                      <a:pt x="221" y="31"/>
                    </a:lnTo>
                    <a:lnTo>
                      <a:pt x="216" y="34"/>
                    </a:lnTo>
                    <a:lnTo>
                      <a:pt x="197" y="38"/>
                    </a:lnTo>
                    <a:lnTo>
                      <a:pt x="193" y="36"/>
                    </a:lnTo>
                    <a:lnTo>
                      <a:pt x="188" y="40"/>
                    </a:lnTo>
                    <a:lnTo>
                      <a:pt x="183" y="43"/>
                    </a:lnTo>
                    <a:lnTo>
                      <a:pt x="179" y="43"/>
                    </a:lnTo>
                    <a:lnTo>
                      <a:pt x="176" y="46"/>
                    </a:lnTo>
                    <a:lnTo>
                      <a:pt x="172" y="48"/>
                    </a:lnTo>
                    <a:lnTo>
                      <a:pt x="179" y="60"/>
                    </a:lnTo>
                    <a:lnTo>
                      <a:pt x="179" y="67"/>
                    </a:lnTo>
                    <a:lnTo>
                      <a:pt x="172" y="79"/>
                    </a:lnTo>
                    <a:lnTo>
                      <a:pt x="177" y="83"/>
                    </a:lnTo>
                    <a:lnTo>
                      <a:pt x="177" y="88"/>
                    </a:lnTo>
                    <a:lnTo>
                      <a:pt x="172" y="93"/>
                    </a:lnTo>
                    <a:lnTo>
                      <a:pt x="165" y="93"/>
                    </a:lnTo>
                    <a:lnTo>
                      <a:pt x="160" y="93"/>
                    </a:lnTo>
                    <a:lnTo>
                      <a:pt x="155" y="95"/>
                    </a:lnTo>
                    <a:lnTo>
                      <a:pt x="157" y="99"/>
                    </a:lnTo>
                    <a:lnTo>
                      <a:pt x="160" y="100"/>
                    </a:lnTo>
                    <a:lnTo>
                      <a:pt x="164" y="106"/>
                    </a:lnTo>
                    <a:lnTo>
                      <a:pt x="164" y="109"/>
                    </a:lnTo>
                    <a:lnTo>
                      <a:pt x="157" y="111"/>
                    </a:lnTo>
                    <a:lnTo>
                      <a:pt x="155" y="113"/>
                    </a:lnTo>
                    <a:lnTo>
                      <a:pt x="151" y="113"/>
                    </a:lnTo>
                    <a:lnTo>
                      <a:pt x="151" y="121"/>
                    </a:lnTo>
                    <a:lnTo>
                      <a:pt x="151" y="123"/>
                    </a:lnTo>
                    <a:lnTo>
                      <a:pt x="151" y="126"/>
                    </a:lnTo>
                    <a:lnTo>
                      <a:pt x="150" y="130"/>
                    </a:lnTo>
                    <a:lnTo>
                      <a:pt x="151" y="135"/>
                    </a:lnTo>
                    <a:lnTo>
                      <a:pt x="148" y="142"/>
                    </a:lnTo>
                    <a:lnTo>
                      <a:pt x="144" y="137"/>
                    </a:lnTo>
                    <a:lnTo>
                      <a:pt x="143" y="137"/>
                    </a:lnTo>
                    <a:lnTo>
                      <a:pt x="143" y="139"/>
                    </a:lnTo>
                    <a:lnTo>
                      <a:pt x="137" y="139"/>
                    </a:lnTo>
                    <a:lnTo>
                      <a:pt x="136" y="139"/>
                    </a:lnTo>
                    <a:lnTo>
                      <a:pt x="132" y="139"/>
                    </a:lnTo>
                    <a:lnTo>
                      <a:pt x="132" y="140"/>
                    </a:lnTo>
                    <a:lnTo>
                      <a:pt x="124" y="146"/>
                    </a:lnTo>
                    <a:lnTo>
                      <a:pt x="127" y="146"/>
                    </a:lnTo>
                    <a:lnTo>
                      <a:pt x="124" y="149"/>
                    </a:lnTo>
                    <a:lnTo>
                      <a:pt x="118" y="153"/>
                    </a:lnTo>
                    <a:lnTo>
                      <a:pt x="117" y="151"/>
                    </a:lnTo>
                    <a:lnTo>
                      <a:pt x="113" y="153"/>
                    </a:lnTo>
                    <a:lnTo>
                      <a:pt x="111" y="154"/>
                    </a:lnTo>
                    <a:lnTo>
                      <a:pt x="110" y="158"/>
                    </a:lnTo>
                    <a:lnTo>
                      <a:pt x="106" y="158"/>
                    </a:lnTo>
                    <a:lnTo>
                      <a:pt x="104" y="159"/>
                    </a:lnTo>
                    <a:lnTo>
                      <a:pt x="104" y="165"/>
                    </a:lnTo>
                    <a:lnTo>
                      <a:pt x="106" y="170"/>
                    </a:lnTo>
                    <a:lnTo>
                      <a:pt x="106" y="175"/>
                    </a:lnTo>
                    <a:lnTo>
                      <a:pt x="108" y="179"/>
                    </a:lnTo>
                    <a:lnTo>
                      <a:pt x="106" y="182"/>
                    </a:lnTo>
                    <a:lnTo>
                      <a:pt x="99" y="182"/>
                    </a:lnTo>
                    <a:lnTo>
                      <a:pt x="92" y="182"/>
                    </a:lnTo>
                    <a:lnTo>
                      <a:pt x="87" y="186"/>
                    </a:lnTo>
                    <a:lnTo>
                      <a:pt x="80" y="186"/>
                    </a:lnTo>
                    <a:lnTo>
                      <a:pt x="73" y="187"/>
                    </a:lnTo>
                    <a:lnTo>
                      <a:pt x="71" y="187"/>
                    </a:lnTo>
                    <a:lnTo>
                      <a:pt x="64" y="187"/>
                    </a:lnTo>
                    <a:lnTo>
                      <a:pt x="59" y="191"/>
                    </a:lnTo>
                    <a:lnTo>
                      <a:pt x="40" y="191"/>
                    </a:lnTo>
                    <a:lnTo>
                      <a:pt x="16" y="182"/>
                    </a:lnTo>
                    <a:lnTo>
                      <a:pt x="30" y="165"/>
                    </a:lnTo>
                    <a:lnTo>
                      <a:pt x="31" y="163"/>
                    </a:lnTo>
                    <a:lnTo>
                      <a:pt x="30" y="158"/>
                    </a:lnTo>
                    <a:lnTo>
                      <a:pt x="30" y="153"/>
                    </a:lnTo>
                    <a:lnTo>
                      <a:pt x="28" y="146"/>
                    </a:lnTo>
                    <a:lnTo>
                      <a:pt x="12" y="146"/>
                    </a:lnTo>
                    <a:lnTo>
                      <a:pt x="12" y="140"/>
                    </a:lnTo>
                    <a:lnTo>
                      <a:pt x="9" y="137"/>
                    </a:lnTo>
                    <a:lnTo>
                      <a:pt x="12" y="133"/>
                    </a:lnTo>
                    <a:lnTo>
                      <a:pt x="7" y="125"/>
                    </a:lnTo>
                    <a:lnTo>
                      <a:pt x="4" y="118"/>
                    </a:lnTo>
                    <a:lnTo>
                      <a:pt x="4" y="113"/>
                    </a:lnTo>
                    <a:lnTo>
                      <a:pt x="9" y="106"/>
                    </a:lnTo>
                    <a:lnTo>
                      <a:pt x="7" y="106"/>
                    </a:lnTo>
                    <a:lnTo>
                      <a:pt x="4" y="104"/>
                    </a:lnTo>
                    <a:lnTo>
                      <a:pt x="4" y="100"/>
                    </a:lnTo>
                    <a:lnTo>
                      <a:pt x="0" y="95"/>
                    </a:lnTo>
                    <a:lnTo>
                      <a:pt x="0" y="93"/>
                    </a:lnTo>
                    <a:lnTo>
                      <a:pt x="4" y="88"/>
                    </a:lnTo>
                    <a:lnTo>
                      <a:pt x="0" y="88"/>
                    </a:lnTo>
                    <a:lnTo>
                      <a:pt x="0" y="85"/>
                    </a:lnTo>
                    <a:lnTo>
                      <a:pt x="4" y="85"/>
                    </a:lnTo>
                    <a:lnTo>
                      <a:pt x="7" y="79"/>
                    </a:lnTo>
                    <a:lnTo>
                      <a:pt x="7" y="79"/>
                    </a:lnTo>
                    <a:lnTo>
                      <a:pt x="7" y="76"/>
                    </a:lnTo>
                    <a:lnTo>
                      <a:pt x="5" y="74"/>
                    </a:lnTo>
                    <a:lnTo>
                      <a:pt x="7" y="73"/>
                    </a:lnTo>
                    <a:lnTo>
                      <a:pt x="5" y="69"/>
                    </a:lnTo>
                    <a:lnTo>
                      <a:pt x="7" y="64"/>
                    </a:lnTo>
                    <a:lnTo>
                      <a:pt x="5" y="64"/>
                    </a:lnTo>
                    <a:lnTo>
                      <a:pt x="7" y="64"/>
                    </a:lnTo>
                    <a:lnTo>
                      <a:pt x="12" y="64"/>
                    </a:lnTo>
                    <a:lnTo>
                      <a:pt x="14" y="67"/>
                    </a:lnTo>
                    <a:lnTo>
                      <a:pt x="18" y="67"/>
                    </a:lnTo>
                    <a:lnTo>
                      <a:pt x="21" y="64"/>
                    </a:lnTo>
                    <a:lnTo>
                      <a:pt x="23" y="64"/>
                    </a:lnTo>
                    <a:lnTo>
                      <a:pt x="28" y="67"/>
                    </a:lnTo>
                    <a:lnTo>
                      <a:pt x="28" y="71"/>
                    </a:lnTo>
                    <a:lnTo>
                      <a:pt x="30" y="73"/>
                    </a:lnTo>
                    <a:lnTo>
                      <a:pt x="31" y="69"/>
                    </a:lnTo>
                    <a:lnTo>
                      <a:pt x="35" y="69"/>
                    </a:lnTo>
                    <a:lnTo>
                      <a:pt x="40" y="66"/>
                    </a:lnTo>
                    <a:lnTo>
                      <a:pt x="40" y="64"/>
                    </a:lnTo>
                    <a:lnTo>
                      <a:pt x="40" y="62"/>
                    </a:lnTo>
                    <a:lnTo>
                      <a:pt x="40" y="59"/>
                    </a:lnTo>
                    <a:lnTo>
                      <a:pt x="45" y="55"/>
                    </a:lnTo>
                    <a:lnTo>
                      <a:pt x="52" y="55"/>
                    </a:lnTo>
                    <a:lnTo>
                      <a:pt x="54" y="53"/>
                    </a:lnTo>
                    <a:lnTo>
                      <a:pt x="56" y="52"/>
                    </a:lnTo>
                    <a:lnTo>
                      <a:pt x="59" y="52"/>
                    </a:lnTo>
                    <a:lnTo>
                      <a:pt x="59" y="46"/>
                    </a:lnTo>
                    <a:lnTo>
                      <a:pt x="59" y="43"/>
                    </a:lnTo>
                    <a:lnTo>
                      <a:pt x="64" y="38"/>
                    </a:lnTo>
                    <a:lnTo>
                      <a:pt x="64" y="34"/>
                    </a:lnTo>
                    <a:lnTo>
                      <a:pt x="63" y="33"/>
                    </a:lnTo>
                    <a:lnTo>
                      <a:pt x="63" y="31"/>
                    </a:lnTo>
                    <a:lnTo>
                      <a:pt x="64" y="29"/>
                    </a:lnTo>
                    <a:lnTo>
                      <a:pt x="64" y="27"/>
                    </a:lnTo>
                    <a:lnTo>
                      <a:pt x="70" y="27"/>
                    </a:lnTo>
                    <a:lnTo>
                      <a:pt x="71" y="27"/>
                    </a:lnTo>
                    <a:lnTo>
                      <a:pt x="77" y="24"/>
                    </a:lnTo>
                    <a:lnTo>
                      <a:pt x="82" y="24"/>
                    </a:lnTo>
                    <a:lnTo>
                      <a:pt x="85" y="24"/>
                    </a:lnTo>
                    <a:lnTo>
                      <a:pt x="87" y="24"/>
                    </a:lnTo>
                    <a:lnTo>
                      <a:pt x="91" y="24"/>
                    </a:lnTo>
                    <a:lnTo>
                      <a:pt x="96" y="24"/>
                    </a:lnTo>
                    <a:lnTo>
                      <a:pt x="99" y="24"/>
                    </a:lnTo>
                    <a:lnTo>
                      <a:pt x="101" y="27"/>
                    </a:lnTo>
                    <a:lnTo>
                      <a:pt x="103" y="27"/>
                    </a:lnTo>
                    <a:lnTo>
                      <a:pt x="106" y="26"/>
                    </a:lnTo>
                    <a:lnTo>
                      <a:pt x="110" y="26"/>
                    </a:lnTo>
                    <a:lnTo>
                      <a:pt x="113" y="31"/>
                    </a:lnTo>
                    <a:lnTo>
                      <a:pt x="117" y="31"/>
                    </a:lnTo>
                    <a:lnTo>
                      <a:pt x="122" y="31"/>
                    </a:lnTo>
                    <a:lnTo>
                      <a:pt x="124" y="27"/>
                    </a:lnTo>
                    <a:lnTo>
                      <a:pt x="127" y="26"/>
                    </a:lnTo>
                    <a:lnTo>
                      <a:pt x="129" y="26"/>
                    </a:lnTo>
                    <a:lnTo>
                      <a:pt x="132" y="24"/>
                    </a:lnTo>
                    <a:lnTo>
                      <a:pt x="132" y="24"/>
                    </a:lnTo>
                    <a:lnTo>
                      <a:pt x="134" y="27"/>
                    </a:lnTo>
                    <a:lnTo>
                      <a:pt x="141" y="27"/>
                    </a:lnTo>
                    <a:lnTo>
                      <a:pt x="141" y="24"/>
                    </a:lnTo>
                    <a:lnTo>
                      <a:pt x="139" y="24"/>
                    </a:lnTo>
                    <a:lnTo>
                      <a:pt x="139" y="20"/>
                    </a:lnTo>
                    <a:lnTo>
                      <a:pt x="143" y="19"/>
                    </a:lnTo>
                    <a:lnTo>
                      <a:pt x="144" y="19"/>
                    </a:lnTo>
                    <a:lnTo>
                      <a:pt x="146" y="19"/>
                    </a:lnTo>
                    <a:lnTo>
                      <a:pt x="146" y="19"/>
                    </a:lnTo>
                    <a:lnTo>
                      <a:pt x="150" y="19"/>
                    </a:lnTo>
                    <a:lnTo>
                      <a:pt x="151" y="15"/>
                    </a:lnTo>
                    <a:lnTo>
                      <a:pt x="151" y="10"/>
                    </a:lnTo>
                    <a:lnTo>
                      <a:pt x="151" y="10"/>
                    </a:lnTo>
                    <a:lnTo>
                      <a:pt x="155" y="6"/>
                    </a:lnTo>
                    <a:lnTo>
                      <a:pt x="155" y="1"/>
                    </a:lnTo>
                    <a:lnTo>
                      <a:pt x="157" y="0"/>
                    </a:lnTo>
                    <a:lnTo>
                      <a:pt x="160" y="0"/>
                    </a:lnTo>
                    <a:lnTo>
                      <a:pt x="164" y="1"/>
                    </a:lnTo>
                    <a:lnTo>
                      <a:pt x="167" y="3"/>
                    </a:lnTo>
                    <a:lnTo>
                      <a:pt x="167" y="5"/>
                    </a:lnTo>
                    <a:lnTo>
                      <a:pt x="167" y="10"/>
                    </a:lnTo>
                    <a:lnTo>
                      <a:pt x="167" y="12"/>
                    </a:lnTo>
                    <a:lnTo>
                      <a:pt x="170" y="12"/>
                    </a:lnTo>
                    <a:lnTo>
                      <a:pt x="172" y="15"/>
                    </a:lnTo>
                    <a:lnTo>
                      <a:pt x="172" y="19"/>
                    </a:lnTo>
                    <a:lnTo>
                      <a:pt x="172" y="24"/>
                    </a:lnTo>
                    <a:lnTo>
                      <a:pt x="172" y="31"/>
                    </a:lnTo>
                    <a:lnTo>
                      <a:pt x="176" y="34"/>
                    </a:lnTo>
                    <a:lnTo>
                      <a:pt x="176" y="36"/>
                    </a:lnTo>
                    <a:lnTo>
                      <a:pt x="179" y="38"/>
                    </a:lnTo>
                    <a:lnTo>
                      <a:pt x="183" y="38"/>
                    </a:lnTo>
                    <a:lnTo>
                      <a:pt x="186" y="34"/>
                    </a:lnTo>
                    <a:lnTo>
                      <a:pt x="186" y="33"/>
                    </a:lnTo>
                    <a:lnTo>
                      <a:pt x="191" y="31"/>
                    </a:lnTo>
                    <a:lnTo>
                      <a:pt x="195" y="27"/>
                    </a:lnTo>
                    <a:lnTo>
                      <a:pt x="195" y="24"/>
                    </a:lnTo>
                    <a:lnTo>
                      <a:pt x="198" y="24"/>
                    </a:lnTo>
                    <a:lnTo>
                      <a:pt x="198" y="24"/>
                    </a:lnTo>
                    <a:lnTo>
                      <a:pt x="198"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3" name="Freeform 56"/>
              <p:cNvSpPr>
                <a:spLocks noEditPoints="1"/>
              </p:cNvSpPr>
              <p:nvPr/>
            </p:nvSpPr>
            <p:spPr bwMode="auto">
              <a:xfrm>
                <a:off x="5599113" y="3032126"/>
                <a:ext cx="146050" cy="125413"/>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57"/>
              <p:cNvSpPr>
                <a:spLocks noEditPoints="1"/>
              </p:cNvSpPr>
              <p:nvPr/>
            </p:nvSpPr>
            <p:spPr bwMode="auto">
              <a:xfrm>
                <a:off x="5599113" y="3032126"/>
                <a:ext cx="146050" cy="125413"/>
              </a:xfrm>
              <a:custGeom>
                <a:avLst/>
                <a:gdLst/>
                <a:ahLst/>
                <a:cxnLst>
                  <a:cxn ang="0">
                    <a:pos x="2" y="14"/>
                  </a:cxn>
                  <a:cxn ang="0">
                    <a:pos x="18" y="18"/>
                  </a:cxn>
                  <a:cxn ang="0">
                    <a:pos x="28" y="21"/>
                  </a:cxn>
                  <a:cxn ang="0">
                    <a:pos x="28" y="11"/>
                  </a:cxn>
                  <a:cxn ang="0">
                    <a:pos x="25" y="0"/>
                  </a:cxn>
                  <a:cxn ang="0">
                    <a:pos x="37" y="9"/>
                  </a:cxn>
                  <a:cxn ang="0">
                    <a:pos x="47" y="13"/>
                  </a:cxn>
                  <a:cxn ang="0">
                    <a:pos x="54" y="9"/>
                  </a:cxn>
                  <a:cxn ang="0">
                    <a:pos x="63" y="4"/>
                  </a:cxn>
                  <a:cxn ang="0">
                    <a:pos x="68" y="13"/>
                  </a:cxn>
                  <a:cxn ang="0">
                    <a:pos x="77" y="23"/>
                  </a:cxn>
                  <a:cxn ang="0">
                    <a:pos x="80" y="28"/>
                  </a:cxn>
                  <a:cxn ang="0">
                    <a:pos x="89" y="30"/>
                  </a:cxn>
                  <a:cxn ang="0">
                    <a:pos x="89" y="33"/>
                  </a:cxn>
                  <a:cxn ang="0">
                    <a:pos x="82" y="33"/>
                  </a:cxn>
                  <a:cxn ang="0">
                    <a:pos x="77" y="46"/>
                  </a:cxn>
                  <a:cxn ang="0">
                    <a:pos x="77" y="51"/>
                  </a:cxn>
                  <a:cxn ang="0">
                    <a:pos x="77" y="54"/>
                  </a:cxn>
                  <a:cxn ang="0">
                    <a:pos x="77" y="60"/>
                  </a:cxn>
                  <a:cxn ang="0">
                    <a:pos x="75" y="68"/>
                  </a:cxn>
                  <a:cxn ang="0">
                    <a:pos x="75" y="61"/>
                  </a:cxn>
                  <a:cxn ang="0">
                    <a:pos x="71" y="61"/>
                  </a:cxn>
                  <a:cxn ang="0">
                    <a:pos x="71" y="68"/>
                  </a:cxn>
                  <a:cxn ang="0">
                    <a:pos x="71" y="70"/>
                  </a:cxn>
                  <a:cxn ang="0">
                    <a:pos x="70" y="79"/>
                  </a:cxn>
                  <a:cxn ang="0">
                    <a:pos x="66" y="75"/>
                  </a:cxn>
                  <a:cxn ang="0">
                    <a:pos x="59" y="70"/>
                  </a:cxn>
                  <a:cxn ang="0">
                    <a:pos x="59" y="63"/>
                  </a:cxn>
                  <a:cxn ang="0">
                    <a:pos x="63" y="60"/>
                  </a:cxn>
                  <a:cxn ang="0">
                    <a:pos x="58" y="54"/>
                  </a:cxn>
                  <a:cxn ang="0">
                    <a:pos x="56" y="53"/>
                  </a:cxn>
                  <a:cxn ang="0">
                    <a:pos x="51" y="54"/>
                  </a:cxn>
                  <a:cxn ang="0">
                    <a:pos x="45" y="60"/>
                  </a:cxn>
                  <a:cxn ang="0">
                    <a:pos x="42" y="65"/>
                  </a:cxn>
                  <a:cxn ang="0">
                    <a:pos x="37" y="66"/>
                  </a:cxn>
                  <a:cxn ang="0">
                    <a:pos x="35" y="70"/>
                  </a:cxn>
                  <a:cxn ang="0">
                    <a:pos x="33" y="68"/>
                  </a:cxn>
                  <a:cxn ang="0">
                    <a:pos x="35" y="63"/>
                  </a:cxn>
                  <a:cxn ang="0">
                    <a:pos x="37" y="58"/>
                  </a:cxn>
                  <a:cxn ang="0">
                    <a:pos x="26" y="53"/>
                  </a:cxn>
                  <a:cxn ang="0">
                    <a:pos x="18" y="42"/>
                  </a:cxn>
                  <a:cxn ang="0">
                    <a:pos x="19" y="39"/>
                  </a:cxn>
                  <a:cxn ang="0">
                    <a:pos x="12" y="28"/>
                  </a:cxn>
                  <a:cxn ang="0">
                    <a:pos x="11" y="21"/>
                  </a:cxn>
                  <a:cxn ang="0">
                    <a:pos x="2" y="18"/>
                  </a:cxn>
                  <a:cxn ang="0">
                    <a:pos x="2" y="18"/>
                  </a:cxn>
                  <a:cxn ang="0">
                    <a:pos x="28" y="70"/>
                  </a:cxn>
                  <a:cxn ang="0">
                    <a:pos x="18" y="56"/>
                  </a:cxn>
                  <a:cxn ang="0">
                    <a:pos x="12" y="51"/>
                  </a:cxn>
                  <a:cxn ang="0">
                    <a:pos x="5" y="47"/>
                  </a:cxn>
                  <a:cxn ang="0">
                    <a:pos x="0" y="51"/>
                  </a:cxn>
                  <a:cxn ang="0">
                    <a:pos x="2" y="51"/>
                  </a:cxn>
                  <a:cxn ang="0">
                    <a:pos x="5" y="53"/>
                  </a:cxn>
                  <a:cxn ang="0">
                    <a:pos x="5" y="60"/>
                  </a:cxn>
                  <a:cxn ang="0">
                    <a:pos x="14" y="66"/>
                  </a:cxn>
                  <a:cxn ang="0">
                    <a:pos x="23" y="70"/>
                  </a:cxn>
                  <a:cxn ang="0">
                    <a:pos x="28" y="70"/>
                  </a:cxn>
                  <a:cxn ang="0">
                    <a:pos x="28" y="70"/>
                  </a:cxn>
                </a:cxnLst>
                <a:rect l="0" t="0" r="r" b="b"/>
                <a:pathLst>
                  <a:path w="92" h="79">
                    <a:moveTo>
                      <a:pt x="2" y="18"/>
                    </a:moveTo>
                    <a:lnTo>
                      <a:pt x="2" y="14"/>
                    </a:lnTo>
                    <a:lnTo>
                      <a:pt x="9" y="11"/>
                    </a:lnTo>
                    <a:lnTo>
                      <a:pt x="18" y="18"/>
                    </a:lnTo>
                    <a:lnTo>
                      <a:pt x="23" y="18"/>
                    </a:lnTo>
                    <a:lnTo>
                      <a:pt x="28" y="21"/>
                    </a:lnTo>
                    <a:lnTo>
                      <a:pt x="30" y="14"/>
                    </a:lnTo>
                    <a:lnTo>
                      <a:pt x="28" y="11"/>
                    </a:lnTo>
                    <a:lnTo>
                      <a:pt x="23" y="9"/>
                    </a:lnTo>
                    <a:lnTo>
                      <a:pt x="25" y="0"/>
                    </a:lnTo>
                    <a:lnTo>
                      <a:pt x="30" y="4"/>
                    </a:lnTo>
                    <a:lnTo>
                      <a:pt x="37" y="9"/>
                    </a:lnTo>
                    <a:lnTo>
                      <a:pt x="40" y="13"/>
                    </a:lnTo>
                    <a:lnTo>
                      <a:pt x="47" y="13"/>
                    </a:lnTo>
                    <a:lnTo>
                      <a:pt x="49" y="11"/>
                    </a:lnTo>
                    <a:lnTo>
                      <a:pt x="54" y="9"/>
                    </a:lnTo>
                    <a:lnTo>
                      <a:pt x="59" y="0"/>
                    </a:lnTo>
                    <a:lnTo>
                      <a:pt x="63" y="4"/>
                    </a:lnTo>
                    <a:lnTo>
                      <a:pt x="68" y="9"/>
                    </a:lnTo>
                    <a:lnTo>
                      <a:pt x="68" y="13"/>
                    </a:lnTo>
                    <a:lnTo>
                      <a:pt x="71" y="18"/>
                    </a:lnTo>
                    <a:lnTo>
                      <a:pt x="77" y="23"/>
                    </a:lnTo>
                    <a:lnTo>
                      <a:pt x="77" y="26"/>
                    </a:lnTo>
                    <a:lnTo>
                      <a:pt x="80" y="28"/>
                    </a:lnTo>
                    <a:lnTo>
                      <a:pt x="84" y="28"/>
                    </a:lnTo>
                    <a:lnTo>
                      <a:pt x="89" y="30"/>
                    </a:lnTo>
                    <a:lnTo>
                      <a:pt x="92" y="33"/>
                    </a:lnTo>
                    <a:lnTo>
                      <a:pt x="89" y="33"/>
                    </a:lnTo>
                    <a:lnTo>
                      <a:pt x="87" y="33"/>
                    </a:lnTo>
                    <a:lnTo>
                      <a:pt x="82" y="33"/>
                    </a:lnTo>
                    <a:lnTo>
                      <a:pt x="77" y="40"/>
                    </a:lnTo>
                    <a:lnTo>
                      <a:pt x="77" y="46"/>
                    </a:lnTo>
                    <a:lnTo>
                      <a:pt x="77" y="47"/>
                    </a:lnTo>
                    <a:lnTo>
                      <a:pt x="77" y="51"/>
                    </a:lnTo>
                    <a:lnTo>
                      <a:pt x="77" y="53"/>
                    </a:lnTo>
                    <a:lnTo>
                      <a:pt x="77" y="54"/>
                    </a:lnTo>
                    <a:lnTo>
                      <a:pt x="77" y="58"/>
                    </a:lnTo>
                    <a:lnTo>
                      <a:pt x="77" y="60"/>
                    </a:lnTo>
                    <a:lnTo>
                      <a:pt x="77" y="65"/>
                    </a:lnTo>
                    <a:lnTo>
                      <a:pt x="75" y="68"/>
                    </a:lnTo>
                    <a:lnTo>
                      <a:pt x="75" y="66"/>
                    </a:lnTo>
                    <a:lnTo>
                      <a:pt x="75" y="61"/>
                    </a:lnTo>
                    <a:lnTo>
                      <a:pt x="73" y="60"/>
                    </a:lnTo>
                    <a:lnTo>
                      <a:pt x="71" y="61"/>
                    </a:lnTo>
                    <a:lnTo>
                      <a:pt x="70" y="63"/>
                    </a:lnTo>
                    <a:lnTo>
                      <a:pt x="71" y="68"/>
                    </a:lnTo>
                    <a:lnTo>
                      <a:pt x="71" y="70"/>
                    </a:lnTo>
                    <a:lnTo>
                      <a:pt x="71" y="70"/>
                    </a:lnTo>
                    <a:lnTo>
                      <a:pt x="71" y="79"/>
                    </a:lnTo>
                    <a:lnTo>
                      <a:pt x="70" y="79"/>
                    </a:lnTo>
                    <a:lnTo>
                      <a:pt x="68" y="79"/>
                    </a:lnTo>
                    <a:lnTo>
                      <a:pt x="66" y="75"/>
                    </a:lnTo>
                    <a:lnTo>
                      <a:pt x="63" y="75"/>
                    </a:lnTo>
                    <a:lnTo>
                      <a:pt x="59" y="70"/>
                    </a:lnTo>
                    <a:lnTo>
                      <a:pt x="63" y="65"/>
                    </a:lnTo>
                    <a:lnTo>
                      <a:pt x="59" y="63"/>
                    </a:lnTo>
                    <a:lnTo>
                      <a:pt x="59" y="61"/>
                    </a:lnTo>
                    <a:lnTo>
                      <a:pt x="63" y="60"/>
                    </a:lnTo>
                    <a:lnTo>
                      <a:pt x="59" y="56"/>
                    </a:lnTo>
                    <a:lnTo>
                      <a:pt x="58" y="54"/>
                    </a:lnTo>
                    <a:lnTo>
                      <a:pt x="56" y="54"/>
                    </a:lnTo>
                    <a:lnTo>
                      <a:pt x="56" y="53"/>
                    </a:lnTo>
                    <a:lnTo>
                      <a:pt x="54" y="53"/>
                    </a:lnTo>
                    <a:lnTo>
                      <a:pt x="51" y="54"/>
                    </a:lnTo>
                    <a:lnTo>
                      <a:pt x="47" y="56"/>
                    </a:lnTo>
                    <a:lnTo>
                      <a:pt x="45" y="60"/>
                    </a:lnTo>
                    <a:lnTo>
                      <a:pt x="45" y="60"/>
                    </a:lnTo>
                    <a:lnTo>
                      <a:pt x="42" y="65"/>
                    </a:lnTo>
                    <a:lnTo>
                      <a:pt x="40" y="65"/>
                    </a:lnTo>
                    <a:lnTo>
                      <a:pt x="37" y="66"/>
                    </a:lnTo>
                    <a:lnTo>
                      <a:pt x="37" y="68"/>
                    </a:lnTo>
                    <a:lnTo>
                      <a:pt x="35" y="70"/>
                    </a:lnTo>
                    <a:lnTo>
                      <a:pt x="33" y="68"/>
                    </a:lnTo>
                    <a:lnTo>
                      <a:pt x="33" y="68"/>
                    </a:lnTo>
                    <a:lnTo>
                      <a:pt x="33" y="65"/>
                    </a:lnTo>
                    <a:lnTo>
                      <a:pt x="35" y="63"/>
                    </a:lnTo>
                    <a:lnTo>
                      <a:pt x="31" y="58"/>
                    </a:lnTo>
                    <a:lnTo>
                      <a:pt x="37" y="58"/>
                    </a:lnTo>
                    <a:lnTo>
                      <a:pt x="31" y="53"/>
                    </a:lnTo>
                    <a:lnTo>
                      <a:pt x="26" y="53"/>
                    </a:lnTo>
                    <a:lnTo>
                      <a:pt x="19" y="51"/>
                    </a:lnTo>
                    <a:lnTo>
                      <a:pt x="18" y="42"/>
                    </a:lnTo>
                    <a:lnTo>
                      <a:pt x="19" y="42"/>
                    </a:lnTo>
                    <a:lnTo>
                      <a:pt x="19" y="39"/>
                    </a:lnTo>
                    <a:lnTo>
                      <a:pt x="12" y="32"/>
                    </a:lnTo>
                    <a:lnTo>
                      <a:pt x="12" y="28"/>
                    </a:lnTo>
                    <a:lnTo>
                      <a:pt x="14" y="25"/>
                    </a:lnTo>
                    <a:lnTo>
                      <a:pt x="11" y="21"/>
                    </a:lnTo>
                    <a:lnTo>
                      <a:pt x="5" y="20"/>
                    </a:lnTo>
                    <a:lnTo>
                      <a:pt x="2" y="18"/>
                    </a:lnTo>
                    <a:lnTo>
                      <a:pt x="2" y="18"/>
                    </a:lnTo>
                    <a:lnTo>
                      <a:pt x="2" y="18"/>
                    </a:lnTo>
                    <a:lnTo>
                      <a:pt x="2" y="18"/>
                    </a:lnTo>
                    <a:close/>
                    <a:moveTo>
                      <a:pt x="28" y="70"/>
                    </a:moveTo>
                    <a:lnTo>
                      <a:pt x="23" y="56"/>
                    </a:lnTo>
                    <a:lnTo>
                      <a:pt x="18" y="56"/>
                    </a:lnTo>
                    <a:lnTo>
                      <a:pt x="14" y="51"/>
                    </a:lnTo>
                    <a:lnTo>
                      <a:pt x="12" y="51"/>
                    </a:lnTo>
                    <a:lnTo>
                      <a:pt x="9" y="51"/>
                    </a:lnTo>
                    <a:lnTo>
                      <a:pt x="5" y="47"/>
                    </a:lnTo>
                    <a:lnTo>
                      <a:pt x="2" y="51"/>
                    </a:lnTo>
                    <a:lnTo>
                      <a:pt x="0" y="51"/>
                    </a:lnTo>
                    <a:lnTo>
                      <a:pt x="2" y="51"/>
                    </a:lnTo>
                    <a:lnTo>
                      <a:pt x="2" y="51"/>
                    </a:lnTo>
                    <a:lnTo>
                      <a:pt x="5" y="53"/>
                    </a:lnTo>
                    <a:lnTo>
                      <a:pt x="5" y="53"/>
                    </a:lnTo>
                    <a:lnTo>
                      <a:pt x="9" y="56"/>
                    </a:lnTo>
                    <a:lnTo>
                      <a:pt x="5" y="60"/>
                    </a:lnTo>
                    <a:lnTo>
                      <a:pt x="14" y="63"/>
                    </a:lnTo>
                    <a:lnTo>
                      <a:pt x="14" y="66"/>
                    </a:lnTo>
                    <a:lnTo>
                      <a:pt x="19" y="68"/>
                    </a:lnTo>
                    <a:lnTo>
                      <a:pt x="23" y="70"/>
                    </a:lnTo>
                    <a:lnTo>
                      <a:pt x="28" y="70"/>
                    </a:lnTo>
                    <a:lnTo>
                      <a:pt x="28" y="70"/>
                    </a:lnTo>
                    <a:lnTo>
                      <a:pt x="28" y="70"/>
                    </a:lnTo>
                    <a:lnTo>
                      <a:pt x="28"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58"/>
              <p:cNvSpPr>
                <a:spLocks/>
              </p:cNvSpPr>
              <p:nvPr/>
            </p:nvSpPr>
            <p:spPr bwMode="auto">
              <a:xfrm>
                <a:off x="5583238" y="3113088"/>
                <a:ext cx="557213" cy="441325"/>
              </a:xfrm>
              <a:custGeom>
                <a:avLst/>
                <a:gdLst/>
                <a:ahLst/>
                <a:cxnLst>
                  <a:cxn ang="0">
                    <a:pos x="17" y="3"/>
                  </a:cxn>
                  <a:cxn ang="0">
                    <a:pos x="33" y="17"/>
                  </a:cxn>
                  <a:cxn ang="0">
                    <a:pos x="45" y="17"/>
                  </a:cxn>
                  <a:cxn ang="0">
                    <a:pos x="54" y="7"/>
                  </a:cxn>
                  <a:cxn ang="0">
                    <a:pos x="66" y="0"/>
                  </a:cxn>
                  <a:cxn ang="0">
                    <a:pos x="69" y="9"/>
                  </a:cxn>
                  <a:cxn ang="0">
                    <a:pos x="78" y="22"/>
                  </a:cxn>
                  <a:cxn ang="0">
                    <a:pos x="85" y="29"/>
                  </a:cxn>
                  <a:cxn ang="0">
                    <a:pos x="92" y="45"/>
                  </a:cxn>
                  <a:cxn ang="0">
                    <a:pos x="109" y="45"/>
                  </a:cxn>
                  <a:cxn ang="0">
                    <a:pos x="135" y="59"/>
                  </a:cxn>
                  <a:cxn ang="0">
                    <a:pos x="174" y="57"/>
                  </a:cxn>
                  <a:cxn ang="0">
                    <a:pos x="182" y="40"/>
                  </a:cxn>
                  <a:cxn ang="0">
                    <a:pos x="205" y="26"/>
                  </a:cxn>
                  <a:cxn ang="0">
                    <a:pos x="222" y="26"/>
                  </a:cxn>
                  <a:cxn ang="0">
                    <a:pos x="248" y="35"/>
                  </a:cxn>
                  <a:cxn ang="0">
                    <a:pos x="264" y="45"/>
                  </a:cxn>
                  <a:cxn ang="0">
                    <a:pos x="293" y="62"/>
                  </a:cxn>
                  <a:cxn ang="0">
                    <a:pos x="293" y="78"/>
                  </a:cxn>
                  <a:cxn ang="0">
                    <a:pos x="295" y="90"/>
                  </a:cxn>
                  <a:cxn ang="0">
                    <a:pos x="288" y="102"/>
                  </a:cxn>
                  <a:cxn ang="0">
                    <a:pos x="297" y="115"/>
                  </a:cxn>
                  <a:cxn ang="0">
                    <a:pos x="297" y="144"/>
                  </a:cxn>
                  <a:cxn ang="0">
                    <a:pos x="318" y="165"/>
                  </a:cxn>
                  <a:cxn ang="0">
                    <a:pos x="314" y="207"/>
                  </a:cxn>
                  <a:cxn ang="0">
                    <a:pos x="333" y="215"/>
                  </a:cxn>
                  <a:cxn ang="0">
                    <a:pos x="340" y="233"/>
                  </a:cxn>
                  <a:cxn ang="0">
                    <a:pos x="347" y="247"/>
                  </a:cxn>
                  <a:cxn ang="0">
                    <a:pos x="326" y="255"/>
                  </a:cxn>
                  <a:cxn ang="0">
                    <a:pos x="326" y="275"/>
                  </a:cxn>
                  <a:cxn ang="0">
                    <a:pos x="311" y="275"/>
                  </a:cxn>
                  <a:cxn ang="0">
                    <a:pos x="304" y="273"/>
                  </a:cxn>
                  <a:cxn ang="0">
                    <a:pos x="278" y="269"/>
                  </a:cxn>
                  <a:cxn ang="0">
                    <a:pos x="260" y="266"/>
                  </a:cxn>
                  <a:cxn ang="0">
                    <a:pos x="245" y="252"/>
                  </a:cxn>
                  <a:cxn ang="0">
                    <a:pos x="238" y="240"/>
                  </a:cxn>
                  <a:cxn ang="0">
                    <a:pos x="220" y="242"/>
                  </a:cxn>
                  <a:cxn ang="0">
                    <a:pos x="194" y="247"/>
                  </a:cxn>
                  <a:cxn ang="0">
                    <a:pos x="179" y="242"/>
                  </a:cxn>
                  <a:cxn ang="0">
                    <a:pos x="167" y="233"/>
                  </a:cxn>
                  <a:cxn ang="0">
                    <a:pos x="149" y="228"/>
                  </a:cxn>
                  <a:cxn ang="0">
                    <a:pos x="134" y="210"/>
                  </a:cxn>
                  <a:cxn ang="0">
                    <a:pos x="132" y="207"/>
                  </a:cxn>
                  <a:cxn ang="0">
                    <a:pos x="120" y="184"/>
                  </a:cxn>
                  <a:cxn ang="0">
                    <a:pos x="107" y="184"/>
                  </a:cxn>
                  <a:cxn ang="0">
                    <a:pos x="104" y="181"/>
                  </a:cxn>
                  <a:cxn ang="0">
                    <a:pos x="101" y="188"/>
                  </a:cxn>
                  <a:cxn ang="0">
                    <a:pos x="90" y="182"/>
                  </a:cxn>
                  <a:cxn ang="0">
                    <a:pos x="81" y="160"/>
                  </a:cxn>
                  <a:cxn ang="0">
                    <a:pos x="69" y="139"/>
                  </a:cxn>
                  <a:cxn ang="0">
                    <a:pos x="47" y="130"/>
                  </a:cxn>
                  <a:cxn ang="0">
                    <a:pos x="45" y="120"/>
                  </a:cxn>
                  <a:cxn ang="0">
                    <a:pos x="38" y="111"/>
                  </a:cxn>
                  <a:cxn ang="0">
                    <a:pos x="41" y="94"/>
                  </a:cxn>
                  <a:cxn ang="0">
                    <a:pos x="45" y="82"/>
                  </a:cxn>
                  <a:cxn ang="0">
                    <a:pos x="47" y="76"/>
                  </a:cxn>
                  <a:cxn ang="0">
                    <a:pos x="28" y="71"/>
                  </a:cxn>
                  <a:cxn ang="0">
                    <a:pos x="22" y="57"/>
                  </a:cxn>
                  <a:cxn ang="0">
                    <a:pos x="15" y="49"/>
                  </a:cxn>
                  <a:cxn ang="0">
                    <a:pos x="10" y="26"/>
                  </a:cxn>
                  <a:cxn ang="0">
                    <a:pos x="3" y="10"/>
                  </a:cxn>
                  <a:cxn ang="0">
                    <a:pos x="10" y="0"/>
                  </a:cxn>
                </a:cxnLst>
                <a:rect l="0" t="0" r="r" b="b"/>
                <a:pathLst>
                  <a:path w="351" h="278">
                    <a:moveTo>
                      <a:pt x="10" y="0"/>
                    </a:moveTo>
                    <a:lnTo>
                      <a:pt x="10" y="0"/>
                    </a:lnTo>
                    <a:lnTo>
                      <a:pt x="14" y="0"/>
                    </a:lnTo>
                    <a:lnTo>
                      <a:pt x="15" y="0"/>
                    </a:lnTo>
                    <a:lnTo>
                      <a:pt x="17" y="3"/>
                    </a:lnTo>
                    <a:lnTo>
                      <a:pt x="15" y="7"/>
                    </a:lnTo>
                    <a:lnTo>
                      <a:pt x="22" y="10"/>
                    </a:lnTo>
                    <a:lnTo>
                      <a:pt x="22" y="14"/>
                    </a:lnTo>
                    <a:lnTo>
                      <a:pt x="28" y="15"/>
                    </a:lnTo>
                    <a:lnTo>
                      <a:pt x="33" y="17"/>
                    </a:lnTo>
                    <a:lnTo>
                      <a:pt x="38" y="17"/>
                    </a:lnTo>
                    <a:lnTo>
                      <a:pt x="38" y="17"/>
                    </a:lnTo>
                    <a:lnTo>
                      <a:pt x="38" y="17"/>
                    </a:lnTo>
                    <a:lnTo>
                      <a:pt x="43" y="15"/>
                    </a:lnTo>
                    <a:lnTo>
                      <a:pt x="45" y="17"/>
                    </a:lnTo>
                    <a:lnTo>
                      <a:pt x="47" y="15"/>
                    </a:lnTo>
                    <a:lnTo>
                      <a:pt x="47" y="14"/>
                    </a:lnTo>
                    <a:lnTo>
                      <a:pt x="50" y="12"/>
                    </a:lnTo>
                    <a:lnTo>
                      <a:pt x="50" y="12"/>
                    </a:lnTo>
                    <a:lnTo>
                      <a:pt x="54" y="7"/>
                    </a:lnTo>
                    <a:lnTo>
                      <a:pt x="55" y="7"/>
                    </a:lnTo>
                    <a:lnTo>
                      <a:pt x="57" y="3"/>
                    </a:lnTo>
                    <a:lnTo>
                      <a:pt x="61" y="3"/>
                    </a:lnTo>
                    <a:lnTo>
                      <a:pt x="64" y="0"/>
                    </a:lnTo>
                    <a:lnTo>
                      <a:pt x="66" y="0"/>
                    </a:lnTo>
                    <a:lnTo>
                      <a:pt x="66" y="3"/>
                    </a:lnTo>
                    <a:lnTo>
                      <a:pt x="68" y="3"/>
                    </a:lnTo>
                    <a:lnTo>
                      <a:pt x="69" y="3"/>
                    </a:lnTo>
                    <a:lnTo>
                      <a:pt x="73" y="7"/>
                    </a:lnTo>
                    <a:lnTo>
                      <a:pt x="69" y="9"/>
                    </a:lnTo>
                    <a:lnTo>
                      <a:pt x="69" y="10"/>
                    </a:lnTo>
                    <a:lnTo>
                      <a:pt x="73" y="12"/>
                    </a:lnTo>
                    <a:lnTo>
                      <a:pt x="69" y="17"/>
                    </a:lnTo>
                    <a:lnTo>
                      <a:pt x="73" y="22"/>
                    </a:lnTo>
                    <a:lnTo>
                      <a:pt x="78" y="22"/>
                    </a:lnTo>
                    <a:lnTo>
                      <a:pt x="78" y="26"/>
                    </a:lnTo>
                    <a:lnTo>
                      <a:pt x="81" y="26"/>
                    </a:lnTo>
                    <a:lnTo>
                      <a:pt x="81" y="26"/>
                    </a:lnTo>
                    <a:lnTo>
                      <a:pt x="81" y="26"/>
                    </a:lnTo>
                    <a:lnTo>
                      <a:pt x="85" y="29"/>
                    </a:lnTo>
                    <a:lnTo>
                      <a:pt x="85" y="35"/>
                    </a:lnTo>
                    <a:lnTo>
                      <a:pt x="85" y="38"/>
                    </a:lnTo>
                    <a:lnTo>
                      <a:pt x="85" y="40"/>
                    </a:lnTo>
                    <a:lnTo>
                      <a:pt x="88" y="40"/>
                    </a:lnTo>
                    <a:lnTo>
                      <a:pt x="92" y="45"/>
                    </a:lnTo>
                    <a:lnTo>
                      <a:pt x="95" y="45"/>
                    </a:lnTo>
                    <a:lnTo>
                      <a:pt x="97" y="45"/>
                    </a:lnTo>
                    <a:lnTo>
                      <a:pt x="104" y="43"/>
                    </a:lnTo>
                    <a:lnTo>
                      <a:pt x="106" y="45"/>
                    </a:lnTo>
                    <a:lnTo>
                      <a:pt x="109" y="45"/>
                    </a:lnTo>
                    <a:lnTo>
                      <a:pt x="109" y="49"/>
                    </a:lnTo>
                    <a:lnTo>
                      <a:pt x="113" y="52"/>
                    </a:lnTo>
                    <a:lnTo>
                      <a:pt x="120" y="55"/>
                    </a:lnTo>
                    <a:lnTo>
                      <a:pt x="123" y="55"/>
                    </a:lnTo>
                    <a:lnTo>
                      <a:pt x="135" y="59"/>
                    </a:lnTo>
                    <a:lnTo>
                      <a:pt x="141" y="59"/>
                    </a:lnTo>
                    <a:lnTo>
                      <a:pt x="151" y="55"/>
                    </a:lnTo>
                    <a:lnTo>
                      <a:pt x="160" y="55"/>
                    </a:lnTo>
                    <a:lnTo>
                      <a:pt x="170" y="55"/>
                    </a:lnTo>
                    <a:lnTo>
                      <a:pt x="174" y="57"/>
                    </a:lnTo>
                    <a:lnTo>
                      <a:pt x="174" y="52"/>
                    </a:lnTo>
                    <a:lnTo>
                      <a:pt x="174" y="49"/>
                    </a:lnTo>
                    <a:lnTo>
                      <a:pt x="172" y="45"/>
                    </a:lnTo>
                    <a:lnTo>
                      <a:pt x="174" y="43"/>
                    </a:lnTo>
                    <a:lnTo>
                      <a:pt x="182" y="40"/>
                    </a:lnTo>
                    <a:lnTo>
                      <a:pt x="184" y="36"/>
                    </a:lnTo>
                    <a:lnTo>
                      <a:pt x="186" y="35"/>
                    </a:lnTo>
                    <a:lnTo>
                      <a:pt x="189" y="35"/>
                    </a:lnTo>
                    <a:lnTo>
                      <a:pt x="196" y="29"/>
                    </a:lnTo>
                    <a:lnTo>
                      <a:pt x="205" y="26"/>
                    </a:lnTo>
                    <a:lnTo>
                      <a:pt x="210" y="29"/>
                    </a:lnTo>
                    <a:lnTo>
                      <a:pt x="210" y="22"/>
                    </a:lnTo>
                    <a:lnTo>
                      <a:pt x="213" y="22"/>
                    </a:lnTo>
                    <a:lnTo>
                      <a:pt x="219" y="26"/>
                    </a:lnTo>
                    <a:lnTo>
                      <a:pt x="222" y="26"/>
                    </a:lnTo>
                    <a:lnTo>
                      <a:pt x="229" y="29"/>
                    </a:lnTo>
                    <a:lnTo>
                      <a:pt x="233" y="31"/>
                    </a:lnTo>
                    <a:lnTo>
                      <a:pt x="243" y="36"/>
                    </a:lnTo>
                    <a:lnTo>
                      <a:pt x="247" y="36"/>
                    </a:lnTo>
                    <a:lnTo>
                      <a:pt x="248" y="35"/>
                    </a:lnTo>
                    <a:lnTo>
                      <a:pt x="255" y="38"/>
                    </a:lnTo>
                    <a:lnTo>
                      <a:pt x="260" y="38"/>
                    </a:lnTo>
                    <a:lnTo>
                      <a:pt x="260" y="43"/>
                    </a:lnTo>
                    <a:lnTo>
                      <a:pt x="260" y="45"/>
                    </a:lnTo>
                    <a:lnTo>
                      <a:pt x="264" y="45"/>
                    </a:lnTo>
                    <a:lnTo>
                      <a:pt x="271" y="45"/>
                    </a:lnTo>
                    <a:lnTo>
                      <a:pt x="280" y="54"/>
                    </a:lnTo>
                    <a:lnTo>
                      <a:pt x="286" y="55"/>
                    </a:lnTo>
                    <a:lnTo>
                      <a:pt x="290" y="57"/>
                    </a:lnTo>
                    <a:lnTo>
                      <a:pt x="293" y="62"/>
                    </a:lnTo>
                    <a:lnTo>
                      <a:pt x="292" y="62"/>
                    </a:lnTo>
                    <a:lnTo>
                      <a:pt x="293" y="68"/>
                    </a:lnTo>
                    <a:lnTo>
                      <a:pt x="293" y="71"/>
                    </a:lnTo>
                    <a:lnTo>
                      <a:pt x="295" y="75"/>
                    </a:lnTo>
                    <a:lnTo>
                      <a:pt x="293" y="78"/>
                    </a:lnTo>
                    <a:lnTo>
                      <a:pt x="295" y="82"/>
                    </a:lnTo>
                    <a:lnTo>
                      <a:pt x="293" y="83"/>
                    </a:lnTo>
                    <a:lnTo>
                      <a:pt x="295" y="85"/>
                    </a:lnTo>
                    <a:lnTo>
                      <a:pt x="295" y="88"/>
                    </a:lnTo>
                    <a:lnTo>
                      <a:pt x="295" y="90"/>
                    </a:lnTo>
                    <a:lnTo>
                      <a:pt x="290" y="94"/>
                    </a:lnTo>
                    <a:lnTo>
                      <a:pt x="286" y="94"/>
                    </a:lnTo>
                    <a:lnTo>
                      <a:pt x="288" y="97"/>
                    </a:lnTo>
                    <a:lnTo>
                      <a:pt x="292" y="97"/>
                    </a:lnTo>
                    <a:lnTo>
                      <a:pt x="288" y="102"/>
                    </a:lnTo>
                    <a:lnTo>
                      <a:pt x="288" y="104"/>
                    </a:lnTo>
                    <a:lnTo>
                      <a:pt x="290" y="108"/>
                    </a:lnTo>
                    <a:lnTo>
                      <a:pt x="290" y="113"/>
                    </a:lnTo>
                    <a:lnTo>
                      <a:pt x="295" y="115"/>
                    </a:lnTo>
                    <a:lnTo>
                      <a:pt x="297" y="115"/>
                    </a:lnTo>
                    <a:lnTo>
                      <a:pt x="292" y="120"/>
                    </a:lnTo>
                    <a:lnTo>
                      <a:pt x="290" y="125"/>
                    </a:lnTo>
                    <a:lnTo>
                      <a:pt x="295" y="134"/>
                    </a:lnTo>
                    <a:lnTo>
                      <a:pt x="299" y="142"/>
                    </a:lnTo>
                    <a:lnTo>
                      <a:pt x="297" y="144"/>
                    </a:lnTo>
                    <a:lnTo>
                      <a:pt x="299" y="148"/>
                    </a:lnTo>
                    <a:lnTo>
                      <a:pt x="299" y="153"/>
                    </a:lnTo>
                    <a:lnTo>
                      <a:pt x="314" y="153"/>
                    </a:lnTo>
                    <a:lnTo>
                      <a:pt x="318" y="160"/>
                    </a:lnTo>
                    <a:lnTo>
                      <a:pt x="318" y="165"/>
                    </a:lnTo>
                    <a:lnTo>
                      <a:pt x="318" y="170"/>
                    </a:lnTo>
                    <a:lnTo>
                      <a:pt x="318" y="172"/>
                    </a:lnTo>
                    <a:lnTo>
                      <a:pt x="304" y="189"/>
                    </a:lnTo>
                    <a:lnTo>
                      <a:pt x="314" y="202"/>
                    </a:lnTo>
                    <a:lnTo>
                      <a:pt x="314" y="207"/>
                    </a:lnTo>
                    <a:lnTo>
                      <a:pt x="319" y="210"/>
                    </a:lnTo>
                    <a:lnTo>
                      <a:pt x="323" y="212"/>
                    </a:lnTo>
                    <a:lnTo>
                      <a:pt x="325" y="214"/>
                    </a:lnTo>
                    <a:lnTo>
                      <a:pt x="332" y="215"/>
                    </a:lnTo>
                    <a:lnTo>
                      <a:pt x="333" y="215"/>
                    </a:lnTo>
                    <a:lnTo>
                      <a:pt x="333" y="217"/>
                    </a:lnTo>
                    <a:lnTo>
                      <a:pt x="340" y="219"/>
                    </a:lnTo>
                    <a:lnTo>
                      <a:pt x="340" y="224"/>
                    </a:lnTo>
                    <a:lnTo>
                      <a:pt x="340" y="229"/>
                    </a:lnTo>
                    <a:lnTo>
                      <a:pt x="340" y="233"/>
                    </a:lnTo>
                    <a:lnTo>
                      <a:pt x="340" y="235"/>
                    </a:lnTo>
                    <a:lnTo>
                      <a:pt x="346" y="235"/>
                    </a:lnTo>
                    <a:lnTo>
                      <a:pt x="351" y="238"/>
                    </a:lnTo>
                    <a:lnTo>
                      <a:pt x="351" y="245"/>
                    </a:lnTo>
                    <a:lnTo>
                      <a:pt x="347" y="247"/>
                    </a:lnTo>
                    <a:lnTo>
                      <a:pt x="346" y="247"/>
                    </a:lnTo>
                    <a:lnTo>
                      <a:pt x="337" y="247"/>
                    </a:lnTo>
                    <a:lnTo>
                      <a:pt x="333" y="250"/>
                    </a:lnTo>
                    <a:lnTo>
                      <a:pt x="328" y="252"/>
                    </a:lnTo>
                    <a:lnTo>
                      <a:pt x="326" y="255"/>
                    </a:lnTo>
                    <a:lnTo>
                      <a:pt x="328" y="257"/>
                    </a:lnTo>
                    <a:lnTo>
                      <a:pt x="325" y="261"/>
                    </a:lnTo>
                    <a:lnTo>
                      <a:pt x="326" y="266"/>
                    </a:lnTo>
                    <a:lnTo>
                      <a:pt x="326" y="273"/>
                    </a:lnTo>
                    <a:lnTo>
                      <a:pt x="326" y="275"/>
                    </a:lnTo>
                    <a:lnTo>
                      <a:pt x="325" y="275"/>
                    </a:lnTo>
                    <a:lnTo>
                      <a:pt x="325" y="275"/>
                    </a:lnTo>
                    <a:lnTo>
                      <a:pt x="321" y="278"/>
                    </a:lnTo>
                    <a:lnTo>
                      <a:pt x="318" y="275"/>
                    </a:lnTo>
                    <a:lnTo>
                      <a:pt x="311" y="275"/>
                    </a:lnTo>
                    <a:lnTo>
                      <a:pt x="311" y="269"/>
                    </a:lnTo>
                    <a:lnTo>
                      <a:pt x="309" y="269"/>
                    </a:lnTo>
                    <a:lnTo>
                      <a:pt x="306" y="275"/>
                    </a:lnTo>
                    <a:lnTo>
                      <a:pt x="306" y="275"/>
                    </a:lnTo>
                    <a:lnTo>
                      <a:pt x="304" y="273"/>
                    </a:lnTo>
                    <a:lnTo>
                      <a:pt x="302" y="273"/>
                    </a:lnTo>
                    <a:lnTo>
                      <a:pt x="299" y="273"/>
                    </a:lnTo>
                    <a:lnTo>
                      <a:pt x="292" y="273"/>
                    </a:lnTo>
                    <a:lnTo>
                      <a:pt x="286" y="269"/>
                    </a:lnTo>
                    <a:lnTo>
                      <a:pt x="278" y="269"/>
                    </a:lnTo>
                    <a:lnTo>
                      <a:pt x="273" y="266"/>
                    </a:lnTo>
                    <a:lnTo>
                      <a:pt x="271" y="266"/>
                    </a:lnTo>
                    <a:lnTo>
                      <a:pt x="267" y="269"/>
                    </a:lnTo>
                    <a:lnTo>
                      <a:pt x="264" y="266"/>
                    </a:lnTo>
                    <a:lnTo>
                      <a:pt x="260" y="266"/>
                    </a:lnTo>
                    <a:lnTo>
                      <a:pt x="252" y="268"/>
                    </a:lnTo>
                    <a:lnTo>
                      <a:pt x="250" y="264"/>
                    </a:lnTo>
                    <a:lnTo>
                      <a:pt x="248" y="264"/>
                    </a:lnTo>
                    <a:lnTo>
                      <a:pt x="248" y="259"/>
                    </a:lnTo>
                    <a:lnTo>
                      <a:pt x="245" y="252"/>
                    </a:lnTo>
                    <a:lnTo>
                      <a:pt x="243" y="247"/>
                    </a:lnTo>
                    <a:lnTo>
                      <a:pt x="240" y="242"/>
                    </a:lnTo>
                    <a:lnTo>
                      <a:pt x="240" y="240"/>
                    </a:lnTo>
                    <a:lnTo>
                      <a:pt x="238" y="240"/>
                    </a:lnTo>
                    <a:lnTo>
                      <a:pt x="238" y="240"/>
                    </a:lnTo>
                    <a:lnTo>
                      <a:pt x="233" y="238"/>
                    </a:lnTo>
                    <a:lnTo>
                      <a:pt x="229" y="240"/>
                    </a:lnTo>
                    <a:lnTo>
                      <a:pt x="224" y="243"/>
                    </a:lnTo>
                    <a:lnTo>
                      <a:pt x="220" y="243"/>
                    </a:lnTo>
                    <a:lnTo>
                      <a:pt x="220" y="242"/>
                    </a:lnTo>
                    <a:lnTo>
                      <a:pt x="220" y="243"/>
                    </a:lnTo>
                    <a:lnTo>
                      <a:pt x="213" y="247"/>
                    </a:lnTo>
                    <a:lnTo>
                      <a:pt x="207" y="252"/>
                    </a:lnTo>
                    <a:lnTo>
                      <a:pt x="201" y="247"/>
                    </a:lnTo>
                    <a:lnTo>
                      <a:pt x="194" y="247"/>
                    </a:lnTo>
                    <a:lnTo>
                      <a:pt x="191" y="247"/>
                    </a:lnTo>
                    <a:lnTo>
                      <a:pt x="189" y="247"/>
                    </a:lnTo>
                    <a:lnTo>
                      <a:pt x="182" y="243"/>
                    </a:lnTo>
                    <a:lnTo>
                      <a:pt x="179" y="243"/>
                    </a:lnTo>
                    <a:lnTo>
                      <a:pt x="179" y="242"/>
                    </a:lnTo>
                    <a:lnTo>
                      <a:pt x="174" y="240"/>
                    </a:lnTo>
                    <a:lnTo>
                      <a:pt x="168" y="235"/>
                    </a:lnTo>
                    <a:lnTo>
                      <a:pt x="170" y="233"/>
                    </a:lnTo>
                    <a:lnTo>
                      <a:pt x="170" y="233"/>
                    </a:lnTo>
                    <a:lnTo>
                      <a:pt x="167" y="233"/>
                    </a:lnTo>
                    <a:lnTo>
                      <a:pt x="167" y="229"/>
                    </a:lnTo>
                    <a:lnTo>
                      <a:pt x="160" y="229"/>
                    </a:lnTo>
                    <a:lnTo>
                      <a:pt x="160" y="229"/>
                    </a:lnTo>
                    <a:lnTo>
                      <a:pt x="154" y="228"/>
                    </a:lnTo>
                    <a:lnTo>
                      <a:pt x="149" y="228"/>
                    </a:lnTo>
                    <a:lnTo>
                      <a:pt x="146" y="226"/>
                    </a:lnTo>
                    <a:lnTo>
                      <a:pt x="139" y="214"/>
                    </a:lnTo>
                    <a:lnTo>
                      <a:pt x="139" y="210"/>
                    </a:lnTo>
                    <a:lnTo>
                      <a:pt x="137" y="210"/>
                    </a:lnTo>
                    <a:lnTo>
                      <a:pt x="134" y="210"/>
                    </a:lnTo>
                    <a:lnTo>
                      <a:pt x="135" y="207"/>
                    </a:lnTo>
                    <a:lnTo>
                      <a:pt x="135" y="210"/>
                    </a:lnTo>
                    <a:lnTo>
                      <a:pt x="137" y="210"/>
                    </a:lnTo>
                    <a:lnTo>
                      <a:pt x="135" y="207"/>
                    </a:lnTo>
                    <a:lnTo>
                      <a:pt x="132" y="207"/>
                    </a:lnTo>
                    <a:lnTo>
                      <a:pt x="132" y="205"/>
                    </a:lnTo>
                    <a:lnTo>
                      <a:pt x="132" y="200"/>
                    </a:lnTo>
                    <a:lnTo>
                      <a:pt x="123" y="193"/>
                    </a:lnTo>
                    <a:lnTo>
                      <a:pt x="123" y="189"/>
                    </a:lnTo>
                    <a:lnTo>
                      <a:pt x="120" y="184"/>
                    </a:lnTo>
                    <a:lnTo>
                      <a:pt x="120" y="184"/>
                    </a:lnTo>
                    <a:lnTo>
                      <a:pt x="113" y="188"/>
                    </a:lnTo>
                    <a:lnTo>
                      <a:pt x="111" y="188"/>
                    </a:lnTo>
                    <a:lnTo>
                      <a:pt x="109" y="184"/>
                    </a:lnTo>
                    <a:lnTo>
                      <a:pt x="107" y="184"/>
                    </a:lnTo>
                    <a:lnTo>
                      <a:pt x="104" y="184"/>
                    </a:lnTo>
                    <a:lnTo>
                      <a:pt x="104" y="182"/>
                    </a:lnTo>
                    <a:lnTo>
                      <a:pt x="106" y="181"/>
                    </a:lnTo>
                    <a:lnTo>
                      <a:pt x="104" y="181"/>
                    </a:lnTo>
                    <a:lnTo>
                      <a:pt x="104" y="181"/>
                    </a:lnTo>
                    <a:lnTo>
                      <a:pt x="101" y="181"/>
                    </a:lnTo>
                    <a:lnTo>
                      <a:pt x="104" y="182"/>
                    </a:lnTo>
                    <a:lnTo>
                      <a:pt x="104" y="184"/>
                    </a:lnTo>
                    <a:lnTo>
                      <a:pt x="101" y="188"/>
                    </a:lnTo>
                    <a:lnTo>
                      <a:pt x="101" y="188"/>
                    </a:lnTo>
                    <a:lnTo>
                      <a:pt x="97" y="184"/>
                    </a:lnTo>
                    <a:lnTo>
                      <a:pt x="97" y="184"/>
                    </a:lnTo>
                    <a:lnTo>
                      <a:pt x="95" y="184"/>
                    </a:lnTo>
                    <a:lnTo>
                      <a:pt x="94" y="184"/>
                    </a:lnTo>
                    <a:lnTo>
                      <a:pt x="90" y="182"/>
                    </a:lnTo>
                    <a:lnTo>
                      <a:pt x="87" y="179"/>
                    </a:lnTo>
                    <a:lnTo>
                      <a:pt x="87" y="168"/>
                    </a:lnTo>
                    <a:lnTo>
                      <a:pt x="81" y="168"/>
                    </a:lnTo>
                    <a:lnTo>
                      <a:pt x="78" y="165"/>
                    </a:lnTo>
                    <a:lnTo>
                      <a:pt x="81" y="160"/>
                    </a:lnTo>
                    <a:lnTo>
                      <a:pt x="83" y="156"/>
                    </a:lnTo>
                    <a:lnTo>
                      <a:pt x="81" y="148"/>
                    </a:lnTo>
                    <a:lnTo>
                      <a:pt x="78" y="146"/>
                    </a:lnTo>
                    <a:lnTo>
                      <a:pt x="73" y="142"/>
                    </a:lnTo>
                    <a:lnTo>
                      <a:pt x="69" y="139"/>
                    </a:lnTo>
                    <a:lnTo>
                      <a:pt x="69" y="139"/>
                    </a:lnTo>
                    <a:lnTo>
                      <a:pt x="57" y="130"/>
                    </a:lnTo>
                    <a:lnTo>
                      <a:pt x="54" y="130"/>
                    </a:lnTo>
                    <a:lnTo>
                      <a:pt x="52" y="134"/>
                    </a:lnTo>
                    <a:lnTo>
                      <a:pt x="47" y="130"/>
                    </a:lnTo>
                    <a:lnTo>
                      <a:pt x="50" y="128"/>
                    </a:lnTo>
                    <a:lnTo>
                      <a:pt x="47" y="127"/>
                    </a:lnTo>
                    <a:lnTo>
                      <a:pt x="50" y="123"/>
                    </a:lnTo>
                    <a:lnTo>
                      <a:pt x="47" y="120"/>
                    </a:lnTo>
                    <a:lnTo>
                      <a:pt x="45" y="120"/>
                    </a:lnTo>
                    <a:lnTo>
                      <a:pt x="41" y="116"/>
                    </a:lnTo>
                    <a:lnTo>
                      <a:pt x="40" y="116"/>
                    </a:lnTo>
                    <a:lnTo>
                      <a:pt x="38" y="116"/>
                    </a:lnTo>
                    <a:lnTo>
                      <a:pt x="38" y="113"/>
                    </a:lnTo>
                    <a:lnTo>
                      <a:pt x="38" y="111"/>
                    </a:lnTo>
                    <a:lnTo>
                      <a:pt x="38" y="108"/>
                    </a:lnTo>
                    <a:lnTo>
                      <a:pt x="38" y="108"/>
                    </a:lnTo>
                    <a:lnTo>
                      <a:pt x="38" y="101"/>
                    </a:lnTo>
                    <a:lnTo>
                      <a:pt x="41" y="99"/>
                    </a:lnTo>
                    <a:lnTo>
                      <a:pt x="41" y="94"/>
                    </a:lnTo>
                    <a:lnTo>
                      <a:pt x="43" y="94"/>
                    </a:lnTo>
                    <a:lnTo>
                      <a:pt x="47" y="94"/>
                    </a:lnTo>
                    <a:lnTo>
                      <a:pt x="47" y="85"/>
                    </a:lnTo>
                    <a:lnTo>
                      <a:pt x="45" y="85"/>
                    </a:lnTo>
                    <a:lnTo>
                      <a:pt x="45" y="82"/>
                    </a:lnTo>
                    <a:lnTo>
                      <a:pt x="47" y="82"/>
                    </a:lnTo>
                    <a:lnTo>
                      <a:pt x="50" y="80"/>
                    </a:lnTo>
                    <a:lnTo>
                      <a:pt x="50" y="80"/>
                    </a:lnTo>
                    <a:lnTo>
                      <a:pt x="50" y="78"/>
                    </a:lnTo>
                    <a:lnTo>
                      <a:pt x="47" y="76"/>
                    </a:lnTo>
                    <a:lnTo>
                      <a:pt x="43" y="78"/>
                    </a:lnTo>
                    <a:lnTo>
                      <a:pt x="40" y="76"/>
                    </a:lnTo>
                    <a:lnTo>
                      <a:pt x="35" y="75"/>
                    </a:lnTo>
                    <a:lnTo>
                      <a:pt x="31" y="75"/>
                    </a:lnTo>
                    <a:lnTo>
                      <a:pt x="28" y="71"/>
                    </a:lnTo>
                    <a:lnTo>
                      <a:pt x="28" y="68"/>
                    </a:lnTo>
                    <a:lnTo>
                      <a:pt x="24" y="66"/>
                    </a:lnTo>
                    <a:lnTo>
                      <a:pt x="22" y="62"/>
                    </a:lnTo>
                    <a:lnTo>
                      <a:pt x="22" y="61"/>
                    </a:lnTo>
                    <a:lnTo>
                      <a:pt x="22" y="57"/>
                    </a:lnTo>
                    <a:lnTo>
                      <a:pt x="19" y="54"/>
                    </a:lnTo>
                    <a:lnTo>
                      <a:pt x="17" y="54"/>
                    </a:lnTo>
                    <a:lnTo>
                      <a:pt x="17" y="54"/>
                    </a:lnTo>
                    <a:lnTo>
                      <a:pt x="17" y="52"/>
                    </a:lnTo>
                    <a:lnTo>
                      <a:pt x="15" y="49"/>
                    </a:lnTo>
                    <a:lnTo>
                      <a:pt x="12" y="40"/>
                    </a:lnTo>
                    <a:lnTo>
                      <a:pt x="7" y="38"/>
                    </a:lnTo>
                    <a:lnTo>
                      <a:pt x="7" y="36"/>
                    </a:lnTo>
                    <a:lnTo>
                      <a:pt x="7" y="31"/>
                    </a:lnTo>
                    <a:lnTo>
                      <a:pt x="10" y="26"/>
                    </a:lnTo>
                    <a:lnTo>
                      <a:pt x="8" y="26"/>
                    </a:lnTo>
                    <a:lnTo>
                      <a:pt x="3" y="22"/>
                    </a:lnTo>
                    <a:lnTo>
                      <a:pt x="3" y="21"/>
                    </a:lnTo>
                    <a:lnTo>
                      <a:pt x="5" y="17"/>
                    </a:lnTo>
                    <a:lnTo>
                      <a:pt x="3" y="10"/>
                    </a:lnTo>
                    <a:lnTo>
                      <a:pt x="2" y="7"/>
                    </a:lnTo>
                    <a:lnTo>
                      <a:pt x="0" y="5"/>
                    </a:lnTo>
                    <a:lnTo>
                      <a:pt x="5" y="3"/>
                    </a:lnTo>
                    <a:lnTo>
                      <a:pt x="7" y="0"/>
                    </a:lnTo>
                    <a:lnTo>
                      <a:pt x="10" y="0"/>
                    </a:lnTo>
                    <a:lnTo>
                      <a:pt x="10" y="0"/>
                    </a:lnTo>
                    <a:lnTo>
                      <a:pt x="10" y="0"/>
                    </a:lnTo>
                    <a:lnTo>
                      <a:pt x="10"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6" name="Freeform 59"/>
              <p:cNvSpPr>
                <a:spLocks/>
              </p:cNvSpPr>
              <p:nvPr/>
            </p:nvSpPr>
            <p:spPr bwMode="auto">
              <a:xfrm>
                <a:off x="5561013" y="3057526"/>
                <a:ext cx="98425" cy="85725"/>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7" name="Freeform 60"/>
              <p:cNvSpPr>
                <a:spLocks/>
              </p:cNvSpPr>
              <p:nvPr/>
            </p:nvSpPr>
            <p:spPr bwMode="auto">
              <a:xfrm>
                <a:off x="5561013" y="3057526"/>
                <a:ext cx="98425" cy="85725"/>
              </a:xfrm>
              <a:custGeom>
                <a:avLst/>
                <a:gdLst/>
                <a:ahLst/>
                <a:cxnLst>
                  <a:cxn ang="0">
                    <a:pos x="0" y="2"/>
                  </a:cxn>
                  <a:cxn ang="0">
                    <a:pos x="5" y="2"/>
                  </a:cxn>
                  <a:cxn ang="0">
                    <a:pos x="14" y="0"/>
                  </a:cxn>
                  <a:cxn ang="0">
                    <a:pos x="16" y="0"/>
                  </a:cxn>
                  <a:cxn ang="0">
                    <a:pos x="26" y="0"/>
                  </a:cxn>
                  <a:cxn ang="0">
                    <a:pos x="29" y="2"/>
                  </a:cxn>
                  <a:cxn ang="0">
                    <a:pos x="36" y="5"/>
                  </a:cxn>
                  <a:cxn ang="0">
                    <a:pos x="40" y="7"/>
                  </a:cxn>
                  <a:cxn ang="0">
                    <a:pos x="38" y="10"/>
                  </a:cxn>
                  <a:cxn ang="0">
                    <a:pos x="38" y="16"/>
                  </a:cxn>
                  <a:cxn ang="0">
                    <a:pos x="45" y="21"/>
                  </a:cxn>
                  <a:cxn ang="0">
                    <a:pos x="45" y="24"/>
                  </a:cxn>
                  <a:cxn ang="0">
                    <a:pos x="43" y="26"/>
                  </a:cxn>
                  <a:cxn ang="0">
                    <a:pos x="45" y="33"/>
                  </a:cxn>
                  <a:cxn ang="0">
                    <a:pos x="54" y="37"/>
                  </a:cxn>
                  <a:cxn ang="0">
                    <a:pos x="59" y="37"/>
                  </a:cxn>
                  <a:cxn ang="0">
                    <a:pos x="62" y="42"/>
                  </a:cxn>
                  <a:cxn ang="0">
                    <a:pos x="59" y="42"/>
                  </a:cxn>
                  <a:cxn ang="0">
                    <a:pos x="62" y="47"/>
                  </a:cxn>
                  <a:cxn ang="0">
                    <a:pos x="59" y="49"/>
                  </a:cxn>
                  <a:cxn ang="0">
                    <a:pos x="59" y="52"/>
                  </a:cxn>
                  <a:cxn ang="0">
                    <a:pos x="54" y="54"/>
                  </a:cxn>
                  <a:cxn ang="0">
                    <a:pos x="49" y="40"/>
                  </a:cxn>
                  <a:cxn ang="0">
                    <a:pos x="43" y="40"/>
                  </a:cxn>
                  <a:cxn ang="0">
                    <a:pos x="40" y="33"/>
                  </a:cxn>
                  <a:cxn ang="0">
                    <a:pos x="38" y="33"/>
                  </a:cxn>
                  <a:cxn ang="0">
                    <a:pos x="35" y="35"/>
                  </a:cxn>
                  <a:cxn ang="0">
                    <a:pos x="31" y="31"/>
                  </a:cxn>
                  <a:cxn ang="0">
                    <a:pos x="28" y="33"/>
                  </a:cxn>
                  <a:cxn ang="0">
                    <a:pos x="26" y="33"/>
                  </a:cxn>
                  <a:cxn ang="0">
                    <a:pos x="22" y="31"/>
                  </a:cxn>
                  <a:cxn ang="0">
                    <a:pos x="22" y="28"/>
                  </a:cxn>
                  <a:cxn ang="0">
                    <a:pos x="17" y="28"/>
                  </a:cxn>
                  <a:cxn ang="0">
                    <a:pos x="12" y="28"/>
                  </a:cxn>
                  <a:cxn ang="0">
                    <a:pos x="7" y="24"/>
                  </a:cxn>
                  <a:cxn ang="0">
                    <a:pos x="7" y="17"/>
                  </a:cxn>
                  <a:cxn ang="0">
                    <a:pos x="9" y="12"/>
                  </a:cxn>
                  <a:cxn ang="0">
                    <a:pos x="7" y="7"/>
                  </a:cxn>
                  <a:cxn ang="0">
                    <a:pos x="3" y="7"/>
                  </a:cxn>
                  <a:cxn ang="0">
                    <a:pos x="3" y="5"/>
                  </a:cxn>
                  <a:cxn ang="0">
                    <a:pos x="0" y="2"/>
                  </a:cxn>
                  <a:cxn ang="0">
                    <a:pos x="0" y="2"/>
                  </a:cxn>
                  <a:cxn ang="0">
                    <a:pos x="0" y="2"/>
                  </a:cxn>
                </a:cxnLst>
                <a:rect l="0" t="0" r="r" b="b"/>
                <a:pathLst>
                  <a:path w="62" h="54">
                    <a:moveTo>
                      <a:pt x="0" y="2"/>
                    </a:moveTo>
                    <a:lnTo>
                      <a:pt x="5" y="2"/>
                    </a:lnTo>
                    <a:lnTo>
                      <a:pt x="14" y="0"/>
                    </a:lnTo>
                    <a:lnTo>
                      <a:pt x="16" y="0"/>
                    </a:lnTo>
                    <a:lnTo>
                      <a:pt x="26" y="0"/>
                    </a:lnTo>
                    <a:lnTo>
                      <a:pt x="29" y="2"/>
                    </a:lnTo>
                    <a:lnTo>
                      <a:pt x="36" y="5"/>
                    </a:lnTo>
                    <a:lnTo>
                      <a:pt x="40" y="7"/>
                    </a:lnTo>
                    <a:lnTo>
                      <a:pt x="38" y="10"/>
                    </a:lnTo>
                    <a:lnTo>
                      <a:pt x="38" y="16"/>
                    </a:lnTo>
                    <a:lnTo>
                      <a:pt x="45" y="21"/>
                    </a:lnTo>
                    <a:lnTo>
                      <a:pt x="45" y="24"/>
                    </a:lnTo>
                    <a:lnTo>
                      <a:pt x="43" y="26"/>
                    </a:lnTo>
                    <a:lnTo>
                      <a:pt x="45" y="33"/>
                    </a:lnTo>
                    <a:lnTo>
                      <a:pt x="54" y="37"/>
                    </a:lnTo>
                    <a:lnTo>
                      <a:pt x="59" y="37"/>
                    </a:lnTo>
                    <a:lnTo>
                      <a:pt x="62" y="42"/>
                    </a:lnTo>
                    <a:lnTo>
                      <a:pt x="59" y="42"/>
                    </a:lnTo>
                    <a:lnTo>
                      <a:pt x="62" y="47"/>
                    </a:lnTo>
                    <a:lnTo>
                      <a:pt x="59" y="49"/>
                    </a:lnTo>
                    <a:lnTo>
                      <a:pt x="59" y="52"/>
                    </a:lnTo>
                    <a:lnTo>
                      <a:pt x="54" y="54"/>
                    </a:lnTo>
                    <a:lnTo>
                      <a:pt x="49" y="40"/>
                    </a:lnTo>
                    <a:lnTo>
                      <a:pt x="43" y="40"/>
                    </a:lnTo>
                    <a:lnTo>
                      <a:pt x="40" y="33"/>
                    </a:lnTo>
                    <a:lnTo>
                      <a:pt x="38" y="33"/>
                    </a:lnTo>
                    <a:lnTo>
                      <a:pt x="35" y="35"/>
                    </a:lnTo>
                    <a:lnTo>
                      <a:pt x="31" y="31"/>
                    </a:lnTo>
                    <a:lnTo>
                      <a:pt x="28" y="33"/>
                    </a:lnTo>
                    <a:lnTo>
                      <a:pt x="26" y="33"/>
                    </a:lnTo>
                    <a:lnTo>
                      <a:pt x="22" y="31"/>
                    </a:lnTo>
                    <a:lnTo>
                      <a:pt x="22" y="28"/>
                    </a:lnTo>
                    <a:lnTo>
                      <a:pt x="17" y="28"/>
                    </a:lnTo>
                    <a:lnTo>
                      <a:pt x="12" y="28"/>
                    </a:lnTo>
                    <a:lnTo>
                      <a:pt x="7" y="24"/>
                    </a:lnTo>
                    <a:lnTo>
                      <a:pt x="7" y="17"/>
                    </a:lnTo>
                    <a:lnTo>
                      <a:pt x="9" y="12"/>
                    </a:lnTo>
                    <a:lnTo>
                      <a:pt x="7" y="7"/>
                    </a:lnTo>
                    <a:lnTo>
                      <a:pt x="3" y="7"/>
                    </a:lnTo>
                    <a:lnTo>
                      <a:pt x="3" y="5"/>
                    </a:lnTo>
                    <a:lnTo>
                      <a:pt x="0" y="2"/>
                    </a:lnTo>
                    <a:lnTo>
                      <a:pt x="0" y="2"/>
                    </a:lnTo>
                    <a:lnTo>
                      <a:pt x="0"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8" name="Freeform 61"/>
              <p:cNvSpPr>
                <a:spLocks noEditPoints="1"/>
              </p:cNvSpPr>
              <p:nvPr/>
            </p:nvSpPr>
            <p:spPr bwMode="auto">
              <a:xfrm>
                <a:off x="5111750" y="3032126"/>
                <a:ext cx="504825" cy="201613"/>
              </a:xfrm>
              <a:custGeom>
                <a:avLst/>
                <a:gdLst/>
                <a:ahLst/>
                <a:cxnLst>
                  <a:cxn ang="0">
                    <a:pos x="15" y="14"/>
                  </a:cxn>
                  <a:cxn ang="0">
                    <a:pos x="24" y="2"/>
                  </a:cxn>
                  <a:cxn ang="0">
                    <a:pos x="45" y="16"/>
                  </a:cxn>
                  <a:cxn ang="0">
                    <a:pos x="43" y="25"/>
                  </a:cxn>
                  <a:cxn ang="0">
                    <a:pos x="17" y="37"/>
                  </a:cxn>
                  <a:cxn ang="0">
                    <a:pos x="14" y="33"/>
                  </a:cxn>
                  <a:cxn ang="0">
                    <a:pos x="5" y="28"/>
                  </a:cxn>
                  <a:cxn ang="0">
                    <a:pos x="248" y="16"/>
                  </a:cxn>
                  <a:cxn ang="0">
                    <a:pos x="224" y="20"/>
                  </a:cxn>
                  <a:cxn ang="0">
                    <a:pos x="199" y="25"/>
                  </a:cxn>
                  <a:cxn ang="0">
                    <a:pos x="173" y="14"/>
                  </a:cxn>
                  <a:cxn ang="0">
                    <a:pos x="163" y="6"/>
                  </a:cxn>
                  <a:cxn ang="0">
                    <a:pos x="147" y="0"/>
                  </a:cxn>
                  <a:cxn ang="0">
                    <a:pos x="120" y="4"/>
                  </a:cxn>
                  <a:cxn ang="0">
                    <a:pos x="95" y="16"/>
                  </a:cxn>
                  <a:cxn ang="0">
                    <a:pos x="74" y="20"/>
                  </a:cxn>
                  <a:cxn ang="0">
                    <a:pos x="55" y="21"/>
                  </a:cxn>
                  <a:cxn ang="0">
                    <a:pos x="59" y="32"/>
                  </a:cxn>
                  <a:cxn ang="0">
                    <a:pos x="52" y="40"/>
                  </a:cxn>
                  <a:cxn ang="0">
                    <a:pos x="29" y="42"/>
                  </a:cxn>
                  <a:cxn ang="0">
                    <a:pos x="8" y="49"/>
                  </a:cxn>
                  <a:cxn ang="0">
                    <a:pos x="17" y="58"/>
                  </a:cxn>
                  <a:cxn ang="0">
                    <a:pos x="22" y="66"/>
                  </a:cxn>
                  <a:cxn ang="0">
                    <a:pos x="20" y="75"/>
                  </a:cxn>
                  <a:cxn ang="0">
                    <a:pos x="15" y="75"/>
                  </a:cxn>
                  <a:cxn ang="0">
                    <a:pos x="17" y="87"/>
                  </a:cxn>
                  <a:cxn ang="0">
                    <a:pos x="27" y="98"/>
                  </a:cxn>
                  <a:cxn ang="0">
                    <a:pos x="29" y="108"/>
                  </a:cxn>
                  <a:cxn ang="0">
                    <a:pos x="41" y="113"/>
                  </a:cxn>
                  <a:cxn ang="0">
                    <a:pos x="40" y="115"/>
                  </a:cxn>
                  <a:cxn ang="0">
                    <a:pos x="50" y="113"/>
                  </a:cxn>
                  <a:cxn ang="0">
                    <a:pos x="60" y="117"/>
                  </a:cxn>
                  <a:cxn ang="0">
                    <a:pos x="69" y="126"/>
                  </a:cxn>
                  <a:cxn ang="0">
                    <a:pos x="87" y="120"/>
                  </a:cxn>
                  <a:cxn ang="0">
                    <a:pos x="109" y="117"/>
                  </a:cxn>
                  <a:cxn ang="0">
                    <a:pos x="142" y="124"/>
                  </a:cxn>
                  <a:cxn ang="0">
                    <a:pos x="161" y="113"/>
                  </a:cxn>
                  <a:cxn ang="0">
                    <a:pos x="179" y="113"/>
                  </a:cxn>
                  <a:cxn ang="0">
                    <a:pos x="179" y="127"/>
                  </a:cxn>
                  <a:cxn ang="0">
                    <a:pos x="189" y="112"/>
                  </a:cxn>
                  <a:cxn ang="0">
                    <a:pos x="219" y="108"/>
                  </a:cxn>
                  <a:cxn ang="0">
                    <a:pos x="241" y="108"/>
                  </a:cxn>
                  <a:cxn ang="0">
                    <a:pos x="272" y="101"/>
                  </a:cxn>
                  <a:cxn ang="0">
                    <a:pos x="297" y="98"/>
                  </a:cxn>
                  <a:cxn ang="0">
                    <a:pos x="318" y="103"/>
                  </a:cxn>
                  <a:cxn ang="0">
                    <a:pos x="305" y="80"/>
                  </a:cxn>
                  <a:cxn ang="0">
                    <a:pos x="304" y="60"/>
                  </a:cxn>
                  <a:cxn ang="0">
                    <a:pos x="305" y="44"/>
                  </a:cxn>
                  <a:cxn ang="0">
                    <a:pos x="292" y="26"/>
                  </a:cxn>
                  <a:cxn ang="0">
                    <a:pos x="274" y="11"/>
                  </a:cxn>
                  <a:cxn ang="0">
                    <a:pos x="259" y="11"/>
                  </a:cxn>
                  <a:cxn ang="0">
                    <a:pos x="38" y="117"/>
                  </a:cxn>
                  <a:cxn ang="0">
                    <a:pos x="38" y="117"/>
                  </a:cxn>
                  <a:cxn ang="0">
                    <a:pos x="7" y="40"/>
                  </a:cxn>
                  <a:cxn ang="0">
                    <a:pos x="0" y="42"/>
                  </a:cxn>
                </a:cxnLst>
                <a:rect l="0" t="0" r="r" b="b"/>
                <a:pathLst>
                  <a:path w="318" h="127">
                    <a:moveTo>
                      <a:pt x="5" y="28"/>
                    </a:moveTo>
                    <a:lnTo>
                      <a:pt x="8" y="28"/>
                    </a:lnTo>
                    <a:lnTo>
                      <a:pt x="10" y="25"/>
                    </a:lnTo>
                    <a:lnTo>
                      <a:pt x="10" y="20"/>
                    </a:lnTo>
                    <a:lnTo>
                      <a:pt x="15" y="16"/>
                    </a:lnTo>
                    <a:lnTo>
                      <a:pt x="15" y="14"/>
                    </a:lnTo>
                    <a:lnTo>
                      <a:pt x="12" y="13"/>
                    </a:lnTo>
                    <a:lnTo>
                      <a:pt x="12" y="7"/>
                    </a:lnTo>
                    <a:lnTo>
                      <a:pt x="15" y="4"/>
                    </a:lnTo>
                    <a:lnTo>
                      <a:pt x="19" y="4"/>
                    </a:lnTo>
                    <a:lnTo>
                      <a:pt x="20" y="2"/>
                    </a:lnTo>
                    <a:lnTo>
                      <a:pt x="24" y="2"/>
                    </a:lnTo>
                    <a:lnTo>
                      <a:pt x="29" y="6"/>
                    </a:lnTo>
                    <a:lnTo>
                      <a:pt x="31" y="4"/>
                    </a:lnTo>
                    <a:lnTo>
                      <a:pt x="34" y="4"/>
                    </a:lnTo>
                    <a:lnTo>
                      <a:pt x="36" y="11"/>
                    </a:lnTo>
                    <a:lnTo>
                      <a:pt x="41" y="16"/>
                    </a:lnTo>
                    <a:lnTo>
                      <a:pt x="45" y="16"/>
                    </a:lnTo>
                    <a:lnTo>
                      <a:pt x="50" y="20"/>
                    </a:lnTo>
                    <a:lnTo>
                      <a:pt x="52" y="21"/>
                    </a:lnTo>
                    <a:lnTo>
                      <a:pt x="52" y="25"/>
                    </a:lnTo>
                    <a:lnTo>
                      <a:pt x="50" y="26"/>
                    </a:lnTo>
                    <a:lnTo>
                      <a:pt x="45" y="26"/>
                    </a:lnTo>
                    <a:lnTo>
                      <a:pt x="43" y="25"/>
                    </a:lnTo>
                    <a:lnTo>
                      <a:pt x="40" y="25"/>
                    </a:lnTo>
                    <a:lnTo>
                      <a:pt x="38" y="26"/>
                    </a:lnTo>
                    <a:lnTo>
                      <a:pt x="31" y="26"/>
                    </a:lnTo>
                    <a:lnTo>
                      <a:pt x="27" y="28"/>
                    </a:lnTo>
                    <a:lnTo>
                      <a:pt x="27" y="32"/>
                    </a:lnTo>
                    <a:lnTo>
                      <a:pt x="17" y="37"/>
                    </a:lnTo>
                    <a:lnTo>
                      <a:pt x="10" y="44"/>
                    </a:lnTo>
                    <a:lnTo>
                      <a:pt x="10" y="40"/>
                    </a:lnTo>
                    <a:lnTo>
                      <a:pt x="12" y="35"/>
                    </a:lnTo>
                    <a:lnTo>
                      <a:pt x="14" y="35"/>
                    </a:lnTo>
                    <a:lnTo>
                      <a:pt x="17" y="33"/>
                    </a:lnTo>
                    <a:lnTo>
                      <a:pt x="14" y="33"/>
                    </a:lnTo>
                    <a:lnTo>
                      <a:pt x="12" y="33"/>
                    </a:lnTo>
                    <a:lnTo>
                      <a:pt x="10" y="33"/>
                    </a:lnTo>
                    <a:lnTo>
                      <a:pt x="7" y="32"/>
                    </a:lnTo>
                    <a:lnTo>
                      <a:pt x="5" y="28"/>
                    </a:lnTo>
                    <a:lnTo>
                      <a:pt x="5" y="28"/>
                    </a:lnTo>
                    <a:lnTo>
                      <a:pt x="5" y="28"/>
                    </a:lnTo>
                    <a:lnTo>
                      <a:pt x="5" y="28"/>
                    </a:lnTo>
                    <a:lnTo>
                      <a:pt x="5" y="28"/>
                    </a:lnTo>
                    <a:close/>
                    <a:moveTo>
                      <a:pt x="255" y="7"/>
                    </a:moveTo>
                    <a:lnTo>
                      <a:pt x="255" y="9"/>
                    </a:lnTo>
                    <a:lnTo>
                      <a:pt x="253" y="14"/>
                    </a:lnTo>
                    <a:lnTo>
                      <a:pt x="248" y="16"/>
                    </a:lnTo>
                    <a:lnTo>
                      <a:pt x="243" y="20"/>
                    </a:lnTo>
                    <a:lnTo>
                      <a:pt x="241" y="21"/>
                    </a:lnTo>
                    <a:lnTo>
                      <a:pt x="236" y="21"/>
                    </a:lnTo>
                    <a:lnTo>
                      <a:pt x="232" y="25"/>
                    </a:lnTo>
                    <a:lnTo>
                      <a:pt x="227" y="21"/>
                    </a:lnTo>
                    <a:lnTo>
                      <a:pt x="224" y="20"/>
                    </a:lnTo>
                    <a:lnTo>
                      <a:pt x="222" y="20"/>
                    </a:lnTo>
                    <a:lnTo>
                      <a:pt x="222" y="20"/>
                    </a:lnTo>
                    <a:lnTo>
                      <a:pt x="219" y="20"/>
                    </a:lnTo>
                    <a:lnTo>
                      <a:pt x="213" y="21"/>
                    </a:lnTo>
                    <a:lnTo>
                      <a:pt x="205" y="25"/>
                    </a:lnTo>
                    <a:lnTo>
                      <a:pt x="199" y="25"/>
                    </a:lnTo>
                    <a:lnTo>
                      <a:pt x="196" y="20"/>
                    </a:lnTo>
                    <a:lnTo>
                      <a:pt x="193" y="21"/>
                    </a:lnTo>
                    <a:lnTo>
                      <a:pt x="186" y="20"/>
                    </a:lnTo>
                    <a:lnTo>
                      <a:pt x="182" y="20"/>
                    </a:lnTo>
                    <a:lnTo>
                      <a:pt x="179" y="14"/>
                    </a:lnTo>
                    <a:lnTo>
                      <a:pt x="173" y="14"/>
                    </a:lnTo>
                    <a:lnTo>
                      <a:pt x="173" y="16"/>
                    </a:lnTo>
                    <a:lnTo>
                      <a:pt x="172" y="16"/>
                    </a:lnTo>
                    <a:lnTo>
                      <a:pt x="168" y="13"/>
                    </a:lnTo>
                    <a:lnTo>
                      <a:pt x="166" y="7"/>
                    </a:lnTo>
                    <a:lnTo>
                      <a:pt x="165" y="6"/>
                    </a:lnTo>
                    <a:lnTo>
                      <a:pt x="163" y="6"/>
                    </a:lnTo>
                    <a:lnTo>
                      <a:pt x="159" y="11"/>
                    </a:lnTo>
                    <a:lnTo>
                      <a:pt x="156" y="9"/>
                    </a:lnTo>
                    <a:lnTo>
                      <a:pt x="154" y="11"/>
                    </a:lnTo>
                    <a:lnTo>
                      <a:pt x="149" y="4"/>
                    </a:lnTo>
                    <a:lnTo>
                      <a:pt x="149" y="0"/>
                    </a:lnTo>
                    <a:lnTo>
                      <a:pt x="147" y="0"/>
                    </a:lnTo>
                    <a:lnTo>
                      <a:pt x="144" y="2"/>
                    </a:lnTo>
                    <a:lnTo>
                      <a:pt x="139" y="2"/>
                    </a:lnTo>
                    <a:lnTo>
                      <a:pt x="135" y="2"/>
                    </a:lnTo>
                    <a:lnTo>
                      <a:pt x="132" y="2"/>
                    </a:lnTo>
                    <a:lnTo>
                      <a:pt x="125" y="2"/>
                    </a:lnTo>
                    <a:lnTo>
                      <a:pt x="120" y="4"/>
                    </a:lnTo>
                    <a:lnTo>
                      <a:pt x="111" y="7"/>
                    </a:lnTo>
                    <a:lnTo>
                      <a:pt x="109" y="7"/>
                    </a:lnTo>
                    <a:lnTo>
                      <a:pt x="100" y="9"/>
                    </a:lnTo>
                    <a:lnTo>
                      <a:pt x="100" y="11"/>
                    </a:lnTo>
                    <a:lnTo>
                      <a:pt x="97" y="13"/>
                    </a:lnTo>
                    <a:lnTo>
                      <a:pt x="95" y="16"/>
                    </a:lnTo>
                    <a:lnTo>
                      <a:pt x="93" y="16"/>
                    </a:lnTo>
                    <a:lnTo>
                      <a:pt x="92" y="20"/>
                    </a:lnTo>
                    <a:lnTo>
                      <a:pt x="90" y="20"/>
                    </a:lnTo>
                    <a:lnTo>
                      <a:pt x="90" y="21"/>
                    </a:lnTo>
                    <a:lnTo>
                      <a:pt x="83" y="25"/>
                    </a:lnTo>
                    <a:lnTo>
                      <a:pt x="74" y="20"/>
                    </a:lnTo>
                    <a:lnTo>
                      <a:pt x="73" y="20"/>
                    </a:lnTo>
                    <a:lnTo>
                      <a:pt x="69" y="20"/>
                    </a:lnTo>
                    <a:lnTo>
                      <a:pt x="66" y="20"/>
                    </a:lnTo>
                    <a:lnTo>
                      <a:pt x="60" y="21"/>
                    </a:lnTo>
                    <a:lnTo>
                      <a:pt x="59" y="20"/>
                    </a:lnTo>
                    <a:lnTo>
                      <a:pt x="55" y="21"/>
                    </a:lnTo>
                    <a:lnTo>
                      <a:pt x="55" y="25"/>
                    </a:lnTo>
                    <a:lnTo>
                      <a:pt x="55" y="30"/>
                    </a:lnTo>
                    <a:lnTo>
                      <a:pt x="60" y="30"/>
                    </a:lnTo>
                    <a:lnTo>
                      <a:pt x="66" y="30"/>
                    </a:lnTo>
                    <a:lnTo>
                      <a:pt x="64" y="32"/>
                    </a:lnTo>
                    <a:lnTo>
                      <a:pt x="59" y="32"/>
                    </a:lnTo>
                    <a:lnTo>
                      <a:pt x="50" y="33"/>
                    </a:lnTo>
                    <a:lnTo>
                      <a:pt x="50" y="37"/>
                    </a:lnTo>
                    <a:lnTo>
                      <a:pt x="50" y="39"/>
                    </a:lnTo>
                    <a:lnTo>
                      <a:pt x="55" y="37"/>
                    </a:lnTo>
                    <a:lnTo>
                      <a:pt x="55" y="40"/>
                    </a:lnTo>
                    <a:lnTo>
                      <a:pt x="52" y="40"/>
                    </a:lnTo>
                    <a:lnTo>
                      <a:pt x="45" y="40"/>
                    </a:lnTo>
                    <a:lnTo>
                      <a:pt x="41" y="39"/>
                    </a:lnTo>
                    <a:lnTo>
                      <a:pt x="38" y="40"/>
                    </a:lnTo>
                    <a:lnTo>
                      <a:pt x="34" y="39"/>
                    </a:lnTo>
                    <a:lnTo>
                      <a:pt x="33" y="39"/>
                    </a:lnTo>
                    <a:lnTo>
                      <a:pt x="29" y="42"/>
                    </a:lnTo>
                    <a:lnTo>
                      <a:pt x="27" y="42"/>
                    </a:lnTo>
                    <a:lnTo>
                      <a:pt x="24" y="39"/>
                    </a:lnTo>
                    <a:lnTo>
                      <a:pt x="20" y="39"/>
                    </a:lnTo>
                    <a:lnTo>
                      <a:pt x="12" y="44"/>
                    </a:lnTo>
                    <a:lnTo>
                      <a:pt x="10" y="47"/>
                    </a:lnTo>
                    <a:lnTo>
                      <a:pt x="8" y="49"/>
                    </a:lnTo>
                    <a:lnTo>
                      <a:pt x="10" y="51"/>
                    </a:lnTo>
                    <a:lnTo>
                      <a:pt x="10" y="54"/>
                    </a:lnTo>
                    <a:lnTo>
                      <a:pt x="8" y="56"/>
                    </a:lnTo>
                    <a:lnTo>
                      <a:pt x="10" y="60"/>
                    </a:lnTo>
                    <a:lnTo>
                      <a:pt x="15" y="58"/>
                    </a:lnTo>
                    <a:lnTo>
                      <a:pt x="17" y="58"/>
                    </a:lnTo>
                    <a:lnTo>
                      <a:pt x="20" y="56"/>
                    </a:lnTo>
                    <a:lnTo>
                      <a:pt x="24" y="58"/>
                    </a:lnTo>
                    <a:lnTo>
                      <a:pt x="20" y="61"/>
                    </a:lnTo>
                    <a:lnTo>
                      <a:pt x="20" y="63"/>
                    </a:lnTo>
                    <a:lnTo>
                      <a:pt x="22" y="66"/>
                    </a:lnTo>
                    <a:lnTo>
                      <a:pt x="22" y="66"/>
                    </a:lnTo>
                    <a:lnTo>
                      <a:pt x="22" y="70"/>
                    </a:lnTo>
                    <a:lnTo>
                      <a:pt x="22" y="70"/>
                    </a:lnTo>
                    <a:lnTo>
                      <a:pt x="24" y="70"/>
                    </a:lnTo>
                    <a:lnTo>
                      <a:pt x="27" y="70"/>
                    </a:lnTo>
                    <a:lnTo>
                      <a:pt x="24" y="72"/>
                    </a:lnTo>
                    <a:lnTo>
                      <a:pt x="20" y="75"/>
                    </a:lnTo>
                    <a:lnTo>
                      <a:pt x="22" y="75"/>
                    </a:lnTo>
                    <a:lnTo>
                      <a:pt x="24" y="75"/>
                    </a:lnTo>
                    <a:lnTo>
                      <a:pt x="22" y="79"/>
                    </a:lnTo>
                    <a:lnTo>
                      <a:pt x="20" y="80"/>
                    </a:lnTo>
                    <a:lnTo>
                      <a:pt x="19" y="80"/>
                    </a:lnTo>
                    <a:lnTo>
                      <a:pt x="15" y="75"/>
                    </a:lnTo>
                    <a:lnTo>
                      <a:pt x="15" y="75"/>
                    </a:lnTo>
                    <a:lnTo>
                      <a:pt x="14" y="79"/>
                    </a:lnTo>
                    <a:lnTo>
                      <a:pt x="15" y="82"/>
                    </a:lnTo>
                    <a:lnTo>
                      <a:pt x="14" y="84"/>
                    </a:lnTo>
                    <a:lnTo>
                      <a:pt x="14" y="86"/>
                    </a:lnTo>
                    <a:lnTo>
                      <a:pt x="17" y="87"/>
                    </a:lnTo>
                    <a:lnTo>
                      <a:pt x="19" y="86"/>
                    </a:lnTo>
                    <a:lnTo>
                      <a:pt x="22" y="89"/>
                    </a:lnTo>
                    <a:lnTo>
                      <a:pt x="24" y="89"/>
                    </a:lnTo>
                    <a:lnTo>
                      <a:pt x="27" y="89"/>
                    </a:lnTo>
                    <a:lnTo>
                      <a:pt x="27" y="94"/>
                    </a:lnTo>
                    <a:lnTo>
                      <a:pt x="27" y="98"/>
                    </a:lnTo>
                    <a:lnTo>
                      <a:pt x="27" y="101"/>
                    </a:lnTo>
                    <a:lnTo>
                      <a:pt x="27" y="101"/>
                    </a:lnTo>
                    <a:lnTo>
                      <a:pt x="29" y="101"/>
                    </a:lnTo>
                    <a:lnTo>
                      <a:pt x="34" y="105"/>
                    </a:lnTo>
                    <a:lnTo>
                      <a:pt x="33" y="108"/>
                    </a:lnTo>
                    <a:lnTo>
                      <a:pt x="29" y="108"/>
                    </a:lnTo>
                    <a:lnTo>
                      <a:pt x="29" y="110"/>
                    </a:lnTo>
                    <a:lnTo>
                      <a:pt x="31" y="110"/>
                    </a:lnTo>
                    <a:lnTo>
                      <a:pt x="36" y="110"/>
                    </a:lnTo>
                    <a:lnTo>
                      <a:pt x="45" y="110"/>
                    </a:lnTo>
                    <a:lnTo>
                      <a:pt x="45" y="110"/>
                    </a:lnTo>
                    <a:lnTo>
                      <a:pt x="41" y="113"/>
                    </a:lnTo>
                    <a:lnTo>
                      <a:pt x="38" y="115"/>
                    </a:lnTo>
                    <a:lnTo>
                      <a:pt x="33" y="113"/>
                    </a:lnTo>
                    <a:lnTo>
                      <a:pt x="31" y="117"/>
                    </a:lnTo>
                    <a:lnTo>
                      <a:pt x="33" y="117"/>
                    </a:lnTo>
                    <a:lnTo>
                      <a:pt x="36" y="115"/>
                    </a:lnTo>
                    <a:lnTo>
                      <a:pt x="40" y="115"/>
                    </a:lnTo>
                    <a:lnTo>
                      <a:pt x="41" y="115"/>
                    </a:lnTo>
                    <a:lnTo>
                      <a:pt x="41" y="117"/>
                    </a:lnTo>
                    <a:lnTo>
                      <a:pt x="43" y="117"/>
                    </a:lnTo>
                    <a:lnTo>
                      <a:pt x="45" y="115"/>
                    </a:lnTo>
                    <a:lnTo>
                      <a:pt x="47" y="113"/>
                    </a:lnTo>
                    <a:lnTo>
                      <a:pt x="50" y="113"/>
                    </a:lnTo>
                    <a:lnTo>
                      <a:pt x="50" y="115"/>
                    </a:lnTo>
                    <a:lnTo>
                      <a:pt x="55" y="115"/>
                    </a:lnTo>
                    <a:lnTo>
                      <a:pt x="59" y="117"/>
                    </a:lnTo>
                    <a:lnTo>
                      <a:pt x="59" y="115"/>
                    </a:lnTo>
                    <a:lnTo>
                      <a:pt x="60" y="115"/>
                    </a:lnTo>
                    <a:lnTo>
                      <a:pt x="60" y="117"/>
                    </a:lnTo>
                    <a:lnTo>
                      <a:pt x="59" y="117"/>
                    </a:lnTo>
                    <a:lnTo>
                      <a:pt x="60" y="120"/>
                    </a:lnTo>
                    <a:lnTo>
                      <a:pt x="60" y="120"/>
                    </a:lnTo>
                    <a:lnTo>
                      <a:pt x="64" y="124"/>
                    </a:lnTo>
                    <a:lnTo>
                      <a:pt x="66" y="124"/>
                    </a:lnTo>
                    <a:lnTo>
                      <a:pt x="69" y="126"/>
                    </a:lnTo>
                    <a:lnTo>
                      <a:pt x="74" y="124"/>
                    </a:lnTo>
                    <a:lnTo>
                      <a:pt x="74" y="124"/>
                    </a:lnTo>
                    <a:lnTo>
                      <a:pt x="78" y="124"/>
                    </a:lnTo>
                    <a:lnTo>
                      <a:pt x="81" y="120"/>
                    </a:lnTo>
                    <a:lnTo>
                      <a:pt x="83" y="124"/>
                    </a:lnTo>
                    <a:lnTo>
                      <a:pt x="87" y="120"/>
                    </a:lnTo>
                    <a:lnTo>
                      <a:pt x="85" y="117"/>
                    </a:lnTo>
                    <a:lnTo>
                      <a:pt x="87" y="117"/>
                    </a:lnTo>
                    <a:lnTo>
                      <a:pt x="85" y="112"/>
                    </a:lnTo>
                    <a:lnTo>
                      <a:pt x="93" y="112"/>
                    </a:lnTo>
                    <a:lnTo>
                      <a:pt x="100" y="112"/>
                    </a:lnTo>
                    <a:lnTo>
                      <a:pt x="109" y="117"/>
                    </a:lnTo>
                    <a:lnTo>
                      <a:pt x="111" y="117"/>
                    </a:lnTo>
                    <a:lnTo>
                      <a:pt x="116" y="124"/>
                    </a:lnTo>
                    <a:lnTo>
                      <a:pt x="120" y="126"/>
                    </a:lnTo>
                    <a:lnTo>
                      <a:pt x="135" y="124"/>
                    </a:lnTo>
                    <a:lnTo>
                      <a:pt x="140" y="124"/>
                    </a:lnTo>
                    <a:lnTo>
                      <a:pt x="142" y="124"/>
                    </a:lnTo>
                    <a:lnTo>
                      <a:pt x="144" y="124"/>
                    </a:lnTo>
                    <a:lnTo>
                      <a:pt x="146" y="120"/>
                    </a:lnTo>
                    <a:lnTo>
                      <a:pt x="146" y="120"/>
                    </a:lnTo>
                    <a:lnTo>
                      <a:pt x="154" y="110"/>
                    </a:lnTo>
                    <a:lnTo>
                      <a:pt x="154" y="110"/>
                    </a:lnTo>
                    <a:lnTo>
                      <a:pt x="161" y="113"/>
                    </a:lnTo>
                    <a:lnTo>
                      <a:pt x="166" y="115"/>
                    </a:lnTo>
                    <a:lnTo>
                      <a:pt x="172" y="113"/>
                    </a:lnTo>
                    <a:lnTo>
                      <a:pt x="172" y="112"/>
                    </a:lnTo>
                    <a:lnTo>
                      <a:pt x="177" y="110"/>
                    </a:lnTo>
                    <a:lnTo>
                      <a:pt x="179" y="110"/>
                    </a:lnTo>
                    <a:lnTo>
                      <a:pt x="179" y="113"/>
                    </a:lnTo>
                    <a:lnTo>
                      <a:pt x="177" y="117"/>
                    </a:lnTo>
                    <a:lnTo>
                      <a:pt x="173" y="120"/>
                    </a:lnTo>
                    <a:lnTo>
                      <a:pt x="173" y="120"/>
                    </a:lnTo>
                    <a:lnTo>
                      <a:pt x="177" y="124"/>
                    </a:lnTo>
                    <a:lnTo>
                      <a:pt x="177" y="127"/>
                    </a:lnTo>
                    <a:lnTo>
                      <a:pt x="179" y="127"/>
                    </a:lnTo>
                    <a:lnTo>
                      <a:pt x="182" y="127"/>
                    </a:lnTo>
                    <a:lnTo>
                      <a:pt x="186" y="126"/>
                    </a:lnTo>
                    <a:lnTo>
                      <a:pt x="186" y="124"/>
                    </a:lnTo>
                    <a:lnTo>
                      <a:pt x="187" y="120"/>
                    </a:lnTo>
                    <a:lnTo>
                      <a:pt x="187" y="115"/>
                    </a:lnTo>
                    <a:lnTo>
                      <a:pt x="189" y="112"/>
                    </a:lnTo>
                    <a:lnTo>
                      <a:pt x="194" y="113"/>
                    </a:lnTo>
                    <a:lnTo>
                      <a:pt x="196" y="113"/>
                    </a:lnTo>
                    <a:lnTo>
                      <a:pt x="205" y="110"/>
                    </a:lnTo>
                    <a:lnTo>
                      <a:pt x="208" y="110"/>
                    </a:lnTo>
                    <a:lnTo>
                      <a:pt x="208" y="108"/>
                    </a:lnTo>
                    <a:lnTo>
                      <a:pt x="219" y="108"/>
                    </a:lnTo>
                    <a:lnTo>
                      <a:pt x="222" y="108"/>
                    </a:lnTo>
                    <a:lnTo>
                      <a:pt x="224" y="110"/>
                    </a:lnTo>
                    <a:lnTo>
                      <a:pt x="229" y="112"/>
                    </a:lnTo>
                    <a:lnTo>
                      <a:pt x="236" y="112"/>
                    </a:lnTo>
                    <a:lnTo>
                      <a:pt x="236" y="110"/>
                    </a:lnTo>
                    <a:lnTo>
                      <a:pt x="241" y="108"/>
                    </a:lnTo>
                    <a:lnTo>
                      <a:pt x="245" y="106"/>
                    </a:lnTo>
                    <a:lnTo>
                      <a:pt x="250" y="105"/>
                    </a:lnTo>
                    <a:lnTo>
                      <a:pt x="255" y="105"/>
                    </a:lnTo>
                    <a:lnTo>
                      <a:pt x="259" y="103"/>
                    </a:lnTo>
                    <a:lnTo>
                      <a:pt x="265" y="103"/>
                    </a:lnTo>
                    <a:lnTo>
                      <a:pt x="272" y="101"/>
                    </a:lnTo>
                    <a:lnTo>
                      <a:pt x="278" y="101"/>
                    </a:lnTo>
                    <a:lnTo>
                      <a:pt x="278" y="103"/>
                    </a:lnTo>
                    <a:lnTo>
                      <a:pt x="283" y="98"/>
                    </a:lnTo>
                    <a:lnTo>
                      <a:pt x="288" y="98"/>
                    </a:lnTo>
                    <a:lnTo>
                      <a:pt x="290" y="98"/>
                    </a:lnTo>
                    <a:lnTo>
                      <a:pt x="297" y="98"/>
                    </a:lnTo>
                    <a:lnTo>
                      <a:pt x="302" y="98"/>
                    </a:lnTo>
                    <a:lnTo>
                      <a:pt x="305" y="98"/>
                    </a:lnTo>
                    <a:lnTo>
                      <a:pt x="309" y="101"/>
                    </a:lnTo>
                    <a:lnTo>
                      <a:pt x="309" y="103"/>
                    </a:lnTo>
                    <a:lnTo>
                      <a:pt x="311" y="103"/>
                    </a:lnTo>
                    <a:lnTo>
                      <a:pt x="318" y="103"/>
                    </a:lnTo>
                    <a:lnTo>
                      <a:pt x="318" y="101"/>
                    </a:lnTo>
                    <a:lnTo>
                      <a:pt x="314" y="98"/>
                    </a:lnTo>
                    <a:lnTo>
                      <a:pt x="311" y="89"/>
                    </a:lnTo>
                    <a:lnTo>
                      <a:pt x="305" y="87"/>
                    </a:lnTo>
                    <a:lnTo>
                      <a:pt x="305" y="86"/>
                    </a:lnTo>
                    <a:lnTo>
                      <a:pt x="305" y="80"/>
                    </a:lnTo>
                    <a:lnTo>
                      <a:pt x="309" y="75"/>
                    </a:lnTo>
                    <a:lnTo>
                      <a:pt x="309" y="73"/>
                    </a:lnTo>
                    <a:lnTo>
                      <a:pt x="304" y="72"/>
                    </a:lnTo>
                    <a:lnTo>
                      <a:pt x="304" y="70"/>
                    </a:lnTo>
                    <a:lnTo>
                      <a:pt x="305" y="66"/>
                    </a:lnTo>
                    <a:lnTo>
                      <a:pt x="304" y="60"/>
                    </a:lnTo>
                    <a:lnTo>
                      <a:pt x="302" y="56"/>
                    </a:lnTo>
                    <a:lnTo>
                      <a:pt x="300" y="54"/>
                    </a:lnTo>
                    <a:lnTo>
                      <a:pt x="305" y="53"/>
                    </a:lnTo>
                    <a:lnTo>
                      <a:pt x="305" y="49"/>
                    </a:lnTo>
                    <a:lnTo>
                      <a:pt x="309" y="47"/>
                    </a:lnTo>
                    <a:lnTo>
                      <a:pt x="305" y="44"/>
                    </a:lnTo>
                    <a:lnTo>
                      <a:pt x="305" y="42"/>
                    </a:lnTo>
                    <a:lnTo>
                      <a:pt x="302" y="42"/>
                    </a:lnTo>
                    <a:lnTo>
                      <a:pt x="295" y="42"/>
                    </a:lnTo>
                    <a:lnTo>
                      <a:pt x="290" y="39"/>
                    </a:lnTo>
                    <a:lnTo>
                      <a:pt x="290" y="32"/>
                    </a:lnTo>
                    <a:lnTo>
                      <a:pt x="292" y="26"/>
                    </a:lnTo>
                    <a:lnTo>
                      <a:pt x="290" y="21"/>
                    </a:lnTo>
                    <a:lnTo>
                      <a:pt x="286" y="21"/>
                    </a:lnTo>
                    <a:lnTo>
                      <a:pt x="286" y="20"/>
                    </a:lnTo>
                    <a:lnTo>
                      <a:pt x="283" y="16"/>
                    </a:lnTo>
                    <a:lnTo>
                      <a:pt x="281" y="16"/>
                    </a:lnTo>
                    <a:lnTo>
                      <a:pt x="274" y="11"/>
                    </a:lnTo>
                    <a:lnTo>
                      <a:pt x="271" y="9"/>
                    </a:lnTo>
                    <a:lnTo>
                      <a:pt x="267" y="11"/>
                    </a:lnTo>
                    <a:lnTo>
                      <a:pt x="265" y="13"/>
                    </a:lnTo>
                    <a:lnTo>
                      <a:pt x="260" y="11"/>
                    </a:lnTo>
                    <a:lnTo>
                      <a:pt x="259" y="13"/>
                    </a:lnTo>
                    <a:lnTo>
                      <a:pt x="259" y="11"/>
                    </a:lnTo>
                    <a:lnTo>
                      <a:pt x="259" y="9"/>
                    </a:lnTo>
                    <a:lnTo>
                      <a:pt x="255" y="7"/>
                    </a:lnTo>
                    <a:lnTo>
                      <a:pt x="255" y="7"/>
                    </a:lnTo>
                    <a:lnTo>
                      <a:pt x="255" y="7"/>
                    </a:lnTo>
                    <a:lnTo>
                      <a:pt x="255" y="7"/>
                    </a:lnTo>
                    <a:close/>
                    <a:moveTo>
                      <a:pt x="38" y="117"/>
                    </a:moveTo>
                    <a:lnTo>
                      <a:pt x="40" y="117"/>
                    </a:lnTo>
                    <a:lnTo>
                      <a:pt x="41" y="117"/>
                    </a:lnTo>
                    <a:lnTo>
                      <a:pt x="41" y="117"/>
                    </a:lnTo>
                    <a:lnTo>
                      <a:pt x="40" y="120"/>
                    </a:lnTo>
                    <a:lnTo>
                      <a:pt x="38" y="117"/>
                    </a:lnTo>
                    <a:lnTo>
                      <a:pt x="38" y="117"/>
                    </a:lnTo>
                    <a:lnTo>
                      <a:pt x="38" y="117"/>
                    </a:lnTo>
                    <a:lnTo>
                      <a:pt x="38" y="117"/>
                    </a:lnTo>
                    <a:close/>
                    <a:moveTo>
                      <a:pt x="0" y="42"/>
                    </a:moveTo>
                    <a:lnTo>
                      <a:pt x="5" y="44"/>
                    </a:lnTo>
                    <a:lnTo>
                      <a:pt x="7" y="44"/>
                    </a:lnTo>
                    <a:lnTo>
                      <a:pt x="7" y="40"/>
                    </a:lnTo>
                    <a:lnTo>
                      <a:pt x="5" y="40"/>
                    </a:lnTo>
                    <a:lnTo>
                      <a:pt x="5" y="42"/>
                    </a:lnTo>
                    <a:lnTo>
                      <a:pt x="0" y="42"/>
                    </a:lnTo>
                    <a:lnTo>
                      <a:pt x="0" y="42"/>
                    </a:lnTo>
                    <a:lnTo>
                      <a:pt x="0" y="42"/>
                    </a:lnTo>
                    <a:lnTo>
                      <a:pt x="0" y="4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9" name="Freeform 62"/>
              <p:cNvSpPr>
                <a:spLocks/>
              </p:cNvSpPr>
              <p:nvPr/>
            </p:nvSpPr>
            <p:spPr bwMode="auto">
              <a:xfrm>
                <a:off x="5475288" y="3190876"/>
                <a:ext cx="261938" cy="252413"/>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63"/>
              <p:cNvSpPr>
                <a:spLocks/>
              </p:cNvSpPr>
              <p:nvPr/>
            </p:nvSpPr>
            <p:spPr bwMode="auto">
              <a:xfrm>
                <a:off x="5475288" y="3190876"/>
                <a:ext cx="261938" cy="252413"/>
              </a:xfrm>
              <a:custGeom>
                <a:avLst/>
                <a:gdLst/>
                <a:ahLst/>
                <a:cxnLst>
                  <a:cxn ang="0">
                    <a:pos x="163" y="137"/>
                  </a:cxn>
                  <a:cxn ang="0">
                    <a:pos x="158" y="132"/>
                  </a:cxn>
                  <a:cxn ang="0">
                    <a:pos x="151" y="123"/>
                  </a:cxn>
                  <a:cxn ang="0">
                    <a:pos x="151" y="113"/>
                  </a:cxn>
                  <a:cxn ang="0">
                    <a:pos x="151" y="100"/>
                  </a:cxn>
                  <a:cxn ang="0">
                    <a:pos x="144" y="95"/>
                  </a:cxn>
                  <a:cxn ang="0">
                    <a:pos x="139" y="92"/>
                  </a:cxn>
                  <a:cxn ang="0">
                    <a:pos x="125" y="83"/>
                  </a:cxn>
                  <a:cxn ang="0">
                    <a:pos x="118" y="83"/>
                  </a:cxn>
                  <a:cxn ang="0">
                    <a:pos x="118" y="79"/>
                  </a:cxn>
                  <a:cxn ang="0">
                    <a:pos x="116" y="73"/>
                  </a:cxn>
                  <a:cxn ang="0">
                    <a:pos x="113" y="69"/>
                  </a:cxn>
                  <a:cxn ang="0">
                    <a:pos x="108" y="67"/>
                  </a:cxn>
                  <a:cxn ang="0">
                    <a:pos x="108" y="64"/>
                  </a:cxn>
                  <a:cxn ang="0">
                    <a:pos x="108" y="59"/>
                  </a:cxn>
                  <a:cxn ang="0">
                    <a:pos x="113" y="52"/>
                  </a:cxn>
                  <a:cxn ang="0">
                    <a:pos x="113" y="46"/>
                  </a:cxn>
                  <a:cxn ang="0">
                    <a:pos x="116" y="38"/>
                  </a:cxn>
                  <a:cxn ang="0">
                    <a:pos x="116" y="33"/>
                  </a:cxn>
                  <a:cxn ang="0">
                    <a:pos x="120" y="31"/>
                  </a:cxn>
                  <a:cxn ang="0">
                    <a:pos x="120" y="31"/>
                  </a:cxn>
                  <a:cxn ang="0">
                    <a:pos x="113" y="31"/>
                  </a:cxn>
                  <a:cxn ang="0">
                    <a:pos x="104" y="26"/>
                  </a:cxn>
                  <a:cxn ang="0">
                    <a:pos x="99" y="24"/>
                  </a:cxn>
                  <a:cxn ang="0">
                    <a:pos x="96" y="17"/>
                  </a:cxn>
                  <a:cxn ang="0">
                    <a:pos x="94" y="12"/>
                  </a:cxn>
                  <a:cxn ang="0">
                    <a:pos x="90" y="5"/>
                  </a:cxn>
                  <a:cxn ang="0">
                    <a:pos x="82" y="5"/>
                  </a:cxn>
                  <a:cxn ang="0">
                    <a:pos x="82" y="3"/>
                  </a:cxn>
                  <a:cxn ang="0">
                    <a:pos x="73" y="0"/>
                  </a:cxn>
                  <a:cxn ang="0">
                    <a:pos x="63" y="0"/>
                  </a:cxn>
                  <a:cxn ang="0">
                    <a:pos x="56" y="0"/>
                  </a:cxn>
                  <a:cxn ang="0">
                    <a:pos x="52" y="5"/>
                  </a:cxn>
                  <a:cxn ang="0">
                    <a:pos x="49" y="8"/>
                  </a:cxn>
                  <a:cxn ang="0">
                    <a:pos x="36" y="13"/>
                  </a:cxn>
                  <a:cxn ang="0">
                    <a:pos x="35" y="26"/>
                  </a:cxn>
                  <a:cxn ang="0">
                    <a:pos x="36" y="36"/>
                  </a:cxn>
                  <a:cxn ang="0">
                    <a:pos x="36" y="45"/>
                  </a:cxn>
                  <a:cxn ang="0">
                    <a:pos x="33" y="55"/>
                  </a:cxn>
                  <a:cxn ang="0">
                    <a:pos x="0" y="79"/>
                  </a:cxn>
                  <a:cxn ang="0">
                    <a:pos x="0" y="79"/>
                  </a:cxn>
                  <a:cxn ang="0">
                    <a:pos x="26" y="104"/>
                  </a:cxn>
                  <a:cxn ang="0">
                    <a:pos x="136" y="159"/>
                  </a:cxn>
                  <a:cxn ang="0">
                    <a:pos x="142" y="144"/>
                  </a:cxn>
                  <a:cxn ang="0">
                    <a:pos x="156" y="144"/>
                  </a:cxn>
                  <a:cxn ang="0">
                    <a:pos x="162" y="142"/>
                  </a:cxn>
                  <a:cxn ang="0">
                    <a:pos x="165" y="137"/>
                  </a:cxn>
                  <a:cxn ang="0">
                    <a:pos x="165" y="137"/>
                  </a:cxn>
                </a:cxnLst>
                <a:rect l="0" t="0" r="r" b="b"/>
                <a:pathLst>
                  <a:path w="165" h="159">
                    <a:moveTo>
                      <a:pt x="165" y="137"/>
                    </a:moveTo>
                    <a:lnTo>
                      <a:pt x="163" y="137"/>
                    </a:lnTo>
                    <a:lnTo>
                      <a:pt x="162" y="135"/>
                    </a:lnTo>
                    <a:lnTo>
                      <a:pt x="158" y="132"/>
                    </a:lnTo>
                    <a:lnTo>
                      <a:pt x="158" y="123"/>
                    </a:lnTo>
                    <a:lnTo>
                      <a:pt x="151" y="123"/>
                    </a:lnTo>
                    <a:lnTo>
                      <a:pt x="149" y="118"/>
                    </a:lnTo>
                    <a:lnTo>
                      <a:pt x="151" y="113"/>
                    </a:lnTo>
                    <a:lnTo>
                      <a:pt x="155" y="109"/>
                    </a:lnTo>
                    <a:lnTo>
                      <a:pt x="151" y="100"/>
                    </a:lnTo>
                    <a:lnTo>
                      <a:pt x="148" y="99"/>
                    </a:lnTo>
                    <a:lnTo>
                      <a:pt x="144" y="95"/>
                    </a:lnTo>
                    <a:lnTo>
                      <a:pt x="141" y="92"/>
                    </a:lnTo>
                    <a:lnTo>
                      <a:pt x="139" y="92"/>
                    </a:lnTo>
                    <a:lnTo>
                      <a:pt x="127" y="83"/>
                    </a:lnTo>
                    <a:lnTo>
                      <a:pt x="125" y="83"/>
                    </a:lnTo>
                    <a:lnTo>
                      <a:pt x="123" y="86"/>
                    </a:lnTo>
                    <a:lnTo>
                      <a:pt x="118" y="83"/>
                    </a:lnTo>
                    <a:lnTo>
                      <a:pt x="120" y="81"/>
                    </a:lnTo>
                    <a:lnTo>
                      <a:pt x="118" y="79"/>
                    </a:lnTo>
                    <a:lnTo>
                      <a:pt x="120" y="76"/>
                    </a:lnTo>
                    <a:lnTo>
                      <a:pt x="116" y="73"/>
                    </a:lnTo>
                    <a:lnTo>
                      <a:pt x="116" y="71"/>
                    </a:lnTo>
                    <a:lnTo>
                      <a:pt x="113" y="69"/>
                    </a:lnTo>
                    <a:lnTo>
                      <a:pt x="111" y="67"/>
                    </a:lnTo>
                    <a:lnTo>
                      <a:pt x="108" y="67"/>
                    </a:lnTo>
                    <a:lnTo>
                      <a:pt x="108" y="64"/>
                    </a:lnTo>
                    <a:lnTo>
                      <a:pt x="108" y="64"/>
                    </a:lnTo>
                    <a:lnTo>
                      <a:pt x="108" y="60"/>
                    </a:lnTo>
                    <a:lnTo>
                      <a:pt x="108" y="59"/>
                    </a:lnTo>
                    <a:lnTo>
                      <a:pt x="108" y="53"/>
                    </a:lnTo>
                    <a:lnTo>
                      <a:pt x="113" y="52"/>
                    </a:lnTo>
                    <a:lnTo>
                      <a:pt x="113" y="46"/>
                    </a:lnTo>
                    <a:lnTo>
                      <a:pt x="113" y="46"/>
                    </a:lnTo>
                    <a:lnTo>
                      <a:pt x="116" y="45"/>
                    </a:lnTo>
                    <a:lnTo>
                      <a:pt x="116" y="38"/>
                    </a:lnTo>
                    <a:lnTo>
                      <a:pt x="116" y="38"/>
                    </a:lnTo>
                    <a:lnTo>
                      <a:pt x="116" y="33"/>
                    </a:lnTo>
                    <a:lnTo>
                      <a:pt x="116" y="33"/>
                    </a:lnTo>
                    <a:lnTo>
                      <a:pt x="120" y="31"/>
                    </a:lnTo>
                    <a:lnTo>
                      <a:pt x="120" y="31"/>
                    </a:lnTo>
                    <a:lnTo>
                      <a:pt x="120" y="31"/>
                    </a:lnTo>
                    <a:lnTo>
                      <a:pt x="116" y="27"/>
                    </a:lnTo>
                    <a:lnTo>
                      <a:pt x="113" y="31"/>
                    </a:lnTo>
                    <a:lnTo>
                      <a:pt x="111" y="27"/>
                    </a:lnTo>
                    <a:lnTo>
                      <a:pt x="104" y="26"/>
                    </a:lnTo>
                    <a:lnTo>
                      <a:pt x="103" y="26"/>
                    </a:lnTo>
                    <a:lnTo>
                      <a:pt x="99" y="24"/>
                    </a:lnTo>
                    <a:lnTo>
                      <a:pt x="97" y="19"/>
                    </a:lnTo>
                    <a:lnTo>
                      <a:pt x="96" y="17"/>
                    </a:lnTo>
                    <a:lnTo>
                      <a:pt x="94" y="15"/>
                    </a:lnTo>
                    <a:lnTo>
                      <a:pt x="94" y="12"/>
                    </a:lnTo>
                    <a:lnTo>
                      <a:pt x="94" y="8"/>
                    </a:lnTo>
                    <a:lnTo>
                      <a:pt x="90" y="5"/>
                    </a:lnTo>
                    <a:lnTo>
                      <a:pt x="89" y="5"/>
                    </a:lnTo>
                    <a:lnTo>
                      <a:pt x="82" y="5"/>
                    </a:lnTo>
                    <a:lnTo>
                      <a:pt x="82" y="5"/>
                    </a:lnTo>
                    <a:lnTo>
                      <a:pt x="82" y="3"/>
                    </a:lnTo>
                    <a:lnTo>
                      <a:pt x="78" y="0"/>
                    </a:lnTo>
                    <a:lnTo>
                      <a:pt x="73" y="0"/>
                    </a:lnTo>
                    <a:lnTo>
                      <a:pt x="68" y="0"/>
                    </a:lnTo>
                    <a:lnTo>
                      <a:pt x="63" y="0"/>
                    </a:lnTo>
                    <a:lnTo>
                      <a:pt x="59" y="0"/>
                    </a:lnTo>
                    <a:lnTo>
                      <a:pt x="56" y="0"/>
                    </a:lnTo>
                    <a:lnTo>
                      <a:pt x="50" y="5"/>
                    </a:lnTo>
                    <a:lnTo>
                      <a:pt x="52" y="5"/>
                    </a:lnTo>
                    <a:lnTo>
                      <a:pt x="49" y="8"/>
                    </a:lnTo>
                    <a:lnTo>
                      <a:pt x="49" y="8"/>
                    </a:lnTo>
                    <a:lnTo>
                      <a:pt x="43" y="12"/>
                    </a:lnTo>
                    <a:lnTo>
                      <a:pt x="36" y="13"/>
                    </a:lnTo>
                    <a:lnTo>
                      <a:pt x="35" y="19"/>
                    </a:lnTo>
                    <a:lnTo>
                      <a:pt x="35" y="26"/>
                    </a:lnTo>
                    <a:lnTo>
                      <a:pt x="36" y="31"/>
                    </a:lnTo>
                    <a:lnTo>
                      <a:pt x="36" y="36"/>
                    </a:lnTo>
                    <a:lnTo>
                      <a:pt x="35" y="43"/>
                    </a:lnTo>
                    <a:lnTo>
                      <a:pt x="36" y="45"/>
                    </a:lnTo>
                    <a:lnTo>
                      <a:pt x="36" y="50"/>
                    </a:lnTo>
                    <a:lnTo>
                      <a:pt x="33" y="55"/>
                    </a:lnTo>
                    <a:lnTo>
                      <a:pt x="31" y="55"/>
                    </a:lnTo>
                    <a:lnTo>
                      <a:pt x="0" y="79"/>
                    </a:lnTo>
                    <a:lnTo>
                      <a:pt x="0" y="79"/>
                    </a:lnTo>
                    <a:lnTo>
                      <a:pt x="0" y="79"/>
                    </a:lnTo>
                    <a:lnTo>
                      <a:pt x="10" y="100"/>
                    </a:lnTo>
                    <a:lnTo>
                      <a:pt x="26" y="104"/>
                    </a:lnTo>
                    <a:lnTo>
                      <a:pt x="104" y="159"/>
                    </a:lnTo>
                    <a:lnTo>
                      <a:pt x="136" y="159"/>
                    </a:lnTo>
                    <a:lnTo>
                      <a:pt x="139" y="151"/>
                    </a:lnTo>
                    <a:lnTo>
                      <a:pt x="142" y="144"/>
                    </a:lnTo>
                    <a:lnTo>
                      <a:pt x="151" y="140"/>
                    </a:lnTo>
                    <a:lnTo>
                      <a:pt x="156" y="144"/>
                    </a:lnTo>
                    <a:lnTo>
                      <a:pt x="162" y="142"/>
                    </a:lnTo>
                    <a:lnTo>
                      <a:pt x="162" y="142"/>
                    </a:lnTo>
                    <a:lnTo>
                      <a:pt x="163" y="139"/>
                    </a:lnTo>
                    <a:lnTo>
                      <a:pt x="165" y="137"/>
                    </a:lnTo>
                    <a:lnTo>
                      <a:pt x="165" y="137"/>
                    </a:lnTo>
                    <a:lnTo>
                      <a:pt x="165" y="13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64"/>
              <p:cNvSpPr>
                <a:spLocks/>
              </p:cNvSpPr>
              <p:nvPr/>
            </p:nvSpPr>
            <p:spPr bwMode="auto">
              <a:xfrm>
                <a:off x="5692775" y="3413126"/>
                <a:ext cx="44450" cy="47625"/>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65"/>
              <p:cNvSpPr>
                <a:spLocks/>
              </p:cNvSpPr>
              <p:nvPr/>
            </p:nvSpPr>
            <p:spPr bwMode="auto">
              <a:xfrm>
                <a:off x="5692775" y="3413126"/>
                <a:ext cx="44450" cy="47625"/>
              </a:xfrm>
              <a:custGeom>
                <a:avLst/>
                <a:gdLst/>
                <a:ahLst/>
                <a:cxnLst>
                  <a:cxn ang="0">
                    <a:pos x="0" y="19"/>
                  </a:cxn>
                  <a:cxn ang="0">
                    <a:pos x="4" y="11"/>
                  </a:cxn>
                  <a:cxn ang="0">
                    <a:pos x="7" y="2"/>
                  </a:cxn>
                  <a:cxn ang="0">
                    <a:pos x="14" y="0"/>
                  </a:cxn>
                  <a:cxn ang="0">
                    <a:pos x="19" y="2"/>
                  </a:cxn>
                  <a:cxn ang="0">
                    <a:pos x="25" y="2"/>
                  </a:cxn>
                  <a:cxn ang="0">
                    <a:pos x="25" y="2"/>
                  </a:cxn>
                  <a:cxn ang="0">
                    <a:pos x="25" y="2"/>
                  </a:cxn>
                  <a:cxn ang="0">
                    <a:pos x="26" y="9"/>
                  </a:cxn>
                  <a:cxn ang="0">
                    <a:pos x="18" y="13"/>
                  </a:cxn>
                  <a:cxn ang="0">
                    <a:pos x="25" y="16"/>
                  </a:cxn>
                  <a:cxn ang="0">
                    <a:pos x="25" y="14"/>
                  </a:cxn>
                  <a:cxn ang="0">
                    <a:pos x="25" y="18"/>
                  </a:cxn>
                  <a:cxn ang="0">
                    <a:pos x="25" y="21"/>
                  </a:cxn>
                  <a:cxn ang="0">
                    <a:pos x="26" y="23"/>
                  </a:cxn>
                  <a:cxn ang="0">
                    <a:pos x="26" y="23"/>
                  </a:cxn>
                  <a:cxn ang="0">
                    <a:pos x="25" y="23"/>
                  </a:cxn>
                  <a:cxn ang="0">
                    <a:pos x="28" y="25"/>
                  </a:cxn>
                  <a:cxn ang="0">
                    <a:pos x="18" y="30"/>
                  </a:cxn>
                  <a:cxn ang="0">
                    <a:pos x="18" y="25"/>
                  </a:cxn>
                  <a:cxn ang="0">
                    <a:pos x="2" y="19"/>
                  </a:cxn>
                  <a:cxn ang="0">
                    <a:pos x="0" y="19"/>
                  </a:cxn>
                  <a:cxn ang="0">
                    <a:pos x="0" y="19"/>
                  </a:cxn>
                  <a:cxn ang="0">
                    <a:pos x="0" y="19"/>
                  </a:cxn>
                </a:cxnLst>
                <a:rect l="0" t="0" r="r" b="b"/>
                <a:pathLst>
                  <a:path w="28" h="30">
                    <a:moveTo>
                      <a:pt x="0" y="19"/>
                    </a:moveTo>
                    <a:lnTo>
                      <a:pt x="4" y="11"/>
                    </a:lnTo>
                    <a:lnTo>
                      <a:pt x="7" y="2"/>
                    </a:lnTo>
                    <a:lnTo>
                      <a:pt x="14" y="0"/>
                    </a:lnTo>
                    <a:lnTo>
                      <a:pt x="19" y="2"/>
                    </a:lnTo>
                    <a:lnTo>
                      <a:pt x="25" y="2"/>
                    </a:lnTo>
                    <a:lnTo>
                      <a:pt x="25" y="2"/>
                    </a:lnTo>
                    <a:lnTo>
                      <a:pt x="25" y="2"/>
                    </a:lnTo>
                    <a:lnTo>
                      <a:pt x="26" y="9"/>
                    </a:lnTo>
                    <a:lnTo>
                      <a:pt x="18" y="13"/>
                    </a:lnTo>
                    <a:lnTo>
                      <a:pt x="25" y="16"/>
                    </a:lnTo>
                    <a:lnTo>
                      <a:pt x="25" y="14"/>
                    </a:lnTo>
                    <a:lnTo>
                      <a:pt x="25" y="18"/>
                    </a:lnTo>
                    <a:lnTo>
                      <a:pt x="25" y="21"/>
                    </a:lnTo>
                    <a:lnTo>
                      <a:pt x="26" y="23"/>
                    </a:lnTo>
                    <a:lnTo>
                      <a:pt x="26" y="23"/>
                    </a:lnTo>
                    <a:lnTo>
                      <a:pt x="25" y="23"/>
                    </a:lnTo>
                    <a:lnTo>
                      <a:pt x="28" y="25"/>
                    </a:lnTo>
                    <a:lnTo>
                      <a:pt x="18" y="30"/>
                    </a:lnTo>
                    <a:lnTo>
                      <a:pt x="18" y="25"/>
                    </a:lnTo>
                    <a:lnTo>
                      <a:pt x="2" y="19"/>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66"/>
              <p:cNvSpPr>
                <a:spLocks/>
              </p:cNvSpPr>
              <p:nvPr/>
            </p:nvSpPr>
            <p:spPr bwMode="auto">
              <a:xfrm>
                <a:off x="5299075" y="3251201"/>
                <a:ext cx="60325" cy="30163"/>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67"/>
              <p:cNvSpPr>
                <a:spLocks/>
              </p:cNvSpPr>
              <p:nvPr/>
            </p:nvSpPr>
            <p:spPr bwMode="auto">
              <a:xfrm>
                <a:off x="5299075" y="3251201"/>
                <a:ext cx="60325" cy="30163"/>
              </a:xfrm>
              <a:custGeom>
                <a:avLst/>
                <a:gdLst/>
                <a:ahLst/>
                <a:cxnLst>
                  <a:cxn ang="0">
                    <a:pos x="5" y="19"/>
                  </a:cxn>
                  <a:cxn ang="0">
                    <a:pos x="0" y="15"/>
                  </a:cxn>
                  <a:cxn ang="0">
                    <a:pos x="0" y="14"/>
                  </a:cxn>
                  <a:cxn ang="0">
                    <a:pos x="0" y="10"/>
                  </a:cxn>
                  <a:cxn ang="0">
                    <a:pos x="0" y="10"/>
                  </a:cxn>
                  <a:cxn ang="0">
                    <a:pos x="2" y="7"/>
                  </a:cxn>
                  <a:cxn ang="0">
                    <a:pos x="5" y="8"/>
                  </a:cxn>
                  <a:cxn ang="0">
                    <a:pos x="8" y="8"/>
                  </a:cxn>
                  <a:cxn ang="0">
                    <a:pos x="8" y="7"/>
                  </a:cxn>
                  <a:cxn ang="0">
                    <a:pos x="8" y="5"/>
                  </a:cxn>
                  <a:cxn ang="0">
                    <a:pos x="14" y="5"/>
                  </a:cxn>
                  <a:cxn ang="0">
                    <a:pos x="15" y="7"/>
                  </a:cxn>
                  <a:cxn ang="0">
                    <a:pos x="21" y="7"/>
                  </a:cxn>
                  <a:cxn ang="0">
                    <a:pos x="29" y="3"/>
                  </a:cxn>
                  <a:cxn ang="0">
                    <a:pos x="35" y="0"/>
                  </a:cxn>
                  <a:cxn ang="0">
                    <a:pos x="36" y="0"/>
                  </a:cxn>
                  <a:cxn ang="0">
                    <a:pos x="38" y="0"/>
                  </a:cxn>
                  <a:cxn ang="0">
                    <a:pos x="36" y="1"/>
                  </a:cxn>
                  <a:cxn ang="0">
                    <a:pos x="31" y="5"/>
                  </a:cxn>
                  <a:cxn ang="0">
                    <a:pos x="28" y="7"/>
                  </a:cxn>
                  <a:cxn ang="0">
                    <a:pos x="29" y="10"/>
                  </a:cxn>
                  <a:cxn ang="0">
                    <a:pos x="29" y="14"/>
                  </a:cxn>
                  <a:cxn ang="0">
                    <a:pos x="24" y="14"/>
                  </a:cxn>
                  <a:cxn ang="0">
                    <a:pos x="21" y="15"/>
                  </a:cxn>
                  <a:cxn ang="0">
                    <a:pos x="19" y="17"/>
                  </a:cxn>
                  <a:cxn ang="0">
                    <a:pos x="14" y="17"/>
                  </a:cxn>
                  <a:cxn ang="0">
                    <a:pos x="14" y="19"/>
                  </a:cxn>
                  <a:cxn ang="0">
                    <a:pos x="8" y="19"/>
                  </a:cxn>
                  <a:cxn ang="0">
                    <a:pos x="5" y="19"/>
                  </a:cxn>
                  <a:cxn ang="0">
                    <a:pos x="5" y="19"/>
                  </a:cxn>
                  <a:cxn ang="0">
                    <a:pos x="5" y="19"/>
                  </a:cxn>
                </a:cxnLst>
                <a:rect l="0" t="0" r="r" b="b"/>
                <a:pathLst>
                  <a:path w="38" h="19">
                    <a:moveTo>
                      <a:pt x="5" y="19"/>
                    </a:moveTo>
                    <a:lnTo>
                      <a:pt x="0" y="15"/>
                    </a:lnTo>
                    <a:lnTo>
                      <a:pt x="0" y="14"/>
                    </a:lnTo>
                    <a:lnTo>
                      <a:pt x="0" y="10"/>
                    </a:lnTo>
                    <a:lnTo>
                      <a:pt x="0" y="10"/>
                    </a:lnTo>
                    <a:lnTo>
                      <a:pt x="2" y="7"/>
                    </a:lnTo>
                    <a:lnTo>
                      <a:pt x="5" y="8"/>
                    </a:lnTo>
                    <a:lnTo>
                      <a:pt x="8" y="8"/>
                    </a:lnTo>
                    <a:lnTo>
                      <a:pt x="8" y="7"/>
                    </a:lnTo>
                    <a:lnTo>
                      <a:pt x="8" y="5"/>
                    </a:lnTo>
                    <a:lnTo>
                      <a:pt x="14" y="5"/>
                    </a:lnTo>
                    <a:lnTo>
                      <a:pt x="15" y="7"/>
                    </a:lnTo>
                    <a:lnTo>
                      <a:pt x="21" y="7"/>
                    </a:lnTo>
                    <a:lnTo>
                      <a:pt x="29" y="3"/>
                    </a:lnTo>
                    <a:lnTo>
                      <a:pt x="35" y="0"/>
                    </a:lnTo>
                    <a:lnTo>
                      <a:pt x="36" y="0"/>
                    </a:lnTo>
                    <a:lnTo>
                      <a:pt x="38" y="0"/>
                    </a:lnTo>
                    <a:lnTo>
                      <a:pt x="36" y="1"/>
                    </a:lnTo>
                    <a:lnTo>
                      <a:pt x="31" y="5"/>
                    </a:lnTo>
                    <a:lnTo>
                      <a:pt x="28" y="7"/>
                    </a:lnTo>
                    <a:lnTo>
                      <a:pt x="29" y="10"/>
                    </a:lnTo>
                    <a:lnTo>
                      <a:pt x="29" y="14"/>
                    </a:lnTo>
                    <a:lnTo>
                      <a:pt x="24" y="14"/>
                    </a:lnTo>
                    <a:lnTo>
                      <a:pt x="21" y="15"/>
                    </a:lnTo>
                    <a:lnTo>
                      <a:pt x="19" y="17"/>
                    </a:lnTo>
                    <a:lnTo>
                      <a:pt x="14" y="17"/>
                    </a:lnTo>
                    <a:lnTo>
                      <a:pt x="14" y="19"/>
                    </a:lnTo>
                    <a:lnTo>
                      <a:pt x="8" y="19"/>
                    </a:lnTo>
                    <a:lnTo>
                      <a:pt x="5" y="19"/>
                    </a:lnTo>
                    <a:lnTo>
                      <a:pt x="5" y="19"/>
                    </a:lnTo>
                    <a:lnTo>
                      <a:pt x="5"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68"/>
              <p:cNvSpPr>
                <a:spLocks/>
              </p:cNvSpPr>
              <p:nvPr/>
            </p:nvSpPr>
            <p:spPr bwMode="auto">
              <a:xfrm>
                <a:off x="5384800" y="3195638"/>
                <a:ext cx="168275" cy="157163"/>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69"/>
              <p:cNvSpPr>
                <a:spLocks/>
              </p:cNvSpPr>
              <p:nvPr/>
            </p:nvSpPr>
            <p:spPr bwMode="auto">
              <a:xfrm>
                <a:off x="5384800" y="3195638"/>
                <a:ext cx="168275" cy="157163"/>
              </a:xfrm>
              <a:custGeom>
                <a:avLst/>
                <a:gdLst/>
                <a:ahLst/>
                <a:cxnLst>
                  <a:cxn ang="0">
                    <a:pos x="85" y="54"/>
                  </a:cxn>
                  <a:cxn ang="0">
                    <a:pos x="90" y="47"/>
                  </a:cxn>
                  <a:cxn ang="0">
                    <a:pos x="88" y="42"/>
                  </a:cxn>
                  <a:cxn ang="0">
                    <a:pos x="90" y="30"/>
                  </a:cxn>
                  <a:cxn ang="0">
                    <a:pos x="88" y="16"/>
                  </a:cxn>
                  <a:cxn ang="0">
                    <a:pos x="97" y="9"/>
                  </a:cxn>
                  <a:cxn ang="0">
                    <a:pos x="102" y="5"/>
                  </a:cxn>
                  <a:cxn ang="0">
                    <a:pos x="102" y="0"/>
                  </a:cxn>
                  <a:cxn ang="0">
                    <a:pos x="90" y="2"/>
                  </a:cxn>
                  <a:cxn ang="0">
                    <a:pos x="80" y="5"/>
                  </a:cxn>
                  <a:cxn ang="0">
                    <a:pos x="71" y="5"/>
                  </a:cxn>
                  <a:cxn ang="0">
                    <a:pos x="62" y="9"/>
                  </a:cxn>
                  <a:cxn ang="0">
                    <a:pos x="54" y="10"/>
                  </a:cxn>
                  <a:cxn ang="0">
                    <a:pos x="48" y="7"/>
                  </a:cxn>
                  <a:cxn ang="0">
                    <a:pos x="34" y="7"/>
                  </a:cxn>
                  <a:cxn ang="0">
                    <a:pos x="31" y="9"/>
                  </a:cxn>
                  <a:cxn ang="0">
                    <a:pos x="21" y="12"/>
                  </a:cxn>
                  <a:cxn ang="0">
                    <a:pos x="14" y="14"/>
                  </a:cxn>
                  <a:cxn ang="0">
                    <a:pos x="12" y="23"/>
                  </a:cxn>
                  <a:cxn ang="0">
                    <a:pos x="8" y="28"/>
                  </a:cxn>
                  <a:cxn ang="0">
                    <a:pos x="3" y="28"/>
                  </a:cxn>
                  <a:cxn ang="0">
                    <a:pos x="0" y="28"/>
                  </a:cxn>
                  <a:cxn ang="0">
                    <a:pos x="3" y="38"/>
                  </a:cxn>
                  <a:cxn ang="0">
                    <a:pos x="3" y="47"/>
                  </a:cxn>
                  <a:cxn ang="0">
                    <a:pos x="10" y="54"/>
                  </a:cxn>
                  <a:cxn ang="0">
                    <a:pos x="14" y="57"/>
                  </a:cxn>
                  <a:cxn ang="0">
                    <a:pos x="15" y="66"/>
                  </a:cxn>
                  <a:cxn ang="0">
                    <a:pos x="12" y="70"/>
                  </a:cxn>
                  <a:cxn ang="0">
                    <a:pos x="7" y="75"/>
                  </a:cxn>
                  <a:cxn ang="0">
                    <a:pos x="3" y="78"/>
                  </a:cxn>
                  <a:cxn ang="0">
                    <a:pos x="7" y="82"/>
                  </a:cxn>
                  <a:cxn ang="0">
                    <a:pos x="7" y="92"/>
                  </a:cxn>
                  <a:cxn ang="0">
                    <a:pos x="14" y="94"/>
                  </a:cxn>
                  <a:cxn ang="0">
                    <a:pos x="17" y="97"/>
                  </a:cxn>
                  <a:cxn ang="0">
                    <a:pos x="54" y="76"/>
                  </a:cxn>
                  <a:cxn ang="0">
                    <a:pos x="54" y="76"/>
                  </a:cxn>
                </a:cxnLst>
                <a:rect l="0" t="0" r="r" b="b"/>
                <a:pathLst>
                  <a:path w="106" h="99">
                    <a:moveTo>
                      <a:pt x="54" y="76"/>
                    </a:moveTo>
                    <a:lnTo>
                      <a:pt x="85" y="54"/>
                    </a:lnTo>
                    <a:lnTo>
                      <a:pt x="85" y="52"/>
                    </a:lnTo>
                    <a:lnTo>
                      <a:pt x="90" y="47"/>
                    </a:lnTo>
                    <a:lnTo>
                      <a:pt x="90" y="42"/>
                    </a:lnTo>
                    <a:lnTo>
                      <a:pt x="88" y="42"/>
                    </a:lnTo>
                    <a:lnTo>
                      <a:pt x="90" y="33"/>
                    </a:lnTo>
                    <a:lnTo>
                      <a:pt x="90" y="30"/>
                    </a:lnTo>
                    <a:lnTo>
                      <a:pt x="88" y="23"/>
                    </a:lnTo>
                    <a:lnTo>
                      <a:pt x="88" y="16"/>
                    </a:lnTo>
                    <a:lnTo>
                      <a:pt x="90" y="10"/>
                    </a:lnTo>
                    <a:lnTo>
                      <a:pt x="97" y="9"/>
                    </a:lnTo>
                    <a:lnTo>
                      <a:pt x="100" y="5"/>
                    </a:lnTo>
                    <a:lnTo>
                      <a:pt x="102" y="5"/>
                    </a:lnTo>
                    <a:lnTo>
                      <a:pt x="106" y="2"/>
                    </a:lnTo>
                    <a:lnTo>
                      <a:pt x="102" y="0"/>
                    </a:lnTo>
                    <a:lnTo>
                      <a:pt x="97" y="0"/>
                    </a:lnTo>
                    <a:lnTo>
                      <a:pt x="90" y="2"/>
                    </a:lnTo>
                    <a:lnTo>
                      <a:pt x="83" y="2"/>
                    </a:lnTo>
                    <a:lnTo>
                      <a:pt x="80" y="5"/>
                    </a:lnTo>
                    <a:lnTo>
                      <a:pt x="74" y="5"/>
                    </a:lnTo>
                    <a:lnTo>
                      <a:pt x="71" y="5"/>
                    </a:lnTo>
                    <a:lnTo>
                      <a:pt x="67" y="7"/>
                    </a:lnTo>
                    <a:lnTo>
                      <a:pt x="62" y="9"/>
                    </a:lnTo>
                    <a:lnTo>
                      <a:pt x="62" y="10"/>
                    </a:lnTo>
                    <a:lnTo>
                      <a:pt x="54" y="10"/>
                    </a:lnTo>
                    <a:lnTo>
                      <a:pt x="48" y="9"/>
                    </a:lnTo>
                    <a:lnTo>
                      <a:pt x="48" y="7"/>
                    </a:lnTo>
                    <a:lnTo>
                      <a:pt x="45" y="7"/>
                    </a:lnTo>
                    <a:lnTo>
                      <a:pt x="34" y="7"/>
                    </a:lnTo>
                    <a:lnTo>
                      <a:pt x="33" y="9"/>
                    </a:lnTo>
                    <a:lnTo>
                      <a:pt x="31" y="9"/>
                    </a:lnTo>
                    <a:lnTo>
                      <a:pt x="22" y="12"/>
                    </a:lnTo>
                    <a:lnTo>
                      <a:pt x="21" y="12"/>
                    </a:lnTo>
                    <a:lnTo>
                      <a:pt x="15" y="10"/>
                    </a:lnTo>
                    <a:lnTo>
                      <a:pt x="14" y="14"/>
                    </a:lnTo>
                    <a:lnTo>
                      <a:pt x="14" y="21"/>
                    </a:lnTo>
                    <a:lnTo>
                      <a:pt x="12" y="23"/>
                    </a:lnTo>
                    <a:lnTo>
                      <a:pt x="12" y="24"/>
                    </a:lnTo>
                    <a:lnTo>
                      <a:pt x="8" y="28"/>
                    </a:lnTo>
                    <a:lnTo>
                      <a:pt x="5" y="28"/>
                    </a:lnTo>
                    <a:lnTo>
                      <a:pt x="3" y="28"/>
                    </a:lnTo>
                    <a:lnTo>
                      <a:pt x="0" y="28"/>
                    </a:lnTo>
                    <a:lnTo>
                      <a:pt x="0" y="28"/>
                    </a:lnTo>
                    <a:lnTo>
                      <a:pt x="0" y="33"/>
                    </a:lnTo>
                    <a:lnTo>
                      <a:pt x="3" y="38"/>
                    </a:lnTo>
                    <a:lnTo>
                      <a:pt x="3" y="43"/>
                    </a:lnTo>
                    <a:lnTo>
                      <a:pt x="3" y="47"/>
                    </a:lnTo>
                    <a:lnTo>
                      <a:pt x="3" y="54"/>
                    </a:lnTo>
                    <a:lnTo>
                      <a:pt x="10" y="54"/>
                    </a:lnTo>
                    <a:lnTo>
                      <a:pt x="12" y="57"/>
                    </a:lnTo>
                    <a:lnTo>
                      <a:pt x="14" y="57"/>
                    </a:lnTo>
                    <a:lnTo>
                      <a:pt x="14" y="64"/>
                    </a:lnTo>
                    <a:lnTo>
                      <a:pt x="15" y="66"/>
                    </a:lnTo>
                    <a:lnTo>
                      <a:pt x="14" y="70"/>
                    </a:lnTo>
                    <a:lnTo>
                      <a:pt x="12" y="70"/>
                    </a:lnTo>
                    <a:lnTo>
                      <a:pt x="8" y="70"/>
                    </a:lnTo>
                    <a:lnTo>
                      <a:pt x="7" y="75"/>
                    </a:lnTo>
                    <a:lnTo>
                      <a:pt x="3" y="78"/>
                    </a:lnTo>
                    <a:lnTo>
                      <a:pt x="3" y="78"/>
                    </a:lnTo>
                    <a:lnTo>
                      <a:pt x="5" y="80"/>
                    </a:lnTo>
                    <a:lnTo>
                      <a:pt x="7" y="82"/>
                    </a:lnTo>
                    <a:lnTo>
                      <a:pt x="7" y="89"/>
                    </a:lnTo>
                    <a:lnTo>
                      <a:pt x="7" y="92"/>
                    </a:lnTo>
                    <a:lnTo>
                      <a:pt x="8" y="92"/>
                    </a:lnTo>
                    <a:lnTo>
                      <a:pt x="14" y="94"/>
                    </a:lnTo>
                    <a:lnTo>
                      <a:pt x="17" y="97"/>
                    </a:lnTo>
                    <a:lnTo>
                      <a:pt x="17" y="97"/>
                    </a:lnTo>
                    <a:lnTo>
                      <a:pt x="22" y="99"/>
                    </a:lnTo>
                    <a:lnTo>
                      <a:pt x="54" y="76"/>
                    </a:lnTo>
                    <a:lnTo>
                      <a:pt x="54" y="76"/>
                    </a:lnTo>
                    <a:lnTo>
                      <a:pt x="54" y="76"/>
                    </a:lnTo>
                    <a:lnTo>
                      <a:pt x="54"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7" name="Freeform 70"/>
              <p:cNvSpPr>
                <a:spLocks/>
              </p:cNvSpPr>
              <p:nvPr/>
            </p:nvSpPr>
            <p:spPr bwMode="auto">
              <a:xfrm>
                <a:off x="5351463" y="3319463"/>
                <a:ext cx="38100" cy="115888"/>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8" name="Freeform 71"/>
              <p:cNvSpPr>
                <a:spLocks/>
              </p:cNvSpPr>
              <p:nvPr/>
            </p:nvSpPr>
            <p:spPr bwMode="auto">
              <a:xfrm>
                <a:off x="5351463" y="3319463"/>
                <a:ext cx="38100" cy="115888"/>
              </a:xfrm>
              <a:custGeom>
                <a:avLst/>
                <a:gdLst/>
                <a:ahLst/>
                <a:cxnLst>
                  <a:cxn ang="0">
                    <a:pos x="15" y="73"/>
                  </a:cxn>
                  <a:cxn ang="0">
                    <a:pos x="17" y="72"/>
                  </a:cxn>
                  <a:cxn ang="0">
                    <a:pos x="17" y="72"/>
                  </a:cxn>
                  <a:cxn ang="0">
                    <a:pos x="17" y="68"/>
                  </a:cxn>
                  <a:cxn ang="0">
                    <a:pos x="19" y="66"/>
                  </a:cxn>
                  <a:cxn ang="0">
                    <a:pos x="19" y="63"/>
                  </a:cxn>
                  <a:cxn ang="0">
                    <a:pos x="21" y="59"/>
                  </a:cxn>
                  <a:cxn ang="0">
                    <a:pos x="21" y="54"/>
                  </a:cxn>
                  <a:cxn ang="0">
                    <a:pos x="21" y="54"/>
                  </a:cxn>
                  <a:cxn ang="0">
                    <a:pos x="21" y="51"/>
                  </a:cxn>
                  <a:cxn ang="0">
                    <a:pos x="21" y="45"/>
                  </a:cxn>
                  <a:cxn ang="0">
                    <a:pos x="21" y="44"/>
                  </a:cxn>
                  <a:cxn ang="0">
                    <a:pos x="21" y="37"/>
                  </a:cxn>
                  <a:cxn ang="0">
                    <a:pos x="21" y="37"/>
                  </a:cxn>
                  <a:cxn ang="0">
                    <a:pos x="19" y="37"/>
                  </a:cxn>
                  <a:cxn ang="0">
                    <a:pos x="17" y="37"/>
                  </a:cxn>
                  <a:cxn ang="0">
                    <a:pos x="15" y="37"/>
                  </a:cxn>
                  <a:cxn ang="0">
                    <a:pos x="15" y="32"/>
                  </a:cxn>
                  <a:cxn ang="0">
                    <a:pos x="15" y="23"/>
                  </a:cxn>
                  <a:cxn ang="0">
                    <a:pos x="15" y="21"/>
                  </a:cxn>
                  <a:cxn ang="0">
                    <a:pos x="15" y="16"/>
                  </a:cxn>
                  <a:cxn ang="0">
                    <a:pos x="21" y="16"/>
                  </a:cxn>
                  <a:cxn ang="0">
                    <a:pos x="21" y="19"/>
                  </a:cxn>
                  <a:cxn ang="0">
                    <a:pos x="21" y="19"/>
                  </a:cxn>
                  <a:cxn ang="0">
                    <a:pos x="24" y="19"/>
                  </a:cxn>
                  <a:cxn ang="0">
                    <a:pos x="24" y="16"/>
                  </a:cxn>
                  <a:cxn ang="0">
                    <a:pos x="24" y="16"/>
                  </a:cxn>
                  <a:cxn ang="0">
                    <a:pos x="24" y="16"/>
                  </a:cxn>
                  <a:cxn ang="0">
                    <a:pos x="21" y="11"/>
                  </a:cxn>
                  <a:cxn ang="0">
                    <a:pos x="24" y="7"/>
                  </a:cxn>
                  <a:cxn ang="0">
                    <a:pos x="24" y="2"/>
                  </a:cxn>
                  <a:cxn ang="0">
                    <a:pos x="24" y="0"/>
                  </a:cxn>
                  <a:cxn ang="0">
                    <a:pos x="24" y="0"/>
                  </a:cxn>
                  <a:cxn ang="0">
                    <a:pos x="21" y="4"/>
                  </a:cxn>
                  <a:cxn ang="0">
                    <a:pos x="17" y="4"/>
                  </a:cxn>
                  <a:cxn ang="0">
                    <a:pos x="15" y="4"/>
                  </a:cxn>
                  <a:cxn ang="0">
                    <a:pos x="12" y="7"/>
                  </a:cxn>
                  <a:cxn ang="0">
                    <a:pos x="8" y="19"/>
                  </a:cxn>
                  <a:cxn ang="0">
                    <a:pos x="5" y="30"/>
                  </a:cxn>
                  <a:cxn ang="0">
                    <a:pos x="0" y="37"/>
                  </a:cxn>
                  <a:cxn ang="0">
                    <a:pos x="3" y="37"/>
                  </a:cxn>
                  <a:cxn ang="0">
                    <a:pos x="5" y="42"/>
                  </a:cxn>
                  <a:cxn ang="0">
                    <a:pos x="7" y="49"/>
                  </a:cxn>
                  <a:cxn ang="0">
                    <a:pos x="12" y="56"/>
                  </a:cxn>
                  <a:cxn ang="0">
                    <a:pos x="15" y="65"/>
                  </a:cxn>
                  <a:cxn ang="0">
                    <a:pos x="15" y="68"/>
                  </a:cxn>
                  <a:cxn ang="0">
                    <a:pos x="15" y="73"/>
                  </a:cxn>
                  <a:cxn ang="0">
                    <a:pos x="15" y="73"/>
                  </a:cxn>
                  <a:cxn ang="0">
                    <a:pos x="15" y="73"/>
                  </a:cxn>
                </a:cxnLst>
                <a:rect l="0" t="0" r="r" b="b"/>
                <a:pathLst>
                  <a:path w="24" h="73">
                    <a:moveTo>
                      <a:pt x="15" y="73"/>
                    </a:moveTo>
                    <a:lnTo>
                      <a:pt x="17" y="72"/>
                    </a:lnTo>
                    <a:lnTo>
                      <a:pt x="17" y="72"/>
                    </a:lnTo>
                    <a:lnTo>
                      <a:pt x="17" y="68"/>
                    </a:lnTo>
                    <a:lnTo>
                      <a:pt x="19" y="66"/>
                    </a:lnTo>
                    <a:lnTo>
                      <a:pt x="19" y="63"/>
                    </a:lnTo>
                    <a:lnTo>
                      <a:pt x="21" y="59"/>
                    </a:lnTo>
                    <a:lnTo>
                      <a:pt x="21" y="54"/>
                    </a:lnTo>
                    <a:lnTo>
                      <a:pt x="21" y="54"/>
                    </a:lnTo>
                    <a:lnTo>
                      <a:pt x="21" y="51"/>
                    </a:lnTo>
                    <a:lnTo>
                      <a:pt x="21" y="45"/>
                    </a:lnTo>
                    <a:lnTo>
                      <a:pt x="21" y="44"/>
                    </a:lnTo>
                    <a:lnTo>
                      <a:pt x="21" y="37"/>
                    </a:lnTo>
                    <a:lnTo>
                      <a:pt x="21" y="37"/>
                    </a:lnTo>
                    <a:lnTo>
                      <a:pt x="19" y="37"/>
                    </a:lnTo>
                    <a:lnTo>
                      <a:pt x="17" y="37"/>
                    </a:lnTo>
                    <a:lnTo>
                      <a:pt x="15" y="37"/>
                    </a:lnTo>
                    <a:lnTo>
                      <a:pt x="15" y="32"/>
                    </a:lnTo>
                    <a:lnTo>
                      <a:pt x="15" y="23"/>
                    </a:lnTo>
                    <a:lnTo>
                      <a:pt x="15" y="21"/>
                    </a:lnTo>
                    <a:lnTo>
                      <a:pt x="15" y="16"/>
                    </a:lnTo>
                    <a:lnTo>
                      <a:pt x="21" y="16"/>
                    </a:lnTo>
                    <a:lnTo>
                      <a:pt x="21" y="19"/>
                    </a:lnTo>
                    <a:lnTo>
                      <a:pt x="21" y="19"/>
                    </a:lnTo>
                    <a:lnTo>
                      <a:pt x="24" y="19"/>
                    </a:lnTo>
                    <a:lnTo>
                      <a:pt x="24" y="16"/>
                    </a:lnTo>
                    <a:lnTo>
                      <a:pt x="24" y="16"/>
                    </a:lnTo>
                    <a:lnTo>
                      <a:pt x="24" y="16"/>
                    </a:lnTo>
                    <a:lnTo>
                      <a:pt x="21" y="11"/>
                    </a:lnTo>
                    <a:lnTo>
                      <a:pt x="24" y="7"/>
                    </a:lnTo>
                    <a:lnTo>
                      <a:pt x="24" y="2"/>
                    </a:lnTo>
                    <a:lnTo>
                      <a:pt x="24" y="0"/>
                    </a:lnTo>
                    <a:lnTo>
                      <a:pt x="24" y="0"/>
                    </a:lnTo>
                    <a:lnTo>
                      <a:pt x="21" y="4"/>
                    </a:lnTo>
                    <a:lnTo>
                      <a:pt x="17" y="4"/>
                    </a:lnTo>
                    <a:lnTo>
                      <a:pt x="15" y="4"/>
                    </a:lnTo>
                    <a:lnTo>
                      <a:pt x="12" y="7"/>
                    </a:lnTo>
                    <a:lnTo>
                      <a:pt x="8" y="19"/>
                    </a:lnTo>
                    <a:lnTo>
                      <a:pt x="5" y="30"/>
                    </a:lnTo>
                    <a:lnTo>
                      <a:pt x="0" y="37"/>
                    </a:lnTo>
                    <a:lnTo>
                      <a:pt x="3" y="37"/>
                    </a:lnTo>
                    <a:lnTo>
                      <a:pt x="5" y="42"/>
                    </a:lnTo>
                    <a:lnTo>
                      <a:pt x="7" y="49"/>
                    </a:lnTo>
                    <a:lnTo>
                      <a:pt x="12" y="56"/>
                    </a:lnTo>
                    <a:lnTo>
                      <a:pt x="15" y="65"/>
                    </a:lnTo>
                    <a:lnTo>
                      <a:pt x="15" y="68"/>
                    </a:lnTo>
                    <a:lnTo>
                      <a:pt x="15" y="73"/>
                    </a:lnTo>
                    <a:lnTo>
                      <a:pt x="15" y="73"/>
                    </a:lnTo>
                    <a:lnTo>
                      <a:pt x="15"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9" name="Freeform 72"/>
              <p:cNvSpPr>
                <a:spLocks/>
              </p:cNvSpPr>
              <p:nvPr/>
            </p:nvSpPr>
            <p:spPr bwMode="auto">
              <a:xfrm>
                <a:off x="5384800" y="3319463"/>
                <a:ext cx="12700" cy="25400"/>
              </a:xfrm>
              <a:custGeom>
                <a:avLst/>
                <a:gdLst/>
                <a:ahLst/>
                <a:cxnLst>
                  <a:cxn ang="0">
                    <a:pos x="1" y="16"/>
                  </a:cxn>
                  <a:cxn ang="0">
                    <a:pos x="1" y="14"/>
                  </a:cxn>
                  <a:cxn ang="0">
                    <a:pos x="0" y="11"/>
                  </a:cxn>
                  <a:cxn ang="0">
                    <a:pos x="1" y="7"/>
                  </a:cxn>
                  <a:cxn ang="0">
                    <a:pos x="1" y="2"/>
                  </a:cxn>
                  <a:cxn ang="0">
                    <a:pos x="3" y="0"/>
                  </a:cxn>
                  <a:cxn ang="0">
                    <a:pos x="3" y="0"/>
                  </a:cxn>
                  <a:cxn ang="0">
                    <a:pos x="5" y="2"/>
                  </a:cxn>
                  <a:cxn ang="0">
                    <a:pos x="8" y="4"/>
                  </a:cxn>
                  <a:cxn ang="0">
                    <a:pos x="8" y="11"/>
                  </a:cxn>
                  <a:cxn ang="0">
                    <a:pos x="8" y="12"/>
                  </a:cxn>
                  <a:cxn ang="0">
                    <a:pos x="8" y="11"/>
                  </a:cxn>
                  <a:cxn ang="0">
                    <a:pos x="5" y="14"/>
                  </a:cxn>
                  <a:cxn ang="0">
                    <a:pos x="3" y="16"/>
                  </a:cxn>
                  <a:cxn ang="0">
                    <a:pos x="1" y="16"/>
                  </a:cxn>
                  <a:cxn ang="0">
                    <a:pos x="1" y="16"/>
                  </a:cxn>
                  <a:cxn ang="0">
                    <a:pos x="1" y="16"/>
                  </a:cxn>
                </a:cxnLst>
                <a:rect l="0" t="0" r="r" b="b"/>
                <a:pathLst>
                  <a:path w="8" h="16">
                    <a:moveTo>
                      <a:pt x="1" y="16"/>
                    </a:moveTo>
                    <a:lnTo>
                      <a:pt x="1" y="14"/>
                    </a:lnTo>
                    <a:lnTo>
                      <a:pt x="0" y="11"/>
                    </a:lnTo>
                    <a:lnTo>
                      <a:pt x="1" y="7"/>
                    </a:lnTo>
                    <a:lnTo>
                      <a:pt x="1" y="2"/>
                    </a:lnTo>
                    <a:lnTo>
                      <a:pt x="3" y="0"/>
                    </a:lnTo>
                    <a:lnTo>
                      <a:pt x="3" y="0"/>
                    </a:lnTo>
                    <a:lnTo>
                      <a:pt x="5" y="2"/>
                    </a:lnTo>
                    <a:lnTo>
                      <a:pt x="8" y="4"/>
                    </a:lnTo>
                    <a:lnTo>
                      <a:pt x="8" y="11"/>
                    </a:lnTo>
                    <a:lnTo>
                      <a:pt x="8" y="12"/>
                    </a:lnTo>
                    <a:lnTo>
                      <a:pt x="8" y="11"/>
                    </a:lnTo>
                    <a:lnTo>
                      <a:pt x="5" y="14"/>
                    </a:lnTo>
                    <a:lnTo>
                      <a:pt x="3" y="16"/>
                    </a:lnTo>
                    <a:lnTo>
                      <a:pt x="1" y="16"/>
                    </a:lnTo>
                    <a:lnTo>
                      <a:pt x="1" y="16"/>
                    </a:lnTo>
                    <a:lnTo>
                      <a:pt x="1" y="1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0" name="Freeform 73"/>
              <p:cNvSpPr>
                <a:spLocks/>
              </p:cNvSpPr>
              <p:nvPr/>
            </p:nvSpPr>
            <p:spPr bwMode="auto">
              <a:xfrm>
                <a:off x="5375275" y="3344863"/>
                <a:ext cx="14288" cy="30163"/>
              </a:xfrm>
              <a:custGeom>
                <a:avLst/>
                <a:gdLst/>
                <a:ahLst/>
                <a:cxnLst>
                  <a:cxn ang="0">
                    <a:pos x="7" y="17"/>
                  </a:cxn>
                  <a:cxn ang="0">
                    <a:pos x="4" y="17"/>
                  </a:cxn>
                  <a:cxn ang="0">
                    <a:pos x="2" y="19"/>
                  </a:cxn>
                  <a:cxn ang="0">
                    <a:pos x="0" y="17"/>
                  </a:cxn>
                  <a:cxn ang="0">
                    <a:pos x="0" y="14"/>
                  </a:cxn>
                  <a:cxn ang="0">
                    <a:pos x="0" y="7"/>
                  </a:cxn>
                  <a:cxn ang="0">
                    <a:pos x="0" y="3"/>
                  </a:cxn>
                  <a:cxn ang="0">
                    <a:pos x="0" y="0"/>
                  </a:cxn>
                  <a:cxn ang="0">
                    <a:pos x="6" y="0"/>
                  </a:cxn>
                  <a:cxn ang="0">
                    <a:pos x="6" y="3"/>
                  </a:cxn>
                  <a:cxn ang="0">
                    <a:pos x="7" y="3"/>
                  </a:cxn>
                  <a:cxn ang="0">
                    <a:pos x="9" y="2"/>
                  </a:cxn>
                  <a:cxn ang="0">
                    <a:pos x="9" y="2"/>
                  </a:cxn>
                  <a:cxn ang="0">
                    <a:pos x="9" y="3"/>
                  </a:cxn>
                  <a:cxn ang="0">
                    <a:pos x="9" y="7"/>
                  </a:cxn>
                  <a:cxn ang="0">
                    <a:pos x="9" y="10"/>
                  </a:cxn>
                  <a:cxn ang="0">
                    <a:pos x="9" y="12"/>
                  </a:cxn>
                  <a:cxn ang="0">
                    <a:pos x="7" y="17"/>
                  </a:cxn>
                  <a:cxn ang="0">
                    <a:pos x="7" y="17"/>
                  </a:cxn>
                  <a:cxn ang="0">
                    <a:pos x="7" y="17"/>
                  </a:cxn>
                  <a:cxn ang="0">
                    <a:pos x="7" y="17"/>
                  </a:cxn>
                </a:cxnLst>
                <a:rect l="0" t="0" r="r" b="b"/>
                <a:pathLst>
                  <a:path w="9" h="19">
                    <a:moveTo>
                      <a:pt x="7" y="17"/>
                    </a:moveTo>
                    <a:lnTo>
                      <a:pt x="4" y="17"/>
                    </a:lnTo>
                    <a:lnTo>
                      <a:pt x="2" y="19"/>
                    </a:lnTo>
                    <a:lnTo>
                      <a:pt x="0" y="17"/>
                    </a:lnTo>
                    <a:lnTo>
                      <a:pt x="0" y="14"/>
                    </a:lnTo>
                    <a:lnTo>
                      <a:pt x="0" y="7"/>
                    </a:lnTo>
                    <a:lnTo>
                      <a:pt x="0" y="3"/>
                    </a:lnTo>
                    <a:lnTo>
                      <a:pt x="0" y="0"/>
                    </a:lnTo>
                    <a:lnTo>
                      <a:pt x="6" y="0"/>
                    </a:lnTo>
                    <a:lnTo>
                      <a:pt x="6" y="3"/>
                    </a:lnTo>
                    <a:lnTo>
                      <a:pt x="7" y="3"/>
                    </a:lnTo>
                    <a:lnTo>
                      <a:pt x="9" y="2"/>
                    </a:lnTo>
                    <a:lnTo>
                      <a:pt x="9" y="2"/>
                    </a:lnTo>
                    <a:lnTo>
                      <a:pt x="9" y="3"/>
                    </a:lnTo>
                    <a:lnTo>
                      <a:pt x="9" y="7"/>
                    </a:lnTo>
                    <a:lnTo>
                      <a:pt x="9" y="10"/>
                    </a:lnTo>
                    <a:lnTo>
                      <a:pt x="9" y="12"/>
                    </a:lnTo>
                    <a:lnTo>
                      <a:pt x="7" y="17"/>
                    </a:lnTo>
                    <a:lnTo>
                      <a:pt x="7" y="17"/>
                    </a:lnTo>
                    <a:lnTo>
                      <a:pt x="7" y="17"/>
                    </a:lnTo>
                    <a:lnTo>
                      <a:pt x="7"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1" name="Freeform 74"/>
              <p:cNvSpPr>
                <a:spLocks/>
              </p:cNvSpPr>
              <p:nvPr/>
            </p:nvSpPr>
            <p:spPr bwMode="auto">
              <a:xfrm>
                <a:off x="5375275" y="3281363"/>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75"/>
              <p:cNvSpPr>
                <a:spLocks/>
              </p:cNvSpPr>
              <p:nvPr/>
            </p:nvSpPr>
            <p:spPr bwMode="auto">
              <a:xfrm>
                <a:off x="5375275" y="3281363"/>
                <a:ext cx="39688" cy="38100"/>
              </a:xfrm>
              <a:custGeom>
                <a:avLst/>
                <a:gdLst/>
                <a:ahLst/>
                <a:cxnLst>
                  <a:cxn ang="0">
                    <a:pos x="0" y="24"/>
                  </a:cxn>
                  <a:cxn ang="0">
                    <a:pos x="2" y="24"/>
                  </a:cxn>
                  <a:cxn ang="0">
                    <a:pos x="7" y="24"/>
                  </a:cxn>
                  <a:cxn ang="0">
                    <a:pos x="11" y="22"/>
                  </a:cxn>
                  <a:cxn ang="0">
                    <a:pos x="11" y="22"/>
                  </a:cxn>
                  <a:cxn ang="0">
                    <a:pos x="16" y="19"/>
                  </a:cxn>
                  <a:cxn ang="0">
                    <a:pos x="16" y="16"/>
                  </a:cxn>
                  <a:cxn ang="0">
                    <a:pos x="20" y="14"/>
                  </a:cxn>
                  <a:cxn ang="0">
                    <a:pos x="21" y="14"/>
                  </a:cxn>
                  <a:cxn ang="0">
                    <a:pos x="25" y="12"/>
                  </a:cxn>
                  <a:cxn ang="0">
                    <a:pos x="21" y="10"/>
                  </a:cxn>
                  <a:cxn ang="0">
                    <a:pos x="21" y="5"/>
                  </a:cxn>
                  <a:cxn ang="0">
                    <a:pos x="20" y="5"/>
                  </a:cxn>
                  <a:cxn ang="0">
                    <a:pos x="18" y="0"/>
                  </a:cxn>
                  <a:cxn ang="0">
                    <a:pos x="11" y="0"/>
                  </a:cxn>
                  <a:cxn ang="0">
                    <a:pos x="11" y="3"/>
                  </a:cxn>
                  <a:cxn ang="0">
                    <a:pos x="7" y="3"/>
                  </a:cxn>
                  <a:cxn ang="0">
                    <a:pos x="6" y="12"/>
                  </a:cxn>
                  <a:cxn ang="0">
                    <a:pos x="6" y="16"/>
                  </a:cxn>
                  <a:cxn ang="0">
                    <a:pos x="0" y="21"/>
                  </a:cxn>
                  <a:cxn ang="0">
                    <a:pos x="0" y="24"/>
                  </a:cxn>
                  <a:cxn ang="0">
                    <a:pos x="0" y="24"/>
                  </a:cxn>
                  <a:cxn ang="0">
                    <a:pos x="0" y="24"/>
                  </a:cxn>
                  <a:cxn ang="0">
                    <a:pos x="0" y="24"/>
                  </a:cxn>
                </a:cxnLst>
                <a:rect l="0" t="0" r="r" b="b"/>
                <a:pathLst>
                  <a:path w="25" h="24">
                    <a:moveTo>
                      <a:pt x="0" y="24"/>
                    </a:moveTo>
                    <a:lnTo>
                      <a:pt x="2" y="24"/>
                    </a:lnTo>
                    <a:lnTo>
                      <a:pt x="7" y="24"/>
                    </a:lnTo>
                    <a:lnTo>
                      <a:pt x="11" y="22"/>
                    </a:lnTo>
                    <a:lnTo>
                      <a:pt x="11" y="22"/>
                    </a:lnTo>
                    <a:lnTo>
                      <a:pt x="16" y="19"/>
                    </a:lnTo>
                    <a:lnTo>
                      <a:pt x="16" y="16"/>
                    </a:lnTo>
                    <a:lnTo>
                      <a:pt x="20" y="14"/>
                    </a:lnTo>
                    <a:lnTo>
                      <a:pt x="21" y="14"/>
                    </a:lnTo>
                    <a:lnTo>
                      <a:pt x="25" y="12"/>
                    </a:lnTo>
                    <a:lnTo>
                      <a:pt x="21" y="10"/>
                    </a:lnTo>
                    <a:lnTo>
                      <a:pt x="21" y="5"/>
                    </a:lnTo>
                    <a:lnTo>
                      <a:pt x="20" y="5"/>
                    </a:lnTo>
                    <a:lnTo>
                      <a:pt x="18" y="0"/>
                    </a:lnTo>
                    <a:lnTo>
                      <a:pt x="11" y="0"/>
                    </a:lnTo>
                    <a:lnTo>
                      <a:pt x="11" y="3"/>
                    </a:lnTo>
                    <a:lnTo>
                      <a:pt x="7" y="3"/>
                    </a:lnTo>
                    <a:lnTo>
                      <a:pt x="6" y="12"/>
                    </a:lnTo>
                    <a:lnTo>
                      <a:pt x="6" y="16"/>
                    </a:lnTo>
                    <a:lnTo>
                      <a:pt x="0" y="21"/>
                    </a:lnTo>
                    <a:lnTo>
                      <a:pt x="0" y="24"/>
                    </a:lnTo>
                    <a:lnTo>
                      <a:pt x="0" y="24"/>
                    </a:lnTo>
                    <a:lnTo>
                      <a:pt x="0" y="24"/>
                    </a:lnTo>
                    <a:lnTo>
                      <a:pt x="0"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76"/>
              <p:cNvSpPr>
                <a:spLocks/>
              </p:cNvSpPr>
              <p:nvPr/>
            </p:nvSpPr>
            <p:spPr bwMode="auto">
              <a:xfrm>
                <a:off x="5375275" y="3314701"/>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77"/>
              <p:cNvSpPr>
                <a:spLocks/>
              </p:cNvSpPr>
              <p:nvPr/>
            </p:nvSpPr>
            <p:spPr bwMode="auto">
              <a:xfrm>
                <a:off x="5375275" y="3314701"/>
                <a:ext cx="115888" cy="138113"/>
              </a:xfrm>
              <a:custGeom>
                <a:avLst/>
                <a:gdLst/>
                <a:ahLst/>
                <a:cxnLst>
                  <a:cxn ang="0">
                    <a:pos x="0" y="76"/>
                  </a:cxn>
                  <a:cxn ang="0">
                    <a:pos x="0" y="76"/>
                  </a:cxn>
                  <a:cxn ang="0">
                    <a:pos x="0" y="73"/>
                  </a:cxn>
                  <a:cxn ang="0">
                    <a:pos x="4" y="69"/>
                  </a:cxn>
                  <a:cxn ang="0">
                    <a:pos x="4" y="68"/>
                  </a:cxn>
                  <a:cxn ang="0">
                    <a:pos x="6" y="62"/>
                  </a:cxn>
                  <a:cxn ang="0">
                    <a:pos x="6" y="57"/>
                  </a:cxn>
                  <a:cxn ang="0">
                    <a:pos x="6" y="57"/>
                  </a:cxn>
                  <a:cxn ang="0">
                    <a:pos x="6" y="54"/>
                  </a:cxn>
                  <a:cxn ang="0">
                    <a:pos x="6" y="48"/>
                  </a:cxn>
                  <a:cxn ang="0">
                    <a:pos x="6" y="47"/>
                  </a:cxn>
                  <a:cxn ang="0">
                    <a:pos x="9" y="31"/>
                  </a:cxn>
                  <a:cxn ang="0">
                    <a:pos x="9" y="29"/>
                  </a:cxn>
                  <a:cxn ang="0">
                    <a:pos x="9" y="26"/>
                  </a:cxn>
                  <a:cxn ang="0">
                    <a:pos x="9" y="22"/>
                  </a:cxn>
                  <a:cxn ang="0">
                    <a:pos x="9" y="21"/>
                  </a:cxn>
                  <a:cxn ang="0">
                    <a:pos x="9" y="17"/>
                  </a:cxn>
                  <a:cxn ang="0">
                    <a:pos x="9" y="17"/>
                  </a:cxn>
                  <a:cxn ang="0">
                    <a:pos x="11" y="17"/>
                  </a:cxn>
                  <a:cxn ang="0">
                    <a:pos x="14" y="12"/>
                  </a:cxn>
                  <a:cxn ang="0">
                    <a:pos x="14" y="15"/>
                  </a:cxn>
                  <a:cxn ang="0">
                    <a:pos x="20" y="17"/>
                  </a:cxn>
                  <a:cxn ang="0">
                    <a:pos x="23" y="21"/>
                  </a:cxn>
                  <a:cxn ang="0">
                    <a:pos x="25" y="21"/>
                  </a:cxn>
                  <a:cxn ang="0">
                    <a:pos x="28" y="21"/>
                  </a:cxn>
                  <a:cxn ang="0">
                    <a:pos x="63" y="0"/>
                  </a:cxn>
                  <a:cxn ang="0">
                    <a:pos x="73" y="21"/>
                  </a:cxn>
                  <a:cxn ang="0">
                    <a:pos x="72" y="21"/>
                  </a:cxn>
                  <a:cxn ang="0">
                    <a:pos x="65" y="28"/>
                  </a:cxn>
                  <a:cxn ang="0">
                    <a:pos x="39" y="36"/>
                  </a:cxn>
                  <a:cxn ang="0">
                    <a:pos x="60" y="59"/>
                  </a:cxn>
                  <a:cxn ang="0">
                    <a:pos x="51" y="68"/>
                  </a:cxn>
                  <a:cxn ang="0">
                    <a:pos x="51" y="73"/>
                  </a:cxn>
                  <a:cxn ang="0">
                    <a:pos x="37" y="73"/>
                  </a:cxn>
                  <a:cxn ang="0">
                    <a:pos x="23" y="87"/>
                  </a:cxn>
                  <a:cxn ang="0">
                    <a:pos x="6" y="81"/>
                  </a:cxn>
                  <a:cxn ang="0">
                    <a:pos x="0" y="81"/>
                  </a:cxn>
                  <a:cxn ang="0">
                    <a:pos x="0" y="81"/>
                  </a:cxn>
                  <a:cxn ang="0">
                    <a:pos x="0" y="76"/>
                  </a:cxn>
                  <a:cxn ang="0">
                    <a:pos x="0" y="76"/>
                  </a:cxn>
                  <a:cxn ang="0">
                    <a:pos x="0" y="76"/>
                  </a:cxn>
                  <a:cxn ang="0">
                    <a:pos x="0" y="76"/>
                  </a:cxn>
                  <a:cxn ang="0">
                    <a:pos x="0" y="76"/>
                  </a:cxn>
                </a:cxnLst>
                <a:rect l="0" t="0" r="r" b="b"/>
                <a:pathLst>
                  <a:path w="73" h="87">
                    <a:moveTo>
                      <a:pt x="0" y="76"/>
                    </a:moveTo>
                    <a:lnTo>
                      <a:pt x="0" y="76"/>
                    </a:lnTo>
                    <a:lnTo>
                      <a:pt x="0" y="73"/>
                    </a:lnTo>
                    <a:lnTo>
                      <a:pt x="4" y="69"/>
                    </a:lnTo>
                    <a:lnTo>
                      <a:pt x="4" y="68"/>
                    </a:lnTo>
                    <a:lnTo>
                      <a:pt x="6" y="62"/>
                    </a:lnTo>
                    <a:lnTo>
                      <a:pt x="6" y="57"/>
                    </a:lnTo>
                    <a:lnTo>
                      <a:pt x="6" y="57"/>
                    </a:lnTo>
                    <a:lnTo>
                      <a:pt x="6" y="54"/>
                    </a:lnTo>
                    <a:lnTo>
                      <a:pt x="6" y="48"/>
                    </a:lnTo>
                    <a:lnTo>
                      <a:pt x="6" y="47"/>
                    </a:lnTo>
                    <a:lnTo>
                      <a:pt x="9" y="31"/>
                    </a:lnTo>
                    <a:lnTo>
                      <a:pt x="9" y="29"/>
                    </a:lnTo>
                    <a:lnTo>
                      <a:pt x="9" y="26"/>
                    </a:lnTo>
                    <a:lnTo>
                      <a:pt x="9" y="22"/>
                    </a:lnTo>
                    <a:lnTo>
                      <a:pt x="9" y="21"/>
                    </a:lnTo>
                    <a:lnTo>
                      <a:pt x="9" y="17"/>
                    </a:lnTo>
                    <a:lnTo>
                      <a:pt x="9" y="17"/>
                    </a:lnTo>
                    <a:lnTo>
                      <a:pt x="11" y="17"/>
                    </a:lnTo>
                    <a:lnTo>
                      <a:pt x="14" y="12"/>
                    </a:lnTo>
                    <a:lnTo>
                      <a:pt x="14" y="15"/>
                    </a:lnTo>
                    <a:lnTo>
                      <a:pt x="20" y="17"/>
                    </a:lnTo>
                    <a:lnTo>
                      <a:pt x="23" y="21"/>
                    </a:lnTo>
                    <a:lnTo>
                      <a:pt x="25" y="21"/>
                    </a:lnTo>
                    <a:lnTo>
                      <a:pt x="28" y="21"/>
                    </a:lnTo>
                    <a:lnTo>
                      <a:pt x="63" y="0"/>
                    </a:lnTo>
                    <a:lnTo>
                      <a:pt x="73" y="21"/>
                    </a:lnTo>
                    <a:lnTo>
                      <a:pt x="72" y="21"/>
                    </a:lnTo>
                    <a:lnTo>
                      <a:pt x="65" y="28"/>
                    </a:lnTo>
                    <a:lnTo>
                      <a:pt x="39" y="36"/>
                    </a:lnTo>
                    <a:lnTo>
                      <a:pt x="60" y="59"/>
                    </a:lnTo>
                    <a:lnTo>
                      <a:pt x="51" y="68"/>
                    </a:lnTo>
                    <a:lnTo>
                      <a:pt x="51" y="73"/>
                    </a:lnTo>
                    <a:lnTo>
                      <a:pt x="37" y="73"/>
                    </a:lnTo>
                    <a:lnTo>
                      <a:pt x="23" y="87"/>
                    </a:lnTo>
                    <a:lnTo>
                      <a:pt x="6" y="81"/>
                    </a:lnTo>
                    <a:lnTo>
                      <a:pt x="0" y="81"/>
                    </a:lnTo>
                    <a:lnTo>
                      <a:pt x="0" y="81"/>
                    </a:lnTo>
                    <a:lnTo>
                      <a:pt x="0" y="76"/>
                    </a:lnTo>
                    <a:lnTo>
                      <a:pt x="0" y="76"/>
                    </a:lnTo>
                    <a:lnTo>
                      <a:pt x="0" y="76"/>
                    </a:lnTo>
                    <a:lnTo>
                      <a:pt x="0" y="76"/>
                    </a:lnTo>
                    <a:lnTo>
                      <a:pt x="0" y="7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5" name="Freeform 78"/>
              <p:cNvSpPr>
                <a:spLocks/>
              </p:cNvSpPr>
              <p:nvPr/>
            </p:nvSpPr>
            <p:spPr bwMode="auto">
              <a:xfrm>
                <a:off x="5808663" y="3521076"/>
                <a:ext cx="22225" cy="47625"/>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79"/>
              <p:cNvSpPr>
                <a:spLocks/>
              </p:cNvSpPr>
              <p:nvPr/>
            </p:nvSpPr>
            <p:spPr bwMode="auto">
              <a:xfrm>
                <a:off x="5808663" y="3521076"/>
                <a:ext cx="22225" cy="47625"/>
              </a:xfrm>
              <a:custGeom>
                <a:avLst/>
                <a:gdLst/>
                <a:ahLst/>
                <a:cxnLst>
                  <a:cxn ang="0">
                    <a:pos x="11" y="30"/>
                  </a:cxn>
                  <a:cxn ang="0">
                    <a:pos x="5" y="30"/>
                  </a:cxn>
                  <a:cxn ang="0">
                    <a:pos x="0" y="26"/>
                  </a:cxn>
                  <a:cxn ang="0">
                    <a:pos x="0" y="26"/>
                  </a:cxn>
                  <a:cxn ang="0">
                    <a:pos x="0" y="26"/>
                  </a:cxn>
                  <a:cxn ang="0">
                    <a:pos x="0" y="21"/>
                  </a:cxn>
                  <a:cxn ang="0">
                    <a:pos x="0" y="21"/>
                  </a:cxn>
                  <a:cxn ang="0">
                    <a:pos x="0" y="18"/>
                  </a:cxn>
                  <a:cxn ang="0">
                    <a:pos x="0" y="12"/>
                  </a:cxn>
                  <a:cxn ang="0">
                    <a:pos x="0" y="12"/>
                  </a:cxn>
                  <a:cxn ang="0">
                    <a:pos x="2" y="12"/>
                  </a:cxn>
                  <a:cxn ang="0">
                    <a:pos x="0" y="7"/>
                  </a:cxn>
                  <a:cxn ang="0">
                    <a:pos x="2" y="7"/>
                  </a:cxn>
                  <a:cxn ang="0">
                    <a:pos x="0" y="7"/>
                  </a:cxn>
                  <a:cxn ang="0">
                    <a:pos x="2" y="4"/>
                  </a:cxn>
                  <a:cxn ang="0">
                    <a:pos x="2" y="4"/>
                  </a:cxn>
                  <a:cxn ang="0">
                    <a:pos x="5" y="4"/>
                  </a:cxn>
                  <a:cxn ang="0">
                    <a:pos x="5" y="0"/>
                  </a:cxn>
                  <a:cxn ang="0">
                    <a:pos x="5" y="0"/>
                  </a:cxn>
                  <a:cxn ang="0">
                    <a:pos x="11" y="4"/>
                  </a:cxn>
                  <a:cxn ang="0">
                    <a:pos x="11" y="7"/>
                  </a:cxn>
                  <a:cxn ang="0">
                    <a:pos x="11" y="7"/>
                  </a:cxn>
                  <a:cxn ang="0">
                    <a:pos x="11" y="7"/>
                  </a:cxn>
                  <a:cxn ang="0">
                    <a:pos x="11" y="12"/>
                  </a:cxn>
                  <a:cxn ang="0">
                    <a:pos x="11" y="12"/>
                  </a:cxn>
                  <a:cxn ang="0">
                    <a:pos x="11" y="18"/>
                  </a:cxn>
                  <a:cxn ang="0">
                    <a:pos x="11" y="18"/>
                  </a:cxn>
                  <a:cxn ang="0">
                    <a:pos x="14" y="21"/>
                  </a:cxn>
                  <a:cxn ang="0">
                    <a:pos x="11" y="30"/>
                  </a:cxn>
                  <a:cxn ang="0">
                    <a:pos x="11" y="30"/>
                  </a:cxn>
                  <a:cxn ang="0">
                    <a:pos x="11" y="30"/>
                  </a:cxn>
                  <a:cxn ang="0">
                    <a:pos x="11" y="30"/>
                  </a:cxn>
                  <a:cxn ang="0">
                    <a:pos x="11" y="30"/>
                  </a:cxn>
                </a:cxnLst>
                <a:rect l="0" t="0" r="r" b="b"/>
                <a:pathLst>
                  <a:path w="14" h="30">
                    <a:moveTo>
                      <a:pt x="11" y="30"/>
                    </a:moveTo>
                    <a:lnTo>
                      <a:pt x="5" y="30"/>
                    </a:lnTo>
                    <a:lnTo>
                      <a:pt x="0" y="26"/>
                    </a:lnTo>
                    <a:lnTo>
                      <a:pt x="0" y="26"/>
                    </a:lnTo>
                    <a:lnTo>
                      <a:pt x="0" y="26"/>
                    </a:lnTo>
                    <a:lnTo>
                      <a:pt x="0" y="21"/>
                    </a:lnTo>
                    <a:lnTo>
                      <a:pt x="0" y="21"/>
                    </a:lnTo>
                    <a:lnTo>
                      <a:pt x="0" y="18"/>
                    </a:lnTo>
                    <a:lnTo>
                      <a:pt x="0" y="12"/>
                    </a:lnTo>
                    <a:lnTo>
                      <a:pt x="0" y="12"/>
                    </a:lnTo>
                    <a:lnTo>
                      <a:pt x="2" y="12"/>
                    </a:lnTo>
                    <a:lnTo>
                      <a:pt x="0" y="7"/>
                    </a:lnTo>
                    <a:lnTo>
                      <a:pt x="2" y="7"/>
                    </a:lnTo>
                    <a:lnTo>
                      <a:pt x="0" y="7"/>
                    </a:lnTo>
                    <a:lnTo>
                      <a:pt x="2" y="4"/>
                    </a:lnTo>
                    <a:lnTo>
                      <a:pt x="2" y="4"/>
                    </a:lnTo>
                    <a:lnTo>
                      <a:pt x="5" y="4"/>
                    </a:lnTo>
                    <a:lnTo>
                      <a:pt x="5" y="0"/>
                    </a:lnTo>
                    <a:lnTo>
                      <a:pt x="5" y="0"/>
                    </a:lnTo>
                    <a:lnTo>
                      <a:pt x="11" y="4"/>
                    </a:lnTo>
                    <a:lnTo>
                      <a:pt x="11" y="7"/>
                    </a:lnTo>
                    <a:lnTo>
                      <a:pt x="11" y="7"/>
                    </a:lnTo>
                    <a:lnTo>
                      <a:pt x="11" y="7"/>
                    </a:lnTo>
                    <a:lnTo>
                      <a:pt x="11" y="12"/>
                    </a:lnTo>
                    <a:lnTo>
                      <a:pt x="11" y="12"/>
                    </a:lnTo>
                    <a:lnTo>
                      <a:pt x="11" y="18"/>
                    </a:lnTo>
                    <a:lnTo>
                      <a:pt x="11" y="18"/>
                    </a:lnTo>
                    <a:lnTo>
                      <a:pt x="14" y="21"/>
                    </a:lnTo>
                    <a:lnTo>
                      <a:pt x="11" y="30"/>
                    </a:lnTo>
                    <a:lnTo>
                      <a:pt x="11" y="30"/>
                    </a:lnTo>
                    <a:lnTo>
                      <a:pt x="11" y="30"/>
                    </a:lnTo>
                    <a:lnTo>
                      <a:pt x="11" y="30"/>
                    </a:lnTo>
                    <a:lnTo>
                      <a:pt x="11"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80"/>
              <p:cNvSpPr>
                <a:spLocks noEditPoints="1"/>
              </p:cNvSpPr>
              <p:nvPr/>
            </p:nvSpPr>
            <p:spPr bwMode="auto">
              <a:xfrm>
                <a:off x="4956175" y="2389188"/>
                <a:ext cx="149225" cy="103188"/>
              </a:xfrm>
              <a:custGeom>
                <a:avLst/>
                <a:gdLst/>
                <a:ahLst/>
                <a:cxnLst>
                  <a:cxn ang="0">
                    <a:pos x="92" y="58"/>
                  </a:cxn>
                  <a:cxn ang="0">
                    <a:pos x="85" y="35"/>
                  </a:cxn>
                  <a:cxn ang="0">
                    <a:pos x="91" y="16"/>
                  </a:cxn>
                  <a:cxn ang="0">
                    <a:pos x="94" y="11"/>
                  </a:cxn>
                  <a:cxn ang="0">
                    <a:pos x="77" y="9"/>
                  </a:cxn>
                  <a:cxn ang="0">
                    <a:pos x="61" y="4"/>
                  </a:cxn>
                  <a:cxn ang="0">
                    <a:pos x="56" y="4"/>
                  </a:cxn>
                  <a:cxn ang="0">
                    <a:pos x="54" y="5"/>
                  </a:cxn>
                  <a:cxn ang="0">
                    <a:pos x="44" y="7"/>
                  </a:cxn>
                  <a:cxn ang="0">
                    <a:pos x="39" y="9"/>
                  </a:cxn>
                  <a:cxn ang="0">
                    <a:pos x="33" y="12"/>
                  </a:cxn>
                  <a:cxn ang="0">
                    <a:pos x="25" y="30"/>
                  </a:cxn>
                  <a:cxn ang="0">
                    <a:pos x="30" y="30"/>
                  </a:cxn>
                  <a:cxn ang="0">
                    <a:pos x="28" y="35"/>
                  </a:cxn>
                  <a:cxn ang="0">
                    <a:pos x="37" y="44"/>
                  </a:cxn>
                  <a:cxn ang="0">
                    <a:pos x="42" y="40"/>
                  </a:cxn>
                  <a:cxn ang="0">
                    <a:pos x="42" y="52"/>
                  </a:cxn>
                  <a:cxn ang="0">
                    <a:pos x="56" y="51"/>
                  </a:cxn>
                  <a:cxn ang="0">
                    <a:pos x="61" y="49"/>
                  </a:cxn>
                  <a:cxn ang="0">
                    <a:pos x="70" y="58"/>
                  </a:cxn>
                  <a:cxn ang="0">
                    <a:pos x="79" y="65"/>
                  </a:cxn>
                  <a:cxn ang="0">
                    <a:pos x="89" y="63"/>
                  </a:cxn>
                  <a:cxn ang="0">
                    <a:pos x="19" y="23"/>
                  </a:cxn>
                  <a:cxn ang="0">
                    <a:pos x="19" y="25"/>
                  </a:cxn>
                  <a:cxn ang="0">
                    <a:pos x="19" y="23"/>
                  </a:cxn>
                  <a:cxn ang="0">
                    <a:pos x="11" y="26"/>
                  </a:cxn>
                  <a:cxn ang="0">
                    <a:pos x="6" y="26"/>
                  </a:cxn>
                  <a:cxn ang="0">
                    <a:pos x="11" y="23"/>
                  </a:cxn>
                  <a:cxn ang="0">
                    <a:pos x="18" y="25"/>
                  </a:cxn>
                  <a:cxn ang="0">
                    <a:pos x="14" y="30"/>
                  </a:cxn>
                  <a:cxn ang="0">
                    <a:pos x="13" y="32"/>
                  </a:cxn>
                  <a:cxn ang="0">
                    <a:pos x="19" y="32"/>
                  </a:cxn>
                  <a:cxn ang="0">
                    <a:pos x="25" y="35"/>
                  </a:cxn>
                  <a:cxn ang="0">
                    <a:pos x="19" y="33"/>
                  </a:cxn>
                  <a:cxn ang="0">
                    <a:pos x="6" y="54"/>
                  </a:cxn>
                  <a:cxn ang="0">
                    <a:pos x="11" y="44"/>
                  </a:cxn>
                  <a:cxn ang="0">
                    <a:pos x="19" y="40"/>
                  </a:cxn>
                  <a:cxn ang="0">
                    <a:pos x="21" y="38"/>
                  </a:cxn>
                  <a:cxn ang="0">
                    <a:pos x="13" y="35"/>
                  </a:cxn>
                  <a:cxn ang="0">
                    <a:pos x="7" y="35"/>
                  </a:cxn>
                  <a:cxn ang="0">
                    <a:pos x="2" y="35"/>
                  </a:cxn>
                  <a:cxn ang="0">
                    <a:pos x="6" y="38"/>
                  </a:cxn>
                  <a:cxn ang="0">
                    <a:pos x="2" y="44"/>
                  </a:cxn>
                  <a:cxn ang="0">
                    <a:pos x="6" y="49"/>
                  </a:cxn>
                  <a:cxn ang="0">
                    <a:pos x="6" y="52"/>
                  </a:cxn>
                </a:cxnLst>
                <a:rect l="0" t="0" r="r" b="b"/>
                <a:pathLst>
                  <a:path w="94" h="65">
                    <a:moveTo>
                      <a:pt x="89" y="63"/>
                    </a:moveTo>
                    <a:lnTo>
                      <a:pt x="92" y="59"/>
                    </a:lnTo>
                    <a:lnTo>
                      <a:pt x="92" y="58"/>
                    </a:lnTo>
                    <a:lnTo>
                      <a:pt x="94" y="54"/>
                    </a:lnTo>
                    <a:lnTo>
                      <a:pt x="94" y="51"/>
                    </a:lnTo>
                    <a:lnTo>
                      <a:pt x="85" y="35"/>
                    </a:lnTo>
                    <a:lnTo>
                      <a:pt x="85" y="23"/>
                    </a:lnTo>
                    <a:lnTo>
                      <a:pt x="89" y="21"/>
                    </a:lnTo>
                    <a:lnTo>
                      <a:pt x="91" y="16"/>
                    </a:lnTo>
                    <a:lnTo>
                      <a:pt x="94" y="12"/>
                    </a:lnTo>
                    <a:lnTo>
                      <a:pt x="94" y="11"/>
                    </a:lnTo>
                    <a:lnTo>
                      <a:pt x="94" y="11"/>
                    </a:lnTo>
                    <a:lnTo>
                      <a:pt x="92" y="7"/>
                    </a:lnTo>
                    <a:lnTo>
                      <a:pt x="92" y="9"/>
                    </a:lnTo>
                    <a:lnTo>
                      <a:pt x="77" y="9"/>
                    </a:lnTo>
                    <a:lnTo>
                      <a:pt x="72" y="5"/>
                    </a:lnTo>
                    <a:lnTo>
                      <a:pt x="66" y="5"/>
                    </a:lnTo>
                    <a:lnTo>
                      <a:pt x="61" y="4"/>
                    </a:lnTo>
                    <a:lnTo>
                      <a:pt x="58" y="4"/>
                    </a:lnTo>
                    <a:lnTo>
                      <a:pt x="56" y="0"/>
                    </a:lnTo>
                    <a:lnTo>
                      <a:pt x="56" y="4"/>
                    </a:lnTo>
                    <a:lnTo>
                      <a:pt x="52" y="4"/>
                    </a:lnTo>
                    <a:lnTo>
                      <a:pt x="52" y="4"/>
                    </a:lnTo>
                    <a:lnTo>
                      <a:pt x="54" y="5"/>
                    </a:lnTo>
                    <a:lnTo>
                      <a:pt x="51" y="9"/>
                    </a:lnTo>
                    <a:lnTo>
                      <a:pt x="51" y="7"/>
                    </a:lnTo>
                    <a:lnTo>
                      <a:pt x="44" y="7"/>
                    </a:lnTo>
                    <a:lnTo>
                      <a:pt x="42" y="5"/>
                    </a:lnTo>
                    <a:lnTo>
                      <a:pt x="42" y="9"/>
                    </a:lnTo>
                    <a:lnTo>
                      <a:pt x="39" y="9"/>
                    </a:lnTo>
                    <a:lnTo>
                      <a:pt x="35" y="9"/>
                    </a:lnTo>
                    <a:lnTo>
                      <a:pt x="33" y="12"/>
                    </a:lnTo>
                    <a:lnTo>
                      <a:pt x="33" y="12"/>
                    </a:lnTo>
                    <a:lnTo>
                      <a:pt x="28" y="14"/>
                    </a:lnTo>
                    <a:lnTo>
                      <a:pt x="25" y="18"/>
                    </a:lnTo>
                    <a:lnTo>
                      <a:pt x="25" y="30"/>
                    </a:lnTo>
                    <a:lnTo>
                      <a:pt x="28" y="30"/>
                    </a:lnTo>
                    <a:lnTo>
                      <a:pt x="30" y="30"/>
                    </a:lnTo>
                    <a:lnTo>
                      <a:pt x="30" y="30"/>
                    </a:lnTo>
                    <a:lnTo>
                      <a:pt x="30" y="32"/>
                    </a:lnTo>
                    <a:lnTo>
                      <a:pt x="28" y="32"/>
                    </a:lnTo>
                    <a:lnTo>
                      <a:pt x="28" y="35"/>
                    </a:lnTo>
                    <a:lnTo>
                      <a:pt x="30" y="40"/>
                    </a:lnTo>
                    <a:lnTo>
                      <a:pt x="35" y="44"/>
                    </a:lnTo>
                    <a:lnTo>
                      <a:pt x="37" y="44"/>
                    </a:lnTo>
                    <a:lnTo>
                      <a:pt x="37" y="40"/>
                    </a:lnTo>
                    <a:lnTo>
                      <a:pt x="40" y="40"/>
                    </a:lnTo>
                    <a:lnTo>
                      <a:pt x="42" y="40"/>
                    </a:lnTo>
                    <a:lnTo>
                      <a:pt x="40" y="51"/>
                    </a:lnTo>
                    <a:lnTo>
                      <a:pt x="40" y="52"/>
                    </a:lnTo>
                    <a:lnTo>
                      <a:pt x="42" y="52"/>
                    </a:lnTo>
                    <a:lnTo>
                      <a:pt x="47" y="49"/>
                    </a:lnTo>
                    <a:lnTo>
                      <a:pt x="52" y="49"/>
                    </a:lnTo>
                    <a:lnTo>
                      <a:pt x="56" y="51"/>
                    </a:lnTo>
                    <a:lnTo>
                      <a:pt x="58" y="51"/>
                    </a:lnTo>
                    <a:lnTo>
                      <a:pt x="58" y="49"/>
                    </a:lnTo>
                    <a:lnTo>
                      <a:pt x="61" y="49"/>
                    </a:lnTo>
                    <a:lnTo>
                      <a:pt x="61" y="52"/>
                    </a:lnTo>
                    <a:lnTo>
                      <a:pt x="66" y="52"/>
                    </a:lnTo>
                    <a:lnTo>
                      <a:pt x="70" y="58"/>
                    </a:lnTo>
                    <a:lnTo>
                      <a:pt x="72" y="59"/>
                    </a:lnTo>
                    <a:lnTo>
                      <a:pt x="75" y="63"/>
                    </a:lnTo>
                    <a:lnTo>
                      <a:pt x="79" y="65"/>
                    </a:lnTo>
                    <a:lnTo>
                      <a:pt x="84" y="63"/>
                    </a:lnTo>
                    <a:lnTo>
                      <a:pt x="89" y="63"/>
                    </a:lnTo>
                    <a:lnTo>
                      <a:pt x="89" y="63"/>
                    </a:lnTo>
                    <a:lnTo>
                      <a:pt x="89" y="63"/>
                    </a:lnTo>
                    <a:lnTo>
                      <a:pt x="89" y="63"/>
                    </a:lnTo>
                    <a:close/>
                    <a:moveTo>
                      <a:pt x="19" y="23"/>
                    </a:moveTo>
                    <a:lnTo>
                      <a:pt x="21" y="23"/>
                    </a:lnTo>
                    <a:lnTo>
                      <a:pt x="21" y="25"/>
                    </a:lnTo>
                    <a:lnTo>
                      <a:pt x="19" y="25"/>
                    </a:lnTo>
                    <a:lnTo>
                      <a:pt x="19" y="23"/>
                    </a:lnTo>
                    <a:lnTo>
                      <a:pt x="19" y="23"/>
                    </a:lnTo>
                    <a:lnTo>
                      <a:pt x="19" y="23"/>
                    </a:lnTo>
                    <a:lnTo>
                      <a:pt x="19" y="23"/>
                    </a:lnTo>
                    <a:close/>
                    <a:moveTo>
                      <a:pt x="13" y="32"/>
                    </a:moveTo>
                    <a:lnTo>
                      <a:pt x="11" y="26"/>
                    </a:lnTo>
                    <a:lnTo>
                      <a:pt x="7" y="26"/>
                    </a:lnTo>
                    <a:lnTo>
                      <a:pt x="6" y="30"/>
                    </a:lnTo>
                    <a:lnTo>
                      <a:pt x="6" y="26"/>
                    </a:lnTo>
                    <a:lnTo>
                      <a:pt x="9" y="26"/>
                    </a:lnTo>
                    <a:lnTo>
                      <a:pt x="11" y="23"/>
                    </a:lnTo>
                    <a:lnTo>
                      <a:pt x="11" y="23"/>
                    </a:lnTo>
                    <a:lnTo>
                      <a:pt x="13" y="23"/>
                    </a:lnTo>
                    <a:lnTo>
                      <a:pt x="14" y="25"/>
                    </a:lnTo>
                    <a:lnTo>
                      <a:pt x="18" y="25"/>
                    </a:lnTo>
                    <a:lnTo>
                      <a:pt x="19" y="26"/>
                    </a:lnTo>
                    <a:lnTo>
                      <a:pt x="18" y="26"/>
                    </a:lnTo>
                    <a:lnTo>
                      <a:pt x="14" y="30"/>
                    </a:lnTo>
                    <a:lnTo>
                      <a:pt x="13" y="32"/>
                    </a:lnTo>
                    <a:lnTo>
                      <a:pt x="13" y="32"/>
                    </a:lnTo>
                    <a:lnTo>
                      <a:pt x="13" y="32"/>
                    </a:lnTo>
                    <a:lnTo>
                      <a:pt x="13" y="32"/>
                    </a:lnTo>
                    <a:close/>
                    <a:moveTo>
                      <a:pt x="19" y="33"/>
                    </a:moveTo>
                    <a:lnTo>
                      <a:pt x="19" y="32"/>
                    </a:lnTo>
                    <a:lnTo>
                      <a:pt x="25" y="32"/>
                    </a:lnTo>
                    <a:lnTo>
                      <a:pt x="25" y="35"/>
                    </a:lnTo>
                    <a:lnTo>
                      <a:pt x="25" y="35"/>
                    </a:lnTo>
                    <a:lnTo>
                      <a:pt x="19" y="33"/>
                    </a:lnTo>
                    <a:lnTo>
                      <a:pt x="19" y="33"/>
                    </a:lnTo>
                    <a:lnTo>
                      <a:pt x="19" y="33"/>
                    </a:lnTo>
                    <a:lnTo>
                      <a:pt x="19" y="33"/>
                    </a:lnTo>
                    <a:close/>
                    <a:moveTo>
                      <a:pt x="6" y="52"/>
                    </a:moveTo>
                    <a:lnTo>
                      <a:pt x="6" y="54"/>
                    </a:lnTo>
                    <a:lnTo>
                      <a:pt x="7" y="51"/>
                    </a:lnTo>
                    <a:lnTo>
                      <a:pt x="7" y="49"/>
                    </a:lnTo>
                    <a:lnTo>
                      <a:pt x="11" y="44"/>
                    </a:lnTo>
                    <a:lnTo>
                      <a:pt x="16" y="44"/>
                    </a:lnTo>
                    <a:lnTo>
                      <a:pt x="18" y="40"/>
                    </a:lnTo>
                    <a:lnTo>
                      <a:pt x="19" y="40"/>
                    </a:lnTo>
                    <a:lnTo>
                      <a:pt x="21" y="40"/>
                    </a:lnTo>
                    <a:lnTo>
                      <a:pt x="21" y="40"/>
                    </a:lnTo>
                    <a:lnTo>
                      <a:pt x="21" y="38"/>
                    </a:lnTo>
                    <a:lnTo>
                      <a:pt x="19" y="35"/>
                    </a:lnTo>
                    <a:lnTo>
                      <a:pt x="18" y="35"/>
                    </a:lnTo>
                    <a:lnTo>
                      <a:pt x="13" y="35"/>
                    </a:lnTo>
                    <a:lnTo>
                      <a:pt x="11" y="33"/>
                    </a:lnTo>
                    <a:lnTo>
                      <a:pt x="9" y="35"/>
                    </a:lnTo>
                    <a:lnTo>
                      <a:pt x="7" y="35"/>
                    </a:lnTo>
                    <a:lnTo>
                      <a:pt x="6" y="38"/>
                    </a:lnTo>
                    <a:lnTo>
                      <a:pt x="6" y="35"/>
                    </a:lnTo>
                    <a:lnTo>
                      <a:pt x="2" y="35"/>
                    </a:lnTo>
                    <a:lnTo>
                      <a:pt x="2" y="35"/>
                    </a:lnTo>
                    <a:lnTo>
                      <a:pt x="0" y="38"/>
                    </a:lnTo>
                    <a:lnTo>
                      <a:pt x="6" y="38"/>
                    </a:lnTo>
                    <a:lnTo>
                      <a:pt x="6" y="40"/>
                    </a:lnTo>
                    <a:lnTo>
                      <a:pt x="2" y="40"/>
                    </a:lnTo>
                    <a:lnTo>
                      <a:pt x="2" y="44"/>
                    </a:lnTo>
                    <a:lnTo>
                      <a:pt x="6" y="44"/>
                    </a:lnTo>
                    <a:lnTo>
                      <a:pt x="7" y="45"/>
                    </a:lnTo>
                    <a:lnTo>
                      <a:pt x="6" y="49"/>
                    </a:lnTo>
                    <a:lnTo>
                      <a:pt x="6" y="49"/>
                    </a:lnTo>
                    <a:lnTo>
                      <a:pt x="6" y="52"/>
                    </a:lnTo>
                    <a:lnTo>
                      <a:pt x="6" y="52"/>
                    </a:lnTo>
                    <a:lnTo>
                      <a:pt x="6"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8" name="Freeform 81"/>
              <p:cNvSpPr>
                <a:spLocks/>
              </p:cNvSpPr>
              <p:nvPr/>
            </p:nvSpPr>
            <p:spPr bwMode="auto">
              <a:xfrm>
                <a:off x="4943475" y="2470151"/>
                <a:ext cx="168275" cy="90488"/>
              </a:xfrm>
              <a:custGeom>
                <a:avLst/>
                <a:gdLst/>
                <a:ahLst/>
                <a:cxnLst>
                  <a:cxn ang="0">
                    <a:pos x="106" y="40"/>
                  </a:cxn>
                  <a:cxn ang="0">
                    <a:pos x="102" y="31"/>
                  </a:cxn>
                  <a:cxn ang="0">
                    <a:pos x="99" y="26"/>
                  </a:cxn>
                  <a:cxn ang="0">
                    <a:pos x="99" y="19"/>
                  </a:cxn>
                  <a:cxn ang="0">
                    <a:pos x="99" y="19"/>
                  </a:cxn>
                  <a:cxn ang="0">
                    <a:pos x="88" y="14"/>
                  </a:cxn>
                  <a:cxn ang="0">
                    <a:pos x="80" y="12"/>
                  </a:cxn>
                  <a:cxn ang="0">
                    <a:pos x="76" y="7"/>
                  </a:cxn>
                  <a:cxn ang="0">
                    <a:pos x="67" y="3"/>
                  </a:cxn>
                  <a:cxn ang="0">
                    <a:pos x="64" y="0"/>
                  </a:cxn>
                  <a:cxn ang="0">
                    <a:pos x="60" y="1"/>
                  </a:cxn>
                  <a:cxn ang="0">
                    <a:pos x="54" y="0"/>
                  </a:cxn>
                  <a:cxn ang="0">
                    <a:pos x="47" y="3"/>
                  </a:cxn>
                  <a:cxn ang="0">
                    <a:pos x="48" y="14"/>
                  </a:cxn>
                  <a:cxn ang="0">
                    <a:pos x="40" y="26"/>
                  </a:cxn>
                  <a:cxn ang="0">
                    <a:pos x="31" y="22"/>
                  </a:cxn>
                  <a:cxn ang="0">
                    <a:pos x="24" y="12"/>
                  </a:cxn>
                  <a:cxn ang="0">
                    <a:pos x="22" y="7"/>
                  </a:cxn>
                  <a:cxn ang="0">
                    <a:pos x="14" y="10"/>
                  </a:cxn>
                  <a:cxn ang="0">
                    <a:pos x="8" y="14"/>
                  </a:cxn>
                  <a:cxn ang="0">
                    <a:pos x="8" y="19"/>
                  </a:cxn>
                  <a:cxn ang="0">
                    <a:pos x="5" y="26"/>
                  </a:cxn>
                  <a:cxn ang="0">
                    <a:pos x="1" y="34"/>
                  </a:cxn>
                  <a:cxn ang="0">
                    <a:pos x="0" y="40"/>
                  </a:cxn>
                  <a:cxn ang="0">
                    <a:pos x="3" y="48"/>
                  </a:cxn>
                  <a:cxn ang="0">
                    <a:pos x="5" y="48"/>
                  </a:cxn>
                  <a:cxn ang="0">
                    <a:pos x="12" y="41"/>
                  </a:cxn>
                  <a:cxn ang="0">
                    <a:pos x="26" y="41"/>
                  </a:cxn>
                  <a:cxn ang="0">
                    <a:pos x="31" y="41"/>
                  </a:cxn>
                  <a:cxn ang="0">
                    <a:pos x="38" y="40"/>
                  </a:cxn>
                  <a:cxn ang="0">
                    <a:pos x="41" y="41"/>
                  </a:cxn>
                  <a:cxn ang="0">
                    <a:pos x="50" y="45"/>
                  </a:cxn>
                  <a:cxn ang="0">
                    <a:pos x="57" y="41"/>
                  </a:cxn>
                  <a:cxn ang="0">
                    <a:pos x="69" y="45"/>
                  </a:cxn>
                  <a:cxn ang="0">
                    <a:pos x="76" y="50"/>
                  </a:cxn>
                  <a:cxn ang="0">
                    <a:pos x="85" y="55"/>
                  </a:cxn>
                  <a:cxn ang="0">
                    <a:pos x="87" y="57"/>
                  </a:cxn>
                  <a:cxn ang="0">
                    <a:pos x="99" y="54"/>
                  </a:cxn>
                  <a:cxn ang="0">
                    <a:pos x="102" y="48"/>
                  </a:cxn>
                  <a:cxn ang="0">
                    <a:pos x="106" y="45"/>
                  </a:cxn>
                  <a:cxn ang="0">
                    <a:pos x="106" y="45"/>
                  </a:cxn>
                </a:cxnLst>
                <a:rect l="0" t="0" r="r" b="b"/>
                <a:pathLst>
                  <a:path w="106" h="57">
                    <a:moveTo>
                      <a:pt x="106" y="45"/>
                    </a:moveTo>
                    <a:lnTo>
                      <a:pt x="106" y="40"/>
                    </a:lnTo>
                    <a:lnTo>
                      <a:pt x="104" y="36"/>
                    </a:lnTo>
                    <a:lnTo>
                      <a:pt x="102" y="31"/>
                    </a:lnTo>
                    <a:lnTo>
                      <a:pt x="102" y="29"/>
                    </a:lnTo>
                    <a:lnTo>
                      <a:pt x="99" y="26"/>
                    </a:lnTo>
                    <a:lnTo>
                      <a:pt x="99" y="22"/>
                    </a:lnTo>
                    <a:lnTo>
                      <a:pt x="99" y="19"/>
                    </a:lnTo>
                    <a:lnTo>
                      <a:pt x="97" y="19"/>
                    </a:lnTo>
                    <a:lnTo>
                      <a:pt x="99" y="19"/>
                    </a:lnTo>
                    <a:lnTo>
                      <a:pt x="97" y="14"/>
                    </a:lnTo>
                    <a:lnTo>
                      <a:pt x="88" y="14"/>
                    </a:lnTo>
                    <a:lnTo>
                      <a:pt x="83" y="14"/>
                    </a:lnTo>
                    <a:lnTo>
                      <a:pt x="80" y="12"/>
                    </a:lnTo>
                    <a:lnTo>
                      <a:pt x="76" y="10"/>
                    </a:lnTo>
                    <a:lnTo>
                      <a:pt x="76" y="7"/>
                    </a:lnTo>
                    <a:lnTo>
                      <a:pt x="71" y="3"/>
                    </a:lnTo>
                    <a:lnTo>
                      <a:pt x="67" y="3"/>
                    </a:lnTo>
                    <a:lnTo>
                      <a:pt x="67" y="0"/>
                    </a:lnTo>
                    <a:lnTo>
                      <a:pt x="64" y="0"/>
                    </a:lnTo>
                    <a:lnTo>
                      <a:pt x="64" y="1"/>
                    </a:lnTo>
                    <a:lnTo>
                      <a:pt x="60" y="1"/>
                    </a:lnTo>
                    <a:lnTo>
                      <a:pt x="57" y="0"/>
                    </a:lnTo>
                    <a:lnTo>
                      <a:pt x="54" y="0"/>
                    </a:lnTo>
                    <a:lnTo>
                      <a:pt x="48" y="3"/>
                    </a:lnTo>
                    <a:lnTo>
                      <a:pt x="47" y="3"/>
                    </a:lnTo>
                    <a:lnTo>
                      <a:pt x="47" y="8"/>
                    </a:lnTo>
                    <a:lnTo>
                      <a:pt x="48" y="14"/>
                    </a:lnTo>
                    <a:lnTo>
                      <a:pt x="47" y="22"/>
                    </a:lnTo>
                    <a:lnTo>
                      <a:pt x="40" y="26"/>
                    </a:lnTo>
                    <a:lnTo>
                      <a:pt x="36" y="26"/>
                    </a:lnTo>
                    <a:lnTo>
                      <a:pt x="31" y="22"/>
                    </a:lnTo>
                    <a:lnTo>
                      <a:pt x="31" y="19"/>
                    </a:lnTo>
                    <a:lnTo>
                      <a:pt x="24" y="12"/>
                    </a:lnTo>
                    <a:lnTo>
                      <a:pt x="24" y="7"/>
                    </a:lnTo>
                    <a:lnTo>
                      <a:pt x="22" y="7"/>
                    </a:lnTo>
                    <a:lnTo>
                      <a:pt x="19" y="10"/>
                    </a:lnTo>
                    <a:lnTo>
                      <a:pt x="14" y="10"/>
                    </a:lnTo>
                    <a:lnTo>
                      <a:pt x="12" y="12"/>
                    </a:lnTo>
                    <a:lnTo>
                      <a:pt x="8" y="14"/>
                    </a:lnTo>
                    <a:lnTo>
                      <a:pt x="8" y="17"/>
                    </a:lnTo>
                    <a:lnTo>
                      <a:pt x="8" y="19"/>
                    </a:lnTo>
                    <a:lnTo>
                      <a:pt x="5" y="19"/>
                    </a:lnTo>
                    <a:lnTo>
                      <a:pt x="5" y="26"/>
                    </a:lnTo>
                    <a:lnTo>
                      <a:pt x="1" y="31"/>
                    </a:lnTo>
                    <a:lnTo>
                      <a:pt x="1" y="34"/>
                    </a:lnTo>
                    <a:lnTo>
                      <a:pt x="1" y="38"/>
                    </a:lnTo>
                    <a:lnTo>
                      <a:pt x="0" y="40"/>
                    </a:lnTo>
                    <a:lnTo>
                      <a:pt x="1" y="48"/>
                    </a:lnTo>
                    <a:lnTo>
                      <a:pt x="3" y="48"/>
                    </a:lnTo>
                    <a:lnTo>
                      <a:pt x="3" y="50"/>
                    </a:lnTo>
                    <a:lnTo>
                      <a:pt x="5" y="48"/>
                    </a:lnTo>
                    <a:lnTo>
                      <a:pt x="8" y="45"/>
                    </a:lnTo>
                    <a:lnTo>
                      <a:pt x="12" y="41"/>
                    </a:lnTo>
                    <a:lnTo>
                      <a:pt x="19" y="40"/>
                    </a:lnTo>
                    <a:lnTo>
                      <a:pt x="26" y="41"/>
                    </a:lnTo>
                    <a:lnTo>
                      <a:pt x="27" y="40"/>
                    </a:lnTo>
                    <a:lnTo>
                      <a:pt x="31" y="41"/>
                    </a:lnTo>
                    <a:lnTo>
                      <a:pt x="34" y="40"/>
                    </a:lnTo>
                    <a:lnTo>
                      <a:pt x="38" y="40"/>
                    </a:lnTo>
                    <a:lnTo>
                      <a:pt x="38" y="41"/>
                    </a:lnTo>
                    <a:lnTo>
                      <a:pt x="41" y="41"/>
                    </a:lnTo>
                    <a:lnTo>
                      <a:pt x="45" y="45"/>
                    </a:lnTo>
                    <a:lnTo>
                      <a:pt x="50" y="45"/>
                    </a:lnTo>
                    <a:lnTo>
                      <a:pt x="50" y="45"/>
                    </a:lnTo>
                    <a:lnTo>
                      <a:pt x="57" y="41"/>
                    </a:lnTo>
                    <a:lnTo>
                      <a:pt x="62" y="45"/>
                    </a:lnTo>
                    <a:lnTo>
                      <a:pt x="69" y="45"/>
                    </a:lnTo>
                    <a:lnTo>
                      <a:pt x="73" y="50"/>
                    </a:lnTo>
                    <a:lnTo>
                      <a:pt x="76" y="50"/>
                    </a:lnTo>
                    <a:lnTo>
                      <a:pt x="80" y="55"/>
                    </a:lnTo>
                    <a:lnTo>
                      <a:pt x="85" y="55"/>
                    </a:lnTo>
                    <a:lnTo>
                      <a:pt x="87" y="57"/>
                    </a:lnTo>
                    <a:lnTo>
                      <a:pt x="87" y="57"/>
                    </a:lnTo>
                    <a:lnTo>
                      <a:pt x="92" y="55"/>
                    </a:lnTo>
                    <a:lnTo>
                      <a:pt x="99" y="54"/>
                    </a:lnTo>
                    <a:lnTo>
                      <a:pt x="99" y="48"/>
                    </a:lnTo>
                    <a:lnTo>
                      <a:pt x="102" y="48"/>
                    </a:lnTo>
                    <a:lnTo>
                      <a:pt x="104" y="45"/>
                    </a:lnTo>
                    <a:lnTo>
                      <a:pt x="106" y="45"/>
                    </a:lnTo>
                    <a:lnTo>
                      <a:pt x="106" y="45"/>
                    </a:lnTo>
                    <a:lnTo>
                      <a:pt x="106" y="4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9" name="Freeform 82"/>
              <p:cNvSpPr>
                <a:spLocks/>
              </p:cNvSpPr>
              <p:nvPr/>
            </p:nvSpPr>
            <p:spPr bwMode="auto">
              <a:xfrm>
                <a:off x="4951413" y="2530476"/>
                <a:ext cx="130175" cy="100013"/>
              </a:xfrm>
              <a:custGeom>
                <a:avLst/>
                <a:gdLst/>
                <a:ahLst/>
                <a:cxnLst>
                  <a:cxn ang="0">
                    <a:pos x="26" y="40"/>
                  </a:cxn>
                  <a:cxn ang="0">
                    <a:pos x="26" y="35"/>
                  </a:cxn>
                  <a:cxn ang="0">
                    <a:pos x="22" y="33"/>
                  </a:cxn>
                  <a:cxn ang="0">
                    <a:pos x="14" y="33"/>
                  </a:cxn>
                  <a:cxn ang="0">
                    <a:pos x="5" y="21"/>
                  </a:cxn>
                  <a:cxn ang="0">
                    <a:pos x="0" y="24"/>
                  </a:cxn>
                  <a:cxn ang="0">
                    <a:pos x="0" y="16"/>
                  </a:cxn>
                  <a:cxn ang="0">
                    <a:pos x="2" y="10"/>
                  </a:cxn>
                  <a:cxn ang="0">
                    <a:pos x="9" y="2"/>
                  </a:cxn>
                  <a:cxn ang="0">
                    <a:pos x="22" y="2"/>
                  </a:cxn>
                  <a:cxn ang="0">
                    <a:pos x="28" y="2"/>
                  </a:cxn>
                  <a:cxn ang="0">
                    <a:pos x="35" y="0"/>
                  </a:cxn>
                  <a:cxn ang="0">
                    <a:pos x="36" y="2"/>
                  </a:cxn>
                  <a:cxn ang="0">
                    <a:pos x="45" y="5"/>
                  </a:cxn>
                  <a:cxn ang="0">
                    <a:pos x="54" y="2"/>
                  </a:cxn>
                  <a:cxn ang="0">
                    <a:pos x="64" y="5"/>
                  </a:cxn>
                  <a:cxn ang="0">
                    <a:pos x="73" y="10"/>
                  </a:cxn>
                  <a:cxn ang="0">
                    <a:pos x="82" y="16"/>
                  </a:cxn>
                  <a:cxn ang="0">
                    <a:pos x="80" y="24"/>
                  </a:cxn>
                  <a:cxn ang="0">
                    <a:pos x="82" y="28"/>
                  </a:cxn>
                  <a:cxn ang="0">
                    <a:pos x="73" y="36"/>
                  </a:cxn>
                  <a:cxn ang="0">
                    <a:pos x="69" y="43"/>
                  </a:cxn>
                  <a:cxn ang="0">
                    <a:pos x="73" y="49"/>
                  </a:cxn>
                  <a:cxn ang="0">
                    <a:pos x="68" y="47"/>
                  </a:cxn>
                  <a:cxn ang="0">
                    <a:pos x="62" y="54"/>
                  </a:cxn>
                  <a:cxn ang="0">
                    <a:pos x="59" y="59"/>
                  </a:cxn>
                  <a:cxn ang="0">
                    <a:pos x="54" y="61"/>
                  </a:cxn>
                  <a:cxn ang="0">
                    <a:pos x="42" y="61"/>
                  </a:cxn>
                  <a:cxn ang="0">
                    <a:pos x="36" y="61"/>
                  </a:cxn>
                  <a:cxn ang="0">
                    <a:pos x="36" y="49"/>
                  </a:cxn>
                  <a:cxn ang="0">
                    <a:pos x="29" y="45"/>
                  </a:cxn>
                  <a:cxn ang="0">
                    <a:pos x="26" y="45"/>
                  </a:cxn>
                </a:cxnLst>
                <a:rect l="0" t="0" r="r" b="b"/>
                <a:pathLst>
                  <a:path w="82" h="63">
                    <a:moveTo>
                      <a:pt x="26" y="45"/>
                    </a:moveTo>
                    <a:lnTo>
                      <a:pt x="26" y="40"/>
                    </a:lnTo>
                    <a:lnTo>
                      <a:pt x="28" y="36"/>
                    </a:lnTo>
                    <a:lnTo>
                      <a:pt x="26" y="35"/>
                    </a:lnTo>
                    <a:lnTo>
                      <a:pt x="22" y="35"/>
                    </a:lnTo>
                    <a:lnTo>
                      <a:pt x="22" y="33"/>
                    </a:lnTo>
                    <a:lnTo>
                      <a:pt x="22" y="29"/>
                    </a:lnTo>
                    <a:lnTo>
                      <a:pt x="14" y="33"/>
                    </a:lnTo>
                    <a:lnTo>
                      <a:pt x="10" y="28"/>
                    </a:lnTo>
                    <a:lnTo>
                      <a:pt x="5" y="21"/>
                    </a:lnTo>
                    <a:lnTo>
                      <a:pt x="0" y="24"/>
                    </a:lnTo>
                    <a:lnTo>
                      <a:pt x="0" y="24"/>
                    </a:lnTo>
                    <a:lnTo>
                      <a:pt x="0" y="19"/>
                    </a:lnTo>
                    <a:lnTo>
                      <a:pt x="0" y="16"/>
                    </a:lnTo>
                    <a:lnTo>
                      <a:pt x="0" y="10"/>
                    </a:lnTo>
                    <a:lnTo>
                      <a:pt x="2" y="10"/>
                    </a:lnTo>
                    <a:lnTo>
                      <a:pt x="3" y="7"/>
                    </a:lnTo>
                    <a:lnTo>
                      <a:pt x="9" y="2"/>
                    </a:lnTo>
                    <a:lnTo>
                      <a:pt x="14" y="0"/>
                    </a:lnTo>
                    <a:lnTo>
                      <a:pt x="22" y="2"/>
                    </a:lnTo>
                    <a:lnTo>
                      <a:pt x="24" y="0"/>
                    </a:lnTo>
                    <a:lnTo>
                      <a:pt x="28" y="2"/>
                    </a:lnTo>
                    <a:lnTo>
                      <a:pt x="31" y="0"/>
                    </a:lnTo>
                    <a:lnTo>
                      <a:pt x="35" y="0"/>
                    </a:lnTo>
                    <a:lnTo>
                      <a:pt x="35" y="2"/>
                    </a:lnTo>
                    <a:lnTo>
                      <a:pt x="36" y="2"/>
                    </a:lnTo>
                    <a:lnTo>
                      <a:pt x="40" y="5"/>
                    </a:lnTo>
                    <a:lnTo>
                      <a:pt x="45" y="5"/>
                    </a:lnTo>
                    <a:lnTo>
                      <a:pt x="47" y="5"/>
                    </a:lnTo>
                    <a:lnTo>
                      <a:pt x="54" y="2"/>
                    </a:lnTo>
                    <a:lnTo>
                      <a:pt x="59" y="5"/>
                    </a:lnTo>
                    <a:lnTo>
                      <a:pt x="64" y="5"/>
                    </a:lnTo>
                    <a:lnTo>
                      <a:pt x="68" y="10"/>
                    </a:lnTo>
                    <a:lnTo>
                      <a:pt x="73" y="10"/>
                    </a:lnTo>
                    <a:lnTo>
                      <a:pt x="76" y="16"/>
                    </a:lnTo>
                    <a:lnTo>
                      <a:pt x="82" y="16"/>
                    </a:lnTo>
                    <a:lnTo>
                      <a:pt x="82" y="19"/>
                    </a:lnTo>
                    <a:lnTo>
                      <a:pt x="80" y="24"/>
                    </a:lnTo>
                    <a:lnTo>
                      <a:pt x="82" y="24"/>
                    </a:lnTo>
                    <a:lnTo>
                      <a:pt x="82" y="28"/>
                    </a:lnTo>
                    <a:lnTo>
                      <a:pt x="76" y="33"/>
                    </a:lnTo>
                    <a:lnTo>
                      <a:pt x="73" y="36"/>
                    </a:lnTo>
                    <a:lnTo>
                      <a:pt x="69" y="38"/>
                    </a:lnTo>
                    <a:lnTo>
                      <a:pt x="69" y="43"/>
                    </a:lnTo>
                    <a:lnTo>
                      <a:pt x="73" y="45"/>
                    </a:lnTo>
                    <a:lnTo>
                      <a:pt x="73" y="49"/>
                    </a:lnTo>
                    <a:lnTo>
                      <a:pt x="69" y="49"/>
                    </a:lnTo>
                    <a:lnTo>
                      <a:pt x="68" y="47"/>
                    </a:lnTo>
                    <a:lnTo>
                      <a:pt x="64" y="49"/>
                    </a:lnTo>
                    <a:lnTo>
                      <a:pt x="62" y="54"/>
                    </a:lnTo>
                    <a:lnTo>
                      <a:pt x="59" y="54"/>
                    </a:lnTo>
                    <a:lnTo>
                      <a:pt x="59" y="59"/>
                    </a:lnTo>
                    <a:lnTo>
                      <a:pt x="59" y="59"/>
                    </a:lnTo>
                    <a:lnTo>
                      <a:pt x="54" y="61"/>
                    </a:lnTo>
                    <a:lnTo>
                      <a:pt x="49" y="59"/>
                    </a:lnTo>
                    <a:lnTo>
                      <a:pt x="42" y="61"/>
                    </a:lnTo>
                    <a:lnTo>
                      <a:pt x="40" y="63"/>
                    </a:lnTo>
                    <a:lnTo>
                      <a:pt x="36" y="61"/>
                    </a:lnTo>
                    <a:lnTo>
                      <a:pt x="36" y="56"/>
                    </a:lnTo>
                    <a:lnTo>
                      <a:pt x="36" y="49"/>
                    </a:lnTo>
                    <a:lnTo>
                      <a:pt x="33" y="49"/>
                    </a:lnTo>
                    <a:lnTo>
                      <a:pt x="29" y="45"/>
                    </a:lnTo>
                    <a:lnTo>
                      <a:pt x="26" y="45"/>
                    </a:lnTo>
                    <a:lnTo>
                      <a:pt x="26" y="45"/>
                    </a:lnTo>
                    <a:lnTo>
                      <a:pt x="26" y="4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0" name="Freeform 83"/>
              <p:cNvSpPr>
                <a:spLocks/>
              </p:cNvSpPr>
              <p:nvPr/>
            </p:nvSpPr>
            <p:spPr bwMode="auto">
              <a:xfrm>
                <a:off x="5011738" y="2538413"/>
                <a:ext cx="231775" cy="171450"/>
              </a:xfrm>
              <a:custGeom>
                <a:avLst/>
                <a:gdLst/>
                <a:ahLst/>
                <a:cxnLst>
                  <a:cxn ang="0">
                    <a:pos x="2" y="52"/>
                  </a:cxn>
                  <a:cxn ang="0">
                    <a:pos x="16" y="52"/>
                  </a:cxn>
                  <a:cxn ang="0">
                    <a:pos x="21" y="51"/>
                  </a:cxn>
                  <a:cxn ang="0">
                    <a:pos x="24" y="45"/>
                  </a:cxn>
                  <a:cxn ang="0">
                    <a:pos x="30" y="40"/>
                  </a:cxn>
                  <a:cxn ang="0">
                    <a:pos x="35" y="42"/>
                  </a:cxn>
                  <a:cxn ang="0">
                    <a:pos x="31" y="37"/>
                  </a:cxn>
                  <a:cxn ang="0">
                    <a:pos x="35" y="30"/>
                  </a:cxn>
                  <a:cxn ang="0">
                    <a:pos x="44" y="23"/>
                  </a:cxn>
                  <a:cxn ang="0">
                    <a:pos x="42" y="18"/>
                  </a:cxn>
                  <a:cxn ang="0">
                    <a:pos x="49" y="11"/>
                  </a:cxn>
                  <a:cxn ang="0">
                    <a:pos x="57" y="5"/>
                  </a:cxn>
                  <a:cxn ang="0">
                    <a:pos x="63" y="0"/>
                  </a:cxn>
                  <a:cxn ang="0">
                    <a:pos x="70" y="0"/>
                  </a:cxn>
                  <a:cxn ang="0">
                    <a:pos x="77" y="5"/>
                  </a:cxn>
                  <a:cxn ang="0">
                    <a:pos x="85" y="4"/>
                  </a:cxn>
                  <a:cxn ang="0">
                    <a:pos x="94" y="5"/>
                  </a:cxn>
                  <a:cxn ang="0">
                    <a:pos x="99" y="5"/>
                  </a:cxn>
                  <a:cxn ang="0">
                    <a:pos x="110" y="9"/>
                  </a:cxn>
                  <a:cxn ang="0">
                    <a:pos x="110" y="18"/>
                  </a:cxn>
                  <a:cxn ang="0">
                    <a:pos x="113" y="26"/>
                  </a:cxn>
                  <a:cxn ang="0">
                    <a:pos x="120" y="33"/>
                  </a:cxn>
                  <a:cxn ang="0">
                    <a:pos x="127" y="42"/>
                  </a:cxn>
                  <a:cxn ang="0">
                    <a:pos x="136" y="49"/>
                  </a:cxn>
                  <a:cxn ang="0">
                    <a:pos x="141" y="59"/>
                  </a:cxn>
                  <a:cxn ang="0">
                    <a:pos x="144" y="63"/>
                  </a:cxn>
                  <a:cxn ang="0">
                    <a:pos x="132" y="71"/>
                  </a:cxn>
                  <a:cxn ang="0">
                    <a:pos x="127" y="68"/>
                  </a:cxn>
                  <a:cxn ang="0">
                    <a:pos x="130" y="78"/>
                  </a:cxn>
                  <a:cxn ang="0">
                    <a:pos x="132" y="89"/>
                  </a:cxn>
                  <a:cxn ang="0">
                    <a:pos x="132" y="91"/>
                  </a:cxn>
                  <a:cxn ang="0">
                    <a:pos x="120" y="94"/>
                  </a:cxn>
                  <a:cxn ang="0">
                    <a:pos x="118" y="104"/>
                  </a:cxn>
                  <a:cxn ang="0">
                    <a:pos x="111" y="104"/>
                  </a:cxn>
                  <a:cxn ang="0">
                    <a:pos x="103" y="104"/>
                  </a:cxn>
                  <a:cxn ang="0">
                    <a:pos x="96" y="108"/>
                  </a:cxn>
                  <a:cxn ang="0">
                    <a:pos x="90" y="104"/>
                  </a:cxn>
                  <a:cxn ang="0">
                    <a:pos x="82" y="104"/>
                  </a:cxn>
                  <a:cxn ang="0">
                    <a:pos x="75" y="104"/>
                  </a:cxn>
                  <a:cxn ang="0">
                    <a:pos x="70" y="104"/>
                  </a:cxn>
                  <a:cxn ang="0">
                    <a:pos x="61" y="104"/>
                  </a:cxn>
                  <a:cxn ang="0">
                    <a:pos x="57" y="99"/>
                  </a:cxn>
                  <a:cxn ang="0">
                    <a:pos x="42" y="98"/>
                  </a:cxn>
                  <a:cxn ang="0">
                    <a:pos x="37" y="99"/>
                  </a:cxn>
                  <a:cxn ang="0">
                    <a:pos x="19" y="103"/>
                  </a:cxn>
                  <a:cxn ang="0">
                    <a:pos x="11" y="99"/>
                  </a:cxn>
                  <a:cxn ang="0">
                    <a:pos x="7" y="99"/>
                  </a:cxn>
                  <a:cxn ang="0">
                    <a:pos x="2" y="89"/>
                  </a:cxn>
                  <a:cxn ang="0">
                    <a:pos x="7" y="85"/>
                  </a:cxn>
                  <a:cxn ang="0">
                    <a:pos x="7" y="71"/>
                  </a:cxn>
                  <a:cxn ang="0">
                    <a:pos x="2" y="63"/>
                  </a:cxn>
                  <a:cxn ang="0">
                    <a:pos x="0" y="56"/>
                  </a:cxn>
                  <a:cxn ang="0">
                    <a:pos x="0" y="56"/>
                  </a:cxn>
                </a:cxnLst>
                <a:rect l="0" t="0" r="r" b="b"/>
                <a:pathLst>
                  <a:path w="146" h="108">
                    <a:moveTo>
                      <a:pt x="0" y="56"/>
                    </a:moveTo>
                    <a:lnTo>
                      <a:pt x="2" y="52"/>
                    </a:lnTo>
                    <a:lnTo>
                      <a:pt x="11" y="51"/>
                    </a:lnTo>
                    <a:lnTo>
                      <a:pt x="16" y="52"/>
                    </a:lnTo>
                    <a:lnTo>
                      <a:pt x="19" y="51"/>
                    </a:lnTo>
                    <a:lnTo>
                      <a:pt x="21" y="51"/>
                    </a:lnTo>
                    <a:lnTo>
                      <a:pt x="19" y="45"/>
                    </a:lnTo>
                    <a:lnTo>
                      <a:pt x="24" y="45"/>
                    </a:lnTo>
                    <a:lnTo>
                      <a:pt x="26" y="42"/>
                    </a:lnTo>
                    <a:lnTo>
                      <a:pt x="30" y="40"/>
                    </a:lnTo>
                    <a:lnTo>
                      <a:pt x="31" y="42"/>
                    </a:lnTo>
                    <a:lnTo>
                      <a:pt x="35" y="42"/>
                    </a:lnTo>
                    <a:lnTo>
                      <a:pt x="35" y="38"/>
                    </a:lnTo>
                    <a:lnTo>
                      <a:pt x="31" y="37"/>
                    </a:lnTo>
                    <a:lnTo>
                      <a:pt x="31" y="31"/>
                    </a:lnTo>
                    <a:lnTo>
                      <a:pt x="35" y="30"/>
                    </a:lnTo>
                    <a:lnTo>
                      <a:pt x="38" y="26"/>
                    </a:lnTo>
                    <a:lnTo>
                      <a:pt x="44" y="23"/>
                    </a:lnTo>
                    <a:lnTo>
                      <a:pt x="44" y="19"/>
                    </a:lnTo>
                    <a:lnTo>
                      <a:pt x="42" y="18"/>
                    </a:lnTo>
                    <a:lnTo>
                      <a:pt x="44" y="12"/>
                    </a:lnTo>
                    <a:lnTo>
                      <a:pt x="49" y="11"/>
                    </a:lnTo>
                    <a:lnTo>
                      <a:pt x="57" y="9"/>
                    </a:lnTo>
                    <a:lnTo>
                      <a:pt x="57" y="5"/>
                    </a:lnTo>
                    <a:lnTo>
                      <a:pt x="61" y="4"/>
                    </a:lnTo>
                    <a:lnTo>
                      <a:pt x="63" y="0"/>
                    </a:lnTo>
                    <a:lnTo>
                      <a:pt x="66" y="0"/>
                    </a:lnTo>
                    <a:lnTo>
                      <a:pt x="70" y="0"/>
                    </a:lnTo>
                    <a:lnTo>
                      <a:pt x="73" y="0"/>
                    </a:lnTo>
                    <a:lnTo>
                      <a:pt x="77" y="5"/>
                    </a:lnTo>
                    <a:lnTo>
                      <a:pt x="82" y="4"/>
                    </a:lnTo>
                    <a:lnTo>
                      <a:pt x="85" y="4"/>
                    </a:lnTo>
                    <a:lnTo>
                      <a:pt x="89" y="9"/>
                    </a:lnTo>
                    <a:lnTo>
                      <a:pt x="94" y="5"/>
                    </a:lnTo>
                    <a:lnTo>
                      <a:pt x="99" y="4"/>
                    </a:lnTo>
                    <a:lnTo>
                      <a:pt x="99" y="5"/>
                    </a:lnTo>
                    <a:lnTo>
                      <a:pt x="103" y="5"/>
                    </a:lnTo>
                    <a:lnTo>
                      <a:pt x="110" y="9"/>
                    </a:lnTo>
                    <a:lnTo>
                      <a:pt x="111" y="12"/>
                    </a:lnTo>
                    <a:lnTo>
                      <a:pt x="110" y="18"/>
                    </a:lnTo>
                    <a:lnTo>
                      <a:pt x="113" y="19"/>
                    </a:lnTo>
                    <a:lnTo>
                      <a:pt x="113" y="26"/>
                    </a:lnTo>
                    <a:lnTo>
                      <a:pt x="117" y="30"/>
                    </a:lnTo>
                    <a:lnTo>
                      <a:pt x="120" y="33"/>
                    </a:lnTo>
                    <a:lnTo>
                      <a:pt x="123" y="40"/>
                    </a:lnTo>
                    <a:lnTo>
                      <a:pt x="127" y="42"/>
                    </a:lnTo>
                    <a:lnTo>
                      <a:pt x="127" y="49"/>
                    </a:lnTo>
                    <a:lnTo>
                      <a:pt x="136" y="49"/>
                    </a:lnTo>
                    <a:lnTo>
                      <a:pt x="141" y="56"/>
                    </a:lnTo>
                    <a:lnTo>
                      <a:pt x="141" y="59"/>
                    </a:lnTo>
                    <a:lnTo>
                      <a:pt x="146" y="59"/>
                    </a:lnTo>
                    <a:lnTo>
                      <a:pt x="144" y="63"/>
                    </a:lnTo>
                    <a:lnTo>
                      <a:pt x="141" y="68"/>
                    </a:lnTo>
                    <a:lnTo>
                      <a:pt x="132" y="71"/>
                    </a:lnTo>
                    <a:lnTo>
                      <a:pt x="127" y="66"/>
                    </a:lnTo>
                    <a:lnTo>
                      <a:pt x="127" y="68"/>
                    </a:lnTo>
                    <a:lnTo>
                      <a:pt x="127" y="73"/>
                    </a:lnTo>
                    <a:lnTo>
                      <a:pt x="130" y="78"/>
                    </a:lnTo>
                    <a:lnTo>
                      <a:pt x="130" y="82"/>
                    </a:lnTo>
                    <a:lnTo>
                      <a:pt x="132" y="89"/>
                    </a:lnTo>
                    <a:lnTo>
                      <a:pt x="132" y="91"/>
                    </a:lnTo>
                    <a:lnTo>
                      <a:pt x="132" y="91"/>
                    </a:lnTo>
                    <a:lnTo>
                      <a:pt x="125" y="92"/>
                    </a:lnTo>
                    <a:lnTo>
                      <a:pt x="120" y="94"/>
                    </a:lnTo>
                    <a:lnTo>
                      <a:pt x="118" y="99"/>
                    </a:lnTo>
                    <a:lnTo>
                      <a:pt x="118" y="104"/>
                    </a:lnTo>
                    <a:lnTo>
                      <a:pt x="113" y="108"/>
                    </a:lnTo>
                    <a:lnTo>
                      <a:pt x="111" y="104"/>
                    </a:lnTo>
                    <a:lnTo>
                      <a:pt x="106" y="104"/>
                    </a:lnTo>
                    <a:lnTo>
                      <a:pt x="103" y="104"/>
                    </a:lnTo>
                    <a:lnTo>
                      <a:pt x="99" y="104"/>
                    </a:lnTo>
                    <a:lnTo>
                      <a:pt x="96" y="108"/>
                    </a:lnTo>
                    <a:lnTo>
                      <a:pt x="94" y="108"/>
                    </a:lnTo>
                    <a:lnTo>
                      <a:pt x="90" y="104"/>
                    </a:lnTo>
                    <a:lnTo>
                      <a:pt x="89" y="103"/>
                    </a:lnTo>
                    <a:lnTo>
                      <a:pt x="82" y="104"/>
                    </a:lnTo>
                    <a:lnTo>
                      <a:pt x="80" y="104"/>
                    </a:lnTo>
                    <a:lnTo>
                      <a:pt x="75" y="104"/>
                    </a:lnTo>
                    <a:lnTo>
                      <a:pt x="73" y="104"/>
                    </a:lnTo>
                    <a:lnTo>
                      <a:pt x="70" y="104"/>
                    </a:lnTo>
                    <a:lnTo>
                      <a:pt x="68" y="104"/>
                    </a:lnTo>
                    <a:lnTo>
                      <a:pt x="61" y="104"/>
                    </a:lnTo>
                    <a:lnTo>
                      <a:pt x="61" y="104"/>
                    </a:lnTo>
                    <a:lnTo>
                      <a:pt x="57" y="99"/>
                    </a:lnTo>
                    <a:lnTo>
                      <a:pt x="47" y="99"/>
                    </a:lnTo>
                    <a:lnTo>
                      <a:pt x="42" y="98"/>
                    </a:lnTo>
                    <a:lnTo>
                      <a:pt x="40" y="98"/>
                    </a:lnTo>
                    <a:lnTo>
                      <a:pt x="37" y="99"/>
                    </a:lnTo>
                    <a:lnTo>
                      <a:pt x="31" y="99"/>
                    </a:lnTo>
                    <a:lnTo>
                      <a:pt x="19" y="103"/>
                    </a:lnTo>
                    <a:lnTo>
                      <a:pt x="16" y="104"/>
                    </a:lnTo>
                    <a:lnTo>
                      <a:pt x="11" y="99"/>
                    </a:lnTo>
                    <a:lnTo>
                      <a:pt x="7" y="103"/>
                    </a:lnTo>
                    <a:lnTo>
                      <a:pt x="7" y="99"/>
                    </a:lnTo>
                    <a:lnTo>
                      <a:pt x="2" y="94"/>
                    </a:lnTo>
                    <a:lnTo>
                      <a:pt x="2" y="89"/>
                    </a:lnTo>
                    <a:lnTo>
                      <a:pt x="5" y="85"/>
                    </a:lnTo>
                    <a:lnTo>
                      <a:pt x="7" y="85"/>
                    </a:lnTo>
                    <a:lnTo>
                      <a:pt x="7" y="73"/>
                    </a:lnTo>
                    <a:lnTo>
                      <a:pt x="7" y="71"/>
                    </a:lnTo>
                    <a:lnTo>
                      <a:pt x="7" y="68"/>
                    </a:lnTo>
                    <a:lnTo>
                      <a:pt x="2" y="63"/>
                    </a:lnTo>
                    <a:lnTo>
                      <a:pt x="2" y="56"/>
                    </a:lnTo>
                    <a:lnTo>
                      <a:pt x="0" y="56"/>
                    </a:lnTo>
                    <a:lnTo>
                      <a:pt x="0" y="56"/>
                    </a:lnTo>
                    <a:lnTo>
                      <a:pt x="0" y="5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1" name="Freeform 84"/>
              <p:cNvSpPr>
                <a:spLocks/>
              </p:cNvSpPr>
              <p:nvPr/>
            </p:nvSpPr>
            <p:spPr bwMode="auto">
              <a:xfrm>
                <a:off x="4995863" y="2676526"/>
                <a:ext cx="449263" cy="279400"/>
              </a:xfrm>
              <a:custGeom>
                <a:avLst/>
                <a:gdLst/>
                <a:ahLst/>
                <a:cxnLst>
                  <a:cxn ang="0">
                    <a:pos x="41" y="16"/>
                  </a:cxn>
                  <a:cxn ang="0">
                    <a:pos x="66" y="16"/>
                  </a:cxn>
                  <a:cxn ang="0">
                    <a:pos x="81" y="19"/>
                  </a:cxn>
                  <a:cxn ang="0">
                    <a:pos x="100" y="19"/>
                  </a:cxn>
                  <a:cxn ang="0">
                    <a:pos x="116" y="19"/>
                  </a:cxn>
                  <a:cxn ang="0">
                    <a:pos x="128" y="9"/>
                  </a:cxn>
                  <a:cxn ang="0">
                    <a:pos x="149" y="4"/>
                  </a:cxn>
                  <a:cxn ang="0">
                    <a:pos x="177" y="0"/>
                  </a:cxn>
                  <a:cxn ang="0">
                    <a:pos x="194" y="19"/>
                  </a:cxn>
                  <a:cxn ang="0">
                    <a:pos x="205" y="38"/>
                  </a:cxn>
                  <a:cxn ang="0">
                    <a:pos x="227" y="44"/>
                  </a:cxn>
                  <a:cxn ang="0">
                    <a:pos x="246" y="54"/>
                  </a:cxn>
                  <a:cxn ang="0">
                    <a:pos x="267" y="54"/>
                  </a:cxn>
                  <a:cxn ang="0">
                    <a:pos x="283" y="61"/>
                  </a:cxn>
                  <a:cxn ang="0">
                    <a:pos x="281" y="82"/>
                  </a:cxn>
                  <a:cxn ang="0">
                    <a:pos x="269" y="99"/>
                  </a:cxn>
                  <a:cxn ang="0">
                    <a:pos x="259" y="113"/>
                  </a:cxn>
                  <a:cxn ang="0">
                    <a:pos x="245" y="120"/>
                  </a:cxn>
                  <a:cxn ang="0">
                    <a:pos x="231" y="127"/>
                  </a:cxn>
                  <a:cxn ang="0">
                    <a:pos x="213" y="125"/>
                  </a:cxn>
                  <a:cxn ang="0">
                    <a:pos x="210" y="137"/>
                  </a:cxn>
                  <a:cxn ang="0">
                    <a:pos x="212" y="132"/>
                  </a:cxn>
                  <a:cxn ang="0">
                    <a:pos x="199" y="141"/>
                  </a:cxn>
                  <a:cxn ang="0">
                    <a:pos x="189" y="141"/>
                  </a:cxn>
                  <a:cxn ang="0">
                    <a:pos x="203" y="144"/>
                  </a:cxn>
                  <a:cxn ang="0">
                    <a:pos x="205" y="150"/>
                  </a:cxn>
                  <a:cxn ang="0">
                    <a:pos x="210" y="157"/>
                  </a:cxn>
                  <a:cxn ang="0">
                    <a:pos x="205" y="141"/>
                  </a:cxn>
                  <a:cxn ang="0">
                    <a:pos x="219" y="158"/>
                  </a:cxn>
                  <a:cxn ang="0">
                    <a:pos x="232" y="151"/>
                  </a:cxn>
                  <a:cxn ang="0">
                    <a:pos x="236" y="160"/>
                  </a:cxn>
                  <a:cxn ang="0">
                    <a:pos x="210" y="169"/>
                  </a:cxn>
                  <a:cxn ang="0">
                    <a:pos x="187" y="170"/>
                  </a:cxn>
                  <a:cxn ang="0">
                    <a:pos x="177" y="158"/>
                  </a:cxn>
                  <a:cxn ang="0">
                    <a:pos x="187" y="148"/>
                  </a:cxn>
                  <a:cxn ang="0">
                    <a:pos x="184" y="141"/>
                  </a:cxn>
                  <a:cxn ang="0">
                    <a:pos x="166" y="141"/>
                  </a:cxn>
                  <a:cxn ang="0">
                    <a:pos x="158" y="132"/>
                  </a:cxn>
                  <a:cxn ang="0">
                    <a:pos x="165" y="132"/>
                  </a:cxn>
                  <a:cxn ang="0">
                    <a:pos x="160" y="127"/>
                  </a:cxn>
                  <a:cxn ang="0">
                    <a:pos x="153" y="129"/>
                  </a:cxn>
                  <a:cxn ang="0">
                    <a:pos x="140" y="137"/>
                  </a:cxn>
                  <a:cxn ang="0">
                    <a:pos x="128" y="151"/>
                  </a:cxn>
                  <a:cxn ang="0">
                    <a:pos x="127" y="160"/>
                  </a:cxn>
                  <a:cxn ang="0">
                    <a:pos x="111" y="160"/>
                  </a:cxn>
                  <a:cxn ang="0">
                    <a:pos x="107" y="150"/>
                  </a:cxn>
                  <a:cxn ang="0">
                    <a:pos x="116" y="132"/>
                  </a:cxn>
                  <a:cxn ang="0">
                    <a:pos x="127" y="129"/>
                  </a:cxn>
                  <a:cxn ang="0">
                    <a:pos x="116" y="113"/>
                  </a:cxn>
                  <a:cxn ang="0">
                    <a:pos x="104" y="94"/>
                  </a:cxn>
                  <a:cxn ang="0">
                    <a:pos x="85" y="91"/>
                  </a:cxn>
                  <a:cxn ang="0">
                    <a:pos x="73" y="91"/>
                  </a:cxn>
                  <a:cxn ang="0">
                    <a:pos x="71" y="99"/>
                  </a:cxn>
                  <a:cxn ang="0">
                    <a:pos x="45" y="110"/>
                  </a:cxn>
                  <a:cxn ang="0">
                    <a:pos x="24" y="101"/>
                  </a:cxn>
                  <a:cxn ang="0">
                    <a:pos x="8" y="99"/>
                  </a:cxn>
                  <a:cxn ang="0">
                    <a:pos x="5" y="78"/>
                  </a:cxn>
                  <a:cxn ang="0">
                    <a:pos x="21" y="51"/>
                  </a:cxn>
                  <a:cxn ang="0">
                    <a:pos x="24" y="38"/>
                  </a:cxn>
                  <a:cxn ang="0">
                    <a:pos x="17" y="19"/>
                  </a:cxn>
                </a:cxnLst>
                <a:rect l="0" t="0" r="r" b="b"/>
                <a:pathLst>
                  <a:path w="283" h="176">
                    <a:moveTo>
                      <a:pt x="17" y="17"/>
                    </a:moveTo>
                    <a:lnTo>
                      <a:pt x="21" y="16"/>
                    </a:lnTo>
                    <a:lnTo>
                      <a:pt x="26" y="19"/>
                    </a:lnTo>
                    <a:lnTo>
                      <a:pt x="27" y="17"/>
                    </a:lnTo>
                    <a:lnTo>
                      <a:pt x="41" y="16"/>
                    </a:lnTo>
                    <a:lnTo>
                      <a:pt x="47" y="16"/>
                    </a:lnTo>
                    <a:lnTo>
                      <a:pt x="48" y="12"/>
                    </a:lnTo>
                    <a:lnTo>
                      <a:pt x="52" y="12"/>
                    </a:lnTo>
                    <a:lnTo>
                      <a:pt x="57" y="16"/>
                    </a:lnTo>
                    <a:lnTo>
                      <a:pt x="66" y="16"/>
                    </a:lnTo>
                    <a:lnTo>
                      <a:pt x="71" y="19"/>
                    </a:lnTo>
                    <a:lnTo>
                      <a:pt x="71" y="19"/>
                    </a:lnTo>
                    <a:lnTo>
                      <a:pt x="76" y="19"/>
                    </a:lnTo>
                    <a:lnTo>
                      <a:pt x="80" y="19"/>
                    </a:lnTo>
                    <a:lnTo>
                      <a:pt x="81" y="19"/>
                    </a:lnTo>
                    <a:lnTo>
                      <a:pt x="85" y="19"/>
                    </a:lnTo>
                    <a:lnTo>
                      <a:pt x="88" y="19"/>
                    </a:lnTo>
                    <a:lnTo>
                      <a:pt x="90" y="19"/>
                    </a:lnTo>
                    <a:lnTo>
                      <a:pt x="97" y="17"/>
                    </a:lnTo>
                    <a:lnTo>
                      <a:pt x="100" y="19"/>
                    </a:lnTo>
                    <a:lnTo>
                      <a:pt x="102" y="23"/>
                    </a:lnTo>
                    <a:lnTo>
                      <a:pt x="104" y="23"/>
                    </a:lnTo>
                    <a:lnTo>
                      <a:pt x="109" y="19"/>
                    </a:lnTo>
                    <a:lnTo>
                      <a:pt x="113" y="19"/>
                    </a:lnTo>
                    <a:lnTo>
                      <a:pt x="116" y="19"/>
                    </a:lnTo>
                    <a:lnTo>
                      <a:pt x="120" y="19"/>
                    </a:lnTo>
                    <a:lnTo>
                      <a:pt x="121" y="23"/>
                    </a:lnTo>
                    <a:lnTo>
                      <a:pt x="127" y="19"/>
                    </a:lnTo>
                    <a:lnTo>
                      <a:pt x="127" y="16"/>
                    </a:lnTo>
                    <a:lnTo>
                      <a:pt x="128" y="9"/>
                    </a:lnTo>
                    <a:lnTo>
                      <a:pt x="133" y="7"/>
                    </a:lnTo>
                    <a:lnTo>
                      <a:pt x="140" y="5"/>
                    </a:lnTo>
                    <a:lnTo>
                      <a:pt x="144" y="7"/>
                    </a:lnTo>
                    <a:lnTo>
                      <a:pt x="149" y="5"/>
                    </a:lnTo>
                    <a:lnTo>
                      <a:pt x="149" y="4"/>
                    </a:lnTo>
                    <a:lnTo>
                      <a:pt x="153" y="0"/>
                    </a:lnTo>
                    <a:lnTo>
                      <a:pt x="160" y="4"/>
                    </a:lnTo>
                    <a:lnTo>
                      <a:pt x="168" y="4"/>
                    </a:lnTo>
                    <a:lnTo>
                      <a:pt x="172" y="0"/>
                    </a:lnTo>
                    <a:lnTo>
                      <a:pt x="177" y="0"/>
                    </a:lnTo>
                    <a:lnTo>
                      <a:pt x="180" y="9"/>
                    </a:lnTo>
                    <a:lnTo>
                      <a:pt x="182" y="12"/>
                    </a:lnTo>
                    <a:lnTo>
                      <a:pt x="180" y="16"/>
                    </a:lnTo>
                    <a:lnTo>
                      <a:pt x="186" y="23"/>
                    </a:lnTo>
                    <a:lnTo>
                      <a:pt x="194" y="19"/>
                    </a:lnTo>
                    <a:lnTo>
                      <a:pt x="199" y="23"/>
                    </a:lnTo>
                    <a:lnTo>
                      <a:pt x="199" y="28"/>
                    </a:lnTo>
                    <a:lnTo>
                      <a:pt x="203" y="28"/>
                    </a:lnTo>
                    <a:lnTo>
                      <a:pt x="203" y="31"/>
                    </a:lnTo>
                    <a:lnTo>
                      <a:pt x="205" y="38"/>
                    </a:lnTo>
                    <a:lnTo>
                      <a:pt x="212" y="45"/>
                    </a:lnTo>
                    <a:lnTo>
                      <a:pt x="217" y="42"/>
                    </a:lnTo>
                    <a:lnTo>
                      <a:pt x="220" y="45"/>
                    </a:lnTo>
                    <a:lnTo>
                      <a:pt x="224" y="44"/>
                    </a:lnTo>
                    <a:lnTo>
                      <a:pt x="227" y="44"/>
                    </a:lnTo>
                    <a:lnTo>
                      <a:pt x="232" y="40"/>
                    </a:lnTo>
                    <a:lnTo>
                      <a:pt x="236" y="38"/>
                    </a:lnTo>
                    <a:lnTo>
                      <a:pt x="241" y="49"/>
                    </a:lnTo>
                    <a:lnTo>
                      <a:pt x="245" y="51"/>
                    </a:lnTo>
                    <a:lnTo>
                      <a:pt x="246" y="54"/>
                    </a:lnTo>
                    <a:lnTo>
                      <a:pt x="248" y="51"/>
                    </a:lnTo>
                    <a:lnTo>
                      <a:pt x="255" y="54"/>
                    </a:lnTo>
                    <a:lnTo>
                      <a:pt x="260" y="54"/>
                    </a:lnTo>
                    <a:lnTo>
                      <a:pt x="264" y="54"/>
                    </a:lnTo>
                    <a:lnTo>
                      <a:pt x="267" y="54"/>
                    </a:lnTo>
                    <a:lnTo>
                      <a:pt x="272" y="59"/>
                    </a:lnTo>
                    <a:lnTo>
                      <a:pt x="276" y="59"/>
                    </a:lnTo>
                    <a:lnTo>
                      <a:pt x="281" y="56"/>
                    </a:lnTo>
                    <a:lnTo>
                      <a:pt x="281" y="59"/>
                    </a:lnTo>
                    <a:lnTo>
                      <a:pt x="283" y="61"/>
                    </a:lnTo>
                    <a:lnTo>
                      <a:pt x="283" y="66"/>
                    </a:lnTo>
                    <a:lnTo>
                      <a:pt x="281" y="70"/>
                    </a:lnTo>
                    <a:lnTo>
                      <a:pt x="276" y="70"/>
                    </a:lnTo>
                    <a:lnTo>
                      <a:pt x="274" y="78"/>
                    </a:lnTo>
                    <a:lnTo>
                      <a:pt x="281" y="82"/>
                    </a:lnTo>
                    <a:lnTo>
                      <a:pt x="281" y="85"/>
                    </a:lnTo>
                    <a:lnTo>
                      <a:pt x="281" y="92"/>
                    </a:lnTo>
                    <a:lnTo>
                      <a:pt x="281" y="97"/>
                    </a:lnTo>
                    <a:lnTo>
                      <a:pt x="276" y="99"/>
                    </a:lnTo>
                    <a:lnTo>
                      <a:pt x="269" y="99"/>
                    </a:lnTo>
                    <a:lnTo>
                      <a:pt x="264" y="106"/>
                    </a:lnTo>
                    <a:lnTo>
                      <a:pt x="262" y="106"/>
                    </a:lnTo>
                    <a:lnTo>
                      <a:pt x="262" y="113"/>
                    </a:lnTo>
                    <a:lnTo>
                      <a:pt x="259" y="115"/>
                    </a:lnTo>
                    <a:lnTo>
                      <a:pt x="259" y="113"/>
                    </a:lnTo>
                    <a:lnTo>
                      <a:pt x="257" y="113"/>
                    </a:lnTo>
                    <a:lnTo>
                      <a:pt x="252" y="115"/>
                    </a:lnTo>
                    <a:lnTo>
                      <a:pt x="246" y="115"/>
                    </a:lnTo>
                    <a:lnTo>
                      <a:pt x="245" y="117"/>
                    </a:lnTo>
                    <a:lnTo>
                      <a:pt x="245" y="120"/>
                    </a:lnTo>
                    <a:lnTo>
                      <a:pt x="241" y="120"/>
                    </a:lnTo>
                    <a:lnTo>
                      <a:pt x="239" y="122"/>
                    </a:lnTo>
                    <a:lnTo>
                      <a:pt x="232" y="127"/>
                    </a:lnTo>
                    <a:lnTo>
                      <a:pt x="232" y="125"/>
                    </a:lnTo>
                    <a:lnTo>
                      <a:pt x="231" y="127"/>
                    </a:lnTo>
                    <a:lnTo>
                      <a:pt x="227" y="129"/>
                    </a:lnTo>
                    <a:lnTo>
                      <a:pt x="222" y="127"/>
                    </a:lnTo>
                    <a:lnTo>
                      <a:pt x="219" y="130"/>
                    </a:lnTo>
                    <a:lnTo>
                      <a:pt x="217" y="130"/>
                    </a:lnTo>
                    <a:lnTo>
                      <a:pt x="213" y="125"/>
                    </a:lnTo>
                    <a:lnTo>
                      <a:pt x="212" y="125"/>
                    </a:lnTo>
                    <a:lnTo>
                      <a:pt x="213" y="129"/>
                    </a:lnTo>
                    <a:lnTo>
                      <a:pt x="217" y="130"/>
                    </a:lnTo>
                    <a:lnTo>
                      <a:pt x="217" y="132"/>
                    </a:lnTo>
                    <a:lnTo>
                      <a:pt x="210" y="137"/>
                    </a:lnTo>
                    <a:lnTo>
                      <a:pt x="208" y="137"/>
                    </a:lnTo>
                    <a:lnTo>
                      <a:pt x="208" y="137"/>
                    </a:lnTo>
                    <a:lnTo>
                      <a:pt x="208" y="137"/>
                    </a:lnTo>
                    <a:lnTo>
                      <a:pt x="213" y="132"/>
                    </a:lnTo>
                    <a:lnTo>
                      <a:pt x="212" y="132"/>
                    </a:lnTo>
                    <a:lnTo>
                      <a:pt x="210" y="130"/>
                    </a:lnTo>
                    <a:lnTo>
                      <a:pt x="210" y="132"/>
                    </a:lnTo>
                    <a:lnTo>
                      <a:pt x="205" y="137"/>
                    </a:lnTo>
                    <a:lnTo>
                      <a:pt x="203" y="137"/>
                    </a:lnTo>
                    <a:lnTo>
                      <a:pt x="199" y="141"/>
                    </a:lnTo>
                    <a:lnTo>
                      <a:pt x="198" y="141"/>
                    </a:lnTo>
                    <a:lnTo>
                      <a:pt x="196" y="137"/>
                    </a:lnTo>
                    <a:lnTo>
                      <a:pt x="193" y="141"/>
                    </a:lnTo>
                    <a:lnTo>
                      <a:pt x="189" y="141"/>
                    </a:lnTo>
                    <a:lnTo>
                      <a:pt x="189" y="141"/>
                    </a:lnTo>
                    <a:lnTo>
                      <a:pt x="191" y="141"/>
                    </a:lnTo>
                    <a:lnTo>
                      <a:pt x="196" y="141"/>
                    </a:lnTo>
                    <a:lnTo>
                      <a:pt x="199" y="144"/>
                    </a:lnTo>
                    <a:lnTo>
                      <a:pt x="199" y="146"/>
                    </a:lnTo>
                    <a:lnTo>
                      <a:pt x="203" y="144"/>
                    </a:lnTo>
                    <a:lnTo>
                      <a:pt x="205" y="146"/>
                    </a:lnTo>
                    <a:lnTo>
                      <a:pt x="203" y="148"/>
                    </a:lnTo>
                    <a:lnTo>
                      <a:pt x="203" y="150"/>
                    </a:lnTo>
                    <a:lnTo>
                      <a:pt x="205" y="150"/>
                    </a:lnTo>
                    <a:lnTo>
                      <a:pt x="205" y="150"/>
                    </a:lnTo>
                    <a:lnTo>
                      <a:pt x="205" y="151"/>
                    </a:lnTo>
                    <a:lnTo>
                      <a:pt x="208" y="150"/>
                    </a:lnTo>
                    <a:lnTo>
                      <a:pt x="208" y="151"/>
                    </a:lnTo>
                    <a:lnTo>
                      <a:pt x="208" y="155"/>
                    </a:lnTo>
                    <a:lnTo>
                      <a:pt x="210" y="157"/>
                    </a:lnTo>
                    <a:lnTo>
                      <a:pt x="217" y="158"/>
                    </a:lnTo>
                    <a:lnTo>
                      <a:pt x="217" y="158"/>
                    </a:lnTo>
                    <a:lnTo>
                      <a:pt x="210" y="151"/>
                    </a:lnTo>
                    <a:lnTo>
                      <a:pt x="205" y="144"/>
                    </a:lnTo>
                    <a:lnTo>
                      <a:pt x="205" y="141"/>
                    </a:lnTo>
                    <a:lnTo>
                      <a:pt x="205" y="141"/>
                    </a:lnTo>
                    <a:lnTo>
                      <a:pt x="208" y="143"/>
                    </a:lnTo>
                    <a:lnTo>
                      <a:pt x="208" y="148"/>
                    </a:lnTo>
                    <a:lnTo>
                      <a:pt x="217" y="157"/>
                    </a:lnTo>
                    <a:lnTo>
                      <a:pt x="219" y="158"/>
                    </a:lnTo>
                    <a:lnTo>
                      <a:pt x="222" y="155"/>
                    </a:lnTo>
                    <a:lnTo>
                      <a:pt x="224" y="155"/>
                    </a:lnTo>
                    <a:lnTo>
                      <a:pt x="227" y="157"/>
                    </a:lnTo>
                    <a:lnTo>
                      <a:pt x="229" y="153"/>
                    </a:lnTo>
                    <a:lnTo>
                      <a:pt x="232" y="151"/>
                    </a:lnTo>
                    <a:lnTo>
                      <a:pt x="239" y="153"/>
                    </a:lnTo>
                    <a:lnTo>
                      <a:pt x="236" y="155"/>
                    </a:lnTo>
                    <a:lnTo>
                      <a:pt x="236" y="157"/>
                    </a:lnTo>
                    <a:lnTo>
                      <a:pt x="236" y="160"/>
                    </a:lnTo>
                    <a:lnTo>
                      <a:pt x="236" y="160"/>
                    </a:lnTo>
                    <a:lnTo>
                      <a:pt x="229" y="160"/>
                    </a:lnTo>
                    <a:lnTo>
                      <a:pt x="222" y="160"/>
                    </a:lnTo>
                    <a:lnTo>
                      <a:pt x="219" y="164"/>
                    </a:lnTo>
                    <a:lnTo>
                      <a:pt x="217" y="169"/>
                    </a:lnTo>
                    <a:lnTo>
                      <a:pt x="210" y="169"/>
                    </a:lnTo>
                    <a:lnTo>
                      <a:pt x="203" y="172"/>
                    </a:lnTo>
                    <a:lnTo>
                      <a:pt x="196" y="176"/>
                    </a:lnTo>
                    <a:lnTo>
                      <a:pt x="189" y="176"/>
                    </a:lnTo>
                    <a:lnTo>
                      <a:pt x="187" y="172"/>
                    </a:lnTo>
                    <a:lnTo>
                      <a:pt x="187" y="170"/>
                    </a:lnTo>
                    <a:lnTo>
                      <a:pt x="189" y="165"/>
                    </a:lnTo>
                    <a:lnTo>
                      <a:pt x="189" y="164"/>
                    </a:lnTo>
                    <a:lnTo>
                      <a:pt x="184" y="160"/>
                    </a:lnTo>
                    <a:lnTo>
                      <a:pt x="182" y="160"/>
                    </a:lnTo>
                    <a:lnTo>
                      <a:pt x="177" y="158"/>
                    </a:lnTo>
                    <a:lnTo>
                      <a:pt x="177" y="160"/>
                    </a:lnTo>
                    <a:lnTo>
                      <a:pt x="172" y="158"/>
                    </a:lnTo>
                    <a:lnTo>
                      <a:pt x="177" y="153"/>
                    </a:lnTo>
                    <a:lnTo>
                      <a:pt x="182" y="150"/>
                    </a:lnTo>
                    <a:lnTo>
                      <a:pt x="187" y="148"/>
                    </a:lnTo>
                    <a:lnTo>
                      <a:pt x="189" y="146"/>
                    </a:lnTo>
                    <a:lnTo>
                      <a:pt x="187" y="144"/>
                    </a:lnTo>
                    <a:lnTo>
                      <a:pt x="186" y="141"/>
                    </a:lnTo>
                    <a:lnTo>
                      <a:pt x="184" y="141"/>
                    </a:lnTo>
                    <a:lnTo>
                      <a:pt x="184" y="141"/>
                    </a:lnTo>
                    <a:lnTo>
                      <a:pt x="180" y="141"/>
                    </a:lnTo>
                    <a:lnTo>
                      <a:pt x="177" y="137"/>
                    </a:lnTo>
                    <a:lnTo>
                      <a:pt x="172" y="141"/>
                    </a:lnTo>
                    <a:lnTo>
                      <a:pt x="168" y="141"/>
                    </a:lnTo>
                    <a:lnTo>
                      <a:pt x="166" y="141"/>
                    </a:lnTo>
                    <a:lnTo>
                      <a:pt x="163" y="141"/>
                    </a:lnTo>
                    <a:lnTo>
                      <a:pt x="161" y="137"/>
                    </a:lnTo>
                    <a:lnTo>
                      <a:pt x="163" y="137"/>
                    </a:lnTo>
                    <a:lnTo>
                      <a:pt x="163" y="136"/>
                    </a:lnTo>
                    <a:lnTo>
                      <a:pt x="158" y="132"/>
                    </a:lnTo>
                    <a:lnTo>
                      <a:pt x="153" y="132"/>
                    </a:lnTo>
                    <a:lnTo>
                      <a:pt x="153" y="132"/>
                    </a:lnTo>
                    <a:lnTo>
                      <a:pt x="154" y="132"/>
                    </a:lnTo>
                    <a:lnTo>
                      <a:pt x="161" y="130"/>
                    </a:lnTo>
                    <a:lnTo>
                      <a:pt x="165" y="132"/>
                    </a:lnTo>
                    <a:lnTo>
                      <a:pt x="166" y="130"/>
                    </a:lnTo>
                    <a:lnTo>
                      <a:pt x="168" y="129"/>
                    </a:lnTo>
                    <a:lnTo>
                      <a:pt x="165" y="130"/>
                    </a:lnTo>
                    <a:lnTo>
                      <a:pt x="161" y="129"/>
                    </a:lnTo>
                    <a:lnTo>
                      <a:pt x="160" y="127"/>
                    </a:lnTo>
                    <a:lnTo>
                      <a:pt x="158" y="125"/>
                    </a:lnTo>
                    <a:lnTo>
                      <a:pt x="156" y="127"/>
                    </a:lnTo>
                    <a:lnTo>
                      <a:pt x="156" y="129"/>
                    </a:lnTo>
                    <a:lnTo>
                      <a:pt x="153" y="129"/>
                    </a:lnTo>
                    <a:lnTo>
                      <a:pt x="153" y="129"/>
                    </a:lnTo>
                    <a:lnTo>
                      <a:pt x="153" y="127"/>
                    </a:lnTo>
                    <a:lnTo>
                      <a:pt x="149" y="130"/>
                    </a:lnTo>
                    <a:lnTo>
                      <a:pt x="144" y="132"/>
                    </a:lnTo>
                    <a:lnTo>
                      <a:pt x="140" y="132"/>
                    </a:lnTo>
                    <a:lnTo>
                      <a:pt x="140" y="137"/>
                    </a:lnTo>
                    <a:lnTo>
                      <a:pt x="137" y="141"/>
                    </a:lnTo>
                    <a:lnTo>
                      <a:pt x="135" y="141"/>
                    </a:lnTo>
                    <a:lnTo>
                      <a:pt x="137" y="143"/>
                    </a:lnTo>
                    <a:lnTo>
                      <a:pt x="130" y="151"/>
                    </a:lnTo>
                    <a:lnTo>
                      <a:pt x="128" y="151"/>
                    </a:lnTo>
                    <a:lnTo>
                      <a:pt x="127" y="150"/>
                    </a:lnTo>
                    <a:lnTo>
                      <a:pt x="127" y="151"/>
                    </a:lnTo>
                    <a:lnTo>
                      <a:pt x="125" y="155"/>
                    </a:lnTo>
                    <a:lnTo>
                      <a:pt x="128" y="157"/>
                    </a:lnTo>
                    <a:lnTo>
                      <a:pt x="127" y="160"/>
                    </a:lnTo>
                    <a:lnTo>
                      <a:pt x="127" y="160"/>
                    </a:lnTo>
                    <a:lnTo>
                      <a:pt x="123" y="157"/>
                    </a:lnTo>
                    <a:lnTo>
                      <a:pt x="118" y="158"/>
                    </a:lnTo>
                    <a:lnTo>
                      <a:pt x="116" y="160"/>
                    </a:lnTo>
                    <a:lnTo>
                      <a:pt x="111" y="160"/>
                    </a:lnTo>
                    <a:lnTo>
                      <a:pt x="104" y="158"/>
                    </a:lnTo>
                    <a:lnTo>
                      <a:pt x="102" y="153"/>
                    </a:lnTo>
                    <a:lnTo>
                      <a:pt x="104" y="151"/>
                    </a:lnTo>
                    <a:lnTo>
                      <a:pt x="107" y="153"/>
                    </a:lnTo>
                    <a:lnTo>
                      <a:pt x="107" y="150"/>
                    </a:lnTo>
                    <a:lnTo>
                      <a:pt x="111" y="143"/>
                    </a:lnTo>
                    <a:lnTo>
                      <a:pt x="113" y="143"/>
                    </a:lnTo>
                    <a:lnTo>
                      <a:pt x="113" y="141"/>
                    </a:lnTo>
                    <a:lnTo>
                      <a:pt x="113" y="132"/>
                    </a:lnTo>
                    <a:lnTo>
                      <a:pt x="116" y="132"/>
                    </a:lnTo>
                    <a:lnTo>
                      <a:pt x="120" y="132"/>
                    </a:lnTo>
                    <a:lnTo>
                      <a:pt x="123" y="132"/>
                    </a:lnTo>
                    <a:lnTo>
                      <a:pt x="128" y="132"/>
                    </a:lnTo>
                    <a:lnTo>
                      <a:pt x="128" y="132"/>
                    </a:lnTo>
                    <a:lnTo>
                      <a:pt x="127" y="129"/>
                    </a:lnTo>
                    <a:lnTo>
                      <a:pt x="128" y="127"/>
                    </a:lnTo>
                    <a:lnTo>
                      <a:pt x="127" y="124"/>
                    </a:lnTo>
                    <a:lnTo>
                      <a:pt x="121" y="120"/>
                    </a:lnTo>
                    <a:lnTo>
                      <a:pt x="118" y="117"/>
                    </a:lnTo>
                    <a:lnTo>
                      <a:pt x="116" y="113"/>
                    </a:lnTo>
                    <a:lnTo>
                      <a:pt x="113" y="113"/>
                    </a:lnTo>
                    <a:lnTo>
                      <a:pt x="113" y="110"/>
                    </a:lnTo>
                    <a:lnTo>
                      <a:pt x="113" y="101"/>
                    </a:lnTo>
                    <a:lnTo>
                      <a:pt x="109" y="101"/>
                    </a:lnTo>
                    <a:lnTo>
                      <a:pt x="104" y="94"/>
                    </a:lnTo>
                    <a:lnTo>
                      <a:pt x="102" y="94"/>
                    </a:lnTo>
                    <a:lnTo>
                      <a:pt x="100" y="97"/>
                    </a:lnTo>
                    <a:lnTo>
                      <a:pt x="95" y="96"/>
                    </a:lnTo>
                    <a:lnTo>
                      <a:pt x="88" y="91"/>
                    </a:lnTo>
                    <a:lnTo>
                      <a:pt x="85" y="91"/>
                    </a:lnTo>
                    <a:lnTo>
                      <a:pt x="81" y="87"/>
                    </a:lnTo>
                    <a:lnTo>
                      <a:pt x="80" y="91"/>
                    </a:lnTo>
                    <a:lnTo>
                      <a:pt x="76" y="91"/>
                    </a:lnTo>
                    <a:lnTo>
                      <a:pt x="76" y="91"/>
                    </a:lnTo>
                    <a:lnTo>
                      <a:pt x="73" y="91"/>
                    </a:lnTo>
                    <a:lnTo>
                      <a:pt x="73" y="91"/>
                    </a:lnTo>
                    <a:lnTo>
                      <a:pt x="69" y="91"/>
                    </a:lnTo>
                    <a:lnTo>
                      <a:pt x="71" y="92"/>
                    </a:lnTo>
                    <a:lnTo>
                      <a:pt x="69" y="96"/>
                    </a:lnTo>
                    <a:lnTo>
                      <a:pt x="71" y="99"/>
                    </a:lnTo>
                    <a:lnTo>
                      <a:pt x="66" y="101"/>
                    </a:lnTo>
                    <a:lnTo>
                      <a:pt x="62" y="101"/>
                    </a:lnTo>
                    <a:lnTo>
                      <a:pt x="52" y="104"/>
                    </a:lnTo>
                    <a:lnTo>
                      <a:pt x="48" y="106"/>
                    </a:lnTo>
                    <a:lnTo>
                      <a:pt x="45" y="110"/>
                    </a:lnTo>
                    <a:lnTo>
                      <a:pt x="40" y="110"/>
                    </a:lnTo>
                    <a:lnTo>
                      <a:pt x="34" y="110"/>
                    </a:lnTo>
                    <a:lnTo>
                      <a:pt x="33" y="106"/>
                    </a:lnTo>
                    <a:lnTo>
                      <a:pt x="29" y="104"/>
                    </a:lnTo>
                    <a:lnTo>
                      <a:pt x="24" y="101"/>
                    </a:lnTo>
                    <a:lnTo>
                      <a:pt x="17" y="99"/>
                    </a:lnTo>
                    <a:lnTo>
                      <a:pt x="15" y="99"/>
                    </a:lnTo>
                    <a:lnTo>
                      <a:pt x="12" y="101"/>
                    </a:lnTo>
                    <a:lnTo>
                      <a:pt x="10" y="101"/>
                    </a:lnTo>
                    <a:lnTo>
                      <a:pt x="8" y="99"/>
                    </a:lnTo>
                    <a:lnTo>
                      <a:pt x="3" y="96"/>
                    </a:lnTo>
                    <a:lnTo>
                      <a:pt x="0" y="92"/>
                    </a:lnTo>
                    <a:lnTo>
                      <a:pt x="0" y="91"/>
                    </a:lnTo>
                    <a:lnTo>
                      <a:pt x="1" y="85"/>
                    </a:lnTo>
                    <a:lnTo>
                      <a:pt x="5" y="78"/>
                    </a:lnTo>
                    <a:lnTo>
                      <a:pt x="8" y="78"/>
                    </a:lnTo>
                    <a:lnTo>
                      <a:pt x="8" y="73"/>
                    </a:lnTo>
                    <a:lnTo>
                      <a:pt x="7" y="68"/>
                    </a:lnTo>
                    <a:lnTo>
                      <a:pt x="17" y="56"/>
                    </a:lnTo>
                    <a:lnTo>
                      <a:pt x="21" y="51"/>
                    </a:lnTo>
                    <a:lnTo>
                      <a:pt x="21" y="49"/>
                    </a:lnTo>
                    <a:lnTo>
                      <a:pt x="24" y="49"/>
                    </a:lnTo>
                    <a:lnTo>
                      <a:pt x="26" y="44"/>
                    </a:lnTo>
                    <a:lnTo>
                      <a:pt x="24" y="42"/>
                    </a:lnTo>
                    <a:lnTo>
                      <a:pt x="24" y="38"/>
                    </a:lnTo>
                    <a:lnTo>
                      <a:pt x="24" y="37"/>
                    </a:lnTo>
                    <a:lnTo>
                      <a:pt x="21" y="35"/>
                    </a:lnTo>
                    <a:lnTo>
                      <a:pt x="21" y="28"/>
                    </a:lnTo>
                    <a:lnTo>
                      <a:pt x="17" y="28"/>
                    </a:lnTo>
                    <a:lnTo>
                      <a:pt x="17" y="19"/>
                    </a:lnTo>
                    <a:lnTo>
                      <a:pt x="17" y="17"/>
                    </a:lnTo>
                    <a:lnTo>
                      <a:pt x="17" y="17"/>
                    </a:lnTo>
                    <a:lnTo>
                      <a:pt x="17"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85"/>
              <p:cNvSpPr>
                <a:spLocks/>
              </p:cNvSpPr>
              <p:nvPr/>
            </p:nvSpPr>
            <p:spPr bwMode="auto">
              <a:xfrm>
                <a:off x="5111750" y="2817813"/>
                <a:ext cx="93663" cy="98425"/>
              </a:xfrm>
              <a:custGeom>
                <a:avLst/>
                <a:gdLst/>
                <a:ahLst/>
                <a:cxnLst>
                  <a:cxn ang="0">
                    <a:pos x="1" y="10"/>
                  </a:cxn>
                  <a:cxn ang="0">
                    <a:pos x="0" y="8"/>
                  </a:cxn>
                  <a:cxn ang="0">
                    <a:pos x="1" y="5"/>
                  </a:cxn>
                  <a:cxn ang="0">
                    <a:pos x="0" y="2"/>
                  </a:cxn>
                  <a:cxn ang="0">
                    <a:pos x="3" y="2"/>
                  </a:cxn>
                  <a:cxn ang="0">
                    <a:pos x="3" y="2"/>
                  </a:cxn>
                  <a:cxn ang="0">
                    <a:pos x="7" y="3"/>
                  </a:cxn>
                  <a:cxn ang="0">
                    <a:pos x="8" y="2"/>
                  </a:cxn>
                  <a:cxn ang="0">
                    <a:pos x="12" y="2"/>
                  </a:cxn>
                  <a:cxn ang="0">
                    <a:pos x="12" y="0"/>
                  </a:cxn>
                  <a:cxn ang="0">
                    <a:pos x="15" y="3"/>
                  </a:cxn>
                  <a:cxn ang="0">
                    <a:pos x="19" y="3"/>
                  </a:cxn>
                  <a:cxn ang="0">
                    <a:pos x="26" y="8"/>
                  </a:cxn>
                  <a:cxn ang="0">
                    <a:pos x="31" y="8"/>
                  </a:cxn>
                  <a:cxn ang="0">
                    <a:pos x="33" y="7"/>
                  </a:cxn>
                  <a:cxn ang="0">
                    <a:pos x="34" y="7"/>
                  </a:cxn>
                  <a:cxn ang="0">
                    <a:pos x="38" y="12"/>
                  </a:cxn>
                  <a:cxn ang="0">
                    <a:pos x="41" y="14"/>
                  </a:cxn>
                  <a:cxn ang="0">
                    <a:pos x="43" y="21"/>
                  </a:cxn>
                  <a:cxn ang="0">
                    <a:pos x="43" y="24"/>
                  </a:cxn>
                  <a:cxn ang="0">
                    <a:pos x="47" y="24"/>
                  </a:cxn>
                  <a:cxn ang="0">
                    <a:pos x="48" y="28"/>
                  </a:cxn>
                  <a:cxn ang="0">
                    <a:pos x="52" y="31"/>
                  </a:cxn>
                  <a:cxn ang="0">
                    <a:pos x="57" y="35"/>
                  </a:cxn>
                  <a:cxn ang="0">
                    <a:pos x="59" y="38"/>
                  </a:cxn>
                  <a:cxn ang="0">
                    <a:pos x="57" y="38"/>
                  </a:cxn>
                  <a:cxn ang="0">
                    <a:pos x="59" y="41"/>
                  </a:cxn>
                  <a:cxn ang="0">
                    <a:pos x="59" y="43"/>
                  </a:cxn>
                  <a:cxn ang="0">
                    <a:pos x="54" y="43"/>
                  </a:cxn>
                  <a:cxn ang="0">
                    <a:pos x="50" y="41"/>
                  </a:cxn>
                  <a:cxn ang="0">
                    <a:pos x="47" y="43"/>
                  </a:cxn>
                  <a:cxn ang="0">
                    <a:pos x="43" y="43"/>
                  </a:cxn>
                  <a:cxn ang="0">
                    <a:pos x="41" y="50"/>
                  </a:cxn>
                  <a:cxn ang="0">
                    <a:pos x="41" y="52"/>
                  </a:cxn>
                  <a:cxn ang="0">
                    <a:pos x="41" y="52"/>
                  </a:cxn>
                  <a:cxn ang="0">
                    <a:pos x="38" y="59"/>
                  </a:cxn>
                  <a:cxn ang="0">
                    <a:pos x="38" y="62"/>
                  </a:cxn>
                  <a:cxn ang="0">
                    <a:pos x="34" y="61"/>
                  </a:cxn>
                  <a:cxn ang="0">
                    <a:pos x="33" y="62"/>
                  </a:cxn>
                  <a:cxn ang="0">
                    <a:pos x="33" y="62"/>
                  </a:cxn>
                  <a:cxn ang="0">
                    <a:pos x="29" y="57"/>
                  </a:cxn>
                  <a:cxn ang="0">
                    <a:pos x="31" y="41"/>
                  </a:cxn>
                  <a:cxn ang="0">
                    <a:pos x="27" y="38"/>
                  </a:cxn>
                  <a:cxn ang="0">
                    <a:pos x="26" y="33"/>
                  </a:cxn>
                  <a:cxn ang="0">
                    <a:pos x="19" y="26"/>
                  </a:cxn>
                  <a:cxn ang="0">
                    <a:pos x="15" y="24"/>
                  </a:cxn>
                  <a:cxn ang="0">
                    <a:pos x="10" y="17"/>
                  </a:cxn>
                  <a:cxn ang="0">
                    <a:pos x="8" y="8"/>
                  </a:cxn>
                  <a:cxn ang="0">
                    <a:pos x="1" y="10"/>
                  </a:cxn>
                  <a:cxn ang="0">
                    <a:pos x="1" y="10"/>
                  </a:cxn>
                  <a:cxn ang="0">
                    <a:pos x="1" y="10"/>
                  </a:cxn>
                </a:cxnLst>
                <a:rect l="0" t="0" r="r" b="b"/>
                <a:pathLst>
                  <a:path w="59" h="62">
                    <a:moveTo>
                      <a:pt x="1" y="10"/>
                    </a:moveTo>
                    <a:lnTo>
                      <a:pt x="0" y="8"/>
                    </a:lnTo>
                    <a:lnTo>
                      <a:pt x="1" y="5"/>
                    </a:lnTo>
                    <a:lnTo>
                      <a:pt x="0" y="2"/>
                    </a:lnTo>
                    <a:lnTo>
                      <a:pt x="3" y="2"/>
                    </a:lnTo>
                    <a:lnTo>
                      <a:pt x="3" y="2"/>
                    </a:lnTo>
                    <a:lnTo>
                      <a:pt x="7" y="3"/>
                    </a:lnTo>
                    <a:lnTo>
                      <a:pt x="8" y="2"/>
                    </a:lnTo>
                    <a:lnTo>
                      <a:pt x="12" y="2"/>
                    </a:lnTo>
                    <a:lnTo>
                      <a:pt x="12" y="0"/>
                    </a:lnTo>
                    <a:lnTo>
                      <a:pt x="15" y="3"/>
                    </a:lnTo>
                    <a:lnTo>
                      <a:pt x="19" y="3"/>
                    </a:lnTo>
                    <a:lnTo>
                      <a:pt x="26" y="8"/>
                    </a:lnTo>
                    <a:lnTo>
                      <a:pt x="31" y="8"/>
                    </a:lnTo>
                    <a:lnTo>
                      <a:pt x="33" y="7"/>
                    </a:lnTo>
                    <a:lnTo>
                      <a:pt x="34" y="7"/>
                    </a:lnTo>
                    <a:lnTo>
                      <a:pt x="38" y="12"/>
                    </a:lnTo>
                    <a:lnTo>
                      <a:pt x="41" y="14"/>
                    </a:lnTo>
                    <a:lnTo>
                      <a:pt x="43" y="21"/>
                    </a:lnTo>
                    <a:lnTo>
                      <a:pt x="43" y="24"/>
                    </a:lnTo>
                    <a:lnTo>
                      <a:pt x="47" y="24"/>
                    </a:lnTo>
                    <a:lnTo>
                      <a:pt x="48" y="28"/>
                    </a:lnTo>
                    <a:lnTo>
                      <a:pt x="52" y="31"/>
                    </a:lnTo>
                    <a:lnTo>
                      <a:pt x="57" y="35"/>
                    </a:lnTo>
                    <a:lnTo>
                      <a:pt x="59" y="38"/>
                    </a:lnTo>
                    <a:lnTo>
                      <a:pt x="57" y="38"/>
                    </a:lnTo>
                    <a:lnTo>
                      <a:pt x="59" y="41"/>
                    </a:lnTo>
                    <a:lnTo>
                      <a:pt x="59" y="43"/>
                    </a:lnTo>
                    <a:lnTo>
                      <a:pt x="54" y="43"/>
                    </a:lnTo>
                    <a:lnTo>
                      <a:pt x="50" y="41"/>
                    </a:lnTo>
                    <a:lnTo>
                      <a:pt x="47" y="43"/>
                    </a:lnTo>
                    <a:lnTo>
                      <a:pt x="43" y="43"/>
                    </a:lnTo>
                    <a:lnTo>
                      <a:pt x="41" y="50"/>
                    </a:lnTo>
                    <a:lnTo>
                      <a:pt x="41" y="52"/>
                    </a:lnTo>
                    <a:lnTo>
                      <a:pt x="41" y="52"/>
                    </a:lnTo>
                    <a:lnTo>
                      <a:pt x="38" y="59"/>
                    </a:lnTo>
                    <a:lnTo>
                      <a:pt x="38" y="62"/>
                    </a:lnTo>
                    <a:lnTo>
                      <a:pt x="34" y="61"/>
                    </a:lnTo>
                    <a:lnTo>
                      <a:pt x="33" y="62"/>
                    </a:lnTo>
                    <a:lnTo>
                      <a:pt x="33" y="62"/>
                    </a:lnTo>
                    <a:lnTo>
                      <a:pt x="29" y="57"/>
                    </a:lnTo>
                    <a:lnTo>
                      <a:pt x="31" y="41"/>
                    </a:lnTo>
                    <a:lnTo>
                      <a:pt x="27" y="38"/>
                    </a:lnTo>
                    <a:lnTo>
                      <a:pt x="26" y="33"/>
                    </a:lnTo>
                    <a:lnTo>
                      <a:pt x="19" y="26"/>
                    </a:lnTo>
                    <a:lnTo>
                      <a:pt x="15" y="24"/>
                    </a:lnTo>
                    <a:lnTo>
                      <a:pt x="10" y="17"/>
                    </a:lnTo>
                    <a:lnTo>
                      <a:pt x="8" y="8"/>
                    </a:lnTo>
                    <a:lnTo>
                      <a:pt x="1" y="10"/>
                    </a:lnTo>
                    <a:lnTo>
                      <a:pt x="1" y="10"/>
                    </a:lnTo>
                    <a:lnTo>
                      <a:pt x="1"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86"/>
              <p:cNvSpPr>
                <a:spLocks/>
              </p:cNvSpPr>
              <p:nvPr/>
            </p:nvSpPr>
            <p:spPr bwMode="auto">
              <a:xfrm>
                <a:off x="5019675" y="2963863"/>
                <a:ext cx="155575" cy="101600"/>
              </a:xfrm>
              <a:custGeom>
                <a:avLst/>
                <a:gdLst/>
                <a:ahLst/>
                <a:cxnLst>
                  <a:cxn ang="0">
                    <a:pos x="7" y="0"/>
                  </a:cxn>
                  <a:cxn ang="0">
                    <a:pos x="9" y="5"/>
                  </a:cxn>
                  <a:cxn ang="0">
                    <a:pos x="9" y="10"/>
                  </a:cxn>
                  <a:cxn ang="0">
                    <a:pos x="18" y="7"/>
                  </a:cxn>
                  <a:cxn ang="0">
                    <a:pos x="21" y="9"/>
                  </a:cxn>
                  <a:cxn ang="0">
                    <a:pos x="32" y="9"/>
                  </a:cxn>
                  <a:cxn ang="0">
                    <a:pos x="39" y="9"/>
                  </a:cxn>
                  <a:cxn ang="0">
                    <a:pos x="44" y="10"/>
                  </a:cxn>
                  <a:cxn ang="0">
                    <a:pos x="52" y="9"/>
                  </a:cxn>
                  <a:cxn ang="0">
                    <a:pos x="58" y="5"/>
                  </a:cxn>
                  <a:cxn ang="0">
                    <a:pos x="73" y="0"/>
                  </a:cxn>
                  <a:cxn ang="0">
                    <a:pos x="84" y="3"/>
                  </a:cxn>
                  <a:cxn ang="0">
                    <a:pos x="89" y="3"/>
                  </a:cxn>
                  <a:cxn ang="0">
                    <a:pos x="94" y="7"/>
                  </a:cxn>
                  <a:cxn ang="0">
                    <a:pos x="98" y="9"/>
                  </a:cxn>
                  <a:cxn ang="0">
                    <a:pos x="96" y="17"/>
                  </a:cxn>
                  <a:cxn ang="0">
                    <a:pos x="87" y="21"/>
                  </a:cxn>
                  <a:cxn ang="0">
                    <a:pos x="87" y="31"/>
                  </a:cxn>
                  <a:cxn ang="0">
                    <a:pos x="84" y="36"/>
                  </a:cxn>
                  <a:cxn ang="0">
                    <a:pos x="89" y="43"/>
                  </a:cxn>
                  <a:cxn ang="0">
                    <a:pos x="91" y="47"/>
                  </a:cxn>
                  <a:cxn ang="0">
                    <a:pos x="85" y="49"/>
                  </a:cxn>
                  <a:cxn ang="0">
                    <a:pos x="77" y="45"/>
                  </a:cxn>
                  <a:cxn ang="0">
                    <a:pos x="72" y="47"/>
                  </a:cxn>
                  <a:cxn ang="0">
                    <a:pos x="68" y="50"/>
                  </a:cxn>
                  <a:cxn ang="0">
                    <a:pos x="61" y="54"/>
                  </a:cxn>
                  <a:cxn ang="0">
                    <a:pos x="63" y="61"/>
                  </a:cxn>
                  <a:cxn ang="0">
                    <a:pos x="54" y="63"/>
                  </a:cxn>
                  <a:cxn ang="0">
                    <a:pos x="47" y="63"/>
                  </a:cxn>
                  <a:cxn ang="0">
                    <a:pos x="42" y="64"/>
                  </a:cxn>
                  <a:cxn ang="0">
                    <a:pos x="39" y="61"/>
                  </a:cxn>
                  <a:cxn ang="0">
                    <a:pos x="30" y="61"/>
                  </a:cxn>
                  <a:cxn ang="0">
                    <a:pos x="23" y="64"/>
                  </a:cxn>
                  <a:cxn ang="0">
                    <a:pos x="16" y="64"/>
                  </a:cxn>
                  <a:cxn ang="0">
                    <a:pos x="16" y="61"/>
                  </a:cxn>
                  <a:cxn ang="0">
                    <a:pos x="11" y="47"/>
                  </a:cxn>
                  <a:cxn ang="0">
                    <a:pos x="4" y="42"/>
                  </a:cxn>
                  <a:cxn ang="0">
                    <a:pos x="2" y="36"/>
                  </a:cxn>
                  <a:cxn ang="0">
                    <a:pos x="9" y="28"/>
                  </a:cxn>
                  <a:cxn ang="0">
                    <a:pos x="7" y="19"/>
                  </a:cxn>
                  <a:cxn ang="0">
                    <a:pos x="0" y="7"/>
                  </a:cxn>
                  <a:cxn ang="0">
                    <a:pos x="2" y="0"/>
                  </a:cxn>
                  <a:cxn ang="0">
                    <a:pos x="2" y="0"/>
                  </a:cxn>
                </a:cxnLst>
                <a:rect l="0" t="0" r="r" b="b"/>
                <a:pathLst>
                  <a:path w="98" h="64">
                    <a:moveTo>
                      <a:pt x="2" y="0"/>
                    </a:moveTo>
                    <a:lnTo>
                      <a:pt x="7" y="0"/>
                    </a:lnTo>
                    <a:lnTo>
                      <a:pt x="9" y="3"/>
                    </a:lnTo>
                    <a:lnTo>
                      <a:pt x="9" y="5"/>
                    </a:lnTo>
                    <a:lnTo>
                      <a:pt x="7" y="7"/>
                    </a:lnTo>
                    <a:lnTo>
                      <a:pt x="9" y="10"/>
                    </a:lnTo>
                    <a:lnTo>
                      <a:pt x="12" y="7"/>
                    </a:lnTo>
                    <a:lnTo>
                      <a:pt x="18" y="7"/>
                    </a:lnTo>
                    <a:lnTo>
                      <a:pt x="19" y="10"/>
                    </a:lnTo>
                    <a:lnTo>
                      <a:pt x="21" y="9"/>
                    </a:lnTo>
                    <a:lnTo>
                      <a:pt x="26" y="12"/>
                    </a:lnTo>
                    <a:lnTo>
                      <a:pt x="32" y="9"/>
                    </a:lnTo>
                    <a:lnTo>
                      <a:pt x="35" y="10"/>
                    </a:lnTo>
                    <a:lnTo>
                      <a:pt x="39" y="9"/>
                    </a:lnTo>
                    <a:lnTo>
                      <a:pt x="40" y="10"/>
                    </a:lnTo>
                    <a:lnTo>
                      <a:pt x="44" y="10"/>
                    </a:lnTo>
                    <a:lnTo>
                      <a:pt x="51" y="10"/>
                    </a:lnTo>
                    <a:lnTo>
                      <a:pt x="52" y="9"/>
                    </a:lnTo>
                    <a:lnTo>
                      <a:pt x="58" y="9"/>
                    </a:lnTo>
                    <a:lnTo>
                      <a:pt x="58" y="5"/>
                    </a:lnTo>
                    <a:lnTo>
                      <a:pt x="68" y="0"/>
                    </a:lnTo>
                    <a:lnTo>
                      <a:pt x="73" y="0"/>
                    </a:lnTo>
                    <a:lnTo>
                      <a:pt x="78" y="0"/>
                    </a:lnTo>
                    <a:lnTo>
                      <a:pt x="84" y="3"/>
                    </a:lnTo>
                    <a:lnTo>
                      <a:pt x="85" y="5"/>
                    </a:lnTo>
                    <a:lnTo>
                      <a:pt x="89" y="3"/>
                    </a:lnTo>
                    <a:lnTo>
                      <a:pt x="92" y="5"/>
                    </a:lnTo>
                    <a:lnTo>
                      <a:pt x="94" y="7"/>
                    </a:lnTo>
                    <a:lnTo>
                      <a:pt x="98" y="7"/>
                    </a:lnTo>
                    <a:lnTo>
                      <a:pt x="98" y="9"/>
                    </a:lnTo>
                    <a:lnTo>
                      <a:pt x="98" y="16"/>
                    </a:lnTo>
                    <a:lnTo>
                      <a:pt x="96" y="17"/>
                    </a:lnTo>
                    <a:lnTo>
                      <a:pt x="92" y="17"/>
                    </a:lnTo>
                    <a:lnTo>
                      <a:pt x="87" y="21"/>
                    </a:lnTo>
                    <a:lnTo>
                      <a:pt x="87" y="28"/>
                    </a:lnTo>
                    <a:lnTo>
                      <a:pt x="87" y="31"/>
                    </a:lnTo>
                    <a:lnTo>
                      <a:pt x="84" y="36"/>
                    </a:lnTo>
                    <a:lnTo>
                      <a:pt x="84" y="36"/>
                    </a:lnTo>
                    <a:lnTo>
                      <a:pt x="85" y="40"/>
                    </a:lnTo>
                    <a:lnTo>
                      <a:pt x="89" y="43"/>
                    </a:lnTo>
                    <a:lnTo>
                      <a:pt x="91" y="47"/>
                    </a:lnTo>
                    <a:lnTo>
                      <a:pt x="91" y="47"/>
                    </a:lnTo>
                    <a:lnTo>
                      <a:pt x="87" y="47"/>
                    </a:lnTo>
                    <a:lnTo>
                      <a:pt x="85" y="49"/>
                    </a:lnTo>
                    <a:lnTo>
                      <a:pt x="80" y="45"/>
                    </a:lnTo>
                    <a:lnTo>
                      <a:pt x="77" y="45"/>
                    </a:lnTo>
                    <a:lnTo>
                      <a:pt x="75" y="47"/>
                    </a:lnTo>
                    <a:lnTo>
                      <a:pt x="72" y="47"/>
                    </a:lnTo>
                    <a:lnTo>
                      <a:pt x="68" y="50"/>
                    </a:lnTo>
                    <a:lnTo>
                      <a:pt x="68" y="50"/>
                    </a:lnTo>
                    <a:lnTo>
                      <a:pt x="66" y="50"/>
                    </a:lnTo>
                    <a:lnTo>
                      <a:pt x="61" y="54"/>
                    </a:lnTo>
                    <a:lnTo>
                      <a:pt x="61" y="57"/>
                    </a:lnTo>
                    <a:lnTo>
                      <a:pt x="63" y="61"/>
                    </a:lnTo>
                    <a:lnTo>
                      <a:pt x="61" y="63"/>
                    </a:lnTo>
                    <a:lnTo>
                      <a:pt x="54" y="63"/>
                    </a:lnTo>
                    <a:lnTo>
                      <a:pt x="51" y="64"/>
                    </a:lnTo>
                    <a:lnTo>
                      <a:pt x="47" y="63"/>
                    </a:lnTo>
                    <a:lnTo>
                      <a:pt x="44" y="63"/>
                    </a:lnTo>
                    <a:lnTo>
                      <a:pt x="42" y="64"/>
                    </a:lnTo>
                    <a:lnTo>
                      <a:pt x="39" y="64"/>
                    </a:lnTo>
                    <a:lnTo>
                      <a:pt x="39" y="61"/>
                    </a:lnTo>
                    <a:lnTo>
                      <a:pt x="35" y="61"/>
                    </a:lnTo>
                    <a:lnTo>
                      <a:pt x="30" y="61"/>
                    </a:lnTo>
                    <a:lnTo>
                      <a:pt x="28" y="64"/>
                    </a:lnTo>
                    <a:lnTo>
                      <a:pt x="23" y="64"/>
                    </a:lnTo>
                    <a:lnTo>
                      <a:pt x="18" y="64"/>
                    </a:lnTo>
                    <a:lnTo>
                      <a:pt x="16" y="64"/>
                    </a:lnTo>
                    <a:lnTo>
                      <a:pt x="16" y="64"/>
                    </a:lnTo>
                    <a:lnTo>
                      <a:pt x="16" y="61"/>
                    </a:lnTo>
                    <a:lnTo>
                      <a:pt x="16" y="56"/>
                    </a:lnTo>
                    <a:lnTo>
                      <a:pt x="11" y="47"/>
                    </a:lnTo>
                    <a:lnTo>
                      <a:pt x="4" y="42"/>
                    </a:lnTo>
                    <a:lnTo>
                      <a:pt x="4" y="42"/>
                    </a:lnTo>
                    <a:lnTo>
                      <a:pt x="4" y="40"/>
                    </a:lnTo>
                    <a:lnTo>
                      <a:pt x="2" y="36"/>
                    </a:lnTo>
                    <a:lnTo>
                      <a:pt x="2" y="31"/>
                    </a:lnTo>
                    <a:lnTo>
                      <a:pt x="9" y="28"/>
                    </a:lnTo>
                    <a:lnTo>
                      <a:pt x="9" y="24"/>
                    </a:lnTo>
                    <a:lnTo>
                      <a:pt x="7" y="19"/>
                    </a:lnTo>
                    <a:lnTo>
                      <a:pt x="2" y="14"/>
                    </a:lnTo>
                    <a:lnTo>
                      <a:pt x="0" y="7"/>
                    </a:lnTo>
                    <a:lnTo>
                      <a:pt x="2" y="3"/>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87"/>
              <p:cNvSpPr>
                <a:spLocks/>
              </p:cNvSpPr>
              <p:nvPr/>
            </p:nvSpPr>
            <p:spPr bwMode="auto">
              <a:xfrm>
                <a:off x="4973638" y="3032126"/>
                <a:ext cx="68263" cy="55563"/>
              </a:xfrm>
              <a:custGeom>
                <a:avLst/>
                <a:gdLst/>
                <a:ahLst/>
                <a:cxnLst>
                  <a:cxn ang="0">
                    <a:pos x="31" y="0"/>
                  </a:cxn>
                  <a:cxn ang="0">
                    <a:pos x="38" y="6"/>
                  </a:cxn>
                  <a:cxn ang="0">
                    <a:pos x="43" y="14"/>
                  </a:cxn>
                  <a:cxn ang="0">
                    <a:pos x="43" y="20"/>
                  </a:cxn>
                  <a:cxn ang="0">
                    <a:pos x="43" y="23"/>
                  </a:cxn>
                  <a:cxn ang="0">
                    <a:pos x="41" y="23"/>
                  </a:cxn>
                  <a:cxn ang="0">
                    <a:pos x="38" y="23"/>
                  </a:cxn>
                  <a:cxn ang="0">
                    <a:pos x="35" y="26"/>
                  </a:cxn>
                  <a:cxn ang="0">
                    <a:pos x="26" y="26"/>
                  </a:cxn>
                  <a:cxn ang="0">
                    <a:pos x="22" y="26"/>
                  </a:cxn>
                  <a:cxn ang="0">
                    <a:pos x="22" y="28"/>
                  </a:cxn>
                  <a:cxn ang="0">
                    <a:pos x="17" y="30"/>
                  </a:cxn>
                  <a:cxn ang="0">
                    <a:pos x="10" y="35"/>
                  </a:cxn>
                  <a:cxn ang="0">
                    <a:pos x="10" y="35"/>
                  </a:cxn>
                  <a:cxn ang="0">
                    <a:pos x="7" y="33"/>
                  </a:cxn>
                  <a:cxn ang="0">
                    <a:pos x="5" y="28"/>
                  </a:cxn>
                  <a:cxn ang="0">
                    <a:pos x="2" y="23"/>
                  </a:cxn>
                  <a:cxn ang="0">
                    <a:pos x="0" y="18"/>
                  </a:cxn>
                  <a:cxn ang="0">
                    <a:pos x="2" y="13"/>
                  </a:cxn>
                  <a:cxn ang="0">
                    <a:pos x="2" y="13"/>
                  </a:cxn>
                  <a:cxn ang="0">
                    <a:pos x="3" y="11"/>
                  </a:cxn>
                  <a:cxn ang="0">
                    <a:pos x="3" y="9"/>
                  </a:cxn>
                  <a:cxn ang="0">
                    <a:pos x="7" y="6"/>
                  </a:cxn>
                  <a:cxn ang="0">
                    <a:pos x="10" y="6"/>
                  </a:cxn>
                  <a:cxn ang="0">
                    <a:pos x="14" y="4"/>
                  </a:cxn>
                  <a:cxn ang="0">
                    <a:pos x="21" y="0"/>
                  </a:cxn>
                  <a:cxn ang="0">
                    <a:pos x="22" y="4"/>
                  </a:cxn>
                  <a:cxn ang="0">
                    <a:pos x="28" y="0"/>
                  </a:cxn>
                  <a:cxn ang="0">
                    <a:pos x="31" y="0"/>
                  </a:cxn>
                  <a:cxn ang="0">
                    <a:pos x="31" y="0"/>
                  </a:cxn>
                  <a:cxn ang="0">
                    <a:pos x="31" y="0"/>
                  </a:cxn>
                </a:cxnLst>
                <a:rect l="0" t="0" r="r" b="b"/>
                <a:pathLst>
                  <a:path w="43" h="35">
                    <a:moveTo>
                      <a:pt x="31" y="0"/>
                    </a:moveTo>
                    <a:lnTo>
                      <a:pt x="38" y="6"/>
                    </a:lnTo>
                    <a:lnTo>
                      <a:pt x="43" y="14"/>
                    </a:lnTo>
                    <a:lnTo>
                      <a:pt x="43" y="20"/>
                    </a:lnTo>
                    <a:lnTo>
                      <a:pt x="43" y="23"/>
                    </a:lnTo>
                    <a:lnTo>
                      <a:pt x="41" y="23"/>
                    </a:lnTo>
                    <a:lnTo>
                      <a:pt x="38" y="23"/>
                    </a:lnTo>
                    <a:lnTo>
                      <a:pt x="35" y="26"/>
                    </a:lnTo>
                    <a:lnTo>
                      <a:pt x="26" y="26"/>
                    </a:lnTo>
                    <a:lnTo>
                      <a:pt x="22" y="26"/>
                    </a:lnTo>
                    <a:lnTo>
                      <a:pt x="22" y="28"/>
                    </a:lnTo>
                    <a:lnTo>
                      <a:pt x="17" y="30"/>
                    </a:lnTo>
                    <a:lnTo>
                      <a:pt x="10" y="35"/>
                    </a:lnTo>
                    <a:lnTo>
                      <a:pt x="10" y="35"/>
                    </a:lnTo>
                    <a:lnTo>
                      <a:pt x="7" y="33"/>
                    </a:lnTo>
                    <a:lnTo>
                      <a:pt x="5" y="28"/>
                    </a:lnTo>
                    <a:lnTo>
                      <a:pt x="2" y="23"/>
                    </a:lnTo>
                    <a:lnTo>
                      <a:pt x="0" y="18"/>
                    </a:lnTo>
                    <a:lnTo>
                      <a:pt x="2" y="13"/>
                    </a:lnTo>
                    <a:lnTo>
                      <a:pt x="2" y="13"/>
                    </a:lnTo>
                    <a:lnTo>
                      <a:pt x="3" y="11"/>
                    </a:lnTo>
                    <a:lnTo>
                      <a:pt x="3" y="9"/>
                    </a:lnTo>
                    <a:lnTo>
                      <a:pt x="7" y="6"/>
                    </a:lnTo>
                    <a:lnTo>
                      <a:pt x="10" y="6"/>
                    </a:lnTo>
                    <a:lnTo>
                      <a:pt x="14" y="4"/>
                    </a:lnTo>
                    <a:lnTo>
                      <a:pt x="21" y="0"/>
                    </a:lnTo>
                    <a:lnTo>
                      <a:pt x="22" y="4"/>
                    </a:lnTo>
                    <a:lnTo>
                      <a:pt x="28" y="0"/>
                    </a:lnTo>
                    <a:lnTo>
                      <a:pt x="31" y="0"/>
                    </a:lnTo>
                    <a:lnTo>
                      <a:pt x="31" y="0"/>
                    </a:lnTo>
                    <a:lnTo>
                      <a:pt x="31"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5" name="Freeform 88"/>
              <p:cNvSpPr>
                <a:spLocks/>
              </p:cNvSpPr>
              <p:nvPr/>
            </p:nvSpPr>
            <p:spPr bwMode="auto">
              <a:xfrm>
                <a:off x="4943475" y="3027363"/>
                <a:ext cx="46038" cy="90488"/>
              </a:xfrm>
              <a:custGeom>
                <a:avLst/>
                <a:gdLst/>
                <a:ahLst/>
                <a:cxnLst>
                  <a:cxn ang="0">
                    <a:pos x="22" y="17"/>
                  </a:cxn>
                  <a:cxn ang="0">
                    <a:pos x="19" y="21"/>
                  </a:cxn>
                  <a:cxn ang="0">
                    <a:pos x="22" y="28"/>
                  </a:cxn>
                  <a:cxn ang="0">
                    <a:pos x="24" y="31"/>
                  </a:cxn>
                  <a:cxn ang="0">
                    <a:pos x="26" y="36"/>
                  </a:cxn>
                  <a:cxn ang="0">
                    <a:pos x="29" y="38"/>
                  </a:cxn>
                  <a:cxn ang="0">
                    <a:pos x="29" y="43"/>
                  </a:cxn>
                  <a:cxn ang="0">
                    <a:pos x="26" y="47"/>
                  </a:cxn>
                  <a:cxn ang="0">
                    <a:pos x="19" y="49"/>
                  </a:cxn>
                  <a:cxn ang="0">
                    <a:pos x="19" y="54"/>
                  </a:cxn>
                  <a:cxn ang="0">
                    <a:pos x="17" y="57"/>
                  </a:cxn>
                  <a:cxn ang="0">
                    <a:pos x="15" y="57"/>
                  </a:cxn>
                  <a:cxn ang="0">
                    <a:pos x="12" y="57"/>
                  </a:cxn>
                  <a:cxn ang="0">
                    <a:pos x="8" y="49"/>
                  </a:cxn>
                  <a:cxn ang="0">
                    <a:pos x="1" y="49"/>
                  </a:cxn>
                  <a:cxn ang="0">
                    <a:pos x="1" y="47"/>
                  </a:cxn>
                  <a:cxn ang="0">
                    <a:pos x="1" y="43"/>
                  </a:cxn>
                  <a:cxn ang="0">
                    <a:pos x="1" y="42"/>
                  </a:cxn>
                  <a:cxn ang="0">
                    <a:pos x="1" y="36"/>
                  </a:cxn>
                  <a:cxn ang="0">
                    <a:pos x="1" y="33"/>
                  </a:cxn>
                  <a:cxn ang="0">
                    <a:pos x="1" y="28"/>
                  </a:cxn>
                  <a:cxn ang="0">
                    <a:pos x="1" y="21"/>
                  </a:cxn>
                  <a:cxn ang="0">
                    <a:pos x="5" y="21"/>
                  </a:cxn>
                  <a:cxn ang="0">
                    <a:pos x="5" y="17"/>
                  </a:cxn>
                  <a:cxn ang="0">
                    <a:pos x="0" y="14"/>
                  </a:cxn>
                  <a:cxn ang="0">
                    <a:pos x="0" y="9"/>
                  </a:cxn>
                  <a:cxn ang="0">
                    <a:pos x="1" y="3"/>
                  </a:cxn>
                  <a:cxn ang="0">
                    <a:pos x="5" y="0"/>
                  </a:cxn>
                  <a:cxn ang="0">
                    <a:pos x="5" y="0"/>
                  </a:cxn>
                  <a:cxn ang="0">
                    <a:pos x="8" y="3"/>
                  </a:cxn>
                  <a:cxn ang="0">
                    <a:pos x="10" y="0"/>
                  </a:cxn>
                  <a:cxn ang="0">
                    <a:pos x="12" y="0"/>
                  </a:cxn>
                  <a:cxn ang="0">
                    <a:pos x="12" y="0"/>
                  </a:cxn>
                  <a:cxn ang="0">
                    <a:pos x="15" y="3"/>
                  </a:cxn>
                  <a:cxn ang="0">
                    <a:pos x="17" y="5"/>
                  </a:cxn>
                  <a:cxn ang="0">
                    <a:pos x="19" y="7"/>
                  </a:cxn>
                  <a:cxn ang="0">
                    <a:pos x="19" y="9"/>
                  </a:cxn>
                  <a:cxn ang="0">
                    <a:pos x="19" y="14"/>
                  </a:cxn>
                  <a:cxn ang="0">
                    <a:pos x="22" y="17"/>
                  </a:cxn>
                  <a:cxn ang="0">
                    <a:pos x="22" y="17"/>
                  </a:cxn>
                  <a:cxn ang="0">
                    <a:pos x="22" y="17"/>
                  </a:cxn>
                </a:cxnLst>
                <a:rect l="0" t="0" r="r" b="b"/>
                <a:pathLst>
                  <a:path w="29" h="57">
                    <a:moveTo>
                      <a:pt x="22" y="17"/>
                    </a:moveTo>
                    <a:lnTo>
                      <a:pt x="19" y="21"/>
                    </a:lnTo>
                    <a:lnTo>
                      <a:pt x="22" y="28"/>
                    </a:lnTo>
                    <a:lnTo>
                      <a:pt x="24" y="31"/>
                    </a:lnTo>
                    <a:lnTo>
                      <a:pt x="26" y="36"/>
                    </a:lnTo>
                    <a:lnTo>
                      <a:pt x="29" y="38"/>
                    </a:lnTo>
                    <a:lnTo>
                      <a:pt x="29" y="43"/>
                    </a:lnTo>
                    <a:lnTo>
                      <a:pt x="26" y="47"/>
                    </a:lnTo>
                    <a:lnTo>
                      <a:pt x="19" y="49"/>
                    </a:lnTo>
                    <a:lnTo>
                      <a:pt x="19" y="54"/>
                    </a:lnTo>
                    <a:lnTo>
                      <a:pt x="17" y="57"/>
                    </a:lnTo>
                    <a:lnTo>
                      <a:pt x="15" y="57"/>
                    </a:lnTo>
                    <a:lnTo>
                      <a:pt x="12" y="57"/>
                    </a:lnTo>
                    <a:lnTo>
                      <a:pt x="8" y="49"/>
                    </a:lnTo>
                    <a:lnTo>
                      <a:pt x="1" y="49"/>
                    </a:lnTo>
                    <a:lnTo>
                      <a:pt x="1" y="47"/>
                    </a:lnTo>
                    <a:lnTo>
                      <a:pt x="1" y="43"/>
                    </a:lnTo>
                    <a:lnTo>
                      <a:pt x="1" y="42"/>
                    </a:lnTo>
                    <a:lnTo>
                      <a:pt x="1" y="36"/>
                    </a:lnTo>
                    <a:lnTo>
                      <a:pt x="1" y="33"/>
                    </a:lnTo>
                    <a:lnTo>
                      <a:pt x="1" y="28"/>
                    </a:lnTo>
                    <a:lnTo>
                      <a:pt x="1" y="21"/>
                    </a:lnTo>
                    <a:lnTo>
                      <a:pt x="5" y="21"/>
                    </a:lnTo>
                    <a:lnTo>
                      <a:pt x="5" y="17"/>
                    </a:lnTo>
                    <a:lnTo>
                      <a:pt x="0" y="14"/>
                    </a:lnTo>
                    <a:lnTo>
                      <a:pt x="0" y="9"/>
                    </a:lnTo>
                    <a:lnTo>
                      <a:pt x="1" y="3"/>
                    </a:lnTo>
                    <a:lnTo>
                      <a:pt x="5" y="0"/>
                    </a:lnTo>
                    <a:lnTo>
                      <a:pt x="5" y="0"/>
                    </a:lnTo>
                    <a:lnTo>
                      <a:pt x="8" y="3"/>
                    </a:lnTo>
                    <a:lnTo>
                      <a:pt x="10" y="0"/>
                    </a:lnTo>
                    <a:lnTo>
                      <a:pt x="12" y="0"/>
                    </a:lnTo>
                    <a:lnTo>
                      <a:pt x="12" y="0"/>
                    </a:lnTo>
                    <a:lnTo>
                      <a:pt x="15" y="3"/>
                    </a:lnTo>
                    <a:lnTo>
                      <a:pt x="17" y="5"/>
                    </a:lnTo>
                    <a:lnTo>
                      <a:pt x="19" y="7"/>
                    </a:lnTo>
                    <a:lnTo>
                      <a:pt x="19" y="9"/>
                    </a:lnTo>
                    <a:lnTo>
                      <a:pt x="19" y="14"/>
                    </a:lnTo>
                    <a:lnTo>
                      <a:pt x="22" y="17"/>
                    </a:lnTo>
                    <a:lnTo>
                      <a:pt x="22" y="17"/>
                    </a:lnTo>
                    <a:lnTo>
                      <a:pt x="22"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89"/>
              <p:cNvSpPr>
                <a:spLocks/>
              </p:cNvSpPr>
              <p:nvPr/>
            </p:nvSpPr>
            <p:spPr bwMode="auto">
              <a:xfrm>
                <a:off x="4926013" y="2911476"/>
                <a:ext cx="107950" cy="138113"/>
              </a:xfrm>
              <a:custGeom>
                <a:avLst/>
                <a:gdLst/>
                <a:ahLst/>
                <a:cxnLst>
                  <a:cxn ang="0">
                    <a:pos x="2" y="5"/>
                  </a:cxn>
                  <a:cxn ang="0">
                    <a:pos x="9" y="3"/>
                  </a:cxn>
                  <a:cxn ang="0">
                    <a:pos x="14" y="0"/>
                  </a:cxn>
                  <a:cxn ang="0">
                    <a:pos x="19" y="0"/>
                  </a:cxn>
                  <a:cxn ang="0">
                    <a:pos x="26" y="3"/>
                  </a:cxn>
                  <a:cxn ang="0">
                    <a:pos x="33" y="14"/>
                  </a:cxn>
                  <a:cxn ang="0">
                    <a:pos x="42" y="19"/>
                  </a:cxn>
                  <a:cxn ang="0">
                    <a:pos x="42" y="24"/>
                  </a:cxn>
                  <a:cxn ang="0">
                    <a:pos x="49" y="29"/>
                  </a:cxn>
                  <a:cxn ang="0">
                    <a:pos x="54" y="31"/>
                  </a:cxn>
                  <a:cxn ang="0">
                    <a:pos x="65" y="28"/>
                  </a:cxn>
                  <a:cxn ang="0">
                    <a:pos x="61" y="35"/>
                  </a:cxn>
                  <a:cxn ang="0">
                    <a:pos x="61" y="43"/>
                  </a:cxn>
                  <a:cxn ang="0">
                    <a:pos x="68" y="54"/>
                  </a:cxn>
                  <a:cxn ang="0">
                    <a:pos x="68" y="61"/>
                  </a:cxn>
                  <a:cxn ang="0">
                    <a:pos x="63" y="69"/>
                  </a:cxn>
                  <a:cxn ang="0">
                    <a:pos x="65" y="75"/>
                  </a:cxn>
                  <a:cxn ang="0">
                    <a:pos x="56" y="78"/>
                  </a:cxn>
                  <a:cxn ang="0">
                    <a:pos x="45" y="78"/>
                  </a:cxn>
                  <a:cxn ang="0">
                    <a:pos x="40" y="80"/>
                  </a:cxn>
                  <a:cxn ang="0">
                    <a:pos x="37" y="85"/>
                  </a:cxn>
                  <a:cxn ang="0">
                    <a:pos x="33" y="85"/>
                  </a:cxn>
                  <a:cxn ang="0">
                    <a:pos x="33" y="78"/>
                  </a:cxn>
                  <a:cxn ang="0">
                    <a:pos x="28" y="75"/>
                  </a:cxn>
                  <a:cxn ang="0">
                    <a:pos x="26" y="69"/>
                  </a:cxn>
                  <a:cxn ang="0">
                    <a:pos x="26" y="66"/>
                  </a:cxn>
                  <a:cxn ang="0">
                    <a:pos x="23" y="61"/>
                  </a:cxn>
                  <a:cxn ang="0">
                    <a:pos x="18" y="61"/>
                  </a:cxn>
                  <a:cxn ang="0">
                    <a:pos x="14" y="56"/>
                  </a:cxn>
                  <a:cxn ang="0">
                    <a:pos x="12" y="50"/>
                  </a:cxn>
                  <a:cxn ang="0">
                    <a:pos x="9" y="43"/>
                  </a:cxn>
                  <a:cxn ang="0">
                    <a:pos x="14" y="43"/>
                  </a:cxn>
                  <a:cxn ang="0">
                    <a:pos x="12" y="40"/>
                  </a:cxn>
                  <a:cxn ang="0">
                    <a:pos x="5" y="35"/>
                  </a:cxn>
                  <a:cxn ang="0">
                    <a:pos x="9" y="29"/>
                  </a:cxn>
                  <a:cxn ang="0">
                    <a:pos x="7" y="24"/>
                  </a:cxn>
                  <a:cxn ang="0">
                    <a:pos x="4" y="24"/>
                  </a:cxn>
                  <a:cxn ang="0">
                    <a:pos x="7" y="19"/>
                  </a:cxn>
                  <a:cxn ang="0">
                    <a:pos x="9" y="19"/>
                  </a:cxn>
                  <a:cxn ang="0">
                    <a:pos x="4" y="17"/>
                  </a:cxn>
                  <a:cxn ang="0">
                    <a:pos x="0" y="7"/>
                  </a:cxn>
                  <a:cxn ang="0">
                    <a:pos x="0" y="7"/>
                  </a:cxn>
                </a:cxnLst>
                <a:rect l="0" t="0" r="r" b="b"/>
                <a:pathLst>
                  <a:path w="68" h="87">
                    <a:moveTo>
                      <a:pt x="0" y="7"/>
                    </a:moveTo>
                    <a:lnTo>
                      <a:pt x="2" y="5"/>
                    </a:lnTo>
                    <a:lnTo>
                      <a:pt x="7" y="3"/>
                    </a:lnTo>
                    <a:lnTo>
                      <a:pt x="9" y="3"/>
                    </a:lnTo>
                    <a:lnTo>
                      <a:pt x="11" y="2"/>
                    </a:lnTo>
                    <a:lnTo>
                      <a:pt x="14" y="0"/>
                    </a:lnTo>
                    <a:lnTo>
                      <a:pt x="18" y="0"/>
                    </a:lnTo>
                    <a:lnTo>
                      <a:pt x="19" y="0"/>
                    </a:lnTo>
                    <a:lnTo>
                      <a:pt x="26" y="2"/>
                    </a:lnTo>
                    <a:lnTo>
                      <a:pt x="26" y="3"/>
                    </a:lnTo>
                    <a:lnTo>
                      <a:pt x="33" y="10"/>
                    </a:lnTo>
                    <a:lnTo>
                      <a:pt x="33" y="14"/>
                    </a:lnTo>
                    <a:lnTo>
                      <a:pt x="38" y="14"/>
                    </a:lnTo>
                    <a:lnTo>
                      <a:pt x="42" y="19"/>
                    </a:lnTo>
                    <a:lnTo>
                      <a:pt x="42" y="22"/>
                    </a:lnTo>
                    <a:lnTo>
                      <a:pt x="42" y="24"/>
                    </a:lnTo>
                    <a:lnTo>
                      <a:pt x="45" y="26"/>
                    </a:lnTo>
                    <a:lnTo>
                      <a:pt x="49" y="29"/>
                    </a:lnTo>
                    <a:lnTo>
                      <a:pt x="54" y="28"/>
                    </a:lnTo>
                    <a:lnTo>
                      <a:pt x="54" y="31"/>
                    </a:lnTo>
                    <a:lnTo>
                      <a:pt x="58" y="26"/>
                    </a:lnTo>
                    <a:lnTo>
                      <a:pt x="65" y="28"/>
                    </a:lnTo>
                    <a:lnTo>
                      <a:pt x="61" y="31"/>
                    </a:lnTo>
                    <a:lnTo>
                      <a:pt x="61" y="35"/>
                    </a:lnTo>
                    <a:lnTo>
                      <a:pt x="63" y="40"/>
                    </a:lnTo>
                    <a:lnTo>
                      <a:pt x="61" y="43"/>
                    </a:lnTo>
                    <a:lnTo>
                      <a:pt x="63" y="49"/>
                    </a:lnTo>
                    <a:lnTo>
                      <a:pt x="68" y="54"/>
                    </a:lnTo>
                    <a:lnTo>
                      <a:pt x="68" y="57"/>
                    </a:lnTo>
                    <a:lnTo>
                      <a:pt x="68" y="61"/>
                    </a:lnTo>
                    <a:lnTo>
                      <a:pt x="63" y="66"/>
                    </a:lnTo>
                    <a:lnTo>
                      <a:pt x="63" y="69"/>
                    </a:lnTo>
                    <a:lnTo>
                      <a:pt x="65" y="73"/>
                    </a:lnTo>
                    <a:lnTo>
                      <a:pt x="65" y="75"/>
                    </a:lnTo>
                    <a:lnTo>
                      <a:pt x="61" y="75"/>
                    </a:lnTo>
                    <a:lnTo>
                      <a:pt x="56" y="78"/>
                    </a:lnTo>
                    <a:lnTo>
                      <a:pt x="54" y="75"/>
                    </a:lnTo>
                    <a:lnTo>
                      <a:pt x="45" y="78"/>
                    </a:lnTo>
                    <a:lnTo>
                      <a:pt x="42" y="78"/>
                    </a:lnTo>
                    <a:lnTo>
                      <a:pt x="40" y="80"/>
                    </a:lnTo>
                    <a:lnTo>
                      <a:pt x="37" y="82"/>
                    </a:lnTo>
                    <a:lnTo>
                      <a:pt x="37" y="85"/>
                    </a:lnTo>
                    <a:lnTo>
                      <a:pt x="35" y="87"/>
                    </a:lnTo>
                    <a:lnTo>
                      <a:pt x="33" y="85"/>
                    </a:lnTo>
                    <a:lnTo>
                      <a:pt x="33" y="78"/>
                    </a:lnTo>
                    <a:lnTo>
                      <a:pt x="33" y="78"/>
                    </a:lnTo>
                    <a:lnTo>
                      <a:pt x="30" y="75"/>
                    </a:lnTo>
                    <a:lnTo>
                      <a:pt x="28" y="75"/>
                    </a:lnTo>
                    <a:lnTo>
                      <a:pt x="26" y="71"/>
                    </a:lnTo>
                    <a:lnTo>
                      <a:pt x="26" y="69"/>
                    </a:lnTo>
                    <a:lnTo>
                      <a:pt x="26" y="68"/>
                    </a:lnTo>
                    <a:lnTo>
                      <a:pt x="26" y="66"/>
                    </a:lnTo>
                    <a:lnTo>
                      <a:pt x="26" y="62"/>
                    </a:lnTo>
                    <a:lnTo>
                      <a:pt x="23" y="61"/>
                    </a:lnTo>
                    <a:lnTo>
                      <a:pt x="19" y="61"/>
                    </a:lnTo>
                    <a:lnTo>
                      <a:pt x="18" y="61"/>
                    </a:lnTo>
                    <a:lnTo>
                      <a:pt x="14" y="57"/>
                    </a:lnTo>
                    <a:lnTo>
                      <a:pt x="14" y="56"/>
                    </a:lnTo>
                    <a:lnTo>
                      <a:pt x="11" y="52"/>
                    </a:lnTo>
                    <a:lnTo>
                      <a:pt x="12" y="50"/>
                    </a:lnTo>
                    <a:lnTo>
                      <a:pt x="9" y="45"/>
                    </a:lnTo>
                    <a:lnTo>
                      <a:pt x="9" y="43"/>
                    </a:lnTo>
                    <a:lnTo>
                      <a:pt x="11" y="40"/>
                    </a:lnTo>
                    <a:lnTo>
                      <a:pt x="14" y="43"/>
                    </a:lnTo>
                    <a:lnTo>
                      <a:pt x="14" y="40"/>
                    </a:lnTo>
                    <a:lnTo>
                      <a:pt x="12" y="40"/>
                    </a:lnTo>
                    <a:lnTo>
                      <a:pt x="11" y="40"/>
                    </a:lnTo>
                    <a:lnTo>
                      <a:pt x="5" y="35"/>
                    </a:lnTo>
                    <a:lnTo>
                      <a:pt x="4" y="35"/>
                    </a:lnTo>
                    <a:lnTo>
                      <a:pt x="9" y="29"/>
                    </a:lnTo>
                    <a:lnTo>
                      <a:pt x="9" y="24"/>
                    </a:lnTo>
                    <a:lnTo>
                      <a:pt x="7" y="24"/>
                    </a:lnTo>
                    <a:lnTo>
                      <a:pt x="5" y="26"/>
                    </a:lnTo>
                    <a:lnTo>
                      <a:pt x="4" y="24"/>
                    </a:lnTo>
                    <a:lnTo>
                      <a:pt x="4" y="21"/>
                    </a:lnTo>
                    <a:lnTo>
                      <a:pt x="7" y="19"/>
                    </a:lnTo>
                    <a:lnTo>
                      <a:pt x="9" y="19"/>
                    </a:lnTo>
                    <a:lnTo>
                      <a:pt x="9" y="19"/>
                    </a:lnTo>
                    <a:lnTo>
                      <a:pt x="5" y="17"/>
                    </a:lnTo>
                    <a:lnTo>
                      <a:pt x="4" y="17"/>
                    </a:lnTo>
                    <a:lnTo>
                      <a:pt x="2" y="14"/>
                    </a:lnTo>
                    <a:lnTo>
                      <a:pt x="0" y="7"/>
                    </a:lnTo>
                    <a:lnTo>
                      <a:pt x="0" y="7"/>
                    </a:lnTo>
                    <a:lnTo>
                      <a:pt x="0" y="7"/>
                    </a:lnTo>
                    <a:lnTo>
                      <a:pt x="0"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7" name="Freeform 90"/>
              <p:cNvSpPr>
                <a:spLocks/>
              </p:cNvSpPr>
              <p:nvPr/>
            </p:nvSpPr>
            <p:spPr bwMode="auto">
              <a:xfrm>
                <a:off x="4918075" y="2989263"/>
                <a:ext cx="47625" cy="60325"/>
              </a:xfrm>
              <a:custGeom>
                <a:avLst/>
                <a:gdLst/>
                <a:ahLst/>
                <a:cxnLst>
                  <a:cxn ang="0">
                    <a:pos x="16" y="38"/>
                  </a:cxn>
                  <a:cxn ang="0">
                    <a:pos x="16" y="31"/>
                  </a:cxn>
                  <a:cxn ang="0">
                    <a:pos x="17" y="27"/>
                  </a:cxn>
                  <a:cxn ang="0">
                    <a:pos x="23" y="22"/>
                  </a:cxn>
                  <a:cxn ang="0">
                    <a:pos x="23" y="22"/>
                  </a:cxn>
                  <a:cxn ang="0">
                    <a:pos x="26" y="27"/>
                  </a:cxn>
                  <a:cxn ang="0">
                    <a:pos x="26" y="22"/>
                  </a:cxn>
                  <a:cxn ang="0">
                    <a:pos x="30" y="20"/>
                  </a:cxn>
                  <a:cxn ang="0">
                    <a:pos x="30" y="17"/>
                  </a:cxn>
                  <a:cxn ang="0">
                    <a:pos x="30" y="13"/>
                  </a:cxn>
                  <a:cxn ang="0">
                    <a:pos x="26" y="13"/>
                  </a:cxn>
                  <a:cxn ang="0">
                    <a:pos x="23" y="12"/>
                  </a:cxn>
                  <a:cxn ang="0">
                    <a:pos x="21" y="12"/>
                  </a:cxn>
                  <a:cxn ang="0">
                    <a:pos x="19" y="8"/>
                  </a:cxn>
                  <a:cxn ang="0">
                    <a:pos x="19" y="7"/>
                  </a:cxn>
                  <a:cxn ang="0">
                    <a:pos x="14" y="3"/>
                  </a:cxn>
                  <a:cxn ang="0">
                    <a:pos x="14" y="3"/>
                  </a:cxn>
                  <a:cxn ang="0">
                    <a:pos x="12" y="1"/>
                  </a:cxn>
                  <a:cxn ang="0">
                    <a:pos x="7" y="0"/>
                  </a:cxn>
                  <a:cxn ang="0">
                    <a:pos x="5" y="1"/>
                  </a:cxn>
                  <a:cxn ang="0">
                    <a:pos x="5" y="3"/>
                  </a:cxn>
                  <a:cxn ang="0">
                    <a:pos x="9" y="7"/>
                  </a:cxn>
                  <a:cxn ang="0">
                    <a:pos x="10" y="8"/>
                  </a:cxn>
                  <a:cxn ang="0">
                    <a:pos x="7" y="8"/>
                  </a:cxn>
                  <a:cxn ang="0">
                    <a:pos x="5" y="8"/>
                  </a:cxn>
                  <a:cxn ang="0">
                    <a:pos x="3" y="13"/>
                  </a:cxn>
                  <a:cxn ang="0">
                    <a:pos x="3" y="17"/>
                  </a:cxn>
                  <a:cxn ang="0">
                    <a:pos x="3" y="22"/>
                  </a:cxn>
                  <a:cxn ang="0">
                    <a:pos x="0" y="22"/>
                  </a:cxn>
                  <a:cxn ang="0">
                    <a:pos x="0" y="26"/>
                  </a:cxn>
                  <a:cxn ang="0">
                    <a:pos x="3" y="27"/>
                  </a:cxn>
                  <a:cxn ang="0">
                    <a:pos x="10" y="36"/>
                  </a:cxn>
                  <a:cxn ang="0">
                    <a:pos x="12" y="36"/>
                  </a:cxn>
                  <a:cxn ang="0">
                    <a:pos x="16" y="38"/>
                  </a:cxn>
                  <a:cxn ang="0">
                    <a:pos x="16" y="38"/>
                  </a:cxn>
                  <a:cxn ang="0">
                    <a:pos x="16" y="38"/>
                  </a:cxn>
                </a:cxnLst>
                <a:rect l="0" t="0" r="r" b="b"/>
                <a:pathLst>
                  <a:path w="30" h="38">
                    <a:moveTo>
                      <a:pt x="16" y="38"/>
                    </a:moveTo>
                    <a:lnTo>
                      <a:pt x="16" y="31"/>
                    </a:lnTo>
                    <a:lnTo>
                      <a:pt x="17" y="27"/>
                    </a:lnTo>
                    <a:lnTo>
                      <a:pt x="23" y="22"/>
                    </a:lnTo>
                    <a:lnTo>
                      <a:pt x="23" y="22"/>
                    </a:lnTo>
                    <a:lnTo>
                      <a:pt x="26" y="27"/>
                    </a:lnTo>
                    <a:lnTo>
                      <a:pt x="26" y="22"/>
                    </a:lnTo>
                    <a:lnTo>
                      <a:pt x="30" y="20"/>
                    </a:lnTo>
                    <a:lnTo>
                      <a:pt x="30" y="17"/>
                    </a:lnTo>
                    <a:lnTo>
                      <a:pt x="30" y="13"/>
                    </a:lnTo>
                    <a:lnTo>
                      <a:pt x="26" y="13"/>
                    </a:lnTo>
                    <a:lnTo>
                      <a:pt x="23" y="12"/>
                    </a:lnTo>
                    <a:lnTo>
                      <a:pt x="21" y="12"/>
                    </a:lnTo>
                    <a:lnTo>
                      <a:pt x="19" y="8"/>
                    </a:lnTo>
                    <a:lnTo>
                      <a:pt x="19" y="7"/>
                    </a:lnTo>
                    <a:lnTo>
                      <a:pt x="14" y="3"/>
                    </a:lnTo>
                    <a:lnTo>
                      <a:pt x="14" y="3"/>
                    </a:lnTo>
                    <a:lnTo>
                      <a:pt x="12" y="1"/>
                    </a:lnTo>
                    <a:lnTo>
                      <a:pt x="7" y="0"/>
                    </a:lnTo>
                    <a:lnTo>
                      <a:pt x="5" y="1"/>
                    </a:lnTo>
                    <a:lnTo>
                      <a:pt x="5" y="3"/>
                    </a:lnTo>
                    <a:lnTo>
                      <a:pt x="9" y="7"/>
                    </a:lnTo>
                    <a:lnTo>
                      <a:pt x="10" y="8"/>
                    </a:lnTo>
                    <a:lnTo>
                      <a:pt x="7" y="8"/>
                    </a:lnTo>
                    <a:lnTo>
                      <a:pt x="5" y="8"/>
                    </a:lnTo>
                    <a:lnTo>
                      <a:pt x="3" y="13"/>
                    </a:lnTo>
                    <a:lnTo>
                      <a:pt x="3" y="17"/>
                    </a:lnTo>
                    <a:lnTo>
                      <a:pt x="3" y="22"/>
                    </a:lnTo>
                    <a:lnTo>
                      <a:pt x="0" y="22"/>
                    </a:lnTo>
                    <a:lnTo>
                      <a:pt x="0" y="26"/>
                    </a:lnTo>
                    <a:lnTo>
                      <a:pt x="3" y="27"/>
                    </a:lnTo>
                    <a:lnTo>
                      <a:pt x="10" y="36"/>
                    </a:lnTo>
                    <a:lnTo>
                      <a:pt x="12" y="36"/>
                    </a:lnTo>
                    <a:lnTo>
                      <a:pt x="16" y="38"/>
                    </a:lnTo>
                    <a:lnTo>
                      <a:pt x="16" y="38"/>
                    </a:lnTo>
                    <a:lnTo>
                      <a:pt x="16" y="3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91"/>
              <p:cNvSpPr>
                <a:spLocks noEditPoints="1"/>
              </p:cNvSpPr>
              <p:nvPr/>
            </p:nvSpPr>
            <p:spPr bwMode="auto">
              <a:xfrm>
                <a:off x="4787900" y="2903538"/>
                <a:ext cx="146050" cy="115888"/>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9" name="Freeform 92"/>
              <p:cNvSpPr>
                <a:spLocks noEditPoints="1"/>
              </p:cNvSpPr>
              <p:nvPr/>
            </p:nvSpPr>
            <p:spPr bwMode="auto">
              <a:xfrm>
                <a:off x="4787900" y="2903538"/>
                <a:ext cx="146050" cy="115888"/>
              </a:xfrm>
              <a:custGeom>
                <a:avLst/>
                <a:gdLst/>
                <a:ahLst/>
                <a:cxnLst>
                  <a:cxn ang="0">
                    <a:pos x="91" y="24"/>
                  </a:cxn>
                  <a:cxn ang="0">
                    <a:pos x="89" y="22"/>
                  </a:cxn>
                  <a:cxn ang="0">
                    <a:pos x="84" y="12"/>
                  </a:cxn>
                  <a:cxn ang="0">
                    <a:pos x="73" y="12"/>
                  </a:cxn>
                  <a:cxn ang="0">
                    <a:pos x="58" y="5"/>
                  </a:cxn>
                  <a:cxn ang="0">
                    <a:pos x="49" y="0"/>
                  </a:cxn>
                  <a:cxn ang="0">
                    <a:pos x="30" y="12"/>
                  </a:cxn>
                  <a:cxn ang="0">
                    <a:pos x="19" y="19"/>
                  </a:cxn>
                  <a:cxn ang="0">
                    <a:pos x="7" y="21"/>
                  </a:cxn>
                  <a:cxn ang="0">
                    <a:pos x="2" y="27"/>
                  </a:cxn>
                  <a:cxn ang="0">
                    <a:pos x="7" y="34"/>
                  </a:cxn>
                  <a:cxn ang="0">
                    <a:pos x="13" y="21"/>
                  </a:cxn>
                  <a:cxn ang="0">
                    <a:pos x="21" y="27"/>
                  </a:cxn>
                  <a:cxn ang="0">
                    <a:pos x="32" y="41"/>
                  </a:cxn>
                  <a:cxn ang="0">
                    <a:pos x="33" y="45"/>
                  </a:cxn>
                  <a:cxn ang="0">
                    <a:pos x="30" y="50"/>
                  </a:cxn>
                  <a:cxn ang="0">
                    <a:pos x="40" y="55"/>
                  </a:cxn>
                  <a:cxn ang="0">
                    <a:pos x="47" y="61"/>
                  </a:cxn>
                  <a:cxn ang="0">
                    <a:pos x="66" y="69"/>
                  </a:cxn>
                  <a:cxn ang="0">
                    <a:pos x="63" y="73"/>
                  </a:cxn>
                  <a:cxn ang="0">
                    <a:pos x="68" y="69"/>
                  </a:cxn>
                  <a:cxn ang="0">
                    <a:pos x="42" y="41"/>
                  </a:cxn>
                  <a:cxn ang="0">
                    <a:pos x="40" y="36"/>
                  </a:cxn>
                  <a:cxn ang="0">
                    <a:pos x="35" y="29"/>
                  </a:cxn>
                  <a:cxn ang="0">
                    <a:pos x="39" y="21"/>
                  </a:cxn>
                  <a:cxn ang="0">
                    <a:pos x="44" y="26"/>
                  </a:cxn>
                  <a:cxn ang="0">
                    <a:pos x="51" y="24"/>
                  </a:cxn>
                  <a:cxn ang="0">
                    <a:pos x="56" y="22"/>
                  </a:cxn>
                  <a:cxn ang="0">
                    <a:pos x="61" y="24"/>
                  </a:cxn>
                  <a:cxn ang="0">
                    <a:pos x="70" y="24"/>
                  </a:cxn>
                  <a:cxn ang="0">
                    <a:pos x="80" y="26"/>
                  </a:cxn>
                  <a:cxn ang="0">
                    <a:pos x="87" y="29"/>
                  </a:cxn>
                  <a:cxn ang="0">
                    <a:pos x="87" y="29"/>
                  </a:cxn>
                  <a:cxn ang="0">
                    <a:pos x="58" y="69"/>
                  </a:cxn>
                  <a:cxn ang="0">
                    <a:pos x="52" y="69"/>
                  </a:cxn>
                  <a:cxn ang="0">
                    <a:pos x="52" y="69"/>
                  </a:cxn>
                  <a:cxn ang="0">
                    <a:pos x="54" y="69"/>
                  </a:cxn>
                  <a:cxn ang="0">
                    <a:pos x="49" y="66"/>
                  </a:cxn>
                  <a:cxn ang="0">
                    <a:pos x="56" y="62"/>
                  </a:cxn>
                  <a:cxn ang="0">
                    <a:pos x="51" y="64"/>
                  </a:cxn>
                  <a:cxn ang="0">
                    <a:pos x="49" y="62"/>
                  </a:cxn>
                  <a:cxn ang="0">
                    <a:pos x="26" y="41"/>
                  </a:cxn>
                  <a:cxn ang="0">
                    <a:pos x="25" y="41"/>
                  </a:cxn>
                  <a:cxn ang="0">
                    <a:pos x="25" y="41"/>
                  </a:cxn>
                  <a:cxn ang="0">
                    <a:pos x="21" y="38"/>
                  </a:cxn>
                  <a:cxn ang="0">
                    <a:pos x="21" y="36"/>
                  </a:cxn>
                  <a:cxn ang="0">
                    <a:pos x="26" y="50"/>
                  </a:cxn>
                  <a:cxn ang="0">
                    <a:pos x="23" y="45"/>
                  </a:cxn>
                  <a:cxn ang="0">
                    <a:pos x="18" y="41"/>
                  </a:cxn>
                  <a:cxn ang="0">
                    <a:pos x="18" y="41"/>
                  </a:cxn>
                  <a:cxn ang="0">
                    <a:pos x="18" y="41"/>
                  </a:cxn>
                  <a:cxn ang="0">
                    <a:pos x="18" y="40"/>
                  </a:cxn>
                  <a:cxn ang="0">
                    <a:pos x="16" y="34"/>
                  </a:cxn>
                  <a:cxn ang="0">
                    <a:pos x="13" y="31"/>
                  </a:cxn>
                  <a:cxn ang="0">
                    <a:pos x="19" y="31"/>
                  </a:cxn>
                  <a:cxn ang="0">
                    <a:pos x="13" y="31"/>
                  </a:cxn>
                  <a:cxn ang="0">
                    <a:pos x="16" y="24"/>
                  </a:cxn>
                  <a:cxn ang="0">
                    <a:pos x="16" y="24"/>
                  </a:cxn>
                </a:cxnLst>
                <a:rect l="0" t="0" r="r" b="b"/>
                <a:pathLst>
                  <a:path w="92" h="73">
                    <a:moveTo>
                      <a:pt x="87" y="29"/>
                    </a:moveTo>
                    <a:lnTo>
                      <a:pt x="87" y="26"/>
                    </a:lnTo>
                    <a:lnTo>
                      <a:pt x="91" y="24"/>
                    </a:lnTo>
                    <a:lnTo>
                      <a:pt x="92" y="24"/>
                    </a:lnTo>
                    <a:lnTo>
                      <a:pt x="92" y="24"/>
                    </a:lnTo>
                    <a:lnTo>
                      <a:pt x="89" y="22"/>
                    </a:lnTo>
                    <a:lnTo>
                      <a:pt x="87" y="21"/>
                    </a:lnTo>
                    <a:lnTo>
                      <a:pt x="85" y="17"/>
                    </a:lnTo>
                    <a:lnTo>
                      <a:pt x="84" y="12"/>
                    </a:lnTo>
                    <a:lnTo>
                      <a:pt x="84" y="12"/>
                    </a:lnTo>
                    <a:lnTo>
                      <a:pt x="80" y="14"/>
                    </a:lnTo>
                    <a:lnTo>
                      <a:pt x="73" y="12"/>
                    </a:lnTo>
                    <a:lnTo>
                      <a:pt x="65" y="12"/>
                    </a:lnTo>
                    <a:lnTo>
                      <a:pt x="61" y="8"/>
                    </a:lnTo>
                    <a:lnTo>
                      <a:pt x="58" y="5"/>
                    </a:lnTo>
                    <a:lnTo>
                      <a:pt x="51" y="0"/>
                    </a:lnTo>
                    <a:lnTo>
                      <a:pt x="49" y="0"/>
                    </a:lnTo>
                    <a:lnTo>
                      <a:pt x="49" y="0"/>
                    </a:lnTo>
                    <a:lnTo>
                      <a:pt x="40" y="0"/>
                    </a:lnTo>
                    <a:lnTo>
                      <a:pt x="32" y="5"/>
                    </a:lnTo>
                    <a:lnTo>
                      <a:pt x="30" y="12"/>
                    </a:lnTo>
                    <a:lnTo>
                      <a:pt x="25" y="12"/>
                    </a:lnTo>
                    <a:lnTo>
                      <a:pt x="23" y="19"/>
                    </a:lnTo>
                    <a:lnTo>
                      <a:pt x="19" y="19"/>
                    </a:lnTo>
                    <a:lnTo>
                      <a:pt x="13" y="17"/>
                    </a:lnTo>
                    <a:lnTo>
                      <a:pt x="11" y="17"/>
                    </a:lnTo>
                    <a:lnTo>
                      <a:pt x="7" y="21"/>
                    </a:lnTo>
                    <a:lnTo>
                      <a:pt x="0" y="21"/>
                    </a:lnTo>
                    <a:lnTo>
                      <a:pt x="0" y="21"/>
                    </a:lnTo>
                    <a:lnTo>
                      <a:pt x="2" y="27"/>
                    </a:lnTo>
                    <a:lnTo>
                      <a:pt x="6" y="33"/>
                    </a:lnTo>
                    <a:lnTo>
                      <a:pt x="6" y="33"/>
                    </a:lnTo>
                    <a:lnTo>
                      <a:pt x="7" y="34"/>
                    </a:lnTo>
                    <a:lnTo>
                      <a:pt x="11" y="27"/>
                    </a:lnTo>
                    <a:lnTo>
                      <a:pt x="13" y="24"/>
                    </a:lnTo>
                    <a:lnTo>
                      <a:pt x="13" y="21"/>
                    </a:lnTo>
                    <a:lnTo>
                      <a:pt x="18" y="21"/>
                    </a:lnTo>
                    <a:lnTo>
                      <a:pt x="18" y="24"/>
                    </a:lnTo>
                    <a:lnTo>
                      <a:pt x="21" y="27"/>
                    </a:lnTo>
                    <a:lnTo>
                      <a:pt x="23" y="33"/>
                    </a:lnTo>
                    <a:lnTo>
                      <a:pt x="25" y="38"/>
                    </a:lnTo>
                    <a:lnTo>
                      <a:pt x="32" y="41"/>
                    </a:lnTo>
                    <a:lnTo>
                      <a:pt x="32" y="41"/>
                    </a:lnTo>
                    <a:lnTo>
                      <a:pt x="35" y="45"/>
                    </a:lnTo>
                    <a:lnTo>
                      <a:pt x="33" y="45"/>
                    </a:lnTo>
                    <a:lnTo>
                      <a:pt x="30" y="45"/>
                    </a:lnTo>
                    <a:lnTo>
                      <a:pt x="28" y="47"/>
                    </a:lnTo>
                    <a:lnTo>
                      <a:pt x="30" y="50"/>
                    </a:lnTo>
                    <a:lnTo>
                      <a:pt x="33" y="50"/>
                    </a:lnTo>
                    <a:lnTo>
                      <a:pt x="39" y="54"/>
                    </a:lnTo>
                    <a:lnTo>
                      <a:pt x="40" y="55"/>
                    </a:lnTo>
                    <a:lnTo>
                      <a:pt x="42" y="59"/>
                    </a:lnTo>
                    <a:lnTo>
                      <a:pt x="44" y="61"/>
                    </a:lnTo>
                    <a:lnTo>
                      <a:pt x="47" y="61"/>
                    </a:lnTo>
                    <a:lnTo>
                      <a:pt x="56" y="61"/>
                    </a:lnTo>
                    <a:lnTo>
                      <a:pt x="58" y="62"/>
                    </a:lnTo>
                    <a:lnTo>
                      <a:pt x="66" y="69"/>
                    </a:lnTo>
                    <a:lnTo>
                      <a:pt x="65" y="73"/>
                    </a:lnTo>
                    <a:lnTo>
                      <a:pt x="61" y="69"/>
                    </a:lnTo>
                    <a:lnTo>
                      <a:pt x="63" y="73"/>
                    </a:lnTo>
                    <a:lnTo>
                      <a:pt x="66" y="73"/>
                    </a:lnTo>
                    <a:lnTo>
                      <a:pt x="66" y="73"/>
                    </a:lnTo>
                    <a:lnTo>
                      <a:pt x="68" y="69"/>
                    </a:lnTo>
                    <a:lnTo>
                      <a:pt x="56" y="55"/>
                    </a:lnTo>
                    <a:lnTo>
                      <a:pt x="42" y="45"/>
                    </a:lnTo>
                    <a:lnTo>
                      <a:pt x="42" y="41"/>
                    </a:lnTo>
                    <a:lnTo>
                      <a:pt x="42" y="41"/>
                    </a:lnTo>
                    <a:lnTo>
                      <a:pt x="40" y="38"/>
                    </a:lnTo>
                    <a:lnTo>
                      <a:pt x="40" y="36"/>
                    </a:lnTo>
                    <a:lnTo>
                      <a:pt x="35" y="31"/>
                    </a:lnTo>
                    <a:lnTo>
                      <a:pt x="35" y="31"/>
                    </a:lnTo>
                    <a:lnTo>
                      <a:pt x="35" y="29"/>
                    </a:lnTo>
                    <a:lnTo>
                      <a:pt x="35" y="27"/>
                    </a:lnTo>
                    <a:lnTo>
                      <a:pt x="35" y="22"/>
                    </a:lnTo>
                    <a:lnTo>
                      <a:pt x="39" y="21"/>
                    </a:lnTo>
                    <a:lnTo>
                      <a:pt x="40" y="24"/>
                    </a:lnTo>
                    <a:lnTo>
                      <a:pt x="42" y="26"/>
                    </a:lnTo>
                    <a:lnTo>
                      <a:pt x="44" y="26"/>
                    </a:lnTo>
                    <a:lnTo>
                      <a:pt x="44" y="24"/>
                    </a:lnTo>
                    <a:lnTo>
                      <a:pt x="47" y="22"/>
                    </a:lnTo>
                    <a:lnTo>
                      <a:pt x="51" y="24"/>
                    </a:lnTo>
                    <a:lnTo>
                      <a:pt x="52" y="21"/>
                    </a:lnTo>
                    <a:lnTo>
                      <a:pt x="54" y="22"/>
                    </a:lnTo>
                    <a:lnTo>
                      <a:pt x="56" y="22"/>
                    </a:lnTo>
                    <a:lnTo>
                      <a:pt x="58" y="22"/>
                    </a:lnTo>
                    <a:lnTo>
                      <a:pt x="61" y="26"/>
                    </a:lnTo>
                    <a:lnTo>
                      <a:pt x="61" y="24"/>
                    </a:lnTo>
                    <a:lnTo>
                      <a:pt x="65" y="24"/>
                    </a:lnTo>
                    <a:lnTo>
                      <a:pt x="68" y="24"/>
                    </a:lnTo>
                    <a:lnTo>
                      <a:pt x="70" y="24"/>
                    </a:lnTo>
                    <a:lnTo>
                      <a:pt x="73" y="24"/>
                    </a:lnTo>
                    <a:lnTo>
                      <a:pt x="75" y="26"/>
                    </a:lnTo>
                    <a:lnTo>
                      <a:pt x="80" y="26"/>
                    </a:lnTo>
                    <a:lnTo>
                      <a:pt x="84" y="29"/>
                    </a:lnTo>
                    <a:lnTo>
                      <a:pt x="87" y="29"/>
                    </a:lnTo>
                    <a:lnTo>
                      <a:pt x="87" y="29"/>
                    </a:lnTo>
                    <a:lnTo>
                      <a:pt x="87" y="29"/>
                    </a:lnTo>
                    <a:lnTo>
                      <a:pt x="87" y="29"/>
                    </a:lnTo>
                    <a:lnTo>
                      <a:pt x="87" y="29"/>
                    </a:lnTo>
                    <a:close/>
                    <a:moveTo>
                      <a:pt x="52" y="69"/>
                    </a:moveTo>
                    <a:lnTo>
                      <a:pt x="52" y="69"/>
                    </a:lnTo>
                    <a:lnTo>
                      <a:pt x="58" y="69"/>
                    </a:lnTo>
                    <a:lnTo>
                      <a:pt x="61" y="73"/>
                    </a:lnTo>
                    <a:lnTo>
                      <a:pt x="56" y="73"/>
                    </a:lnTo>
                    <a:lnTo>
                      <a:pt x="52" y="69"/>
                    </a:lnTo>
                    <a:lnTo>
                      <a:pt x="52" y="69"/>
                    </a:lnTo>
                    <a:lnTo>
                      <a:pt x="52" y="69"/>
                    </a:lnTo>
                    <a:lnTo>
                      <a:pt x="52" y="69"/>
                    </a:lnTo>
                    <a:close/>
                    <a:moveTo>
                      <a:pt x="49" y="66"/>
                    </a:moveTo>
                    <a:lnTo>
                      <a:pt x="58" y="67"/>
                    </a:lnTo>
                    <a:lnTo>
                      <a:pt x="54" y="69"/>
                    </a:lnTo>
                    <a:lnTo>
                      <a:pt x="49" y="66"/>
                    </a:lnTo>
                    <a:lnTo>
                      <a:pt x="49" y="66"/>
                    </a:lnTo>
                    <a:lnTo>
                      <a:pt x="49" y="66"/>
                    </a:lnTo>
                    <a:lnTo>
                      <a:pt x="49" y="66"/>
                    </a:lnTo>
                    <a:close/>
                    <a:moveTo>
                      <a:pt x="49" y="62"/>
                    </a:moveTo>
                    <a:lnTo>
                      <a:pt x="56" y="62"/>
                    </a:lnTo>
                    <a:lnTo>
                      <a:pt x="58" y="64"/>
                    </a:lnTo>
                    <a:lnTo>
                      <a:pt x="54" y="66"/>
                    </a:lnTo>
                    <a:lnTo>
                      <a:pt x="51" y="64"/>
                    </a:lnTo>
                    <a:lnTo>
                      <a:pt x="49" y="62"/>
                    </a:lnTo>
                    <a:lnTo>
                      <a:pt x="49" y="62"/>
                    </a:lnTo>
                    <a:lnTo>
                      <a:pt x="49" y="62"/>
                    </a:lnTo>
                    <a:lnTo>
                      <a:pt x="49" y="62"/>
                    </a:lnTo>
                    <a:close/>
                    <a:moveTo>
                      <a:pt x="25" y="41"/>
                    </a:moveTo>
                    <a:lnTo>
                      <a:pt x="26" y="41"/>
                    </a:lnTo>
                    <a:lnTo>
                      <a:pt x="30" y="45"/>
                    </a:lnTo>
                    <a:lnTo>
                      <a:pt x="28" y="45"/>
                    </a:lnTo>
                    <a:lnTo>
                      <a:pt x="25" y="41"/>
                    </a:lnTo>
                    <a:lnTo>
                      <a:pt x="25" y="41"/>
                    </a:lnTo>
                    <a:lnTo>
                      <a:pt x="25" y="41"/>
                    </a:lnTo>
                    <a:lnTo>
                      <a:pt x="25" y="41"/>
                    </a:lnTo>
                    <a:close/>
                    <a:moveTo>
                      <a:pt x="21" y="36"/>
                    </a:moveTo>
                    <a:lnTo>
                      <a:pt x="25" y="40"/>
                    </a:lnTo>
                    <a:lnTo>
                      <a:pt x="21" y="38"/>
                    </a:lnTo>
                    <a:lnTo>
                      <a:pt x="21" y="36"/>
                    </a:lnTo>
                    <a:lnTo>
                      <a:pt x="21" y="36"/>
                    </a:lnTo>
                    <a:lnTo>
                      <a:pt x="21" y="36"/>
                    </a:lnTo>
                    <a:lnTo>
                      <a:pt x="21" y="36"/>
                    </a:lnTo>
                    <a:close/>
                    <a:moveTo>
                      <a:pt x="23" y="45"/>
                    </a:moveTo>
                    <a:lnTo>
                      <a:pt x="26" y="50"/>
                    </a:lnTo>
                    <a:lnTo>
                      <a:pt x="26" y="52"/>
                    </a:lnTo>
                    <a:lnTo>
                      <a:pt x="23" y="45"/>
                    </a:lnTo>
                    <a:lnTo>
                      <a:pt x="23" y="45"/>
                    </a:lnTo>
                    <a:lnTo>
                      <a:pt x="23" y="45"/>
                    </a:lnTo>
                    <a:lnTo>
                      <a:pt x="23" y="45"/>
                    </a:lnTo>
                    <a:close/>
                    <a:moveTo>
                      <a:pt x="18" y="41"/>
                    </a:moveTo>
                    <a:lnTo>
                      <a:pt x="21" y="41"/>
                    </a:lnTo>
                    <a:lnTo>
                      <a:pt x="21" y="45"/>
                    </a:lnTo>
                    <a:lnTo>
                      <a:pt x="18" y="41"/>
                    </a:lnTo>
                    <a:lnTo>
                      <a:pt x="18" y="41"/>
                    </a:lnTo>
                    <a:lnTo>
                      <a:pt x="18" y="41"/>
                    </a:lnTo>
                    <a:lnTo>
                      <a:pt x="18" y="41"/>
                    </a:lnTo>
                    <a:close/>
                    <a:moveTo>
                      <a:pt x="13" y="31"/>
                    </a:moveTo>
                    <a:lnTo>
                      <a:pt x="16" y="34"/>
                    </a:lnTo>
                    <a:lnTo>
                      <a:pt x="18" y="40"/>
                    </a:lnTo>
                    <a:lnTo>
                      <a:pt x="16" y="40"/>
                    </a:lnTo>
                    <a:lnTo>
                      <a:pt x="13" y="36"/>
                    </a:lnTo>
                    <a:lnTo>
                      <a:pt x="16" y="34"/>
                    </a:lnTo>
                    <a:lnTo>
                      <a:pt x="13" y="31"/>
                    </a:lnTo>
                    <a:lnTo>
                      <a:pt x="13" y="31"/>
                    </a:lnTo>
                    <a:lnTo>
                      <a:pt x="13" y="31"/>
                    </a:lnTo>
                    <a:lnTo>
                      <a:pt x="13" y="31"/>
                    </a:lnTo>
                    <a:close/>
                    <a:moveTo>
                      <a:pt x="16" y="24"/>
                    </a:moveTo>
                    <a:lnTo>
                      <a:pt x="19" y="31"/>
                    </a:lnTo>
                    <a:lnTo>
                      <a:pt x="18" y="33"/>
                    </a:lnTo>
                    <a:lnTo>
                      <a:pt x="16" y="31"/>
                    </a:lnTo>
                    <a:lnTo>
                      <a:pt x="13" y="31"/>
                    </a:lnTo>
                    <a:lnTo>
                      <a:pt x="13" y="26"/>
                    </a:lnTo>
                    <a:lnTo>
                      <a:pt x="13" y="26"/>
                    </a:lnTo>
                    <a:lnTo>
                      <a:pt x="16" y="24"/>
                    </a:lnTo>
                    <a:lnTo>
                      <a:pt x="16" y="24"/>
                    </a:lnTo>
                    <a:lnTo>
                      <a:pt x="16" y="24"/>
                    </a:lnTo>
                    <a:lnTo>
                      <a:pt x="1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0" name="Freeform 93"/>
              <p:cNvSpPr>
                <a:spLocks/>
              </p:cNvSpPr>
              <p:nvPr/>
            </p:nvSpPr>
            <p:spPr bwMode="auto">
              <a:xfrm>
                <a:off x="4840288" y="2933701"/>
                <a:ext cx="103188" cy="93663"/>
              </a:xfrm>
              <a:custGeom>
                <a:avLst/>
                <a:gdLst/>
                <a:ahLst/>
                <a:cxnLst>
                  <a:cxn ang="0">
                    <a:pos x="35" y="50"/>
                  </a:cxn>
                  <a:cxn ang="0">
                    <a:pos x="9" y="24"/>
                  </a:cxn>
                  <a:cxn ang="0">
                    <a:pos x="9" y="19"/>
                  </a:cxn>
                  <a:cxn ang="0">
                    <a:pos x="7" y="15"/>
                  </a:cxn>
                  <a:cxn ang="0">
                    <a:pos x="0" y="10"/>
                  </a:cxn>
                  <a:cxn ang="0">
                    <a:pos x="2" y="7"/>
                  </a:cxn>
                  <a:cxn ang="0">
                    <a:pos x="4" y="0"/>
                  </a:cxn>
                  <a:cxn ang="0">
                    <a:pos x="9" y="5"/>
                  </a:cxn>
                  <a:cxn ang="0">
                    <a:pos x="11" y="2"/>
                  </a:cxn>
                  <a:cxn ang="0">
                    <a:pos x="18" y="2"/>
                  </a:cxn>
                  <a:cxn ang="0">
                    <a:pos x="19" y="2"/>
                  </a:cxn>
                  <a:cxn ang="0">
                    <a:pos x="25" y="2"/>
                  </a:cxn>
                  <a:cxn ang="0">
                    <a:pos x="28" y="2"/>
                  </a:cxn>
                  <a:cxn ang="0">
                    <a:pos x="35" y="2"/>
                  </a:cxn>
                  <a:cxn ang="0">
                    <a:pos x="40" y="2"/>
                  </a:cxn>
                  <a:cxn ang="0">
                    <a:pos x="47" y="5"/>
                  </a:cxn>
                  <a:cxn ang="0">
                    <a:pos x="54" y="7"/>
                  </a:cxn>
                  <a:cxn ang="0">
                    <a:pos x="58" y="7"/>
                  </a:cxn>
                  <a:cxn ang="0">
                    <a:pos x="59" y="14"/>
                  </a:cxn>
                  <a:cxn ang="0">
                    <a:pos x="56" y="19"/>
                  </a:cxn>
                  <a:cxn ang="0">
                    <a:pos x="63" y="24"/>
                  </a:cxn>
                  <a:cxn ang="0">
                    <a:pos x="65" y="28"/>
                  </a:cxn>
                  <a:cxn ang="0">
                    <a:pos x="59" y="28"/>
                  </a:cxn>
                  <a:cxn ang="0">
                    <a:pos x="63" y="36"/>
                  </a:cxn>
                  <a:cxn ang="0">
                    <a:pos x="59" y="36"/>
                  </a:cxn>
                  <a:cxn ang="0">
                    <a:pos x="52" y="36"/>
                  </a:cxn>
                  <a:cxn ang="0">
                    <a:pos x="56" y="42"/>
                  </a:cxn>
                  <a:cxn ang="0">
                    <a:pos x="54" y="45"/>
                  </a:cxn>
                  <a:cxn ang="0">
                    <a:pos x="51" y="48"/>
                  </a:cxn>
                  <a:cxn ang="0">
                    <a:pos x="51" y="57"/>
                  </a:cxn>
                  <a:cxn ang="0">
                    <a:pos x="42" y="54"/>
                  </a:cxn>
                  <a:cxn ang="0">
                    <a:pos x="35" y="54"/>
                  </a:cxn>
                  <a:cxn ang="0">
                    <a:pos x="33" y="52"/>
                  </a:cxn>
                  <a:cxn ang="0">
                    <a:pos x="33" y="52"/>
                  </a:cxn>
                </a:cxnLst>
                <a:rect l="0" t="0" r="r" b="b"/>
                <a:pathLst>
                  <a:path w="65" h="59">
                    <a:moveTo>
                      <a:pt x="33" y="52"/>
                    </a:moveTo>
                    <a:lnTo>
                      <a:pt x="35" y="50"/>
                    </a:lnTo>
                    <a:lnTo>
                      <a:pt x="23" y="35"/>
                    </a:lnTo>
                    <a:lnTo>
                      <a:pt x="9" y="24"/>
                    </a:lnTo>
                    <a:lnTo>
                      <a:pt x="9" y="21"/>
                    </a:lnTo>
                    <a:lnTo>
                      <a:pt x="9" y="19"/>
                    </a:lnTo>
                    <a:lnTo>
                      <a:pt x="7" y="15"/>
                    </a:lnTo>
                    <a:lnTo>
                      <a:pt x="7" y="15"/>
                    </a:lnTo>
                    <a:lnTo>
                      <a:pt x="2" y="10"/>
                    </a:lnTo>
                    <a:lnTo>
                      <a:pt x="0" y="10"/>
                    </a:lnTo>
                    <a:lnTo>
                      <a:pt x="0" y="7"/>
                    </a:lnTo>
                    <a:lnTo>
                      <a:pt x="2" y="7"/>
                    </a:lnTo>
                    <a:lnTo>
                      <a:pt x="2" y="2"/>
                    </a:lnTo>
                    <a:lnTo>
                      <a:pt x="4" y="0"/>
                    </a:lnTo>
                    <a:lnTo>
                      <a:pt x="7" y="2"/>
                    </a:lnTo>
                    <a:lnTo>
                      <a:pt x="9" y="5"/>
                    </a:lnTo>
                    <a:lnTo>
                      <a:pt x="11" y="5"/>
                    </a:lnTo>
                    <a:lnTo>
                      <a:pt x="11" y="2"/>
                    </a:lnTo>
                    <a:lnTo>
                      <a:pt x="14" y="2"/>
                    </a:lnTo>
                    <a:lnTo>
                      <a:pt x="18" y="2"/>
                    </a:lnTo>
                    <a:lnTo>
                      <a:pt x="19" y="0"/>
                    </a:lnTo>
                    <a:lnTo>
                      <a:pt x="19" y="2"/>
                    </a:lnTo>
                    <a:lnTo>
                      <a:pt x="23" y="2"/>
                    </a:lnTo>
                    <a:lnTo>
                      <a:pt x="25" y="2"/>
                    </a:lnTo>
                    <a:lnTo>
                      <a:pt x="28" y="5"/>
                    </a:lnTo>
                    <a:lnTo>
                      <a:pt x="28" y="2"/>
                    </a:lnTo>
                    <a:lnTo>
                      <a:pt x="32" y="2"/>
                    </a:lnTo>
                    <a:lnTo>
                      <a:pt x="35" y="2"/>
                    </a:lnTo>
                    <a:lnTo>
                      <a:pt x="37" y="2"/>
                    </a:lnTo>
                    <a:lnTo>
                      <a:pt x="40" y="2"/>
                    </a:lnTo>
                    <a:lnTo>
                      <a:pt x="42" y="5"/>
                    </a:lnTo>
                    <a:lnTo>
                      <a:pt x="47" y="5"/>
                    </a:lnTo>
                    <a:lnTo>
                      <a:pt x="51" y="7"/>
                    </a:lnTo>
                    <a:lnTo>
                      <a:pt x="54" y="7"/>
                    </a:lnTo>
                    <a:lnTo>
                      <a:pt x="56" y="10"/>
                    </a:lnTo>
                    <a:lnTo>
                      <a:pt x="58" y="7"/>
                    </a:lnTo>
                    <a:lnTo>
                      <a:pt x="59" y="7"/>
                    </a:lnTo>
                    <a:lnTo>
                      <a:pt x="59" y="14"/>
                    </a:lnTo>
                    <a:lnTo>
                      <a:pt x="54" y="19"/>
                    </a:lnTo>
                    <a:lnTo>
                      <a:pt x="56" y="19"/>
                    </a:lnTo>
                    <a:lnTo>
                      <a:pt x="61" y="24"/>
                    </a:lnTo>
                    <a:lnTo>
                      <a:pt x="63" y="24"/>
                    </a:lnTo>
                    <a:lnTo>
                      <a:pt x="65" y="26"/>
                    </a:lnTo>
                    <a:lnTo>
                      <a:pt x="65" y="28"/>
                    </a:lnTo>
                    <a:lnTo>
                      <a:pt x="61" y="26"/>
                    </a:lnTo>
                    <a:lnTo>
                      <a:pt x="59" y="28"/>
                    </a:lnTo>
                    <a:lnTo>
                      <a:pt x="59" y="31"/>
                    </a:lnTo>
                    <a:lnTo>
                      <a:pt x="63" y="36"/>
                    </a:lnTo>
                    <a:lnTo>
                      <a:pt x="61" y="38"/>
                    </a:lnTo>
                    <a:lnTo>
                      <a:pt x="59" y="36"/>
                    </a:lnTo>
                    <a:lnTo>
                      <a:pt x="54" y="35"/>
                    </a:lnTo>
                    <a:lnTo>
                      <a:pt x="52" y="36"/>
                    </a:lnTo>
                    <a:lnTo>
                      <a:pt x="52" y="38"/>
                    </a:lnTo>
                    <a:lnTo>
                      <a:pt x="56" y="42"/>
                    </a:lnTo>
                    <a:lnTo>
                      <a:pt x="58" y="43"/>
                    </a:lnTo>
                    <a:lnTo>
                      <a:pt x="54" y="45"/>
                    </a:lnTo>
                    <a:lnTo>
                      <a:pt x="52" y="45"/>
                    </a:lnTo>
                    <a:lnTo>
                      <a:pt x="51" y="48"/>
                    </a:lnTo>
                    <a:lnTo>
                      <a:pt x="51" y="54"/>
                    </a:lnTo>
                    <a:lnTo>
                      <a:pt x="51" y="57"/>
                    </a:lnTo>
                    <a:lnTo>
                      <a:pt x="47" y="59"/>
                    </a:lnTo>
                    <a:lnTo>
                      <a:pt x="42" y="54"/>
                    </a:lnTo>
                    <a:lnTo>
                      <a:pt x="42" y="54"/>
                    </a:lnTo>
                    <a:lnTo>
                      <a:pt x="35" y="54"/>
                    </a:lnTo>
                    <a:lnTo>
                      <a:pt x="33" y="52"/>
                    </a:lnTo>
                    <a:lnTo>
                      <a:pt x="33" y="52"/>
                    </a:lnTo>
                    <a:lnTo>
                      <a:pt x="33" y="52"/>
                    </a:lnTo>
                    <a:lnTo>
                      <a:pt x="33"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1" name="Freeform 94"/>
              <p:cNvSpPr>
                <a:spLocks/>
              </p:cNvSpPr>
              <p:nvPr/>
            </p:nvSpPr>
            <p:spPr bwMode="auto">
              <a:xfrm>
                <a:off x="4787900" y="2886076"/>
                <a:ext cx="77788" cy="47625"/>
              </a:xfrm>
              <a:custGeom>
                <a:avLst/>
                <a:gdLst/>
                <a:ahLst/>
                <a:cxnLst>
                  <a:cxn ang="0">
                    <a:pos x="0" y="30"/>
                  </a:cxn>
                  <a:cxn ang="0">
                    <a:pos x="7" y="30"/>
                  </a:cxn>
                  <a:cxn ang="0">
                    <a:pos x="11" y="26"/>
                  </a:cxn>
                  <a:cxn ang="0">
                    <a:pos x="14" y="25"/>
                  </a:cxn>
                  <a:cxn ang="0">
                    <a:pos x="21" y="28"/>
                  </a:cxn>
                  <a:cxn ang="0">
                    <a:pos x="25" y="28"/>
                  </a:cxn>
                  <a:cxn ang="0">
                    <a:pos x="25" y="21"/>
                  </a:cxn>
                  <a:cxn ang="0">
                    <a:pos x="30" y="21"/>
                  </a:cxn>
                  <a:cxn ang="0">
                    <a:pos x="32" y="16"/>
                  </a:cxn>
                  <a:cxn ang="0">
                    <a:pos x="40" y="9"/>
                  </a:cxn>
                  <a:cxn ang="0">
                    <a:pos x="49" y="9"/>
                  </a:cxn>
                  <a:cxn ang="0">
                    <a:pos x="47" y="5"/>
                  </a:cxn>
                  <a:cxn ang="0">
                    <a:pos x="44" y="0"/>
                  </a:cxn>
                  <a:cxn ang="0">
                    <a:pos x="39" y="0"/>
                  </a:cxn>
                  <a:cxn ang="0">
                    <a:pos x="32" y="5"/>
                  </a:cxn>
                  <a:cxn ang="0">
                    <a:pos x="30" y="5"/>
                  </a:cxn>
                  <a:cxn ang="0">
                    <a:pos x="28" y="5"/>
                  </a:cxn>
                  <a:cxn ang="0">
                    <a:pos x="25" y="5"/>
                  </a:cxn>
                  <a:cxn ang="0">
                    <a:pos x="21" y="5"/>
                  </a:cxn>
                  <a:cxn ang="0">
                    <a:pos x="18" y="9"/>
                  </a:cxn>
                  <a:cxn ang="0">
                    <a:pos x="14" y="5"/>
                  </a:cxn>
                  <a:cxn ang="0">
                    <a:pos x="7" y="5"/>
                  </a:cxn>
                  <a:cxn ang="0">
                    <a:pos x="4" y="5"/>
                  </a:cxn>
                  <a:cxn ang="0">
                    <a:pos x="0" y="11"/>
                  </a:cxn>
                  <a:cxn ang="0">
                    <a:pos x="0" y="12"/>
                  </a:cxn>
                  <a:cxn ang="0">
                    <a:pos x="0" y="18"/>
                  </a:cxn>
                  <a:cxn ang="0">
                    <a:pos x="0" y="21"/>
                  </a:cxn>
                  <a:cxn ang="0">
                    <a:pos x="0" y="21"/>
                  </a:cxn>
                  <a:cxn ang="0">
                    <a:pos x="4" y="23"/>
                  </a:cxn>
                  <a:cxn ang="0">
                    <a:pos x="4" y="26"/>
                  </a:cxn>
                  <a:cxn ang="0">
                    <a:pos x="0" y="26"/>
                  </a:cxn>
                  <a:cxn ang="0">
                    <a:pos x="0" y="30"/>
                  </a:cxn>
                  <a:cxn ang="0">
                    <a:pos x="0" y="30"/>
                  </a:cxn>
                  <a:cxn ang="0">
                    <a:pos x="0" y="30"/>
                  </a:cxn>
                </a:cxnLst>
                <a:rect l="0" t="0" r="r" b="b"/>
                <a:pathLst>
                  <a:path w="49" h="30">
                    <a:moveTo>
                      <a:pt x="0" y="30"/>
                    </a:moveTo>
                    <a:lnTo>
                      <a:pt x="7" y="30"/>
                    </a:lnTo>
                    <a:lnTo>
                      <a:pt x="11" y="26"/>
                    </a:lnTo>
                    <a:lnTo>
                      <a:pt x="14" y="25"/>
                    </a:lnTo>
                    <a:lnTo>
                      <a:pt x="21" y="28"/>
                    </a:lnTo>
                    <a:lnTo>
                      <a:pt x="25" y="28"/>
                    </a:lnTo>
                    <a:lnTo>
                      <a:pt x="25" y="21"/>
                    </a:lnTo>
                    <a:lnTo>
                      <a:pt x="30" y="21"/>
                    </a:lnTo>
                    <a:lnTo>
                      <a:pt x="32" y="16"/>
                    </a:lnTo>
                    <a:lnTo>
                      <a:pt x="40" y="9"/>
                    </a:lnTo>
                    <a:lnTo>
                      <a:pt x="49" y="9"/>
                    </a:lnTo>
                    <a:lnTo>
                      <a:pt x="47" y="5"/>
                    </a:lnTo>
                    <a:lnTo>
                      <a:pt x="44" y="0"/>
                    </a:lnTo>
                    <a:lnTo>
                      <a:pt x="39" y="0"/>
                    </a:lnTo>
                    <a:lnTo>
                      <a:pt x="32" y="5"/>
                    </a:lnTo>
                    <a:lnTo>
                      <a:pt x="30" y="5"/>
                    </a:lnTo>
                    <a:lnTo>
                      <a:pt x="28" y="5"/>
                    </a:lnTo>
                    <a:lnTo>
                      <a:pt x="25" y="5"/>
                    </a:lnTo>
                    <a:lnTo>
                      <a:pt x="21" y="5"/>
                    </a:lnTo>
                    <a:lnTo>
                      <a:pt x="18" y="9"/>
                    </a:lnTo>
                    <a:lnTo>
                      <a:pt x="14" y="5"/>
                    </a:lnTo>
                    <a:lnTo>
                      <a:pt x="7" y="5"/>
                    </a:lnTo>
                    <a:lnTo>
                      <a:pt x="4" y="5"/>
                    </a:lnTo>
                    <a:lnTo>
                      <a:pt x="0" y="11"/>
                    </a:lnTo>
                    <a:lnTo>
                      <a:pt x="0" y="12"/>
                    </a:lnTo>
                    <a:lnTo>
                      <a:pt x="0" y="18"/>
                    </a:lnTo>
                    <a:lnTo>
                      <a:pt x="0" y="21"/>
                    </a:lnTo>
                    <a:lnTo>
                      <a:pt x="0" y="21"/>
                    </a:lnTo>
                    <a:lnTo>
                      <a:pt x="4" y="23"/>
                    </a:lnTo>
                    <a:lnTo>
                      <a:pt x="4" y="26"/>
                    </a:lnTo>
                    <a:lnTo>
                      <a:pt x="0" y="26"/>
                    </a:lnTo>
                    <a:lnTo>
                      <a:pt x="0" y="30"/>
                    </a:lnTo>
                    <a:lnTo>
                      <a:pt x="0" y="30"/>
                    </a:lnTo>
                    <a:lnTo>
                      <a:pt x="0"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2" name="Freeform 95"/>
              <p:cNvSpPr>
                <a:spLocks noEditPoints="1"/>
              </p:cNvSpPr>
              <p:nvPr/>
            </p:nvSpPr>
            <p:spPr bwMode="auto">
              <a:xfrm>
                <a:off x="4951413" y="3041651"/>
                <a:ext cx="236538" cy="233363"/>
              </a:xfrm>
              <a:custGeom>
                <a:avLst/>
                <a:gdLst/>
                <a:ahLst/>
                <a:cxnLst>
                  <a:cxn ang="0">
                    <a:pos x="87" y="12"/>
                  </a:cxn>
                  <a:cxn ang="0">
                    <a:pos x="55" y="15"/>
                  </a:cxn>
                  <a:cxn ang="0">
                    <a:pos x="14" y="38"/>
                  </a:cxn>
                  <a:cxn ang="0">
                    <a:pos x="26" y="73"/>
                  </a:cxn>
                  <a:cxn ang="0">
                    <a:pos x="50" y="80"/>
                  </a:cxn>
                  <a:cxn ang="0">
                    <a:pos x="36" y="81"/>
                  </a:cxn>
                  <a:cxn ang="0">
                    <a:pos x="36" y="106"/>
                  </a:cxn>
                  <a:cxn ang="0">
                    <a:pos x="52" y="116"/>
                  </a:cxn>
                  <a:cxn ang="0">
                    <a:pos x="55" y="97"/>
                  </a:cxn>
                  <a:cxn ang="0">
                    <a:pos x="64" y="95"/>
                  </a:cxn>
                  <a:cxn ang="0">
                    <a:pos x="76" y="90"/>
                  </a:cxn>
                  <a:cxn ang="0">
                    <a:pos x="54" y="69"/>
                  </a:cxn>
                  <a:cxn ang="0">
                    <a:pos x="59" y="60"/>
                  </a:cxn>
                  <a:cxn ang="0">
                    <a:pos x="47" y="33"/>
                  </a:cxn>
                  <a:cxn ang="0">
                    <a:pos x="64" y="40"/>
                  </a:cxn>
                  <a:cxn ang="0">
                    <a:pos x="73" y="36"/>
                  </a:cxn>
                  <a:cxn ang="0">
                    <a:pos x="78" y="20"/>
                  </a:cxn>
                  <a:cxn ang="0">
                    <a:pos x="109" y="17"/>
                  </a:cxn>
                  <a:cxn ang="0">
                    <a:pos x="73" y="133"/>
                  </a:cxn>
                  <a:cxn ang="0">
                    <a:pos x="92" y="147"/>
                  </a:cxn>
                  <a:cxn ang="0">
                    <a:pos x="118" y="139"/>
                  </a:cxn>
                  <a:cxn ang="0">
                    <a:pos x="99" y="133"/>
                  </a:cxn>
                  <a:cxn ang="0">
                    <a:pos x="78" y="133"/>
                  </a:cxn>
                  <a:cxn ang="0">
                    <a:pos x="73" y="133"/>
                  </a:cxn>
                  <a:cxn ang="0">
                    <a:pos x="0" y="50"/>
                  </a:cxn>
                  <a:cxn ang="0">
                    <a:pos x="19" y="69"/>
                  </a:cxn>
                  <a:cxn ang="0">
                    <a:pos x="17" y="73"/>
                  </a:cxn>
                  <a:cxn ang="0">
                    <a:pos x="17" y="81"/>
                  </a:cxn>
                  <a:cxn ang="0">
                    <a:pos x="17" y="78"/>
                  </a:cxn>
                  <a:cxn ang="0">
                    <a:pos x="24" y="90"/>
                  </a:cxn>
                  <a:cxn ang="0">
                    <a:pos x="132" y="128"/>
                  </a:cxn>
                  <a:cxn ang="0">
                    <a:pos x="132" y="137"/>
                  </a:cxn>
                  <a:cxn ang="0">
                    <a:pos x="149" y="114"/>
                  </a:cxn>
                  <a:cxn ang="0">
                    <a:pos x="141" y="127"/>
                  </a:cxn>
                  <a:cxn ang="0">
                    <a:pos x="118" y="114"/>
                  </a:cxn>
                  <a:cxn ang="0">
                    <a:pos x="125" y="92"/>
                  </a:cxn>
                  <a:cxn ang="0">
                    <a:pos x="118" y="90"/>
                  </a:cxn>
                  <a:cxn ang="0">
                    <a:pos x="106" y="73"/>
                  </a:cxn>
                  <a:cxn ang="0">
                    <a:pos x="109" y="57"/>
                  </a:cxn>
                  <a:cxn ang="0">
                    <a:pos x="109" y="60"/>
                  </a:cxn>
                  <a:cxn ang="0">
                    <a:pos x="106" y="60"/>
                  </a:cxn>
                  <a:cxn ang="0">
                    <a:pos x="97" y="31"/>
                  </a:cxn>
                  <a:cxn ang="0">
                    <a:pos x="90" y="43"/>
                  </a:cxn>
                  <a:cxn ang="0">
                    <a:pos x="83" y="27"/>
                  </a:cxn>
                  <a:cxn ang="0">
                    <a:pos x="69" y="60"/>
                  </a:cxn>
                  <a:cxn ang="0">
                    <a:pos x="62" y="60"/>
                  </a:cxn>
                  <a:cxn ang="0">
                    <a:pos x="85" y="66"/>
                  </a:cxn>
                  <a:cxn ang="0">
                    <a:pos x="113" y="95"/>
                  </a:cxn>
                  <a:cxn ang="0">
                    <a:pos x="82" y="114"/>
                  </a:cxn>
                  <a:cxn ang="0">
                    <a:pos x="83" y="102"/>
                  </a:cxn>
                  <a:cxn ang="0">
                    <a:pos x="82" y="97"/>
                  </a:cxn>
                  <a:cxn ang="0">
                    <a:pos x="95" y="102"/>
                  </a:cxn>
                  <a:cxn ang="0">
                    <a:pos x="104" y="102"/>
                  </a:cxn>
                  <a:cxn ang="0">
                    <a:pos x="101" y="97"/>
                  </a:cxn>
                  <a:cxn ang="0">
                    <a:pos x="95" y="94"/>
                  </a:cxn>
                  <a:cxn ang="0">
                    <a:pos x="87" y="88"/>
                  </a:cxn>
                  <a:cxn ang="0">
                    <a:pos x="71" y="69"/>
                  </a:cxn>
                  <a:cxn ang="0">
                    <a:pos x="82" y="83"/>
                  </a:cxn>
                  <a:cxn ang="0">
                    <a:pos x="73" y="74"/>
                  </a:cxn>
                  <a:cxn ang="0">
                    <a:pos x="55" y="66"/>
                  </a:cxn>
                  <a:cxn ang="0">
                    <a:pos x="61" y="121"/>
                  </a:cxn>
                  <a:cxn ang="0">
                    <a:pos x="61" y="114"/>
                  </a:cxn>
                </a:cxnLst>
                <a:rect l="0" t="0" r="r" b="b"/>
                <a:pathLst>
                  <a:path w="149" h="147">
                    <a:moveTo>
                      <a:pt x="111" y="0"/>
                    </a:moveTo>
                    <a:lnTo>
                      <a:pt x="109" y="0"/>
                    </a:lnTo>
                    <a:lnTo>
                      <a:pt x="106" y="3"/>
                    </a:lnTo>
                    <a:lnTo>
                      <a:pt x="106" y="7"/>
                    </a:lnTo>
                    <a:lnTo>
                      <a:pt x="106" y="10"/>
                    </a:lnTo>
                    <a:lnTo>
                      <a:pt x="106" y="12"/>
                    </a:lnTo>
                    <a:lnTo>
                      <a:pt x="97" y="12"/>
                    </a:lnTo>
                    <a:lnTo>
                      <a:pt x="94" y="14"/>
                    </a:lnTo>
                    <a:lnTo>
                      <a:pt x="90" y="12"/>
                    </a:lnTo>
                    <a:lnTo>
                      <a:pt x="87" y="12"/>
                    </a:lnTo>
                    <a:lnTo>
                      <a:pt x="85" y="14"/>
                    </a:lnTo>
                    <a:lnTo>
                      <a:pt x="82" y="14"/>
                    </a:lnTo>
                    <a:lnTo>
                      <a:pt x="82" y="10"/>
                    </a:lnTo>
                    <a:lnTo>
                      <a:pt x="76" y="10"/>
                    </a:lnTo>
                    <a:lnTo>
                      <a:pt x="73" y="10"/>
                    </a:lnTo>
                    <a:lnTo>
                      <a:pt x="71" y="14"/>
                    </a:lnTo>
                    <a:lnTo>
                      <a:pt x="64" y="14"/>
                    </a:lnTo>
                    <a:lnTo>
                      <a:pt x="61" y="14"/>
                    </a:lnTo>
                    <a:lnTo>
                      <a:pt x="57" y="14"/>
                    </a:lnTo>
                    <a:lnTo>
                      <a:pt x="55" y="15"/>
                    </a:lnTo>
                    <a:lnTo>
                      <a:pt x="52" y="15"/>
                    </a:lnTo>
                    <a:lnTo>
                      <a:pt x="49" y="17"/>
                    </a:lnTo>
                    <a:lnTo>
                      <a:pt x="40" y="17"/>
                    </a:lnTo>
                    <a:lnTo>
                      <a:pt x="36" y="19"/>
                    </a:lnTo>
                    <a:lnTo>
                      <a:pt x="36" y="20"/>
                    </a:lnTo>
                    <a:lnTo>
                      <a:pt x="31" y="22"/>
                    </a:lnTo>
                    <a:lnTo>
                      <a:pt x="24" y="27"/>
                    </a:lnTo>
                    <a:lnTo>
                      <a:pt x="24" y="33"/>
                    </a:lnTo>
                    <a:lnTo>
                      <a:pt x="21" y="36"/>
                    </a:lnTo>
                    <a:lnTo>
                      <a:pt x="14" y="38"/>
                    </a:lnTo>
                    <a:lnTo>
                      <a:pt x="14" y="43"/>
                    </a:lnTo>
                    <a:lnTo>
                      <a:pt x="12" y="48"/>
                    </a:lnTo>
                    <a:lnTo>
                      <a:pt x="9" y="48"/>
                    </a:lnTo>
                    <a:lnTo>
                      <a:pt x="9" y="50"/>
                    </a:lnTo>
                    <a:lnTo>
                      <a:pt x="9" y="55"/>
                    </a:lnTo>
                    <a:lnTo>
                      <a:pt x="16" y="59"/>
                    </a:lnTo>
                    <a:lnTo>
                      <a:pt x="19" y="64"/>
                    </a:lnTo>
                    <a:lnTo>
                      <a:pt x="21" y="64"/>
                    </a:lnTo>
                    <a:lnTo>
                      <a:pt x="21" y="66"/>
                    </a:lnTo>
                    <a:lnTo>
                      <a:pt x="26" y="73"/>
                    </a:lnTo>
                    <a:lnTo>
                      <a:pt x="28" y="78"/>
                    </a:lnTo>
                    <a:lnTo>
                      <a:pt x="29" y="78"/>
                    </a:lnTo>
                    <a:lnTo>
                      <a:pt x="33" y="74"/>
                    </a:lnTo>
                    <a:lnTo>
                      <a:pt x="35" y="78"/>
                    </a:lnTo>
                    <a:lnTo>
                      <a:pt x="40" y="78"/>
                    </a:lnTo>
                    <a:lnTo>
                      <a:pt x="40" y="78"/>
                    </a:lnTo>
                    <a:lnTo>
                      <a:pt x="45" y="78"/>
                    </a:lnTo>
                    <a:lnTo>
                      <a:pt x="47" y="80"/>
                    </a:lnTo>
                    <a:lnTo>
                      <a:pt x="50" y="78"/>
                    </a:lnTo>
                    <a:lnTo>
                      <a:pt x="50" y="80"/>
                    </a:lnTo>
                    <a:lnTo>
                      <a:pt x="54" y="80"/>
                    </a:lnTo>
                    <a:lnTo>
                      <a:pt x="55" y="81"/>
                    </a:lnTo>
                    <a:lnTo>
                      <a:pt x="59" y="81"/>
                    </a:lnTo>
                    <a:lnTo>
                      <a:pt x="55" y="83"/>
                    </a:lnTo>
                    <a:lnTo>
                      <a:pt x="54" y="87"/>
                    </a:lnTo>
                    <a:lnTo>
                      <a:pt x="52" y="85"/>
                    </a:lnTo>
                    <a:lnTo>
                      <a:pt x="49" y="83"/>
                    </a:lnTo>
                    <a:lnTo>
                      <a:pt x="42" y="78"/>
                    </a:lnTo>
                    <a:lnTo>
                      <a:pt x="40" y="80"/>
                    </a:lnTo>
                    <a:lnTo>
                      <a:pt x="36" y="81"/>
                    </a:lnTo>
                    <a:lnTo>
                      <a:pt x="33" y="80"/>
                    </a:lnTo>
                    <a:lnTo>
                      <a:pt x="31" y="83"/>
                    </a:lnTo>
                    <a:lnTo>
                      <a:pt x="29" y="85"/>
                    </a:lnTo>
                    <a:lnTo>
                      <a:pt x="28" y="87"/>
                    </a:lnTo>
                    <a:lnTo>
                      <a:pt x="31" y="92"/>
                    </a:lnTo>
                    <a:lnTo>
                      <a:pt x="35" y="94"/>
                    </a:lnTo>
                    <a:lnTo>
                      <a:pt x="40" y="97"/>
                    </a:lnTo>
                    <a:lnTo>
                      <a:pt x="40" y="100"/>
                    </a:lnTo>
                    <a:lnTo>
                      <a:pt x="36" y="102"/>
                    </a:lnTo>
                    <a:lnTo>
                      <a:pt x="36" y="106"/>
                    </a:lnTo>
                    <a:lnTo>
                      <a:pt x="40" y="107"/>
                    </a:lnTo>
                    <a:lnTo>
                      <a:pt x="42" y="109"/>
                    </a:lnTo>
                    <a:lnTo>
                      <a:pt x="45" y="107"/>
                    </a:lnTo>
                    <a:lnTo>
                      <a:pt x="42" y="106"/>
                    </a:lnTo>
                    <a:lnTo>
                      <a:pt x="45" y="102"/>
                    </a:lnTo>
                    <a:lnTo>
                      <a:pt x="45" y="107"/>
                    </a:lnTo>
                    <a:lnTo>
                      <a:pt x="50" y="109"/>
                    </a:lnTo>
                    <a:lnTo>
                      <a:pt x="50" y="111"/>
                    </a:lnTo>
                    <a:lnTo>
                      <a:pt x="50" y="114"/>
                    </a:lnTo>
                    <a:lnTo>
                      <a:pt x="52" y="116"/>
                    </a:lnTo>
                    <a:lnTo>
                      <a:pt x="52" y="111"/>
                    </a:lnTo>
                    <a:lnTo>
                      <a:pt x="54" y="107"/>
                    </a:lnTo>
                    <a:lnTo>
                      <a:pt x="57" y="107"/>
                    </a:lnTo>
                    <a:lnTo>
                      <a:pt x="59" y="111"/>
                    </a:lnTo>
                    <a:lnTo>
                      <a:pt x="64" y="114"/>
                    </a:lnTo>
                    <a:lnTo>
                      <a:pt x="61" y="111"/>
                    </a:lnTo>
                    <a:lnTo>
                      <a:pt x="62" y="107"/>
                    </a:lnTo>
                    <a:lnTo>
                      <a:pt x="61" y="106"/>
                    </a:lnTo>
                    <a:lnTo>
                      <a:pt x="57" y="100"/>
                    </a:lnTo>
                    <a:lnTo>
                      <a:pt x="55" y="97"/>
                    </a:lnTo>
                    <a:lnTo>
                      <a:pt x="55" y="95"/>
                    </a:lnTo>
                    <a:lnTo>
                      <a:pt x="57" y="95"/>
                    </a:lnTo>
                    <a:lnTo>
                      <a:pt x="62" y="97"/>
                    </a:lnTo>
                    <a:lnTo>
                      <a:pt x="61" y="97"/>
                    </a:lnTo>
                    <a:lnTo>
                      <a:pt x="62" y="100"/>
                    </a:lnTo>
                    <a:lnTo>
                      <a:pt x="64" y="97"/>
                    </a:lnTo>
                    <a:lnTo>
                      <a:pt x="68" y="97"/>
                    </a:lnTo>
                    <a:lnTo>
                      <a:pt x="68" y="97"/>
                    </a:lnTo>
                    <a:lnTo>
                      <a:pt x="64" y="97"/>
                    </a:lnTo>
                    <a:lnTo>
                      <a:pt x="64" y="95"/>
                    </a:lnTo>
                    <a:lnTo>
                      <a:pt x="64" y="95"/>
                    </a:lnTo>
                    <a:lnTo>
                      <a:pt x="62" y="94"/>
                    </a:lnTo>
                    <a:lnTo>
                      <a:pt x="62" y="92"/>
                    </a:lnTo>
                    <a:lnTo>
                      <a:pt x="59" y="88"/>
                    </a:lnTo>
                    <a:lnTo>
                      <a:pt x="62" y="87"/>
                    </a:lnTo>
                    <a:lnTo>
                      <a:pt x="64" y="87"/>
                    </a:lnTo>
                    <a:lnTo>
                      <a:pt x="68" y="85"/>
                    </a:lnTo>
                    <a:lnTo>
                      <a:pt x="71" y="88"/>
                    </a:lnTo>
                    <a:lnTo>
                      <a:pt x="73" y="90"/>
                    </a:lnTo>
                    <a:lnTo>
                      <a:pt x="76" y="90"/>
                    </a:lnTo>
                    <a:lnTo>
                      <a:pt x="76" y="88"/>
                    </a:lnTo>
                    <a:lnTo>
                      <a:pt x="73" y="85"/>
                    </a:lnTo>
                    <a:lnTo>
                      <a:pt x="73" y="80"/>
                    </a:lnTo>
                    <a:lnTo>
                      <a:pt x="73" y="78"/>
                    </a:lnTo>
                    <a:lnTo>
                      <a:pt x="64" y="73"/>
                    </a:lnTo>
                    <a:lnTo>
                      <a:pt x="62" y="73"/>
                    </a:lnTo>
                    <a:lnTo>
                      <a:pt x="61" y="69"/>
                    </a:lnTo>
                    <a:lnTo>
                      <a:pt x="59" y="73"/>
                    </a:lnTo>
                    <a:lnTo>
                      <a:pt x="57" y="69"/>
                    </a:lnTo>
                    <a:lnTo>
                      <a:pt x="54" y="69"/>
                    </a:lnTo>
                    <a:lnTo>
                      <a:pt x="50" y="64"/>
                    </a:lnTo>
                    <a:lnTo>
                      <a:pt x="54" y="64"/>
                    </a:lnTo>
                    <a:lnTo>
                      <a:pt x="55" y="64"/>
                    </a:lnTo>
                    <a:lnTo>
                      <a:pt x="55" y="60"/>
                    </a:lnTo>
                    <a:lnTo>
                      <a:pt x="52" y="60"/>
                    </a:lnTo>
                    <a:lnTo>
                      <a:pt x="54" y="57"/>
                    </a:lnTo>
                    <a:lnTo>
                      <a:pt x="54" y="55"/>
                    </a:lnTo>
                    <a:lnTo>
                      <a:pt x="57" y="57"/>
                    </a:lnTo>
                    <a:lnTo>
                      <a:pt x="59" y="59"/>
                    </a:lnTo>
                    <a:lnTo>
                      <a:pt x="59" y="60"/>
                    </a:lnTo>
                    <a:lnTo>
                      <a:pt x="59" y="60"/>
                    </a:lnTo>
                    <a:lnTo>
                      <a:pt x="61" y="60"/>
                    </a:lnTo>
                    <a:lnTo>
                      <a:pt x="62" y="57"/>
                    </a:lnTo>
                    <a:lnTo>
                      <a:pt x="59" y="55"/>
                    </a:lnTo>
                    <a:lnTo>
                      <a:pt x="54" y="48"/>
                    </a:lnTo>
                    <a:lnTo>
                      <a:pt x="52" y="47"/>
                    </a:lnTo>
                    <a:lnTo>
                      <a:pt x="50" y="43"/>
                    </a:lnTo>
                    <a:lnTo>
                      <a:pt x="47" y="40"/>
                    </a:lnTo>
                    <a:lnTo>
                      <a:pt x="49" y="38"/>
                    </a:lnTo>
                    <a:lnTo>
                      <a:pt x="47" y="33"/>
                    </a:lnTo>
                    <a:lnTo>
                      <a:pt x="50" y="27"/>
                    </a:lnTo>
                    <a:lnTo>
                      <a:pt x="54" y="27"/>
                    </a:lnTo>
                    <a:lnTo>
                      <a:pt x="55" y="33"/>
                    </a:lnTo>
                    <a:lnTo>
                      <a:pt x="52" y="33"/>
                    </a:lnTo>
                    <a:lnTo>
                      <a:pt x="54" y="33"/>
                    </a:lnTo>
                    <a:lnTo>
                      <a:pt x="59" y="36"/>
                    </a:lnTo>
                    <a:lnTo>
                      <a:pt x="59" y="40"/>
                    </a:lnTo>
                    <a:lnTo>
                      <a:pt x="62" y="41"/>
                    </a:lnTo>
                    <a:lnTo>
                      <a:pt x="68" y="41"/>
                    </a:lnTo>
                    <a:lnTo>
                      <a:pt x="64" y="40"/>
                    </a:lnTo>
                    <a:lnTo>
                      <a:pt x="62" y="38"/>
                    </a:lnTo>
                    <a:lnTo>
                      <a:pt x="62" y="36"/>
                    </a:lnTo>
                    <a:lnTo>
                      <a:pt x="68" y="36"/>
                    </a:lnTo>
                    <a:lnTo>
                      <a:pt x="69" y="40"/>
                    </a:lnTo>
                    <a:lnTo>
                      <a:pt x="73" y="41"/>
                    </a:lnTo>
                    <a:lnTo>
                      <a:pt x="73" y="38"/>
                    </a:lnTo>
                    <a:lnTo>
                      <a:pt x="71" y="36"/>
                    </a:lnTo>
                    <a:lnTo>
                      <a:pt x="68" y="36"/>
                    </a:lnTo>
                    <a:lnTo>
                      <a:pt x="69" y="33"/>
                    </a:lnTo>
                    <a:lnTo>
                      <a:pt x="73" y="36"/>
                    </a:lnTo>
                    <a:lnTo>
                      <a:pt x="76" y="36"/>
                    </a:lnTo>
                    <a:lnTo>
                      <a:pt x="76" y="36"/>
                    </a:lnTo>
                    <a:lnTo>
                      <a:pt x="73" y="33"/>
                    </a:lnTo>
                    <a:lnTo>
                      <a:pt x="71" y="33"/>
                    </a:lnTo>
                    <a:lnTo>
                      <a:pt x="68" y="27"/>
                    </a:lnTo>
                    <a:lnTo>
                      <a:pt x="69" y="24"/>
                    </a:lnTo>
                    <a:lnTo>
                      <a:pt x="73" y="27"/>
                    </a:lnTo>
                    <a:lnTo>
                      <a:pt x="76" y="24"/>
                    </a:lnTo>
                    <a:lnTo>
                      <a:pt x="76" y="20"/>
                    </a:lnTo>
                    <a:lnTo>
                      <a:pt x="78" y="20"/>
                    </a:lnTo>
                    <a:lnTo>
                      <a:pt x="82" y="24"/>
                    </a:lnTo>
                    <a:lnTo>
                      <a:pt x="85" y="24"/>
                    </a:lnTo>
                    <a:lnTo>
                      <a:pt x="88" y="20"/>
                    </a:lnTo>
                    <a:lnTo>
                      <a:pt x="88" y="19"/>
                    </a:lnTo>
                    <a:lnTo>
                      <a:pt x="90" y="19"/>
                    </a:lnTo>
                    <a:lnTo>
                      <a:pt x="92" y="20"/>
                    </a:lnTo>
                    <a:lnTo>
                      <a:pt x="101" y="20"/>
                    </a:lnTo>
                    <a:lnTo>
                      <a:pt x="106" y="22"/>
                    </a:lnTo>
                    <a:lnTo>
                      <a:pt x="109" y="22"/>
                    </a:lnTo>
                    <a:lnTo>
                      <a:pt x="109" y="17"/>
                    </a:lnTo>
                    <a:lnTo>
                      <a:pt x="109" y="14"/>
                    </a:lnTo>
                    <a:lnTo>
                      <a:pt x="115" y="10"/>
                    </a:lnTo>
                    <a:lnTo>
                      <a:pt x="115" y="7"/>
                    </a:lnTo>
                    <a:lnTo>
                      <a:pt x="111" y="5"/>
                    </a:lnTo>
                    <a:lnTo>
                      <a:pt x="111" y="0"/>
                    </a:lnTo>
                    <a:lnTo>
                      <a:pt x="111" y="0"/>
                    </a:lnTo>
                    <a:lnTo>
                      <a:pt x="111" y="0"/>
                    </a:lnTo>
                    <a:lnTo>
                      <a:pt x="111" y="0"/>
                    </a:lnTo>
                    <a:close/>
                    <a:moveTo>
                      <a:pt x="73" y="133"/>
                    </a:moveTo>
                    <a:lnTo>
                      <a:pt x="73" y="133"/>
                    </a:lnTo>
                    <a:lnTo>
                      <a:pt x="73" y="133"/>
                    </a:lnTo>
                    <a:lnTo>
                      <a:pt x="71" y="139"/>
                    </a:lnTo>
                    <a:lnTo>
                      <a:pt x="73" y="139"/>
                    </a:lnTo>
                    <a:lnTo>
                      <a:pt x="73" y="142"/>
                    </a:lnTo>
                    <a:lnTo>
                      <a:pt x="82" y="142"/>
                    </a:lnTo>
                    <a:lnTo>
                      <a:pt x="82" y="142"/>
                    </a:lnTo>
                    <a:lnTo>
                      <a:pt x="83" y="139"/>
                    </a:lnTo>
                    <a:lnTo>
                      <a:pt x="87" y="142"/>
                    </a:lnTo>
                    <a:lnTo>
                      <a:pt x="92" y="142"/>
                    </a:lnTo>
                    <a:lnTo>
                      <a:pt x="92" y="147"/>
                    </a:lnTo>
                    <a:lnTo>
                      <a:pt x="97" y="147"/>
                    </a:lnTo>
                    <a:lnTo>
                      <a:pt x="101" y="142"/>
                    </a:lnTo>
                    <a:lnTo>
                      <a:pt x="104" y="142"/>
                    </a:lnTo>
                    <a:lnTo>
                      <a:pt x="109" y="142"/>
                    </a:lnTo>
                    <a:lnTo>
                      <a:pt x="115" y="142"/>
                    </a:lnTo>
                    <a:lnTo>
                      <a:pt x="118" y="142"/>
                    </a:lnTo>
                    <a:lnTo>
                      <a:pt x="118" y="139"/>
                    </a:lnTo>
                    <a:lnTo>
                      <a:pt x="118" y="139"/>
                    </a:lnTo>
                    <a:lnTo>
                      <a:pt x="118" y="137"/>
                    </a:lnTo>
                    <a:lnTo>
                      <a:pt x="118" y="139"/>
                    </a:lnTo>
                    <a:lnTo>
                      <a:pt x="118" y="139"/>
                    </a:lnTo>
                    <a:lnTo>
                      <a:pt x="115" y="142"/>
                    </a:lnTo>
                    <a:lnTo>
                      <a:pt x="113" y="139"/>
                    </a:lnTo>
                    <a:lnTo>
                      <a:pt x="111" y="139"/>
                    </a:lnTo>
                    <a:lnTo>
                      <a:pt x="109" y="139"/>
                    </a:lnTo>
                    <a:lnTo>
                      <a:pt x="109" y="139"/>
                    </a:lnTo>
                    <a:lnTo>
                      <a:pt x="109" y="137"/>
                    </a:lnTo>
                    <a:lnTo>
                      <a:pt x="106" y="137"/>
                    </a:lnTo>
                    <a:lnTo>
                      <a:pt x="101" y="133"/>
                    </a:lnTo>
                    <a:lnTo>
                      <a:pt x="99" y="133"/>
                    </a:lnTo>
                    <a:lnTo>
                      <a:pt x="94" y="133"/>
                    </a:lnTo>
                    <a:lnTo>
                      <a:pt x="90" y="137"/>
                    </a:lnTo>
                    <a:lnTo>
                      <a:pt x="87" y="139"/>
                    </a:lnTo>
                    <a:lnTo>
                      <a:pt x="83" y="137"/>
                    </a:lnTo>
                    <a:lnTo>
                      <a:pt x="82" y="133"/>
                    </a:lnTo>
                    <a:lnTo>
                      <a:pt x="82" y="133"/>
                    </a:lnTo>
                    <a:lnTo>
                      <a:pt x="82" y="133"/>
                    </a:lnTo>
                    <a:lnTo>
                      <a:pt x="82" y="130"/>
                    </a:lnTo>
                    <a:lnTo>
                      <a:pt x="78" y="130"/>
                    </a:lnTo>
                    <a:lnTo>
                      <a:pt x="78" y="133"/>
                    </a:lnTo>
                    <a:lnTo>
                      <a:pt x="82" y="133"/>
                    </a:lnTo>
                    <a:lnTo>
                      <a:pt x="78" y="133"/>
                    </a:lnTo>
                    <a:lnTo>
                      <a:pt x="76" y="133"/>
                    </a:lnTo>
                    <a:lnTo>
                      <a:pt x="76" y="130"/>
                    </a:lnTo>
                    <a:lnTo>
                      <a:pt x="73" y="130"/>
                    </a:lnTo>
                    <a:lnTo>
                      <a:pt x="73" y="133"/>
                    </a:lnTo>
                    <a:lnTo>
                      <a:pt x="76" y="133"/>
                    </a:lnTo>
                    <a:lnTo>
                      <a:pt x="73" y="133"/>
                    </a:lnTo>
                    <a:lnTo>
                      <a:pt x="73" y="133"/>
                    </a:lnTo>
                    <a:lnTo>
                      <a:pt x="73" y="133"/>
                    </a:lnTo>
                    <a:lnTo>
                      <a:pt x="73" y="133"/>
                    </a:lnTo>
                    <a:close/>
                    <a:moveTo>
                      <a:pt x="3" y="47"/>
                    </a:moveTo>
                    <a:lnTo>
                      <a:pt x="3" y="50"/>
                    </a:lnTo>
                    <a:lnTo>
                      <a:pt x="7" y="54"/>
                    </a:lnTo>
                    <a:lnTo>
                      <a:pt x="9" y="54"/>
                    </a:lnTo>
                    <a:lnTo>
                      <a:pt x="9" y="55"/>
                    </a:lnTo>
                    <a:lnTo>
                      <a:pt x="9" y="55"/>
                    </a:lnTo>
                    <a:lnTo>
                      <a:pt x="3" y="55"/>
                    </a:lnTo>
                    <a:lnTo>
                      <a:pt x="3" y="52"/>
                    </a:lnTo>
                    <a:lnTo>
                      <a:pt x="0" y="50"/>
                    </a:lnTo>
                    <a:lnTo>
                      <a:pt x="0" y="50"/>
                    </a:lnTo>
                    <a:lnTo>
                      <a:pt x="0" y="48"/>
                    </a:lnTo>
                    <a:lnTo>
                      <a:pt x="3" y="47"/>
                    </a:lnTo>
                    <a:lnTo>
                      <a:pt x="3" y="47"/>
                    </a:lnTo>
                    <a:lnTo>
                      <a:pt x="3" y="47"/>
                    </a:lnTo>
                    <a:lnTo>
                      <a:pt x="3" y="47"/>
                    </a:lnTo>
                    <a:lnTo>
                      <a:pt x="3" y="47"/>
                    </a:lnTo>
                    <a:close/>
                    <a:moveTo>
                      <a:pt x="17" y="73"/>
                    </a:moveTo>
                    <a:lnTo>
                      <a:pt x="17" y="73"/>
                    </a:lnTo>
                    <a:lnTo>
                      <a:pt x="19" y="69"/>
                    </a:lnTo>
                    <a:lnTo>
                      <a:pt x="21" y="69"/>
                    </a:lnTo>
                    <a:lnTo>
                      <a:pt x="21" y="73"/>
                    </a:lnTo>
                    <a:lnTo>
                      <a:pt x="19" y="73"/>
                    </a:lnTo>
                    <a:lnTo>
                      <a:pt x="19" y="73"/>
                    </a:lnTo>
                    <a:lnTo>
                      <a:pt x="17" y="73"/>
                    </a:lnTo>
                    <a:lnTo>
                      <a:pt x="17" y="73"/>
                    </a:lnTo>
                    <a:lnTo>
                      <a:pt x="17" y="73"/>
                    </a:lnTo>
                    <a:lnTo>
                      <a:pt x="17" y="73"/>
                    </a:lnTo>
                    <a:close/>
                    <a:moveTo>
                      <a:pt x="17" y="78"/>
                    </a:moveTo>
                    <a:lnTo>
                      <a:pt x="17" y="73"/>
                    </a:lnTo>
                    <a:lnTo>
                      <a:pt x="19" y="74"/>
                    </a:lnTo>
                    <a:lnTo>
                      <a:pt x="21" y="78"/>
                    </a:lnTo>
                    <a:lnTo>
                      <a:pt x="21" y="80"/>
                    </a:lnTo>
                    <a:lnTo>
                      <a:pt x="22" y="80"/>
                    </a:lnTo>
                    <a:lnTo>
                      <a:pt x="22" y="81"/>
                    </a:lnTo>
                    <a:lnTo>
                      <a:pt x="22" y="83"/>
                    </a:lnTo>
                    <a:lnTo>
                      <a:pt x="22" y="85"/>
                    </a:lnTo>
                    <a:lnTo>
                      <a:pt x="19" y="83"/>
                    </a:lnTo>
                    <a:lnTo>
                      <a:pt x="17" y="83"/>
                    </a:lnTo>
                    <a:lnTo>
                      <a:pt x="17" y="81"/>
                    </a:lnTo>
                    <a:lnTo>
                      <a:pt x="17" y="80"/>
                    </a:lnTo>
                    <a:lnTo>
                      <a:pt x="17" y="83"/>
                    </a:lnTo>
                    <a:lnTo>
                      <a:pt x="16" y="83"/>
                    </a:lnTo>
                    <a:lnTo>
                      <a:pt x="14" y="81"/>
                    </a:lnTo>
                    <a:lnTo>
                      <a:pt x="14" y="78"/>
                    </a:lnTo>
                    <a:lnTo>
                      <a:pt x="16" y="78"/>
                    </a:lnTo>
                    <a:lnTo>
                      <a:pt x="17" y="78"/>
                    </a:lnTo>
                    <a:lnTo>
                      <a:pt x="17" y="78"/>
                    </a:lnTo>
                    <a:lnTo>
                      <a:pt x="17" y="78"/>
                    </a:lnTo>
                    <a:lnTo>
                      <a:pt x="17" y="78"/>
                    </a:lnTo>
                    <a:close/>
                    <a:moveTo>
                      <a:pt x="24" y="90"/>
                    </a:moveTo>
                    <a:lnTo>
                      <a:pt x="26" y="92"/>
                    </a:lnTo>
                    <a:lnTo>
                      <a:pt x="24" y="92"/>
                    </a:lnTo>
                    <a:lnTo>
                      <a:pt x="22" y="94"/>
                    </a:lnTo>
                    <a:lnTo>
                      <a:pt x="21" y="92"/>
                    </a:lnTo>
                    <a:lnTo>
                      <a:pt x="19" y="90"/>
                    </a:lnTo>
                    <a:lnTo>
                      <a:pt x="19" y="88"/>
                    </a:lnTo>
                    <a:lnTo>
                      <a:pt x="21" y="87"/>
                    </a:lnTo>
                    <a:lnTo>
                      <a:pt x="22" y="88"/>
                    </a:lnTo>
                    <a:lnTo>
                      <a:pt x="24" y="90"/>
                    </a:lnTo>
                    <a:lnTo>
                      <a:pt x="24" y="90"/>
                    </a:lnTo>
                    <a:lnTo>
                      <a:pt x="24" y="90"/>
                    </a:lnTo>
                    <a:lnTo>
                      <a:pt x="24" y="90"/>
                    </a:lnTo>
                    <a:close/>
                    <a:moveTo>
                      <a:pt x="132" y="128"/>
                    </a:moveTo>
                    <a:lnTo>
                      <a:pt x="132" y="128"/>
                    </a:lnTo>
                    <a:lnTo>
                      <a:pt x="132" y="127"/>
                    </a:lnTo>
                    <a:lnTo>
                      <a:pt x="132" y="128"/>
                    </a:lnTo>
                    <a:lnTo>
                      <a:pt x="132" y="128"/>
                    </a:lnTo>
                    <a:lnTo>
                      <a:pt x="132" y="128"/>
                    </a:lnTo>
                    <a:lnTo>
                      <a:pt x="132" y="128"/>
                    </a:lnTo>
                    <a:lnTo>
                      <a:pt x="132" y="128"/>
                    </a:lnTo>
                    <a:close/>
                    <a:moveTo>
                      <a:pt x="132" y="137"/>
                    </a:moveTo>
                    <a:lnTo>
                      <a:pt x="130" y="133"/>
                    </a:lnTo>
                    <a:lnTo>
                      <a:pt x="130" y="130"/>
                    </a:lnTo>
                    <a:lnTo>
                      <a:pt x="132" y="130"/>
                    </a:lnTo>
                    <a:lnTo>
                      <a:pt x="132" y="130"/>
                    </a:lnTo>
                    <a:lnTo>
                      <a:pt x="134" y="133"/>
                    </a:lnTo>
                    <a:lnTo>
                      <a:pt x="132" y="137"/>
                    </a:lnTo>
                    <a:lnTo>
                      <a:pt x="132" y="137"/>
                    </a:lnTo>
                    <a:lnTo>
                      <a:pt x="132" y="137"/>
                    </a:lnTo>
                    <a:lnTo>
                      <a:pt x="132" y="137"/>
                    </a:lnTo>
                    <a:lnTo>
                      <a:pt x="132" y="137"/>
                    </a:lnTo>
                    <a:close/>
                    <a:moveTo>
                      <a:pt x="141" y="127"/>
                    </a:moveTo>
                    <a:lnTo>
                      <a:pt x="137" y="127"/>
                    </a:lnTo>
                    <a:lnTo>
                      <a:pt x="141" y="123"/>
                    </a:lnTo>
                    <a:lnTo>
                      <a:pt x="141" y="123"/>
                    </a:lnTo>
                    <a:lnTo>
                      <a:pt x="141" y="121"/>
                    </a:lnTo>
                    <a:lnTo>
                      <a:pt x="142" y="118"/>
                    </a:lnTo>
                    <a:lnTo>
                      <a:pt x="146" y="116"/>
                    </a:lnTo>
                    <a:lnTo>
                      <a:pt x="149" y="114"/>
                    </a:lnTo>
                    <a:lnTo>
                      <a:pt x="149" y="116"/>
                    </a:lnTo>
                    <a:lnTo>
                      <a:pt x="148" y="118"/>
                    </a:lnTo>
                    <a:lnTo>
                      <a:pt x="148" y="120"/>
                    </a:lnTo>
                    <a:lnTo>
                      <a:pt x="146" y="121"/>
                    </a:lnTo>
                    <a:lnTo>
                      <a:pt x="146" y="123"/>
                    </a:lnTo>
                    <a:lnTo>
                      <a:pt x="146" y="123"/>
                    </a:lnTo>
                    <a:lnTo>
                      <a:pt x="142" y="125"/>
                    </a:lnTo>
                    <a:lnTo>
                      <a:pt x="142" y="127"/>
                    </a:lnTo>
                    <a:lnTo>
                      <a:pt x="141" y="127"/>
                    </a:lnTo>
                    <a:lnTo>
                      <a:pt x="141" y="127"/>
                    </a:lnTo>
                    <a:lnTo>
                      <a:pt x="141" y="127"/>
                    </a:lnTo>
                    <a:lnTo>
                      <a:pt x="141" y="127"/>
                    </a:lnTo>
                    <a:close/>
                    <a:moveTo>
                      <a:pt x="118" y="114"/>
                    </a:moveTo>
                    <a:lnTo>
                      <a:pt x="115" y="114"/>
                    </a:lnTo>
                    <a:lnTo>
                      <a:pt x="118" y="113"/>
                    </a:lnTo>
                    <a:lnTo>
                      <a:pt x="118" y="111"/>
                    </a:lnTo>
                    <a:lnTo>
                      <a:pt x="120" y="113"/>
                    </a:lnTo>
                    <a:lnTo>
                      <a:pt x="118" y="114"/>
                    </a:lnTo>
                    <a:lnTo>
                      <a:pt x="118" y="114"/>
                    </a:lnTo>
                    <a:lnTo>
                      <a:pt x="118" y="114"/>
                    </a:lnTo>
                    <a:lnTo>
                      <a:pt x="118" y="114"/>
                    </a:lnTo>
                    <a:lnTo>
                      <a:pt x="118" y="114"/>
                    </a:lnTo>
                    <a:lnTo>
                      <a:pt x="118" y="114"/>
                    </a:lnTo>
                    <a:close/>
                    <a:moveTo>
                      <a:pt x="118" y="90"/>
                    </a:moveTo>
                    <a:lnTo>
                      <a:pt x="120" y="88"/>
                    </a:lnTo>
                    <a:lnTo>
                      <a:pt x="121" y="88"/>
                    </a:lnTo>
                    <a:lnTo>
                      <a:pt x="123" y="90"/>
                    </a:lnTo>
                    <a:lnTo>
                      <a:pt x="123" y="90"/>
                    </a:lnTo>
                    <a:lnTo>
                      <a:pt x="125" y="90"/>
                    </a:lnTo>
                    <a:lnTo>
                      <a:pt x="125" y="92"/>
                    </a:lnTo>
                    <a:lnTo>
                      <a:pt x="123" y="92"/>
                    </a:lnTo>
                    <a:lnTo>
                      <a:pt x="123" y="94"/>
                    </a:lnTo>
                    <a:lnTo>
                      <a:pt x="121" y="94"/>
                    </a:lnTo>
                    <a:lnTo>
                      <a:pt x="120" y="92"/>
                    </a:lnTo>
                    <a:lnTo>
                      <a:pt x="118" y="92"/>
                    </a:lnTo>
                    <a:lnTo>
                      <a:pt x="115" y="92"/>
                    </a:lnTo>
                    <a:lnTo>
                      <a:pt x="118" y="90"/>
                    </a:lnTo>
                    <a:lnTo>
                      <a:pt x="118" y="90"/>
                    </a:lnTo>
                    <a:lnTo>
                      <a:pt x="118" y="90"/>
                    </a:lnTo>
                    <a:lnTo>
                      <a:pt x="118" y="90"/>
                    </a:lnTo>
                    <a:close/>
                    <a:moveTo>
                      <a:pt x="109" y="73"/>
                    </a:moveTo>
                    <a:lnTo>
                      <a:pt x="111" y="78"/>
                    </a:lnTo>
                    <a:lnTo>
                      <a:pt x="109" y="80"/>
                    </a:lnTo>
                    <a:lnTo>
                      <a:pt x="109" y="80"/>
                    </a:lnTo>
                    <a:lnTo>
                      <a:pt x="106" y="80"/>
                    </a:lnTo>
                    <a:lnTo>
                      <a:pt x="106" y="78"/>
                    </a:lnTo>
                    <a:lnTo>
                      <a:pt x="109" y="78"/>
                    </a:lnTo>
                    <a:lnTo>
                      <a:pt x="109" y="74"/>
                    </a:lnTo>
                    <a:lnTo>
                      <a:pt x="106" y="73"/>
                    </a:lnTo>
                    <a:lnTo>
                      <a:pt x="106" y="73"/>
                    </a:lnTo>
                    <a:lnTo>
                      <a:pt x="109" y="69"/>
                    </a:lnTo>
                    <a:lnTo>
                      <a:pt x="109" y="73"/>
                    </a:lnTo>
                    <a:lnTo>
                      <a:pt x="109" y="73"/>
                    </a:lnTo>
                    <a:lnTo>
                      <a:pt x="109" y="73"/>
                    </a:lnTo>
                    <a:lnTo>
                      <a:pt x="109" y="73"/>
                    </a:lnTo>
                    <a:lnTo>
                      <a:pt x="109" y="73"/>
                    </a:lnTo>
                    <a:close/>
                    <a:moveTo>
                      <a:pt x="106" y="60"/>
                    </a:moveTo>
                    <a:lnTo>
                      <a:pt x="104" y="60"/>
                    </a:lnTo>
                    <a:lnTo>
                      <a:pt x="106" y="57"/>
                    </a:lnTo>
                    <a:lnTo>
                      <a:pt x="109" y="57"/>
                    </a:lnTo>
                    <a:lnTo>
                      <a:pt x="109" y="55"/>
                    </a:lnTo>
                    <a:lnTo>
                      <a:pt x="115" y="55"/>
                    </a:lnTo>
                    <a:lnTo>
                      <a:pt x="115" y="55"/>
                    </a:lnTo>
                    <a:lnTo>
                      <a:pt x="115" y="57"/>
                    </a:lnTo>
                    <a:lnTo>
                      <a:pt x="115" y="57"/>
                    </a:lnTo>
                    <a:lnTo>
                      <a:pt x="115" y="60"/>
                    </a:lnTo>
                    <a:lnTo>
                      <a:pt x="115" y="64"/>
                    </a:lnTo>
                    <a:lnTo>
                      <a:pt x="111" y="64"/>
                    </a:lnTo>
                    <a:lnTo>
                      <a:pt x="109" y="64"/>
                    </a:lnTo>
                    <a:lnTo>
                      <a:pt x="109" y="60"/>
                    </a:lnTo>
                    <a:lnTo>
                      <a:pt x="111" y="60"/>
                    </a:lnTo>
                    <a:lnTo>
                      <a:pt x="111" y="59"/>
                    </a:lnTo>
                    <a:lnTo>
                      <a:pt x="109" y="59"/>
                    </a:lnTo>
                    <a:lnTo>
                      <a:pt x="109" y="60"/>
                    </a:lnTo>
                    <a:lnTo>
                      <a:pt x="109" y="60"/>
                    </a:lnTo>
                    <a:lnTo>
                      <a:pt x="106" y="60"/>
                    </a:lnTo>
                    <a:lnTo>
                      <a:pt x="106" y="60"/>
                    </a:lnTo>
                    <a:lnTo>
                      <a:pt x="106" y="60"/>
                    </a:lnTo>
                    <a:lnTo>
                      <a:pt x="106" y="60"/>
                    </a:lnTo>
                    <a:lnTo>
                      <a:pt x="106" y="60"/>
                    </a:lnTo>
                    <a:close/>
                    <a:moveTo>
                      <a:pt x="97" y="31"/>
                    </a:moveTo>
                    <a:lnTo>
                      <a:pt x="99" y="31"/>
                    </a:lnTo>
                    <a:lnTo>
                      <a:pt x="101" y="27"/>
                    </a:lnTo>
                    <a:lnTo>
                      <a:pt x="101" y="31"/>
                    </a:lnTo>
                    <a:lnTo>
                      <a:pt x="101" y="33"/>
                    </a:lnTo>
                    <a:lnTo>
                      <a:pt x="101" y="33"/>
                    </a:lnTo>
                    <a:lnTo>
                      <a:pt x="97" y="31"/>
                    </a:lnTo>
                    <a:lnTo>
                      <a:pt x="97" y="31"/>
                    </a:lnTo>
                    <a:lnTo>
                      <a:pt x="97" y="31"/>
                    </a:lnTo>
                    <a:lnTo>
                      <a:pt x="97" y="31"/>
                    </a:lnTo>
                    <a:close/>
                    <a:moveTo>
                      <a:pt x="90" y="40"/>
                    </a:moveTo>
                    <a:lnTo>
                      <a:pt x="92" y="40"/>
                    </a:lnTo>
                    <a:lnTo>
                      <a:pt x="94" y="40"/>
                    </a:lnTo>
                    <a:lnTo>
                      <a:pt x="95" y="38"/>
                    </a:lnTo>
                    <a:lnTo>
                      <a:pt x="97" y="40"/>
                    </a:lnTo>
                    <a:lnTo>
                      <a:pt x="95" y="41"/>
                    </a:lnTo>
                    <a:lnTo>
                      <a:pt x="95" y="45"/>
                    </a:lnTo>
                    <a:lnTo>
                      <a:pt x="92" y="45"/>
                    </a:lnTo>
                    <a:lnTo>
                      <a:pt x="92" y="45"/>
                    </a:lnTo>
                    <a:lnTo>
                      <a:pt x="90" y="43"/>
                    </a:lnTo>
                    <a:lnTo>
                      <a:pt x="88" y="40"/>
                    </a:lnTo>
                    <a:lnTo>
                      <a:pt x="90" y="40"/>
                    </a:lnTo>
                    <a:lnTo>
                      <a:pt x="90" y="40"/>
                    </a:lnTo>
                    <a:lnTo>
                      <a:pt x="90" y="40"/>
                    </a:lnTo>
                    <a:lnTo>
                      <a:pt x="90" y="40"/>
                    </a:lnTo>
                    <a:close/>
                    <a:moveTo>
                      <a:pt x="82" y="24"/>
                    </a:moveTo>
                    <a:lnTo>
                      <a:pt x="83" y="24"/>
                    </a:lnTo>
                    <a:lnTo>
                      <a:pt x="85" y="24"/>
                    </a:lnTo>
                    <a:lnTo>
                      <a:pt x="85" y="27"/>
                    </a:lnTo>
                    <a:lnTo>
                      <a:pt x="83" y="27"/>
                    </a:lnTo>
                    <a:lnTo>
                      <a:pt x="82" y="27"/>
                    </a:lnTo>
                    <a:lnTo>
                      <a:pt x="82" y="27"/>
                    </a:lnTo>
                    <a:lnTo>
                      <a:pt x="82" y="24"/>
                    </a:lnTo>
                    <a:lnTo>
                      <a:pt x="82" y="24"/>
                    </a:lnTo>
                    <a:lnTo>
                      <a:pt x="82" y="24"/>
                    </a:lnTo>
                    <a:lnTo>
                      <a:pt x="82" y="24"/>
                    </a:lnTo>
                    <a:close/>
                    <a:moveTo>
                      <a:pt x="64" y="60"/>
                    </a:moveTo>
                    <a:lnTo>
                      <a:pt x="68" y="60"/>
                    </a:lnTo>
                    <a:lnTo>
                      <a:pt x="69" y="60"/>
                    </a:lnTo>
                    <a:lnTo>
                      <a:pt x="69" y="60"/>
                    </a:lnTo>
                    <a:lnTo>
                      <a:pt x="69" y="64"/>
                    </a:lnTo>
                    <a:lnTo>
                      <a:pt x="64" y="60"/>
                    </a:lnTo>
                    <a:lnTo>
                      <a:pt x="64" y="60"/>
                    </a:lnTo>
                    <a:lnTo>
                      <a:pt x="64" y="60"/>
                    </a:lnTo>
                    <a:lnTo>
                      <a:pt x="64" y="60"/>
                    </a:lnTo>
                    <a:close/>
                    <a:moveTo>
                      <a:pt x="62" y="60"/>
                    </a:moveTo>
                    <a:lnTo>
                      <a:pt x="64" y="59"/>
                    </a:lnTo>
                    <a:lnTo>
                      <a:pt x="64" y="60"/>
                    </a:lnTo>
                    <a:lnTo>
                      <a:pt x="64" y="60"/>
                    </a:lnTo>
                    <a:lnTo>
                      <a:pt x="62" y="60"/>
                    </a:lnTo>
                    <a:lnTo>
                      <a:pt x="62" y="60"/>
                    </a:lnTo>
                    <a:lnTo>
                      <a:pt x="62" y="60"/>
                    </a:lnTo>
                    <a:lnTo>
                      <a:pt x="62" y="60"/>
                    </a:lnTo>
                    <a:close/>
                    <a:moveTo>
                      <a:pt x="82" y="64"/>
                    </a:moveTo>
                    <a:lnTo>
                      <a:pt x="83" y="64"/>
                    </a:lnTo>
                    <a:lnTo>
                      <a:pt x="85" y="64"/>
                    </a:lnTo>
                    <a:lnTo>
                      <a:pt x="87" y="64"/>
                    </a:lnTo>
                    <a:lnTo>
                      <a:pt x="87" y="69"/>
                    </a:lnTo>
                    <a:lnTo>
                      <a:pt x="85" y="69"/>
                    </a:lnTo>
                    <a:lnTo>
                      <a:pt x="85" y="66"/>
                    </a:lnTo>
                    <a:lnTo>
                      <a:pt x="83" y="66"/>
                    </a:lnTo>
                    <a:lnTo>
                      <a:pt x="82" y="64"/>
                    </a:lnTo>
                    <a:lnTo>
                      <a:pt x="82" y="64"/>
                    </a:lnTo>
                    <a:lnTo>
                      <a:pt x="82" y="64"/>
                    </a:lnTo>
                    <a:lnTo>
                      <a:pt x="82" y="64"/>
                    </a:lnTo>
                    <a:close/>
                    <a:moveTo>
                      <a:pt x="109" y="97"/>
                    </a:moveTo>
                    <a:lnTo>
                      <a:pt x="109" y="95"/>
                    </a:lnTo>
                    <a:lnTo>
                      <a:pt x="109" y="94"/>
                    </a:lnTo>
                    <a:lnTo>
                      <a:pt x="113" y="94"/>
                    </a:lnTo>
                    <a:lnTo>
                      <a:pt x="113" y="95"/>
                    </a:lnTo>
                    <a:lnTo>
                      <a:pt x="109" y="97"/>
                    </a:lnTo>
                    <a:lnTo>
                      <a:pt x="109" y="97"/>
                    </a:lnTo>
                    <a:lnTo>
                      <a:pt x="109" y="97"/>
                    </a:lnTo>
                    <a:lnTo>
                      <a:pt x="109" y="97"/>
                    </a:lnTo>
                    <a:close/>
                    <a:moveTo>
                      <a:pt x="82" y="114"/>
                    </a:moveTo>
                    <a:lnTo>
                      <a:pt x="83" y="111"/>
                    </a:lnTo>
                    <a:lnTo>
                      <a:pt x="85" y="111"/>
                    </a:lnTo>
                    <a:lnTo>
                      <a:pt x="85" y="113"/>
                    </a:lnTo>
                    <a:lnTo>
                      <a:pt x="83" y="114"/>
                    </a:lnTo>
                    <a:lnTo>
                      <a:pt x="82" y="114"/>
                    </a:lnTo>
                    <a:lnTo>
                      <a:pt x="82" y="114"/>
                    </a:lnTo>
                    <a:lnTo>
                      <a:pt x="82" y="114"/>
                    </a:lnTo>
                    <a:lnTo>
                      <a:pt x="82" y="114"/>
                    </a:lnTo>
                    <a:close/>
                    <a:moveTo>
                      <a:pt x="83" y="102"/>
                    </a:moveTo>
                    <a:lnTo>
                      <a:pt x="85" y="102"/>
                    </a:lnTo>
                    <a:lnTo>
                      <a:pt x="85" y="106"/>
                    </a:lnTo>
                    <a:lnTo>
                      <a:pt x="83" y="102"/>
                    </a:lnTo>
                    <a:lnTo>
                      <a:pt x="83" y="102"/>
                    </a:lnTo>
                    <a:lnTo>
                      <a:pt x="83" y="102"/>
                    </a:lnTo>
                    <a:lnTo>
                      <a:pt x="83" y="102"/>
                    </a:lnTo>
                    <a:close/>
                    <a:moveTo>
                      <a:pt x="82" y="100"/>
                    </a:moveTo>
                    <a:lnTo>
                      <a:pt x="82" y="97"/>
                    </a:lnTo>
                    <a:lnTo>
                      <a:pt x="83" y="97"/>
                    </a:lnTo>
                    <a:lnTo>
                      <a:pt x="83" y="100"/>
                    </a:lnTo>
                    <a:lnTo>
                      <a:pt x="83" y="100"/>
                    </a:lnTo>
                    <a:lnTo>
                      <a:pt x="82" y="100"/>
                    </a:lnTo>
                    <a:lnTo>
                      <a:pt x="82" y="100"/>
                    </a:lnTo>
                    <a:lnTo>
                      <a:pt x="82" y="100"/>
                    </a:lnTo>
                    <a:lnTo>
                      <a:pt x="82" y="100"/>
                    </a:lnTo>
                    <a:close/>
                    <a:moveTo>
                      <a:pt x="82" y="97"/>
                    </a:moveTo>
                    <a:lnTo>
                      <a:pt x="82" y="95"/>
                    </a:lnTo>
                    <a:lnTo>
                      <a:pt x="82" y="94"/>
                    </a:lnTo>
                    <a:lnTo>
                      <a:pt x="82" y="95"/>
                    </a:lnTo>
                    <a:lnTo>
                      <a:pt x="82" y="97"/>
                    </a:lnTo>
                    <a:lnTo>
                      <a:pt x="82" y="97"/>
                    </a:lnTo>
                    <a:lnTo>
                      <a:pt x="82" y="97"/>
                    </a:lnTo>
                    <a:lnTo>
                      <a:pt x="82" y="97"/>
                    </a:lnTo>
                    <a:close/>
                    <a:moveTo>
                      <a:pt x="97" y="106"/>
                    </a:moveTo>
                    <a:lnTo>
                      <a:pt x="95" y="106"/>
                    </a:lnTo>
                    <a:lnTo>
                      <a:pt x="95" y="102"/>
                    </a:lnTo>
                    <a:lnTo>
                      <a:pt x="97" y="102"/>
                    </a:lnTo>
                    <a:lnTo>
                      <a:pt x="99" y="106"/>
                    </a:lnTo>
                    <a:lnTo>
                      <a:pt x="97" y="106"/>
                    </a:lnTo>
                    <a:lnTo>
                      <a:pt x="97" y="106"/>
                    </a:lnTo>
                    <a:lnTo>
                      <a:pt x="97" y="106"/>
                    </a:lnTo>
                    <a:lnTo>
                      <a:pt x="97" y="106"/>
                    </a:lnTo>
                    <a:close/>
                    <a:moveTo>
                      <a:pt x="101" y="106"/>
                    </a:moveTo>
                    <a:lnTo>
                      <a:pt x="101" y="102"/>
                    </a:lnTo>
                    <a:lnTo>
                      <a:pt x="101" y="102"/>
                    </a:lnTo>
                    <a:lnTo>
                      <a:pt x="104" y="102"/>
                    </a:lnTo>
                    <a:lnTo>
                      <a:pt x="104" y="102"/>
                    </a:lnTo>
                    <a:lnTo>
                      <a:pt x="101" y="106"/>
                    </a:lnTo>
                    <a:lnTo>
                      <a:pt x="101" y="106"/>
                    </a:lnTo>
                    <a:lnTo>
                      <a:pt x="101" y="106"/>
                    </a:lnTo>
                    <a:lnTo>
                      <a:pt x="101" y="106"/>
                    </a:lnTo>
                    <a:lnTo>
                      <a:pt x="101" y="106"/>
                    </a:lnTo>
                    <a:close/>
                    <a:moveTo>
                      <a:pt x="101" y="97"/>
                    </a:moveTo>
                    <a:lnTo>
                      <a:pt x="101" y="97"/>
                    </a:lnTo>
                    <a:lnTo>
                      <a:pt x="101" y="97"/>
                    </a:lnTo>
                    <a:lnTo>
                      <a:pt x="101" y="97"/>
                    </a:lnTo>
                    <a:lnTo>
                      <a:pt x="101" y="97"/>
                    </a:lnTo>
                    <a:lnTo>
                      <a:pt x="101" y="97"/>
                    </a:lnTo>
                    <a:lnTo>
                      <a:pt x="101" y="97"/>
                    </a:lnTo>
                    <a:close/>
                    <a:moveTo>
                      <a:pt x="95" y="94"/>
                    </a:moveTo>
                    <a:lnTo>
                      <a:pt x="97" y="94"/>
                    </a:lnTo>
                    <a:lnTo>
                      <a:pt x="99" y="95"/>
                    </a:lnTo>
                    <a:lnTo>
                      <a:pt x="99" y="97"/>
                    </a:lnTo>
                    <a:lnTo>
                      <a:pt x="97" y="95"/>
                    </a:lnTo>
                    <a:lnTo>
                      <a:pt x="95" y="94"/>
                    </a:lnTo>
                    <a:lnTo>
                      <a:pt x="95" y="94"/>
                    </a:lnTo>
                    <a:lnTo>
                      <a:pt x="95" y="94"/>
                    </a:lnTo>
                    <a:lnTo>
                      <a:pt x="95" y="94"/>
                    </a:lnTo>
                    <a:close/>
                    <a:moveTo>
                      <a:pt x="87" y="87"/>
                    </a:moveTo>
                    <a:lnTo>
                      <a:pt x="88" y="87"/>
                    </a:lnTo>
                    <a:lnTo>
                      <a:pt x="90" y="88"/>
                    </a:lnTo>
                    <a:lnTo>
                      <a:pt x="94" y="92"/>
                    </a:lnTo>
                    <a:lnTo>
                      <a:pt x="94" y="94"/>
                    </a:lnTo>
                    <a:lnTo>
                      <a:pt x="92" y="94"/>
                    </a:lnTo>
                    <a:lnTo>
                      <a:pt x="88" y="90"/>
                    </a:lnTo>
                    <a:lnTo>
                      <a:pt x="87" y="88"/>
                    </a:lnTo>
                    <a:lnTo>
                      <a:pt x="87" y="87"/>
                    </a:lnTo>
                    <a:lnTo>
                      <a:pt x="87" y="87"/>
                    </a:lnTo>
                    <a:lnTo>
                      <a:pt x="87" y="87"/>
                    </a:lnTo>
                    <a:lnTo>
                      <a:pt x="87" y="87"/>
                    </a:lnTo>
                    <a:close/>
                    <a:moveTo>
                      <a:pt x="55" y="66"/>
                    </a:moveTo>
                    <a:lnTo>
                      <a:pt x="57" y="64"/>
                    </a:lnTo>
                    <a:lnTo>
                      <a:pt x="62" y="64"/>
                    </a:lnTo>
                    <a:lnTo>
                      <a:pt x="64" y="66"/>
                    </a:lnTo>
                    <a:lnTo>
                      <a:pt x="68" y="66"/>
                    </a:lnTo>
                    <a:lnTo>
                      <a:pt x="71" y="69"/>
                    </a:lnTo>
                    <a:lnTo>
                      <a:pt x="71" y="69"/>
                    </a:lnTo>
                    <a:lnTo>
                      <a:pt x="73" y="69"/>
                    </a:lnTo>
                    <a:lnTo>
                      <a:pt x="73" y="69"/>
                    </a:lnTo>
                    <a:lnTo>
                      <a:pt x="76" y="73"/>
                    </a:lnTo>
                    <a:lnTo>
                      <a:pt x="78" y="74"/>
                    </a:lnTo>
                    <a:lnTo>
                      <a:pt x="78" y="78"/>
                    </a:lnTo>
                    <a:lnTo>
                      <a:pt x="78" y="78"/>
                    </a:lnTo>
                    <a:lnTo>
                      <a:pt x="78" y="81"/>
                    </a:lnTo>
                    <a:lnTo>
                      <a:pt x="82" y="83"/>
                    </a:lnTo>
                    <a:lnTo>
                      <a:pt x="82" y="83"/>
                    </a:lnTo>
                    <a:lnTo>
                      <a:pt x="85" y="83"/>
                    </a:lnTo>
                    <a:lnTo>
                      <a:pt x="83" y="87"/>
                    </a:lnTo>
                    <a:lnTo>
                      <a:pt x="82" y="87"/>
                    </a:lnTo>
                    <a:lnTo>
                      <a:pt x="82" y="87"/>
                    </a:lnTo>
                    <a:lnTo>
                      <a:pt x="78" y="85"/>
                    </a:lnTo>
                    <a:lnTo>
                      <a:pt x="76" y="83"/>
                    </a:lnTo>
                    <a:lnTo>
                      <a:pt x="78" y="81"/>
                    </a:lnTo>
                    <a:lnTo>
                      <a:pt x="76" y="80"/>
                    </a:lnTo>
                    <a:lnTo>
                      <a:pt x="73" y="78"/>
                    </a:lnTo>
                    <a:lnTo>
                      <a:pt x="73" y="74"/>
                    </a:lnTo>
                    <a:lnTo>
                      <a:pt x="73" y="74"/>
                    </a:lnTo>
                    <a:lnTo>
                      <a:pt x="69" y="73"/>
                    </a:lnTo>
                    <a:lnTo>
                      <a:pt x="68" y="73"/>
                    </a:lnTo>
                    <a:lnTo>
                      <a:pt x="64" y="73"/>
                    </a:lnTo>
                    <a:lnTo>
                      <a:pt x="64" y="69"/>
                    </a:lnTo>
                    <a:lnTo>
                      <a:pt x="62" y="69"/>
                    </a:lnTo>
                    <a:lnTo>
                      <a:pt x="61" y="69"/>
                    </a:lnTo>
                    <a:lnTo>
                      <a:pt x="59" y="66"/>
                    </a:lnTo>
                    <a:lnTo>
                      <a:pt x="57" y="66"/>
                    </a:lnTo>
                    <a:lnTo>
                      <a:pt x="55" y="66"/>
                    </a:lnTo>
                    <a:lnTo>
                      <a:pt x="55" y="66"/>
                    </a:lnTo>
                    <a:lnTo>
                      <a:pt x="55" y="66"/>
                    </a:lnTo>
                    <a:lnTo>
                      <a:pt x="55" y="66"/>
                    </a:lnTo>
                    <a:close/>
                    <a:moveTo>
                      <a:pt x="61" y="118"/>
                    </a:moveTo>
                    <a:lnTo>
                      <a:pt x="61" y="116"/>
                    </a:lnTo>
                    <a:lnTo>
                      <a:pt x="61" y="120"/>
                    </a:lnTo>
                    <a:lnTo>
                      <a:pt x="62" y="121"/>
                    </a:lnTo>
                    <a:lnTo>
                      <a:pt x="62" y="123"/>
                    </a:lnTo>
                    <a:lnTo>
                      <a:pt x="61" y="123"/>
                    </a:lnTo>
                    <a:lnTo>
                      <a:pt x="61" y="121"/>
                    </a:lnTo>
                    <a:lnTo>
                      <a:pt x="59" y="120"/>
                    </a:lnTo>
                    <a:lnTo>
                      <a:pt x="61" y="118"/>
                    </a:lnTo>
                    <a:lnTo>
                      <a:pt x="61" y="118"/>
                    </a:lnTo>
                    <a:lnTo>
                      <a:pt x="61" y="118"/>
                    </a:lnTo>
                    <a:lnTo>
                      <a:pt x="61" y="118"/>
                    </a:lnTo>
                    <a:close/>
                    <a:moveTo>
                      <a:pt x="61" y="114"/>
                    </a:moveTo>
                    <a:lnTo>
                      <a:pt x="61" y="114"/>
                    </a:lnTo>
                    <a:lnTo>
                      <a:pt x="59" y="114"/>
                    </a:lnTo>
                    <a:lnTo>
                      <a:pt x="61" y="114"/>
                    </a:lnTo>
                    <a:lnTo>
                      <a:pt x="61" y="114"/>
                    </a:lnTo>
                    <a:lnTo>
                      <a:pt x="61" y="1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3" name="Freeform 96"/>
              <p:cNvSpPr>
                <a:spLocks noEditPoints="1"/>
              </p:cNvSpPr>
              <p:nvPr/>
            </p:nvSpPr>
            <p:spPr bwMode="auto">
              <a:xfrm>
                <a:off x="5853113" y="3516313"/>
                <a:ext cx="201613" cy="284163"/>
              </a:xfrm>
              <a:custGeom>
                <a:avLst/>
                <a:gdLst/>
                <a:ahLst/>
                <a:cxnLst>
                  <a:cxn ang="0">
                    <a:pos x="50" y="116"/>
                  </a:cxn>
                  <a:cxn ang="0">
                    <a:pos x="50" y="66"/>
                  </a:cxn>
                  <a:cxn ang="0">
                    <a:pos x="68" y="21"/>
                  </a:cxn>
                  <a:cxn ang="0">
                    <a:pos x="73" y="38"/>
                  </a:cxn>
                  <a:cxn ang="0">
                    <a:pos x="83" y="48"/>
                  </a:cxn>
                  <a:cxn ang="0">
                    <a:pos x="90" y="48"/>
                  </a:cxn>
                  <a:cxn ang="0">
                    <a:pos x="99" y="50"/>
                  </a:cxn>
                  <a:cxn ang="0">
                    <a:pos x="108" y="50"/>
                  </a:cxn>
                  <a:cxn ang="0">
                    <a:pos x="113" y="61"/>
                  </a:cxn>
                  <a:cxn ang="0">
                    <a:pos x="118" y="66"/>
                  </a:cxn>
                  <a:cxn ang="0">
                    <a:pos x="127" y="71"/>
                  </a:cxn>
                  <a:cxn ang="0">
                    <a:pos x="127" y="76"/>
                  </a:cxn>
                  <a:cxn ang="0">
                    <a:pos x="127" y="83"/>
                  </a:cxn>
                  <a:cxn ang="0">
                    <a:pos x="118" y="94"/>
                  </a:cxn>
                  <a:cxn ang="0">
                    <a:pos x="113" y="102"/>
                  </a:cxn>
                  <a:cxn ang="0">
                    <a:pos x="110" y="111"/>
                  </a:cxn>
                  <a:cxn ang="0">
                    <a:pos x="108" y="109"/>
                  </a:cxn>
                  <a:cxn ang="0">
                    <a:pos x="108" y="106"/>
                  </a:cxn>
                  <a:cxn ang="0">
                    <a:pos x="103" y="107"/>
                  </a:cxn>
                  <a:cxn ang="0">
                    <a:pos x="101" y="111"/>
                  </a:cxn>
                  <a:cxn ang="0">
                    <a:pos x="99" y="113"/>
                  </a:cxn>
                  <a:cxn ang="0">
                    <a:pos x="96" y="121"/>
                  </a:cxn>
                  <a:cxn ang="0">
                    <a:pos x="96" y="125"/>
                  </a:cxn>
                  <a:cxn ang="0">
                    <a:pos x="96" y="128"/>
                  </a:cxn>
                  <a:cxn ang="0">
                    <a:pos x="101" y="135"/>
                  </a:cxn>
                  <a:cxn ang="0">
                    <a:pos x="92" y="139"/>
                  </a:cxn>
                  <a:cxn ang="0">
                    <a:pos x="87" y="139"/>
                  </a:cxn>
                  <a:cxn ang="0">
                    <a:pos x="77" y="147"/>
                  </a:cxn>
                  <a:cxn ang="0">
                    <a:pos x="77" y="153"/>
                  </a:cxn>
                  <a:cxn ang="0">
                    <a:pos x="71" y="156"/>
                  </a:cxn>
                  <a:cxn ang="0">
                    <a:pos x="61" y="156"/>
                  </a:cxn>
                  <a:cxn ang="0">
                    <a:pos x="56" y="160"/>
                  </a:cxn>
                  <a:cxn ang="0">
                    <a:pos x="57" y="165"/>
                  </a:cxn>
                  <a:cxn ang="0">
                    <a:pos x="57" y="168"/>
                  </a:cxn>
                  <a:cxn ang="0">
                    <a:pos x="57" y="168"/>
                  </a:cxn>
                  <a:cxn ang="0">
                    <a:pos x="50" y="175"/>
                  </a:cxn>
                  <a:cxn ang="0">
                    <a:pos x="45" y="172"/>
                  </a:cxn>
                  <a:cxn ang="0">
                    <a:pos x="37" y="175"/>
                  </a:cxn>
                  <a:cxn ang="0">
                    <a:pos x="31" y="179"/>
                  </a:cxn>
                  <a:cxn ang="0">
                    <a:pos x="26" y="179"/>
                  </a:cxn>
                  <a:cxn ang="0">
                    <a:pos x="14" y="168"/>
                  </a:cxn>
                  <a:cxn ang="0">
                    <a:pos x="0" y="141"/>
                  </a:cxn>
                  <a:cxn ang="0">
                    <a:pos x="4" y="132"/>
                  </a:cxn>
                  <a:cxn ang="0">
                    <a:pos x="4" y="132"/>
                  </a:cxn>
                  <a:cxn ang="0">
                    <a:pos x="64" y="10"/>
                  </a:cxn>
                  <a:cxn ang="0">
                    <a:pos x="66" y="3"/>
                  </a:cxn>
                  <a:cxn ang="0">
                    <a:pos x="66" y="1"/>
                  </a:cxn>
                  <a:cxn ang="0">
                    <a:pos x="66" y="0"/>
                  </a:cxn>
                  <a:cxn ang="0">
                    <a:pos x="64" y="0"/>
                  </a:cxn>
                  <a:cxn ang="0">
                    <a:pos x="63" y="0"/>
                  </a:cxn>
                  <a:cxn ang="0">
                    <a:pos x="61" y="3"/>
                  </a:cxn>
                  <a:cxn ang="0">
                    <a:pos x="59" y="7"/>
                  </a:cxn>
                  <a:cxn ang="0">
                    <a:pos x="61" y="7"/>
                  </a:cxn>
                  <a:cxn ang="0">
                    <a:pos x="64" y="15"/>
                  </a:cxn>
                  <a:cxn ang="0">
                    <a:pos x="64" y="15"/>
                  </a:cxn>
                </a:cxnLst>
                <a:rect l="0" t="0" r="r" b="b"/>
                <a:pathLst>
                  <a:path w="127" h="179">
                    <a:moveTo>
                      <a:pt x="4" y="132"/>
                    </a:moveTo>
                    <a:lnTo>
                      <a:pt x="50" y="116"/>
                    </a:lnTo>
                    <a:lnTo>
                      <a:pt x="54" y="81"/>
                    </a:lnTo>
                    <a:lnTo>
                      <a:pt x="50" y="66"/>
                    </a:lnTo>
                    <a:lnTo>
                      <a:pt x="64" y="22"/>
                    </a:lnTo>
                    <a:lnTo>
                      <a:pt x="68" y="21"/>
                    </a:lnTo>
                    <a:lnTo>
                      <a:pt x="68" y="33"/>
                    </a:lnTo>
                    <a:lnTo>
                      <a:pt x="73" y="38"/>
                    </a:lnTo>
                    <a:lnTo>
                      <a:pt x="73" y="40"/>
                    </a:lnTo>
                    <a:lnTo>
                      <a:pt x="83" y="48"/>
                    </a:lnTo>
                    <a:lnTo>
                      <a:pt x="87" y="50"/>
                    </a:lnTo>
                    <a:lnTo>
                      <a:pt x="90" y="48"/>
                    </a:lnTo>
                    <a:lnTo>
                      <a:pt x="94" y="48"/>
                    </a:lnTo>
                    <a:lnTo>
                      <a:pt x="99" y="50"/>
                    </a:lnTo>
                    <a:lnTo>
                      <a:pt x="104" y="48"/>
                    </a:lnTo>
                    <a:lnTo>
                      <a:pt x="108" y="50"/>
                    </a:lnTo>
                    <a:lnTo>
                      <a:pt x="111" y="55"/>
                    </a:lnTo>
                    <a:lnTo>
                      <a:pt x="113" y="61"/>
                    </a:lnTo>
                    <a:lnTo>
                      <a:pt x="116" y="62"/>
                    </a:lnTo>
                    <a:lnTo>
                      <a:pt x="118" y="66"/>
                    </a:lnTo>
                    <a:lnTo>
                      <a:pt x="123" y="71"/>
                    </a:lnTo>
                    <a:lnTo>
                      <a:pt x="127" y="71"/>
                    </a:lnTo>
                    <a:lnTo>
                      <a:pt x="127" y="73"/>
                    </a:lnTo>
                    <a:lnTo>
                      <a:pt x="127" y="76"/>
                    </a:lnTo>
                    <a:lnTo>
                      <a:pt x="127" y="80"/>
                    </a:lnTo>
                    <a:lnTo>
                      <a:pt x="127" y="83"/>
                    </a:lnTo>
                    <a:lnTo>
                      <a:pt x="127" y="85"/>
                    </a:lnTo>
                    <a:lnTo>
                      <a:pt x="118" y="94"/>
                    </a:lnTo>
                    <a:lnTo>
                      <a:pt x="115" y="99"/>
                    </a:lnTo>
                    <a:lnTo>
                      <a:pt x="113" y="102"/>
                    </a:lnTo>
                    <a:lnTo>
                      <a:pt x="111" y="104"/>
                    </a:lnTo>
                    <a:lnTo>
                      <a:pt x="110" y="111"/>
                    </a:lnTo>
                    <a:lnTo>
                      <a:pt x="108" y="111"/>
                    </a:lnTo>
                    <a:lnTo>
                      <a:pt x="108" y="109"/>
                    </a:lnTo>
                    <a:lnTo>
                      <a:pt x="108" y="107"/>
                    </a:lnTo>
                    <a:lnTo>
                      <a:pt x="108" y="106"/>
                    </a:lnTo>
                    <a:lnTo>
                      <a:pt x="104" y="106"/>
                    </a:lnTo>
                    <a:lnTo>
                      <a:pt x="103" y="107"/>
                    </a:lnTo>
                    <a:lnTo>
                      <a:pt x="101" y="111"/>
                    </a:lnTo>
                    <a:lnTo>
                      <a:pt x="101" y="111"/>
                    </a:lnTo>
                    <a:lnTo>
                      <a:pt x="101" y="113"/>
                    </a:lnTo>
                    <a:lnTo>
                      <a:pt x="99" y="113"/>
                    </a:lnTo>
                    <a:lnTo>
                      <a:pt x="96" y="120"/>
                    </a:lnTo>
                    <a:lnTo>
                      <a:pt x="96" y="121"/>
                    </a:lnTo>
                    <a:lnTo>
                      <a:pt x="96" y="125"/>
                    </a:lnTo>
                    <a:lnTo>
                      <a:pt x="96" y="125"/>
                    </a:lnTo>
                    <a:lnTo>
                      <a:pt x="99" y="128"/>
                    </a:lnTo>
                    <a:lnTo>
                      <a:pt x="96" y="128"/>
                    </a:lnTo>
                    <a:lnTo>
                      <a:pt x="99" y="134"/>
                    </a:lnTo>
                    <a:lnTo>
                      <a:pt x="101" y="135"/>
                    </a:lnTo>
                    <a:lnTo>
                      <a:pt x="99" y="137"/>
                    </a:lnTo>
                    <a:lnTo>
                      <a:pt x="92" y="139"/>
                    </a:lnTo>
                    <a:lnTo>
                      <a:pt x="90" y="139"/>
                    </a:lnTo>
                    <a:lnTo>
                      <a:pt x="87" y="139"/>
                    </a:lnTo>
                    <a:lnTo>
                      <a:pt x="83" y="139"/>
                    </a:lnTo>
                    <a:lnTo>
                      <a:pt x="77" y="147"/>
                    </a:lnTo>
                    <a:lnTo>
                      <a:pt x="77" y="153"/>
                    </a:lnTo>
                    <a:lnTo>
                      <a:pt x="77" y="153"/>
                    </a:lnTo>
                    <a:lnTo>
                      <a:pt x="73" y="156"/>
                    </a:lnTo>
                    <a:lnTo>
                      <a:pt x="71" y="156"/>
                    </a:lnTo>
                    <a:lnTo>
                      <a:pt x="66" y="156"/>
                    </a:lnTo>
                    <a:lnTo>
                      <a:pt x="61" y="156"/>
                    </a:lnTo>
                    <a:lnTo>
                      <a:pt x="59" y="158"/>
                    </a:lnTo>
                    <a:lnTo>
                      <a:pt x="56" y="160"/>
                    </a:lnTo>
                    <a:lnTo>
                      <a:pt x="57" y="161"/>
                    </a:lnTo>
                    <a:lnTo>
                      <a:pt x="57" y="165"/>
                    </a:lnTo>
                    <a:lnTo>
                      <a:pt x="59" y="165"/>
                    </a:lnTo>
                    <a:lnTo>
                      <a:pt x="57" y="168"/>
                    </a:lnTo>
                    <a:lnTo>
                      <a:pt x="57" y="168"/>
                    </a:lnTo>
                    <a:lnTo>
                      <a:pt x="57" y="168"/>
                    </a:lnTo>
                    <a:lnTo>
                      <a:pt x="54" y="175"/>
                    </a:lnTo>
                    <a:lnTo>
                      <a:pt x="50" y="175"/>
                    </a:lnTo>
                    <a:lnTo>
                      <a:pt x="50" y="172"/>
                    </a:lnTo>
                    <a:lnTo>
                      <a:pt x="45" y="172"/>
                    </a:lnTo>
                    <a:lnTo>
                      <a:pt x="43" y="172"/>
                    </a:lnTo>
                    <a:lnTo>
                      <a:pt x="37" y="175"/>
                    </a:lnTo>
                    <a:lnTo>
                      <a:pt x="33" y="175"/>
                    </a:lnTo>
                    <a:lnTo>
                      <a:pt x="31" y="179"/>
                    </a:lnTo>
                    <a:lnTo>
                      <a:pt x="26" y="179"/>
                    </a:lnTo>
                    <a:lnTo>
                      <a:pt x="26" y="179"/>
                    </a:lnTo>
                    <a:lnTo>
                      <a:pt x="23" y="179"/>
                    </a:lnTo>
                    <a:lnTo>
                      <a:pt x="14" y="168"/>
                    </a:lnTo>
                    <a:lnTo>
                      <a:pt x="17" y="161"/>
                    </a:lnTo>
                    <a:lnTo>
                      <a:pt x="0" y="141"/>
                    </a:lnTo>
                    <a:lnTo>
                      <a:pt x="4" y="132"/>
                    </a:lnTo>
                    <a:lnTo>
                      <a:pt x="4" y="132"/>
                    </a:lnTo>
                    <a:lnTo>
                      <a:pt x="4" y="132"/>
                    </a:lnTo>
                    <a:lnTo>
                      <a:pt x="4" y="132"/>
                    </a:lnTo>
                    <a:close/>
                    <a:moveTo>
                      <a:pt x="64" y="15"/>
                    </a:moveTo>
                    <a:lnTo>
                      <a:pt x="64" y="10"/>
                    </a:lnTo>
                    <a:lnTo>
                      <a:pt x="64" y="10"/>
                    </a:lnTo>
                    <a:lnTo>
                      <a:pt x="66" y="3"/>
                    </a:lnTo>
                    <a:lnTo>
                      <a:pt x="64" y="3"/>
                    </a:lnTo>
                    <a:lnTo>
                      <a:pt x="66" y="1"/>
                    </a:lnTo>
                    <a:lnTo>
                      <a:pt x="64" y="1"/>
                    </a:lnTo>
                    <a:lnTo>
                      <a:pt x="66" y="0"/>
                    </a:lnTo>
                    <a:lnTo>
                      <a:pt x="66" y="1"/>
                    </a:lnTo>
                    <a:lnTo>
                      <a:pt x="64" y="0"/>
                    </a:lnTo>
                    <a:lnTo>
                      <a:pt x="64" y="0"/>
                    </a:lnTo>
                    <a:lnTo>
                      <a:pt x="63" y="0"/>
                    </a:lnTo>
                    <a:lnTo>
                      <a:pt x="61" y="3"/>
                    </a:lnTo>
                    <a:lnTo>
                      <a:pt x="61" y="3"/>
                    </a:lnTo>
                    <a:lnTo>
                      <a:pt x="59" y="3"/>
                    </a:lnTo>
                    <a:lnTo>
                      <a:pt x="59" y="7"/>
                    </a:lnTo>
                    <a:lnTo>
                      <a:pt x="59" y="7"/>
                    </a:lnTo>
                    <a:lnTo>
                      <a:pt x="61" y="7"/>
                    </a:lnTo>
                    <a:lnTo>
                      <a:pt x="63" y="15"/>
                    </a:lnTo>
                    <a:lnTo>
                      <a:pt x="64" y="15"/>
                    </a:lnTo>
                    <a:lnTo>
                      <a:pt x="64" y="15"/>
                    </a:lnTo>
                    <a:lnTo>
                      <a:pt x="64"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97"/>
              <p:cNvSpPr>
                <a:spLocks noEditPoints="1"/>
              </p:cNvSpPr>
              <p:nvPr/>
            </p:nvSpPr>
            <p:spPr bwMode="auto">
              <a:xfrm>
                <a:off x="5607050" y="3722688"/>
                <a:ext cx="323850" cy="209550"/>
              </a:xfrm>
              <a:custGeom>
                <a:avLst/>
                <a:gdLst/>
                <a:ahLst/>
                <a:cxnLst>
                  <a:cxn ang="0">
                    <a:pos x="6" y="51"/>
                  </a:cxn>
                  <a:cxn ang="0">
                    <a:pos x="11" y="49"/>
                  </a:cxn>
                  <a:cxn ang="0">
                    <a:pos x="13" y="42"/>
                  </a:cxn>
                  <a:cxn ang="0">
                    <a:pos x="18" y="30"/>
                  </a:cxn>
                  <a:cxn ang="0">
                    <a:pos x="33" y="35"/>
                  </a:cxn>
                  <a:cxn ang="0">
                    <a:pos x="63" y="47"/>
                  </a:cxn>
                  <a:cxn ang="0">
                    <a:pos x="92" y="21"/>
                  </a:cxn>
                  <a:cxn ang="0">
                    <a:pos x="155" y="9"/>
                  </a:cxn>
                  <a:cxn ang="0">
                    <a:pos x="169" y="37"/>
                  </a:cxn>
                  <a:cxn ang="0">
                    <a:pos x="176" y="51"/>
                  </a:cxn>
                  <a:cxn ang="0">
                    <a:pos x="164" y="59"/>
                  </a:cxn>
                  <a:cxn ang="0">
                    <a:pos x="164" y="66"/>
                  </a:cxn>
                  <a:cxn ang="0">
                    <a:pos x="164" y="68"/>
                  </a:cxn>
                  <a:cxn ang="0">
                    <a:pos x="153" y="73"/>
                  </a:cxn>
                  <a:cxn ang="0">
                    <a:pos x="138" y="78"/>
                  </a:cxn>
                  <a:cxn ang="0">
                    <a:pos x="115" y="85"/>
                  </a:cxn>
                  <a:cxn ang="0">
                    <a:pos x="112" y="87"/>
                  </a:cxn>
                  <a:cxn ang="0">
                    <a:pos x="103" y="97"/>
                  </a:cxn>
                  <a:cxn ang="0">
                    <a:pos x="101" y="96"/>
                  </a:cxn>
                  <a:cxn ang="0">
                    <a:pos x="96" y="99"/>
                  </a:cxn>
                  <a:cxn ang="0">
                    <a:pos x="92" y="96"/>
                  </a:cxn>
                  <a:cxn ang="0">
                    <a:pos x="86" y="104"/>
                  </a:cxn>
                  <a:cxn ang="0">
                    <a:pos x="75" y="106"/>
                  </a:cxn>
                  <a:cxn ang="0">
                    <a:pos x="65" y="110"/>
                  </a:cxn>
                  <a:cxn ang="0">
                    <a:pos x="59" y="106"/>
                  </a:cxn>
                  <a:cxn ang="0">
                    <a:pos x="56" y="106"/>
                  </a:cxn>
                  <a:cxn ang="0">
                    <a:pos x="51" y="110"/>
                  </a:cxn>
                  <a:cxn ang="0">
                    <a:pos x="46" y="115"/>
                  </a:cxn>
                  <a:cxn ang="0">
                    <a:pos x="39" y="120"/>
                  </a:cxn>
                  <a:cxn ang="0">
                    <a:pos x="33" y="118"/>
                  </a:cxn>
                  <a:cxn ang="0">
                    <a:pos x="28" y="124"/>
                  </a:cxn>
                  <a:cxn ang="0">
                    <a:pos x="23" y="124"/>
                  </a:cxn>
                  <a:cxn ang="0">
                    <a:pos x="18" y="118"/>
                  </a:cxn>
                  <a:cxn ang="0">
                    <a:pos x="13" y="111"/>
                  </a:cxn>
                  <a:cxn ang="0">
                    <a:pos x="13" y="106"/>
                  </a:cxn>
                  <a:cxn ang="0">
                    <a:pos x="7" y="96"/>
                  </a:cxn>
                  <a:cxn ang="0">
                    <a:pos x="4" y="73"/>
                  </a:cxn>
                  <a:cxn ang="0">
                    <a:pos x="0" y="73"/>
                  </a:cxn>
                  <a:cxn ang="0">
                    <a:pos x="2" y="70"/>
                  </a:cxn>
                  <a:cxn ang="0">
                    <a:pos x="6" y="70"/>
                  </a:cxn>
                  <a:cxn ang="0">
                    <a:pos x="4" y="54"/>
                  </a:cxn>
                  <a:cxn ang="0">
                    <a:pos x="2" y="51"/>
                  </a:cxn>
                  <a:cxn ang="0">
                    <a:pos x="2" y="51"/>
                  </a:cxn>
                  <a:cxn ang="0">
                    <a:pos x="167" y="131"/>
                  </a:cxn>
                  <a:cxn ang="0">
                    <a:pos x="167" y="132"/>
                  </a:cxn>
                  <a:cxn ang="0">
                    <a:pos x="164" y="131"/>
                  </a:cxn>
                  <a:cxn ang="0">
                    <a:pos x="164" y="131"/>
                  </a:cxn>
                  <a:cxn ang="0">
                    <a:pos x="186" y="124"/>
                  </a:cxn>
                  <a:cxn ang="0">
                    <a:pos x="188" y="120"/>
                  </a:cxn>
                  <a:cxn ang="0">
                    <a:pos x="192" y="124"/>
                  </a:cxn>
                  <a:cxn ang="0">
                    <a:pos x="197" y="124"/>
                  </a:cxn>
                  <a:cxn ang="0">
                    <a:pos x="200" y="124"/>
                  </a:cxn>
                  <a:cxn ang="0">
                    <a:pos x="204" y="124"/>
                  </a:cxn>
                  <a:cxn ang="0">
                    <a:pos x="200" y="125"/>
                  </a:cxn>
                  <a:cxn ang="0">
                    <a:pos x="192" y="129"/>
                  </a:cxn>
                  <a:cxn ang="0">
                    <a:pos x="186" y="127"/>
                  </a:cxn>
                  <a:cxn ang="0">
                    <a:pos x="183" y="125"/>
                  </a:cxn>
                </a:cxnLst>
                <a:rect l="0" t="0" r="r" b="b"/>
                <a:pathLst>
                  <a:path w="204" h="132">
                    <a:moveTo>
                      <a:pt x="2" y="51"/>
                    </a:moveTo>
                    <a:lnTo>
                      <a:pt x="6" y="51"/>
                    </a:lnTo>
                    <a:lnTo>
                      <a:pt x="7" y="54"/>
                    </a:lnTo>
                    <a:lnTo>
                      <a:pt x="11" y="49"/>
                    </a:lnTo>
                    <a:lnTo>
                      <a:pt x="13" y="45"/>
                    </a:lnTo>
                    <a:lnTo>
                      <a:pt x="13" y="42"/>
                    </a:lnTo>
                    <a:lnTo>
                      <a:pt x="13" y="33"/>
                    </a:lnTo>
                    <a:lnTo>
                      <a:pt x="18" y="30"/>
                    </a:lnTo>
                    <a:lnTo>
                      <a:pt x="23" y="35"/>
                    </a:lnTo>
                    <a:lnTo>
                      <a:pt x="33" y="35"/>
                    </a:lnTo>
                    <a:lnTo>
                      <a:pt x="47" y="42"/>
                    </a:lnTo>
                    <a:lnTo>
                      <a:pt x="63" y="47"/>
                    </a:lnTo>
                    <a:lnTo>
                      <a:pt x="63" y="64"/>
                    </a:lnTo>
                    <a:lnTo>
                      <a:pt x="92" y="21"/>
                    </a:lnTo>
                    <a:lnTo>
                      <a:pt x="159" y="0"/>
                    </a:lnTo>
                    <a:lnTo>
                      <a:pt x="155" y="9"/>
                    </a:lnTo>
                    <a:lnTo>
                      <a:pt x="172" y="31"/>
                    </a:lnTo>
                    <a:lnTo>
                      <a:pt x="169" y="37"/>
                    </a:lnTo>
                    <a:lnTo>
                      <a:pt x="178" y="49"/>
                    </a:lnTo>
                    <a:lnTo>
                      <a:pt x="176" y="51"/>
                    </a:lnTo>
                    <a:lnTo>
                      <a:pt x="169" y="54"/>
                    </a:lnTo>
                    <a:lnTo>
                      <a:pt x="164" y="59"/>
                    </a:lnTo>
                    <a:lnTo>
                      <a:pt x="164" y="64"/>
                    </a:lnTo>
                    <a:lnTo>
                      <a:pt x="164" y="66"/>
                    </a:lnTo>
                    <a:lnTo>
                      <a:pt x="164" y="66"/>
                    </a:lnTo>
                    <a:lnTo>
                      <a:pt x="164" y="68"/>
                    </a:lnTo>
                    <a:lnTo>
                      <a:pt x="159" y="70"/>
                    </a:lnTo>
                    <a:lnTo>
                      <a:pt x="153" y="73"/>
                    </a:lnTo>
                    <a:lnTo>
                      <a:pt x="146" y="77"/>
                    </a:lnTo>
                    <a:lnTo>
                      <a:pt x="138" y="78"/>
                    </a:lnTo>
                    <a:lnTo>
                      <a:pt x="136" y="82"/>
                    </a:lnTo>
                    <a:lnTo>
                      <a:pt x="115" y="85"/>
                    </a:lnTo>
                    <a:lnTo>
                      <a:pt x="115" y="85"/>
                    </a:lnTo>
                    <a:lnTo>
                      <a:pt x="112" y="87"/>
                    </a:lnTo>
                    <a:lnTo>
                      <a:pt x="108" y="92"/>
                    </a:lnTo>
                    <a:lnTo>
                      <a:pt x="103" y="97"/>
                    </a:lnTo>
                    <a:lnTo>
                      <a:pt x="101" y="97"/>
                    </a:lnTo>
                    <a:lnTo>
                      <a:pt x="101" y="96"/>
                    </a:lnTo>
                    <a:lnTo>
                      <a:pt x="98" y="97"/>
                    </a:lnTo>
                    <a:lnTo>
                      <a:pt x="96" y="99"/>
                    </a:lnTo>
                    <a:lnTo>
                      <a:pt x="92" y="97"/>
                    </a:lnTo>
                    <a:lnTo>
                      <a:pt x="92" y="96"/>
                    </a:lnTo>
                    <a:lnTo>
                      <a:pt x="86" y="101"/>
                    </a:lnTo>
                    <a:lnTo>
                      <a:pt x="86" y="104"/>
                    </a:lnTo>
                    <a:lnTo>
                      <a:pt x="82" y="106"/>
                    </a:lnTo>
                    <a:lnTo>
                      <a:pt x="75" y="106"/>
                    </a:lnTo>
                    <a:lnTo>
                      <a:pt x="68" y="110"/>
                    </a:lnTo>
                    <a:lnTo>
                      <a:pt x="65" y="110"/>
                    </a:lnTo>
                    <a:lnTo>
                      <a:pt x="65" y="106"/>
                    </a:lnTo>
                    <a:lnTo>
                      <a:pt x="59" y="106"/>
                    </a:lnTo>
                    <a:lnTo>
                      <a:pt x="58" y="106"/>
                    </a:lnTo>
                    <a:lnTo>
                      <a:pt x="56" y="106"/>
                    </a:lnTo>
                    <a:lnTo>
                      <a:pt x="53" y="106"/>
                    </a:lnTo>
                    <a:lnTo>
                      <a:pt x="51" y="110"/>
                    </a:lnTo>
                    <a:lnTo>
                      <a:pt x="47" y="115"/>
                    </a:lnTo>
                    <a:lnTo>
                      <a:pt x="46" y="115"/>
                    </a:lnTo>
                    <a:lnTo>
                      <a:pt x="42" y="118"/>
                    </a:lnTo>
                    <a:lnTo>
                      <a:pt x="39" y="120"/>
                    </a:lnTo>
                    <a:lnTo>
                      <a:pt x="37" y="118"/>
                    </a:lnTo>
                    <a:lnTo>
                      <a:pt x="33" y="118"/>
                    </a:lnTo>
                    <a:lnTo>
                      <a:pt x="30" y="124"/>
                    </a:lnTo>
                    <a:lnTo>
                      <a:pt x="28" y="124"/>
                    </a:lnTo>
                    <a:lnTo>
                      <a:pt x="23" y="120"/>
                    </a:lnTo>
                    <a:lnTo>
                      <a:pt x="23" y="124"/>
                    </a:lnTo>
                    <a:lnTo>
                      <a:pt x="20" y="124"/>
                    </a:lnTo>
                    <a:lnTo>
                      <a:pt x="18" y="118"/>
                    </a:lnTo>
                    <a:lnTo>
                      <a:pt x="18" y="115"/>
                    </a:lnTo>
                    <a:lnTo>
                      <a:pt x="13" y="111"/>
                    </a:lnTo>
                    <a:lnTo>
                      <a:pt x="13" y="106"/>
                    </a:lnTo>
                    <a:lnTo>
                      <a:pt x="13" y="106"/>
                    </a:lnTo>
                    <a:lnTo>
                      <a:pt x="13" y="101"/>
                    </a:lnTo>
                    <a:lnTo>
                      <a:pt x="7" y="96"/>
                    </a:lnTo>
                    <a:lnTo>
                      <a:pt x="7" y="82"/>
                    </a:lnTo>
                    <a:lnTo>
                      <a:pt x="4" y="73"/>
                    </a:lnTo>
                    <a:lnTo>
                      <a:pt x="2" y="73"/>
                    </a:lnTo>
                    <a:lnTo>
                      <a:pt x="0" y="73"/>
                    </a:lnTo>
                    <a:lnTo>
                      <a:pt x="0" y="70"/>
                    </a:lnTo>
                    <a:lnTo>
                      <a:pt x="2" y="70"/>
                    </a:lnTo>
                    <a:lnTo>
                      <a:pt x="2" y="70"/>
                    </a:lnTo>
                    <a:lnTo>
                      <a:pt x="6" y="70"/>
                    </a:lnTo>
                    <a:lnTo>
                      <a:pt x="6" y="63"/>
                    </a:lnTo>
                    <a:lnTo>
                      <a:pt x="4" y="54"/>
                    </a:lnTo>
                    <a:lnTo>
                      <a:pt x="2" y="51"/>
                    </a:lnTo>
                    <a:lnTo>
                      <a:pt x="2" y="51"/>
                    </a:lnTo>
                    <a:lnTo>
                      <a:pt x="2" y="51"/>
                    </a:lnTo>
                    <a:lnTo>
                      <a:pt x="2" y="51"/>
                    </a:lnTo>
                    <a:close/>
                    <a:moveTo>
                      <a:pt x="164" y="131"/>
                    </a:moveTo>
                    <a:lnTo>
                      <a:pt x="167" y="131"/>
                    </a:lnTo>
                    <a:lnTo>
                      <a:pt x="171" y="131"/>
                    </a:lnTo>
                    <a:lnTo>
                      <a:pt x="167" y="132"/>
                    </a:lnTo>
                    <a:lnTo>
                      <a:pt x="164" y="131"/>
                    </a:lnTo>
                    <a:lnTo>
                      <a:pt x="164" y="131"/>
                    </a:lnTo>
                    <a:lnTo>
                      <a:pt x="164" y="131"/>
                    </a:lnTo>
                    <a:lnTo>
                      <a:pt x="164" y="131"/>
                    </a:lnTo>
                    <a:close/>
                    <a:moveTo>
                      <a:pt x="183" y="125"/>
                    </a:moveTo>
                    <a:lnTo>
                      <a:pt x="186" y="124"/>
                    </a:lnTo>
                    <a:lnTo>
                      <a:pt x="186" y="124"/>
                    </a:lnTo>
                    <a:lnTo>
                      <a:pt x="188" y="120"/>
                    </a:lnTo>
                    <a:lnTo>
                      <a:pt x="190" y="120"/>
                    </a:lnTo>
                    <a:lnTo>
                      <a:pt x="192" y="124"/>
                    </a:lnTo>
                    <a:lnTo>
                      <a:pt x="193" y="124"/>
                    </a:lnTo>
                    <a:lnTo>
                      <a:pt x="197" y="124"/>
                    </a:lnTo>
                    <a:lnTo>
                      <a:pt x="200" y="120"/>
                    </a:lnTo>
                    <a:lnTo>
                      <a:pt x="200" y="124"/>
                    </a:lnTo>
                    <a:lnTo>
                      <a:pt x="204" y="124"/>
                    </a:lnTo>
                    <a:lnTo>
                      <a:pt x="204" y="124"/>
                    </a:lnTo>
                    <a:lnTo>
                      <a:pt x="204" y="125"/>
                    </a:lnTo>
                    <a:lnTo>
                      <a:pt x="200" y="125"/>
                    </a:lnTo>
                    <a:lnTo>
                      <a:pt x="197" y="129"/>
                    </a:lnTo>
                    <a:lnTo>
                      <a:pt x="192" y="129"/>
                    </a:lnTo>
                    <a:lnTo>
                      <a:pt x="188" y="129"/>
                    </a:lnTo>
                    <a:lnTo>
                      <a:pt x="186" y="127"/>
                    </a:lnTo>
                    <a:lnTo>
                      <a:pt x="183" y="125"/>
                    </a:lnTo>
                    <a:lnTo>
                      <a:pt x="183" y="125"/>
                    </a:lnTo>
                    <a:lnTo>
                      <a:pt x="183" y="12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5" name="Freeform 98"/>
              <p:cNvSpPr>
                <a:spLocks/>
              </p:cNvSpPr>
              <p:nvPr/>
            </p:nvSpPr>
            <p:spPr bwMode="auto">
              <a:xfrm>
                <a:off x="5105400" y="3367088"/>
                <a:ext cx="339725" cy="287338"/>
              </a:xfrm>
              <a:custGeom>
                <a:avLst/>
                <a:gdLst/>
                <a:ahLst/>
                <a:cxnLst>
                  <a:cxn ang="0">
                    <a:pos x="172" y="33"/>
                  </a:cxn>
                  <a:cxn ang="0">
                    <a:pos x="160" y="10"/>
                  </a:cxn>
                  <a:cxn ang="0">
                    <a:pos x="153" y="7"/>
                  </a:cxn>
                  <a:cxn ang="0">
                    <a:pos x="129" y="10"/>
                  </a:cxn>
                  <a:cxn ang="0">
                    <a:pos x="124" y="10"/>
                  </a:cxn>
                  <a:cxn ang="0">
                    <a:pos x="118" y="8"/>
                  </a:cxn>
                  <a:cxn ang="0">
                    <a:pos x="118" y="3"/>
                  </a:cxn>
                  <a:cxn ang="0">
                    <a:pos x="106" y="0"/>
                  </a:cxn>
                  <a:cxn ang="0">
                    <a:pos x="108" y="3"/>
                  </a:cxn>
                  <a:cxn ang="0">
                    <a:pos x="97" y="5"/>
                  </a:cxn>
                  <a:cxn ang="0">
                    <a:pos x="99" y="3"/>
                  </a:cxn>
                  <a:cxn ang="0">
                    <a:pos x="94" y="2"/>
                  </a:cxn>
                  <a:cxn ang="0">
                    <a:pos x="85" y="7"/>
                  </a:cxn>
                  <a:cxn ang="0">
                    <a:pos x="77" y="14"/>
                  </a:cxn>
                  <a:cxn ang="0">
                    <a:pos x="61" y="10"/>
                  </a:cxn>
                  <a:cxn ang="0">
                    <a:pos x="47" y="7"/>
                  </a:cxn>
                  <a:cxn ang="0">
                    <a:pos x="35" y="3"/>
                  </a:cxn>
                  <a:cxn ang="0">
                    <a:pos x="7" y="0"/>
                  </a:cxn>
                  <a:cxn ang="0">
                    <a:pos x="4" y="3"/>
                  </a:cxn>
                  <a:cxn ang="0">
                    <a:pos x="4" y="19"/>
                  </a:cxn>
                  <a:cxn ang="0">
                    <a:pos x="4" y="36"/>
                  </a:cxn>
                  <a:cxn ang="0">
                    <a:pos x="214" y="179"/>
                  </a:cxn>
                  <a:cxn ang="0">
                    <a:pos x="207" y="175"/>
                  </a:cxn>
                  <a:cxn ang="0">
                    <a:pos x="200" y="167"/>
                  </a:cxn>
                  <a:cxn ang="0">
                    <a:pos x="191" y="163"/>
                  </a:cxn>
                  <a:cxn ang="0">
                    <a:pos x="188" y="148"/>
                  </a:cxn>
                  <a:cxn ang="0">
                    <a:pos x="190" y="144"/>
                  </a:cxn>
                  <a:cxn ang="0">
                    <a:pos x="190" y="142"/>
                  </a:cxn>
                  <a:cxn ang="0">
                    <a:pos x="186" y="139"/>
                  </a:cxn>
                  <a:cxn ang="0">
                    <a:pos x="176" y="122"/>
                  </a:cxn>
                  <a:cxn ang="0">
                    <a:pos x="162" y="99"/>
                  </a:cxn>
                  <a:cxn ang="0">
                    <a:pos x="158" y="87"/>
                  </a:cxn>
                  <a:cxn ang="0">
                    <a:pos x="153" y="75"/>
                  </a:cxn>
                  <a:cxn ang="0">
                    <a:pos x="150" y="68"/>
                  </a:cxn>
                  <a:cxn ang="0">
                    <a:pos x="134" y="50"/>
                  </a:cxn>
                  <a:cxn ang="0">
                    <a:pos x="130" y="38"/>
                  </a:cxn>
                  <a:cxn ang="0">
                    <a:pos x="130" y="36"/>
                  </a:cxn>
                  <a:cxn ang="0">
                    <a:pos x="136" y="42"/>
                  </a:cxn>
                  <a:cxn ang="0">
                    <a:pos x="141" y="52"/>
                  </a:cxn>
                  <a:cxn ang="0">
                    <a:pos x="150" y="62"/>
                  </a:cxn>
                  <a:cxn ang="0">
                    <a:pos x="163" y="75"/>
                  </a:cxn>
                  <a:cxn ang="0">
                    <a:pos x="169" y="64"/>
                  </a:cxn>
                  <a:cxn ang="0">
                    <a:pos x="169" y="52"/>
                  </a:cxn>
                  <a:cxn ang="0">
                    <a:pos x="172" y="43"/>
                  </a:cxn>
                </a:cxnLst>
                <a:rect l="0" t="0" r="r" b="b"/>
                <a:pathLst>
                  <a:path w="214" h="181">
                    <a:moveTo>
                      <a:pt x="172" y="43"/>
                    </a:moveTo>
                    <a:lnTo>
                      <a:pt x="170" y="36"/>
                    </a:lnTo>
                    <a:lnTo>
                      <a:pt x="172" y="33"/>
                    </a:lnTo>
                    <a:lnTo>
                      <a:pt x="167" y="22"/>
                    </a:lnTo>
                    <a:lnTo>
                      <a:pt x="162" y="17"/>
                    </a:lnTo>
                    <a:lnTo>
                      <a:pt x="160" y="10"/>
                    </a:lnTo>
                    <a:lnTo>
                      <a:pt x="157" y="5"/>
                    </a:lnTo>
                    <a:lnTo>
                      <a:pt x="155" y="3"/>
                    </a:lnTo>
                    <a:lnTo>
                      <a:pt x="153" y="7"/>
                    </a:lnTo>
                    <a:lnTo>
                      <a:pt x="150" y="8"/>
                    </a:lnTo>
                    <a:lnTo>
                      <a:pt x="137" y="7"/>
                    </a:lnTo>
                    <a:lnTo>
                      <a:pt x="129" y="10"/>
                    </a:lnTo>
                    <a:lnTo>
                      <a:pt x="122" y="5"/>
                    </a:lnTo>
                    <a:lnTo>
                      <a:pt x="122" y="8"/>
                    </a:lnTo>
                    <a:lnTo>
                      <a:pt x="124" y="10"/>
                    </a:lnTo>
                    <a:lnTo>
                      <a:pt x="124" y="14"/>
                    </a:lnTo>
                    <a:lnTo>
                      <a:pt x="122" y="10"/>
                    </a:lnTo>
                    <a:lnTo>
                      <a:pt x="118" y="8"/>
                    </a:lnTo>
                    <a:lnTo>
                      <a:pt x="118" y="5"/>
                    </a:lnTo>
                    <a:lnTo>
                      <a:pt x="118" y="5"/>
                    </a:lnTo>
                    <a:lnTo>
                      <a:pt x="118" y="3"/>
                    </a:lnTo>
                    <a:lnTo>
                      <a:pt x="113" y="3"/>
                    </a:lnTo>
                    <a:lnTo>
                      <a:pt x="111" y="2"/>
                    </a:lnTo>
                    <a:lnTo>
                      <a:pt x="106" y="0"/>
                    </a:lnTo>
                    <a:lnTo>
                      <a:pt x="104" y="2"/>
                    </a:lnTo>
                    <a:lnTo>
                      <a:pt x="108" y="2"/>
                    </a:lnTo>
                    <a:lnTo>
                      <a:pt x="108" y="3"/>
                    </a:lnTo>
                    <a:lnTo>
                      <a:pt x="104" y="3"/>
                    </a:lnTo>
                    <a:lnTo>
                      <a:pt x="101" y="3"/>
                    </a:lnTo>
                    <a:lnTo>
                      <a:pt x="97" y="5"/>
                    </a:lnTo>
                    <a:lnTo>
                      <a:pt x="96" y="3"/>
                    </a:lnTo>
                    <a:lnTo>
                      <a:pt x="96" y="3"/>
                    </a:lnTo>
                    <a:lnTo>
                      <a:pt x="99" y="3"/>
                    </a:lnTo>
                    <a:lnTo>
                      <a:pt x="103" y="2"/>
                    </a:lnTo>
                    <a:lnTo>
                      <a:pt x="99" y="2"/>
                    </a:lnTo>
                    <a:lnTo>
                      <a:pt x="94" y="2"/>
                    </a:lnTo>
                    <a:lnTo>
                      <a:pt x="91" y="3"/>
                    </a:lnTo>
                    <a:lnTo>
                      <a:pt x="89" y="7"/>
                    </a:lnTo>
                    <a:lnTo>
                      <a:pt x="85" y="7"/>
                    </a:lnTo>
                    <a:lnTo>
                      <a:pt x="82" y="8"/>
                    </a:lnTo>
                    <a:lnTo>
                      <a:pt x="77" y="10"/>
                    </a:lnTo>
                    <a:lnTo>
                      <a:pt x="77" y="14"/>
                    </a:lnTo>
                    <a:lnTo>
                      <a:pt x="71" y="14"/>
                    </a:lnTo>
                    <a:lnTo>
                      <a:pt x="66" y="10"/>
                    </a:lnTo>
                    <a:lnTo>
                      <a:pt x="61" y="10"/>
                    </a:lnTo>
                    <a:lnTo>
                      <a:pt x="56" y="10"/>
                    </a:lnTo>
                    <a:lnTo>
                      <a:pt x="51" y="7"/>
                    </a:lnTo>
                    <a:lnTo>
                      <a:pt x="47" y="7"/>
                    </a:lnTo>
                    <a:lnTo>
                      <a:pt x="45" y="8"/>
                    </a:lnTo>
                    <a:lnTo>
                      <a:pt x="40" y="5"/>
                    </a:lnTo>
                    <a:lnTo>
                      <a:pt x="35" y="3"/>
                    </a:lnTo>
                    <a:lnTo>
                      <a:pt x="23" y="2"/>
                    </a:lnTo>
                    <a:lnTo>
                      <a:pt x="16" y="0"/>
                    </a:lnTo>
                    <a:lnTo>
                      <a:pt x="7" y="0"/>
                    </a:lnTo>
                    <a:lnTo>
                      <a:pt x="4" y="2"/>
                    </a:lnTo>
                    <a:lnTo>
                      <a:pt x="4" y="2"/>
                    </a:lnTo>
                    <a:lnTo>
                      <a:pt x="4" y="3"/>
                    </a:lnTo>
                    <a:lnTo>
                      <a:pt x="4" y="10"/>
                    </a:lnTo>
                    <a:lnTo>
                      <a:pt x="4" y="17"/>
                    </a:lnTo>
                    <a:lnTo>
                      <a:pt x="4" y="19"/>
                    </a:lnTo>
                    <a:lnTo>
                      <a:pt x="4" y="28"/>
                    </a:lnTo>
                    <a:lnTo>
                      <a:pt x="0" y="31"/>
                    </a:lnTo>
                    <a:lnTo>
                      <a:pt x="4" y="36"/>
                    </a:lnTo>
                    <a:lnTo>
                      <a:pt x="4" y="45"/>
                    </a:lnTo>
                    <a:lnTo>
                      <a:pt x="9" y="181"/>
                    </a:lnTo>
                    <a:lnTo>
                      <a:pt x="214" y="179"/>
                    </a:lnTo>
                    <a:lnTo>
                      <a:pt x="214" y="179"/>
                    </a:lnTo>
                    <a:lnTo>
                      <a:pt x="212" y="179"/>
                    </a:lnTo>
                    <a:lnTo>
                      <a:pt x="207" y="175"/>
                    </a:lnTo>
                    <a:lnTo>
                      <a:pt x="207" y="172"/>
                    </a:lnTo>
                    <a:lnTo>
                      <a:pt x="203" y="172"/>
                    </a:lnTo>
                    <a:lnTo>
                      <a:pt x="200" y="167"/>
                    </a:lnTo>
                    <a:lnTo>
                      <a:pt x="200" y="167"/>
                    </a:lnTo>
                    <a:lnTo>
                      <a:pt x="197" y="167"/>
                    </a:lnTo>
                    <a:lnTo>
                      <a:pt x="191" y="163"/>
                    </a:lnTo>
                    <a:lnTo>
                      <a:pt x="188" y="155"/>
                    </a:lnTo>
                    <a:lnTo>
                      <a:pt x="188" y="151"/>
                    </a:lnTo>
                    <a:lnTo>
                      <a:pt x="188" y="148"/>
                    </a:lnTo>
                    <a:lnTo>
                      <a:pt x="188" y="144"/>
                    </a:lnTo>
                    <a:lnTo>
                      <a:pt x="188" y="144"/>
                    </a:lnTo>
                    <a:lnTo>
                      <a:pt x="190" y="144"/>
                    </a:lnTo>
                    <a:lnTo>
                      <a:pt x="195" y="144"/>
                    </a:lnTo>
                    <a:lnTo>
                      <a:pt x="191" y="142"/>
                    </a:lnTo>
                    <a:lnTo>
                      <a:pt x="190" y="142"/>
                    </a:lnTo>
                    <a:lnTo>
                      <a:pt x="188" y="139"/>
                    </a:lnTo>
                    <a:lnTo>
                      <a:pt x="186" y="139"/>
                    </a:lnTo>
                    <a:lnTo>
                      <a:pt x="186" y="139"/>
                    </a:lnTo>
                    <a:lnTo>
                      <a:pt x="184" y="137"/>
                    </a:lnTo>
                    <a:lnTo>
                      <a:pt x="183" y="132"/>
                    </a:lnTo>
                    <a:lnTo>
                      <a:pt x="176" y="122"/>
                    </a:lnTo>
                    <a:lnTo>
                      <a:pt x="172" y="120"/>
                    </a:lnTo>
                    <a:lnTo>
                      <a:pt x="172" y="115"/>
                    </a:lnTo>
                    <a:lnTo>
                      <a:pt x="162" y="99"/>
                    </a:lnTo>
                    <a:lnTo>
                      <a:pt x="162" y="95"/>
                    </a:lnTo>
                    <a:lnTo>
                      <a:pt x="160" y="92"/>
                    </a:lnTo>
                    <a:lnTo>
                      <a:pt x="158" y="87"/>
                    </a:lnTo>
                    <a:lnTo>
                      <a:pt x="157" y="83"/>
                    </a:lnTo>
                    <a:lnTo>
                      <a:pt x="157" y="83"/>
                    </a:lnTo>
                    <a:lnTo>
                      <a:pt x="153" y="75"/>
                    </a:lnTo>
                    <a:lnTo>
                      <a:pt x="153" y="75"/>
                    </a:lnTo>
                    <a:lnTo>
                      <a:pt x="153" y="71"/>
                    </a:lnTo>
                    <a:lnTo>
                      <a:pt x="150" y="68"/>
                    </a:lnTo>
                    <a:lnTo>
                      <a:pt x="141" y="59"/>
                    </a:lnTo>
                    <a:lnTo>
                      <a:pt x="141" y="55"/>
                    </a:lnTo>
                    <a:lnTo>
                      <a:pt x="134" y="50"/>
                    </a:lnTo>
                    <a:lnTo>
                      <a:pt x="134" y="45"/>
                    </a:lnTo>
                    <a:lnTo>
                      <a:pt x="129" y="42"/>
                    </a:lnTo>
                    <a:lnTo>
                      <a:pt x="130" y="38"/>
                    </a:lnTo>
                    <a:lnTo>
                      <a:pt x="130" y="36"/>
                    </a:lnTo>
                    <a:lnTo>
                      <a:pt x="130" y="35"/>
                    </a:lnTo>
                    <a:lnTo>
                      <a:pt x="130" y="36"/>
                    </a:lnTo>
                    <a:lnTo>
                      <a:pt x="132" y="36"/>
                    </a:lnTo>
                    <a:lnTo>
                      <a:pt x="134" y="40"/>
                    </a:lnTo>
                    <a:lnTo>
                      <a:pt x="136" y="42"/>
                    </a:lnTo>
                    <a:lnTo>
                      <a:pt x="136" y="45"/>
                    </a:lnTo>
                    <a:lnTo>
                      <a:pt x="141" y="50"/>
                    </a:lnTo>
                    <a:lnTo>
                      <a:pt x="141" y="52"/>
                    </a:lnTo>
                    <a:lnTo>
                      <a:pt x="144" y="55"/>
                    </a:lnTo>
                    <a:lnTo>
                      <a:pt x="150" y="59"/>
                    </a:lnTo>
                    <a:lnTo>
                      <a:pt x="150" y="62"/>
                    </a:lnTo>
                    <a:lnTo>
                      <a:pt x="158" y="71"/>
                    </a:lnTo>
                    <a:lnTo>
                      <a:pt x="163" y="73"/>
                    </a:lnTo>
                    <a:lnTo>
                      <a:pt x="163" y="75"/>
                    </a:lnTo>
                    <a:lnTo>
                      <a:pt x="163" y="73"/>
                    </a:lnTo>
                    <a:lnTo>
                      <a:pt x="167" y="69"/>
                    </a:lnTo>
                    <a:lnTo>
                      <a:pt x="169" y="64"/>
                    </a:lnTo>
                    <a:lnTo>
                      <a:pt x="167" y="62"/>
                    </a:lnTo>
                    <a:lnTo>
                      <a:pt x="169" y="57"/>
                    </a:lnTo>
                    <a:lnTo>
                      <a:pt x="169" y="52"/>
                    </a:lnTo>
                    <a:lnTo>
                      <a:pt x="172" y="45"/>
                    </a:lnTo>
                    <a:lnTo>
                      <a:pt x="172" y="43"/>
                    </a:lnTo>
                    <a:lnTo>
                      <a:pt x="172" y="43"/>
                    </a:lnTo>
                    <a:lnTo>
                      <a:pt x="172" y="4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6" name="Freeform 99"/>
              <p:cNvSpPr>
                <a:spLocks/>
              </p:cNvSpPr>
              <p:nvPr/>
            </p:nvSpPr>
            <p:spPr bwMode="auto">
              <a:xfrm>
                <a:off x="5041900" y="3654426"/>
                <a:ext cx="449263" cy="509588"/>
              </a:xfrm>
              <a:custGeom>
                <a:avLst/>
                <a:gdLst/>
                <a:ahLst/>
                <a:cxnLst>
                  <a:cxn ang="0">
                    <a:pos x="254" y="5"/>
                  </a:cxn>
                  <a:cxn ang="0">
                    <a:pos x="256" y="14"/>
                  </a:cxn>
                  <a:cxn ang="0">
                    <a:pos x="256" y="14"/>
                  </a:cxn>
                  <a:cxn ang="0">
                    <a:pos x="261" y="43"/>
                  </a:cxn>
                  <a:cxn ang="0">
                    <a:pos x="275" y="67"/>
                  </a:cxn>
                  <a:cxn ang="0">
                    <a:pos x="282" y="73"/>
                  </a:cxn>
                  <a:cxn ang="0">
                    <a:pos x="268" y="80"/>
                  </a:cxn>
                  <a:cxn ang="0">
                    <a:pos x="261" y="87"/>
                  </a:cxn>
                  <a:cxn ang="0">
                    <a:pos x="261" y="97"/>
                  </a:cxn>
                  <a:cxn ang="0">
                    <a:pos x="252" y="118"/>
                  </a:cxn>
                  <a:cxn ang="0">
                    <a:pos x="254" y="135"/>
                  </a:cxn>
                  <a:cxn ang="0">
                    <a:pos x="243" y="161"/>
                  </a:cxn>
                  <a:cxn ang="0">
                    <a:pos x="233" y="174"/>
                  </a:cxn>
                  <a:cxn ang="0">
                    <a:pos x="221" y="194"/>
                  </a:cxn>
                  <a:cxn ang="0">
                    <a:pos x="217" y="212"/>
                  </a:cxn>
                  <a:cxn ang="0">
                    <a:pos x="210" y="236"/>
                  </a:cxn>
                  <a:cxn ang="0">
                    <a:pos x="198" y="236"/>
                  </a:cxn>
                  <a:cxn ang="0">
                    <a:pos x="198" y="248"/>
                  </a:cxn>
                  <a:cxn ang="0">
                    <a:pos x="210" y="257"/>
                  </a:cxn>
                  <a:cxn ang="0">
                    <a:pos x="223" y="266"/>
                  </a:cxn>
                  <a:cxn ang="0">
                    <a:pos x="231" y="283"/>
                  </a:cxn>
                  <a:cxn ang="0">
                    <a:pos x="217" y="304"/>
                  </a:cxn>
                  <a:cxn ang="0">
                    <a:pos x="210" y="313"/>
                  </a:cxn>
                  <a:cxn ang="0">
                    <a:pos x="190" y="318"/>
                  </a:cxn>
                  <a:cxn ang="0">
                    <a:pos x="179" y="321"/>
                  </a:cxn>
                  <a:cxn ang="0">
                    <a:pos x="169" y="320"/>
                  </a:cxn>
                  <a:cxn ang="0">
                    <a:pos x="160" y="321"/>
                  </a:cxn>
                  <a:cxn ang="0">
                    <a:pos x="151" y="320"/>
                  </a:cxn>
                  <a:cxn ang="0">
                    <a:pos x="143" y="309"/>
                  </a:cxn>
                  <a:cxn ang="0">
                    <a:pos x="132" y="299"/>
                  </a:cxn>
                  <a:cxn ang="0">
                    <a:pos x="124" y="304"/>
                  </a:cxn>
                  <a:cxn ang="0">
                    <a:pos x="113" y="307"/>
                  </a:cxn>
                  <a:cxn ang="0">
                    <a:pos x="101" y="299"/>
                  </a:cxn>
                  <a:cxn ang="0">
                    <a:pos x="96" y="292"/>
                  </a:cxn>
                  <a:cxn ang="0">
                    <a:pos x="84" y="280"/>
                  </a:cxn>
                  <a:cxn ang="0">
                    <a:pos x="78" y="271"/>
                  </a:cxn>
                  <a:cxn ang="0">
                    <a:pos x="66" y="259"/>
                  </a:cxn>
                  <a:cxn ang="0">
                    <a:pos x="59" y="253"/>
                  </a:cxn>
                  <a:cxn ang="0">
                    <a:pos x="54" y="247"/>
                  </a:cxn>
                  <a:cxn ang="0">
                    <a:pos x="42" y="238"/>
                  </a:cxn>
                  <a:cxn ang="0">
                    <a:pos x="35" y="234"/>
                  </a:cxn>
                  <a:cxn ang="0">
                    <a:pos x="30" y="220"/>
                  </a:cxn>
                  <a:cxn ang="0">
                    <a:pos x="23" y="200"/>
                  </a:cxn>
                  <a:cxn ang="0">
                    <a:pos x="18" y="191"/>
                  </a:cxn>
                  <a:cxn ang="0">
                    <a:pos x="11" y="177"/>
                  </a:cxn>
                  <a:cxn ang="0">
                    <a:pos x="9" y="165"/>
                  </a:cxn>
                  <a:cxn ang="0">
                    <a:pos x="0" y="161"/>
                  </a:cxn>
                  <a:cxn ang="0">
                    <a:pos x="5" y="144"/>
                  </a:cxn>
                  <a:cxn ang="0">
                    <a:pos x="11" y="132"/>
                  </a:cxn>
                  <a:cxn ang="0">
                    <a:pos x="19" y="113"/>
                  </a:cxn>
                  <a:cxn ang="0">
                    <a:pos x="35" y="109"/>
                  </a:cxn>
                  <a:cxn ang="0">
                    <a:pos x="47" y="1"/>
                  </a:cxn>
                </a:cxnLst>
                <a:rect l="0" t="0" r="r" b="b"/>
                <a:pathLst>
                  <a:path w="283" h="321">
                    <a:moveTo>
                      <a:pt x="47" y="1"/>
                    </a:moveTo>
                    <a:lnTo>
                      <a:pt x="252" y="0"/>
                    </a:lnTo>
                    <a:lnTo>
                      <a:pt x="252" y="1"/>
                    </a:lnTo>
                    <a:lnTo>
                      <a:pt x="252" y="3"/>
                    </a:lnTo>
                    <a:lnTo>
                      <a:pt x="254" y="5"/>
                    </a:lnTo>
                    <a:lnTo>
                      <a:pt x="252" y="5"/>
                    </a:lnTo>
                    <a:lnTo>
                      <a:pt x="254" y="7"/>
                    </a:lnTo>
                    <a:lnTo>
                      <a:pt x="254" y="7"/>
                    </a:lnTo>
                    <a:lnTo>
                      <a:pt x="254" y="8"/>
                    </a:lnTo>
                    <a:lnTo>
                      <a:pt x="256" y="14"/>
                    </a:lnTo>
                    <a:lnTo>
                      <a:pt x="259" y="17"/>
                    </a:lnTo>
                    <a:lnTo>
                      <a:pt x="259" y="17"/>
                    </a:lnTo>
                    <a:lnTo>
                      <a:pt x="257" y="17"/>
                    </a:lnTo>
                    <a:lnTo>
                      <a:pt x="257" y="17"/>
                    </a:lnTo>
                    <a:lnTo>
                      <a:pt x="256" y="14"/>
                    </a:lnTo>
                    <a:lnTo>
                      <a:pt x="256" y="17"/>
                    </a:lnTo>
                    <a:lnTo>
                      <a:pt x="256" y="19"/>
                    </a:lnTo>
                    <a:lnTo>
                      <a:pt x="261" y="31"/>
                    </a:lnTo>
                    <a:lnTo>
                      <a:pt x="261" y="36"/>
                    </a:lnTo>
                    <a:lnTo>
                      <a:pt x="261" y="43"/>
                    </a:lnTo>
                    <a:lnTo>
                      <a:pt x="261" y="52"/>
                    </a:lnTo>
                    <a:lnTo>
                      <a:pt x="264" y="57"/>
                    </a:lnTo>
                    <a:lnTo>
                      <a:pt x="268" y="59"/>
                    </a:lnTo>
                    <a:lnTo>
                      <a:pt x="275" y="62"/>
                    </a:lnTo>
                    <a:lnTo>
                      <a:pt x="275" y="67"/>
                    </a:lnTo>
                    <a:lnTo>
                      <a:pt x="278" y="67"/>
                    </a:lnTo>
                    <a:lnTo>
                      <a:pt x="283" y="67"/>
                    </a:lnTo>
                    <a:lnTo>
                      <a:pt x="283" y="69"/>
                    </a:lnTo>
                    <a:lnTo>
                      <a:pt x="283" y="69"/>
                    </a:lnTo>
                    <a:lnTo>
                      <a:pt x="282" y="73"/>
                    </a:lnTo>
                    <a:lnTo>
                      <a:pt x="278" y="74"/>
                    </a:lnTo>
                    <a:lnTo>
                      <a:pt x="276" y="76"/>
                    </a:lnTo>
                    <a:lnTo>
                      <a:pt x="275" y="78"/>
                    </a:lnTo>
                    <a:lnTo>
                      <a:pt x="270" y="78"/>
                    </a:lnTo>
                    <a:lnTo>
                      <a:pt x="268" y="80"/>
                    </a:lnTo>
                    <a:lnTo>
                      <a:pt x="264" y="80"/>
                    </a:lnTo>
                    <a:lnTo>
                      <a:pt x="264" y="81"/>
                    </a:lnTo>
                    <a:lnTo>
                      <a:pt x="264" y="85"/>
                    </a:lnTo>
                    <a:lnTo>
                      <a:pt x="264" y="87"/>
                    </a:lnTo>
                    <a:lnTo>
                      <a:pt x="261" y="87"/>
                    </a:lnTo>
                    <a:lnTo>
                      <a:pt x="259" y="87"/>
                    </a:lnTo>
                    <a:lnTo>
                      <a:pt x="259" y="90"/>
                    </a:lnTo>
                    <a:lnTo>
                      <a:pt x="257" y="94"/>
                    </a:lnTo>
                    <a:lnTo>
                      <a:pt x="259" y="95"/>
                    </a:lnTo>
                    <a:lnTo>
                      <a:pt x="261" y="97"/>
                    </a:lnTo>
                    <a:lnTo>
                      <a:pt x="259" y="99"/>
                    </a:lnTo>
                    <a:lnTo>
                      <a:pt x="257" y="104"/>
                    </a:lnTo>
                    <a:lnTo>
                      <a:pt x="256" y="113"/>
                    </a:lnTo>
                    <a:lnTo>
                      <a:pt x="252" y="116"/>
                    </a:lnTo>
                    <a:lnTo>
                      <a:pt x="252" y="118"/>
                    </a:lnTo>
                    <a:lnTo>
                      <a:pt x="250" y="121"/>
                    </a:lnTo>
                    <a:lnTo>
                      <a:pt x="250" y="125"/>
                    </a:lnTo>
                    <a:lnTo>
                      <a:pt x="252" y="132"/>
                    </a:lnTo>
                    <a:lnTo>
                      <a:pt x="252" y="135"/>
                    </a:lnTo>
                    <a:lnTo>
                      <a:pt x="254" y="135"/>
                    </a:lnTo>
                    <a:lnTo>
                      <a:pt x="252" y="137"/>
                    </a:lnTo>
                    <a:lnTo>
                      <a:pt x="250" y="142"/>
                    </a:lnTo>
                    <a:lnTo>
                      <a:pt x="250" y="147"/>
                    </a:lnTo>
                    <a:lnTo>
                      <a:pt x="245" y="154"/>
                    </a:lnTo>
                    <a:lnTo>
                      <a:pt x="243" y="161"/>
                    </a:lnTo>
                    <a:lnTo>
                      <a:pt x="242" y="161"/>
                    </a:lnTo>
                    <a:lnTo>
                      <a:pt x="238" y="161"/>
                    </a:lnTo>
                    <a:lnTo>
                      <a:pt x="238" y="165"/>
                    </a:lnTo>
                    <a:lnTo>
                      <a:pt x="237" y="172"/>
                    </a:lnTo>
                    <a:lnTo>
                      <a:pt x="233" y="174"/>
                    </a:lnTo>
                    <a:lnTo>
                      <a:pt x="231" y="177"/>
                    </a:lnTo>
                    <a:lnTo>
                      <a:pt x="228" y="184"/>
                    </a:lnTo>
                    <a:lnTo>
                      <a:pt x="224" y="196"/>
                    </a:lnTo>
                    <a:lnTo>
                      <a:pt x="223" y="194"/>
                    </a:lnTo>
                    <a:lnTo>
                      <a:pt x="221" y="194"/>
                    </a:lnTo>
                    <a:lnTo>
                      <a:pt x="221" y="198"/>
                    </a:lnTo>
                    <a:lnTo>
                      <a:pt x="217" y="203"/>
                    </a:lnTo>
                    <a:lnTo>
                      <a:pt x="216" y="207"/>
                    </a:lnTo>
                    <a:lnTo>
                      <a:pt x="216" y="208"/>
                    </a:lnTo>
                    <a:lnTo>
                      <a:pt x="217" y="212"/>
                    </a:lnTo>
                    <a:lnTo>
                      <a:pt x="214" y="215"/>
                    </a:lnTo>
                    <a:lnTo>
                      <a:pt x="214" y="220"/>
                    </a:lnTo>
                    <a:lnTo>
                      <a:pt x="214" y="226"/>
                    </a:lnTo>
                    <a:lnTo>
                      <a:pt x="214" y="234"/>
                    </a:lnTo>
                    <a:lnTo>
                      <a:pt x="210" y="236"/>
                    </a:lnTo>
                    <a:lnTo>
                      <a:pt x="210" y="238"/>
                    </a:lnTo>
                    <a:lnTo>
                      <a:pt x="209" y="238"/>
                    </a:lnTo>
                    <a:lnTo>
                      <a:pt x="205" y="236"/>
                    </a:lnTo>
                    <a:lnTo>
                      <a:pt x="202" y="236"/>
                    </a:lnTo>
                    <a:lnTo>
                      <a:pt x="198" y="236"/>
                    </a:lnTo>
                    <a:lnTo>
                      <a:pt x="198" y="240"/>
                    </a:lnTo>
                    <a:lnTo>
                      <a:pt x="197" y="241"/>
                    </a:lnTo>
                    <a:lnTo>
                      <a:pt x="193" y="245"/>
                    </a:lnTo>
                    <a:lnTo>
                      <a:pt x="195" y="248"/>
                    </a:lnTo>
                    <a:lnTo>
                      <a:pt x="198" y="248"/>
                    </a:lnTo>
                    <a:lnTo>
                      <a:pt x="205" y="248"/>
                    </a:lnTo>
                    <a:lnTo>
                      <a:pt x="205" y="250"/>
                    </a:lnTo>
                    <a:lnTo>
                      <a:pt x="210" y="253"/>
                    </a:lnTo>
                    <a:lnTo>
                      <a:pt x="210" y="257"/>
                    </a:lnTo>
                    <a:lnTo>
                      <a:pt x="210" y="257"/>
                    </a:lnTo>
                    <a:lnTo>
                      <a:pt x="214" y="262"/>
                    </a:lnTo>
                    <a:lnTo>
                      <a:pt x="217" y="264"/>
                    </a:lnTo>
                    <a:lnTo>
                      <a:pt x="217" y="266"/>
                    </a:lnTo>
                    <a:lnTo>
                      <a:pt x="219" y="266"/>
                    </a:lnTo>
                    <a:lnTo>
                      <a:pt x="223" y="266"/>
                    </a:lnTo>
                    <a:lnTo>
                      <a:pt x="224" y="269"/>
                    </a:lnTo>
                    <a:lnTo>
                      <a:pt x="226" y="273"/>
                    </a:lnTo>
                    <a:lnTo>
                      <a:pt x="230" y="276"/>
                    </a:lnTo>
                    <a:lnTo>
                      <a:pt x="230" y="280"/>
                    </a:lnTo>
                    <a:lnTo>
                      <a:pt x="231" y="283"/>
                    </a:lnTo>
                    <a:lnTo>
                      <a:pt x="233" y="288"/>
                    </a:lnTo>
                    <a:lnTo>
                      <a:pt x="228" y="295"/>
                    </a:lnTo>
                    <a:lnTo>
                      <a:pt x="223" y="302"/>
                    </a:lnTo>
                    <a:lnTo>
                      <a:pt x="221" y="302"/>
                    </a:lnTo>
                    <a:lnTo>
                      <a:pt x="217" y="304"/>
                    </a:lnTo>
                    <a:lnTo>
                      <a:pt x="216" y="306"/>
                    </a:lnTo>
                    <a:lnTo>
                      <a:pt x="214" y="306"/>
                    </a:lnTo>
                    <a:lnTo>
                      <a:pt x="214" y="309"/>
                    </a:lnTo>
                    <a:lnTo>
                      <a:pt x="214" y="309"/>
                    </a:lnTo>
                    <a:lnTo>
                      <a:pt x="210" y="313"/>
                    </a:lnTo>
                    <a:lnTo>
                      <a:pt x="205" y="314"/>
                    </a:lnTo>
                    <a:lnTo>
                      <a:pt x="202" y="316"/>
                    </a:lnTo>
                    <a:lnTo>
                      <a:pt x="200" y="316"/>
                    </a:lnTo>
                    <a:lnTo>
                      <a:pt x="193" y="316"/>
                    </a:lnTo>
                    <a:lnTo>
                      <a:pt x="190" y="318"/>
                    </a:lnTo>
                    <a:lnTo>
                      <a:pt x="186" y="318"/>
                    </a:lnTo>
                    <a:lnTo>
                      <a:pt x="186" y="318"/>
                    </a:lnTo>
                    <a:lnTo>
                      <a:pt x="183" y="318"/>
                    </a:lnTo>
                    <a:lnTo>
                      <a:pt x="179" y="320"/>
                    </a:lnTo>
                    <a:lnTo>
                      <a:pt x="179" y="321"/>
                    </a:lnTo>
                    <a:lnTo>
                      <a:pt x="179" y="321"/>
                    </a:lnTo>
                    <a:lnTo>
                      <a:pt x="174" y="321"/>
                    </a:lnTo>
                    <a:lnTo>
                      <a:pt x="174" y="320"/>
                    </a:lnTo>
                    <a:lnTo>
                      <a:pt x="172" y="318"/>
                    </a:lnTo>
                    <a:lnTo>
                      <a:pt x="169" y="320"/>
                    </a:lnTo>
                    <a:lnTo>
                      <a:pt x="164" y="318"/>
                    </a:lnTo>
                    <a:lnTo>
                      <a:pt x="160" y="316"/>
                    </a:lnTo>
                    <a:lnTo>
                      <a:pt x="160" y="318"/>
                    </a:lnTo>
                    <a:lnTo>
                      <a:pt x="160" y="320"/>
                    </a:lnTo>
                    <a:lnTo>
                      <a:pt x="160" y="321"/>
                    </a:lnTo>
                    <a:lnTo>
                      <a:pt x="160" y="321"/>
                    </a:lnTo>
                    <a:lnTo>
                      <a:pt x="157" y="321"/>
                    </a:lnTo>
                    <a:lnTo>
                      <a:pt x="155" y="321"/>
                    </a:lnTo>
                    <a:lnTo>
                      <a:pt x="151" y="321"/>
                    </a:lnTo>
                    <a:lnTo>
                      <a:pt x="151" y="320"/>
                    </a:lnTo>
                    <a:lnTo>
                      <a:pt x="151" y="318"/>
                    </a:lnTo>
                    <a:lnTo>
                      <a:pt x="151" y="316"/>
                    </a:lnTo>
                    <a:lnTo>
                      <a:pt x="150" y="313"/>
                    </a:lnTo>
                    <a:lnTo>
                      <a:pt x="148" y="311"/>
                    </a:lnTo>
                    <a:lnTo>
                      <a:pt x="143" y="309"/>
                    </a:lnTo>
                    <a:lnTo>
                      <a:pt x="143" y="307"/>
                    </a:lnTo>
                    <a:lnTo>
                      <a:pt x="141" y="306"/>
                    </a:lnTo>
                    <a:lnTo>
                      <a:pt x="137" y="302"/>
                    </a:lnTo>
                    <a:lnTo>
                      <a:pt x="137" y="302"/>
                    </a:lnTo>
                    <a:lnTo>
                      <a:pt x="132" y="299"/>
                    </a:lnTo>
                    <a:lnTo>
                      <a:pt x="132" y="302"/>
                    </a:lnTo>
                    <a:lnTo>
                      <a:pt x="129" y="304"/>
                    </a:lnTo>
                    <a:lnTo>
                      <a:pt x="127" y="306"/>
                    </a:lnTo>
                    <a:lnTo>
                      <a:pt x="124" y="306"/>
                    </a:lnTo>
                    <a:lnTo>
                      <a:pt x="124" y="304"/>
                    </a:lnTo>
                    <a:lnTo>
                      <a:pt x="122" y="304"/>
                    </a:lnTo>
                    <a:lnTo>
                      <a:pt x="118" y="304"/>
                    </a:lnTo>
                    <a:lnTo>
                      <a:pt x="117" y="306"/>
                    </a:lnTo>
                    <a:lnTo>
                      <a:pt x="115" y="307"/>
                    </a:lnTo>
                    <a:lnTo>
                      <a:pt x="113" y="307"/>
                    </a:lnTo>
                    <a:lnTo>
                      <a:pt x="110" y="306"/>
                    </a:lnTo>
                    <a:lnTo>
                      <a:pt x="104" y="304"/>
                    </a:lnTo>
                    <a:lnTo>
                      <a:pt x="104" y="302"/>
                    </a:lnTo>
                    <a:lnTo>
                      <a:pt x="101" y="302"/>
                    </a:lnTo>
                    <a:lnTo>
                      <a:pt x="101" y="299"/>
                    </a:lnTo>
                    <a:lnTo>
                      <a:pt x="101" y="297"/>
                    </a:lnTo>
                    <a:lnTo>
                      <a:pt x="99" y="297"/>
                    </a:lnTo>
                    <a:lnTo>
                      <a:pt x="99" y="297"/>
                    </a:lnTo>
                    <a:lnTo>
                      <a:pt x="98" y="293"/>
                    </a:lnTo>
                    <a:lnTo>
                      <a:pt x="96" y="292"/>
                    </a:lnTo>
                    <a:lnTo>
                      <a:pt x="92" y="290"/>
                    </a:lnTo>
                    <a:lnTo>
                      <a:pt x="92" y="285"/>
                    </a:lnTo>
                    <a:lnTo>
                      <a:pt x="92" y="283"/>
                    </a:lnTo>
                    <a:lnTo>
                      <a:pt x="91" y="281"/>
                    </a:lnTo>
                    <a:lnTo>
                      <a:pt x="84" y="280"/>
                    </a:lnTo>
                    <a:lnTo>
                      <a:pt x="82" y="280"/>
                    </a:lnTo>
                    <a:lnTo>
                      <a:pt x="82" y="276"/>
                    </a:lnTo>
                    <a:lnTo>
                      <a:pt x="82" y="274"/>
                    </a:lnTo>
                    <a:lnTo>
                      <a:pt x="78" y="273"/>
                    </a:lnTo>
                    <a:lnTo>
                      <a:pt x="78" y="271"/>
                    </a:lnTo>
                    <a:lnTo>
                      <a:pt x="75" y="266"/>
                    </a:lnTo>
                    <a:lnTo>
                      <a:pt x="75" y="264"/>
                    </a:lnTo>
                    <a:lnTo>
                      <a:pt x="70" y="260"/>
                    </a:lnTo>
                    <a:lnTo>
                      <a:pt x="68" y="260"/>
                    </a:lnTo>
                    <a:lnTo>
                      <a:pt x="66" y="259"/>
                    </a:lnTo>
                    <a:lnTo>
                      <a:pt x="64" y="260"/>
                    </a:lnTo>
                    <a:lnTo>
                      <a:pt x="61" y="259"/>
                    </a:lnTo>
                    <a:lnTo>
                      <a:pt x="58" y="257"/>
                    </a:lnTo>
                    <a:lnTo>
                      <a:pt x="59" y="253"/>
                    </a:lnTo>
                    <a:lnTo>
                      <a:pt x="59" y="253"/>
                    </a:lnTo>
                    <a:lnTo>
                      <a:pt x="63" y="252"/>
                    </a:lnTo>
                    <a:lnTo>
                      <a:pt x="63" y="250"/>
                    </a:lnTo>
                    <a:lnTo>
                      <a:pt x="61" y="248"/>
                    </a:lnTo>
                    <a:lnTo>
                      <a:pt x="58" y="248"/>
                    </a:lnTo>
                    <a:lnTo>
                      <a:pt x="54" y="247"/>
                    </a:lnTo>
                    <a:lnTo>
                      <a:pt x="54" y="243"/>
                    </a:lnTo>
                    <a:lnTo>
                      <a:pt x="51" y="241"/>
                    </a:lnTo>
                    <a:lnTo>
                      <a:pt x="47" y="241"/>
                    </a:lnTo>
                    <a:lnTo>
                      <a:pt x="45" y="240"/>
                    </a:lnTo>
                    <a:lnTo>
                      <a:pt x="42" y="238"/>
                    </a:lnTo>
                    <a:lnTo>
                      <a:pt x="42" y="234"/>
                    </a:lnTo>
                    <a:lnTo>
                      <a:pt x="42" y="231"/>
                    </a:lnTo>
                    <a:lnTo>
                      <a:pt x="42" y="231"/>
                    </a:lnTo>
                    <a:lnTo>
                      <a:pt x="35" y="231"/>
                    </a:lnTo>
                    <a:lnTo>
                      <a:pt x="35" y="234"/>
                    </a:lnTo>
                    <a:lnTo>
                      <a:pt x="30" y="231"/>
                    </a:lnTo>
                    <a:lnTo>
                      <a:pt x="28" y="231"/>
                    </a:lnTo>
                    <a:lnTo>
                      <a:pt x="26" y="226"/>
                    </a:lnTo>
                    <a:lnTo>
                      <a:pt x="28" y="222"/>
                    </a:lnTo>
                    <a:lnTo>
                      <a:pt x="30" y="220"/>
                    </a:lnTo>
                    <a:lnTo>
                      <a:pt x="30" y="217"/>
                    </a:lnTo>
                    <a:lnTo>
                      <a:pt x="30" y="214"/>
                    </a:lnTo>
                    <a:lnTo>
                      <a:pt x="26" y="208"/>
                    </a:lnTo>
                    <a:lnTo>
                      <a:pt x="23" y="200"/>
                    </a:lnTo>
                    <a:lnTo>
                      <a:pt x="23" y="200"/>
                    </a:lnTo>
                    <a:lnTo>
                      <a:pt x="18" y="198"/>
                    </a:lnTo>
                    <a:lnTo>
                      <a:pt x="19" y="196"/>
                    </a:lnTo>
                    <a:lnTo>
                      <a:pt x="19" y="193"/>
                    </a:lnTo>
                    <a:lnTo>
                      <a:pt x="18" y="191"/>
                    </a:lnTo>
                    <a:lnTo>
                      <a:pt x="18" y="191"/>
                    </a:lnTo>
                    <a:lnTo>
                      <a:pt x="18" y="189"/>
                    </a:lnTo>
                    <a:lnTo>
                      <a:pt x="19" y="186"/>
                    </a:lnTo>
                    <a:lnTo>
                      <a:pt x="18" y="184"/>
                    </a:lnTo>
                    <a:lnTo>
                      <a:pt x="11" y="180"/>
                    </a:lnTo>
                    <a:lnTo>
                      <a:pt x="11" y="177"/>
                    </a:lnTo>
                    <a:lnTo>
                      <a:pt x="11" y="174"/>
                    </a:lnTo>
                    <a:lnTo>
                      <a:pt x="9" y="172"/>
                    </a:lnTo>
                    <a:lnTo>
                      <a:pt x="9" y="168"/>
                    </a:lnTo>
                    <a:lnTo>
                      <a:pt x="7" y="167"/>
                    </a:lnTo>
                    <a:lnTo>
                      <a:pt x="9" y="165"/>
                    </a:lnTo>
                    <a:lnTo>
                      <a:pt x="9" y="163"/>
                    </a:lnTo>
                    <a:lnTo>
                      <a:pt x="7" y="163"/>
                    </a:lnTo>
                    <a:lnTo>
                      <a:pt x="2" y="165"/>
                    </a:lnTo>
                    <a:lnTo>
                      <a:pt x="0" y="163"/>
                    </a:lnTo>
                    <a:lnTo>
                      <a:pt x="0" y="161"/>
                    </a:lnTo>
                    <a:lnTo>
                      <a:pt x="5" y="154"/>
                    </a:lnTo>
                    <a:lnTo>
                      <a:pt x="7" y="151"/>
                    </a:lnTo>
                    <a:lnTo>
                      <a:pt x="7" y="147"/>
                    </a:lnTo>
                    <a:lnTo>
                      <a:pt x="4" y="146"/>
                    </a:lnTo>
                    <a:lnTo>
                      <a:pt x="5" y="144"/>
                    </a:lnTo>
                    <a:lnTo>
                      <a:pt x="9" y="142"/>
                    </a:lnTo>
                    <a:lnTo>
                      <a:pt x="11" y="137"/>
                    </a:lnTo>
                    <a:lnTo>
                      <a:pt x="9" y="135"/>
                    </a:lnTo>
                    <a:lnTo>
                      <a:pt x="9" y="135"/>
                    </a:lnTo>
                    <a:lnTo>
                      <a:pt x="11" y="132"/>
                    </a:lnTo>
                    <a:lnTo>
                      <a:pt x="14" y="132"/>
                    </a:lnTo>
                    <a:lnTo>
                      <a:pt x="19" y="123"/>
                    </a:lnTo>
                    <a:lnTo>
                      <a:pt x="19" y="120"/>
                    </a:lnTo>
                    <a:lnTo>
                      <a:pt x="19" y="118"/>
                    </a:lnTo>
                    <a:lnTo>
                      <a:pt x="19" y="113"/>
                    </a:lnTo>
                    <a:lnTo>
                      <a:pt x="23" y="109"/>
                    </a:lnTo>
                    <a:lnTo>
                      <a:pt x="26" y="109"/>
                    </a:lnTo>
                    <a:lnTo>
                      <a:pt x="28" y="113"/>
                    </a:lnTo>
                    <a:lnTo>
                      <a:pt x="31" y="109"/>
                    </a:lnTo>
                    <a:lnTo>
                      <a:pt x="35" y="109"/>
                    </a:lnTo>
                    <a:lnTo>
                      <a:pt x="33" y="41"/>
                    </a:lnTo>
                    <a:lnTo>
                      <a:pt x="33" y="41"/>
                    </a:lnTo>
                    <a:lnTo>
                      <a:pt x="33" y="36"/>
                    </a:lnTo>
                    <a:lnTo>
                      <a:pt x="51" y="36"/>
                    </a:lnTo>
                    <a:lnTo>
                      <a:pt x="47" y="1"/>
                    </a:lnTo>
                    <a:lnTo>
                      <a:pt x="47" y="1"/>
                    </a:lnTo>
                    <a:lnTo>
                      <a:pt x="47" y="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7" name="Freeform 100"/>
              <p:cNvSpPr>
                <a:spLocks/>
              </p:cNvSpPr>
              <p:nvPr/>
            </p:nvSpPr>
            <p:spPr bwMode="auto">
              <a:xfrm>
                <a:off x="5351463" y="3856038"/>
                <a:ext cx="411163" cy="307975"/>
              </a:xfrm>
              <a:custGeom>
                <a:avLst/>
                <a:gdLst/>
                <a:ahLst/>
                <a:cxnLst>
                  <a:cxn ang="0">
                    <a:pos x="36" y="154"/>
                  </a:cxn>
                  <a:cxn ang="0">
                    <a:pos x="31" y="144"/>
                  </a:cxn>
                  <a:cxn ang="0">
                    <a:pos x="26" y="140"/>
                  </a:cxn>
                  <a:cxn ang="0">
                    <a:pos x="19" y="130"/>
                  </a:cxn>
                  <a:cxn ang="0">
                    <a:pos x="14" y="123"/>
                  </a:cxn>
                  <a:cxn ang="0">
                    <a:pos x="3" y="123"/>
                  </a:cxn>
                  <a:cxn ang="0">
                    <a:pos x="5" y="114"/>
                  </a:cxn>
                  <a:cxn ang="0">
                    <a:pos x="14" y="111"/>
                  </a:cxn>
                  <a:cxn ang="0">
                    <a:pos x="19" y="111"/>
                  </a:cxn>
                  <a:cxn ang="0">
                    <a:pos x="21" y="95"/>
                  </a:cxn>
                  <a:cxn ang="0">
                    <a:pos x="22" y="81"/>
                  </a:cxn>
                  <a:cxn ang="0">
                    <a:pos x="28" y="73"/>
                  </a:cxn>
                  <a:cxn ang="0">
                    <a:pos x="31" y="69"/>
                  </a:cxn>
                  <a:cxn ang="0">
                    <a:pos x="40" y="47"/>
                  </a:cxn>
                  <a:cxn ang="0">
                    <a:pos x="45" y="36"/>
                  </a:cxn>
                  <a:cxn ang="0">
                    <a:pos x="52" y="29"/>
                  </a:cxn>
                  <a:cxn ang="0">
                    <a:pos x="59" y="12"/>
                  </a:cxn>
                  <a:cxn ang="0">
                    <a:pos x="66" y="12"/>
                  </a:cxn>
                  <a:cxn ang="0">
                    <a:pos x="75" y="0"/>
                  </a:cxn>
                  <a:cxn ang="0">
                    <a:pos x="85" y="7"/>
                  </a:cxn>
                  <a:cxn ang="0">
                    <a:pos x="94" y="1"/>
                  </a:cxn>
                  <a:cxn ang="0">
                    <a:pos x="101" y="1"/>
                  </a:cxn>
                  <a:cxn ang="0">
                    <a:pos x="108" y="7"/>
                  </a:cxn>
                  <a:cxn ang="0">
                    <a:pos x="118" y="10"/>
                  </a:cxn>
                  <a:cxn ang="0">
                    <a:pos x="130" y="19"/>
                  </a:cxn>
                  <a:cxn ang="0">
                    <a:pos x="134" y="22"/>
                  </a:cxn>
                  <a:cxn ang="0">
                    <a:pos x="148" y="29"/>
                  </a:cxn>
                  <a:cxn ang="0">
                    <a:pos x="151" y="40"/>
                  </a:cxn>
                  <a:cxn ang="0">
                    <a:pos x="156" y="47"/>
                  </a:cxn>
                  <a:cxn ang="0">
                    <a:pos x="153" y="59"/>
                  </a:cxn>
                  <a:cxn ang="0">
                    <a:pos x="148" y="67"/>
                  </a:cxn>
                  <a:cxn ang="0">
                    <a:pos x="160" y="67"/>
                  </a:cxn>
                  <a:cxn ang="0">
                    <a:pos x="167" y="69"/>
                  </a:cxn>
                  <a:cxn ang="0">
                    <a:pos x="175" y="88"/>
                  </a:cxn>
                  <a:cxn ang="0">
                    <a:pos x="182" y="100"/>
                  </a:cxn>
                  <a:cxn ang="0">
                    <a:pos x="259" y="118"/>
                  </a:cxn>
                  <a:cxn ang="0">
                    <a:pos x="186" y="172"/>
                  </a:cxn>
                  <a:cxn ang="0">
                    <a:pos x="174" y="173"/>
                  </a:cxn>
                  <a:cxn ang="0">
                    <a:pos x="167" y="182"/>
                  </a:cxn>
                  <a:cxn ang="0">
                    <a:pos x="153" y="189"/>
                  </a:cxn>
                  <a:cxn ang="0">
                    <a:pos x="142" y="191"/>
                  </a:cxn>
                  <a:cxn ang="0">
                    <a:pos x="135" y="182"/>
                  </a:cxn>
                  <a:cxn ang="0">
                    <a:pos x="123" y="186"/>
                  </a:cxn>
                  <a:cxn ang="0">
                    <a:pos x="113" y="194"/>
                  </a:cxn>
                  <a:cxn ang="0">
                    <a:pos x="106" y="194"/>
                  </a:cxn>
                  <a:cxn ang="0">
                    <a:pos x="90" y="194"/>
                  </a:cxn>
                  <a:cxn ang="0">
                    <a:pos x="81" y="187"/>
                  </a:cxn>
                  <a:cxn ang="0">
                    <a:pos x="62" y="179"/>
                  </a:cxn>
                  <a:cxn ang="0">
                    <a:pos x="50" y="179"/>
                  </a:cxn>
                  <a:cxn ang="0">
                    <a:pos x="45" y="165"/>
                  </a:cxn>
                  <a:cxn ang="0">
                    <a:pos x="40" y="163"/>
                  </a:cxn>
                </a:cxnLst>
                <a:rect l="0" t="0" r="r" b="b"/>
                <a:pathLst>
                  <a:path w="259" h="194">
                    <a:moveTo>
                      <a:pt x="40" y="163"/>
                    </a:moveTo>
                    <a:lnTo>
                      <a:pt x="38" y="158"/>
                    </a:lnTo>
                    <a:lnTo>
                      <a:pt x="36" y="154"/>
                    </a:lnTo>
                    <a:lnTo>
                      <a:pt x="36" y="149"/>
                    </a:lnTo>
                    <a:lnTo>
                      <a:pt x="33" y="146"/>
                    </a:lnTo>
                    <a:lnTo>
                      <a:pt x="31" y="144"/>
                    </a:lnTo>
                    <a:lnTo>
                      <a:pt x="29" y="140"/>
                    </a:lnTo>
                    <a:lnTo>
                      <a:pt x="26" y="140"/>
                    </a:lnTo>
                    <a:lnTo>
                      <a:pt x="26" y="140"/>
                    </a:lnTo>
                    <a:lnTo>
                      <a:pt x="26" y="139"/>
                    </a:lnTo>
                    <a:lnTo>
                      <a:pt x="22" y="137"/>
                    </a:lnTo>
                    <a:lnTo>
                      <a:pt x="19" y="130"/>
                    </a:lnTo>
                    <a:lnTo>
                      <a:pt x="19" y="130"/>
                    </a:lnTo>
                    <a:lnTo>
                      <a:pt x="17" y="126"/>
                    </a:lnTo>
                    <a:lnTo>
                      <a:pt x="14" y="123"/>
                    </a:lnTo>
                    <a:lnTo>
                      <a:pt x="12" y="123"/>
                    </a:lnTo>
                    <a:lnTo>
                      <a:pt x="5" y="123"/>
                    </a:lnTo>
                    <a:lnTo>
                      <a:pt x="3" y="123"/>
                    </a:lnTo>
                    <a:lnTo>
                      <a:pt x="0" y="120"/>
                    </a:lnTo>
                    <a:lnTo>
                      <a:pt x="3" y="116"/>
                    </a:lnTo>
                    <a:lnTo>
                      <a:pt x="5" y="114"/>
                    </a:lnTo>
                    <a:lnTo>
                      <a:pt x="5" y="111"/>
                    </a:lnTo>
                    <a:lnTo>
                      <a:pt x="10" y="111"/>
                    </a:lnTo>
                    <a:lnTo>
                      <a:pt x="14" y="111"/>
                    </a:lnTo>
                    <a:lnTo>
                      <a:pt x="15" y="113"/>
                    </a:lnTo>
                    <a:lnTo>
                      <a:pt x="17" y="113"/>
                    </a:lnTo>
                    <a:lnTo>
                      <a:pt x="19" y="111"/>
                    </a:lnTo>
                    <a:lnTo>
                      <a:pt x="21" y="109"/>
                    </a:lnTo>
                    <a:lnTo>
                      <a:pt x="21" y="100"/>
                    </a:lnTo>
                    <a:lnTo>
                      <a:pt x="21" y="95"/>
                    </a:lnTo>
                    <a:lnTo>
                      <a:pt x="22" y="90"/>
                    </a:lnTo>
                    <a:lnTo>
                      <a:pt x="26" y="85"/>
                    </a:lnTo>
                    <a:lnTo>
                      <a:pt x="22" y="81"/>
                    </a:lnTo>
                    <a:lnTo>
                      <a:pt x="22" y="81"/>
                    </a:lnTo>
                    <a:lnTo>
                      <a:pt x="26" y="78"/>
                    </a:lnTo>
                    <a:lnTo>
                      <a:pt x="28" y="73"/>
                    </a:lnTo>
                    <a:lnTo>
                      <a:pt x="28" y="69"/>
                    </a:lnTo>
                    <a:lnTo>
                      <a:pt x="29" y="69"/>
                    </a:lnTo>
                    <a:lnTo>
                      <a:pt x="31" y="69"/>
                    </a:lnTo>
                    <a:lnTo>
                      <a:pt x="35" y="59"/>
                    </a:lnTo>
                    <a:lnTo>
                      <a:pt x="38" y="52"/>
                    </a:lnTo>
                    <a:lnTo>
                      <a:pt x="40" y="47"/>
                    </a:lnTo>
                    <a:lnTo>
                      <a:pt x="43" y="47"/>
                    </a:lnTo>
                    <a:lnTo>
                      <a:pt x="45" y="40"/>
                    </a:lnTo>
                    <a:lnTo>
                      <a:pt x="45" y="36"/>
                    </a:lnTo>
                    <a:lnTo>
                      <a:pt x="48" y="36"/>
                    </a:lnTo>
                    <a:lnTo>
                      <a:pt x="50" y="36"/>
                    </a:lnTo>
                    <a:lnTo>
                      <a:pt x="52" y="29"/>
                    </a:lnTo>
                    <a:lnTo>
                      <a:pt x="57" y="22"/>
                    </a:lnTo>
                    <a:lnTo>
                      <a:pt x="57" y="17"/>
                    </a:lnTo>
                    <a:lnTo>
                      <a:pt x="59" y="12"/>
                    </a:lnTo>
                    <a:lnTo>
                      <a:pt x="61" y="10"/>
                    </a:lnTo>
                    <a:lnTo>
                      <a:pt x="62" y="10"/>
                    </a:lnTo>
                    <a:lnTo>
                      <a:pt x="66" y="12"/>
                    </a:lnTo>
                    <a:lnTo>
                      <a:pt x="66" y="10"/>
                    </a:lnTo>
                    <a:lnTo>
                      <a:pt x="69" y="10"/>
                    </a:lnTo>
                    <a:lnTo>
                      <a:pt x="75" y="0"/>
                    </a:lnTo>
                    <a:lnTo>
                      <a:pt x="76" y="1"/>
                    </a:lnTo>
                    <a:lnTo>
                      <a:pt x="78" y="1"/>
                    </a:lnTo>
                    <a:lnTo>
                      <a:pt x="85" y="7"/>
                    </a:lnTo>
                    <a:lnTo>
                      <a:pt x="88" y="7"/>
                    </a:lnTo>
                    <a:lnTo>
                      <a:pt x="90" y="1"/>
                    </a:lnTo>
                    <a:lnTo>
                      <a:pt x="94" y="1"/>
                    </a:lnTo>
                    <a:lnTo>
                      <a:pt x="95" y="5"/>
                    </a:lnTo>
                    <a:lnTo>
                      <a:pt x="97" y="1"/>
                    </a:lnTo>
                    <a:lnTo>
                      <a:pt x="101" y="1"/>
                    </a:lnTo>
                    <a:lnTo>
                      <a:pt x="106" y="7"/>
                    </a:lnTo>
                    <a:lnTo>
                      <a:pt x="106" y="7"/>
                    </a:lnTo>
                    <a:lnTo>
                      <a:pt x="108" y="7"/>
                    </a:lnTo>
                    <a:lnTo>
                      <a:pt x="111" y="7"/>
                    </a:lnTo>
                    <a:lnTo>
                      <a:pt x="114" y="10"/>
                    </a:lnTo>
                    <a:lnTo>
                      <a:pt x="118" y="10"/>
                    </a:lnTo>
                    <a:lnTo>
                      <a:pt x="123" y="15"/>
                    </a:lnTo>
                    <a:lnTo>
                      <a:pt x="125" y="17"/>
                    </a:lnTo>
                    <a:lnTo>
                      <a:pt x="130" y="19"/>
                    </a:lnTo>
                    <a:lnTo>
                      <a:pt x="130" y="19"/>
                    </a:lnTo>
                    <a:lnTo>
                      <a:pt x="134" y="20"/>
                    </a:lnTo>
                    <a:lnTo>
                      <a:pt x="134" y="22"/>
                    </a:lnTo>
                    <a:lnTo>
                      <a:pt x="139" y="24"/>
                    </a:lnTo>
                    <a:lnTo>
                      <a:pt x="144" y="29"/>
                    </a:lnTo>
                    <a:lnTo>
                      <a:pt x="148" y="29"/>
                    </a:lnTo>
                    <a:lnTo>
                      <a:pt x="151" y="33"/>
                    </a:lnTo>
                    <a:lnTo>
                      <a:pt x="151" y="36"/>
                    </a:lnTo>
                    <a:lnTo>
                      <a:pt x="151" y="40"/>
                    </a:lnTo>
                    <a:lnTo>
                      <a:pt x="153" y="40"/>
                    </a:lnTo>
                    <a:lnTo>
                      <a:pt x="158" y="47"/>
                    </a:lnTo>
                    <a:lnTo>
                      <a:pt x="156" y="47"/>
                    </a:lnTo>
                    <a:lnTo>
                      <a:pt x="153" y="52"/>
                    </a:lnTo>
                    <a:lnTo>
                      <a:pt x="151" y="55"/>
                    </a:lnTo>
                    <a:lnTo>
                      <a:pt x="153" y="59"/>
                    </a:lnTo>
                    <a:lnTo>
                      <a:pt x="151" y="60"/>
                    </a:lnTo>
                    <a:lnTo>
                      <a:pt x="151" y="64"/>
                    </a:lnTo>
                    <a:lnTo>
                      <a:pt x="148" y="67"/>
                    </a:lnTo>
                    <a:lnTo>
                      <a:pt x="151" y="69"/>
                    </a:lnTo>
                    <a:lnTo>
                      <a:pt x="156" y="69"/>
                    </a:lnTo>
                    <a:lnTo>
                      <a:pt x="160" y="67"/>
                    </a:lnTo>
                    <a:lnTo>
                      <a:pt x="165" y="66"/>
                    </a:lnTo>
                    <a:lnTo>
                      <a:pt x="168" y="67"/>
                    </a:lnTo>
                    <a:lnTo>
                      <a:pt x="167" y="69"/>
                    </a:lnTo>
                    <a:lnTo>
                      <a:pt x="168" y="78"/>
                    </a:lnTo>
                    <a:lnTo>
                      <a:pt x="170" y="85"/>
                    </a:lnTo>
                    <a:lnTo>
                      <a:pt x="175" y="88"/>
                    </a:lnTo>
                    <a:lnTo>
                      <a:pt x="174" y="93"/>
                    </a:lnTo>
                    <a:lnTo>
                      <a:pt x="177" y="97"/>
                    </a:lnTo>
                    <a:lnTo>
                      <a:pt x="182" y="100"/>
                    </a:lnTo>
                    <a:lnTo>
                      <a:pt x="187" y="104"/>
                    </a:lnTo>
                    <a:lnTo>
                      <a:pt x="236" y="118"/>
                    </a:lnTo>
                    <a:lnTo>
                      <a:pt x="259" y="118"/>
                    </a:lnTo>
                    <a:lnTo>
                      <a:pt x="207" y="172"/>
                    </a:lnTo>
                    <a:lnTo>
                      <a:pt x="196" y="168"/>
                    </a:lnTo>
                    <a:lnTo>
                      <a:pt x="186" y="172"/>
                    </a:lnTo>
                    <a:lnTo>
                      <a:pt x="182" y="172"/>
                    </a:lnTo>
                    <a:lnTo>
                      <a:pt x="179" y="172"/>
                    </a:lnTo>
                    <a:lnTo>
                      <a:pt x="174" y="173"/>
                    </a:lnTo>
                    <a:lnTo>
                      <a:pt x="174" y="179"/>
                    </a:lnTo>
                    <a:lnTo>
                      <a:pt x="170" y="180"/>
                    </a:lnTo>
                    <a:lnTo>
                      <a:pt x="167" y="182"/>
                    </a:lnTo>
                    <a:lnTo>
                      <a:pt x="160" y="184"/>
                    </a:lnTo>
                    <a:lnTo>
                      <a:pt x="156" y="186"/>
                    </a:lnTo>
                    <a:lnTo>
                      <a:pt x="153" y="189"/>
                    </a:lnTo>
                    <a:lnTo>
                      <a:pt x="153" y="189"/>
                    </a:lnTo>
                    <a:lnTo>
                      <a:pt x="148" y="189"/>
                    </a:lnTo>
                    <a:lnTo>
                      <a:pt x="142" y="191"/>
                    </a:lnTo>
                    <a:lnTo>
                      <a:pt x="139" y="189"/>
                    </a:lnTo>
                    <a:lnTo>
                      <a:pt x="137" y="184"/>
                    </a:lnTo>
                    <a:lnTo>
                      <a:pt x="135" y="182"/>
                    </a:lnTo>
                    <a:lnTo>
                      <a:pt x="128" y="184"/>
                    </a:lnTo>
                    <a:lnTo>
                      <a:pt x="125" y="186"/>
                    </a:lnTo>
                    <a:lnTo>
                      <a:pt x="123" y="186"/>
                    </a:lnTo>
                    <a:lnTo>
                      <a:pt x="120" y="187"/>
                    </a:lnTo>
                    <a:lnTo>
                      <a:pt x="118" y="189"/>
                    </a:lnTo>
                    <a:lnTo>
                      <a:pt x="113" y="194"/>
                    </a:lnTo>
                    <a:lnTo>
                      <a:pt x="111" y="194"/>
                    </a:lnTo>
                    <a:lnTo>
                      <a:pt x="108" y="194"/>
                    </a:lnTo>
                    <a:lnTo>
                      <a:pt x="106" y="194"/>
                    </a:lnTo>
                    <a:lnTo>
                      <a:pt x="101" y="194"/>
                    </a:lnTo>
                    <a:lnTo>
                      <a:pt x="97" y="194"/>
                    </a:lnTo>
                    <a:lnTo>
                      <a:pt x="90" y="194"/>
                    </a:lnTo>
                    <a:lnTo>
                      <a:pt x="88" y="194"/>
                    </a:lnTo>
                    <a:lnTo>
                      <a:pt x="85" y="191"/>
                    </a:lnTo>
                    <a:lnTo>
                      <a:pt x="81" y="187"/>
                    </a:lnTo>
                    <a:lnTo>
                      <a:pt x="75" y="180"/>
                    </a:lnTo>
                    <a:lnTo>
                      <a:pt x="71" y="177"/>
                    </a:lnTo>
                    <a:lnTo>
                      <a:pt x="62" y="179"/>
                    </a:lnTo>
                    <a:lnTo>
                      <a:pt x="59" y="177"/>
                    </a:lnTo>
                    <a:lnTo>
                      <a:pt x="54" y="179"/>
                    </a:lnTo>
                    <a:lnTo>
                      <a:pt x="50" y="179"/>
                    </a:lnTo>
                    <a:lnTo>
                      <a:pt x="48" y="173"/>
                    </a:lnTo>
                    <a:lnTo>
                      <a:pt x="48" y="165"/>
                    </a:lnTo>
                    <a:lnTo>
                      <a:pt x="45" y="165"/>
                    </a:lnTo>
                    <a:lnTo>
                      <a:pt x="43" y="165"/>
                    </a:lnTo>
                    <a:lnTo>
                      <a:pt x="40" y="161"/>
                    </a:lnTo>
                    <a:lnTo>
                      <a:pt x="40" y="163"/>
                    </a:lnTo>
                    <a:lnTo>
                      <a:pt x="40" y="163"/>
                    </a:lnTo>
                    <a:lnTo>
                      <a:pt x="40" y="16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8" name="Freeform 101"/>
              <p:cNvSpPr>
                <a:spLocks/>
              </p:cNvSpPr>
              <p:nvPr/>
            </p:nvSpPr>
            <p:spPr bwMode="auto">
              <a:xfrm>
                <a:off x="5445125" y="3760788"/>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9" name="Freeform 102"/>
              <p:cNvSpPr>
                <a:spLocks/>
              </p:cNvSpPr>
              <p:nvPr/>
            </p:nvSpPr>
            <p:spPr bwMode="auto">
              <a:xfrm>
                <a:off x="5445125" y="3760788"/>
                <a:ext cx="176213" cy="163513"/>
              </a:xfrm>
              <a:custGeom>
                <a:avLst/>
                <a:gdLst/>
                <a:ahLst/>
                <a:cxnLst>
                  <a:cxn ang="0">
                    <a:pos x="95" y="98"/>
                  </a:cxn>
                  <a:cxn ang="0">
                    <a:pos x="92" y="94"/>
                  </a:cxn>
                  <a:cxn ang="0">
                    <a:pos x="89" y="87"/>
                  </a:cxn>
                  <a:cxn ang="0">
                    <a:pos x="82" y="80"/>
                  </a:cxn>
                  <a:cxn ang="0">
                    <a:pos x="76" y="77"/>
                  </a:cxn>
                  <a:cxn ang="0">
                    <a:pos x="71" y="77"/>
                  </a:cxn>
                  <a:cxn ang="0">
                    <a:pos x="66" y="73"/>
                  </a:cxn>
                  <a:cxn ang="0">
                    <a:pos x="57" y="67"/>
                  </a:cxn>
                  <a:cxn ang="0">
                    <a:pos x="50" y="63"/>
                  </a:cxn>
                  <a:cxn ang="0">
                    <a:pos x="49" y="65"/>
                  </a:cxn>
                  <a:cxn ang="0">
                    <a:pos x="40" y="60"/>
                  </a:cxn>
                  <a:cxn ang="0">
                    <a:pos x="36" y="60"/>
                  </a:cxn>
                  <a:cxn ang="0">
                    <a:pos x="31" y="63"/>
                  </a:cxn>
                  <a:cxn ang="0">
                    <a:pos x="21" y="60"/>
                  </a:cxn>
                  <a:cxn ang="0">
                    <a:pos x="17" y="58"/>
                  </a:cxn>
                  <a:cxn ang="0">
                    <a:pos x="9" y="67"/>
                  </a:cxn>
                  <a:cxn ang="0">
                    <a:pos x="5" y="68"/>
                  </a:cxn>
                  <a:cxn ang="0">
                    <a:pos x="2" y="65"/>
                  </a:cxn>
                  <a:cxn ang="0">
                    <a:pos x="0" y="54"/>
                  </a:cxn>
                  <a:cxn ang="0">
                    <a:pos x="2" y="49"/>
                  </a:cxn>
                  <a:cxn ang="0">
                    <a:pos x="5" y="35"/>
                  </a:cxn>
                  <a:cxn ang="0">
                    <a:pos x="9" y="30"/>
                  </a:cxn>
                  <a:cxn ang="0">
                    <a:pos x="5" y="27"/>
                  </a:cxn>
                  <a:cxn ang="0">
                    <a:pos x="9" y="18"/>
                  </a:cxn>
                  <a:cxn ang="0">
                    <a:pos x="14" y="18"/>
                  </a:cxn>
                  <a:cxn ang="0">
                    <a:pos x="14" y="14"/>
                  </a:cxn>
                  <a:cxn ang="0">
                    <a:pos x="17" y="13"/>
                  </a:cxn>
                  <a:cxn ang="0">
                    <a:pos x="22" y="9"/>
                  </a:cxn>
                  <a:cxn ang="0">
                    <a:pos x="28" y="7"/>
                  </a:cxn>
                  <a:cxn ang="0">
                    <a:pos x="31" y="0"/>
                  </a:cxn>
                  <a:cxn ang="0">
                    <a:pos x="36" y="7"/>
                  </a:cxn>
                  <a:cxn ang="0">
                    <a:pos x="45" y="37"/>
                  </a:cxn>
                  <a:cxn ang="0">
                    <a:pos x="49" y="42"/>
                  </a:cxn>
                  <a:cxn ang="0">
                    <a:pos x="49" y="44"/>
                  </a:cxn>
                  <a:cxn ang="0">
                    <a:pos x="52" y="54"/>
                  </a:cxn>
                  <a:cxn ang="0">
                    <a:pos x="55" y="49"/>
                  </a:cxn>
                  <a:cxn ang="0">
                    <a:pos x="54" y="46"/>
                  </a:cxn>
                  <a:cxn ang="0">
                    <a:pos x="59" y="51"/>
                  </a:cxn>
                  <a:cxn ang="0">
                    <a:pos x="59" y="54"/>
                  </a:cxn>
                  <a:cxn ang="0">
                    <a:pos x="64" y="58"/>
                  </a:cxn>
                  <a:cxn ang="0">
                    <a:pos x="68" y="58"/>
                  </a:cxn>
                  <a:cxn ang="0">
                    <a:pos x="73" y="60"/>
                  </a:cxn>
                  <a:cxn ang="0">
                    <a:pos x="80" y="61"/>
                  </a:cxn>
                  <a:cxn ang="0">
                    <a:pos x="85" y="68"/>
                  </a:cxn>
                  <a:cxn ang="0">
                    <a:pos x="90" y="77"/>
                  </a:cxn>
                  <a:cxn ang="0">
                    <a:pos x="95" y="80"/>
                  </a:cxn>
                  <a:cxn ang="0">
                    <a:pos x="97" y="80"/>
                  </a:cxn>
                  <a:cxn ang="0">
                    <a:pos x="102" y="87"/>
                  </a:cxn>
                  <a:cxn ang="0">
                    <a:pos x="104" y="93"/>
                  </a:cxn>
                  <a:cxn ang="0">
                    <a:pos x="108" y="96"/>
                  </a:cxn>
                  <a:cxn ang="0">
                    <a:pos x="111" y="94"/>
                  </a:cxn>
                  <a:cxn ang="0">
                    <a:pos x="111" y="96"/>
                  </a:cxn>
                  <a:cxn ang="0">
                    <a:pos x="106" y="100"/>
                  </a:cxn>
                  <a:cxn ang="0">
                    <a:pos x="101" y="103"/>
                  </a:cxn>
                  <a:cxn ang="0">
                    <a:pos x="101" y="103"/>
                  </a:cxn>
                </a:cxnLst>
                <a:rect l="0" t="0" r="r" b="b"/>
                <a:pathLst>
                  <a:path w="111" h="103">
                    <a:moveTo>
                      <a:pt x="101" y="103"/>
                    </a:moveTo>
                    <a:lnTo>
                      <a:pt x="95" y="98"/>
                    </a:lnTo>
                    <a:lnTo>
                      <a:pt x="92" y="98"/>
                    </a:lnTo>
                    <a:lnTo>
                      <a:pt x="92" y="94"/>
                    </a:lnTo>
                    <a:lnTo>
                      <a:pt x="92" y="91"/>
                    </a:lnTo>
                    <a:lnTo>
                      <a:pt x="89" y="87"/>
                    </a:lnTo>
                    <a:lnTo>
                      <a:pt x="85" y="86"/>
                    </a:lnTo>
                    <a:lnTo>
                      <a:pt x="82" y="80"/>
                    </a:lnTo>
                    <a:lnTo>
                      <a:pt x="76" y="80"/>
                    </a:lnTo>
                    <a:lnTo>
                      <a:pt x="76" y="77"/>
                    </a:lnTo>
                    <a:lnTo>
                      <a:pt x="73" y="77"/>
                    </a:lnTo>
                    <a:lnTo>
                      <a:pt x="71" y="77"/>
                    </a:lnTo>
                    <a:lnTo>
                      <a:pt x="68" y="75"/>
                    </a:lnTo>
                    <a:lnTo>
                      <a:pt x="66" y="73"/>
                    </a:lnTo>
                    <a:lnTo>
                      <a:pt x="59" y="67"/>
                    </a:lnTo>
                    <a:lnTo>
                      <a:pt x="57" y="67"/>
                    </a:lnTo>
                    <a:lnTo>
                      <a:pt x="54" y="63"/>
                    </a:lnTo>
                    <a:lnTo>
                      <a:pt x="50" y="63"/>
                    </a:lnTo>
                    <a:lnTo>
                      <a:pt x="49" y="63"/>
                    </a:lnTo>
                    <a:lnTo>
                      <a:pt x="49" y="65"/>
                    </a:lnTo>
                    <a:lnTo>
                      <a:pt x="43" y="60"/>
                    </a:lnTo>
                    <a:lnTo>
                      <a:pt x="40" y="60"/>
                    </a:lnTo>
                    <a:lnTo>
                      <a:pt x="38" y="61"/>
                    </a:lnTo>
                    <a:lnTo>
                      <a:pt x="36" y="60"/>
                    </a:lnTo>
                    <a:lnTo>
                      <a:pt x="33" y="60"/>
                    </a:lnTo>
                    <a:lnTo>
                      <a:pt x="31" y="63"/>
                    </a:lnTo>
                    <a:lnTo>
                      <a:pt x="28" y="63"/>
                    </a:lnTo>
                    <a:lnTo>
                      <a:pt x="21" y="60"/>
                    </a:lnTo>
                    <a:lnTo>
                      <a:pt x="19" y="58"/>
                    </a:lnTo>
                    <a:lnTo>
                      <a:pt x="17" y="58"/>
                    </a:lnTo>
                    <a:lnTo>
                      <a:pt x="12" y="67"/>
                    </a:lnTo>
                    <a:lnTo>
                      <a:pt x="9" y="67"/>
                    </a:lnTo>
                    <a:lnTo>
                      <a:pt x="9" y="68"/>
                    </a:lnTo>
                    <a:lnTo>
                      <a:pt x="5" y="68"/>
                    </a:lnTo>
                    <a:lnTo>
                      <a:pt x="2" y="68"/>
                    </a:lnTo>
                    <a:lnTo>
                      <a:pt x="2" y="65"/>
                    </a:lnTo>
                    <a:lnTo>
                      <a:pt x="0" y="58"/>
                    </a:lnTo>
                    <a:lnTo>
                      <a:pt x="0" y="54"/>
                    </a:lnTo>
                    <a:lnTo>
                      <a:pt x="2" y="51"/>
                    </a:lnTo>
                    <a:lnTo>
                      <a:pt x="2" y="49"/>
                    </a:lnTo>
                    <a:lnTo>
                      <a:pt x="5" y="44"/>
                    </a:lnTo>
                    <a:lnTo>
                      <a:pt x="5" y="35"/>
                    </a:lnTo>
                    <a:lnTo>
                      <a:pt x="9" y="32"/>
                    </a:lnTo>
                    <a:lnTo>
                      <a:pt x="9" y="30"/>
                    </a:lnTo>
                    <a:lnTo>
                      <a:pt x="9" y="27"/>
                    </a:lnTo>
                    <a:lnTo>
                      <a:pt x="5" y="27"/>
                    </a:lnTo>
                    <a:lnTo>
                      <a:pt x="9" y="23"/>
                    </a:lnTo>
                    <a:lnTo>
                      <a:pt x="9" y="18"/>
                    </a:lnTo>
                    <a:lnTo>
                      <a:pt x="9" y="18"/>
                    </a:lnTo>
                    <a:lnTo>
                      <a:pt x="14" y="18"/>
                    </a:lnTo>
                    <a:lnTo>
                      <a:pt x="14" y="16"/>
                    </a:lnTo>
                    <a:lnTo>
                      <a:pt x="14" y="14"/>
                    </a:lnTo>
                    <a:lnTo>
                      <a:pt x="14" y="13"/>
                    </a:lnTo>
                    <a:lnTo>
                      <a:pt x="17" y="13"/>
                    </a:lnTo>
                    <a:lnTo>
                      <a:pt x="19" y="9"/>
                    </a:lnTo>
                    <a:lnTo>
                      <a:pt x="22" y="9"/>
                    </a:lnTo>
                    <a:lnTo>
                      <a:pt x="26" y="9"/>
                    </a:lnTo>
                    <a:lnTo>
                      <a:pt x="28" y="7"/>
                    </a:lnTo>
                    <a:lnTo>
                      <a:pt x="31" y="4"/>
                    </a:lnTo>
                    <a:lnTo>
                      <a:pt x="31" y="0"/>
                    </a:lnTo>
                    <a:lnTo>
                      <a:pt x="31" y="0"/>
                    </a:lnTo>
                    <a:lnTo>
                      <a:pt x="36" y="7"/>
                    </a:lnTo>
                    <a:lnTo>
                      <a:pt x="43" y="23"/>
                    </a:lnTo>
                    <a:lnTo>
                      <a:pt x="45" y="37"/>
                    </a:lnTo>
                    <a:lnTo>
                      <a:pt x="49" y="37"/>
                    </a:lnTo>
                    <a:lnTo>
                      <a:pt x="49" y="42"/>
                    </a:lnTo>
                    <a:lnTo>
                      <a:pt x="49" y="44"/>
                    </a:lnTo>
                    <a:lnTo>
                      <a:pt x="49" y="44"/>
                    </a:lnTo>
                    <a:lnTo>
                      <a:pt x="50" y="49"/>
                    </a:lnTo>
                    <a:lnTo>
                      <a:pt x="52" y="54"/>
                    </a:lnTo>
                    <a:lnTo>
                      <a:pt x="55" y="54"/>
                    </a:lnTo>
                    <a:lnTo>
                      <a:pt x="55" y="49"/>
                    </a:lnTo>
                    <a:lnTo>
                      <a:pt x="54" y="49"/>
                    </a:lnTo>
                    <a:lnTo>
                      <a:pt x="54" y="46"/>
                    </a:lnTo>
                    <a:lnTo>
                      <a:pt x="55" y="46"/>
                    </a:lnTo>
                    <a:lnTo>
                      <a:pt x="59" y="51"/>
                    </a:lnTo>
                    <a:lnTo>
                      <a:pt x="57" y="53"/>
                    </a:lnTo>
                    <a:lnTo>
                      <a:pt x="59" y="54"/>
                    </a:lnTo>
                    <a:lnTo>
                      <a:pt x="62" y="58"/>
                    </a:lnTo>
                    <a:lnTo>
                      <a:pt x="64" y="58"/>
                    </a:lnTo>
                    <a:lnTo>
                      <a:pt x="68" y="54"/>
                    </a:lnTo>
                    <a:lnTo>
                      <a:pt x="68" y="58"/>
                    </a:lnTo>
                    <a:lnTo>
                      <a:pt x="71" y="54"/>
                    </a:lnTo>
                    <a:lnTo>
                      <a:pt x="73" y="60"/>
                    </a:lnTo>
                    <a:lnTo>
                      <a:pt x="75" y="61"/>
                    </a:lnTo>
                    <a:lnTo>
                      <a:pt x="80" y="61"/>
                    </a:lnTo>
                    <a:lnTo>
                      <a:pt x="80" y="65"/>
                    </a:lnTo>
                    <a:lnTo>
                      <a:pt x="85" y="68"/>
                    </a:lnTo>
                    <a:lnTo>
                      <a:pt x="89" y="75"/>
                    </a:lnTo>
                    <a:lnTo>
                      <a:pt x="90" y="77"/>
                    </a:lnTo>
                    <a:lnTo>
                      <a:pt x="94" y="80"/>
                    </a:lnTo>
                    <a:lnTo>
                      <a:pt x="95" y="80"/>
                    </a:lnTo>
                    <a:lnTo>
                      <a:pt x="95" y="77"/>
                    </a:lnTo>
                    <a:lnTo>
                      <a:pt x="97" y="80"/>
                    </a:lnTo>
                    <a:lnTo>
                      <a:pt x="99" y="87"/>
                    </a:lnTo>
                    <a:lnTo>
                      <a:pt x="102" y="87"/>
                    </a:lnTo>
                    <a:lnTo>
                      <a:pt x="104" y="91"/>
                    </a:lnTo>
                    <a:lnTo>
                      <a:pt x="104" y="93"/>
                    </a:lnTo>
                    <a:lnTo>
                      <a:pt x="106" y="96"/>
                    </a:lnTo>
                    <a:lnTo>
                      <a:pt x="108" y="96"/>
                    </a:lnTo>
                    <a:lnTo>
                      <a:pt x="108" y="96"/>
                    </a:lnTo>
                    <a:lnTo>
                      <a:pt x="111" y="94"/>
                    </a:lnTo>
                    <a:lnTo>
                      <a:pt x="111" y="96"/>
                    </a:lnTo>
                    <a:lnTo>
                      <a:pt x="111" y="96"/>
                    </a:lnTo>
                    <a:lnTo>
                      <a:pt x="108" y="100"/>
                    </a:lnTo>
                    <a:lnTo>
                      <a:pt x="106" y="100"/>
                    </a:lnTo>
                    <a:lnTo>
                      <a:pt x="104" y="103"/>
                    </a:lnTo>
                    <a:lnTo>
                      <a:pt x="101" y="103"/>
                    </a:lnTo>
                    <a:lnTo>
                      <a:pt x="101" y="103"/>
                    </a:lnTo>
                    <a:lnTo>
                      <a:pt x="101" y="10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0" name="Freeform 103"/>
              <p:cNvSpPr>
                <a:spLocks/>
              </p:cNvSpPr>
              <p:nvPr/>
            </p:nvSpPr>
            <p:spPr bwMode="auto">
              <a:xfrm>
                <a:off x="5591175" y="3919538"/>
                <a:ext cx="38100" cy="42863"/>
              </a:xfrm>
              <a:custGeom>
                <a:avLst/>
                <a:gdLst/>
                <a:ahLst/>
                <a:cxnLst>
                  <a:cxn ang="0">
                    <a:pos x="19" y="26"/>
                  </a:cxn>
                  <a:cxn ang="0">
                    <a:pos x="16" y="24"/>
                  </a:cxn>
                  <a:cxn ang="0">
                    <a:pos x="10" y="26"/>
                  </a:cxn>
                  <a:cxn ang="0">
                    <a:pos x="9" y="27"/>
                  </a:cxn>
                  <a:cxn ang="0">
                    <a:pos x="2" y="27"/>
                  </a:cxn>
                  <a:cxn ang="0">
                    <a:pos x="0" y="26"/>
                  </a:cxn>
                  <a:cxn ang="0">
                    <a:pos x="2" y="22"/>
                  </a:cxn>
                  <a:cxn ang="0">
                    <a:pos x="3" y="19"/>
                  </a:cxn>
                  <a:cxn ang="0">
                    <a:pos x="5" y="17"/>
                  </a:cxn>
                  <a:cxn ang="0">
                    <a:pos x="3" y="13"/>
                  </a:cxn>
                  <a:cxn ang="0">
                    <a:pos x="5" y="10"/>
                  </a:cxn>
                  <a:cxn ang="0">
                    <a:pos x="7" y="7"/>
                  </a:cxn>
                  <a:cxn ang="0">
                    <a:pos x="12" y="5"/>
                  </a:cxn>
                  <a:cxn ang="0">
                    <a:pos x="14" y="3"/>
                  </a:cxn>
                  <a:cxn ang="0">
                    <a:pos x="17" y="1"/>
                  </a:cxn>
                  <a:cxn ang="0">
                    <a:pos x="21" y="0"/>
                  </a:cxn>
                  <a:cxn ang="0">
                    <a:pos x="21" y="0"/>
                  </a:cxn>
                  <a:cxn ang="0">
                    <a:pos x="21" y="1"/>
                  </a:cxn>
                  <a:cxn ang="0">
                    <a:pos x="24" y="3"/>
                  </a:cxn>
                  <a:cxn ang="0">
                    <a:pos x="24" y="3"/>
                  </a:cxn>
                  <a:cxn ang="0">
                    <a:pos x="24" y="5"/>
                  </a:cxn>
                  <a:cxn ang="0">
                    <a:pos x="24" y="10"/>
                  </a:cxn>
                  <a:cxn ang="0">
                    <a:pos x="24" y="10"/>
                  </a:cxn>
                  <a:cxn ang="0">
                    <a:pos x="21" y="13"/>
                  </a:cxn>
                  <a:cxn ang="0">
                    <a:pos x="17" y="13"/>
                  </a:cxn>
                  <a:cxn ang="0">
                    <a:pos x="16" y="17"/>
                  </a:cxn>
                  <a:cxn ang="0">
                    <a:pos x="12" y="17"/>
                  </a:cxn>
                  <a:cxn ang="0">
                    <a:pos x="14" y="19"/>
                  </a:cxn>
                  <a:cxn ang="0">
                    <a:pos x="16" y="19"/>
                  </a:cxn>
                  <a:cxn ang="0">
                    <a:pos x="19" y="19"/>
                  </a:cxn>
                  <a:cxn ang="0">
                    <a:pos x="21" y="19"/>
                  </a:cxn>
                  <a:cxn ang="0">
                    <a:pos x="24" y="19"/>
                  </a:cxn>
                  <a:cxn ang="0">
                    <a:pos x="19" y="26"/>
                  </a:cxn>
                  <a:cxn ang="0">
                    <a:pos x="19" y="26"/>
                  </a:cxn>
                  <a:cxn ang="0">
                    <a:pos x="19" y="26"/>
                  </a:cxn>
                  <a:cxn ang="0">
                    <a:pos x="19" y="26"/>
                  </a:cxn>
                </a:cxnLst>
                <a:rect l="0" t="0" r="r" b="b"/>
                <a:pathLst>
                  <a:path w="24" h="27">
                    <a:moveTo>
                      <a:pt x="19" y="26"/>
                    </a:moveTo>
                    <a:lnTo>
                      <a:pt x="16" y="24"/>
                    </a:lnTo>
                    <a:lnTo>
                      <a:pt x="10" y="26"/>
                    </a:lnTo>
                    <a:lnTo>
                      <a:pt x="9" y="27"/>
                    </a:lnTo>
                    <a:lnTo>
                      <a:pt x="2" y="27"/>
                    </a:lnTo>
                    <a:lnTo>
                      <a:pt x="0" y="26"/>
                    </a:lnTo>
                    <a:lnTo>
                      <a:pt x="2" y="22"/>
                    </a:lnTo>
                    <a:lnTo>
                      <a:pt x="3" y="19"/>
                    </a:lnTo>
                    <a:lnTo>
                      <a:pt x="5" y="17"/>
                    </a:lnTo>
                    <a:lnTo>
                      <a:pt x="3" y="13"/>
                    </a:lnTo>
                    <a:lnTo>
                      <a:pt x="5" y="10"/>
                    </a:lnTo>
                    <a:lnTo>
                      <a:pt x="7" y="7"/>
                    </a:lnTo>
                    <a:lnTo>
                      <a:pt x="12" y="5"/>
                    </a:lnTo>
                    <a:lnTo>
                      <a:pt x="14" y="3"/>
                    </a:lnTo>
                    <a:lnTo>
                      <a:pt x="17" y="1"/>
                    </a:lnTo>
                    <a:lnTo>
                      <a:pt x="21" y="0"/>
                    </a:lnTo>
                    <a:lnTo>
                      <a:pt x="21" y="0"/>
                    </a:lnTo>
                    <a:lnTo>
                      <a:pt x="21" y="1"/>
                    </a:lnTo>
                    <a:lnTo>
                      <a:pt x="24" y="3"/>
                    </a:lnTo>
                    <a:lnTo>
                      <a:pt x="24" y="3"/>
                    </a:lnTo>
                    <a:lnTo>
                      <a:pt x="24" y="5"/>
                    </a:lnTo>
                    <a:lnTo>
                      <a:pt x="24" y="10"/>
                    </a:lnTo>
                    <a:lnTo>
                      <a:pt x="24" y="10"/>
                    </a:lnTo>
                    <a:lnTo>
                      <a:pt x="21" y="13"/>
                    </a:lnTo>
                    <a:lnTo>
                      <a:pt x="17" y="13"/>
                    </a:lnTo>
                    <a:lnTo>
                      <a:pt x="16" y="17"/>
                    </a:lnTo>
                    <a:lnTo>
                      <a:pt x="12" y="17"/>
                    </a:lnTo>
                    <a:lnTo>
                      <a:pt x="14" y="19"/>
                    </a:lnTo>
                    <a:lnTo>
                      <a:pt x="16" y="19"/>
                    </a:lnTo>
                    <a:lnTo>
                      <a:pt x="19" y="19"/>
                    </a:lnTo>
                    <a:lnTo>
                      <a:pt x="21" y="19"/>
                    </a:lnTo>
                    <a:lnTo>
                      <a:pt x="24" y="19"/>
                    </a:lnTo>
                    <a:lnTo>
                      <a:pt x="19" y="26"/>
                    </a:lnTo>
                    <a:lnTo>
                      <a:pt x="19" y="26"/>
                    </a:lnTo>
                    <a:lnTo>
                      <a:pt x="19" y="26"/>
                    </a:lnTo>
                    <a:lnTo>
                      <a:pt x="19"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1" name="Freeform 104"/>
              <p:cNvSpPr>
                <a:spLocks/>
              </p:cNvSpPr>
              <p:nvPr/>
            </p:nvSpPr>
            <p:spPr bwMode="auto">
              <a:xfrm>
                <a:off x="5568950" y="3932238"/>
                <a:ext cx="279400" cy="373063"/>
              </a:xfrm>
              <a:custGeom>
                <a:avLst/>
                <a:gdLst/>
                <a:ahLst/>
                <a:cxnLst>
                  <a:cxn ang="0">
                    <a:pos x="17" y="138"/>
                  </a:cxn>
                  <a:cxn ang="0">
                    <a:pos x="33" y="132"/>
                  </a:cxn>
                  <a:cxn ang="0">
                    <a:pos x="42" y="124"/>
                  </a:cxn>
                  <a:cxn ang="0">
                    <a:pos x="59" y="120"/>
                  </a:cxn>
                  <a:cxn ang="0">
                    <a:pos x="101" y="68"/>
                  </a:cxn>
                  <a:cxn ang="0">
                    <a:pos x="40" y="47"/>
                  </a:cxn>
                  <a:cxn ang="0">
                    <a:pos x="33" y="35"/>
                  </a:cxn>
                  <a:cxn ang="0">
                    <a:pos x="31" y="18"/>
                  </a:cxn>
                  <a:cxn ang="0">
                    <a:pos x="37" y="12"/>
                  </a:cxn>
                  <a:cxn ang="0">
                    <a:pos x="50" y="28"/>
                  </a:cxn>
                  <a:cxn ang="0">
                    <a:pos x="64" y="32"/>
                  </a:cxn>
                  <a:cxn ang="0">
                    <a:pos x="73" y="28"/>
                  </a:cxn>
                  <a:cxn ang="0">
                    <a:pos x="82" y="23"/>
                  </a:cxn>
                  <a:cxn ang="0">
                    <a:pos x="92" y="23"/>
                  </a:cxn>
                  <a:cxn ang="0">
                    <a:pos x="110" y="16"/>
                  </a:cxn>
                  <a:cxn ang="0">
                    <a:pos x="120" y="18"/>
                  </a:cxn>
                  <a:cxn ang="0">
                    <a:pos x="132" y="16"/>
                  </a:cxn>
                  <a:cxn ang="0">
                    <a:pos x="146" y="11"/>
                  </a:cxn>
                  <a:cxn ang="0">
                    <a:pos x="151" y="11"/>
                  </a:cxn>
                  <a:cxn ang="0">
                    <a:pos x="162" y="7"/>
                  </a:cxn>
                  <a:cxn ang="0">
                    <a:pos x="163" y="2"/>
                  </a:cxn>
                  <a:cxn ang="0">
                    <a:pos x="167" y="2"/>
                  </a:cxn>
                  <a:cxn ang="0">
                    <a:pos x="176" y="4"/>
                  </a:cxn>
                  <a:cxn ang="0">
                    <a:pos x="170" y="12"/>
                  </a:cxn>
                  <a:cxn ang="0">
                    <a:pos x="174" y="16"/>
                  </a:cxn>
                  <a:cxn ang="0">
                    <a:pos x="170" y="23"/>
                  </a:cxn>
                  <a:cxn ang="0">
                    <a:pos x="170" y="32"/>
                  </a:cxn>
                  <a:cxn ang="0">
                    <a:pos x="176" y="28"/>
                  </a:cxn>
                  <a:cxn ang="0">
                    <a:pos x="174" y="32"/>
                  </a:cxn>
                  <a:cxn ang="0">
                    <a:pos x="169" y="35"/>
                  </a:cxn>
                  <a:cxn ang="0">
                    <a:pos x="167" y="44"/>
                  </a:cxn>
                  <a:cxn ang="0">
                    <a:pos x="156" y="65"/>
                  </a:cxn>
                  <a:cxn ang="0">
                    <a:pos x="151" y="72"/>
                  </a:cxn>
                  <a:cxn ang="0">
                    <a:pos x="148" y="78"/>
                  </a:cxn>
                  <a:cxn ang="0">
                    <a:pos x="132" y="112"/>
                  </a:cxn>
                  <a:cxn ang="0">
                    <a:pos x="120" y="134"/>
                  </a:cxn>
                  <a:cxn ang="0">
                    <a:pos x="87" y="167"/>
                  </a:cxn>
                  <a:cxn ang="0">
                    <a:pos x="68" y="179"/>
                  </a:cxn>
                  <a:cxn ang="0">
                    <a:pos x="47" y="197"/>
                  </a:cxn>
                  <a:cxn ang="0">
                    <a:pos x="33" y="211"/>
                  </a:cxn>
                  <a:cxn ang="0">
                    <a:pos x="26" y="218"/>
                  </a:cxn>
                  <a:cxn ang="0">
                    <a:pos x="0" y="225"/>
                  </a:cxn>
                  <a:cxn ang="0">
                    <a:pos x="16" y="141"/>
                  </a:cxn>
                </a:cxnLst>
                <a:rect l="0" t="0" r="r" b="b"/>
                <a:pathLst>
                  <a:path w="176" h="235">
                    <a:moveTo>
                      <a:pt x="16" y="141"/>
                    </a:moveTo>
                    <a:lnTo>
                      <a:pt x="16" y="141"/>
                    </a:lnTo>
                    <a:lnTo>
                      <a:pt x="17" y="138"/>
                    </a:lnTo>
                    <a:lnTo>
                      <a:pt x="23" y="136"/>
                    </a:lnTo>
                    <a:lnTo>
                      <a:pt x="28" y="134"/>
                    </a:lnTo>
                    <a:lnTo>
                      <a:pt x="33" y="132"/>
                    </a:lnTo>
                    <a:lnTo>
                      <a:pt x="37" y="131"/>
                    </a:lnTo>
                    <a:lnTo>
                      <a:pt x="37" y="125"/>
                    </a:lnTo>
                    <a:lnTo>
                      <a:pt x="42" y="124"/>
                    </a:lnTo>
                    <a:lnTo>
                      <a:pt x="45" y="124"/>
                    </a:lnTo>
                    <a:lnTo>
                      <a:pt x="49" y="124"/>
                    </a:lnTo>
                    <a:lnTo>
                      <a:pt x="59" y="120"/>
                    </a:lnTo>
                    <a:lnTo>
                      <a:pt x="70" y="124"/>
                    </a:lnTo>
                    <a:lnTo>
                      <a:pt x="123" y="68"/>
                    </a:lnTo>
                    <a:lnTo>
                      <a:pt x="101" y="68"/>
                    </a:lnTo>
                    <a:lnTo>
                      <a:pt x="50" y="54"/>
                    </a:lnTo>
                    <a:lnTo>
                      <a:pt x="45" y="51"/>
                    </a:lnTo>
                    <a:lnTo>
                      <a:pt x="40" y="47"/>
                    </a:lnTo>
                    <a:lnTo>
                      <a:pt x="37" y="44"/>
                    </a:lnTo>
                    <a:lnTo>
                      <a:pt x="38" y="39"/>
                    </a:lnTo>
                    <a:lnTo>
                      <a:pt x="33" y="35"/>
                    </a:lnTo>
                    <a:lnTo>
                      <a:pt x="31" y="28"/>
                    </a:lnTo>
                    <a:lnTo>
                      <a:pt x="28" y="19"/>
                    </a:lnTo>
                    <a:lnTo>
                      <a:pt x="31" y="18"/>
                    </a:lnTo>
                    <a:lnTo>
                      <a:pt x="37" y="9"/>
                    </a:lnTo>
                    <a:lnTo>
                      <a:pt x="37" y="12"/>
                    </a:lnTo>
                    <a:lnTo>
                      <a:pt x="37" y="12"/>
                    </a:lnTo>
                    <a:lnTo>
                      <a:pt x="47" y="23"/>
                    </a:lnTo>
                    <a:lnTo>
                      <a:pt x="49" y="25"/>
                    </a:lnTo>
                    <a:lnTo>
                      <a:pt x="50" y="28"/>
                    </a:lnTo>
                    <a:lnTo>
                      <a:pt x="56" y="32"/>
                    </a:lnTo>
                    <a:lnTo>
                      <a:pt x="59" y="32"/>
                    </a:lnTo>
                    <a:lnTo>
                      <a:pt x="64" y="32"/>
                    </a:lnTo>
                    <a:lnTo>
                      <a:pt x="64" y="28"/>
                    </a:lnTo>
                    <a:lnTo>
                      <a:pt x="70" y="28"/>
                    </a:lnTo>
                    <a:lnTo>
                      <a:pt x="73" y="28"/>
                    </a:lnTo>
                    <a:lnTo>
                      <a:pt x="78" y="23"/>
                    </a:lnTo>
                    <a:lnTo>
                      <a:pt x="80" y="23"/>
                    </a:lnTo>
                    <a:lnTo>
                      <a:pt x="82" y="23"/>
                    </a:lnTo>
                    <a:lnTo>
                      <a:pt x="87" y="23"/>
                    </a:lnTo>
                    <a:lnTo>
                      <a:pt x="87" y="23"/>
                    </a:lnTo>
                    <a:lnTo>
                      <a:pt x="92" y="23"/>
                    </a:lnTo>
                    <a:lnTo>
                      <a:pt x="96" y="23"/>
                    </a:lnTo>
                    <a:lnTo>
                      <a:pt x="106" y="16"/>
                    </a:lnTo>
                    <a:lnTo>
                      <a:pt x="110" y="16"/>
                    </a:lnTo>
                    <a:lnTo>
                      <a:pt x="113" y="18"/>
                    </a:lnTo>
                    <a:lnTo>
                      <a:pt x="115" y="16"/>
                    </a:lnTo>
                    <a:lnTo>
                      <a:pt x="120" y="18"/>
                    </a:lnTo>
                    <a:lnTo>
                      <a:pt x="125" y="14"/>
                    </a:lnTo>
                    <a:lnTo>
                      <a:pt x="130" y="14"/>
                    </a:lnTo>
                    <a:lnTo>
                      <a:pt x="132" y="16"/>
                    </a:lnTo>
                    <a:lnTo>
                      <a:pt x="134" y="16"/>
                    </a:lnTo>
                    <a:lnTo>
                      <a:pt x="143" y="14"/>
                    </a:lnTo>
                    <a:lnTo>
                      <a:pt x="146" y="11"/>
                    </a:lnTo>
                    <a:lnTo>
                      <a:pt x="151" y="11"/>
                    </a:lnTo>
                    <a:lnTo>
                      <a:pt x="151" y="11"/>
                    </a:lnTo>
                    <a:lnTo>
                      <a:pt x="151" y="11"/>
                    </a:lnTo>
                    <a:lnTo>
                      <a:pt x="156" y="9"/>
                    </a:lnTo>
                    <a:lnTo>
                      <a:pt x="160" y="5"/>
                    </a:lnTo>
                    <a:lnTo>
                      <a:pt x="162" y="7"/>
                    </a:lnTo>
                    <a:lnTo>
                      <a:pt x="162" y="4"/>
                    </a:lnTo>
                    <a:lnTo>
                      <a:pt x="162" y="4"/>
                    </a:lnTo>
                    <a:lnTo>
                      <a:pt x="163" y="2"/>
                    </a:lnTo>
                    <a:lnTo>
                      <a:pt x="165" y="2"/>
                    </a:lnTo>
                    <a:lnTo>
                      <a:pt x="165" y="0"/>
                    </a:lnTo>
                    <a:lnTo>
                      <a:pt x="167" y="2"/>
                    </a:lnTo>
                    <a:lnTo>
                      <a:pt x="170" y="4"/>
                    </a:lnTo>
                    <a:lnTo>
                      <a:pt x="174" y="4"/>
                    </a:lnTo>
                    <a:lnTo>
                      <a:pt x="176" y="4"/>
                    </a:lnTo>
                    <a:lnTo>
                      <a:pt x="174" y="7"/>
                    </a:lnTo>
                    <a:lnTo>
                      <a:pt x="170" y="9"/>
                    </a:lnTo>
                    <a:lnTo>
                      <a:pt x="170" y="12"/>
                    </a:lnTo>
                    <a:lnTo>
                      <a:pt x="170" y="14"/>
                    </a:lnTo>
                    <a:lnTo>
                      <a:pt x="170" y="16"/>
                    </a:lnTo>
                    <a:lnTo>
                      <a:pt x="174" y="16"/>
                    </a:lnTo>
                    <a:lnTo>
                      <a:pt x="174" y="18"/>
                    </a:lnTo>
                    <a:lnTo>
                      <a:pt x="170" y="19"/>
                    </a:lnTo>
                    <a:lnTo>
                      <a:pt x="170" y="23"/>
                    </a:lnTo>
                    <a:lnTo>
                      <a:pt x="170" y="23"/>
                    </a:lnTo>
                    <a:lnTo>
                      <a:pt x="174" y="28"/>
                    </a:lnTo>
                    <a:lnTo>
                      <a:pt x="170" y="32"/>
                    </a:lnTo>
                    <a:lnTo>
                      <a:pt x="174" y="28"/>
                    </a:lnTo>
                    <a:lnTo>
                      <a:pt x="174" y="28"/>
                    </a:lnTo>
                    <a:lnTo>
                      <a:pt x="176" y="28"/>
                    </a:lnTo>
                    <a:lnTo>
                      <a:pt x="176" y="32"/>
                    </a:lnTo>
                    <a:lnTo>
                      <a:pt x="176" y="32"/>
                    </a:lnTo>
                    <a:lnTo>
                      <a:pt x="174" y="32"/>
                    </a:lnTo>
                    <a:lnTo>
                      <a:pt x="170" y="32"/>
                    </a:lnTo>
                    <a:lnTo>
                      <a:pt x="170" y="32"/>
                    </a:lnTo>
                    <a:lnTo>
                      <a:pt x="169" y="35"/>
                    </a:lnTo>
                    <a:lnTo>
                      <a:pt x="169" y="37"/>
                    </a:lnTo>
                    <a:lnTo>
                      <a:pt x="169" y="42"/>
                    </a:lnTo>
                    <a:lnTo>
                      <a:pt x="167" y="44"/>
                    </a:lnTo>
                    <a:lnTo>
                      <a:pt x="169" y="47"/>
                    </a:lnTo>
                    <a:lnTo>
                      <a:pt x="162" y="56"/>
                    </a:lnTo>
                    <a:lnTo>
                      <a:pt x="156" y="65"/>
                    </a:lnTo>
                    <a:lnTo>
                      <a:pt x="155" y="68"/>
                    </a:lnTo>
                    <a:lnTo>
                      <a:pt x="153" y="68"/>
                    </a:lnTo>
                    <a:lnTo>
                      <a:pt x="151" y="72"/>
                    </a:lnTo>
                    <a:lnTo>
                      <a:pt x="151" y="73"/>
                    </a:lnTo>
                    <a:lnTo>
                      <a:pt x="151" y="77"/>
                    </a:lnTo>
                    <a:lnTo>
                      <a:pt x="148" y="78"/>
                    </a:lnTo>
                    <a:lnTo>
                      <a:pt x="139" y="96"/>
                    </a:lnTo>
                    <a:lnTo>
                      <a:pt x="139" y="103"/>
                    </a:lnTo>
                    <a:lnTo>
                      <a:pt x="132" y="112"/>
                    </a:lnTo>
                    <a:lnTo>
                      <a:pt x="132" y="115"/>
                    </a:lnTo>
                    <a:lnTo>
                      <a:pt x="120" y="129"/>
                    </a:lnTo>
                    <a:lnTo>
                      <a:pt x="120" y="134"/>
                    </a:lnTo>
                    <a:lnTo>
                      <a:pt x="115" y="139"/>
                    </a:lnTo>
                    <a:lnTo>
                      <a:pt x="106" y="152"/>
                    </a:lnTo>
                    <a:lnTo>
                      <a:pt x="87" y="167"/>
                    </a:lnTo>
                    <a:lnTo>
                      <a:pt x="78" y="174"/>
                    </a:lnTo>
                    <a:lnTo>
                      <a:pt x="73" y="176"/>
                    </a:lnTo>
                    <a:lnTo>
                      <a:pt x="68" y="179"/>
                    </a:lnTo>
                    <a:lnTo>
                      <a:pt x="61" y="185"/>
                    </a:lnTo>
                    <a:lnTo>
                      <a:pt x="50" y="195"/>
                    </a:lnTo>
                    <a:lnTo>
                      <a:pt x="47" y="197"/>
                    </a:lnTo>
                    <a:lnTo>
                      <a:pt x="37" y="207"/>
                    </a:lnTo>
                    <a:lnTo>
                      <a:pt x="37" y="209"/>
                    </a:lnTo>
                    <a:lnTo>
                      <a:pt x="33" y="211"/>
                    </a:lnTo>
                    <a:lnTo>
                      <a:pt x="31" y="212"/>
                    </a:lnTo>
                    <a:lnTo>
                      <a:pt x="28" y="216"/>
                    </a:lnTo>
                    <a:lnTo>
                      <a:pt x="26" y="218"/>
                    </a:lnTo>
                    <a:lnTo>
                      <a:pt x="12" y="235"/>
                    </a:lnTo>
                    <a:lnTo>
                      <a:pt x="11" y="235"/>
                    </a:lnTo>
                    <a:lnTo>
                      <a:pt x="0" y="225"/>
                    </a:lnTo>
                    <a:lnTo>
                      <a:pt x="0" y="157"/>
                    </a:lnTo>
                    <a:lnTo>
                      <a:pt x="16" y="141"/>
                    </a:lnTo>
                    <a:lnTo>
                      <a:pt x="16" y="141"/>
                    </a:lnTo>
                    <a:lnTo>
                      <a:pt x="16" y="141"/>
                    </a:lnTo>
                    <a:lnTo>
                      <a:pt x="16" y="14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2" name="Freeform 105"/>
              <p:cNvSpPr>
                <a:spLocks noEditPoints="1"/>
              </p:cNvSpPr>
              <p:nvPr/>
            </p:nvSpPr>
            <p:spPr bwMode="auto">
              <a:xfrm>
                <a:off x="5311775" y="4111626"/>
                <a:ext cx="287338" cy="279400"/>
              </a:xfrm>
              <a:custGeom>
                <a:avLst/>
                <a:gdLst/>
                <a:ahLst/>
                <a:cxnLst>
                  <a:cxn ang="0">
                    <a:pos x="47" y="21"/>
                  </a:cxn>
                  <a:cxn ang="0">
                    <a:pos x="51" y="18"/>
                  </a:cxn>
                  <a:cxn ang="0">
                    <a:pos x="56" y="16"/>
                  </a:cxn>
                  <a:cxn ang="0">
                    <a:pos x="67" y="0"/>
                  </a:cxn>
                  <a:cxn ang="0">
                    <a:pos x="72" y="4"/>
                  </a:cxn>
                  <a:cxn ang="0">
                    <a:pos x="75" y="12"/>
                  </a:cxn>
                  <a:cxn ang="0">
                    <a:pos x="80" y="18"/>
                  </a:cxn>
                  <a:cxn ang="0">
                    <a:pos x="87" y="18"/>
                  </a:cxn>
                  <a:cxn ang="0">
                    <a:pos x="101" y="21"/>
                  </a:cxn>
                  <a:cxn ang="0">
                    <a:pos x="112" y="30"/>
                  </a:cxn>
                  <a:cxn ang="0">
                    <a:pos x="117" y="33"/>
                  </a:cxn>
                  <a:cxn ang="0">
                    <a:pos x="127" y="35"/>
                  </a:cxn>
                  <a:cxn ang="0">
                    <a:pos x="136" y="35"/>
                  </a:cxn>
                  <a:cxn ang="0">
                    <a:pos x="139" y="35"/>
                  </a:cxn>
                  <a:cxn ang="0">
                    <a:pos x="146" y="26"/>
                  </a:cxn>
                  <a:cxn ang="0">
                    <a:pos x="153" y="25"/>
                  </a:cxn>
                  <a:cxn ang="0">
                    <a:pos x="164" y="21"/>
                  </a:cxn>
                  <a:cxn ang="0">
                    <a:pos x="167" y="28"/>
                  </a:cxn>
                  <a:cxn ang="0">
                    <a:pos x="176" y="28"/>
                  </a:cxn>
                  <a:cxn ang="0">
                    <a:pos x="166" y="44"/>
                  </a:cxn>
                  <a:cxn ang="0">
                    <a:pos x="176" y="122"/>
                  </a:cxn>
                  <a:cxn ang="0">
                    <a:pos x="171" y="131"/>
                  </a:cxn>
                  <a:cxn ang="0">
                    <a:pos x="169" y="134"/>
                  </a:cxn>
                  <a:cxn ang="0">
                    <a:pos x="164" y="136"/>
                  </a:cxn>
                  <a:cxn ang="0">
                    <a:pos x="155" y="141"/>
                  </a:cxn>
                  <a:cxn ang="0">
                    <a:pos x="152" y="143"/>
                  </a:cxn>
                  <a:cxn ang="0">
                    <a:pos x="152" y="148"/>
                  </a:cxn>
                  <a:cxn ang="0">
                    <a:pos x="148" y="153"/>
                  </a:cxn>
                  <a:cxn ang="0">
                    <a:pos x="145" y="162"/>
                  </a:cxn>
                  <a:cxn ang="0">
                    <a:pos x="138" y="172"/>
                  </a:cxn>
                  <a:cxn ang="0">
                    <a:pos x="133" y="176"/>
                  </a:cxn>
                  <a:cxn ang="0">
                    <a:pos x="110" y="159"/>
                  </a:cxn>
                  <a:cxn ang="0">
                    <a:pos x="110" y="157"/>
                  </a:cxn>
                  <a:cxn ang="0">
                    <a:pos x="42" y="113"/>
                  </a:cxn>
                  <a:cxn ang="0">
                    <a:pos x="42" y="98"/>
                  </a:cxn>
                  <a:cxn ang="0">
                    <a:pos x="46" y="89"/>
                  </a:cxn>
                  <a:cxn ang="0">
                    <a:pos x="51" y="82"/>
                  </a:cxn>
                  <a:cxn ang="0">
                    <a:pos x="53" y="77"/>
                  </a:cxn>
                  <a:cxn ang="0">
                    <a:pos x="60" y="75"/>
                  </a:cxn>
                  <a:cxn ang="0">
                    <a:pos x="61" y="70"/>
                  </a:cxn>
                  <a:cxn ang="0">
                    <a:pos x="65" y="61"/>
                  </a:cxn>
                  <a:cxn ang="0">
                    <a:pos x="61" y="54"/>
                  </a:cxn>
                  <a:cxn ang="0">
                    <a:pos x="61" y="52"/>
                  </a:cxn>
                  <a:cxn ang="0">
                    <a:pos x="56" y="44"/>
                  </a:cxn>
                  <a:cxn ang="0">
                    <a:pos x="53" y="39"/>
                  </a:cxn>
                  <a:cxn ang="0">
                    <a:pos x="51" y="33"/>
                  </a:cxn>
                  <a:cxn ang="0">
                    <a:pos x="47" y="30"/>
                  </a:cxn>
                  <a:cxn ang="0">
                    <a:pos x="46" y="23"/>
                  </a:cxn>
                  <a:cxn ang="0">
                    <a:pos x="46" y="23"/>
                  </a:cxn>
                  <a:cxn ang="0">
                    <a:pos x="46" y="23"/>
                  </a:cxn>
                  <a:cxn ang="0">
                    <a:pos x="0" y="115"/>
                  </a:cxn>
                  <a:cxn ang="0">
                    <a:pos x="14" y="115"/>
                  </a:cxn>
                  <a:cxn ang="0">
                    <a:pos x="0" y="115"/>
                  </a:cxn>
                  <a:cxn ang="0">
                    <a:pos x="0" y="115"/>
                  </a:cxn>
                </a:cxnLst>
                <a:rect l="0" t="0" r="r" b="b"/>
                <a:pathLst>
                  <a:path w="181" h="176">
                    <a:moveTo>
                      <a:pt x="46" y="23"/>
                    </a:moveTo>
                    <a:lnTo>
                      <a:pt x="47" y="21"/>
                    </a:lnTo>
                    <a:lnTo>
                      <a:pt x="47" y="21"/>
                    </a:lnTo>
                    <a:lnTo>
                      <a:pt x="51" y="18"/>
                    </a:lnTo>
                    <a:lnTo>
                      <a:pt x="53" y="16"/>
                    </a:lnTo>
                    <a:lnTo>
                      <a:pt x="56" y="16"/>
                    </a:lnTo>
                    <a:lnTo>
                      <a:pt x="60" y="9"/>
                    </a:lnTo>
                    <a:lnTo>
                      <a:pt x="67" y="0"/>
                    </a:lnTo>
                    <a:lnTo>
                      <a:pt x="68" y="4"/>
                    </a:lnTo>
                    <a:lnTo>
                      <a:pt x="72" y="4"/>
                    </a:lnTo>
                    <a:lnTo>
                      <a:pt x="75" y="4"/>
                    </a:lnTo>
                    <a:lnTo>
                      <a:pt x="75" y="12"/>
                    </a:lnTo>
                    <a:lnTo>
                      <a:pt x="75" y="18"/>
                    </a:lnTo>
                    <a:lnTo>
                      <a:pt x="80" y="18"/>
                    </a:lnTo>
                    <a:lnTo>
                      <a:pt x="84" y="16"/>
                    </a:lnTo>
                    <a:lnTo>
                      <a:pt x="87" y="18"/>
                    </a:lnTo>
                    <a:lnTo>
                      <a:pt x="98" y="16"/>
                    </a:lnTo>
                    <a:lnTo>
                      <a:pt x="101" y="21"/>
                    </a:lnTo>
                    <a:lnTo>
                      <a:pt x="108" y="26"/>
                    </a:lnTo>
                    <a:lnTo>
                      <a:pt x="112" y="30"/>
                    </a:lnTo>
                    <a:lnTo>
                      <a:pt x="115" y="33"/>
                    </a:lnTo>
                    <a:lnTo>
                      <a:pt x="117" y="33"/>
                    </a:lnTo>
                    <a:lnTo>
                      <a:pt x="124" y="33"/>
                    </a:lnTo>
                    <a:lnTo>
                      <a:pt x="127" y="35"/>
                    </a:lnTo>
                    <a:lnTo>
                      <a:pt x="133" y="35"/>
                    </a:lnTo>
                    <a:lnTo>
                      <a:pt x="136" y="35"/>
                    </a:lnTo>
                    <a:lnTo>
                      <a:pt x="138" y="35"/>
                    </a:lnTo>
                    <a:lnTo>
                      <a:pt x="139" y="35"/>
                    </a:lnTo>
                    <a:lnTo>
                      <a:pt x="145" y="28"/>
                    </a:lnTo>
                    <a:lnTo>
                      <a:pt x="146" y="26"/>
                    </a:lnTo>
                    <a:lnTo>
                      <a:pt x="152" y="25"/>
                    </a:lnTo>
                    <a:lnTo>
                      <a:pt x="153" y="25"/>
                    </a:lnTo>
                    <a:lnTo>
                      <a:pt x="155" y="23"/>
                    </a:lnTo>
                    <a:lnTo>
                      <a:pt x="164" y="21"/>
                    </a:lnTo>
                    <a:lnTo>
                      <a:pt x="166" y="23"/>
                    </a:lnTo>
                    <a:lnTo>
                      <a:pt x="167" y="28"/>
                    </a:lnTo>
                    <a:lnTo>
                      <a:pt x="171" y="30"/>
                    </a:lnTo>
                    <a:lnTo>
                      <a:pt x="176" y="28"/>
                    </a:lnTo>
                    <a:lnTo>
                      <a:pt x="181" y="28"/>
                    </a:lnTo>
                    <a:lnTo>
                      <a:pt x="166" y="44"/>
                    </a:lnTo>
                    <a:lnTo>
                      <a:pt x="166" y="112"/>
                    </a:lnTo>
                    <a:lnTo>
                      <a:pt x="176" y="122"/>
                    </a:lnTo>
                    <a:lnTo>
                      <a:pt x="176" y="122"/>
                    </a:lnTo>
                    <a:lnTo>
                      <a:pt x="171" y="131"/>
                    </a:lnTo>
                    <a:lnTo>
                      <a:pt x="171" y="131"/>
                    </a:lnTo>
                    <a:lnTo>
                      <a:pt x="169" y="134"/>
                    </a:lnTo>
                    <a:lnTo>
                      <a:pt x="169" y="134"/>
                    </a:lnTo>
                    <a:lnTo>
                      <a:pt x="164" y="136"/>
                    </a:lnTo>
                    <a:lnTo>
                      <a:pt x="160" y="141"/>
                    </a:lnTo>
                    <a:lnTo>
                      <a:pt x="155" y="141"/>
                    </a:lnTo>
                    <a:lnTo>
                      <a:pt x="153" y="141"/>
                    </a:lnTo>
                    <a:lnTo>
                      <a:pt x="152" y="143"/>
                    </a:lnTo>
                    <a:lnTo>
                      <a:pt x="152" y="146"/>
                    </a:lnTo>
                    <a:lnTo>
                      <a:pt x="152" y="148"/>
                    </a:lnTo>
                    <a:lnTo>
                      <a:pt x="152" y="148"/>
                    </a:lnTo>
                    <a:lnTo>
                      <a:pt x="148" y="153"/>
                    </a:lnTo>
                    <a:lnTo>
                      <a:pt x="145" y="157"/>
                    </a:lnTo>
                    <a:lnTo>
                      <a:pt x="145" y="162"/>
                    </a:lnTo>
                    <a:lnTo>
                      <a:pt x="143" y="165"/>
                    </a:lnTo>
                    <a:lnTo>
                      <a:pt x="138" y="172"/>
                    </a:lnTo>
                    <a:lnTo>
                      <a:pt x="133" y="176"/>
                    </a:lnTo>
                    <a:lnTo>
                      <a:pt x="133" y="176"/>
                    </a:lnTo>
                    <a:lnTo>
                      <a:pt x="112" y="162"/>
                    </a:lnTo>
                    <a:lnTo>
                      <a:pt x="110" y="159"/>
                    </a:lnTo>
                    <a:lnTo>
                      <a:pt x="108" y="157"/>
                    </a:lnTo>
                    <a:lnTo>
                      <a:pt x="110" y="157"/>
                    </a:lnTo>
                    <a:lnTo>
                      <a:pt x="106" y="150"/>
                    </a:lnTo>
                    <a:lnTo>
                      <a:pt x="42" y="113"/>
                    </a:lnTo>
                    <a:lnTo>
                      <a:pt x="37" y="113"/>
                    </a:lnTo>
                    <a:lnTo>
                      <a:pt x="42" y="98"/>
                    </a:lnTo>
                    <a:lnTo>
                      <a:pt x="42" y="92"/>
                    </a:lnTo>
                    <a:lnTo>
                      <a:pt x="46" y="89"/>
                    </a:lnTo>
                    <a:lnTo>
                      <a:pt x="47" y="84"/>
                    </a:lnTo>
                    <a:lnTo>
                      <a:pt x="51" y="82"/>
                    </a:lnTo>
                    <a:lnTo>
                      <a:pt x="53" y="79"/>
                    </a:lnTo>
                    <a:lnTo>
                      <a:pt x="53" y="77"/>
                    </a:lnTo>
                    <a:lnTo>
                      <a:pt x="53" y="75"/>
                    </a:lnTo>
                    <a:lnTo>
                      <a:pt x="60" y="75"/>
                    </a:lnTo>
                    <a:lnTo>
                      <a:pt x="61" y="72"/>
                    </a:lnTo>
                    <a:lnTo>
                      <a:pt x="61" y="70"/>
                    </a:lnTo>
                    <a:lnTo>
                      <a:pt x="65" y="63"/>
                    </a:lnTo>
                    <a:lnTo>
                      <a:pt x="65" y="61"/>
                    </a:lnTo>
                    <a:lnTo>
                      <a:pt x="65" y="58"/>
                    </a:lnTo>
                    <a:lnTo>
                      <a:pt x="61" y="54"/>
                    </a:lnTo>
                    <a:lnTo>
                      <a:pt x="63" y="52"/>
                    </a:lnTo>
                    <a:lnTo>
                      <a:pt x="61" y="52"/>
                    </a:lnTo>
                    <a:lnTo>
                      <a:pt x="58" y="49"/>
                    </a:lnTo>
                    <a:lnTo>
                      <a:pt x="56" y="44"/>
                    </a:lnTo>
                    <a:lnTo>
                      <a:pt x="53" y="40"/>
                    </a:lnTo>
                    <a:lnTo>
                      <a:pt x="53" y="39"/>
                    </a:lnTo>
                    <a:lnTo>
                      <a:pt x="53" y="35"/>
                    </a:lnTo>
                    <a:lnTo>
                      <a:pt x="51" y="33"/>
                    </a:lnTo>
                    <a:lnTo>
                      <a:pt x="51" y="30"/>
                    </a:lnTo>
                    <a:lnTo>
                      <a:pt x="47" y="30"/>
                    </a:lnTo>
                    <a:lnTo>
                      <a:pt x="47" y="25"/>
                    </a:lnTo>
                    <a:lnTo>
                      <a:pt x="46" y="23"/>
                    </a:lnTo>
                    <a:lnTo>
                      <a:pt x="46" y="23"/>
                    </a:lnTo>
                    <a:lnTo>
                      <a:pt x="46" y="23"/>
                    </a:lnTo>
                    <a:lnTo>
                      <a:pt x="46" y="23"/>
                    </a:lnTo>
                    <a:lnTo>
                      <a:pt x="46" y="23"/>
                    </a:lnTo>
                    <a:lnTo>
                      <a:pt x="46" y="23"/>
                    </a:lnTo>
                    <a:close/>
                    <a:moveTo>
                      <a:pt x="0" y="115"/>
                    </a:moveTo>
                    <a:lnTo>
                      <a:pt x="7" y="115"/>
                    </a:lnTo>
                    <a:lnTo>
                      <a:pt x="14" y="115"/>
                    </a:lnTo>
                    <a:lnTo>
                      <a:pt x="0" y="115"/>
                    </a:lnTo>
                    <a:lnTo>
                      <a:pt x="0" y="115"/>
                    </a:lnTo>
                    <a:lnTo>
                      <a:pt x="0" y="115"/>
                    </a:lnTo>
                    <a:lnTo>
                      <a:pt x="0" y="1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3" name="Freeform 106"/>
              <p:cNvSpPr>
                <a:spLocks/>
              </p:cNvSpPr>
              <p:nvPr/>
            </p:nvSpPr>
            <p:spPr bwMode="auto">
              <a:xfrm>
                <a:off x="5251450" y="4151313"/>
                <a:ext cx="163513" cy="153988"/>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4" name="Freeform 107"/>
              <p:cNvSpPr>
                <a:spLocks/>
              </p:cNvSpPr>
              <p:nvPr/>
            </p:nvSpPr>
            <p:spPr bwMode="auto">
              <a:xfrm>
                <a:off x="5251450" y="4151313"/>
                <a:ext cx="163513" cy="153988"/>
              </a:xfrm>
              <a:custGeom>
                <a:avLst/>
                <a:gdLst/>
                <a:ahLst/>
                <a:cxnLst>
                  <a:cxn ang="0">
                    <a:pos x="78" y="69"/>
                  </a:cxn>
                  <a:cxn ang="0">
                    <a:pos x="85" y="60"/>
                  </a:cxn>
                  <a:cxn ang="0">
                    <a:pos x="89" y="55"/>
                  </a:cxn>
                  <a:cxn ang="0">
                    <a:pos x="91" y="52"/>
                  </a:cxn>
                  <a:cxn ang="0">
                    <a:pos x="99" y="47"/>
                  </a:cxn>
                  <a:cxn ang="0">
                    <a:pos x="103" y="40"/>
                  </a:cxn>
                  <a:cxn ang="0">
                    <a:pos x="103" y="34"/>
                  </a:cxn>
                  <a:cxn ang="0">
                    <a:pos x="101" y="29"/>
                  </a:cxn>
                  <a:cxn ang="0">
                    <a:pos x="94" y="26"/>
                  </a:cxn>
                  <a:cxn ang="0">
                    <a:pos x="91" y="17"/>
                  </a:cxn>
                  <a:cxn ang="0">
                    <a:pos x="89" y="12"/>
                  </a:cxn>
                  <a:cxn ang="0">
                    <a:pos x="87" y="7"/>
                  </a:cxn>
                  <a:cxn ang="0">
                    <a:pos x="84" y="1"/>
                  </a:cxn>
                  <a:cxn ang="0">
                    <a:pos x="78" y="3"/>
                  </a:cxn>
                  <a:cxn ang="0">
                    <a:pos x="71" y="7"/>
                  </a:cxn>
                  <a:cxn ang="0">
                    <a:pos x="61" y="7"/>
                  </a:cxn>
                  <a:cxn ang="0">
                    <a:pos x="56" y="8"/>
                  </a:cxn>
                  <a:cxn ang="0">
                    <a:pos x="52" y="8"/>
                  </a:cxn>
                  <a:cxn ang="0">
                    <a:pos x="49" y="12"/>
                  </a:cxn>
                  <a:cxn ang="0">
                    <a:pos x="44" y="12"/>
                  </a:cxn>
                  <a:cxn ang="0">
                    <a:pos x="40" y="8"/>
                  </a:cxn>
                  <a:cxn ang="0">
                    <a:pos x="32" y="8"/>
                  </a:cxn>
                  <a:cxn ang="0">
                    <a:pos x="26" y="8"/>
                  </a:cxn>
                  <a:cxn ang="0">
                    <a:pos x="26" y="12"/>
                  </a:cxn>
                  <a:cxn ang="0">
                    <a:pos x="26" y="12"/>
                  </a:cxn>
                  <a:cxn ang="0">
                    <a:pos x="25" y="17"/>
                  </a:cxn>
                  <a:cxn ang="0">
                    <a:pos x="23" y="29"/>
                  </a:cxn>
                  <a:cxn ang="0">
                    <a:pos x="25" y="34"/>
                  </a:cxn>
                  <a:cxn ang="0">
                    <a:pos x="28" y="38"/>
                  </a:cxn>
                  <a:cxn ang="0">
                    <a:pos x="19" y="52"/>
                  </a:cxn>
                  <a:cxn ang="0">
                    <a:pos x="12" y="60"/>
                  </a:cxn>
                  <a:cxn ang="0">
                    <a:pos x="4" y="74"/>
                  </a:cxn>
                  <a:cxn ang="0">
                    <a:pos x="4" y="85"/>
                  </a:cxn>
                  <a:cxn ang="0">
                    <a:pos x="2" y="95"/>
                  </a:cxn>
                  <a:cxn ang="0">
                    <a:pos x="2" y="97"/>
                  </a:cxn>
                  <a:cxn ang="0">
                    <a:pos x="5" y="94"/>
                  </a:cxn>
                  <a:cxn ang="0">
                    <a:pos x="11" y="95"/>
                  </a:cxn>
                  <a:cxn ang="0">
                    <a:pos x="14" y="95"/>
                  </a:cxn>
                  <a:cxn ang="0">
                    <a:pos x="18" y="92"/>
                  </a:cxn>
                  <a:cxn ang="0">
                    <a:pos x="19" y="92"/>
                  </a:cxn>
                  <a:cxn ang="0">
                    <a:pos x="23" y="92"/>
                  </a:cxn>
                  <a:cxn ang="0">
                    <a:pos x="37" y="92"/>
                  </a:cxn>
                  <a:cxn ang="0">
                    <a:pos x="73" y="88"/>
                  </a:cxn>
                  <a:cxn ang="0">
                    <a:pos x="78" y="73"/>
                  </a:cxn>
                </a:cxnLst>
                <a:rect l="0" t="0" r="r" b="b"/>
                <a:pathLst>
                  <a:path w="103" h="97">
                    <a:moveTo>
                      <a:pt x="78" y="73"/>
                    </a:moveTo>
                    <a:lnTo>
                      <a:pt x="78" y="69"/>
                    </a:lnTo>
                    <a:lnTo>
                      <a:pt x="82" y="64"/>
                    </a:lnTo>
                    <a:lnTo>
                      <a:pt x="85" y="60"/>
                    </a:lnTo>
                    <a:lnTo>
                      <a:pt x="87" y="57"/>
                    </a:lnTo>
                    <a:lnTo>
                      <a:pt x="89" y="55"/>
                    </a:lnTo>
                    <a:lnTo>
                      <a:pt x="91" y="54"/>
                    </a:lnTo>
                    <a:lnTo>
                      <a:pt x="91" y="52"/>
                    </a:lnTo>
                    <a:lnTo>
                      <a:pt x="98" y="52"/>
                    </a:lnTo>
                    <a:lnTo>
                      <a:pt x="99" y="47"/>
                    </a:lnTo>
                    <a:lnTo>
                      <a:pt x="99" y="45"/>
                    </a:lnTo>
                    <a:lnTo>
                      <a:pt x="103" y="40"/>
                    </a:lnTo>
                    <a:lnTo>
                      <a:pt x="103" y="38"/>
                    </a:lnTo>
                    <a:lnTo>
                      <a:pt x="103" y="34"/>
                    </a:lnTo>
                    <a:lnTo>
                      <a:pt x="99" y="31"/>
                    </a:lnTo>
                    <a:lnTo>
                      <a:pt x="101" y="29"/>
                    </a:lnTo>
                    <a:lnTo>
                      <a:pt x="99" y="27"/>
                    </a:lnTo>
                    <a:lnTo>
                      <a:pt x="94" y="26"/>
                    </a:lnTo>
                    <a:lnTo>
                      <a:pt x="94" y="20"/>
                    </a:lnTo>
                    <a:lnTo>
                      <a:pt x="91" y="17"/>
                    </a:lnTo>
                    <a:lnTo>
                      <a:pt x="91" y="15"/>
                    </a:lnTo>
                    <a:lnTo>
                      <a:pt x="89" y="12"/>
                    </a:lnTo>
                    <a:lnTo>
                      <a:pt x="87" y="10"/>
                    </a:lnTo>
                    <a:lnTo>
                      <a:pt x="87" y="7"/>
                    </a:lnTo>
                    <a:lnTo>
                      <a:pt x="85" y="7"/>
                    </a:lnTo>
                    <a:lnTo>
                      <a:pt x="84" y="1"/>
                    </a:lnTo>
                    <a:lnTo>
                      <a:pt x="82" y="0"/>
                    </a:lnTo>
                    <a:lnTo>
                      <a:pt x="78" y="3"/>
                    </a:lnTo>
                    <a:lnTo>
                      <a:pt x="75" y="5"/>
                    </a:lnTo>
                    <a:lnTo>
                      <a:pt x="71" y="7"/>
                    </a:lnTo>
                    <a:lnTo>
                      <a:pt x="70" y="7"/>
                    </a:lnTo>
                    <a:lnTo>
                      <a:pt x="61" y="7"/>
                    </a:lnTo>
                    <a:lnTo>
                      <a:pt x="59" y="8"/>
                    </a:lnTo>
                    <a:lnTo>
                      <a:pt x="56" y="8"/>
                    </a:lnTo>
                    <a:lnTo>
                      <a:pt x="54" y="8"/>
                    </a:lnTo>
                    <a:lnTo>
                      <a:pt x="52" y="8"/>
                    </a:lnTo>
                    <a:lnTo>
                      <a:pt x="49" y="10"/>
                    </a:lnTo>
                    <a:lnTo>
                      <a:pt x="49" y="12"/>
                    </a:lnTo>
                    <a:lnTo>
                      <a:pt x="47" y="12"/>
                    </a:lnTo>
                    <a:lnTo>
                      <a:pt x="44" y="12"/>
                    </a:lnTo>
                    <a:lnTo>
                      <a:pt x="44" y="10"/>
                    </a:lnTo>
                    <a:lnTo>
                      <a:pt x="40" y="8"/>
                    </a:lnTo>
                    <a:lnTo>
                      <a:pt x="37" y="10"/>
                    </a:lnTo>
                    <a:lnTo>
                      <a:pt x="32" y="8"/>
                    </a:lnTo>
                    <a:lnTo>
                      <a:pt x="28" y="7"/>
                    </a:lnTo>
                    <a:lnTo>
                      <a:pt x="26" y="8"/>
                    </a:lnTo>
                    <a:lnTo>
                      <a:pt x="26" y="10"/>
                    </a:lnTo>
                    <a:lnTo>
                      <a:pt x="26" y="12"/>
                    </a:lnTo>
                    <a:lnTo>
                      <a:pt x="26" y="12"/>
                    </a:lnTo>
                    <a:lnTo>
                      <a:pt x="26" y="12"/>
                    </a:lnTo>
                    <a:lnTo>
                      <a:pt x="26" y="15"/>
                    </a:lnTo>
                    <a:lnTo>
                      <a:pt x="25" y="17"/>
                    </a:lnTo>
                    <a:lnTo>
                      <a:pt x="25" y="22"/>
                    </a:lnTo>
                    <a:lnTo>
                      <a:pt x="23" y="29"/>
                    </a:lnTo>
                    <a:lnTo>
                      <a:pt x="23" y="33"/>
                    </a:lnTo>
                    <a:lnTo>
                      <a:pt x="25" y="34"/>
                    </a:lnTo>
                    <a:lnTo>
                      <a:pt x="26" y="34"/>
                    </a:lnTo>
                    <a:lnTo>
                      <a:pt x="28" y="38"/>
                    </a:lnTo>
                    <a:lnTo>
                      <a:pt x="28" y="40"/>
                    </a:lnTo>
                    <a:lnTo>
                      <a:pt x="19" y="52"/>
                    </a:lnTo>
                    <a:lnTo>
                      <a:pt x="14" y="57"/>
                    </a:lnTo>
                    <a:lnTo>
                      <a:pt x="12" y="60"/>
                    </a:lnTo>
                    <a:lnTo>
                      <a:pt x="5" y="73"/>
                    </a:lnTo>
                    <a:lnTo>
                      <a:pt x="4" y="74"/>
                    </a:lnTo>
                    <a:lnTo>
                      <a:pt x="4" y="80"/>
                    </a:lnTo>
                    <a:lnTo>
                      <a:pt x="4" y="85"/>
                    </a:lnTo>
                    <a:lnTo>
                      <a:pt x="0" y="92"/>
                    </a:lnTo>
                    <a:lnTo>
                      <a:pt x="2" y="95"/>
                    </a:lnTo>
                    <a:lnTo>
                      <a:pt x="0" y="97"/>
                    </a:lnTo>
                    <a:lnTo>
                      <a:pt x="2" y="97"/>
                    </a:lnTo>
                    <a:lnTo>
                      <a:pt x="4" y="95"/>
                    </a:lnTo>
                    <a:lnTo>
                      <a:pt x="5" y="94"/>
                    </a:lnTo>
                    <a:lnTo>
                      <a:pt x="9" y="95"/>
                    </a:lnTo>
                    <a:lnTo>
                      <a:pt x="11" y="95"/>
                    </a:lnTo>
                    <a:lnTo>
                      <a:pt x="14" y="95"/>
                    </a:lnTo>
                    <a:lnTo>
                      <a:pt x="14" y="95"/>
                    </a:lnTo>
                    <a:lnTo>
                      <a:pt x="14" y="92"/>
                    </a:lnTo>
                    <a:lnTo>
                      <a:pt x="18" y="92"/>
                    </a:lnTo>
                    <a:lnTo>
                      <a:pt x="19" y="92"/>
                    </a:lnTo>
                    <a:lnTo>
                      <a:pt x="19" y="92"/>
                    </a:lnTo>
                    <a:lnTo>
                      <a:pt x="19" y="92"/>
                    </a:lnTo>
                    <a:lnTo>
                      <a:pt x="23" y="92"/>
                    </a:lnTo>
                    <a:lnTo>
                      <a:pt x="37" y="92"/>
                    </a:lnTo>
                    <a:lnTo>
                      <a:pt x="37" y="92"/>
                    </a:lnTo>
                    <a:lnTo>
                      <a:pt x="51" y="92"/>
                    </a:lnTo>
                    <a:lnTo>
                      <a:pt x="73" y="88"/>
                    </a:lnTo>
                    <a:lnTo>
                      <a:pt x="78" y="73"/>
                    </a:lnTo>
                    <a:lnTo>
                      <a:pt x="78" y="73"/>
                    </a:lnTo>
                    <a:lnTo>
                      <a:pt x="78"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5" name="Freeform 108"/>
              <p:cNvSpPr>
                <a:spLocks/>
              </p:cNvSpPr>
              <p:nvPr/>
            </p:nvSpPr>
            <p:spPr bwMode="auto">
              <a:xfrm>
                <a:off x="4849813" y="3957638"/>
                <a:ext cx="355600" cy="239713"/>
              </a:xfrm>
              <a:custGeom>
                <a:avLst/>
                <a:gdLst/>
                <a:ahLst/>
                <a:cxnLst>
                  <a:cxn ang="0">
                    <a:pos x="142" y="7"/>
                  </a:cxn>
                  <a:cxn ang="0">
                    <a:pos x="154" y="23"/>
                  </a:cxn>
                  <a:cxn ang="0">
                    <a:pos x="151" y="35"/>
                  </a:cxn>
                  <a:cxn ang="0">
                    <a:pos x="159" y="40"/>
                  </a:cxn>
                  <a:cxn ang="0">
                    <a:pos x="166" y="47"/>
                  </a:cxn>
                  <a:cxn ang="0">
                    <a:pos x="179" y="52"/>
                  </a:cxn>
                  <a:cxn ang="0">
                    <a:pos x="187" y="59"/>
                  </a:cxn>
                  <a:cxn ang="0">
                    <a:pos x="182" y="66"/>
                  </a:cxn>
                  <a:cxn ang="0">
                    <a:pos x="192" y="71"/>
                  </a:cxn>
                  <a:cxn ang="0">
                    <a:pos x="203" y="80"/>
                  </a:cxn>
                  <a:cxn ang="0">
                    <a:pos x="206" y="89"/>
                  </a:cxn>
                  <a:cxn ang="0">
                    <a:pos x="217" y="96"/>
                  </a:cxn>
                  <a:cxn ang="0">
                    <a:pos x="224" y="108"/>
                  </a:cxn>
                  <a:cxn ang="0">
                    <a:pos x="217" y="102"/>
                  </a:cxn>
                  <a:cxn ang="0">
                    <a:pos x="199" y="104"/>
                  </a:cxn>
                  <a:cxn ang="0">
                    <a:pos x="191" y="102"/>
                  </a:cxn>
                  <a:cxn ang="0">
                    <a:pos x="187" y="102"/>
                  </a:cxn>
                  <a:cxn ang="0">
                    <a:pos x="177" y="108"/>
                  </a:cxn>
                  <a:cxn ang="0">
                    <a:pos x="170" y="108"/>
                  </a:cxn>
                  <a:cxn ang="0">
                    <a:pos x="159" y="109"/>
                  </a:cxn>
                  <a:cxn ang="0">
                    <a:pos x="147" y="111"/>
                  </a:cxn>
                  <a:cxn ang="0">
                    <a:pos x="135" y="116"/>
                  </a:cxn>
                  <a:cxn ang="0">
                    <a:pos x="130" y="122"/>
                  </a:cxn>
                  <a:cxn ang="0">
                    <a:pos x="119" y="118"/>
                  </a:cxn>
                  <a:cxn ang="0">
                    <a:pos x="107" y="116"/>
                  </a:cxn>
                  <a:cxn ang="0">
                    <a:pos x="97" y="111"/>
                  </a:cxn>
                  <a:cxn ang="0">
                    <a:pos x="85" y="104"/>
                  </a:cxn>
                  <a:cxn ang="0">
                    <a:pos x="78" y="108"/>
                  </a:cxn>
                  <a:cxn ang="0">
                    <a:pos x="74" y="116"/>
                  </a:cxn>
                  <a:cxn ang="0">
                    <a:pos x="73" y="123"/>
                  </a:cxn>
                  <a:cxn ang="0">
                    <a:pos x="69" y="130"/>
                  </a:cxn>
                  <a:cxn ang="0">
                    <a:pos x="60" y="127"/>
                  </a:cxn>
                  <a:cxn ang="0">
                    <a:pos x="46" y="130"/>
                  </a:cxn>
                  <a:cxn ang="0">
                    <a:pos x="29" y="151"/>
                  </a:cxn>
                  <a:cxn ang="0">
                    <a:pos x="27" y="142"/>
                  </a:cxn>
                  <a:cxn ang="0">
                    <a:pos x="13" y="127"/>
                  </a:cxn>
                  <a:cxn ang="0">
                    <a:pos x="3" y="115"/>
                  </a:cxn>
                  <a:cxn ang="0">
                    <a:pos x="1" y="96"/>
                  </a:cxn>
                  <a:cxn ang="0">
                    <a:pos x="3" y="85"/>
                  </a:cxn>
                  <a:cxn ang="0">
                    <a:pos x="13" y="66"/>
                  </a:cxn>
                  <a:cxn ang="0">
                    <a:pos x="20" y="62"/>
                  </a:cxn>
                  <a:cxn ang="0">
                    <a:pos x="31" y="62"/>
                  </a:cxn>
                  <a:cxn ang="0">
                    <a:pos x="38" y="57"/>
                  </a:cxn>
                  <a:cxn ang="0">
                    <a:pos x="46" y="59"/>
                  </a:cxn>
                  <a:cxn ang="0">
                    <a:pos x="73" y="50"/>
                  </a:cxn>
                  <a:cxn ang="0">
                    <a:pos x="78" y="43"/>
                  </a:cxn>
                  <a:cxn ang="0">
                    <a:pos x="80" y="35"/>
                  </a:cxn>
                  <a:cxn ang="0">
                    <a:pos x="95" y="35"/>
                  </a:cxn>
                  <a:cxn ang="0">
                    <a:pos x="107" y="29"/>
                  </a:cxn>
                  <a:cxn ang="0">
                    <a:pos x="111" y="19"/>
                  </a:cxn>
                  <a:cxn ang="0">
                    <a:pos x="119" y="12"/>
                  </a:cxn>
                  <a:cxn ang="0">
                    <a:pos x="126" y="3"/>
                  </a:cxn>
                  <a:cxn ang="0">
                    <a:pos x="139" y="2"/>
                  </a:cxn>
                </a:cxnLst>
                <a:rect l="0" t="0" r="r" b="b"/>
                <a:pathLst>
                  <a:path w="224" h="151">
                    <a:moveTo>
                      <a:pt x="142" y="0"/>
                    </a:moveTo>
                    <a:lnTo>
                      <a:pt x="142" y="2"/>
                    </a:lnTo>
                    <a:lnTo>
                      <a:pt x="142" y="3"/>
                    </a:lnTo>
                    <a:lnTo>
                      <a:pt x="142" y="7"/>
                    </a:lnTo>
                    <a:lnTo>
                      <a:pt x="147" y="7"/>
                    </a:lnTo>
                    <a:lnTo>
                      <a:pt x="147" y="9"/>
                    </a:lnTo>
                    <a:lnTo>
                      <a:pt x="151" y="16"/>
                    </a:lnTo>
                    <a:lnTo>
                      <a:pt x="154" y="23"/>
                    </a:lnTo>
                    <a:lnTo>
                      <a:pt x="154" y="26"/>
                    </a:lnTo>
                    <a:lnTo>
                      <a:pt x="154" y="29"/>
                    </a:lnTo>
                    <a:lnTo>
                      <a:pt x="152" y="31"/>
                    </a:lnTo>
                    <a:lnTo>
                      <a:pt x="151" y="35"/>
                    </a:lnTo>
                    <a:lnTo>
                      <a:pt x="152" y="40"/>
                    </a:lnTo>
                    <a:lnTo>
                      <a:pt x="154" y="40"/>
                    </a:lnTo>
                    <a:lnTo>
                      <a:pt x="159" y="43"/>
                    </a:lnTo>
                    <a:lnTo>
                      <a:pt x="159" y="40"/>
                    </a:lnTo>
                    <a:lnTo>
                      <a:pt x="166" y="40"/>
                    </a:lnTo>
                    <a:lnTo>
                      <a:pt x="166" y="40"/>
                    </a:lnTo>
                    <a:lnTo>
                      <a:pt x="166" y="43"/>
                    </a:lnTo>
                    <a:lnTo>
                      <a:pt x="166" y="47"/>
                    </a:lnTo>
                    <a:lnTo>
                      <a:pt x="170" y="49"/>
                    </a:lnTo>
                    <a:lnTo>
                      <a:pt x="172" y="50"/>
                    </a:lnTo>
                    <a:lnTo>
                      <a:pt x="175" y="50"/>
                    </a:lnTo>
                    <a:lnTo>
                      <a:pt x="179" y="52"/>
                    </a:lnTo>
                    <a:lnTo>
                      <a:pt x="179" y="56"/>
                    </a:lnTo>
                    <a:lnTo>
                      <a:pt x="182" y="57"/>
                    </a:lnTo>
                    <a:lnTo>
                      <a:pt x="185" y="57"/>
                    </a:lnTo>
                    <a:lnTo>
                      <a:pt x="187" y="59"/>
                    </a:lnTo>
                    <a:lnTo>
                      <a:pt x="187" y="61"/>
                    </a:lnTo>
                    <a:lnTo>
                      <a:pt x="184" y="62"/>
                    </a:lnTo>
                    <a:lnTo>
                      <a:pt x="184" y="62"/>
                    </a:lnTo>
                    <a:lnTo>
                      <a:pt x="182" y="66"/>
                    </a:lnTo>
                    <a:lnTo>
                      <a:pt x="185" y="68"/>
                    </a:lnTo>
                    <a:lnTo>
                      <a:pt x="189" y="71"/>
                    </a:lnTo>
                    <a:lnTo>
                      <a:pt x="191" y="68"/>
                    </a:lnTo>
                    <a:lnTo>
                      <a:pt x="192" y="71"/>
                    </a:lnTo>
                    <a:lnTo>
                      <a:pt x="194" y="71"/>
                    </a:lnTo>
                    <a:lnTo>
                      <a:pt x="199" y="73"/>
                    </a:lnTo>
                    <a:lnTo>
                      <a:pt x="199" y="75"/>
                    </a:lnTo>
                    <a:lnTo>
                      <a:pt x="203" y="80"/>
                    </a:lnTo>
                    <a:lnTo>
                      <a:pt x="203" y="82"/>
                    </a:lnTo>
                    <a:lnTo>
                      <a:pt x="206" y="83"/>
                    </a:lnTo>
                    <a:lnTo>
                      <a:pt x="206" y="85"/>
                    </a:lnTo>
                    <a:lnTo>
                      <a:pt x="206" y="89"/>
                    </a:lnTo>
                    <a:lnTo>
                      <a:pt x="208" y="90"/>
                    </a:lnTo>
                    <a:lnTo>
                      <a:pt x="215" y="92"/>
                    </a:lnTo>
                    <a:lnTo>
                      <a:pt x="217" y="94"/>
                    </a:lnTo>
                    <a:lnTo>
                      <a:pt x="217" y="96"/>
                    </a:lnTo>
                    <a:lnTo>
                      <a:pt x="217" y="99"/>
                    </a:lnTo>
                    <a:lnTo>
                      <a:pt x="220" y="102"/>
                    </a:lnTo>
                    <a:lnTo>
                      <a:pt x="222" y="102"/>
                    </a:lnTo>
                    <a:lnTo>
                      <a:pt x="224" y="108"/>
                    </a:lnTo>
                    <a:lnTo>
                      <a:pt x="224" y="108"/>
                    </a:lnTo>
                    <a:lnTo>
                      <a:pt x="224" y="108"/>
                    </a:lnTo>
                    <a:lnTo>
                      <a:pt x="220" y="104"/>
                    </a:lnTo>
                    <a:lnTo>
                      <a:pt x="217" y="102"/>
                    </a:lnTo>
                    <a:lnTo>
                      <a:pt x="210" y="108"/>
                    </a:lnTo>
                    <a:lnTo>
                      <a:pt x="210" y="108"/>
                    </a:lnTo>
                    <a:lnTo>
                      <a:pt x="203" y="108"/>
                    </a:lnTo>
                    <a:lnTo>
                      <a:pt x="199" y="104"/>
                    </a:lnTo>
                    <a:lnTo>
                      <a:pt x="198" y="102"/>
                    </a:lnTo>
                    <a:lnTo>
                      <a:pt x="198" y="102"/>
                    </a:lnTo>
                    <a:lnTo>
                      <a:pt x="194" y="102"/>
                    </a:lnTo>
                    <a:lnTo>
                      <a:pt x="191" y="102"/>
                    </a:lnTo>
                    <a:lnTo>
                      <a:pt x="189" y="102"/>
                    </a:lnTo>
                    <a:lnTo>
                      <a:pt x="187" y="102"/>
                    </a:lnTo>
                    <a:lnTo>
                      <a:pt x="187" y="102"/>
                    </a:lnTo>
                    <a:lnTo>
                      <a:pt x="187" y="102"/>
                    </a:lnTo>
                    <a:lnTo>
                      <a:pt x="185" y="108"/>
                    </a:lnTo>
                    <a:lnTo>
                      <a:pt x="184" y="108"/>
                    </a:lnTo>
                    <a:lnTo>
                      <a:pt x="180" y="108"/>
                    </a:lnTo>
                    <a:lnTo>
                      <a:pt x="177" y="108"/>
                    </a:lnTo>
                    <a:lnTo>
                      <a:pt x="175" y="109"/>
                    </a:lnTo>
                    <a:lnTo>
                      <a:pt x="172" y="109"/>
                    </a:lnTo>
                    <a:lnTo>
                      <a:pt x="172" y="108"/>
                    </a:lnTo>
                    <a:lnTo>
                      <a:pt x="170" y="108"/>
                    </a:lnTo>
                    <a:lnTo>
                      <a:pt x="170" y="104"/>
                    </a:lnTo>
                    <a:lnTo>
                      <a:pt x="170" y="104"/>
                    </a:lnTo>
                    <a:lnTo>
                      <a:pt x="161" y="108"/>
                    </a:lnTo>
                    <a:lnTo>
                      <a:pt x="159" y="109"/>
                    </a:lnTo>
                    <a:lnTo>
                      <a:pt x="158" y="111"/>
                    </a:lnTo>
                    <a:lnTo>
                      <a:pt x="149" y="111"/>
                    </a:lnTo>
                    <a:lnTo>
                      <a:pt x="147" y="113"/>
                    </a:lnTo>
                    <a:lnTo>
                      <a:pt x="147" y="111"/>
                    </a:lnTo>
                    <a:lnTo>
                      <a:pt x="142" y="109"/>
                    </a:lnTo>
                    <a:lnTo>
                      <a:pt x="139" y="109"/>
                    </a:lnTo>
                    <a:lnTo>
                      <a:pt x="137" y="113"/>
                    </a:lnTo>
                    <a:lnTo>
                      <a:pt x="135" y="116"/>
                    </a:lnTo>
                    <a:lnTo>
                      <a:pt x="135" y="118"/>
                    </a:lnTo>
                    <a:lnTo>
                      <a:pt x="137" y="120"/>
                    </a:lnTo>
                    <a:lnTo>
                      <a:pt x="135" y="122"/>
                    </a:lnTo>
                    <a:lnTo>
                      <a:pt x="130" y="122"/>
                    </a:lnTo>
                    <a:lnTo>
                      <a:pt x="130" y="122"/>
                    </a:lnTo>
                    <a:lnTo>
                      <a:pt x="126" y="120"/>
                    </a:lnTo>
                    <a:lnTo>
                      <a:pt x="123" y="118"/>
                    </a:lnTo>
                    <a:lnTo>
                      <a:pt x="119" y="118"/>
                    </a:lnTo>
                    <a:lnTo>
                      <a:pt x="118" y="120"/>
                    </a:lnTo>
                    <a:lnTo>
                      <a:pt x="114" y="120"/>
                    </a:lnTo>
                    <a:lnTo>
                      <a:pt x="111" y="120"/>
                    </a:lnTo>
                    <a:lnTo>
                      <a:pt x="107" y="116"/>
                    </a:lnTo>
                    <a:lnTo>
                      <a:pt x="102" y="118"/>
                    </a:lnTo>
                    <a:lnTo>
                      <a:pt x="102" y="116"/>
                    </a:lnTo>
                    <a:lnTo>
                      <a:pt x="99" y="113"/>
                    </a:lnTo>
                    <a:lnTo>
                      <a:pt x="97" y="111"/>
                    </a:lnTo>
                    <a:lnTo>
                      <a:pt x="90" y="108"/>
                    </a:lnTo>
                    <a:lnTo>
                      <a:pt x="88" y="108"/>
                    </a:lnTo>
                    <a:lnTo>
                      <a:pt x="86" y="104"/>
                    </a:lnTo>
                    <a:lnTo>
                      <a:pt x="85" y="104"/>
                    </a:lnTo>
                    <a:lnTo>
                      <a:pt x="83" y="108"/>
                    </a:lnTo>
                    <a:lnTo>
                      <a:pt x="83" y="108"/>
                    </a:lnTo>
                    <a:lnTo>
                      <a:pt x="80" y="108"/>
                    </a:lnTo>
                    <a:lnTo>
                      <a:pt x="78" y="108"/>
                    </a:lnTo>
                    <a:lnTo>
                      <a:pt x="74" y="109"/>
                    </a:lnTo>
                    <a:lnTo>
                      <a:pt x="74" y="111"/>
                    </a:lnTo>
                    <a:lnTo>
                      <a:pt x="74" y="115"/>
                    </a:lnTo>
                    <a:lnTo>
                      <a:pt x="74" y="116"/>
                    </a:lnTo>
                    <a:lnTo>
                      <a:pt x="73" y="118"/>
                    </a:lnTo>
                    <a:lnTo>
                      <a:pt x="71" y="118"/>
                    </a:lnTo>
                    <a:lnTo>
                      <a:pt x="71" y="120"/>
                    </a:lnTo>
                    <a:lnTo>
                      <a:pt x="73" y="123"/>
                    </a:lnTo>
                    <a:lnTo>
                      <a:pt x="71" y="125"/>
                    </a:lnTo>
                    <a:lnTo>
                      <a:pt x="71" y="127"/>
                    </a:lnTo>
                    <a:lnTo>
                      <a:pt x="71" y="130"/>
                    </a:lnTo>
                    <a:lnTo>
                      <a:pt x="69" y="130"/>
                    </a:lnTo>
                    <a:lnTo>
                      <a:pt x="67" y="130"/>
                    </a:lnTo>
                    <a:lnTo>
                      <a:pt x="64" y="130"/>
                    </a:lnTo>
                    <a:lnTo>
                      <a:pt x="62" y="127"/>
                    </a:lnTo>
                    <a:lnTo>
                      <a:pt x="60" y="127"/>
                    </a:lnTo>
                    <a:lnTo>
                      <a:pt x="57" y="127"/>
                    </a:lnTo>
                    <a:lnTo>
                      <a:pt x="55" y="130"/>
                    </a:lnTo>
                    <a:lnTo>
                      <a:pt x="52" y="127"/>
                    </a:lnTo>
                    <a:lnTo>
                      <a:pt x="46" y="130"/>
                    </a:lnTo>
                    <a:lnTo>
                      <a:pt x="43" y="132"/>
                    </a:lnTo>
                    <a:lnTo>
                      <a:pt x="41" y="136"/>
                    </a:lnTo>
                    <a:lnTo>
                      <a:pt x="36" y="137"/>
                    </a:lnTo>
                    <a:lnTo>
                      <a:pt x="29" y="151"/>
                    </a:lnTo>
                    <a:lnTo>
                      <a:pt x="27" y="151"/>
                    </a:lnTo>
                    <a:lnTo>
                      <a:pt x="27" y="149"/>
                    </a:lnTo>
                    <a:lnTo>
                      <a:pt x="27" y="148"/>
                    </a:lnTo>
                    <a:lnTo>
                      <a:pt x="27" y="142"/>
                    </a:lnTo>
                    <a:lnTo>
                      <a:pt x="20" y="139"/>
                    </a:lnTo>
                    <a:lnTo>
                      <a:pt x="19" y="137"/>
                    </a:lnTo>
                    <a:lnTo>
                      <a:pt x="19" y="132"/>
                    </a:lnTo>
                    <a:lnTo>
                      <a:pt x="13" y="127"/>
                    </a:lnTo>
                    <a:lnTo>
                      <a:pt x="10" y="123"/>
                    </a:lnTo>
                    <a:lnTo>
                      <a:pt x="10" y="118"/>
                    </a:lnTo>
                    <a:lnTo>
                      <a:pt x="5" y="116"/>
                    </a:lnTo>
                    <a:lnTo>
                      <a:pt x="3" y="115"/>
                    </a:lnTo>
                    <a:lnTo>
                      <a:pt x="3" y="108"/>
                    </a:lnTo>
                    <a:lnTo>
                      <a:pt x="1" y="104"/>
                    </a:lnTo>
                    <a:lnTo>
                      <a:pt x="1" y="99"/>
                    </a:lnTo>
                    <a:lnTo>
                      <a:pt x="1" y="96"/>
                    </a:lnTo>
                    <a:lnTo>
                      <a:pt x="0" y="92"/>
                    </a:lnTo>
                    <a:lnTo>
                      <a:pt x="0" y="87"/>
                    </a:lnTo>
                    <a:lnTo>
                      <a:pt x="1" y="85"/>
                    </a:lnTo>
                    <a:lnTo>
                      <a:pt x="3" y="85"/>
                    </a:lnTo>
                    <a:lnTo>
                      <a:pt x="7" y="80"/>
                    </a:lnTo>
                    <a:lnTo>
                      <a:pt x="8" y="75"/>
                    </a:lnTo>
                    <a:lnTo>
                      <a:pt x="10" y="71"/>
                    </a:lnTo>
                    <a:lnTo>
                      <a:pt x="13" y="66"/>
                    </a:lnTo>
                    <a:lnTo>
                      <a:pt x="15" y="66"/>
                    </a:lnTo>
                    <a:lnTo>
                      <a:pt x="19" y="61"/>
                    </a:lnTo>
                    <a:lnTo>
                      <a:pt x="19" y="59"/>
                    </a:lnTo>
                    <a:lnTo>
                      <a:pt x="20" y="62"/>
                    </a:lnTo>
                    <a:lnTo>
                      <a:pt x="20" y="66"/>
                    </a:lnTo>
                    <a:lnTo>
                      <a:pt x="24" y="66"/>
                    </a:lnTo>
                    <a:lnTo>
                      <a:pt x="27" y="62"/>
                    </a:lnTo>
                    <a:lnTo>
                      <a:pt x="31" y="62"/>
                    </a:lnTo>
                    <a:lnTo>
                      <a:pt x="34" y="61"/>
                    </a:lnTo>
                    <a:lnTo>
                      <a:pt x="34" y="57"/>
                    </a:lnTo>
                    <a:lnTo>
                      <a:pt x="36" y="56"/>
                    </a:lnTo>
                    <a:lnTo>
                      <a:pt x="38" y="57"/>
                    </a:lnTo>
                    <a:lnTo>
                      <a:pt x="40" y="61"/>
                    </a:lnTo>
                    <a:lnTo>
                      <a:pt x="41" y="62"/>
                    </a:lnTo>
                    <a:lnTo>
                      <a:pt x="43" y="62"/>
                    </a:lnTo>
                    <a:lnTo>
                      <a:pt x="46" y="59"/>
                    </a:lnTo>
                    <a:lnTo>
                      <a:pt x="52" y="56"/>
                    </a:lnTo>
                    <a:lnTo>
                      <a:pt x="57" y="54"/>
                    </a:lnTo>
                    <a:lnTo>
                      <a:pt x="67" y="50"/>
                    </a:lnTo>
                    <a:lnTo>
                      <a:pt x="73" y="50"/>
                    </a:lnTo>
                    <a:lnTo>
                      <a:pt x="74" y="49"/>
                    </a:lnTo>
                    <a:lnTo>
                      <a:pt x="80" y="45"/>
                    </a:lnTo>
                    <a:lnTo>
                      <a:pt x="80" y="43"/>
                    </a:lnTo>
                    <a:lnTo>
                      <a:pt x="78" y="43"/>
                    </a:lnTo>
                    <a:lnTo>
                      <a:pt x="74" y="40"/>
                    </a:lnTo>
                    <a:lnTo>
                      <a:pt x="74" y="35"/>
                    </a:lnTo>
                    <a:lnTo>
                      <a:pt x="78" y="35"/>
                    </a:lnTo>
                    <a:lnTo>
                      <a:pt x="80" y="35"/>
                    </a:lnTo>
                    <a:lnTo>
                      <a:pt x="83" y="35"/>
                    </a:lnTo>
                    <a:lnTo>
                      <a:pt x="85" y="35"/>
                    </a:lnTo>
                    <a:lnTo>
                      <a:pt x="90" y="38"/>
                    </a:lnTo>
                    <a:lnTo>
                      <a:pt x="95" y="35"/>
                    </a:lnTo>
                    <a:lnTo>
                      <a:pt x="102" y="35"/>
                    </a:lnTo>
                    <a:lnTo>
                      <a:pt x="106" y="31"/>
                    </a:lnTo>
                    <a:lnTo>
                      <a:pt x="107" y="31"/>
                    </a:lnTo>
                    <a:lnTo>
                      <a:pt x="107" y="29"/>
                    </a:lnTo>
                    <a:lnTo>
                      <a:pt x="107" y="26"/>
                    </a:lnTo>
                    <a:lnTo>
                      <a:pt x="107" y="23"/>
                    </a:lnTo>
                    <a:lnTo>
                      <a:pt x="111" y="21"/>
                    </a:lnTo>
                    <a:lnTo>
                      <a:pt x="111" y="19"/>
                    </a:lnTo>
                    <a:lnTo>
                      <a:pt x="113" y="16"/>
                    </a:lnTo>
                    <a:lnTo>
                      <a:pt x="114" y="17"/>
                    </a:lnTo>
                    <a:lnTo>
                      <a:pt x="116" y="17"/>
                    </a:lnTo>
                    <a:lnTo>
                      <a:pt x="119" y="12"/>
                    </a:lnTo>
                    <a:lnTo>
                      <a:pt x="121" y="12"/>
                    </a:lnTo>
                    <a:lnTo>
                      <a:pt x="121" y="9"/>
                    </a:lnTo>
                    <a:lnTo>
                      <a:pt x="121" y="7"/>
                    </a:lnTo>
                    <a:lnTo>
                      <a:pt x="126" y="3"/>
                    </a:lnTo>
                    <a:lnTo>
                      <a:pt x="130" y="2"/>
                    </a:lnTo>
                    <a:lnTo>
                      <a:pt x="133" y="2"/>
                    </a:lnTo>
                    <a:lnTo>
                      <a:pt x="137" y="3"/>
                    </a:lnTo>
                    <a:lnTo>
                      <a:pt x="139" y="2"/>
                    </a:lnTo>
                    <a:lnTo>
                      <a:pt x="142" y="0"/>
                    </a:lnTo>
                    <a:lnTo>
                      <a:pt x="142" y="0"/>
                    </a:lnTo>
                    <a:lnTo>
                      <a:pt x="14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6" name="Freeform 109"/>
              <p:cNvSpPr>
                <a:spLocks/>
              </p:cNvSpPr>
              <p:nvPr/>
            </p:nvSpPr>
            <p:spPr bwMode="auto">
              <a:xfrm>
                <a:off x="4702175" y="3327401"/>
                <a:ext cx="417513" cy="390525"/>
              </a:xfrm>
              <a:custGeom>
                <a:avLst/>
                <a:gdLst/>
                <a:ahLst/>
                <a:cxnLst>
                  <a:cxn ang="0">
                    <a:pos x="263" y="239"/>
                  </a:cxn>
                  <a:cxn ang="0">
                    <a:pos x="251" y="58"/>
                  </a:cxn>
                  <a:cxn ang="0">
                    <a:pos x="256" y="44"/>
                  </a:cxn>
                  <a:cxn ang="0">
                    <a:pos x="256" y="28"/>
                  </a:cxn>
                  <a:cxn ang="0">
                    <a:pos x="251" y="20"/>
                  </a:cxn>
                  <a:cxn ang="0">
                    <a:pos x="233" y="18"/>
                  </a:cxn>
                  <a:cxn ang="0">
                    <a:pos x="221" y="13"/>
                  </a:cxn>
                  <a:cxn ang="0">
                    <a:pos x="216" y="6"/>
                  </a:cxn>
                  <a:cxn ang="0">
                    <a:pos x="206" y="4"/>
                  </a:cxn>
                  <a:cxn ang="0">
                    <a:pos x="197" y="4"/>
                  </a:cxn>
                  <a:cxn ang="0">
                    <a:pos x="178" y="11"/>
                  </a:cxn>
                  <a:cxn ang="0">
                    <a:pos x="169" y="20"/>
                  </a:cxn>
                  <a:cxn ang="0">
                    <a:pos x="174" y="40"/>
                  </a:cxn>
                  <a:cxn ang="0">
                    <a:pos x="167" y="51"/>
                  </a:cxn>
                  <a:cxn ang="0">
                    <a:pos x="152" y="54"/>
                  </a:cxn>
                  <a:cxn ang="0">
                    <a:pos x="133" y="40"/>
                  </a:cxn>
                  <a:cxn ang="0">
                    <a:pos x="112" y="37"/>
                  </a:cxn>
                  <a:cxn ang="0">
                    <a:pos x="94" y="23"/>
                  </a:cxn>
                  <a:cxn ang="0">
                    <a:pos x="79" y="11"/>
                  </a:cxn>
                  <a:cxn ang="0">
                    <a:pos x="60" y="4"/>
                  </a:cxn>
                  <a:cxn ang="0">
                    <a:pos x="37" y="4"/>
                  </a:cxn>
                  <a:cxn ang="0">
                    <a:pos x="33" y="9"/>
                  </a:cxn>
                  <a:cxn ang="0">
                    <a:pos x="20" y="21"/>
                  </a:cxn>
                  <a:cxn ang="0">
                    <a:pos x="14" y="28"/>
                  </a:cxn>
                  <a:cxn ang="0">
                    <a:pos x="11" y="35"/>
                  </a:cxn>
                  <a:cxn ang="0">
                    <a:pos x="11" y="46"/>
                  </a:cxn>
                  <a:cxn ang="0">
                    <a:pos x="7" y="51"/>
                  </a:cxn>
                  <a:cxn ang="0">
                    <a:pos x="2" y="53"/>
                  </a:cxn>
                  <a:cxn ang="0">
                    <a:pos x="0" y="60"/>
                  </a:cxn>
                  <a:cxn ang="0">
                    <a:pos x="6" y="77"/>
                  </a:cxn>
                  <a:cxn ang="0">
                    <a:pos x="6" y="94"/>
                  </a:cxn>
                  <a:cxn ang="0">
                    <a:pos x="6" y="108"/>
                  </a:cxn>
                  <a:cxn ang="0">
                    <a:pos x="6" y="120"/>
                  </a:cxn>
                  <a:cxn ang="0">
                    <a:pos x="0" y="127"/>
                  </a:cxn>
                  <a:cxn ang="0">
                    <a:pos x="11" y="141"/>
                  </a:cxn>
                  <a:cxn ang="0">
                    <a:pos x="11" y="150"/>
                  </a:cxn>
                  <a:cxn ang="0">
                    <a:pos x="14" y="159"/>
                  </a:cxn>
                  <a:cxn ang="0">
                    <a:pos x="30" y="162"/>
                  </a:cxn>
                  <a:cxn ang="0">
                    <a:pos x="37" y="174"/>
                  </a:cxn>
                  <a:cxn ang="0">
                    <a:pos x="44" y="181"/>
                  </a:cxn>
                  <a:cxn ang="0">
                    <a:pos x="110" y="176"/>
                  </a:cxn>
                  <a:cxn ang="0">
                    <a:pos x="247" y="246"/>
                  </a:cxn>
                </a:cxnLst>
                <a:rect l="0" t="0" r="r" b="b"/>
                <a:pathLst>
                  <a:path w="263" h="246">
                    <a:moveTo>
                      <a:pt x="247" y="246"/>
                    </a:moveTo>
                    <a:lnTo>
                      <a:pt x="247" y="239"/>
                    </a:lnTo>
                    <a:lnTo>
                      <a:pt x="263" y="239"/>
                    </a:lnTo>
                    <a:lnTo>
                      <a:pt x="256" y="72"/>
                    </a:lnTo>
                    <a:lnTo>
                      <a:pt x="254" y="63"/>
                    </a:lnTo>
                    <a:lnTo>
                      <a:pt x="251" y="58"/>
                    </a:lnTo>
                    <a:lnTo>
                      <a:pt x="254" y="53"/>
                    </a:lnTo>
                    <a:lnTo>
                      <a:pt x="256" y="46"/>
                    </a:lnTo>
                    <a:lnTo>
                      <a:pt x="256" y="44"/>
                    </a:lnTo>
                    <a:lnTo>
                      <a:pt x="254" y="37"/>
                    </a:lnTo>
                    <a:lnTo>
                      <a:pt x="256" y="30"/>
                    </a:lnTo>
                    <a:lnTo>
                      <a:pt x="256" y="28"/>
                    </a:lnTo>
                    <a:lnTo>
                      <a:pt x="254" y="23"/>
                    </a:lnTo>
                    <a:lnTo>
                      <a:pt x="254" y="20"/>
                    </a:lnTo>
                    <a:lnTo>
                      <a:pt x="251" y="20"/>
                    </a:lnTo>
                    <a:lnTo>
                      <a:pt x="247" y="20"/>
                    </a:lnTo>
                    <a:lnTo>
                      <a:pt x="235" y="18"/>
                    </a:lnTo>
                    <a:lnTo>
                      <a:pt x="233" y="18"/>
                    </a:lnTo>
                    <a:lnTo>
                      <a:pt x="228" y="18"/>
                    </a:lnTo>
                    <a:lnTo>
                      <a:pt x="223" y="14"/>
                    </a:lnTo>
                    <a:lnTo>
                      <a:pt x="221" y="13"/>
                    </a:lnTo>
                    <a:lnTo>
                      <a:pt x="223" y="13"/>
                    </a:lnTo>
                    <a:lnTo>
                      <a:pt x="223" y="11"/>
                    </a:lnTo>
                    <a:lnTo>
                      <a:pt x="216" y="6"/>
                    </a:lnTo>
                    <a:lnTo>
                      <a:pt x="211" y="6"/>
                    </a:lnTo>
                    <a:lnTo>
                      <a:pt x="206" y="4"/>
                    </a:lnTo>
                    <a:lnTo>
                      <a:pt x="206" y="4"/>
                    </a:lnTo>
                    <a:lnTo>
                      <a:pt x="202" y="6"/>
                    </a:lnTo>
                    <a:lnTo>
                      <a:pt x="200" y="4"/>
                    </a:lnTo>
                    <a:lnTo>
                      <a:pt x="197" y="4"/>
                    </a:lnTo>
                    <a:lnTo>
                      <a:pt x="193" y="6"/>
                    </a:lnTo>
                    <a:lnTo>
                      <a:pt x="183" y="7"/>
                    </a:lnTo>
                    <a:lnTo>
                      <a:pt x="178" y="11"/>
                    </a:lnTo>
                    <a:lnTo>
                      <a:pt x="173" y="14"/>
                    </a:lnTo>
                    <a:lnTo>
                      <a:pt x="173" y="18"/>
                    </a:lnTo>
                    <a:lnTo>
                      <a:pt x="169" y="20"/>
                    </a:lnTo>
                    <a:lnTo>
                      <a:pt x="169" y="30"/>
                    </a:lnTo>
                    <a:lnTo>
                      <a:pt x="173" y="35"/>
                    </a:lnTo>
                    <a:lnTo>
                      <a:pt x="174" y="40"/>
                    </a:lnTo>
                    <a:lnTo>
                      <a:pt x="173" y="46"/>
                    </a:lnTo>
                    <a:lnTo>
                      <a:pt x="169" y="49"/>
                    </a:lnTo>
                    <a:lnTo>
                      <a:pt x="167" y="51"/>
                    </a:lnTo>
                    <a:lnTo>
                      <a:pt x="164" y="56"/>
                    </a:lnTo>
                    <a:lnTo>
                      <a:pt x="159" y="58"/>
                    </a:lnTo>
                    <a:lnTo>
                      <a:pt x="152" y="54"/>
                    </a:lnTo>
                    <a:lnTo>
                      <a:pt x="145" y="49"/>
                    </a:lnTo>
                    <a:lnTo>
                      <a:pt x="139" y="46"/>
                    </a:lnTo>
                    <a:lnTo>
                      <a:pt x="133" y="40"/>
                    </a:lnTo>
                    <a:lnTo>
                      <a:pt x="119" y="35"/>
                    </a:lnTo>
                    <a:lnTo>
                      <a:pt x="113" y="35"/>
                    </a:lnTo>
                    <a:lnTo>
                      <a:pt x="112" y="37"/>
                    </a:lnTo>
                    <a:lnTo>
                      <a:pt x="106" y="37"/>
                    </a:lnTo>
                    <a:lnTo>
                      <a:pt x="100" y="33"/>
                    </a:lnTo>
                    <a:lnTo>
                      <a:pt x="94" y="23"/>
                    </a:lnTo>
                    <a:lnTo>
                      <a:pt x="94" y="18"/>
                    </a:lnTo>
                    <a:lnTo>
                      <a:pt x="89" y="13"/>
                    </a:lnTo>
                    <a:lnTo>
                      <a:pt x="79" y="11"/>
                    </a:lnTo>
                    <a:lnTo>
                      <a:pt x="73" y="7"/>
                    </a:lnTo>
                    <a:lnTo>
                      <a:pt x="63" y="7"/>
                    </a:lnTo>
                    <a:lnTo>
                      <a:pt x="60" y="4"/>
                    </a:lnTo>
                    <a:lnTo>
                      <a:pt x="47" y="7"/>
                    </a:lnTo>
                    <a:lnTo>
                      <a:pt x="39" y="6"/>
                    </a:lnTo>
                    <a:lnTo>
                      <a:pt x="37" y="4"/>
                    </a:lnTo>
                    <a:lnTo>
                      <a:pt x="30" y="0"/>
                    </a:lnTo>
                    <a:lnTo>
                      <a:pt x="30" y="4"/>
                    </a:lnTo>
                    <a:lnTo>
                      <a:pt x="33" y="9"/>
                    </a:lnTo>
                    <a:lnTo>
                      <a:pt x="33" y="11"/>
                    </a:lnTo>
                    <a:lnTo>
                      <a:pt x="30" y="14"/>
                    </a:lnTo>
                    <a:lnTo>
                      <a:pt x="20" y="21"/>
                    </a:lnTo>
                    <a:lnTo>
                      <a:pt x="20" y="27"/>
                    </a:lnTo>
                    <a:lnTo>
                      <a:pt x="16" y="28"/>
                    </a:lnTo>
                    <a:lnTo>
                      <a:pt x="14" y="28"/>
                    </a:lnTo>
                    <a:lnTo>
                      <a:pt x="11" y="30"/>
                    </a:lnTo>
                    <a:lnTo>
                      <a:pt x="11" y="32"/>
                    </a:lnTo>
                    <a:lnTo>
                      <a:pt x="11" y="35"/>
                    </a:lnTo>
                    <a:lnTo>
                      <a:pt x="11" y="40"/>
                    </a:lnTo>
                    <a:lnTo>
                      <a:pt x="11" y="44"/>
                    </a:lnTo>
                    <a:lnTo>
                      <a:pt x="11" y="46"/>
                    </a:lnTo>
                    <a:lnTo>
                      <a:pt x="11" y="46"/>
                    </a:lnTo>
                    <a:lnTo>
                      <a:pt x="11" y="49"/>
                    </a:lnTo>
                    <a:lnTo>
                      <a:pt x="7" y="51"/>
                    </a:lnTo>
                    <a:lnTo>
                      <a:pt x="6" y="53"/>
                    </a:lnTo>
                    <a:lnTo>
                      <a:pt x="2" y="53"/>
                    </a:lnTo>
                    <a:lnTo>
                      <a:pt x="2" y="53"/>
                    </a:lnTo>
                    <a:lnTo>
                      <a:pt x="2" y="53"/>
                    </a:lnTo>
                    <a:lnTo>
                      <a:pt x="0" y="54"/>
                    </a:lnTo>
                    <a:lnTo>
                      <a:pt x="0" y="60"/>
                    </a:lnTo>
                    <a:lnTo>
                      <a:pt x="2" y="60"/>
                    </a:lnTo>
                    <a:lnTo>
                      <a:pt x="6" y="67"/>
                    </a:lnTo>
                    <a:lnTo>
                      <a:pt x="6" y="77"/>
                    </a:lnTo>
                    <a:lnTo>
                      <a:pt x="6" y="82"/>
                    </a:lnTo>
                    <a:lnTo>
                      <a:pt x="6" y="86"/>
                    </a:lnTo>
                    <a:lnTo>
                      <a:pt x="6" y="94"/>
                    </a:lnTo>
                    <a:lnTo>
                      <a:pt x="7" y="98"/>
                    </a:lnTo>
                    <a:lnTo>
                      <a:pt x="6" y="108"/>
                    </a:lnTo>
                    <a:lnTo>
                      <a:pt x="6" y="108"/>
                    </a:lnTo>
                    <a:lnTo>
                      <a:pt x="6" y="113"/>
                    </a:lnTo>
                    <a:lnTo>
                      <a:pt x="7" y="119"/>
                    </a:lnTo>
                    <a:lnTo>
                      <a:pt x="6" y="120"/>
                    </a:lnTo>
                    <a:lnTo>
                      <a:pt x="2" y="124"/>
                    </a:lnTo>
                    <a:lnTo>
                      <a:pt x="0" y="126"/>
                    </a:lnTo>
                    <a:lnTo>
                      <a:pt x="0" y="127"/>
                    </a:lnTo>
                    <a:lnTo>
                      <a:pt x="2" y="131"/>
                    </a:lnTo>
                    <a:lnTo>
                      <a:pt x="6" y="136"/>
                    </a:lnTo>
                    <a:lnTo>
                      <a:pt x="11" y="141"/>
                    </a:lnTo>
                    <a:lnTo>
                      <a:pt x="11" y="143"/>
                    </a:lnTo>
                    <a:lnTo>
                      <a:pt x="11" y="147"/>
                    </a:lnTo>
                    <a:lnTo>
                      <a:pt x="11" y="150"/>
                    </a:lnTo>
                    <a:lnTo>
                      <a:pt x="11" y="153"/>
                    </a:lnTo>
                    <a:lnTo>
                      <a:pt x="14" y="157"/>
                    </a:lnTo>
                    <a:lnTo>
                      <a:pt x="14" y="159"/>
                    </a:lnTo>
                    <a:lnTo>
                      <a:pt x="16" y="162"/>
                    </a:lnTo>
                    <a:lnTo>
                      <a:pt x="23" y="162"/>
                    </a:lnTo>
                    <a:lnTo>
                      <a:pt x="30" y="162"/>
                    </a:lnTo>
                    <a:lnTo>
                      <a:pt x="30" y="162"/>
                    </a:lnTo>
                    <a:lnTo>
                      <a:pt x="33" y="167"/>
                    </a:lnTo>
                    <a:lnTo>
                      <a:pt x="37" y="174"/>
                    </a:lnTo>
                    <a:lnTo>
                      <a:pt x="39" y="176"/>
                    </a:lnTo>
                    <a:lnTo>
                      <a:pt x="40" y="180"/>
                    </a:lnTo>
                    <a:lnTo>
                      <a:pt x="44" y="181"/>
                    </a:lnTo>
                    <a:lnTo>
                      <a:pt x="73" y="187"/>
                    </a:lnTo>
                    <a:lnTo>
                      <a:pt x="77" y="190"/>
                    </a:lnTo>
                    <a:lnTo>
                      <a:pt x="110" y="176"/>
                    </a:lnTo>
                    <a:lnTo>
                      <a:pt x="247" y="246"/>
                    </a:lnTo>
                    <a:lnTo>
                      <a:pt x="247" y="246"/>
                    </a:lnTo>
                    <a:lnTo>
                      <a:pt x="247" y="246"/>
                    </a:lnTo>
                    <a:lnTo>
                      <a:pt x="247" y="246"/>
                    </a:lnTo>
                    <a:lnTo>
                      <a:pt x="247" y="24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7" name="Freeform 110"/>
              <p:cNvSpPr>
                <a:spLocks noEditPoints="1"/>
              </p:cNvSpPr>
              <p:nvPr/>
            </p:nvSpPr>
            <p:spPr bwMode="auto">
              <a:xfrm>
                <a:off x="4648200" y="3203576"/>
                <a:ext cx="109538" cy="209550"/>
              </a:xfrm>
              <a:custGeom>
                <a:avLst/>
                <a:gdLst/>
                <a:ahLst/>
                <a:cxnLst>
                  <a:cxn ang="0">
                    <a:pos x="38" y="132"/>
                  </a:cxn>
                  <a:cxn ang="0">
                    <a:pos x="43" y="131"/>
                  </a:cxn>
                  <a:cxn ang="0">
                    <a:pos x="45" y="125"/>
                  </a:cxn>
                  <a:cxn ang="0">
                    <a:pos x="47" y="124"/>
                  </a:cxn>
                  <a:cxn ang="0">
                    <a:pos x="45" y="115"/>
                  </a:cxn>
                  <a:cxn ang="0">
                    <a:pos x="45" y="110"/>
                  </a:cxn>
                  <a:cxn ang="0">
                    <a:pos x="52" y="108"/>
                  </a:cxn>
                  <a:cxn ang="0">
                    <a:pos x="55" y="101"/>
                  </a:cxn>
                  <a:cxn ang="0">
                    <a:pos x="69" y="89"/>
                  </a:cxn>
                  <a:cxn ang="0">
                    <a:pos x="66" y="82"/>
                  </a:cxn>
                  <a:cxn ang="0">
                    <a:pos x="66" y="80"/>
                  </a:cxn>
                  <a:cxn ang="0">
                    <a:pos x="61" y="75"/>
                  </a:cxn>
                  <a:cxn ang="0">
                    <a:pos x="57" y="71"/>
                  </a:cxn>
                  <a:cxn ang="0">
                    <a:pos x="55" y="73"/>
                  </a:cxn>
                  <a:cxn ang="0">
                    <a:pos x="52" y="73"/>
                  </a:cxn>
                  <a:cxn ang="0">
                    <a:pos x="48" y="71"/>
                  </a:cxn>
                  <a:cxn ang="0">
                    <a:pos x="41" y="61"/>
                  </a:cxn>
                  <a:cxn ang="0">
                    <a:pos x="52" y="52"/>
                  </a:cxn>
                  <a:cxn ang="0">
                    <a:pos x="57" y="45"/>
                  </a:cxn>
                  <a:cxn ang="0">
                    <a:pos x="59" y="42"/>
                  </a:cxn>
                  <a:cxn ang="0">
                    <a:pos x="55" y="38"/>
                  </a:cxn>
                  <a:cxn ang="0">
                    <a:pos x="50" y="30"/>
                  </a:cxn>
                  <a:cxn ang="0">
                    <a:pos x="47" y="19"/>
                  </a:cxn>
                  <a:cxn ang="0">
                    <a:pos x="52" y="16"/>
                  </a:cxn>
                  <a:cxn ang="0">
                    <a:pos x="55" y="7"/>
                  </a:cxn>
                  <a:cxn ang="0">
                    <a:pos x="47" y="11"/>
                  </a:cxn>
                  <a:cxn ang="0">
                    <a:pos x="43" y="11"/>
                  </a:cxn>
                  <a:cxn ang="0">
                    <a:pos x="38" y="5"/>
                  </a:cxn>
                  <a:cxn ang="0">
                    <a:pos x="36" y="0"/>
                  </a:cxn>
                  <a:cxn ang="0">
                    <a:pos x="33" y="4"/>
                  </a:cxn>
                  <a:cxn ang="0">
                    <a:pos x="28" y="2"/>
                  </a:cxn>
                  <a:cxn ang="0">
                    <a:pos x="17" y="7"/>
                  </a:cxn>
                  <a:cxn ang="0">
                    <a:pos x="15" y="11"/>
                  </a:cxn>
                  <a:cxn ang="0">
                    <a:pos x="15" y="19"/>
                  </a:cxn>
                  <a:cxn ang="0">
                    <a:pos x="12" y="30"/>
                  </a:cxn>
                  <a:cxn ang="0">
                    <a:pos x="15" y="38"/>
                  </a:cxn>
                  <a:cxn ang="0">
                    <a:pos x="15" y="42"/>
                  </a:cxn>
                  <a:cxn ang="0">
                    <a:pos x="15" y="45"/>
                  </a:cxn>
                  <a:cxn ang="0">
                    <a:pos x="14" y="54"/>
                  </a:cxn>
                  <a:cxn ang="0">
                    <a:pos x="8" y="58"/>
                  </a:cxn>
                  <a:cxn ang="0">
                    <a:pos x="5" y="61"/>
                  </a:cxn>
                  <a:cxn ang="0">
                    <a:pos x="1" y="71"/>
                  </a:cxn>
                  <a:cxn ang="0">
                    <a:pos x="5" y="78"/>
                  </a:cxn>
                  <a:cxn ang="0">
                    <a:pos x="8" y="82"/>
                  </a:cxn>
                  <a:cxn ang="0">
                    <a:pos x="14" y="89"/>
                  </a:cxn>
                  <a:cxn ang="0">
                    <a:pos x="19" y="92"/>
                  </a:cxn>
                  <a:cxn ang="0">
                    <a:pos x="28" y="98"/>
                  </a:cxn>
                  <a:cxn ang="0">
                    <a:pos x="36" y="132"/>
                  </a:cxn>
                  <a:cxn ang="0">
                    <a:pos x="36" y="132"/>
                  </a:cxn>
                  <a:cxn ang="0">
                    <a:pos x="54" y="66"/>
                  </a:cxn>
                  <a:cxn ang="0">
                    <a:pos x="57" y="70"/>
                  </a:cxn>
                  <a:cxn ang="0">
                    <a:pos x="52" y="70"/>
                  </a:cxn>
                  <a:cxn ang="0">
                    <a:pos x="52" y="70"/>
                  </a:cxn>
                </a:cxnLst>
                <a:rect l="0" t="0" r="r" b="b"/>
                <a:pathLst>
                  <a:path w="69" h="132">
                    <a:moveTo>
                      <a:pt x="36" y="132"/>
                    </a:moveTo>
                    <a:lnTo>
                      <a:pt x="38" y="132"/>
                    </a:lnTo>
                    <a:lnTo>
                      <a:pt x="41" y="132"/>
                    </a:lnTo>
                    <a:lnTo>
                      <a:pt x="43" y="131"/>
                    </a:lnTo>
                    <a:lnTo>
                      <a:pt x="45" y="127"/>
                    </a:lnTo>
                    <a:lnTo>
                      <a:pt x="45" y="125"/>
                    </a:lnTo>
                    <a:lnTo>
                      <a:pt x="45" y="124"/>
                    </a:lnTo>
                    <a:lnTo>
                      <a:pt x="47" y="124"/>
                    </a:lnTo>
                    <a:lnTo>
                      <a:pt x="47" y="118"/>
                    </a:lnTo>
                    <a:lnTo>
                      <a:pt x="45" y="115"/>
                    </a:lnTo>
                    <a:lnTo>
                      <a:pt x="45" y="111"/>
                    </a:lnTo>
                    <a:lnTo>
                      <a:pt x="45" y="110"/>
                    </a:lnTo>
                    <a:lnTo>
                      <a:pt x="48" y="108"/>
                    </a:lnTo>
                    <a:lnTo>
                      <a:pt x="52" y="108"/>
                    </a:lnTo>
                    <a:lnTo>
                      <a:pt x="55" y="105"/>
                    </a:lnTo>
                    <a:lnTo>
                      <a:pt x="55" y="101"/>
                    </a:lnTo>
                    <a:lnTo>
                      <a:pt x="66" y="94"/>
                    </a:lnTo>
                    <a:lnTo>
                      <a:pt x="69" y="89"/>
                    </a:lnTo>
                    <a:lnTo>
                      <a:pt x="69" y="89"/>
                    </a:lnTo>
                    <a:lnTo>
                      <a:pt x="66" y="82"/>
                    </a:lnTo>
                    <a:lnTo>
                      <a:pt x="66" y="80"/>
                    </a:lnTo>
                    <a:lnTo>
                      <a:pt x="66" y="80"/>
                    </a:lnTo>
                    <a:lnTo>
                      <a:pt x="61" y="77"/>
                    </a:lnTo>
                    <a:lnTo>
                      <a:pt x="61" y="75"/>
                    </a:lnTo>
                    <a:lnTo>
                      <a:pt x="61" y="71"/>
                    </a:lnTo>
                    <a:lnTo>
                      <a:pt x="57" y="71"/>
                    </a:lnTo>
                    <a:lnTo>
                      <a:pt x="55" y="71"/>
                    </a:lnTo>
                    <a:lnTo>
                      <a:pt x="55" y="73"/>
                    </a:lnTo>
                    <a:lnTo>
                      <a:pt x="55" y="73"/>
                    </a:lnTo>
                    <a:lnTo>
                      <a:pt x="52" y="73"/>
                    </a:lnTo>
                    <a:lnTo>
                      <a:pt x="52" y="70"/>
                    </a:lnTo>
                    <a:lnTo>
                      <a:pt x="48" y="71"/>
                    </a:lnTo>
                    <a:lnTo>
                      <a:pt x="43" y="66"/>
                    </a:lnTo>
                    <a:lnTo>
                      <a:pt x="41" y="61"/>
                    </a:lnTo>
                    <a:lnTo>
                      <a:pt x="41" y="58"/>
                    </a:lnTo>
                    <a:lnTo>
                      <a:pt x="52" y="52"/>
                    </a:lnTo>
                    <a:lnTo>
                      <a:pt x="57" y="45"/>
                    </a:lnTo>
                    <a:lnTo>
                      <a:pt x="57" y="45"/>
                    </a:lnTo>
                    <a:lnTo>
                      <a:pt x="55" y="42"/>
                    </a:lnTo>
                    <a:lnTo>
                      <a:pt x="59" y="42"/>
                    </a:lnTo>
                    <a:lnTo>
                      <a:pt x="57" y="38"/>
                    </a:lnTo>
                    <a:lnTo>
                      <a:pt x="55" y="38"/>
                    </a:lnTo>
                    <a:lnTo>
                      <a:pt x="55" y="33"/>
                    </a:lnTo>
                    <a:lnTo>
                      <a:pt x="50" y="30"/>
                    </a:lnTo>
                    <a:lnTo>
                      <a:pt x="47" y="25"/>
                    </a:lnTo>
                    <a:lnTo>
                      <a:pt x="47" y="19"/>
                    </a:lnTo>
                    <a:lnTo>
                      <a:pt x="52" y="19"/>
                    </a:lnTo>
                    <a:lnTo>
                      <a:pt x="52" y="16"/>
                    </a:lnTo>
                    <a:lnTo>
                      <a:pt x="55" y="11"/>
                    </a:lnTo>
                    <a:lnTo>
                      <a:pt x="55" y="7"/>
                    </a:lnTo>
                    <a:lnTo>
                      <a:pt x="54" y="5"/>
                    </a:lnTo>
                    <a:lnTo>
                      <a:pt x="47" y="11"/>
                    </a:lnTo>
                    <a:lnTo>
                      <a:pt x="45" y="12"/>
                    </a:lnTo>
                    <a:lnTo>
                      <a:pt x="43" y="11"/>
                    </a:lnTo>
                    <a:lnTo>
                      <a:pt x="41" y="5"/>
                    </a:lnTo>
                    <a:lnTo>
                      <a:pt x="38" y="5"/>
                    </a:lnTo>
                    <a:lnTo>
                      <a:pt x="41" y="2"/>
                    </a:lnTo>
                    <a:lnTo>
                      <a:pt x="36" y="0"/>
                    </a:lnTo>
                    <a:lnTo>
                      <a:pt x="33" y="0"/>
                    </a:lnTo>
                    <a:lnTo>
                      <a:pt x="33" y="4"/>
                    </a:lnTo>
                    <a:lnTo>
                      <a:pt x="33" y="0"/>
                    </a:lnTo>
                    <a:lnTo>
                      <a:pt x="28" y="2"/>
                    </a:lnTo>
                    <a:lnTo>
                      <a:pt x="21" y="5"/>
                    </a:lnTo>
                    <a:lnTo>
                      <a:pt x="17" y="7"/>
                    </a:lnTo>
                    <a:lnTo>
                      <a:pt x="17" y="7"/>
                    </a:lnTo>
                    <a:lnTo>
                      <a:pt x="15" y="11"/>
                    </a:lnTo>
                    <a:lnTo>
                      <a:pt x="17" y="12"/>
                    </a:lnTo>
                    <a:lnTo>
                      <a:pt x="15" y="19"/>
                    </a:lnTo>
                    <a:lnTo>
                      <a:pt x="15" y="23"/>
                    </a:lnTo>
                    <a:lnTo>
                      <a:pt x="12" y="30"/>
                    </a:lnTo>
                    <a:lnTo>
                      <a:pt x="14" y="37"/>
                    </a:lnTo>
                    <a:lnTo>
                      <a:pt x="15" y="38"/>
                    </a:lnTo>
                    <a:lnTo>
                      <a:pt x="17" y="38"/>
                    </a:lnTo>
                    <a:lnTo>
                      <a:pt x="15" y="42"/>
                    </a:lnTo>
                    <a:lnTo>
                      <a:pt x="14" y="42"/>
                    </a:lnTo>
                    <a:lnTo>
                      <a:pt x="15" y="45"/>
                    </a:lnTo>
                    <a:lnTo>
                      <a:pt x="14" y="47"/>
                    </a:lnTo>
                    <a:lnTo>
                      <a:pt x="14" y="54"/>
                    </a:lnTo>
                    <a:lnTo>
                      <a:pt x="10" y="56"/>
                    </a:lnTo>
                    <a:lnTo>
                      <a:pt x="8" y="58"/>
                    </a:lnTo>
                    <a:lnTo>
                      <a:pt x="8" y="58"/>
                    </a:lnTo>
                    <a:lnTo>
                      <a:pt x="5" y="61"/>
                    </a:lnTo>
                    <a:lnTo>
                      <a:pt x="0" y="70"/>
                    </a:lnTo>
                    <a:lnTo>
                      <a:pt x="1" y="71"/>
                    </a:lnTo>
                    <a:lnTo>
                      <a:pt x="5" y="75"/>
                    </a:lnTo>
                    <a:lnTo>
                      <a:pt x="5" y="78"/>
                    </a:lnTo>
                    <a:lnTo>
                      <a:pt x="5" y="82"/>
                    </a:lnTo>
                    <a:lnTo>
                      <a:pt x="8" y="82"/>
                    </a:lnTo>
                    <a:lnTo>
                      <a:pt x="12" y="84"/>
                    </a:lnTo>
                    <a:lnTo>
                      <a:pt x="14" y="89"/>
                    </a:lnTo>
                    <a:lnTo>
                      <a:pt x="17" y="92"/>
                    </a:lnTo>
                    <a:lnTo>
                      <a:pt x="19" y="92"/>
                    </a:lnTo>
                    <a:lnTo>
                      <a:pt x="22" y="94"/>
                    </a:lnTo>
                    <a:lnTo>
                      <a:pt x="28" y="98"/>
                    </a:lnTo>
                    <a:lnTo>
                      <a:pt x="36" y="132"/>
                    </a:lnTo>
                    <a:lnTo>
                      <a:pt x="36" y="132"/>
                    </a:lnTo>
                    <a:lnTo>
                      <a:pt x="36" y="132"/>
                    </a:lnTo>
                    <a:lnTo>
                      <a:pt x="36" y="132"/>
                    </a:lnTo>
                    <a:close/>
                    <a:moveTo>
                      <a:pt x="52" y="70"/>
                    </a:moveTo>
                    <a:lnTo>
                      <a:pt x="54" y="66"/>
                    </a:lnTo>
                    <a:lnTo>
                      <a:pt x="57" y="66"/>
                    </a:lnTo>
                    <a:lnTo>
                      <a:pt x="57" y="70"/>
                    </a:lnTo>
                    <a:lnTo>
                      <a:pt x="55" y="70"/>
                    </a:lnTo>
                    <a:lnTo>
                      <a:pt x="52" y="70"/>
                    </a:lnTo>
                    <a:lnTo>
                      <a:pt x="52" y="70"/>
                    </a:lnTo>
                    <a:lnTo>
                      <a:pt x="52" y="7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8" name="Freeform 111"/>
              <p:cNvSpPr>
                <a:spLocks/>
              </p:cNvSpPr>
              <p:nvPr/>
            </p:nvSpPr>
            <p:spPr bwMode="auto">
              <a:xfrm>
                <a:off x="4230688" y="3211513"/>
                <a:ext cx="541338" cy="519113"/>
              </a:xfrm>
              <a:custGeom>
                <a:avLst/>
                <a:gdLst/>
                <a:ahLst/>
                <a:cxnLst>
                  <a:cxn ang="0">
                    <a:pos x="336" y="249"/>
                  </a:cxn>
                  <a:cxn ang="0">
                    <a:pos x="329" y="235"/>
                  </a:cxn>
                  <a:cxn ang="0">
                    <a:pos x="313" y="235"/>
                  </a:cxn>
                  <a:cxn ang="0">
                    <a:pos x="310" y="226"/>
                  </a:cxn>
                  <a:cxn ang="0">
                    <a:pos x="308" y="218"/>
                  </a:cxn>
                  <a:cxn ang="0">
                    <a:pos x="299" y="204"/>
                  </a:cxn>
                  <a:cxn ang="0">
                    <a:pos x="299" y="197"/>
                  </a:cxn>
                  <a:cxn ang="0">
                    <a:pos x="304" y="186"/>
                  </a:cxn>
                  <a:cxn ang="0">
                    <a:pos x="306" y="173"/>
                  </a:cxn>
                  <a:cxn ang="0">
                    <a:pos x="303" y="157"/>
                  </a:cxn>
                  <a:cxn ang="0">
                    <a:pos x="299" y="134"/>
                  </a:cxn>
                  <a:cxn ang="0">
                    <a:pos x="299" y="127"/>
                  </a:cxn>
                  <a:cxn ang="0">
                    <a:pos x="282" y="87"/>
                  </a:cxn>
                  <a:cxn ang="0">
                    <a:pos x="275" y="79"/>
                  </a:cxn>
                  <a:cxn ang="0">
                    <a:pos x="268" y="73"/>
                  </a:cxn>
                  <a:cxn ang="0">
                    <a:pos x="264" y="65"/>
                  </a:cxn>
                  <a:cxn ang="0">
                    <a:pos x="271" y="51"/>
                  </a:cxn>
                  <a:cxn ang="0">
                    <a:pos x="277" y="42"/>
                  </a:cxn>
                  <a:cxn ang="0">
                    <a:pos x="278" y="37"/>
                  </a:cxn>
                  <a:cxn ang="0">
                    <a:pos x="277" y="32"/>
                  </a:cxn>
                  <a:cxn ang="0">
                    <a:pos x="278" y="14"/>
                  </a:cxn>
                  <a:cxn ang="0">
                    <a:pos x="280" y="2"/>
                  </a:cxn>
                  <a:cxn ang="0">
                    <a:pos x="271" y="2"/>
                  </a:cxn>
                  <a:cxn ang="0">
                    <a:pos x="256" y="0"/>
                  </a:cxn>
                  <a:cxn ang="0">
                    <a:pos x="249" y="2"/>
                  </a:cxn>
                  <a:cxn ang="0">
                    <a:pos x="240" y="0"/>
                  </a:cxn>
                  <a:cxn ang="0">
                    <a:pos x="235" y="6"/>
                  </a:cxn>
                  <a:cxn ang="0">
                    <a:pos x="226" y="7"/>
                  </a:cxn>
                  <a:cxn ang="0">
                    <a:pos x="214" y="2"/>
                  </a:cxn>
                  <a:cxn ang="0">
                    <a:pos x="205" y="2"/>
                  </a:cxn>
                  <a:cxn ang="0">
                    <a:pos x="198" y="2"/>
                  </a:cxn>
                  <a:cxn ang="0">
                    <a:pos x="191" y="6"/>
                  </a:cxn>
                  <a:cxn ang="0">
                    <a:pos x="179" y="7"/>
                  </a:cxn>
                  <a:cxn ang="0">
                    <a:pos x="164" y="7"/>
                  </a:cxn>
                  <a:cxn ang="0">
                    <a:pos x="150" y="16"/>
                  </a:cxn>
                  <a:cxn ang="0">
                    <a:pos x="145" y="23"/>
                  </a:cxn>
                  <a:cxn ang="0">
                    <a:pos x="139" y="23"/>
                  </a:cxn>
                  <a:cxn ang="0">
                    <a:pos x="131" y="25"/>
                  </a:cxn>
                  <a:cxn ang="0">
                    <a:pos x="124" y="32"/>
                  </a:cxn>
                  <a:cxn ang="0">
                    <a:pos x="110" y="37"/>
                  </a:cxn>
                  <a:cxn ang="0">
                    <a:pos x="115" y="44"/>
                  </a:cxn>
                  <a:cxn ang="0">
                    <a:pos x="115" y="54"/>
                  </a:cxn>
                  <a:cxn ang="0">
                    <a:pos x="119" y="73"/>
                  </a:cxn>
                  <a:cxn ang="0">
                    <a:pos x="124" y="84"/>
                  </a:cxn>
                  <a:cxn ang="0">
                    <a:pos x="129" y="86"/>
                  </a:cxn>
                  <a:cxn ang="0">
                    <a:pos x="125" y="96"/>
                  </a:cxn>
                  <a:cxn ang="0">
                    <a:pos x="96" y="105"/>
                  </a:cxn>
                  <a:cxn ang="0">
                    <a:pos x="91" y="115"/>
                  </a:cxn>
                  <a:cxn ang="0">
                    <a:pos x="61" y="138"/>
                  </a:cxn>
                  <a:cxn ang="0">
                    <a:pos x="33" y="146"/>
                  </a:cxn>
                  <a:cxn ang="0">
                    <a:pos x="18" y="150"/>
                  </a:cxn>
                  <a:cxn ang="0">
                    <a:pos x="0" y="164"/>
                  </a:cxn>
                  <a:cxn ang="0">
                    <a:pos x="0" y="181"/>
                  </a:cxn>
                  <a:cxn ang="0">
                    <a:pos x="63" y="223"/>
                  </a:cxn>
                  <a:cxn ang="0">
                    <a:pos x="174" y="303"/>
                  </a:cxn>
                  <a:cxn ang="0">
                    <a:pos x="190" y="308"/>
                  </a:cxn>
                  <a:cxn ang="0">
                    <a:pos x="200" y="317"/>
                  </a:cxn>
                  <a:cxn ang="0">
                    <a:pos x="198" y="327"/>
                  </a:cxn>
                  <a:cxn ang="0">
                    <a:pos x="218" y="326"/>
                  </a:cxn>
                  <a:cxn ang="0">
                    <a:pos x="244" y="320"/>
                  </a:cxn>
                  <a:cxn ang="0">
                    <a:pos x="341" y="254"/>
                  </a:cxn>
                </a:cxnLst>
                <a:rect l="0" t="0" r="r" b="b"/>
                <a:pathLst>
                  <a:path w="341" h="327">
                    <a:moveTo>
                      <a:pt x="341" y="254"/>
                    </a:moveTo>
                    <a:lnTo>
                      <a:pt x="339" y="253"/>
                    </a:lnTo>
                    <a:lnTo>
                      <a:pt x="336" y="249"/>
                    </a:lnTo>
                    <a:lnTo>
                      <a:pt x="336" y="247"/>
                    </a:lnTo>
                    <a:lnTo>
                      <a:pt x="332" y="240"/>
                    </a:lnTo>
                    <a:lnTo>
                      <a:pt x="329" y="235"/>
                    </a:lnTo>
                    <a:lnTo>
                      <a:pt x="327" y="235"/>
                    </a:lnTo>
                    <a:lnTo>
                      <a:pt x="322" y="235"/>
                    </a:lnTo>
                    <a:lnTo>
                      <a:pt x="313" y="235"/>
                    </a:lnTo>
                    <a:lnTo>
                      <a:pt x="311" y="232"/>
                    </a:lnTo>
                    <a:lnTo>
                      <a:pt x="311" y="230"/>
                    </a:lnTo>
                    <a:lnTo>
                      <a:pt x="310" y="226"/>
                    </a:lnTo>
                    <a:lnTo>
                      <a:pt x="308" y="223"/>
                    </a:lnTo>
                    <a:lnTo>
                      <a:pt x="310" y="220"/>
                    </a:lnTo>
                    <a:lnTo>
                      <a:pt x="308" y="218"/>
                    </a:lnTo>
                    <a:lnTo>
                      <a:pt x="308" y="214"/>
                    </a:lnTo>
                    <a:lnTo>
                      <a:pt x="304" y="209"/>
                    </a:lnTo>
                    <a:lnTo>
                      <a:pt x="299" y="204"/>
                    </a:lnTo>
                    <a:lnTo>
                      <a:pt x="297" y="200"/>
                    </a:lnTo>
                    <a:lnTo>
                      <a:pt x="297" y="199"/>
                    </a:lnTo>
                    <a:lnTo>
                      <a:pt x="299" y="197"/>
                    </a:lnTo>
                    <a:lnTo>
                      <a:pt x="304" y="195"/>
                    </a:lnTo>
                    <a:lnTo>
                      <a:pt x="306" y="192"/>
                    </a:lnTo>
                    <a:lnTo>
                      <a:pt x="304" y="186"/>
                    </a:lnTo>
                    <a:lnTo>
                      <a:pt x="303" y="183"/>
                    </a:lnTo>
                    <a:lnTo>
                      <a:pt x="304" y="181"/>
                    </a:lnTo>
                    <a:lnTo>
                      <a:pt x="306" y="173"/>
                    </a:lnTo>
                    <a:lnTo>
                      <a:pt x="303" y="167"/>
                    </a:lnTo>
                    <a:lnTo>
                      <a:pt x="303" y="159"/>
                    </a:lnTo>
                    <a:lnTo>
                      <a:pt x="303" y="157"/>
                    </a:lnTo>
                    <a:lnTo>
                      <a:pt x="303" y="150"/>
                    </a:lnTo>
                    <a:lnTo>
                      <a:pt x="303" y="140"/>
                    </a:lnTo>
                    <a:lnTo>
                      <a:pt x="299" y="134"/>
                    </a:lnTo>
                    <a:lnTo>
                      <a:pt x="297" y="134"/>
                    </a:lnTo>
                    <a:lnTo>
                      <a:pt x="297" y="127"/>
                    </a:lnTo>
                    <a:lnTo>
                      <a:pt x="299" y="127"/>
                    </a:lnTo>
                    <a:lnTo>
                      <a:pt x="291" y="93"/>
                    </a:lnTo>
                    <a:lnTo>
                      <a:pt x="285" y="89"/>
                    </a:lnTo>
                    <a:lnTo>
                      <a:pt x="282" y="87"/>
                    </a:lnTo>
                    <a:lnTo>
                      <a:pt x="280" y="86"/>
                    </a:lnTo>
                    <a:lnTo>
                      <a:pt x="277" y="84"/>
                    </a:lnTo>
                    <a:lnTo>
                      <a:pt x="275" y="79"/>
                    </a:lnTo>
                    <a:lnTo>
                      <a:pt x="271" y="77"/>
                    </a:lnTo>
                    <a:lnTo>
                      <a:pt x="268" y="77"/>
                    </a:lnTo>
                    <a:lnTo>
                      <a:pt x="268" y="73"/>
                    </a:lnTo>
                    <a:lnTo>
                      <a:pt x="268" y="70"/>
                    </a:lnTo>
                    <a:lnTo>
                      <a:pt x="264" y="66"/>
                    </a:lnTo>
                    <a:lnTo>
                      <a:pt x="264" y="65"/>
                    </a:lnTo>
                    <a:lnTo>
                      <a:pt x="268" y="56"/>
                    </a:lnTo>
                    <a:lnTo>
                      <a:pt x="271" y="51"/>
                    </a:lnTo>
                    <a:lnTo>
                      <a:pt x="271" y="51"/>
                    </a:lnTo>
                    <a:lnTo>
                      <a:pt x="273" y="51"/>
                    </a:lnTo>
                    <a:lnTo>
                      <a:pt x="277" y="47"/>
                    </a:lnTo>
                    <a:lnTo>
                      <a:pt x="277" y="42"/>
                    </a:lnTo>
                    <a:lnTo>
                      <a:pt x="278" y="40"/>
                    </a:lnTo>
                    <a:lnTo>
                      <a:pt x="277" y="37"/>
                    </a:lnTo>
                    <a:lnTo>
                      <a:pt x="278" y="37"/>
                    </a:lnTo>
                    <a:lnTo>
                      <a:pt x="280" y="33"/>
                    </a:lnTo>
                    <a:lnTo>
                      <a:pt x="278" y="33"/>
                    </a:lnTo>
                    <a:lnTo>
                      <a:pt x="277" y="32"/>
                    </a:lnTo>
                    <a:lnTo>
                      <a:pt x="275" y="25"/>
                    </a:lnTo>
                    <a:lnTo>
                      <a:pt x="278" y="18"/>
                    </a:lnTo>
                    <a:lnTo>
                      <a:pt x="278" y="14"/>
                    </a:lnTo>
                    <a:lnTo>
                      <a:pt x="280" y="7"/>
                    </a:lnTo>
                    <a:lnTo>
                      <a:pt x="278" y="6"/>
                    </a:lnTo>
                    <a:lnTo>
                      <a:pt x="280" y="2"/>
                    </a:lnTo>
                    <a:lnTo>
                      <a:pt x="278" y="2"/>
                    </a:lnTo>
                    <a:lnTo>
                      <a:pt x="273" y="2"/>
                    </a:lnTo>
                    <a:lnTo>
                      <a:pt x="271" y="2"/>
                    </a:lnTo>
                    <a:lnTo>
                      <a:pt x="264" y="6"/>
                    </a:lnTo>
                    <a:lnTo>
                      <a:pt x="259" y="2"/>
                    </a:lnTo>
                    <a:lnTo>
                      <a:pt x="256" y="0"/>
                    </a:lnTo>
                    <a:lnTo>
                      <a:pt x="256" y="2"/>
                    </a:lnTo>
                    <a:lnTo>
                      <a:pt x="252" y="6"/>
                    </a:lnTo>
                    <a:lnTo>
                      <a:pt x="249" y="2"/>
                    </a:lnTo>
                    <a:lnTo>
                      <a:pt x="245" y="2"/>
                    </a:lnTo>
                    <a:lnTo>
                      <a:pt x="244" y="0"/>
                    </a:lnTo>
                    <a:lnTo>
                      <a:pt x="240" y="0"/>
                    </a:lnTo>
                    <a:lnTo>
                      <a:pt x="240" y="2"/>
                    </a:lnTo>
                    <a:lnTo>
                      <a:pt x="237" y="2"/>
                    </a:lnTo>
                    <a:lnTo>
                      <a:pt x="235" y="6"/>
                    </a:lnTo>
                    <a:lnTo>
                      <a:pt x="233" y="6"/>
                    </a:lnTo>
                    <a:lnTo>
                      <a:pt x="230" y="6"/>
                    </a:lnTo>
                    <a:lnTo>
                      <a:pt x="226" y="7"/>
                    </a:lnTo>
                    <a:lnTo>
                      <a:pt x="223" y="7"/>
                    </a:lnTo>
                    <a:lnTo>
                      <a:pt x="219" y="6"/>
                    </a:lnTo>
                    <a:lnTo>
                      <a:pt x="214" y="2"/>
                    </a:lnTo>
                    <a:lnTo>
                      <a:pt x="214" y="2"/>
                    </a:lnTo>
                    <a:lnTo>
                      <a:pt x="209" y="6"/>
                    </a:lnTo>
                    <a:lnTo>
                      <a:pt x="205" y="2"/>
                    </a:lnTo>
                    <a:lnTo>
                      <a:pt x="204" y="2"/>
                    </a:lnTo>
                    <a:lnTo>
                      <a:pt x="200" y="2"/>
                    </a:lnTo>
                    <a:lnTo>
                      <a:pt x="198" y="2"/>
                    </a:lnTo>
                    <a:lnTo>
                      <a:pt x="197" y="6"/>
                    </a:lnTo>
                    <a:lnTo>
                      <a:pt x="195" y="6"/>
                    </a:lnTo>
                    <a:lnTo>
                      <a:pt x="191" y="6"/>
                    </a:lnTo>
                    <a:lnTo>
                      <a:pt x="186" y="11"/>
                    </a:lnTo>
                    <a:lnTo>
                      <a:pt x="183" y="11"/>
                    </a:lnTo>
                    <a:lnTo>
                      <a:pt x="179" y="7"/>
                    </a:lnTo>
                    <a:lnTo>
                      <a:pt x="176" y="7"/>
                    </a:lnTo>
                    <a:lnTo>
                      <a:pt x="169" y="11"/>
                    </a:lnTo>
                    <a:lnTo>
                      <a:pt x="164" y="7"/>
                    </a:lnTo>
                    <a:lnTo>
                      <a:pt x="157" y="14"/>
                    </a:lnTo>
                    <a:lnTo>
                      <a:pt x="152" y="16"/>
                    </a:lnTo>
                    <a:lnTo>
                      <a:pt x="150" y="16"/>
                    </a:lnTo>
                    <a:lnTo>
                      <a:pt x="145" y="18"/>
                    </a:lnTo>
                    <a:lnTo>
                      <a:pt x="145" y="21"/>
                    </a:lnTo>
                    <a:lnTo>
                      <a:pt x="145" y="23"/>
                    </a:lnTo>
                    <a:lnTo>
                      <a:pt x="141" y="23"/>
                    </a:lnTo>
                    <a:lnTo>
                      <a:pt x="141" y="23"/>
                    </a:lnTo>
                    <a:lnTo>
                      <a:pt x="139" y="23"/>
                    </a:lnTo>
                    <a:lnTo>
                      <a:pt x="138" y="25"/>
                    </a:lnTo>
                    <a:lnTo>
                      <a:pt x="136" y="25"/>
                    </a:lnTo>
                    <a:lnTo>
                      <a:pt x="131" y="25"/>
                    </a:lnTo>
                    <a:lnTo>
                      <a:pt x="125" y="28"/>
                    </a:lnTo>
                    <a:lnTo>
                      <a:pt x="124" y="28"/>
                    </a:lnTo>
                    <a:lnTo>
                      <a:pt x="124" y="32"/>
                    </a:lnTo>
                    <a:lnTo>
                      <a:pt x="122" y="37"/>
                    </a:lnTo>
                    <a:lnTo>
                      <a:pt x="115" y="37"/>
                    </a:lnTo>
                    <a:lnTo>
                      <a:pt x="110" y="37"/>
                    </a:lnTo>
                    <a:lnTo>
                      <a:pt x="113" y="39"/>
                    </a:lnTo>
                    <a:lnTo>
                      <a:pt x="113" y="40"/>
                    </a:lnTo>
                    <a:lnTo>
                      <a:pt x="115" y="44"/>
                    </a:lnTo>
                    <a:lnTo>
                      <a:pt x="115" y="47"/>
                    </a:lnTo>
                    <a:lnTo>
                      <a:pt x="115" y="47"/>
                    </a:lnTo>
                    <a:lnTo>
                      <a:pt x="115" y="54"/>
                    </a:lnTo>
                    <a:lnTo>
                      <a:pt x="115" y="60"/>
                    </a:lnTo>
                    <a:lnTo>
                      <a:pt x="115" y="61"/>
                    </a:lnTo>
                    <a:lnTo>
                      <a:pt x="119" y="73"/>
                    </a:lnTo>
                    <a:lnTo>
                      <a:pt x="122" y="79"/>
                    </a:lnTo>
                    <a:lnTo>
                      <a:pt x="122" y="82"/>
                    </a:lnTo>
                    <a:lnTo>
                      <a:pt x="124" y="84"/>
                    </a:lnTo>
                    <a:lnTo>
                      <a:pt x="125" y="86"/>
                    </a:lnTo>
                    <a:lnTo>
                      <a:pt x="127" y="86"/>
                    </a:lnTo>
                    <a:lnTo>
                      <a:pt x="129" y="86"/>
                    </a:lnTo>
                    <a:lnTo>
                      <a:pt x="127" y="91"/>
                    </a:lnTo>
                    <a:lnTo>
                      <a:pt x="127" y="93"/>
                    </a:lnTo>
                    <a:lnTo>
                      <a:pt x="125" y="96"/>
                    </a:lnTo>
                    <a:lnTo>
                      <a:pt x="105" y="96"/>
                    </a:lnTo>
                    <a:lnTo>
                      <a:pt x="101" y="96"/>
                    </a:lnTo>
                    <a:lnTo>
                      <a:pt x="96" y="105"/>
                    </a:lnTo>
                    <a:lnTo>
                      <a:pt x="92" y="105"/>
                    </a:lnTo>
                    <a:lnTo>
                      <a:pt x="91" y="110"/>
                    </a:lnTo>
                    <a:lnTo>
                      <a:pt x="91" y="115"/>
                    </a:lnTo>
                    <a:lnTo>
                      <a:pt x="91" y="119"/>
                    </a:lnTo>
                    <a:lnTo>
                      <a:pt x="79" y="127"/>
                    </a:lnTo>
                    <a:lnTo>
                      <a:pt x="61" y="138"/>
                    </a:lnTo>
                    <a:lnTo>
                      <a:pt x="46" y="146"/>
                    </a:lnTo>
                    <a:lnTo>
                      <a:pt x="40" y="146"/>
                    </a:lnTo>
                    <a:lnTo>
                      <a:pt x="33" y="146"/>
                    </a:lnTo>
                    <a:lnTo>
                      <a:pt x="30" y="146"/>
                    </a:lnTo>
                    <a:lnTo>
                      <a:pt x="25" y="146"/>
                    </a:lnTo>
                    <a:lnTo>
                      <a:pt x="18" y="150"/>
                    </a:lnTo>
                    <a:lnTo>
                      <a:pt x="13" y="152"/>
                    </a:lnTo>
                    <a:lnTo>
                      <a:pt x="9" y="157"/>
                    </a:lnTo>
                    <a:lnTo>
                      <a:pt x="0" y="164"/>
                    </a:lnTo>
                    <a:lnTo>
                      <a:pt x="0" y="176"/>
                    </a:lnTo>
                    <a:lnTo>
                      <a:pt x="0" y="178"/>
                    </a:lnTo>
                    <a:lnTo>
                      <a:pt x="0" y="181"/>
                    </a:lnTo>
                    <a:lnTo>
                      <a:pt x="0" y="183"/>
                    </a:lnTo>
                    <a:lnTo>
                      <a:pt x="0" y="181"/>
                    </a:lnTo>
                    <a:lnTo>
                      <a:pt x="63" y="223"/>
                    </a:lnTo>
                    <a:lnTo>
                      <a:pt x="63" y="223"/>
                    </a:lnTo>
                    <a:lnTo>
                      <a:pt x="172" y="296"/>
                    </a:lnTo>
                    <a:lnTo>
                      <a:pt x="174" y="303"/>
                    </a:lnTo>
                    <a:lnTo>
                      <a:pt x="178" y="308"/>
                    </a:lnTo>
                    <a:lnTo>
                      <a:pt x="185" y="308"/>
                    </a:lnTo>
                    <a:lnTo>
                      <a:pt x="190" y="308"/>
                    </a:lnTo>
                    <a:lnTo>
                      <a:pt x="191" y="313"/>
                    </a:lnTo>
                    <a:lnTo>
                      <a:pt x="197" y="313"/>
                    </a:lnTo>
                    <a:lnTo>
                      <a:pt x="200" y="317"/>
                    </a:lnTo>
                    <a:lnTo>
                      <a:pt x="200" y="320"/>
                    </a:lnTo>
                    <a:lnTo>
                      <a:pt x="198" y="326"/>
                    </a:lnTo>
                    <a:lnTo>
                      <a:pt x="198" y="327"/>
                    </a:lnTo>
                    <a:lnTo>
                      <a:pt x="204" y="327"/>
                    </a:lnTo>
                    <a:lnTo>
                      <a:pt x="212" y="327"/>
                    </a:lnTo>
                    <a:lnTo>
                      <a:pt x="218" y="326"/>
                    </a:lnTo>
                    <a:lnTo>
                      <a:pt x="218" y="326"/>
                    </a:lnTo>
                    <a:lnTo>
                      <a:pt x="218" y="326"/>
                    </a:lnTo>
                    <a:lnTo>
                      <a:pt x="244" y="320"/>
                    </a:lnTo>
                    <a:lnTo>
                      <a:pt x="264" y="299"/>
                    </a:lnTo>
                    <a:lnTo>
                      <a:pt x="341" y="254"/>
                    </a:lnTo>
                    <a:lnTo>
                      <a:pt x="341" y="254"/>
                    </a:lnTo>
                    <a:lnTo>
                      <a:pt x="341" y="254"/>
                    </a:lnTo>
                    <a:lnTo>
                      <a:pt x="341" y="25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9" name="Freeform 112"/>
              <p:cNvSpPr>
                <a:spLocks/>
              </p:cNvSpPr>
              <p:nvPr/>
            </p:nvSpPr>
            <p:spPr bwMode="auto">
              <a:xfrm>
                <a:off x="4008438" y="3498851"/>
                <a:ext cx="325438" cy="357188"/>
              </a:xfrm>
              <a:custGeom>
                <a:avLst/>
                <a:gdLst/>
                <a:ahLst/>
                <a:cxnLst>
                  <a:cxn ang="0">
                    <a:pos x="69" y="108"/>
                  </a:cxn>
                  <a:cxn ang="0">
                    <a:pos x="71" y="73"/>
                  </a:cxn>
                  <a:cxn ang="0">
                    <a:pos x="80" y="70"/>
                  </a:cxn>
                  <a:cxn ang="0">
                    <a:pos x="86" y="25"/>
                  </a:cxn>
                  <a:cxn ang="0">
                    <a:pos x="142" y="0"/>
                  </a:cxn>
                  <a:cxn ang="0">
                    <a:pos x="205" y="42"/>
                  </a:cxn>
                  <a:cxn ang="0">
                    <a:pos x="182" y="42"/>
                  </a:cxn>
                  <a:cxn ang="0">
                    <a:pos x="199" y="198"/>
                  </a:cxn>
                  <a:cxn ang="0">
                    <a:pos x="133" y="212"/>
                  </a:cxn>
                  <a:cxn ang="0">
                    <a:pos x="130" y="211"/>
                  </a:cxn>
                  <a:cxn ang="0">
                    <a:pos x="125" y="212"/>
                  </a:cxn>
                  <a:cxn ang="0">
                    <a:pos x="123" y="207"/>
                  </a:cxn>
                  <a:cxn ang="0">
                    <a:pos x="111" y="207"/>
                  </a:cxn>
                  <a:cxn ang="0">
                    <a:pos x="104" y="216"/>
                  </a:cxn>
                  <a:cxn ang="0">
                    <a:pos x="100" y="205"/>
                  </a:cxn>
                  <a:cxn ang="0">
                    <a:pos x="92" y="207"/>
                  </a:cxn>
                  <a:cxn ang="0">
                    <a:pos x="92" y="216"/>
                  </a:cxn>
                  <a:cxn ang="0">
                    <a:pos x="83" y="221"/>
                  </a:cxn>
                  <a:cxn ang="0">
                    <a:pos x="81" y="225"/>
                  </a:cxn>
                  <a:cxn ang="0">
                    <a:pos x="74" y="219"/>
                  </a:cxn>
                  <a:cxn ang="0">
                    <a:pos x="71" y="216"/>
                  </a:cxn>
                  <a:cxn ang="0">
                    <a:pos x="67" y="211"/>
                  </a:cxn>
                  <a:cxn ang="0">
                    <a:pos x="64" y="202"/>
                  </a:cxn>
                  <a:cxn ang="0">
                    <a:pos x="59" y="202"/>
                  </a:cxn>
                  <a:cxn ang="0">
                    <a:pos x="55" y="202"/>
                  </a:cxn>
                  <a:cxn ang="0">
                    <a:pos x="52" y="198"/>
                  </a:cxn>
                  <a:cxn ang="0">
                    <a:pos x="45" y="193"/>
                  </a:cxn>
                  <a:cxn ang="0">
                    <a:pos x="33" y="190"/>
                  </a:cxn>
                  <a:cxn ang="0">
                    <a:pos x="15" y="195"/>
                  </a:cxn>
                  <a:cxn ang="0">
                    <a:pos x="8" y="198"/>
                  </a:cxn>
                  <a:cxn ang="0">
                    <a:pos x="8" y="193"/>
                  </a:cxn>
                  <a:cxn ang="0">
                    <a:pos x="14" y="178"/>
                  </a:cxn>
                  <a:cxn ang="0">
                    <a:pos x="14" y="148"/>
                  </a:cxn>
                  <a:cxn ang="0">
                    <a:pos x="8" y="138"/>
                  </a:cxn>
                  <a:cxn ang="0">
                    <a:pos x="14" y="132"/>
                  </a:cxn>
                  <a:cxn ang="0">
                    <a:pos x="14" y="125"/>
                  </a:cxn>
                  <a:cxn ang="0">
                    <a:pos x="5" y="120"/>
                  </a:cxn>
                  <a:cxn ang="0">
                    <a:pos x="5" y="117"/>
                  </a:cxn>
                  <a:cxn ang="0">
                    <a:pos x="0" y="113"/>
                  </a:cxn>
                  <a:cxn ang="0">
                    <a:pos x="1" y="110"/>
                  </a:cxn>
                  <a:cxn ang="0">
                    <a:pos x="1" y="110"/>
                  </a:cxn>
                </a:cxnLst>
                <a:rect l="0" t="0" r="r" b="b"/>
                <a:pathLst>
                  <a:path w="205" h="225">
                    <a:moveTo>
                      <a:pt x="1" y="110"/>
                    </a:moveTo>
                    <a:lnTo>
                      <a:pt x="69" y="108"/>
                    </a:lnTo>
                    <a:lnTo>
                      <a:pt x="69" y="77"/>
                    </a:lnTo>
                    <a:lnTo>
                      <a:pt x="71" y="73"/>
                    </a:lnTo>
                    <a:lnTo>
                      <a:pt x="74" y="70"/>
                    </a:lnTo>
                    <a:lnTo>
                      <a:pt x="80" y="70"/>
                    </a:lnTo>
                    <a:lnTo>
                      <a:pt x="86" y="70"/>
                    </a:lnTo>
                    <a:lnTo>
                      <a:pt x="86" y="25"/>
                    </a:lnTo>
                    <a:lnTo>
                      <a:pt x="140" y="25"/>
                    </a:lnTo>
                    <a:lnTo>
                      <a:pt x="142" y="0"/>
                    </a:lnTo>
                    <a:lnTo>
                      <a:pt x="205" y="42"/>
                    </a:lnTo>
                    <a:lnTo>
                      <a:pt x="205" y="42"/>
                    </a:lnTo>
                    <a:lnTo>
                      <a:pt x="201" y="42"/>
                    </a:lnTo>
                    <a:lnTo>
                      <a:pt x="182" y="42"/>
                    </a:lnTo>
                    <a:lnTo>
                      <a:pt x="196" y="193"/>
                    </a:lnTo>
                    <a:lnTo>
                      <a:pt x="199" y="198"/>
                    </a:lnTo>
                    <a:lnTo>
                      <a:pt x="196" y="212"/>
                    </a:lnTo>
                    <a:lnTo>
                      <a:pt x="133" y="212"/>
                    </a:lnTo>
                    <a:lnTo>
                      <a:pt x="132" y="212"/>
                    </a:lnTo>
                    <a:lnTo>
                      <a:pt x="130" y="211"/>
                    </a:lnTo>
                    <a:lnTo>
                      <a:pt x="128" y="211"/>
                    </a:lnTo>
                    <a:lnTo>
                      <a:pt x="125" y="212"/>
                    </a:lnTo>
                    <a:lnTo>
                      <a:pt x="123" y="211"/>
                    </a:lnTo>
                    <a:lnTo>
                      <a:pt x="123" y="207"/>
                    </a:lnTo>
                    <a:lnTo>
                      <a:pt x="118" y="205"/>
                    </a:lnTo>
                    <a:lnTo>
                      <a:pt x="111" y="207"/>
                    </a:lnTo>
                    <a:lnTo>
                      <a:pt x="106" y="216"/>
                    </a:lnTo>
                    <a:lnTo>
                      <a:pt x="104" y="216"/>
                    </a:lnTo>
                    <a:lnTo>
                      <a:pt x="100" y="211"/>
                    </a:lnTo>
                    <a:lnTo>
                      <a:pt x="100" y="205"/>
                    </a:lnTo>
                    <a:lnTo>
                      <a:pt x="97" y="205"/>
                    </a:lnTo>
                    <a:lnTo>
                      <a:pt x="92" y="207"/>
                    </a:lnTo>
                    <a:lnTo>
                      <a:pt x="92" y="212"/>
                    </a:lnTo>
                    <a:lnTo>
                      <a:pt x="92" y="216"/>
                    </a:lnTo>
                    <a:lnTo>
                      <a:pt x="90" y="221"/>
                    </a:lnTo>
                    <a:lnTo>
                      <a:pt x="83" y="221"/>
                    </a:lnTo>
                    <a:lnTo>
                      <a:pt x="81" y="225"/>
                    </a:lnTo>
                    <a:lnTo>
                      <a:pt x="81" y="225"/>
                    </a:lnTo>
                    <a:lnTo>
                      <a:pt x="80" y="221"/>
                    </a:lnTo>
                    <a:lnTo>
                      <a:pt x="74" y="219"/>
                    </a:lnTo>
                    <a:lnTo>
                      <a:pt x="73" y="219"/>
                    </a:lnTo>
                    <a:lnTo>
                      <a:pt x="71" y="216"/>
                    </a:lnTo>
                    <a:lnTo>
                      <a:pt x="67" y="212"/>
                    </a:lnTo>
                    <a:lnTo>
                      <a:pt x="67" y="211"/>
                    </a:lnTo>
                    <a:lnTo>
                      <a:pt x="64" y="207"/>
                    </a:lnTo>
                    <a:lnTo>
                      <a:pt x="64" y="202"/>
                    </a:lnTo>
                    <a:lnTo>
                      <a:pt x="60" y="200"/>
                    </a:lnTo>
                    <a:lnTo>
                      <a:pt x="59" y="202"/>
                    </a:lnTo>
                    <a:lnTo>
                      <a:pt x="59" y="200"/>
                    </a:lnTo>
                    <a:lnTo>
                      <a:pt x="55" y="202"/>
                    </a:lnTo>
                    <a:lnTo>
                      <a:pt x="52" y="200"/>
                    </a:lnTo>
                    <a:lnTo>
                      <a:pt x="52" y="198"/>
                    </a:lnTo>
                    <a:lnTo>
                      <a:pt x="48" y="193"/>
                    </a:lnTo>
                    <a:lnTo>
                      <a:pt x="45" y="193"/>
                    </a:lnTo>
                    <a:lnTo>
                      <a:pt x="36" y="190"/>
                    </a:lnTo>
                    <a:lnTo>
                      <a:pt x="33" y="190"/>
                    </a:lnTo>
                    <a:lnTo>
                      <a:pt x="24" y="193"/>
                    </a:lnTo>
                    <a:lnTo>
                      <a:pt x="15" y="195"/>
                    </a:lnTo>
                    <a:lnTo>
                      <a:pt x="14" y="198"/>
                    </a:lnTo>
                    <a:lnTo>
                      <a:pt x="8" y="198"/>
                    </a:lnTo>
                    <a:lnTo>
                      <a:pt x="5" y="200"/>
                    </a:lnTo>
                    <a:lnTo>
                      <a:pt x="8" y="193"/>
                    </a:lnTo>
                    <a:lnTo>
                      <a:pt x="10" y="183"/>
                    </a:lnTo>
                    <a:lnTo>
                      <a:pt x="14" y="178"/>
                    </a:lnTo>
                    <a:lnTo>
                      <a:pt x="15" y="165"/>
                    </a:lnTo>
                    <a:lnTo>
                      <a:pt x="14" y="148"/>
                    </a:lnTo>
                    <a:lnTo>
                      <a:pt x="8" y="139"/>
                    </a:lnTo>
                    <a:lnTo>
                      <a:pt x="8" y="138"/>
                    </a:lnTo>
                    <a:lnTo>
                      <a:pt x="10" y="138"/>
                    </a:lnTo>
                    <a:lnTo>
                      <a:pt x="14" y="132"/>
                    </a:lnTo>
                    <a:lnTo>
                      <a:pt x="10" y="129"/>
                    </a:lnTo>
                    <a:lnTo>
                      <a:pt x="14" y="125"/>
                    </a:lnTo>
                    <a:lnTo>
                      <a:pt x="8" y="120"/>
                    </a:lnTo>
                    <a:lnTo>
                      <a:pt x="5" y="120"/>
                    </a:lnTo>
                    <a:lnTo>
                      <a:pt x="5" y="120"/>
                    </a:lnTo>
                    <a:lnTo>
                      <a:pt x="5" y="117"/>
                    </a:lnTo>
                    <a:lnTo>
                      <a:pt x="0" y="120"/>
                    </a:lnTo>
                    <a:lnTo>
                      <a:pt x="0" y="113"/>
                    </a:lnTo>
                    <a:lnTo>
                      <a:pt x="1" y="110"/>
                    </a:lnTo>
                    <a:lnTo>
                      <a:pt x="1" y="110"/>
                    </a:lnTo>
                    <a:lnTo>
                      <a:pt x="1" y="110"/>
                    </a:lnTo>
                    <a:lnTo>
                      <a:pt x="1" y="1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0" name="Freeform 113"/>
              <p:cNvSpPr>
                <a:spLocks/>
              </p:cNvSpPr>
              <p:nvPr/>
            </p:nvSpPr>
            <p:spPr bwMode="auto">
              <a:xfrm>
                <a:off x="4140200" y="3568701"/>
                <a:ext cx="438150" cy="411163"/>
              </a:xfrm>
              <a:custGeom>
                <a:avLst/>
                <a:gdLst/>
                <a:ahLst/>
                <a:cxnLst>
                  <a:cxn ang="0">
                    <a:pos x="7" y="177"/>
                  </a:cxn>
                  <a:cxn ang="0">
                    <a:pos x="9" y="163"/>
                  </a:cxn>
                  <a:cxn ang="0">
                    <a:pos x="19" y="167"/>
                  </a:cxn>
                  <a:cxn ang="0">
                    <a:pos x="28" y="165"/>
                  </a:cxn>
                  <a:cxn ang="0">
                    <a:pos x="42" y="168"/>
                  </a:cxn>
                  <a:cxn ang="0">
                    <a:pos x="49" y="167"/>
                  </a:cxn>
                  <a:cxn ang="0">
                    <a:pos x="113" y="168"/>
                  </a:cxn>
                  <a:cxn ang="0">
                    <a:pos x="99" y="0"/>
                  </a:cxn>
                  <a:cxn ang="0">
                    <a:pos x="233" y="81"/>
                  </a:cxn>
                  <a:cxn ang="0">
                    <a:pos x="248" y="87"/>
                  </a:cxn>
                  <a:cxn ang="0">
                    <a:pos x="259" y="95"/>
                  </a:cxn>
                  <a:cxn ang="0">
                    <a:pos x="257" y="106"/>
                  </a:cxn>
                  <a:cxn ang="0">
                    <a:pos x="276" y="104"/>
                  </a:cxn>
                  <a:cxn ang="0">
                    <a:pos x="273" y="153"/>
                  </a:cxn>
                  <a:cxn ang="0">
                    <a:pos x="271" y="163"/>
                  </a:cxn>
                  <a:cxn ang="0">
                    <a:pos x="250" y="172"/>
                  </a:cxn>
                  <a:cxn ang="0">
                    <a:pos x="236" y="175"/>
                  </a:cxn>
                  <a:cxn ang="0">
                    <a:pos x="214" y="177"/>
                  </a:cxn>
                  <a:cxn ang="0">
                    <a:pos x="210" y="175"/>
                  </a:cxn>
                  <a:cxn ang="0">
                    <a:pos x="198" y="175"/>
                  </a:cxn>
                  <a:cxn ang="0">
                    <a:pos x="179" y="182"/>
                  </a:cxn>
                  <a:cxn ang="0">
                    <a:pos x="156" y="200"/>
                  </a:cxn>
                  <a:cxn ang="0">
                    <a:pos x="141" y="203"/>
                  </a:cxn>
                  <a:cxn ang="0">
                    <a:pos x="134" y="212"/>
                  </a:cxn>
                  <a:cxn ang="0">
                    <a:pos x="123" y="228"/>
                  </a:cxn>
                  <a:cxn ang="0">
                    <a:pos x="118" y="236"/>
                  </a:cxn>
                  <a:cxn ang="0">
                    <a:pos x="116" y="245"/>
                  </a:cxn>
                  <a:cxn ang="0">
                    <a:pos x="115" y="254"/>
                  </a:cxn>
                  <a:cxn ang="0">
                    <a:pos x="104" y="255"/>
                  </a:cxn>
                  <a:cxn ang="0">
                    <a:pos x="96" y="254"/>
                  </a:cxn>
                  <a:cxn ang="0">
                    <a:pos x="87" y="257"/>
                  </a:cxn>
                  <a:cxn ang="0">
                    <a:pos x="76" y="257"/>
                  </a:cxn>
                  <a:cxn ang="0">
                    <a:pos x="68" y="254"/>
                  </a:cxn>
                  <a:cxn ang="0">
                    <a:pos x="68" y="245"/>
                  </a:cxn>
                  <a:cxn ang="0">
                    <a:pos x="61" y="250"/>
                  </a:cxn>
                  <a:cxn ang="0">
                    <a:pos x="64" y="238"/>
                  </a:cxn>
                  <a:cxn ang="0">
                    <a:pos x="61" y="231"/>
                  </a:cxn>
                  <a:cxn ang="0">
                    <a:pos x="56" y="222"/>
                  </a:cxn>
                  <a:cxn ang="0">
                    <a:pos x="45" y="222"/>
                  </a:cxn>
                  <a:cxn ang="0">
                    <a:pos x="38" y="228"/>
                  </a:cxn>
                  <a:cxn ang="0">
                    <a:pos x="26" y="228"/>
                  </a:cxn>
                  <a:cxn ang="0">
                    <a:pos x="19" y="228"/>
                  </a:cxn>
                  <a:cxn ang="0">
                    <a:pos x="19" y="222"/>
                  </a:cxn>
                  <a:cxn ang="0">
                    <a:pos x="14" y="215"/>
                  </a:cxn>
                  <a:cxn ang="0">
                    <a:pos x="12" y="208"/>
                  </a:cxn>
                  <a:cxn ang="0">
                    <a:pos x="7" y="205"/>
                  </a:cxn>
                  <a:cxn ang="0">
                    <a:pos x="0" y="196"/>
                  </a:cxn>
                  <a:cxn ang="0">
                    <a:pos x="0" y="182"/>
                  </a:cxn>
                  <a:cxn ang="0">
                    <a:pos x="0" y="181"/>
                  </a:cxn>
                </a:cxnLst>
                <a:rect l="0" t="0" r="r" b="b"/>
                <a:pathLst>
                  <a:path w="276" h="259">
                    <a:moveTo>
                      <a:pt x="0" y="181"/>
                    </a:moveTo>
                    <a:lnTo>
                      <a:pt x="2" y="177"/>
                    </a:lnTo>
                    <a:lnTo>
                      <a:pt x="7" y="177"/>
                    </a:lnTo>
                    <a:lnTo>
                      <a:pt x="9" y="172"/>
                    </a:lnTo>
                    <a:lnTo>
                      <a:pt x="9" y="168"/>
                    </a:lnTo>
                    <a:lnTo>
                      <a:pt x="9" y="163"/>
                    </a:lnTo>
                    <a:lnTo>
                      <a:pt x="14" y="161"/>
                    </a:lnTo>
                    <a:lnTo>
                      <a:pt x="19" y="161"/>
                    </a:lnTo>
                    <a:lnTo>
                      <a:pt x="19" y="167"/>
                    </a:lnTo>
                    <a:lnTo>
                      <a:pt x="23" y="172"/>
                    </a:lnTo>
                    <a:lnTo>
                      <a:pt x="23" y="172"/>
                    </a:lnTo>
                    <a:lnTo>
                      <a:pt x="28" y="165"/>
                    </a:lnTo>
                    <a:lnTo>
                      <a:pt x="37" y="161"/>
                    </a:lnTo>
                    <a:lnTo>
                      <a:pt x="42" y="163"/>
                    </a:lnTo>
                    <a:lnTo>
                      <a:pt x="42" y="168"/>
                    </a:lnTo>
                    <a:lnTo>
                      <a:pt x="42" y="168"/>
                    </a:lnTo>
                    <a:lnTo>
                      <a:pt x="45" y="167"/>
                    </a:lnTo>
                    <a:lnTo>
                      <a:pt x="49" y="167"/>
                    </a:lnTo>
                    <a:lnTo>
                      <a:pt x="49" y="168"/>
                    </a:lnTo>
                    <a:lnTo>
                      <a:pt x="50" y="168"/>
                    </a:lnTo>
                    <a:lnTo>
                      <a:pt x="113" y="168"/>
                    </a:lnTo>
                    <a:lnTo>
                      <a:pt x="118" y="154"/>
                    </a:lnTo>
                    <a:lnTo>
                      <a:pt x="113" y="149"/>
                    </a:lnTo>
                    <a:lnTo>
                      <a:pt x="99" y="0"/>
                    </a:lnTo>
                    <a:lnTo>
                      <a:pt x="118" y="0"/>
                    </a:lnTo>
                    <a:lnTo>
                      <a:pt x="231" y="73"/>
                    </a:lnTo>
                    <a:lnTo>
                      <a:pt x="233" y="81"/>
                    </a:lnTo>
                    <a:lnTo>
                      <a:pt x="236" y="85"/>
                    </a:lnTo>
                    <a:lnTo>
                      <a:pt x="243" y="85"/>
                    </a:lnTo>
                    <a:lnTo>
                      <a:pt x="248" y="87"/>
                    </a:lnTo>
                    <a:lnTo>
                      <a:pt x="250" y="92"/>
                    </a:lnTo>
                    <a:lnTo>
                      <a:pt x="255" y="92"/>
                    </a:lnTo>
                    <a:lnTo>
                      <a:pt x="259" y="95"/>
                    </a:lnTo>
                    <a:lnTo>
                      <a:pt x="259" y="99"/>
                    </a:lnTo>
                    <a:lnTo>
                      <a:pt x="257" y="102"/>
                    </a:lnTo>
                    <a:lnTo>
                      <a:pt x="257" y="106"/>
                    </a:lnTo>
                    <a:lnTo>
                      <a:pt x="262" y="106"/>
                    </a:lnTo>
                    <a:lnTo>
                      <a:pt x="271" y="106"/>
                    </a:lnTo>
                    <a:lnTo>
                      <a:pt x="276" y="104"/>
                    </a:lnTo>
                    <a:lnTo>
                      <a:pt x="276" y="104"/>
                    </a:lnTo>
                    <a:lnTo>
                      <a:pt x="276" y="137"/>
                    </a:lnTo>
                    <a:lnTo>
                      <a:pt x="273" y="153"/>
                    </a:lnTo>
                    <a:lnTo>
                      <a:pt x="271" y="153"/>
                    </a:lnTo>
                    <a:lnTo>
                      <a:pt x="271" y="160"/>
                    </a:lnTo>
                    <a:lnTo>
                      <a:pt x="271" y="163"/>
                    </a:lnTo>
                    <a:lnTo>
                      <a:pt x="261" y="168"/>
                    </a:lnTo>
                    <a:lnTo>
                      <a:pt x="255" y="172"/>
                    </a:lnTo>
                    <a:lnTo>
                      <a:pt x="250" y="172"/>
                    </a:lnTo>
                    <a:lnTo>
                      <a:pt x="245" y="175"/>
                    </a:lnTo>
                    <a:lnTo>
                      <a:pt x="243" y="175"/>
                    </a:lnTo>
                    <a:lnTo>
                      <a:pt x="236" y="175"/>
                    </a:lnTo>
                    <a:lnTo>
                      <a:pt x="231" y="175"/>
                    </a:lnTo>
                    <a:lnTo>
                      <a:pt x="226" y="175"/>
                    </a:lnTo>
                    <a:lnTo>
                      <a:pt x="214" y="177"/>
                    </a:lnTo>
                    <a:lnTo>
                      <a:pt x="212" y="175"/>
                    </a:lnTo>
                    <a:lnTo>
                      <a:pt x="210" y="177"/>
                    </a:lnTo>
                    <a:lnTo>
                      <a:pt x="210" y="175"/>
                    </a:lnTo>
                    <a:lnTo>
                      <a:pt x="207" y="175"/>
                    </a:lnTo>
                    <a:lnTo>
                      <a:pt x="203" y="175"/>
                    </a:lnTo>
                    <a:lnTo>
                      <a:pt x="198" y="175"/>
                    </a:lnTo>
                    <a:lnTo>
                      <a:pt x="189" y="175"/>
                    </a:lnTo>
                    <a:lnTo>
                      <a:pt x="184" y="181"/>
                    </a:lnTo>
                    <a:lnTo>
                      <a:pt x="179" y="182"/>
                    </a:lnTo>
                    <a:lnTo>
                      <a:pt x="167" y="189"/>
                    </a:lnTo>
                    <a:lnTo>
                      <a:pt x="158" y="196"/>
                    </a:lnTo>
                    <a:lnTo>
                      <a:pt x="156" y="200"/>
                    </a:lnTo>
                    <a:lnTo>
                      <a:pt x="146" y="203"/>
                    </a:lnTo>
                    <a:lnTo>
                      <a:pt x="144" y="203"/>
                    </a:lnTo>
                    <a:lnTo>
                      <a:pt x="141" y="203"/>
                    </a:lnTo>
                    <a:lnTo>
                      <a:pt x="141" y="203"/>
                    </a:lnTo>
                    <a:lnTo>
                      <a:pt x="137" y="205"/>
                    </a:lnTo>
                    <a:lnTo>
                      <a:pt x="134" y="212"/>
                    </a:lnTo>
                    <a:lnTo>
                      <a:pt x="134" y="214"/>
                    </a:lnTo>
                    <a:lnTo>
                      <a:pt x="129" y="219"/>
                    </a:lnTo>
                    <a:lnTo>
                      <a:pt x="123" y="228"/>
                    </a:lnTo>
                    <a:lnTo>
                      <a:pt x="122" y="231"/>
                    </a:lnTo>
                    <a:lnTo>
                      <a:pt x="118" y="233"/>
                    </a:lnTo>
                    <a:lnTo>
                      <a:pt x="118" y="236"/>
                    </a:lnTo>
                    <a:lnTo>
                      <a:pt x="118" y="241"/>
                    </a:lnTo>
                    <a:lnTo>
                      <a:pt x="116" y="243"/>
                    </a:lnTo>
                    <a:lnTo>
                      <a:pt x="116" y="245"/>
                    </a:lnTo>
                    <a:lnTo>
                      <a:pt x="118" y="248"/>
                    </a:lnTo>
                    <a:lnTo>
                      <a:pt x="116" y="254"/>
                    </a:lnTo>
                    <a:lnTo>
                      <a:pt x="115" y="254"/>
                    </a:lnTo>
                    <a:lnTo>
                      <a:pt x="111" y="259"/>
                    </a:lnTo>
                    <a:lnTo>
                      <a:pt x="106" y="257"/>
                    </a:lnTo>
                    <a:lnTo>
                      <a:pt x="104" y="255"/>
                    </a:lnTo>
                    <a:lnTo>
                      <a:pt x="104" y="254"/>
                    </a:lnTo>
                    <a:lnTo>
                      <a:pt x="101" y="254"/>
                    </a:lnTo>
                    <a:lnTo>
                      <a:pt x="96" y="254"/>
                    </a:lnTo>
                    <a:lnTo>
                      <a:pt x="96" y="255"/>
                    </a:lnTo>
                    <a:lnTo>
                      <a:pt x="94" y="257"/>
                    </a:lnTo>
                    <a:lnTo>
                      <a:pt x="87" y="257"/>
                    </a:lnTo>
                    <a:lnTo>
                      <a:pt x="82" y="254"/>
                    </a:lnTo>
                    <a:lnTo>
                      <a:pt x="80" y="254"/>
                    </a:lnTo>
                    <a:lnTo>
                      <a:pt x="76" y="257"/>
                    </a:lnTo>
                    <a:lnTo>
                      <a:pt x="76" y="255"/>
                    </a:lnTo>
                    <a:lnTo>
                      <a:pt x="73" y="254"/>
                    </a:lnTo>
                    <a:lnTo>
                      <a:pt x="68" y="254"/>
                    </a:lnTo>
                    <a:lnTo>
                      <a:pt x="68" y="250"/>
                    </a:lnTo>
                    <a:lnTo>
                      <a:pt x="68" y="250"/>
                    </a:lnTo>
                    <a:lnTo>
                      <a:pt x="68" y="245"/>
                    </a:lnTo>
                    <a:lnTo>
                      <a:pt x="64" y="245"/>
                    </a:lnTo>
                    <a:lnTo>
                      <a:pt x="64" y="250"/>
                    </a:lnTo>
                    <a:lnTo>
                      <a:pt x="61" y="250"/>
                    </a:lnTo>
                    <a:lnTo>
                      <a:pt x="63" y="245"/>
                    </a:lnTo>
                    <a:lnTo>
                      <a:pt x="64" y="240"/>
                    </a:lnTo>
                    <a:lnTo>
                      <a:pt x="64" y="238"/>
                    </a:lnTo>
                    <a:lnTo>
                      <a:pt x="63" y="238"/>
                    </a:lnTo>
                    <a:lnTo>
                      <a:pt x="61" y="236"/>
                    </a:lnTo>
                    <a:lnTo>
                      <a:pt x="61" y="231"/>
                    </a:lnTo>
                    <a:lnTo>
                      <a:pt x="59" y="228"/>
                    </a:lnTo>
                    <a:lnTo>
                      <a:pt x="56" y="226"/>
                    </a:lnTo>
                    <a:lnTo>
                      <a:pt x="56" y="222"/>
                    </a:lnTo>
                    <a:lnTo>
                      <a:pt x="54" y="222"/>
                    </a:lnTo>
                    <a:lnTo>
                      <a:pt x="50" y="226"/>
                    </a:lnTo>
                    <a:lnTo>
                      <a:pt x="45" y="222"/>
                    </a:lnTo>
                    <a:lnTo>
                      <a:pt x="42" y="222"/>
                    </a:lnTo>
                    <a:lnTo>
                      <a:pt x="40" y="228"/>
                    </a:lnTo>
                    <a:lnTo>
                      <a:pt x="38" y="228"/>
                    </a:lnTo>
                    <a:lnTo>
                      <a:pt x="33" y="229"/>
                    </a:lnTo>
                    <a:lnTo>
                      <a:pt x="30" y="229"/>
                    </a:lnTo>
                    <a:lnTo>
                      <a:pt x="26" y="228"/>
                    </a:lnTo>
                    <a:lnTo>
                      <a:pt x="23" y="226"/>
                    </a:lnTo>
                    <a:lnTo>
                      <a:pt x="19" y="228"/>
                    </a:lnTo>
                    <a:lnTo>
                      <a:pt x="19" y="228"/>
                    </a:lnTo>
                    <a:lnTo>
                      <a:pt x="19" y="228"/>
                    </a:lnTo>
                    <a:lnTo>
                      <a:pt x="19" y="226"/>
                    </a:lnTo>
                    <a:lnTo>
                      <a:pt x="19" y="222"/>
                    </a:lnTo>
                    <a:lnTo>
                      <a:pt x="14" y="221"/>
                    </a:lnTo>
                    <a:lnTo>
                      <a:pt x="14" y="217"/>
                    </a:lnTo>
                    <a:lnTo>
                      <a:pt x="14" y="215"/>
                    </a:lnTo>
                    <a:lnTo>
                      <a:pt x="14" y="214"/>
                    </a:lnTo>
                    <a:lnTo>
                      <a:pt x="14" y="210"/>
                    </a:lnTo>
                    <a:lnTo>
                      <a:pt x="12" y="208"/>
                    </a:lnTo>
                    <a:lnTo>
                      <a:pt x="10" y="207"/>
                    </a:lnTo>
                    <a:lnTo>
                      <a:pt x="9" y="207"/>
                    </a:lnTo>
                    <a:lnTo>
                      <a:pt x="7" y="205"/>
                    </a:lnTo>
                    <a:lnTo>
                      <a:pt x="3" y="200"/>
                    </a:lnTo>
                    <a:lnTo>
                      <a:pt x="0" y="198"/>
                    </a:lnTo>
                    <a:lnTo>
                      <a:pt x="0" y="196"/>
                    </a:lnTo>
                    <a:lnTo>
                      <a:pt x="2" y="188"/>
                    </a:lnTo>
                    <a:lnTo>
                      <a:pt x="0" y="186"/>
                    </a:lnTo>
                    <a:lnTo>
                      <a:pt x="0" y="182"/>
                    </a:lnTo>
                    <a:lnTo>
                      <a:pt x="0" y="181"/>
                    </a:lnTo>
                    <a:lnTo>
                      <a:pt x="0" y="181"/>
                    </a:lnTo>
                    <a:lnTo>
                      <a:pt x="0" y="1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1" name="Freeform 114"/>
              <p:cNvSpPr>
                <a:spLocks/>
              </p:cNvSpPr>
              <p:nvPr/>
            </p:nvSpPr>
            <p:spPr bwMode="auto">
              <a:xfrm>
                <a:off x="4324350" y="3846513"/>
                <a:ext cx="201613" cy="149225"/>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2" name="Freeform 115"/>
              <p:cNvSpPr>
                <a:spLocks/>
              </p:cNvSpPr>
              <p:nvPr/>
            </p:nvSpPr>
            <p:spPr bwMode="auto">
              <a:xfrm>
                <a:off x="4324350" y="3846513"/>
                <a:ext cx="201613" cy="149225"/>
              </a:xfrm>
              <a:custGeom>
                <a:avLst/>
                <a:gdLst/>
                <a:ahLst/>
                <a:cxnLst>
                  <a:cxn ang="0">
                    <a:pos x="0" y="75"/>
                  </a:cxn>
                  <a:cxn ang="0">
                    <a:pos x="0" y="70"/>
                  </a:cxn>
                  <a:cxn ang="0">
                    <a:pos x="2" y="63"/>
                  </a:cxn>
                  <a:cxn ang="0">
                    <a:pos x="4" y="58"/>
                  </a:cxn>
                  <a:cxn ang="0">
                    <a:pos x="13" y="44"/>
                  </a:cxn>
                  <a:cxn ang="0">
                    <a:pos x="18" y="39"/>
                  </a:cxn>
                  <a:cxn ang="0">
                    <a:pos x="23" y="30"/>
                  </a:cxn>
                  <a:cxn ang="0">
                    <a:pos x="28" y="28"/>
                  </a:cxn>
                  <a:cxn ang="0">
                    <a:pos x="40" y="25"/>
                  </a:cxn>
                  <a:cxn ang="0">
                    <a:pos x="49" y="16"/>
                  </a:cxn>
                  <a:cxn ang="0">
                    <a:pos x="68" y="6"/>
                  </a:cxn>
                  <a:cxn ang="0">
                    <a:pos x="80" y="0"/>
                  </a:cxn>
                  <a:cxn ang="0">
                    <a:pos x="89" y="2"/>
                  </a:cxn>
                  <a:cxn ang="0">
                    <a:pos x="93" y="4"/>
                  </a:cxn>
                  <a:cxn ang="0">
                    <a:pos x="93" y="7"/>
                  </a:cxn>
                  <a:cxn ang="0">
                    <a:pos x="89" y="18"/>
                  </a:cxn>
                  <a:cxn ang="0">
                    <a:pos x="108" y="35"/>
                  </a:cxn>
                  <a:cxn ang="0">
                    <a:pos x="120" y="35"/>
                  </a:cxn>
                  <a:cxn ang="0">
                    <a:pos x="122" y="39"/>
                  </a:cxn>
                  <a:cxn ang="0">
                    <a:pos x="124" y="44"/>
                  </a:cxn>
                  <a:cxn ang="0">
                    <a:pos x="126" y="51"/>
                  </a:cxn>
                  <a:cxn ang="0">
                    <a:pos x="127" y="54"/>
                  </a:cxn>
                  <a:cxn ang="0">
                    <a:pos x="120" y="59"/>
                  </a:cxn>
                  <a:cxn ang="0">
                    <a:pos x="112" y="61"/>
                  </a:cxn>
                  <a:cxn ang="0">
                    <a:pos x="108" y="66"/>
                  </a:cxn>
                  <a:cxn ang="0">
                    <a:pos x="108" y="70"/>
                  </a:cxn>
                  <a:cxn ang="0">
                    <a:pos x="103" y="75"/>
                  </a:cxn>
                  <a:cxn ang="0">
                    <a:pos x="82" y="70"/>
                  </a:cxn>
                  <a:cxn ang="0">
                    <a:pos x="82" y="70"/>
                  </a:cxn>
                  <a:cxn ang="0">
                    <a:pos x="75" y="70"/>
                  </a:cxn>
                  <a:cxn ang="0">
                    <a:pos x="60" y="72"/>
                  </a:cxn>
                  <a:cxn ang="0">
                    <a:pos x="46" y="72"/>
                  </a:cxn>
                  <a:cxn ang="0">
                    <a:pos x="40" y="77"/>
                  </a:cxn>
                  <a:cxn ang="0">
                    <a:pos x="42" y="84"/>
                  </a:cxn>
                  <a:cxn ang="0">
                    <a:pos x="46" y="94"/>
                  </a:cxn>
                  <a:cxn ang="0">
                    <a:pos x="39" y="93"/>
                  </a:cxn>
                  <a:cxn ang="0">
                    <a:pos x="33" y="94"/>
                  </a:cxn>
                  <a:cxn ang="0">
                    <a:pos x="23" y="93"/>
                  </a:cxn>
                  <a:cxn ang="0">
                    <a:pos x="20" y="87"/>
                  </a:cxn>
                  <a:cxn ang="0">
                    <a:pos x="14" y="86"/>
                  </a:cxn>
                  <a:cxn ang="0">
                    <a:pos x="4" y="82"/>
                  </a:cxn>
                  <a:cxn ang="0">
                    <a:pos x="0" y="79"/>
                  </a:cxn>
                  <a:cxn ang="0">
                    <a:pos x="0" y="79"/>
                  </a:cxn>
                </a:cxnLst>
                <a:rect l="0" t="0" r="r" b="b"/>
                <a:pathLst>
                  <a:path w="127" h="94">
                    <a:moveTo>
                      <a:pt x="0" y="79"/>
                    </a:moveTo>
                    <a:lnTo>
                      <a:pt x="0" y="75"/>
                    </a:lnTo>
                    <a:lnTo>
                      <a:pt x="0" y="72"/>
                    </a:lnTo>
                    <a:lnTo>
                      <a:pt x="0" y="70"/>
                    </a:lnTo>
                    <a:lnTo>
                      <a:pt x="2" y="66"/>
                    </a:lnTo>
                    <a:lnTo>
                      <a:pt x="2" y="63"/>
                    </a:lnTo>
                    <a:lnTo>
                      <a:pt x="0" y="59"/>
                    </a:lnTo>
                    <a:lnTo>
                      <a:pt x="4" y="58"/>
                    </a:lnTo>
                    <a:lnTo>
                      <a:pt x="7" y="54"/>
                    </a:lnTo>
                    <a:lnTo>
                      <a:pt x="13" y="44"/>
                    </a:lnTo>
                    <a:lnTo>
                      <a:pt x="18" y="39"/>
                    </a:lnTo>
                    <a:lnTo>
                      <a:pt x="18" y="39"/>
                    </a:lnTo>
                    <a:lnTo>
                      <a:pt x="20" y="32"/>
                    </a:lnTo>
                    <a:lnTo>
                      <a:pt x="23" y="30"/>
                    </a:lnTo>
                    <a:lnTo>
                      <a:pt x="23" y="28"/>
                    </a:lnTo>
                    <a:lnTo>
                      <a:pt x="28" y="28"/>
                    </a:lnTo>
                    <a:lnTo>
                      <a:pt x="30" y="28"/>
                    </a:lnTo>
                    <a:lnTo>
                      <a:pt x="40" y="25"/>
                    </a:lnTo>
                    <a:lnTo>
                      <a:pt x="42" y="21"/>
                    </a:lnTo>
                    <a:lnTo>
                      <a:pt x="49" y="16"/>
                    </a:lnTo>
                    <a:lnTo>
                      <a:pt x="63" y="7"/>
                    </a:lnTo>
                    <a:lnTo>
                      <a:pt x="68" y="6"/>
                    </a:lnTo>
                    <a:lnTo>
                      <a:pt x="72" y="2"/>
                    </a:lnTo>
                    <a:lnTo>
                      <a:pt x="80" y="0"/>
                    </a:lnTo>
                    <a:lnTo>
                      <a:pt x="86" y="0"/>
                    </a:lnTo>
                    <a:lnTo>
                      <a:pt x="89" y="2"/>
                    </a:lnTo>
                    <a:lnTo>
                      <a:pt x="93" y="2"/>
                    </a:lnTo>
                    <a:lnTo>
                      <a:pt x="93" y="4"/>
                    </a:lnTo>
                    <a:lnTo>
                      <a:pt x="93" y="6"/>
                    </a:lnTo>
                    <a:lnTo>
                      <a:pt x="93" y="7"/>
                    </a:lnTo>
                    <a:lnTo>
                      <a:pt x="89" y="13"/>
                    </a:lnTo>
                    <a:lnTo>
                      <a:pt x="89" y="18"/>
                    </a:lnTo>
                    <a:lnTo>
                      <a:pt x="105" y="28"/>
                    </a:lnTo>
                    <a:lnTo>
                      <a:pt x="108" y="35"/>
                    </a:lnTo>
                    <a:lnTo>
                      <a:pt x="112" y="39"/>
                    </a:lnTo>
                    <a:lnTo>
                      <a:pt x="120" y="35"/>
                    </a:lnTo>
                    <a:lnTo>
                      <a:pt x="122" y="35"/>
                    </a:lnTo>
                    <a:lnTo>
                      <a:pt x="122" y="39"/>
                    </a:lnTo>
                    <a:lnTo>
                      <a:pt x="124" y="42"/>
                    </a:lnTo>
                    <a:lnTo>
                      <a:pt x="124" y="44"/>
                    </a:lnTo>
                    <a:lnTo>
                      <a:pt x="122" y="47"/>
                    </a:lnTo>
                    <a:lnTo>
                      <a:pt x="126" y="51"/>
                    </a:lnTo>
                    <a:lnTo>
                      <a:pt x="127" y="51"/>
                    </a:lnTo>
                    <a:lnTo>
                      <a:pt x="127" y="54"/>
                    </a:lnTo>
                    <a:lnTo>
                      <a:pt x="124" y="59"/>
                    </a:lnTo>
                    <a:lnTo>
                      <a:pt x="120" y="59"/>
                    </a:lnTo>
                    <a:lnTo>
                      <a:pt x="113" y="61"/>
                    </a:lnTo>
                    <a:lnTo>
                      <a:pt x="112" y="61"/>
                    </a:lnTo>
                    <a:lnTo>
                      <a:pt x="108" y="63"/>
                    </a:lnTo>
                    <a:lnTo>
                      <a:pt x="108" y="66"/>
                    </a:lnTo>
                    <a:lnTo>
                      <a:pt x="108" y="66"/>
                    </a:lnTo>
                    <a:lnTo>
                      <a:pt x="108" y="70"/>
                    </a:lnTo>
                    <a:lnTo>
                      <a:pt x="103" y="72"/>
                    </a:lnTo>
                    <a:lnTo>
                      <a:pt x="103" y="75"/>
                    </a:lnTo>
                    <a:lnTo>
                      <a:pt x="86" y="70"/>
                    </a:lnTo>
                    <a:lnTo>
                      <a:pt x="82" y="70"/>
                    </a:lnTo>
                    <a:lnTo>
                      <a:pt x="82" y="70"/>
                    </a:lnTo>
                    <a:lnTo>
                      <a:pt x="82" y="70"/>
                    </a:lnTo>
                    <a:lnTo>
                      <a:pt x="79" y="70"/>
                    </a:lnTo>
                    <a:lnTo>
                      <a:pt x="75" y="70"/>
                    </a:lnTo>
                    <a:lnTo>
                      <a:pt x="68" y="72"/>
                    </a:lnTo>
                    <a:lnTo>
                      <a:pt x="60" y="72"/>
                    </a:lnTo>
                    <a:lnTo>
                      <a:pt x="56" y="72"/>
                    </a:lnTo>
                    <a:lnTo>
                      <a:pt x="46" y="72"/>
                    </a:lnTo>
                    <a:lnTo>
                      <a:pt x="40" y="72"/>
                    </a:lnTo>
                    <a:lnTo>
                      <a:pt x="40" y="77"/>
                    </a:lnTo>
                    <a:lnTo>
                      <a:pt x="40" y="82"/>
                    </a:lnTo>
                    <a:lnTo>
                      <a:pt x="42" y="84"/>
                    </a:lnTo>
                    <a:lnTo>
                      <a:pt x="46" y="89"/>
                    </a:lnTo>
                    <a:lnTo>
                      <a:pt x="46" y="94"/>
                    </a:lnTo>
                    <a:lnTo>
                      <a:pt x="42" y="94"/>
                    </a:lnTo>
                    <a:lnTo>
                      <a:pt x="39" y="93"/>
                    </a:lnTo>
                    <a:lnTo>
                      <a:pt x="37" y="91"/>
                    </a:lnTo>
                    <a:lnTo>
                      <a:pt x="33" y="94"/>
                    </a:lnTo>
                    <a:lnTo>
                      <a:pt x="28" y="94"/>
                    </a:lnTo>
                    <a:lnTo>
                      <a:pt x="23" y="93"/>
                    </a:lnTo>
                    <a:lnTo>
                      <a:pt x="23" y="89"/>
                    </a:lnTo>
                    <a:lnTo>
                      <a:pt x="20" y="87"/>
                    </a:lnTo>
                    <a:lnTo>
                      <a:pt x="16" y="87"/>
                    </a:lnTo>
                    <a:lnTo>
                      <a:pt x="14" y="86"/>
                    </a:lnTo>
                    <a:lnTo>
                      <a:pt x="11" y="86"/>
                    </a:lnTo>
                    <a:lnTo>
                      <a:pt x="4" y="82"/>
                    </a:lnTo>
                    <a:lnTo>
                      <a:pt x="0" y="79"/>
                    </a:lnTo>
                    <a:lnTo>
                      <a:pt x="0" y="79"/>
                    </a:lnTo>
                    <a:lnTo>
                      <a:pt x="0" y="79"/>
                    </a:lnTo>
                    <a:lnTo>
                      <a:pt x="0" y="7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3" name="Freeform 116"/>
              <p:cNvSpPr>
                <a:spLocks/>
              </p:cNvSpPr>
              <p:nvPr/>
            </p:nvSpPr>
            <p:spPr bwMode="auto">
              <a:xfrm>
                <a:off x="3990975" y="3800476"/>
                <a:ext cx="179388" cy="131763"/>
              </a:xfrm>
              <a:custGeom>
                <a:avLst/>
                <a:gdLst/>
                <a:ahLst/>
                <a:cxnLst>
                  <a:cxn ang="0">
                    <a:pos x="19" y="8"/>
                  </a:cxn>
                  <a:cxn ang="0">
                    <a:pos x="25" y="7"/>
                  </a:cxn>
                  <a:cxn ang="0">
                    <a:pos x="44" y="0"/>
                  </a:cxn>
                  <a:cxn ang="0">
                    <a:pos x="56" y="5"/>
                  </a:cxn>
                  <a:cxn ang="0">
                    <a:pos x="63" y="8"/>
                  </a:cxn>
                  <a:cxn ang="0">
                    <a:pos x="66" y="12"/>
                  </a:cxn>
                  <a:cxn ang="0">
                    <a:pos x="70" y="12"/>
                  </a:cxn>
                  <a:cxn ang="0">
                    <a:pos x="75" y="12"/>
                  </a:cxn>
                  <a:cxn ang="0">
                    <a:pos x="80" y="21"/>
                  </a:cxn>
                  <a:cxn ang="0">
                    <a:pos x="84" y="26"/>
                  </a:cxn>
                  <a:cxn ang="0">
                    <a:pos x="85" y="29"/>
                  </a:cxn>
                  <a:cxn ang="0">
                    <a:pos x="92" y="36"/>
                  </a:cxn>
                  <a:cxn ang="0">
                    <a:pos x="94" y="42"/>
                  </a:cxn>
                  <a:cxn ang="0">
                    <a:pos x="94" y="50"/>
                  </a:cxn>
                  <a:cxn ang="0">
                    <a:pos x="97" y="55"/>
                  </a:cxn>
                  <a:cxn ang="0">
                    <a:pos x="103" y="62"/>
                  </a:cxn>
                  <a:cxn ang="0">
                    <a:pos x="106" y="64"/>
                  </a:cxn>
                  <a:cxn ang="0">
                    <a:pos x="110" y="69"/>
                  </a:cxn>
                  <a:cxn ang="0">
                    <a:pos x="108" y="73"/>
                  </a:cxn>
                  <a:cxn ang="0">
                    <a:pos x="113" y="78"/>
                  </a:cxn>
                  <a:cxn ang="0">
                    <a:pos x="113" y="83"/>
                  </a:cxn>
                  <a:cxn ang="0">
                    <a:pos x="108" y="82"/>
                  </a:cxn>
                  <a:cxn ang="0">
                    <a:pos x="103" y="78"/>
                  </a:cxn>
                  <a:cxn ang="0">
                    <a:pos x="94" y="78"/>
                  </a:cxn>
                  <a:cxn ang="0">
                    <a:pos x="85" y="76"/>
                  </a:cxn>
                  <a:cxn ang="0">
                    <a:pos x="68" y="73"/>
                  </a:cxn>
                  <a:cxn ang="0">
                    <a:pos x="64" y="73"/>
                  </a:cxn>
                  <a:cxn ang="0">
                    <a:pos x="44" y="71"/>
                  </a:cxn>
                  <a:cxn ang="0">
                    <a:pos x="33" y="78"/>
                  </a:cxn>
                  <a:cxn ang="0">
                    <a:pos x="18" y="82"/>
                  </a:cxn>
                  <a:cxn ang="0">
                    <a:pos x="14" y="76"/>
                  </a:cxn>
                  <a:cxn ang="0">
                    <a:pos x="14" y="75"/>
                  </a:cxn>
                  <a:cxn ang="0">
                    <a:pos x="21" y="73"/>
                  </a:cxn>
                  <a:cxn ang="0">
                    <a:pos x="11" y="73"/>
                  </a:cxn>
                  <a:cxn ang="0">
                    <a:pos x="11" y="71"/>
                  </a:cxn>
                  <a:cxn ang="0">
                    <a:pos x="12" y="64"/>
                  </a:cxn>
                  <a:cxn ang="0">
                    <a:pos x="28" y="61"/>
                  </a:cxn>
                  <a:cxn ang="0">
                    <a:pos x="33" y="57"/>
                  </a:cxn>
                  <a:cxn ang="0">
                    <a:pos x="38" y="59"/>
                  </a:cxn>
                  <a:cxn ang="0">
                    <a:pos x="42" y="55"/>
                  </a:cxn>
                  <a:cxn ang="0">
                    <a:pos x="49" y="59"/>
                  </a:cxn>
                  <a:cxn ang="0">
                    <a:pos x="59" y="62"/>
                  </a:cxn>
                  <a:cxn ang="0">
                    <a:pos x="64" y="61"/>
                  </a:cxn>
                  <a:cxn ang="0">
                    <a:pos x="63" y="59"/>
                  </a:cxn>
                  <a:cxn ang="0">
                    <a:pos x="51" y="54"/>
                  </a:cxn>
                  <a:cxn ang="0">
                    <a:pos x="42" y="50"/>
                  </a:cxn>
                  <a:cxn ang="0">
                    <a:pos x="33" y="50"/>
                  </a:cxn>
                  <a:cxn ang="0">
                    <a:pos x="25" y="55"/>
                  </a:cxn>
                  <a:cxn ang="0">
                    <a:pos x="14" y="57"/>
                  </a:cxn>
                  <a:cxn ang="0">
                    <a:pos x="16" y="54"/>
                  </a:cxn>
                  <a:cxn ang="0">
                    <a:pos x="12" y="50"/>
                  </a:cxn>
                  <a:cxn ang="0">
                    <a:pos x="9" y="47"/>
                  </a:cxn>
                  <a:cxn ang="0">
                    <a:pos x="0" y="36"/>
                  </a:cxn>
                  <a:cxn ang="0">
                    <a:pos x="16" y="17"/>
                  </a:cxn>
                  <a:cxn ang="0">
                    <a:pos x="16" y="12"/>
                  </a:cxn>
                </a:cxnLst>
                <a:rect l="0" t="0" r="r" b="b"/>
                <a:pathLst>
                  <a:path w="113" h="83">
                    <a:moveTo>
                      <a:pt x="16" y="12"/>
                    </a:moveTo>
                    <a:lnTo>
                      <a:pt x="19" y="8"/>
                    </a:lnTo>
                    <a:lnTo>
                      <a:pt x="23" y="8"/>
                    </a:lnTo>
                    <a:lnTo>
                      <a:pt x="25" y="7"/>
                    </a:lnTo>
                    <a:lnTo>
                      <a:pt x="33" y="5"/>
                    </a:lnTo>
                    <a:lnTo>
                      <a:pt x="44" y="0"/>
                    </a:lnTo>
                    <a:lnTo>
                      <a:pt x="47" y="0"/>
                    </a:lnTo>
                    <a:lnTo>
                      <a:pt x="56" y="5"/>
                    </a:lnTo>
                    <a:lnTo>
                      <a:pt x="59" y="5"/>
                    </a:lnTo>
                    <a:lnTo>
                      <a:pt x="63" y="8"/>
                    </a:lnTo>
                    <a:lnTo>
                      <a:pt x="63" y="12"/>
                    </a:lnTo>
                    <a:lnTo>
                      <a:pt x="66" y="12"/>
                    </a:lnTo>
                    <a:lnTo>
                      <a:pt x="70" y="12"/>
                    </a:lnTo>
                    <a:lnTo>
                      <a:pt x="70" y="12"/>
                    </a:lnTo>
                    <a:lnTo>
                      <a:pt x="71" y="12"/>
                    </a:lnTo>
                    <a:lnTo>
                      <a:pt x="75" y="12"/>
                    </a:lnTo>
                    <a:lnTo>
                      <a:pt x="75" y="17"/>
                    </a:lnTo>
                    <a:lnTo>
                      <a:pt x="80" y="21"/>
                    </a:lnTo>
                    <a:lnTo>
                      <a:pt x="80" y="24"/>
                    </a:lnTo>
                    <a:lnTo>
                      <a:pt x="84" y="26"/>
                    </a:lnTo>
                    <a:lnTo>
                      <a:pt x="84" y="29"/>
                    </a:lnTo>
                    <a:lnTo>
                      <a:pt x="85" y="29"/>
                    </a:lnTo>
                    <a:lnTo>
                      <a:pt x="91" y="33"/>
                    </a:lnTo>
                    <a:lnTo>
                      <a:pt x="92" y="36"/>
                    </a:lnTo>
                    <a:lnTo>
                      <a:pt x="94" y="36"/>
                    </a:lnTo>
                    <a:lnTo>
                      <a:pt x="94" y="42"/>
                    </a:lnTo>
                    <a:lnTo>
                      <a:pt x="96" y="42"/>
                    </a:lnTo>
                    <a:lnTo>
                      <a:pt x="94" y="50"/>
                    </a:lnTo>
                    <a:lnTo>
                      <a:pt x="94" y="54"/>
                    </a:lnTo>
                    <a:lnTo>
                      <a:pt x="97" y="55"/>
                    </a:lnTo>
                    <a:lnTo>
                      <a:pt x="101" y="61"/>
                    </a:lnTo>
                    <a:lnTo>
                      <a:pt x="103" y="62"/>
                    </a:lnTo>
                    <a:lnTo>
                      <a:pt x="104" y="62"/>
                    </a:lnTo>
                    <a:lnTo>
                      <a:pt x="106" y="64"/>
                    </a:lnTo>
                    <a:lnTo>
                      <a:pt x="108" y="66"/>
                    </a:lnTo>
                    <a:lnTo>
                      <a:pt x="110" y="69"/>
                    </a:lnTo>
                    <a:lnTo>
                      <a:pt x="110" y="71"/>
                    </a:lnTo>
                    <a:lnTo>
                      <a:pt x="108" y="73"/>
                    </a:lnTo>
                    <a:lnTo>
                      <a:pt x="110" y="76"/>
                    </a:lnTo>
                    <a:lnTo>
                      <a:pt x="113" y="78"/>
                    </a:lnTo>
                    <a:lnTo>
                      <a:pt x="113" y="82"/>
                    </a:lnTo>
                    <a:lnTo>
                      <a:pt x="113" y="83"/>
                    </a:lnTo>
                    <a:lnTo>
                      <a:pt x="111" y="82"/>
                    </a:lnTo>
                    <a:lnTo>
                      <a:pt x="108" y="82"/>
                    </a:lnTo>
                    <a:lnTo>
                      <a:pt x="106" y="78"/>
                    </a:lnTo>
                    <a:lnTo>
                      <a:pt x="103" y="78"/>
                    </a:lnTo>
                    <a:lnTo>
                      <a:pt x="99" y="82"/>
                    </a:lnTo>
                    <a:lnTo>
                      <a:pt x="94" y="78"/>
                    </a:lnTo>
                    <a:lnTo>
                      <a:pt x="89" y="78"/>
                    </a:lnTo>
                    <a:lnTo>
                      <a:pt x="85" y="76"/>
                    </a:lnTo>
                    <a:lnTo>
                      <a:pt x="80" y="73"/>
                    </a:lnTo>
                    <a:lnTo>
                      <a:pt x="68" y="73"/>
                    </a:lnTo>
                    <a:lnTo>
                      <a:pt x="64" y="73"/>
                    </a:lnTo>
                    <a:lnTo>
                      <a:pt x="64" y="73"/>
                    </a:lnTo>
                    <a:lnTo>
                      <a:pt x="61" y="71"/>
                    </a:lnTo>
                    <a:lnTo>
                      <a:pt x="44" y="71"/>
                    </a:lnTo>
                    <a:lnTo>
                      <a:pt x="38" y="75"/>
                    </a:lnTo>
                    <a:lnTo>
                      <a:pt x="33" y="78"/>
                    </a:lnTo>
                    <a:lnTo>
                      <a:pt x="23" y="78"/>
                    </a:lnTo>
                    <a:lnTo>
                      <a:pt x="18" y="82"/>
                    </a:lnTo>
                    <a:lnTo>
                      <a:pt x="12" y="78"/>
                    </a:lnTo>
                    <a:lnTo>
                      <a:pt x="14" y="76"/>
                    </a:lnTo>
                    <a:lnTo>
                      <a:pt x="12" y="75"/>
                    </a:lnTo>
                    <a:lnTo>
                      <a:pt x="14" y="75"/>
                    </a:lnTo>
                    <a:lnTo>
                      <a:pt x="18" y="76"/>
                    </a:lnTo>
                    <a:lnTo>
                      <a:pt x="21" y="73"/>
                    </a:lnTo>
                    <a:lnTo>
                      <a:pt x="14" y="71"/>
                    </a:lnTo>
                    <a:lnTo>
                      <a:pt x="11" y="73"/>
                    </a:lnTo>
                    <a:lnTo>
                      <a:pt x="9" y="73"/>
                    </a:lnTo>
                    <a:lnTo>
                      <a:pt x="11" y="71"/>
                    </a:lnTo>
                    <a:lnTo>
                      <a:pt x="11" y="66"/>
                    </a:lnTo>
                    <a:lnTo>
                      <a:pt x="12" y="64"/>
                    </a:lnTo>
                    <a:lnTo>
                      <a:pt x="25" y="64"/>
                    </a:lnTo>
                    <a:lnTo>
                      <a:pt x="28" y="61"/>
                    </a:lnTo>
                    <a:lnTo>
                      <a:pt x="31" y="61"/>
                    </a:lnTo>
                    <a:lnTo>
                      <a:pt x="33" y="57"/>
                    </a:lnTo>
                    <a:lnTo>
                      <a:pt x="37" y="57"/>
                    </a:lnTo>
                    <a:lnTo>
                      <a:pt x="38" y="59"/>
                    </a:lnTo>
                    <a:lnTo>
                      <a:pt x="42" y="57"/>
                    </a:lnTo>
                    <a:lnTo>
                      <a:pt x="42" y="55"/>
                    </a:lnTo>
                    <a:lnTo>
                      <a:pt x="47" y="59"/>
                    </a:lnTo>
                    <a:lnTo>
                      <a:pt x="49" y="59"/>
                    </a:lnTo>
                    <a:lnTo>
                      <a:pt x="54" y="61"/>
                    </a:lnTo>
                    <a:lnTo>
                      <a:pt x="59" y="62"/>
                    </a:lnTo>
                    <a:lnTo>
                      <a:pt x="64" y="62"/>
                    </a:lnTo>
                    <a:lnTo>
                      <a:pt x="64" y="61"/>
                    </a:lnTo>
                    <a:lnTo>
                      <a:pt x="64" y="59"/>
                    </a:lnTo>
                    <a:lnTo>
                      <a:pt x="63" y="59"/>
                    </a:lnTo>
                    <a:lnTo>
                      <a:pt x="54" y="54"/>
                    </a:lnTo>
                    <a:lnTo>
                      <a:pt x="51" y="54"/>
                    </a:lnTo>
                    <a:lnTo>
                      <a:pt x="47" y="50"/>
                    </a:lnTo>
                    <a:lnTo>
                      <a:pt x="42" y="50"/>
                    </a:lnTo>
                    <a:lnTo>
                      <a:pt x="38" y="50"/>
                    </a:lnTo>
                    <a:lnTo>
                      <a:pt x="33" y="50"/>
                    </a:lnTo>
                    <a:lnTo>
                      <a:pt x="28" y="55"/>
                    </a:lnTo>
                    <a:lnTo>
                      <a:pt x="25" y="55"/>
                    </a:lnTo>
                    <a:lnTo>
                      <a:pt x="23" y="57"/>
                    </a:lnTo>
                    <a:lnTo>
                      <a:pt x="14" y="57"/>
                    </a:lnTo>
                    <a:lnTo>
                      <a:pt x="14" y="55"/>
                    </a:lnTo>
                    <a:lnTo>
                      <a:pt x="16" y="54"/>
                    </a:lnTo>
                    <a:lnTo>
                      <a:pt x="12" y="50"/>
                    </a:lnTo>
                    <a:lnTo>
                      <a:pt x="12" y="50"/>
                    </a:lnTo>
                    <a:lnTo>
                      <a:pt x="12" y="47"/>
                    </a:lnTo>
                    <a:lnTo>
                      <a:pt x="9" y="47"/>
                    </a:lnTo>
                    <a:lnTo>
                      <a:pt x="5" y="42"/>
                    </a:lnTo>
                    <a:lnTo>
                      <a:pt x="0" y="36"/>
                    </a:lnTo>
                    <a:lnTo>
                      <a:pt x="11" y="26"/>
                    </a:lnTo>
                    <a:lnTo>
                      <a:pt x="16" y="17"/>
                    </a:lnTo>
                    <a:lnTo>
                      <a:pt x="16" y="12"/>
                    </a:lnTo>
                    <a:lnTo>
                      <a:pt x="16" y="12"/>
                    </a:lnTo>
                    <a:lnTo>
                      <a:pt x="16" y="1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4" name="Freeform 117"/>
              <p:cNvSpPr>
                <a:spLocks/>
              </p:cNvSpPr>
              <p:nvPr/>
            </p:nvSpPr>
            <p:spPr bwMode="auto">
              <a:xfrm>
                <a:off x="4008438" y="3879851"/>
                <a:ext cx="84138" cy="22225"/>
              </a:xfrm>
              <a:custGeom>
                <a:avLst/>
                <a:gdLst/>
                <a:ahLst/>
                <a:cxnLst>
                  <a:cxn ang="0">
                    <a:pos x="1" y="14"/>
                  </a:cxn>
                  <a:cxn ang="0">
                    <a:pos x="3" y="12"/>
                  </a:cxn>
                  <a:cxn ang="0">
                    <a:pos x="14" y="12"/>
                  </a:cxn>
                  <a:cxn ang="0">
                    <a:pos x="17" y="9"/>
                  </a:cxn>
                  <a:cxn ang="0">
                    <a:pos x="20" y="9"/>
                  </a:cxn>
                  <a:cxn ang="0">
                    <a:pos x="24" y="7"/>
                  </a:cxn>
                  <a:cxn ang="0">
                    <a:pos x="26" y="7"/>
                  </a:cxn>
                  <a:cxn ang="0">
                    <a:pos x="27" y="9"/>
                  </a:cxn>
                  <a:cxn ang="0">
                    <a:pos x="31" y="7"/>
                  </a:cxn>
                  <a:cxn ang="0">
                    <a:pos x="31" y="5"/>
                  </a:cxn>
                  <a:cxn ang="0">
                    <a:pos x="34" y="9"/>
                  </a:cxn>
                  <a:cxn ang="0">
                    <a:pos x="38" y="9"/>
                  </a:cxn>
                  <a:cxn ang="0">
                    <a:pos x="43" y="9"/>
                  </a:cxn>
                  <a:cxn ang="0">
                    <a:pos x="48" y="12"/>
                  </a:cxn>
                  <a:cxn ang="0">
                    <a:pos x="53" y="12"/>
                  </a:cxn>
                  <a:cxn ang="0">
                    <a:pos x="53" y="9"/>
                  </a:cxn>
                  <a:cxn ang="0">
                    <a:pos x="53" y="9"/>
                  </a:cxn>
                  <a:cxn ang="0">
                    <a:pos x="50" y="9"/>
                  </a:cxn>
                  <a:cxn ang="0">
                    <a:pos x="43" y="4"/>
                  </a:cxn>
                  <a:cxn ang="0">
                    <a:pos x="40" y="4"/>
                  </a:cxn>
                  <a:cxn ang="0">
                    <a:pos x="34" y="0"/>
                  </a:cxn>
                  <a:cxn ang="0">
                    <a:pos x="31" y="0"/>
                  </a:cxn>
                  <a:cxn ang="0">
                    <a:pos x="27" y="0"/>
                  </a:cxn>
                  <a:cxn ang="0">
                    <a:pos x="24" y="0"/>
                  </a:cxn>
                  <a:cxn ang="0">
                    <a:pos x="17" y="5"/>
                  </a:cxn>
                  <a:cxn ang="0">
                    <a:pos x="14" y="5"/>
                  </a:cxn>
                  <a:cxn ang="0">
                    <a:pos x="12" y="7"/>
                  </a:cxn>
                  <a:cxn ang="0">
                    <a:pos x="5" y="7"/>
                  </a:cxn>
                  <a:cxn ang="0">
                    <a:pos x="5" y="9"/>
                  </a:cxn>
                  <a:cxn ang="0">
                    <a:pos x="8" y="12"/>
                  </a:cxn>
                  <a:cxn ang="0">
                    <a:pos x="14" y="9"/>
                  </a:cxn>
                  <a:cxn ang="0">
                    <a:pos x="10" y="12"/>
                  </a:cxn>
                  <a:cxn ang="0">
                    <a:pos x="5" y="12"/>
                  </a:cxn>
                  <a:cxn ang="0">
                    <a:pos x="3" y="9"/>
                  </a:cxn>
                  <a:cxn ang="0">
                    <a:pos x="0" y="12"/>
                  </a:cxn>
                  <a:cxn ang="0">
                    <a:pos x="1" y="12"/>
                  </a:cxn>
                  <a:cxn ang="0">
                    <a:pos x="1" y="14"/>
                  </a:cxn>
                  <a:cxn ang="0">
                    <a:pos x="1" y="14"/>
                  </a:cxn>
                  <a:cxn ang="0">
                    <a:pos x="1" y="14"/>
                  </a:cxn>
                </a:cxnLst>
                <a:rect l="0" t="0" r="r" b="b"/>
                <a:pathLst>
                  <a:path w="53" h="14">
                    <a:moveTo>
                      <a:pt x="1" y="14"/>
                    </a:moveTo>
                    <a:lnTo>
                      <a:pt x="3" y="12"/>
                    </a:lnTo>
                    <a:lnTo>
                      <a:pt x="14" y="12"/>
                    </a:lnTo>
                    <a:lnTo>
                      <a:pt x="17" y="9"/>
                    </a:lnTo>
                    <a:lnTo>
                      <a:pt x="20" y="9"/>
                    </a:lnTo>
                    <a:lnTo>
                      <a:pt x="24" y="7"/>
                    </a:lnTo>
                    <a:lnTo>
                      <a:pt x="26" y="7"/>
                    </a:lnTo>
                    <a:lnTo>
                      <a:pt x="27" y="9"/>
                    </a:lnTo>
                    <a:lnTo>
                      <a:pt x="31" y="7"/>
                    </a:lnTo>
                    <a:lnTo>
                      <a:pt x="31" y="5"/>
                    </a:lnTo>
                    <a:lnTo>
                      <a:pt x="34" y="9"/>
                    </a:lnTo>
                    <a:lnTo>
                      <a:pt x="38" y="9"/>
                    </a:lnTo>
                    <a:lnTo>
                      <a:pt x="43" y="9"/>
                    </a:lnTo>
                    <a:lnTo>
                      <a:pt x="48" y="12"/>
                    </a:lnTo>
                    <a:lnTo>
                      <a:pt x="53" y="12"/>
                    </a:lnTo>
                    <a:lnTo>
                      <a:pt x="53" y="9"/>
                    </a:lnTo>
                    <a:lnTo>
                      <a:pt x="53" y="9"/>
                    </a:lnTo>
                    <a:lnTo>
                      <a:pt x="50" y="9"/>
                    </a:lnTo>
                    <a:lnTo>
                      <a:pt x="43" y="4"/>
                    </a:lnTo>
                    <a:lnTo>
                      <a:pt x="40" y="4"/>
                    </a:lnTo>
                    <a:lnTo>
                      <a:pt x="34" y="0"/>
                    </a:lnTo>
                    <a:lnTo>
                      <a:pt x="31" y="0"/>
                    </a:lnTo>
                    <a:lnTo>
                      <a:pt x="27" y="0"/>
                    </a:lnTo>
                    <a:lnTo>
                      <a:pt x="24" y="0"/>
                    </a:lnTo>
                    <a:lnTo>
                      <a:pt x="17" y="5"/>
                    </a:lnTo>
                    <a:lnTo>
                      <a:pt x="14" y="5"/>
                    </a:lnTo>
                    <a:lnTo>
                      <a:pt x="12" y="7"/>
                    </a:lnTo>
                    <a:lnTo>
                      <a:pt x="5" y="7"/>
                    </a:lnTo>
                    <a:lnTo>
                      <a:pt x="5" y="9"/>
                    </a:lnTo>
                    <a:lnTo>
                      <a:pt x="8" y="12"/>
                    </a:lnTo>
                    <a:lnTo>
                      <a:pt x="14" y="9"/>
                    </a:lnTo>
                    <a:lnTo>
                      <a:pt x="10" y="12"/>
                    </a:lnTo>
                    <a:lnTo>
                      <a:pt x="5" y="12"/>
                    </a:lnTo>
                    <a:lnTo>
                      <a:pt x="3" y="9"/>
                    </a:lnTo>
                    <a:lnTo>
                      <a:pt x="0" y="12"/>
                    </a:lnTo>
                    <a:lnTo>
                      <a:pt x="1" y="12"/>
                    </a:lnTo>
                    <a:lnTo>
                      <a:pt x="1" y="14"/>
                    </a:lnTo>
                    <a:lnTo>
                      <a:pt x="1" y="14"/>
                    </a:lnTo>
                    <a:lnTo>
                      <a:pt x="1" y="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5" name="Freeform 118"/>
              <p:cNvSpPr>
                <a:spLocks/>
              </p:cNvSpPr>
              <p:nvPr/>
            </p:nvSpPr>
            <p:spPr bwMode="auto">
              <a:xfrm>
                <a:off x="4016375" y="3910013"/>
                <a:ext cx="76200" cy="52388"/>
              </a:xfrm>
              <a:custGeom>
                <a:avLst/>
                <a:gdLst/>
                <a:ahLst/>
                <a:cxnLst>
                  <a:cxn ang="0">
                    <a:pos x="0" y="7"/>
                  </a:cxn>
                  <a:cxn ang="0">
                    <a:pos x="3" y="11"/>
                  </a:cxn>
                  <a:cxn ang="0">
                    <a:pos x="9" y="6"/>
                  </a:cxn>
                  <a:cxn ang="0">
                    <a:pos x="19" y="6"/>
                  </a:cxn>
                  <a:cxn ang="0">
                    <a:pos x="22" y="2"/>
                  </a:cxn>
                  <a:cxn ang="0">
                    <a:pos x="28" y="0"/>
                  </a:cxn>
                  <a:cxn ang="0">
                    <a:pos x="43" y="0"/>
                  </a:cxn>
                  <a:cxn ang="0">
                    <a:pos x="47" y="0"/>
                  </a:cxn>
                  <a:cxn ang="0">
                    <a:pos x="48" y="6"/>
                  </a:cxn>
                  <a:cxn ang="0">
                    <a:pos x="47" y="11"/>
                  </a:cxn>
                  <a:cxn ang="0">
                    <a:pos x="47" y="16"/>
                  </a:cxn>
                  <a:cxn ang="0">
                    <a:pos x="48" y="18"/>
                  </a:cxn>
                  <a:cxn ang="0">
                    <a:pos x="48" y="21"/>
                  </a:cxn>
                  <a:cxn ang="0">
                    <a:pos x="47" y="25"/>
                  </a:cxn>
                  <a:cxn ang="0">
                    <a:pos x="40" y="25"/>
                  </a:cxn>
                  <a:cxn ang="0">
                    <a:pos x="36" y="26"/>
                  </a:cxn>
                  <a:cxn ang="0">
                    <a:pos x="33" y="28"/>
                  </a:cxn>
                  <a:cxn ang="0">
                    <a:pos x="31" y="32"/>
                  </a:cxn>
                  <a:cxn ang="0">
                    <a:pos x="26" y="33"/>
                  </a:cxn>
                  <a:cxn ang="0">
                    <a:pos x="26" y="32"/>
                  </a:cxn>
                  <a:cxn ang="0">
                    <a:pos x="26" y="30"/>
                  </a:cxn>
                  <a:cxn ang="0">
                    <a:pos x="21" y="30"/>
                  </a:cxn>
                  <a:cxn ang="0">
                    <a:pos x="22" y="25"/>
                  </a:cxn>
                  <a:cxn ang="0">
                    <a:pos x="22" y="25"/>
                  </a:cxn>
                  <a:cxn ang="0">
                    <a:pos x="22" y="25"/>
                  </a:cxn>
                  <a:cxn ang="0">
                    <a:pos x="21" y="21"/>
                  </a:cxn>
                  <a:cxn ang="0">
                    <a:pos x="19" y="21"/>
                  </a:cxn>
                  <a:cxn ang="0">
                    <a:pos x="17" y="19"/>
                  </a:cxn>
                  <a:cxn ang="0">
                    <a:pos x="26" y="19"/>
                  </a:cxn>
                  <a:cxn ang="0">
                    <a:pos x="26" y="19"/>
                  </a:cxn>
                  <a:cxn ang="0">
                    <a:pos x="22" y="16"/>
                  </a:cxn>
                  <a:cxn ang="0">
                    <a:pos x="19" y="18"/>
                  </a:cxn>
                  <a:cxn ang="0">
                    <a:pos x="14" y="18"/>
                  </a:cxn>
                  <a:cxn ang="0">
                    <a:pos x="14" y="18"/>
                  </a:cxn>
                  <a:cxn ang="0">
                    <a:pos x="10" y="16"/>
                  </a:cxn>
                  <a:cxn ang="0">
                    <a:pos x="9" y="16"/>
                  </a:cxn>
                  <a:cxn ang="0">
                    <a:pos x="5" y="13"/>
                  </a:cxn>
                  <a:cxn ang="0">
                    <a:pos x="9" y="11"/>
                  </a:cxn>
                  <a:cxn ang="0">
                    <a:pos x="7" y="11"/>
                  </a:cxn>
                  <a:cxn ang="0">
                    <a:pos x="0" y="11"/>
                  </a:cxn>
                  <a:cxn ang="0">
                    <a:pos x="0" y="7"/>
                  </a:cxn>
                  <a:cxn ang="0">
                    <a:pos x="0" y="7"/>
                  </a:cxn>
                  <a:cxn ang="0">
                    <a:pos x="0" y="7"/>
                  </a:cxn>
                  <a:cxn ang="0">
                    <a:pos x="0" y="7"/>
                  </a:cxn>
                </a:cxnLst>
                <a:rect l="0" t="0" r="r" b="b"/>
                <a:pathLst>
                  <a:path w="48" h="33">
                    <a:moveTo>
                      <a:pt x="0" y="7"/>
                    </a:moveTo>
                    <a:lnTo>
                      <a:pt x="3" y="11"/>
                    </a:lnTo>
                    <a:lnTo>
                      <a:pt x="9" y="6"/>
                    </a:lnTo>
                    <a:lnTo>
                      <a:pt x="19" y="6"/>
                    </a:lnTo>
                    <a:lnTo>
                      <a:pt x="22" y="2"/>
                    </a:lnTo>
                    <a:lnTo>
                      <a:pt x="28" y="0"/>
                    </a:lnTo>
                    <a:lnTo>
                      <a:pt x="43" y="0"/>
                    </a:lnTo>
                    <a:lnTo>
                      <a:pt x="47" y="0"/>
                    </a:lnTo>
                    <a:lnTo>
                      <a:pt x="48" y="6"/>
                    </a:lnTo>
                    <a:lnTo>
                      <a:pt x="47" y="11"/>
                    </a:lnTo>
                    <a:lnTo>
                      <a:pt x="47" y="16"/>
                    </a:lnTo>
                    <a:lnTo>
                      <a:pt x="48" y="18"/>
                    </a:lnTo>
                    <a:lnTo>
                      <a:pt x="48" y="21"/>
                    </a:lnTo>
                    <a:lnTo>
                      <a:pt x="47" y="25"/>
                    </a:lnTo>
                    <a:lnTo>
                      <a:pt x="40" y="25"/>
                    </a:lnTo>
                    <a:lnTo>
                      <a:pt x="36" y="26"/>
                    </a:lnTo>
                    <a:lnTo>
                      <a:pt x="33" y="28"/>
                    </a:lnTo>
                    <a:lnTo>
                      <a:pt x="31" y="32"/>
                    </a:lnTo>
                    <a:lnTo>
                      <a:pt x="26" y="33"/>
                    </a:lnTo>
                    <a:lnTo>
                      <a:pt x="26" y="32"/>
                    </a:lnTo>
                    <a:lnTo>
                      <a:pt x="26" y="30"/>
                    </a:lnTo>
                    <a:lnTo>
                      <a:pt x="21" y="30"/>
                    </a:lnTo>
                    <a:lnTo>
                      <a:pt x="22" y="25"/>
                    </a:lnTo>
                    <a:lnTo>
                      <a:pt x="22" y="25"/>
                    </a:lnTo>
                    <a:lnTo>
                      <a:pt x="22" y="25"/>
                    </a:lnTo>
                    <a:lnTo>
                      <a:pt x="21" y="21"/>
                    </a:lnTo>
                    <a:lnTo>
                      <a:pt x="19" y="21"/>
                    </a:lnTo>
                    <a:lnTo>
                      <a:pt x="17" y="19"/>
                    </a:lnTo>
                    <a:lnTo>
                      <a:pt x="26" y="19"/>
                    </a:lnTo>
                    <a:lnTo>
                      <a:pt x="26" y="19"/>
                    </a:lnTo>
                    <a:lnTo>
                      <a:pt x="22" y="16"/>
                    </a:lnTo>
                    <a:lnTo>
                      <a:pt x="19" y="18"/>
                    </a:lnTo>
                    <a:lnTo>
                      <a:pt x="14" y="18"/>
                    </a:lnTo>
                    <a:lnTo>
                      <a:pt x="14" y="18"/>
                    </a:lnTo>
                    <a:lnTo>
                      <a:pt x="10" y="16"/>
                    </a:lnTo>
                    <a:lnTo>
                      <a:pt x="9" y="16"/>
                    </a:lnTo>
                    <a:lnTo>
                      <a:pt x="5" y="13"/>
                    </a:lnTo>
                    <a:lnTo>
                      <a:pt x="9" y="11"/>
                    </a:lnTo>
                    <a:lnTo>
                      <a:pt x="7" y="11"/>
                    </a:lnTo>
                    <a:lnTo>
                      <a:pt x="0" y="11"/>
                    </a:lnTo>
                    <a:lnTo>
                      <a:pt x="0" y="7"/>
                    </a:lnTo>
                    <a:lnTo>
                      <a:pt x="0" y="7"/>
                    </a:lnTo>
                    <a:lnTo>
                      <a:pt x="0" y="7"/>
                    </a:lnTo>
                    <a:lnTo>
                      <a:pt x="0"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119"/>
              <p:cNvSpPr>
                <a:spLocks/>
              </p:cNvSpPr>
              <p:nvPr/>
            </p:nvSpPr>
            <p:spPr bwMode="auto">
              <a:xfrm>
                <a:off x="4068763" y="3910013"/>
                <a:ext cx="187325" cy="193675"/>
              </a:xfrm>
              <a:custGeom>
                <a:avLst/>
                <a:gdLst/>
                <a:ahLst/>
                <a:cxnLst>
                  <a:cxn ang="0">
                    <a:pos x="2" y="26"/>
                  </a:cxn>
                  <a:cxn ang="0">
                    <a:pos x="10" y="23"/>
                  </a:cxn>
                  <a:cxn ang="0">
                    <a:pos x="17" y="19"/>
                  </a:cxn>
                  <a:cxn ang="0">
                    <a:pos x="17" y="14"/>
                  </a:cxn>
                  <a:cxn ang="0">
                    <a:pos x="17" y="6"/>
                  </a:cxn>
                  <a:cxn ang="0">
                    <a:pos x="19" y="0"/>
                  </a:cxn>
                  <a:cxn ang="0">
                    <a:pos x="36" y="4"/>
                  </a:cxn>
                  <a:cxn ang="0">
                    <a:pos x="45" y="6"/>
                  </a:cxn>
                  <a:cxn ang="0">
                    <a:pos x="52" y="6"/>
                  </a:cxn>
                  <a:cxn ang="0">
                    <a:pos x="57" y="9"/>
                  </a:cxn>
                  <a:cxn ang="0">
                    <a:pos x="62" y="11"/>
                  </a:cxn>
                  <a:cxn ang="0">
                    <a:pos x="66" y="9"/>
                  </a:cxn>
                  <a:cxn ang="0">
                    <a:pos x="73" y="14"/>
                  </a:cxn>
                  <a:cxn ang="0">
                    <a:pos x="80" y="11"/>
                  </a:cxn>
                  <a:cxn ang="0">
                    <a:pos x="85" y="6"/>
                  </a:cxn>
                  <a:cxn ang="0">
                    <a:pos x="94" y="9"/>
                  </a:cxn>
                  <a:cxn ang="0">
                    <a:pos x="97" y="6"/>
                  </a:cxn>
                  <a:cxn ang="0">
                    <a:pos x="101" y="11"/>
                  </a:cxn>
                  <a:cxn ang="0">
                    <a:pos x="102" y="19"/>
                  </a:cxn>
                  <a:cxn ang="0">
                    <a:pos x="108" y="23"/>
                  </a:cxn>
                  <a:cxn ang="0">
                    <a:pos x="104" y="28"/>
                  </a:cxn>
                  <a:cxn ang="0">
                    <a:pos x="106" y="33"/>
                  </a:cxn>
                  <a:cxn ang="0">
                    <a:pos x="109" y="30"/>
                  </a:cxn>
                  <a:cxn ang="0">
                    <a:pos x="111" y="35"/>
                  </a:cxn>
                  <a:cxn ang="0">
                    <a:pos x="115" y="39"/>
                  </a:cxn>
                  <a:cxn ang="0">
                    <a:pos x="118" y="42"/>
                  </a:cxn>
                  <a:cxn ang="0">
                    <a:pos x="109" y="46"/>
                  </a:cxn>
                  <a:cxn ang="0">
                    <a:pos x="111" y="51"/>
                  </a:cxn>
                  <a:cxn ang="0">
                    <a:pos x="111" y="59"/>
                  </a:cxn>
                  <a:cxn ang="0">
                    <a:pos x="113" y="68"/>
                  </a:cxn>
                  <a:cxn ang="0">
                    <a:pos x="115" y="73"/>
                  </a:cxn>
                  <a:cxn ang="0">
                    <a:pos x="109" y="75"/>
                  </a:cxn>
                  <a:cxn ang="0">
                    <a:pos x="113" y="80"/>
                  </a:cxn>
                  <a:cxn ang="0">
                    <a:pos x="115" y="86"/>
                  </a:cxn>
                  <a:cxn ang="0">
                    <a:pos x="106" y="98"/>
                  </a:cxn>
                  <a:cxn ang="0">
                    <a:pos x="106" y="103"/>
                  </a:cxn>
                  <a:cxn ang="0">
                    <a:pos x="101" y="112"/>
                  </a:cxn>
                  <a:cxn ang="0">
                    <a:pos x="76" y="122"/>
                  </a:cxn>
                  <a:cxn ang="0">
                    <a:pos x="69" y="117"/>
                  </a:cxn>
                  <a:cxn ang="0">
                    <a:pos x="62" y="112"/>
                  </a:cxn>
                  <a:cxn ang="0">
                    <a:pos x="62" y="106"/>
                  </a:cxn>
                  <a:cxn ang="0">
                    <a:pos x="69" y="79"/>
                  </a:cxn>
                  <a:cxn ang="0">
                    <a:pos x="69" y="75"/>
                  </a:cxn>
                  <a:cxn ang="0">
                    <a:pos x="71" y="72"/>
                  </a:cxn>
                  <a:cxn ang="0">
                    <a:pos x="69" y="65"/>
                  </a:cxn>
                  <a:cxn ang="0">
                    <a:pos x="66" y="56"/>
                  </a:cxn>
                  <a:cxn ang="0">
                    <a:pos x="61" y="47"/>
                  </a:cxn>
                  <a:cxn ang="0">
                    <a:pos x="43" y="47"/>
                  </a:cxn>
                  <a:cxn ang="0">
                    <a:pos x="35" y="56"/>
                  </a:cxn>
                  <a:cxn ang="0">
                    <a:pos x="31" y="61"/>
                  </a:cxn>
                  <a:cxn ang="0">
                    <a:pos x="26" y="59"/>
                  </a:cxn>
                  <a:cxn ang="0">
                    <a:pos x="19" y="53"/>
                  </a:cxn>
                  <a:cxn ang="0">
                    <a:pos x="14" y="51"/>
                  </a:cxn>
                  <a:cxn ang="0">
                    <a:pos x="17" y="46"/>
                  </a:cxn>
                  <a:cxn ang="0">
                    <a:pos x="12" y="47"/>
                  </a:cxn>
                  <a:cxn ang="0">
                    <a:pos x="5" y="46"/>
                  </a:cxn>
                  <a:cxn ang="0">
                    <a:pos x="3" y="33"/>
                  </a:cxn>
                  <a:cxn ang="0">
                    <a:pos x="0" y="30"/>
                  </a:cxn>
                  <a:cxn ang="0">
                    <a:pos x="0" y="30"/>
                  </a:cxn>
                </a:cxnLst>
                <a:rect l="0" t="0" r="r" b="b"/>
                <a:pathLst>
                  <a:path w="118" h="122">
                    <a:moveTo>
                      <a:pt x="0" y="30"/>
                    </a:moveTo>
                    <a:lnTo>
                      <a:pt x="2" y="26"/>
                    </a:lnTo>
                    <a:lnTo>
                      <a:pt x="5" y="25"/>
                    </a:lnTo>
                    <a:lnTo>
                      <a:pt x="10" y="23"/>
                    </a:lnTo>
                    <a:lnTo>
                      <a:pt x="17" y="23"/>
                    </a:lnTo>
                    <a:lnTo>
                      <a:pt x="17" y="19"/>
                    </a:lnTo>
                    <a:lnTo>
                      <a:pt x="17" y="16"/>
                    </a:lnTo>
                    <a:lnTo>
                      <a:pt x="17" y="14"/>
                    </a:lnTo>
                    <a:lnTo>
                      <a:pt x="17" y="9"/>
                    </a:lnTo>
                    <a:lnTo>
                      <a:pt x="17" y="6"/>
                    </a:lnTo>
                    <a:lnTo>
                      <a:pt x="17" y="0"/>
                    </a:lnTo>
                    <a:lnTo>
                      <a:pt x="19" y="0"/>
                    </a:lnTo>
                    <a:lnTo>
                      <a:pt x="31" y="0"/>
                    </a:lnTo>
                    <a:lnTo>
                      <a:pt x="36" y="4"/>
                    </a:lnTo>
                    <a:lnTo>
                      <a:pt x="40" y="6"/>
                    </a:lnTo>
                    <a:lnTo>
                      <a:pt x="45" y="6"/>
                    </a:lnTo>
                    <a:lnTo>
                      <a:pt x="48" y="9"/>
                    </a:lnTo>
                    <a:lnTo>
                      <a:pt x="52" y="6"/>
                    </a:lnTo>
                    <a:lnTo>
                      <a:pt x="55" y="6"/>
                    </a:lnTo>
                    <a:lnTo>
                      <a:pt x="57" y="9"/>
                    </a:lnTo>
                    <a:lnTo>
                      <a:pt x="61" y="9"/>
                    </a:lnTo>
                    <a:lnTo>
                      <a:pt x="62" y="11"/>
                    </a:lnTo>
                    <a:lnTo>
                      <a:pt x="62" y="11"/>
                    </a:lnTo>
                    <a:lnTo>
                      <a:pt x="66" y="9"/>
                    </a:lnTo>
                    <a:lnTo>
                      <a:pt x="69" y="11"/>
                    </a:lnTo>
                    <a:lnTo>
                      <a:pt x="73" y="14"/>
                    </a:lnTo>
                    <a:lnTo>
                      <a:pt x="76" y="14"/>
                    </a:lnTo>
                    <a:lnTo>
                      <a:pt x="80" y="11"/>
                    </a:lnTo>
                    <a:lnTo>
                      <a:pt x="83" y="11"/>
                    </a:lnTo>
                    <a:lnTo>
                      <a:pt x="85" y="6"/>
                    </a:lnTo>
                    <a:lnTo>
                      <a:pt x="88" y="6"/>
                    </a:lnTo>
                    <a:lnTo>
                      <a:pt x="94" y="9"/>
                    </a:lnTo>
                    <a:lnTo>
                      <a:pt x="95" y="6"/>
                    </a:lnTo>
                    <a:lnTo>
                      <a:pt x="97" y="6"/>
                    </a:lnTo>
                    <a:lnTo>
                      <a:pt x="97" y="9"/>
                    </a:lnTo>
                    <a:lnTo>
                      <a:pt x="101" y="11"/>
                    </a:lnTo>
                    <a:lnTo>
                      <a:pt x="102" y="14"/>
                    </a:lnTo>
                    <a:lnTo>
                      <a:pt x="102" y="19"/>
                    </a:lnTo>
                    <a:lnTo>
                      <a:pt x="104" y="23"/>
                    </a:lnTo>
                    <a:lnTo>
                      <a:pt x="108" y="23"/>
                    </a:lnTo>
                    <a:lnTo>
                      <a:pt x="108" y="23"/>
                    </a:lnTo>
                    <a:lnTo>
                      <a:pt x="104" y="28"/>
                    </a:lnTo>
                    <a:lnTo>
                      <a:pt x="102" y="33"/>
                    </a:lnTo>
                    <a:lnTo>
                      <a:pt x="106" y="33"/>
                    </a:lnTo>
                    <a:lnTo>
                      <a:pt x="108" y="30"/>
                    </a:lnTo>
                    <a:lnTo>
                      <a:pt x="109" y="30"/>
                    </a:lnTo>
                    <a:lnTo>
                      <a:pt x="109" y="33"/>
                    </a:lnTo>
                    <a:lnTo>
                      <a:pt x="111" y="35"/>
                    </a:lnTo>
                    <a:lnTo>
                      <a:pt x="111" y="39"/>
                    </a:lnTo>
                    <a:lnTo>
                      <a:pt x="115" y="39"/>
                    </a:lnTo>
                    <a:lnTo>
                      <a:pt x="118" y="39"/>
                    </a:lnTo>
                    <a:lnTo>
                      <a:pt x="118" y="42"/>
                    </a:lnTo>
                    <a:lnTo>
                      <a:pt x="115" y="44"/>
                    </a:lnTo>
                    <a:lnTo>
                      <a:pt x="109" y="46"/>
                    </a:lnTo>
                    <a:lnTo>
                      <a:pt x="109" y="47"/>
                    </a:lnTo>
                    <a:lnTo>
                      <a:pt x="111" y="51"/>
                    </a:lnTo>
                    <a:lnTo>
                      <a:pt x="111" y="56"/>
                    </a:lnTo>
                    <a:lnTo>
                      <a:pt x="111" y="59"/>
                    </a:lnTo>
                    <a:lnTo>
                      <a:pt x="111" y="66"/>
                    </a:lnTo>
                    <a:lnTo>
                      <a:pt x="113" y="68"/>
                    </a:lnTo>
                    <a:lnTo>
                      <a:pt x="115" y="72"/>
                    </a:lnTo>
                    <a:lnTo>
                      <a:pt x="115" y="73"/>
                    </a:lnTo>
                    <a:lnTo>
                      <a:pt x="113" y="73"/>
                    </a:lnTo>
                    <a:lnTo>
                      <a:pt x="109" y="75"/>
                    </a:lnTo>
                    <a:lnTo>
                      <a:pt x="109" y="77"/>
                    </a:lnTo>
                    <a:lnTo>
                      <a:pt x="113" y="80"/>
                    </a:lnTo>
                    <a:lnTo>
                      <a:pt x="115" y="82"/>
                    </a:lnTo>
                    <a:lnTo>
                      <a:pt x="115" y="86"/>
                    </a:lnTo>
                    <a:lnTo>
                      <a:pt x="109" y="94"/>
                    </a:lnTo>
                    <a:lnTo>
                      <a:pt x="106" y="98"/>
                    </a:lnTo>
                    <a:lnTo>
                      <a:pt x="106" y="98"/>
                    </a:lnTo>
                    <a:lnTo>
                      <a:pt x="106" y="103"/>
                    </a:lnTo>
                    <a:lnTo>
                      <a:pt x="104" y="108"/>
                    </a:lnTo>
                    <a:lnTo>
                      <a:pt x="101" y="112"/>
                    </a:lnTo>
                    <a:lnTo>
                      <a:pt x="101" y="113"/>
                    </a:lnTo>
                    <a:lnTo>
                      <a:pt x="76" y="122"/>
                    </a:lnTo>
                    <a:lnTo>
                      <a:pt x="71" y="117"/>
                    </a:lnTo>
                    <a:lnTo>
                      <a:pt x="69" y="117"/>
                    </a:lnTo>
                    <a:lnTo>
                      <a:pt x="62" y="112"/>
                    </a:lnTo>
                    <a:lnTo>
                      <a:pt x="62" y="112"/>
                    </a:lnTo>
                    <a:lnTo>
                      <a:pt x="62" y="106"/>
                    </a:lnTo>
                    <a:lnTo>
                      <a:pt x="62" y="106"/>
                    </a:lnTo>
                    <a:lnTo>
                      <a:pt x="69" y="103"/>
                    </a:lnTo>
                    <a:lnTo>
                      <a:pt x="69" y="79"/>
                    </a:lnTo>
                    <a:lnTo>
                      <a:pt x="71" y="75"/>
                    </a:lnTo>
                    <a:lnTo>
                      <a:pt x="69" y="75"/>
                    </a:lnTo>
                    <a:lnTo>
                      <a:pt x="69" y="72"/>
                    </a:lnTo>
                    <a:lnTo>
                      <a:pt x="71" y="72"/>
                    </a:lnTo>
                    <a:lnTo>
                      <a:pt x="71" y="68"/>
                    </a:lnTo>
                    <a:lnTo>
                      <a:pt x="69" y="65"/>
                    </a:lnTo>
                    <a:lnTo>
                      <a:pt x="69" y="61"/>
                    </a:lnTo>
                    <a:lnTo>
                      <a:pt x="66" y="56"/>
                    </a:lnTo>
                    <a:lnTo>
                      <a:pt x="62" y="53"/>
                    </a:lnTo>
                    <a:lnTo>
                      <a:pt x="61" y="47"/>
                    </a:lnTo>
                    <a:lnTo>
                      <a:pt x="45" y="47"/>
                    </a:lnTo>
                    <a:lnTo>
                      <a:pt x="43" y="47"/>
                    </a:lnTo>
                    <a:lnTo>
                      <a:pt x="40" y="53"/>
                    </a:lnTo>
                    <a:lnTo>
                      <a:pt x="35" y="56"/>
                    </a:lnTo>
                    <a:lnTo>
                      <a:pt x="35" y="58"/>
                    </a:lnTo>
                    <a:lnTo>
                      <a:pt x="31" y="61"/>
                    </a:lnTo>
                    <a:lnTo>
                      <a:pt x="28" y="61"/>
                    </a:lnTo>
                    <a:lnTo>
                      <a:pt x="26" y="59"/>
                    </a:lnTo>
                    <a:lnTo>
                      <a:pt x="21" y="56"/>
                    </a:lnTo>
                    <a:lnTo>
                      <a:pt x="19" y="53"/>
                    </a:lnTo>
                    <a:lnTo>
                      <a:pt x="17" y="53"/>
                    </a:lnTo>
                    <a:lnTo>
                      <a:pt x="14" y="51"/>
                    </a:lnTo>
                    <a:lnTo>
                      <a:pt x="14" y="47"/>
                    </a:lnTo>
                    <a:lnTo>
                      <a:pt x="17" y="46"/>
                    </a:lnTo>
                    <a:lnTo>
                      <a:pt x="14" y="46"/>
                    </a:lnTo>
                    <a:lnTo>
                      <a:pt x="12" y="47"/>
                    </a:lnTo>
                    <a:lnTo>
                      <a:pt x="9" y="46"/>
                    </a:lnTo>
                    <a:lnTo>
                      <a:pt x="5" y="46"/>
                    </a:lnTo>
                    <a:lnTo>
                      <a:pt x="2" y="39"/>
                    </a:lnTo>
                    <a:lnTo>
                      <a:pt x="3" y="33"/>
                    </a:lnTo>
                    <a:lnTo>
                      <a:pt x="0" y="30"/>
                    </a:lnTo>
                    <a:lnTo>
                      <a:pt x="0" y="30"/>
                    </a:lnTo>
                    <a:lnTo>
                      <a:pt x="0" y="30"/>
                    </a:lnTo>
                    <a:lnTo>
                      <a:pt x="0" y="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7" name="Freeform 120"/>
              <p:cNvSpPr>
                <a:spLocks noEditPoints="1"/>
              </p:cNvSpPr>
              <p:nvPr/>
            </p:nvSpPr>
            <p:spPr bwMode="auto">
              <a:xfrm>
                <a:off x="4106863" y="3987801"/>
                <a:ext cx="77788" cy="93663"/>
              </a:xfrm>
              <a:custGeom>
                <a:avLst/>
                <a:gdLst/>
                <a:ahLst/>
                <a:cxnLst>
                  <a:cxn ang="0">
                    <a:pos x="14" y="50"/>
                  </a:cxn>
                  <a:cxn ang="0">
                    <a:pos x="14" y="47"/>
                  </a:cxn>
                  <a:cxn ang="0">
                    <a:pos x="12" y="45"/>
                  </a:cxn>
                  <a:cxn ang="0">
                    <a:pos x="11" y="45"/>
                  </a:cxn>
                  <a:cxn ang="0">
                    <a:pos x="9" y="47"/>
                  </a:cxn>
                  <a:cxn ang="0">
                    <a:pos x="11" y="49"/>
                  </a:cxn>
                  <a:cxn ang="0">
                    <a:pos x="12" y="50"/>
                  </a:cxn>
                  <a:cxn ang="0">
                    <a:pos x="14" y="50"/>
                  </a:cxn>
                  <a:cxn ang="0">
                    <a:pos x="14" y="50"/>
                  </a:cxn>
                  <a:cxn ang="0">
                    <a:pos x="14" y="50"/>
                  </a:cxn>
                  <a:cxn ang="0">
                    <a:pos x="14" y="50"/>
                  </a:cxn>
                  <a:cxn ang="0">
                    <a:pos x="2" y="14"/>
                  </a:cxn>
                  <a:cxn ang="0">
                    <a:pos x="5" y="14"/>
                  </a:cxn>
                  <a:cxn ang="0">
                    <a:pos x="11" y="10"/>
                  </a:cxn>
                  <a:cxn ang="0">
                    <a:pos x="11" y="9"/>
                  </a:cxn>
                  <a:cxn ang="0">
                    <a:pos x="16" y="5"/>
                  </a:cxn>
                  <a:cxn ang="0">
                    <a:pos x="19" y="2"/>
                  </a:cxn>
                  <a:cxn ang="0">
                    <a:pos x="23" y="0"/>
                  </a:cxn>
                  <a:cxn ang="0">
                    <a:pos x="38" y="0"/>
                  </a:cxn>
                  <a:cxn ang="0">
                    <a:pos x="40" y="5"/>
                  </a:cxn>
                  <a:cxn ang="0">
                    <a:pos x="44" y="9"/>
                  </a:cxn>
                  <a:cxn ang="0">
                    <a:pos x="47" y="14"/>
                  </a:cxn>
                  <a:cxn ang="0">
                    <a:pos x="47" y="17"/>
                  </a:cxn>
                  <a:cxn ang="0">
                    <a:pos x="49" y="21"/>
                  </a:cxn>
                  <a:cxn ang="0">
                    <a:pos x="49" y="24"/>
                  </a:cxn>
                  <a:cxn ang="0">
                    <a:pos x="49" y="24"/>
                  </a:cxn>
                  <a:cxn ang="0">
                    <a:pos x="47" y="28"/>
                  </a:cxn>
                  <a:cxn ang="0">
                    <a:pos x="49" y="28"/>
                  </a:cxn>
                  <a:cxn ang="0">
                    <a:pos x="49" y="31"/>
                  </a:cxn>
                  <a:cxn ang="0">
                    <a:pos x="47" y="54"/>
                  </a:cxn>
                  <a:cxn ang="0">
                    <a:pos x="40" y="59"/>
                  </a:cxn>
                  <a:cxn ang="0">
                    <a:pos x="38" y="56"/>
                  </a:cxn>
                  <a:cxn ang="0">
                    <a:pos x="31" y="56"/>
                  </a:cxn>
                  <a:cxn ang="0">
                    <a:pos x="21" y="50"/>
                  </a:cxn>
                  <a:cxn ang="0">
                    <a:pos x="18" y="50"/>
                  </a:cxn>
                  <a:cxn ang="0">
                    <a:pos x="18" y="50"/>
                  </a:cxn>
                  <a:cxn ang="0">
                    <a:pos x="16" y="47"/>
                  </a:cxn>
                  <a:cxn ang="0">
                    <a:pos x="14" y="45"/>
                  </a:cxn>
                  <a:cxn ang="0">
                    <a:pos x="14" y="42"/>
                  </a:cxn>
                  <a:cxn ang="0">
                    <a:pos x="14" y="40"/>
                  </a:cxn>
                  <a:cxn ang="0">
                    <a:pos x="11" y="42"/>
                  </a:cxn>
                  <a:cxn ang="0">
                    <a:pos x="7" y="40"/>
                  </a:cxn>
                  <a:cxn ang="0">
                    <a:pos x="7" y="33"/>
                  </a:cxn>
                  <a:cxn ang="0">
                    <a:pos x="5" y="28"/>
                  </a:cxn>
                  <a:cxn ang="0">
                    <a:pos x="2" y="28"/>
                  </a:cxn>
                  <a:cxn ang="0">
                    <a:pos x="0" y="26"/>
                  </a:cxn>
                  <a:cxn ang="0">
                    <a:pos x="4" y="21"/>
                  </a:cxn>
                  <a:cxn ang="0">
                    <a:pos x="0" y="19"/>
                  </a:cxn>
                  <a:cxn ang="0">
                    <a:pos x="0" y="17"/>
                  </a:cxn>
                  <a:cxn ang="0">
                    <a:pos x="2" y="14"/>
                  </a:cxn>
                  <a:cxn ang="0">
                    <a:pos x="2" y="14"/>
                  </a:cxn>
                  <a:cxn ang="0">
                    <a:pos x="2" y="14"/>
                  </a:cxn>
                  <a:cxn ang="0">
                    <a:pos x="2" y="14"/>
                  </a:cxn>
                </a:cxnLst>
                <a:rect l="0" t="0" r="r" b="b"/>
                <a:pathLst>
                  <a:path w="49" h="59">
                    <a:moveTo>
                      <a:pt x="14" y="50"/>
                    </a:moveTo>
                    <a:lnTo>
                      <a:pt x="14" y="47"/>
                    </a:lnTo>
                    <a:lnTo>
                      <a:pt x="12" y="45"/>
                    </a:lnTo>
                    <a:lnTo>
                      <a:pt x="11" y="45"/>
                    </a:lnTo>
                    <a:lnTo>
                      <a:pt x="9" y="47"/>
                    </a:lnTo>
                    <a:lnTo>
                      <a:pt x="11" y="49"/>
                    </a:lnTo>
                    <a:lnTo>
                      <a:pt x="12" y="50"/>
                    </a:lnTo>
                    <a:lnTo>
                      <a:pt x="14" y="50"/>
                    </a:lnTo>
                    <a:lnTo>
                      <a:pt x="14" y="50"/>
                    </a:lnTo>
                    <a:lnTo>
                      <a:pt x="14" y="50"/>
                    </a:lnTo>
                    <a:lnTo>
                      <a:pt x="14" y="50"/>
                    </a:lnTo>
                    <a:close/>
                    <a:moveTo>
                      <a:pt x="2" y="14"/>
                    </a:moveTo>
                    <a:lnTo>
                      <a:pt x="5" y="14"/>
                    </a:lnTo>
                    <a:lnTo>
                      <a:pt x="11" y="10"/>
                    </a:lnTo>
                    <a:lnTo>
                      <a:pt x="11" y="9"/>
                    </a:lnTo>
                    <a:lnTo>
                      <a:pt x="16" y="5"/>
                    </a:lnTo>
                    <a:lnTo>
                      <a:pt x="19" y="2"/>
                    </a:lnTo>
                    <a:lnTo>
                      <a:pt x="23" y="0"/>
                    </a:lnTo>
                    <a:lnTo>
                      <a:pt x="38" y="0"/>
                    </a:lnTo>
                    <a:lnTo>
                      <a:pt x="40" y="5"/>
                    </a:lnTo>
                    <a:lnTo>
                      <a:pt x="44" y="9"/>
                    </a:lnTo>
                    <a:lnTo>
                      <a:pt x="47" y="14"/>
                    </a:lnTo>
                    <a:lnTo>
                      <a:pt x="47" y="17"/>
                    </a:lnTo>
                    <a:lnTo>
                      <a:pt x="49" y="21"/>
                    </a:lnTo>
                    <a:lnTo>
                      <a:pt x="49" y="24"/>
                    </a:lnTo>
                    <a:lnTo>
                      <a:pt x="49" y="24"/>
                    </a:lnTo>
                    <a:lnTo>
                      <a:pt x="47" y="28"/>
                    </a:lnTo>
                    <a:lnTo>
                      <a:pt x="49" y="28"/>
                    </a:lnTo>
                    <a:lnTo>
                      <a:pt x="49" y="31"/>
                    </a:lnTo>
                    <a:lnTo>
                      <a:pt x="47" y="54"/>
                    </a:lnTo>
                    <a:lnTo>
                      <a:pt x="40" y="59"/>
                    </a:lnTo>
                    <a:lnTo>
                      <a:pt x="38" y="56"/>
                    </a:lnTo>
                    <a:lnTo>
                      <a:pt x="31" y="56"/>
                    </a:lnTo>
                    <a:lnTo>
                      <a:pt x="21" y="50"/>
                    </a:lnTo>
                    <a:lnTo>
                      <a:pt x="18" y="50"/>
                    </a:lnTo>
                    <a:lnTo>
                      <a:pt x="18" y="50"/>
                    </a:lnTo>
                    <a:lnTo>
                      <a:pt x="16" y="47"/>
                    </a:lnTo>
                    <a:lnTo>
                      <a:pt x="14" y="45"/>
                    </a:lnTo>
                    <a:lnTo>
                      <a:pt x="14" y="42"/>
                    </a:lnTo>
                    <a:lnTo>
                      <a:pt x="14" y="40"/>
                    </a:lnTo>
                    <a:lnTo>
                      <a:pt x="11" y="42"/>
                    </a:lnTo>
                    <a:lnTo>
                      <a:pt x="7" y="40"/>
                    </a:lnTo>
                    <a:lnTo>
                      <a:pt x="7" y="33"/>
                    </a:lnTo>
                    <a:lnTo>
                      <a:pt x="5" y="28"/>
                    </a:lnTo>
                    <a:lnTo>
                      <a:pt x="2" y="28"/>
                    </a:lnTo>
                    <a:lnTo>
                      <a:pt x="0" y="26"/>
                    </a:lnTo>
                    <a:lnTo>
                      <a:pt x="4" y="21"/>
                    </a:lnTo>
                    <a:lnTo>
                      <a:pt x="0" y="19"/>
                    </a:lnTo>
                    <a:lnTo>
                      <a:pt x="0" y="17"/>
                    </a:lnTo>
                    <a:lnTo>
                      <a:pt x="2" y="14"/>
                    </a:lnTo>
                    <a:lnTo>
                      <a:pt x="2" y="14"/>
                    </a:lnTo>
                    <a:lnTo>
                      <a:pt x="2" y="14"/>
                    </a:lnTo>
                    <a:lnTo>
                      <a:pt x="2" y="1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121"/>
              <p:cNvSpPr>
                <a:spLocks/>
              </p:cNvSpPr>
              <p:nvPr/>
            </p:nvSpPr>
            <p:spPr bwMode="auto">
              <a:xfrm>
                <a:off x="4230688" y="3971926"/>
                <a:ext cx="171450" cy="169863"/>
              </a:xfrm>
              <a:custGeom>
                <a:avLst/>
                <a:gdLst/>
                <a:ahLst/>
                <a:cxnLst>
                  <a:cxn ang="0">
                    <a:pos x="19" y="102"/>
                  </a:cxn>
                  <a:cxn ang="0">
                    <a:pos x="19" y="97"/>
                  </a:cxn>
                  <a:cxn ang="0">
                    <a:pos x="19" y="92"/>
                  </a:cxn>
                  <a:cxn ang="0">
                    <a:pos x="19" y="87"/>
                  </a:cxn>
                  <a:cxn ang="0">
                    <a:pos x="23" y="81"/>
                  </a:cxn>
                  <a:cxn ang="0">
                    <a:pos x="18" y="81"/>
                  </a:cxn>
                  <a:cxn ang="0">
                    <a:pos x="14" y="76"/>
                  </a:cxn>
                  <a:cxn ang="0">
                    <a:pos x="9" y="74"/>
                  </a:cxn>
                  <a:cxn ang="0">
                    <a:pos x="4" y="74"/>
                  </a:cxn>
                  <a:cxn ang="0">
                    <a:pos x="0" y="71"/>
                  </a:cxn>
                  <a:cxn ang="0">
                    <a:pos x="6" y="62"/>
                  </a:cxn>
                  <a:cxn ang="0">
                    <a:pos x="6" y="57"/>
                  </a:cxn>
                  <a:cxn ang="0">
                    <a:pos x="14" y="45"/>
                  </a:cxn>
                  <a:cxn ang="0">
                    <a:pos x="13" y="41"/>
                  </a:cxn>
                  <a:cxn ang="0">
                    <a:pos x="9" y="36"/>
                  </a:cxn>
                  <a:cxn ang="0">
                    <a:pos x="14" y="34"/>
                  </a:cxn>
                  <a:cxn ang="0">
                    <a:pos x="13" y="31"/>
                  </a:cxn>
                  <a:cxn ang="0">
                    <a:pos x="11" y="22"/>
                  </a:cxn>
                  <a:cxn ang="0">
                    <a:pos x="11" y="14"/>
                  </a:cxn>
                  <a:cxn ang="0">
                    <a:pos x="9" y="8"/>
                  </a:cxn>
                  <a:cxn ang="0">
                    <a:pos x="23" y="1"/>
                  </a:cxn>
                  <a:cxn ang="0">
                    <a:pos x="28" y="5"/>
                  </a:cxn>
                  <a:cxn ang="0">
                    <a:pos x="37" y="3"/>
                  </a:cxn>
                  <a:cxn ang="0">
                    <a:pos x="44" y="0"/>
                  </a:cxn>
                  <a:cxn ang="0">
                    <a:pos x="47" y="3"/>
                  </a:cxn>
                  <a:cxn ang="0">
                    <a:pos x="54" y="7"/>
                  </a:cxn>
                  <a:cxn ang="0">
                    <a:pos x="59" y="0"/>
                  </a:cxn>
                  <a:cxn ang="0">
                    <a:pos x="70" y="7"/>
                  </a:cxn>
                  <a:cxn ang="0">
                    <a:pos x="75" y="8"/>
                  </a:cxn>
                  <a:cxn ang="0">
                    <a:pos x="82" y="10"/>
                  </a:cxn>
                  <a:cxn ang="0">
                    <a:pos x="89" y="14"/>
                  </a:cxn>
                  <a:cxn ang="0">
                    <a:pos x="96" y="10"/>
                  </a:cxn>
                  <a:cxn ang="0">
                    <a:pos x="101" y="14"/>
                  </a:cxn>
                  <a:cxn ang="0">
                    <a:pos x="105" y="15"/>
                  </a:cxn>
                  <a:cxn ang="0">
                    <a:pos x="105" y="24"/>
                  </a:cxn>
                  <a:cxn ang="0">
                    <a:pos x="108" y="31"/>
                  </a:cxn>
                  <a:cxn ang="0">
                    <a:pos x="108" y="36"/>
                  </a:cxn>
                  <a:cxn ang="0">
                    <a:pos x="103" y="41"/>
                  </a:cxn>
                  <a:cxn ang="0">
                    <a:pos x="98" y="53"/>
                  </a:cxn>
                  <a:cxn ang="0">
                    <a:pos x="96" y="59"/>
                  </a:cxn>
                  <a:cxn ang="0">
                    <a:pos x="96" y="69"/>
                  </a:cxn>
                  <a:cxn ang="0">
                    <a:pos x="94" y="73"/>
                  </a:cxn>
                  <a:cxn ang="0">
                    <a:pos x="98" y="81"/>
                  </a:cxn>
                  <a:cxn ang="0">
                    <a:pos x="103" y="85"/>
                  </a:cxn>
                  <a:cxn ang="0">
                    <a:pos x="105" y="93"/>
                  </a:cxn>
                  <a:cxn ang="0">
                    <a:pos x="98" y="93"/>
                  </a:cxn>
                  <a:cxn ang="0">
                    <a:pos x="94" y="90"/>
                  </a:cxn>
                  <a:cxn ang="0">
                    <a:pos x="92" y="95"/>
                  </a:cxn>
                  <a:cxn ang="0">
                    <a:pos x="75" y="95"/>
                  </a:cxn>
                  <a:cxn ang="0">
                    <a:pos x="46" y="95"/>
                  </a:cxn>
                  <a:cxn ang="0">
                    <a:pos x="33" y="102"/>
                  </a:cxn>
                  <a:cxn ang="0">
                    <a:pos x="28" y="102"/>
                  </a:cxn>
                  <a:cxn ang="0">
                    <a:pos x="19" y="107"/>
                  </a:cxn>
                  <a:cxn ang="0">
                    <a:pos x="19" y="107"/>
                  </a:cxn>
                </a:cxnLst>
                <a:rect l="0" t="0" r="r" b="b"/>
                <a:pathLst>
                  <a:path w="108" h="107">
                    <a:moveTo>
                      <a:pt x="19" y="107"/>
                    </a:moveTo>
                    <a:lnTo>
                      <a:pt x="19" y="102"/>
                    </a:lnTo>
                    <a:lnTo>
                      <a:pt x="19" y="102"/>
                    </a:lnTo>
                    <a:lnTo>
                      <a:pt x="19" y="97"/>
                    </a:lnTo>
                    <a:lnTo>
                      <a:pt x="19" y="95"/>
                    </a:lnTo>
                    <a:lnTo>
                      <a:pt x="19" y="92"/>
                    </a:lnTo>
                    <a:lnTo>
                      <a:pt x="19" y="88"/>
                    </a:lnTo>
                    <a:lnTo>
                      <a:pt x="19" y="87"/>
                    </a:lnTo>
                    <a:lnTo>
                      <a:pt x="23" y="85"/>
                    </a:lnTo>
                    <a:lnTo>
                      <a:pt x="23" y="81"/>
                    </a:lnTo>
                    <a:lnTo>
                      <a:pt x="19" y="81"/>
                    </a:lnTo>
                    <a:lnTo>
                      <a:pt x="18" y="81"/>
                    </a:lnTo>
                    <a:lnTo>
                      <a:pt x="16" y="78"/>
                    </a:lnTo>
                    <a:lnTo>
                      <a:pt x="14" y="76"/>
                    </a:lnTo>
                    <a:lnTo>
                      <a:pt x="11" y="76"/>
                    </a:lnTo>
                    <a:lnTo>
                      <a:pt x="9" y="74"/>
                    </a:lnTo>
                    <a:lnTo>
                      <a:pt x="6" y="74"/>
                    </a:lnTo>
                    <a:lnTo>
                      <a:pt x="4" y="74"/>
                    </a:lnTo>
                    <a:lnTo>
                      <a:pt x="2" y="74"/>
                    </a:lnTo>
                    <a:lnTo>
                      <a:pt x="0" y="71"/>
                    </a:lnTo>
                    <a:lnTo>
                      <a:pt x="4" y="67"/>
                    </a:lnTo>
                    <a:lnTo>
                      <a:pt x="6" y="62"/>
                    </a:lnTo>
                    <a:lnTo>
                      <a:pt x="6" y="59"/>
                    </a:lnTo>
                    <a:lnTo>
                      <a:pt x="6" y="57"/>
                    </a:lnTo>
                    <a:lnTo>
                      <a:pt x="9" y="55"/>
                    </a:lnTo>
                    <a:lnTo>
                      <a:pt x="14" y="45"/>
                    </a:lnTo>
                    <a:lnTo>
                      <a:pt x="14" y="41"/>
                    </a:lnTo>
                    <a:lnTo>
                      <a:pt x="13" y="41"/>
                    </a:lnTo>
                    <a:lnTo>
                      <a:pt x="9" y="38"/>
                    </a:lnTo>
                    <a:lnTo>
                      <a:pt x="9" y="36"/>
                    </a:lnTo>
                    <a:lnTo>
                      <a:pt x="13" y="34"/>
                    </a:lnTo>
                    <a:lnTo>
                      <a:pt x="14" y="34"/>
                    </a:lnTo>
                    <a:lnTo>
                      <a:pt x="16" y="33"/>
                    </a:lnTo>
                    <a:lnTo>
                      <a:pt x="13" y="31"/>
                    </a:lnTo>
                    <a:lnTo>
                      <a:pt x="11" y="27"/>
                    </a:lnTo>
                    <a:lnTo>
                      <a:pt x="11" y="22"/>
                    </a:lnTo>
                    <a:lnTo>
                      <a:pt x="11" y="19"/>
                    </a:lnTo>
                    <a:lnTo>
                      <a:pt x="11" y="14"/>
                    </a:lnTo>
                    <a:lnTo>
                      <a:pt x="9" y="10"/>
                    </a:lnTo>
                    <a:lnTo>
                      <a:pt x="9" y="8"/>
                    </a:lnTo>
                    <a:lnTo>
                      <a:pt x="16" y="7"/>
                    </a:lnTo>
                    <a:lnTo>
                      <a:pt x="23" y="1"/>
                    </a:lnTo>
                    <a:lnTo>
                      <a:pt x="23" y="1"/>
                    </a:lnTo>
                    <a:lnTo>
                      <a:pt x="28" y="5"/>
                    </a:lnTo>
                    <a:lnTo>
                      <a:pt x="35" y="5"/>
                    </a:lnTo>
                    <a:lnTo>
                      <a:pt x="37" y="3"/>
                    </a:lnTo>
                    <a:lnTo>
                      <a:pt x="37" y="1"/>
                    </a:lnTo>
                    <a:lnTo>
                      <a:pt x="44" y="0"/>
                    </a:lnTo>
                    <a:lnTo>
                      <a:pt x="47" y="1"/>
                    </a:lnTo>
                    <a:lnTo>
                      <a:pt x="47" y="3"/>
                    </a:lnTo>
                    <a:lnTo>
                      <a:pt x="47" y="5"/>
                    </a:lnTo>
                    <a:lnTo>
                      <a:pt x="54" y="7"/>
                    </a:lnTo>
                    <a:lnTo>
                      <a:pt x="56" y="1"/>
                    </a:lnTo>
                    <a:lnTo>
                      <a:pt x="59" y="0"/>
                    </a:lnTo>
                    <a:lnTo>
                      <a:pt x="65" y="3"/>
                    </a:lnTo>
                    <a:lnTo>
                      <a:pt x="70" y="7"/>
                    </a:lnTo>
                    <a:lnTo>
                      <a:pt x="73" y="7"/>
                    </a:lnTo>
                    <a:lnTo>
                      <a:pt x="75" y="8"/>
                    </a:lnTo>
                    <a:lnTo>
                      <a:pt x="79" y="8"/>
                    </a:lnTo>
                    <a:lnTo>
                      <a:pt x="82" y="10"/>
                    </a:lnTo>
                    <a:lnTo>
                      <a:pt x="84" y="14"/>
                    </a:lnTo>
                    <a:lnTo>
                      <a:pt x="89" y="14"/>
                    </a:lnTo>
                    <a:lnTo>
                      <a:pt x="92" y="14"/>
                    </a:lnTo>
                    <a:lnTo>
                      <a:pt x="96" y="10"/>
                    </a:lnTo>
                    <a:lnTo>
                      <a:pt x="98" y="14"/>
                    </a:lnTo>
                    <a:lnTo>
                      <a:pt x="101" y="14"/>
                    </a:lnTo>
                    <a:lnTo>
                      <a:pt x="105" y="14"/>
                    </a:lnTo>
                    <a:lnTo>
                      <a:pt x="105" y="15"/>
                    </a:lnTo>
                    <a:lnTo>
                      <a:pt x="103" y="20"/>
                    </a:lnTo>
                    <a:lnTo>
                      <a:pt x="105" y="24"/>
                    </a:lnTo>
                    <a:lnTo>
                      <a:pt x="105" y="27"/>
                    </a:lnTo>
                    <a:lnTo>
                      <a:pt x="108" y="31"/>
                    </a:lnTo>
                    <a:lnTo>
                      <a:pt x="108" y="33"/>
                    </a:lnTo>
                    <a:lnTo>
                      <a:pt x="108" y="36"/>
                    </a:lnTo>
                    <a:lnTo>
                      <a:pt x="108" y="41"/>
                    </a:lnTo>
                    <a:lnTo>
                      <a:pt x="103" y="41"/>
                    </a:lnTo>
                    <a:lnTo>
                      <a:pt x="98" y="50"/>
                    </a:lnTo>
                    <a:lnTo>
                      <a:pt x="98" y="53"/>
                    </a:lnTo>
                    <a:lnTo>
                      <a:pt x="96" y="57"/>
                    </a:lnTo>
                    <a:lnTo>
                      <a:pt x="96" y="59"/>
                    </a:lnTo>
                    <a:lnTo>
                      <a:pt x="94" y="62"/>
                    </a:lnTo>
                    <a:lnTo>
                      <a:pt x="96" y="69"/>
                    </a:lnTo>
                    <a:lnTo>
                      <a:pt x="94" y="71"/>
                    </a:lnTo>
                    <a:lnTo>
                      <a:pt x="94" y="73"/>
                    </a:lnTo>
                    <a:lnTo>
                      <a:pt x="96" y="74"/>
                    </a:lnTo>
                    <a:lnTo>
                      <a:pt x="98" y="81"/>
                    </a:lnTo>
                    <a:lnTo>
                      <a:pt x="101" y="85"/>
                    </a:lnTo>
                    <a:lnTo>
                      <a:pt x="103" y="85"/>
                    </a:lnTo>
                    <a:lnTo>
                      <a:pt x="105" y="88"/>
                    </a:lnTo>
                    <a:lnTo>
                      <a:pt x="105" y="93"/>
                    </a:lnTo>
                    <a:lnTo>
                      <a:pt x="101" y="93"/>
                    </a:lnTo>
                    <a:lnTo>
                      <a:pt x="98" y="93"/>
                    </a:lnTo>
                    <a:lnTo>
                      <a:pt x="98" y="95"/>
                    </a:lnTo>
                    <a:lnTo>
                      <a:pt x="94" y="90"/>
                    </a:lnTo>
                    <a:lnTo>
                      <a:pt x="92" y="92"/>
                    </a:lnTo>
                    <a:lnTo>
                      <a:pt x="92" y="95"/>
                    </a:lnTo>
                    <a:lnTo>
                      <a:pt x="84" y="92"/>
                    </a:lnTo>
                    <a:lnTo>
                      <a:pt x="75" y="95"/>
                    </a:lnTo>
                    <a:lnTo>
                      <a:pt x="52" y="95"/>
                    </a:lnTo>
                    <a:lnTo>
                      <a:pt x="46" y="95"/>
                    </a:lnTo>
                    <a:lnTo>
                      <a:pt x="46" y="97"/>
                    </a:lnTo>
                    <a:lnTo>
                      <a:pt x="33" y="102"/>
                    </a:lnTo>
                    <a:lnTo>
                      <a:pt x="32" y="102"/>
                    </a:lnTo>
                    <a:lnTo>
                      <a:pt x="28" y="102"/>
                    </a:lnTo>
                    <a:lnTo>
                      <a:pt x="23" y="107"/>
                    </a:lnTo>
                    <a:lnTo>
                      <a:pt x="19" y="107"/>
                    </a:lnTo>
                    <a:lnTo>
                      <a:pt x="19" y="107"/>
                    </a:lnTo>
                    <a:lnTo>
                      <a:pt x="19" y="10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9" name="Freeform 122"/>
              <p:cNvSpPr>
                <a:spLocks/>
              </p:cNvSpPr>
              <p:nvPr/>
            </p:nvSpPr>
            <p:spPr bwMode="auto">
              <a:xfrm>
                <a:off x="4376738" y="3957638"/>
                <a:ext cx="115888" cy="176213"/>
              </a:xfrm>
              <a:custGeom>
                <a:avLst/>
                <a:gdLst/>
                <a:ahLst/>
                <a:cxnLst>
                  <a:cxn ang="0">
                    <a:pos x="4" y="106"/>
                  </a:cxn>
                  <a:cxn ang="0">
                    <a:pos x="13" y="106"/>
                  </a:cxn>
                  <a:cxn ang="0">
                    <a:pos x="9" y="97"/>
                  </a:cxn>
                  <a:cxn ang="0">
                    <a:pos x="4" y="92"/>
                  </a:cxn>
                  <a:cxn ang="0">
                    <a:pos x="0" y="83"/>
                  </a:cxn>
                  <a:cxn ang="0">
                    <a:pos x="4" y="82"/>
                  </a:cxn>
                  <a:cxn ang="0">
                    <a:pos x="4" y="71"/>
                  </a:cxn>
                  <a:cxn ang="0">
                    <a:pos x="4" y="64"/>
                  </a:cxn>
                  <a:cxn ang="0">
                    <a:pos x="9" y="52"/>
                  </a:cxn>
                  <a:cxn ang="0">
                    <a:pos x="14" y="47"/>
                  </a:cxn>
                  <a:cxn ang="0">
                    <a:pos x="14" y="40"/>
                  </a:cxn>
                  <a:cxn ang="0">
                    <a:pos x="13" y="33"/>
                  </a:cxn>
                  <a:cxn ang="0">
                    <a:pos x="13" y="24"/>
                  </a:cxn>
                  <a:cxn ang="0">
                    <a:pos x="9" y="14"/>
                  </a:cxn>
                  <a:cxn ang="0">
                    <a:pos x="7" y="7"/>
                  </a:cxn>
                  <a:cxn ang="0">
                    <a:pos x="13" y="2"/>
                  </a:cxn>
                  <a:cxn ang="0">
                    <a:pos x="27" y="2"/>
                  </a:cxn>
                  <a:cxn ang="0">
                    <a:pos x="42" y="0"/>
                  </a:cxn>
                  <a:cxn ang="0">
                    <a:pos x="51" y="0"/>
                  </a:cxn>
                  <a:cxn ang="0">
                    <a:pos x="53" y="3"/>
                  </a:cxn>
                  <a:cxn ang="0">
                    <a:pos x="54" y="9"/>
                  </a:cxn>
                  <a:cxn ang="0">
                    <a:pos x="61" y="14"/>
                  </a:cxn>
                  <a:cxn ang="0">
                    <a:pos x="63" y="19"/>
                  </a:cxn>
                  <a:cxn ang="0">
                    <a:pos x="65" y="28"/>
                  </a:cxn>
                  <a:cxn ang="0">
                    <a:pos x="65" y="35"/>
                  </a:cxn>
                  <a:cxn ang="0">
                    <a:pos x="65" y="40"/>
                  </a:cxn>
                  <a:cxn ang="0">
                    <a:pos x="68" y="45"/>
                  </a:cxn>
                  <a:cxn ang="0">
                    <a:pos x="68" y="50"/>
                  </a:cxn>
                  <a:cxn ang="0">
                    <a:pos x="68" y="59"/>
                  </a:cxn>
                  <a:cxn ang="0">
                    <a:pos x="65" y="71"/>
                  </a:cxn>
                  <a:cxn ang="0">
                    <a:pos x="65" y="78"/>
                  </a:cxn>
                  <a:cxn ang="0">
                    <a:pos x="68" y="87"/>
                  </a:cxn>
                  <a:cxn ang="0">
                    <a:pos x="72" y="89"/>
                  </a:cxn>
                  <a:cxn ang="0">
                    <a:pos x="65" y="94"/>
                  </a:cxn>
                  <a:cxn ang="0">
                    <a:pos x="46" y="106"/>
                  </a:cxn>
                  <a:cxn ang="0">
                    <a:pos x="21" y="111"/>
                  </a:cxn>
                  <a:cxn ang="0">
                    <a:pos x="4" y="109"/>
                  </a:cxn>
                  <a:cxn ang="0">
                    <a:pos x="4" y="106"/>
                  </a:cxn>
                </a:cxnLst>
                <a:rect l="0" t="0" r="r" b="b"/>
                <a:pathLst>
                  <a:path w="73" h="111">
                    <a:moveTo>
                      <a:pt x="4" y="106"/>
                    </a:moveTo>
                    <a:lnTo>
                      <a:pt x="4" y="106"/>
                    </a:lnTo>
                    <a:lnTo>
                      <a:pt x="9" y="106"/>
                    </a:lnTo>
                    <a:lnTo>
                      <a:pt x="13" y="106"/>
                    </a:lnTo>
                    <a:lnTo>
                      <a:pt x="13" y="101"/>
                    </a:lnTo>
                    <a:lnTo>
                      <a:pt x="9" y="97"/>
                    </a:lnTo>
                    <a:lnTo>
                      <a:pt x="7" y="96"/>
                    </a:lnTo>
                    <a:lnTo>
                      <a:pt x="4" y="92"/>
                    </a:lnTo>
                    <a:lnTo>
                      <a:pt x="4" y="87"/>
                    </a:lnTo>
                    <a:lnTo>
                      <a:pt x="0" y="83"/>
                    </a:lnTo>
                    <a:lnTo>
                      <a:pt x="0" y="83"/>
                    </a:lnTo>
                    <a:lnTo>
                      <a:pt x="4" y="82"/>
                    </a:lnTo>
                    <a:lnTo>
                      <a:pt x="0" y="73"/>
                    </a:lnTo>
                    <a:lnTo>
                      <a:pt x="4" y="71"/>
                    </a:lnTo>
                    <a:lnTo>
                      <a:pt x="4" y="68"/>
                    </a:lnTo>
                    <a:lnTo>
                      <a:pt x="4" y="64"/>
                    </a:lnTo>
                    <a:lnTo>
                      <a:pt x="4" y="61"/>
                    </a:lnTo>
                    <a:lnTo>
                      <a:pt x="9" y="52"/>
                    </a:lnTo>
                    <a:lnTo>
                      <a:pt x="14" y="50"/>
                    </a:lnTo>
                    <a:lnTo>
                      <a:pt x="14" y="47"/>
                    </a:lnTo>
                    <a:lnTo>
                      <a:pt x="14" y="43"/>
                    </a:lnTo>
                    <a:lnTo>
                      <a:pt x="14" y="40"/>
                    </a:lnTo>
                    <a:lnTo>
                      <a:pt x="13" y="36"/>
                    </a:lnTo>
                    <a:lnTo>
                      <a:pt x="13" y="33"/>
                    </a:lnTo>
                    <a:lnTo>
                      <a:pt x="9" y="29"/>
                    </a:lnTo>
                    <a:lnTo>
                      <a:pt x="13" y="24"/>
                    </a:lnTo>
                    <a:lnTo>
                      <a:pt x="13" y="19"/>
                    </a:lnTo>
                    <a:lnTo>
                      <a:pt x="9" y="14"/>
                    </a:lnTo>
                    <a:lnTo>
                      <a:pt x="7" y="12"/>
                    </a:lnTo>
                    <a:lnTo>
                      <a:pt x="7" y="7"/>
                    </a:lnTo>
                    <a:lnTo>
                      <a:pt x="7" y="2"/>
                    </a:lnTo>
                    <a:lnTo>
                      <a:pt x="13" y="2"/>
                    </a:lnTo>
                    <a:lnTo>
                      <a:pt x="25" y="2"/>
                    </a:lnTo>
                    <a:lnTo>
                      <a:pt x="27" y="2"/>
                    </a:lnTo>
                    <a:lnTo>
                      <a:pt x="37" y="2"/>
                    </a:lnTo>
                    <a:lnTo>
                      <a:pt x="42" y="0"/>
                    </a:lnTo>
                    <a:lnTo>
                      <a:pt x="46" y="0"/>
                    </a:lnTo>
                    <a:lnTo>
                      <a:pt x="51" y="0"/>
                    </a:lnTo>
                    <a:lnTo>
                      <a:pt x="51" y="0"/>
                    </a:lnTo>
                    <a:lnTo>
                      <a:pt x="53" y="3"/>
                    </a:lnTo>
                    <a:lnTo>
                      <a:pt x="54" y="5"/>
                    </a:lnTo>
                    <a:lnTo>
                      <a:pt x="54" y="9"/>
                    </a:lnTo>
                    <a:lnTo>
                      <a:pt x="60" y="12"/>
                    </a:lnTo>
                    <a:lnTo>
                      <a:pt x="61" y="14"/>
                    </a:lnTo>
                    <a:lnTo>
                      <a:pt x="65" y="17"/>
                    </a:lnTo>
                    <a:lnTo>
                      <a:pt x="63" y="19"/>
                    </a:lnTo>
                    <a:lnTo>
                      <a:pt x="63" y="28"/>
                    </a:lnTo>
                    <a:lnTo>
                      <a:pt x="65" y="28"/>
                    </a:lnTo>
                    <a:lnTo>
                      <a:pt x="65" y="28"/>
                    </a:lnTo>
                    <a:lnTo>
                      <a:pt x="65" y="35"/>
                    </a:lnTo>
                    <a:lnTo>
                      <a:pt x="65" y="36"/>
                    </a:lnTo>
                    <a:lnTo>
                      <a:pt x="65" y="40"/>
                    </a:lnTo>
                    <a:lnTo>
                      <a:pt x="65" y="42"/>
                    </a:lnTo>
                    <a:lnTo>
                      <a:pt x="68" y="45"/>
                    </a:lnTo>
                    <a:lnTo>
                      <a:pt x="65" y="47"/>
                    </a:lnTo>
                    <a:lnTo>
                      <a:pt x="68" y="50"/>
                    </a:lnTo>
                    <a:lnTo>
                      <a:pt x="65" y="56"/>
                    </a:lnTo>
                    <a:lnTo>
                      <a:pt x="68" y="59"/>
                    </a:lnTo>
                    <a:lnTo>
                      <a:pt x="68" y="68"/>
                    </a:lnTo>
                    <a:lnTo>
                      <a:pt x="65" y="71"/>
                    </a:lnTo>
                    <a:lnTo>
                      <a:pt x="65" y="73"/>
                    </a:lnTo>
                    <a:lnTo>
                      <a:pt x="65" y="78"/>
                    </a:lnTo>
                    <a:lnTo>
                      <a:pt x="65" y="83"/>
                    </a:lnTo>
                    <a:lnTo>
                      <a:pt x="68" y="87"/>
                    </a:lnTo>
                    <a:lnTo>
                      <a:pt x="70" y="87"/>
                    </a:lnTo>
                    <a:lnTo>
                      <a:pt x="72" y="89"/>
                    </a:lnTo>
                    <a:lnTo>
                      <a:pt x="73" y="92"/>
                    </a:lnTo>
                    <a:lnTo>
                      <a:pt x="65" y="94"/>
                    </a:lnTo>
                    <a:lnTo>
                      <a:pt x="56" y="97"/>
                    </a:lnTo>
                    <a:lnTo>
                      <a:pt x="46" y="106"/>
                    </a:lnTo>
                    <a:lnTo>
                      <a:pt x="37" y="106"/>
                    </a:lnTo>
                    <a:lnTo>
                      <a:pt x="21" y="111"/>
                    </a:lnTo>
                    <a:lnTo>
                      <a:pt x="14" y="109"/>
                    </a:lnTo>
                    <a:lnTo>
                      <a:pt x="4" y="109"/>
                    </a:lnTo>
                    <a:lnTo>
                      <a:pt x="4" y="106"/>
                    </a:lnTo>
                    <a:lnTo>
                      <a:pt x="4" y="106"/>
                    </a:lnTo>
                    <a:lnTo>
                      <a:pt x="4" y="10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0" name="Freeform 123"/>
              <p:cNvSpPr>
                <a:spLocks/>
              </p:cNvSpPr>
              <p:nvPr/>
            </p:nvSpPr>
            <p:spPr bwMode="auto">
              <a:xfrm>
                <a:off x="4454525" y="3957638"/>
                <a:ext cx="55563" cy="146050"/>
              </a:xfrm>
              <a:custGeom>
                <a:avLst/>
                <a:gdLst/>
                <a:ahLst/>
                <a:cxnLst>
                  <a:cxn ang="0">
                    <a:pos x="21" y="3"/>
                  </a:cxn>
                  <a:cxn ang="0">
                    <a:pos x="4" y="0"/>
                  </a:cxn>
                  <a:cxn ang="0">
                    <a:pos x="0" y="0"/>
                  </a:cxn>
                  <a:cxn ang="0">
                    <a:pos x="4" y="3"/>
                  </a:cxn>
                  <a:cxn ang="0">
                    <a:pos x="4" y="5"/>
                  </a:cxn>
                  <a:cxn ang="0">
                    <a:pos x="4" y="9"/>
                  </a:cxn>
                  <a:cxn ang="0">
                    <a:pos x="9" y="12"/>
                  </a:cxn>
                  <a:cxn ang="0">
                    <a:pos x="11" y="14"/>
                  </a:cxn>
                  <a:cxn ang="0">
                    <a:pos x="14" y="17"/>
                  </a:cxn>
                  <a:cxn ang="0">
                    <a:pos x="12" y="19"/>
                  </a:cxn>
                  <a:cxn ang="0">
                    <a:pos x="12" y="28"/>
                  </a:cxn>
                  <a:cxn ang="0">
                    <a:pos x="14" y="28"/>
                  </a:cxn>
                  <a:cxn ang="0">
                    <a:pos x="14" y="28"/>
                  </a:cxn>
                  <a:cxn ang="0">
                    <a:pos x="14" y="35"/>
                  </a:cxn>
                  <a:cxn ang="0">
                    <a:pos x="14" y="36"/>
                  </a:cxn>
                  <a:cxn ang="0">
                    <a:pos x="14" y="40"/>
                  </a:cxn>
                  <a:cxn ang="0">
                    <a:pos x="14" y="42"/>
                  </a:cxn>
                  <a:cxn ang="0">
                    <a:pos x="17" y="45"/>
                  </a:cxn>
                  <a:cxn ang="0">
                    <a:pos x="14" y="47"/>
                  </a:cxn>
                  <a:cxn ang="0">
                    <a:pos x="17" y="50"/>
                  </a:cxn>
                  <a:cxn ang="0">
                    <a:pos x="14" y="54"/>
                  </a:cxn>
                  <a:cxn ang="0">
                    <a:pos x="17" y="59"/>
                  </a:cxn>
                  <a:cxn ang="0">
                    <a:pos x="17" y="68"/>
                  </a:cxn>
                  <a:cxn ang="0">
                    <a:pos x="14" y="69"/>
                  </a:cxn>
                  <a:cxn ang="0">
                    <a:pos x="14" y="73"/>
                  </a:cxn>
                  <a:cxn ang="0">
                    <a:pos x="14" y="78"/>
                  </a:cxn>
                  <a:cxn ang="0">
                    <a:pos x="14" y="82"/>
                  </a:cxn>
                  <a:cxn ang="0">
                    <a:pos x="17" y="87"/>
                  </a:cxn>
                  <a:cxn ang="0">
                    <a:pos x="19" y="87"/>
                  </a:cxn>
                  <a:cxn ang="0">
                    <a:pos x="21" y="89"/>
                  </a:cxn>
                  <a:cxn ang="0">
                    <a:pos x="23" y="92"/>
                  </a:cxn>
                  <a:cxn ang="0">
                    <a:pos x="23" y="92"/>
                  </a:cxn>
                  <a:cxn ang="0">
                    <a:pos x="33" y="85"/>
                  </a:cxn>
                  <a:cxn ang="0">
                    <a:pos x="35" y="85"/>
                  </a:cxn>
                  <a:cxn ang="0">
                    <a:pos x="35" y="82"/>
                  </a:cxn>
                  <a:cxn ang="0">
                    <a:pos x="33" y="78"/>
                  </a:cxn>
                  <a:cxn ang="0">
                    <a:pos x="33" y="75"/>
                  </a:cxn>
                  <a:cxn ang="0">
                    <a:pos x="31" y="69"/>
                  </a:cxn>
                  <a:cxn ang="0">
                    <a:pos x="33" y="50"/>
                  </a:cxn>
                  <a:cxn ang="0">
                    <a:pos x="33" y="47"/>
                  </a:cxn>
                  <a:cxn ang="0">
                    <a:pos x="35" y="45"/>
                  </a:cxn>
                  <a:cxn ang="0">
                    <a:pos x="35" y="40"/>
                  </a:cxn>
                  <a:cxn ang="0">
                    <a:pos x="33" y="38"/>
                  </a:cxn>
                  <a:cxn ang="0">
                    <a:pos x="33" y="33"/>
                  </a:cxn>
                  <a:cxn ang="0">
                    <a:pos x="31" y="24"/>
                  </a:cxn>
                  <a:cxn ang="0">
                    <a:pos x="28" y="17"/>
                  </a:cxn>
                  <a:cxn ang="0">
                    <a:pos x="26" y="16"/>
                  </a:cxn>
                  <a:cxn ang="0">
                    <a:pos x="26" y="14"/>
                  </a:cxn>
                  <a:cxn ang="0">
                    <a:pos x="21" y="10"/>
                  </a:cxn>
                  <a:cxn ang="0">
                    <a:pos x="19" y="5"/>
                  </a:cxn>
                  <a:cxn ang="0">
                    <a:pos x="21" y="3"/>
                  </a:cxn>
                  <a:cxn ang="0">
                    <a:pos x="21" y="3"/>
                  </a:cxn>
                  <a:cxn ang="0">
                    <a:pos x="21" y="3"/>
                  </a:cxn>
                </a:cxnLst>
                <a:rect l="0" t="0" r="r" b="b"/>
                <a:pathLst>
                  <a:path w="35" h="92">
                    <a:moveTo>
                      <a:pt x="21" y="3"/>
                    </a:moveTo>
                    <a:lnTo>
                      <a:pt x="4" y="0"/>
                    </a:lnTo>
                    <a:lnTo>
                      <a:pt x="0" y="0"/>
                    </a:lnTo>
                    <a:lnTo>
                      <a:pt x="4" y="3"/>
                    </a:lnTo>
                    <a:lnTo>
                      <a:pt x="4" y="5"/>
                    </a:lnTo>
                    <a:lnTo>
                      <a:pt x="4" y="9"/>
                    </a:lnTo>
                    <a:lnTo>
                      <a:pt x="9" y="12"/>
                    </a:lnTo>
                    <a:lnTo>
                      <a:pt x="11" y="14"/>
                    </a:lnTo>
                    <a:lnTo>
                      <a:pt x="14" y="17"/>
                    </a:lnTo>
                    <a:lnTo>
                      <a:pt x="12" y="19"/>
                    </a:lnTo>
                    <a:lnTo>
                      <a:pt x="12" y="28"/>
                    </a:lnTo>
                    <a:lnTo>
                      <a:pt x="14" y="28"/>
                    </a:lnTo>
                    <a:lnTo>
                      <a:pt x="14" y="28"/>
                    </a:lnTo>
                    <a:lnTo>
                      <a:pt x="14" y="35"/>
                    </a:lnTo>
                    <a:lnTo>
                      <a:pt x="14" y="36"/>
                    </a:lnTo>
                    <a:lnTo>
                      <a:pt x="14" y="40"/>
                    </a:lnTo>
                    <a:lnTo>
                      <a:pt x="14" y="42"/>
                    </a:lnTo>
                    <a:lnTo>
                      <a:pt x="17" y="45"/>
                    </a:lnTo>
                    <a:lnTo>
                      <a:pt x="14" y="47"/>
                    </a:lnTo>
                    <a:lnTo>
                      <a:pt x="17" y="50"/>
                    </a:lnTo>
                    <a:lnTo>
                      <a:pt x="14" y="54"/>
                    </a:lnTo>
                    <a:lnTo>
                      <a:pt x="17" y="59"/>
                    </a:lnTo>
                    <a:lnTo>
                      <a:pt x="17" y="68"/>
                    </a:lnTo>
                    <a:lnTo>
                      <a:pt x="14" y="69"/>
                    </a:lnTo>
                    <a:lnTo>
                      <a:pt x="14" y="73"/>
                    </a:lnTo>
                    <a:lnTo>
                      <a:pt x="14" y="78"/>
                    </a:lnTo>
                    <a:lnTo>
                      <a:pt x="14" y="82"/>
                    </a:lnTo>
                    <a:lnTo>
                      <a:pt x="17" y="87"/>
                    </a:lnTo>
                    <a:lnTo>
                      <a:pt x="19" y="87"/>
                    </a:lnTo>
                    <a:lnTo>
                      <a:pt x="21" y="89"/>
                    </a:lnTo>
                    <a:lnTo>
                      <a:pt x="23" y="92"/>
                    </a:lnTo>
                    <a:lnTo>
                      <a:pt x="23" y="92"/>
                    </a:lnTo>
                    <a:lnTo>
                      <a:pt x="33" y="85"/>
                    </a:lnTo>
                    <a:lnTo>
                      <a:pt x="35" y="85"/>
                    </a:lnTo>
                    <a:lnTo>
                      <a:pt x="35" y="82"/>
                    </a:lnTo>
                    <a:lnTo>
                      <a:pt x="33" y="78"/>
                    </a:lnTo>
                    <a:lnTo>
                      <a:pt x="33" y="75"/>
                    </a:lnTo>
                    <a:lnTo>
                      <a:pt x="31" y="69"/>
                    </a:lnTo>
                    <a:lnTo>
                      <a:pt x="33" y="50"/>
                    </a:lnTo>
                    <a:lnTo>
                      <a:pt x="33" y="47"/>
                    </a:lnTo>
                    <a:lnTo>
                      <a:pt x="35" y="45"/>
                    </a:lnTo>
                    <a:lnTo>
                      <a:pt x="35" y="40"/>
                    </a:lnTo>
                    <a:lnTo>
                      <a:pt x="33" y="38"/>
                    </a:lnTo>
                    <a:lnTo>
                      <a:pt x="33" y="33"/>
                    </a:lnTo>
                    <a:lnTo>
                      <a:pt x="31" y="24"/>
                    </a:lnTo>
                    <a:lnTo>
                      <a:pt x="28" y="17"/>
                    </a:lnTo>
                    <a:lnTo>
                      <a:pt x="26" y="16"/>
                    </a:lnTo>
                    <a:lnTo>
                      <a:pt x="26" y="14"/>
                    </a:lnTo>
                    <a:lnTo>
                      <a:pt x="21" y="10"/>
                    </a:lnTo>
                    <a:lnTo>
                      <a:pt x="19" y="5"/>
                    </a:lnTo>
                    <a:lnTo>
                      <a:pt x="21" y="3"/>
                    </a:lnTo>
                    <a:lnTo>
                      <a:pt x="21" y="3"/>
                    </a:lnTo>
                    <a:lnTo>
                      <a:pt x="21"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1" name="Freeform 124"/>
              <p:cNvSpPr>
                <a:spLocks/>
              </p:cNvSpPr>
              <p:nvPr/>
            </p:nvSpPr>
            <p:spPr bwMode="auto">
              <a:xfrm>
                <a:off x="4487863" y="3919538"/>
                <a:ext cx="82550" cy="176213"/>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2" name="Freeform 125"/>
              <p:cNvSpPr>
                <a:spLocks/>
              </p:cNvSpPr>
              <p:nvPr/>
            </p:nvSpPr>
            <p:spPr bwMode="auto">
              <a:xfrm>
                <a:off x="4487863" y="3919538"/>
                <a:ext cx="82550" cy="176213"/>
              </a:xfrm>
              <a:custGeom>
                <a:avLst/>
                <a:gdLst/>
                <a:ahLst/>
                <a:cxnLst>
                  <a:cxn ang="0">
                    <a:pos x="26" y="8"/>
                  </a:cxn>
                  <a:cxn ang="0">
                    <a:pos x="19" y="13"/>
                  </a:cxn>
                  <a:cxn ang="0">
                    <a:pos x="10" y="15"/>
                  </a:cxn>
                  <a:cxn ang="0">
                    <a:pos x="7" y="20"/>
                  </a:cxn>
                  <a:cxn ang="0">
                    <a:pos x="7" y="26"/>
                  </a:cxn>
                  <a:cxn ang="0">
                    <a:pos x="0" y="29"/>
                  </a:cxn>
                  <a:cxn ang="0">
                    <a:pos x="7" y="38"/>
                  </a:cxn>
                  <a:cxn ang="0">
                    <a:pos x="9" y="41"/>
                  </a:cxn>
                  <a:cxn ang="0">
                    <a:pos x="14" y="57"/>
                  </a:cxn>
                  <a:cxn ang="0">
                    <a:pos x="16" y="64"/>
                  </a:cxn>
                  <a:cxn ang="0">
                    <a:pos x="14" y="71"/>
                  </a:cxn>
                  <a:cxn ang="0">
                    <a:pos x="12" y="93"/>
                  </a:cxn>
                  <a:cxn ang="0">
                    <a:pos x="14" y="102"/>
                  </a:cxn>
                  <a:cxn ang="0">
                    <a:pos x="16" y="109"/>
                  </a:cxn>
                  <a:cxn ang="0">
                    <a:pos x="33" y="106"/>
                  </a:cxn>
                  <a:cxn ang="0">
                    <a:pos x="33" y="102"/>
                  </a:cxn>
                  <a:cxn ang="0">
                    <a:pos x="33" y="92"/>
                  </a:cxn>
                  <a:cxn ang="0">
                    <a:pos x="33" y="83"/>
                  </a:cxn>
                  <a:cxn ang="0">
                    <a:pos x="33" y="80"/>
                  </a:cxn>
                  <a:cxn ang="0">
                    <a:pos x="33" y="76"/>
                  </a:cxn>
                  <a:cxn ang="0">
                    <a:pos x="33" y="71"/>
                  </a:cxn>
                  <a:cxn ang="0">
                    <a:pos x="33" y="66"/>
                  </a:cxn>
                  <a:cxn ang="0">
                    <a:pos x="35" y="60"/>
                  </a:cxn>
                  <a:cxn ang="0">
                    <a:pos x="38" y="59"/>
                  </a:cxn>
                  <a:cxn ang="0">
                    <a:pos x="42" y="53"/>
                  </a:cxn>
                  <a:cxn ang="0">
                    <a:pos x="45" y="48"/>
                  </a:cxn>
                  <a:cxn ang="0">
                    <a:pos x="49" y="47"/>
                  </a:cxn>
                  <a:cxn ang="0">
                    <a:pos x="49" y="40"/>
                  </a:cxn>
                  <a:cxn ang="0">
                    <a:pos x="49" y="36"/>
                  </a:cxn>
                  <a:cxn ang="0">
                    <a:pos x="52" y="34"/>
                  </a:cxn>
                  <a:cxn ang="0">
                    <a:pos x="52" y="26"/>
                  </a:cxn>
                  <a:cxn ang="0">
                    <a:pos x="47" y="19"/>
                  </a:cxn>
                  <a:cxn ang="0">
                    <a:pos x="49" y="13"/>
                  </a:cxn>
                  <a:cxn ang="0">
                    <a:pos x="40" y="8"/>
                  </a:cxn>
                  <a:cxn ang="0">
                    <a:pos x="31" y="0"/>
                  </a:cxn>
                  <a:cxn ang="0">
                    <a:pos x="29" y="3"/>
                  </a:cxn>
                  <a:cxn ang="0">
                    <a:pos x="26" y="7"/>
                  </a:cxn>
                  <a:cxn ang="0">
                    <a:pos x="26" y="7"/>
                  </a:cxn>
                </a:cxnLst>
                <a:rect l="0" t="0" r="r" b="b"/>
                <a:pathLst>
                  <a:path w="52" h="111">
                    <a:moveTo>
                      <a:pt x="26" y="7"/>
                    </a:moveTo>
                    <a:lnTo>
                      <a:pt x="26" y="8"/>
                    </a:lnTo>
                    <a:lnTo>
                      <a:pt x="23" y="13"/>
                    </a:lnTo>
                    <a:lnTo>
                      <a:pt x="19" y="13"/>
                    </a:lnTo>
                    <a:lnTo>
                      <a:pt x="12" y="15"/>
                    </a:lnTo>
                    <a:lnTo>
                      <a:pt x="10" y="15"/>
                    </a:lnTo>
                    <a:lnTo>
                      <a:pt x="7" y="17"/>
                    </a:lnTo>
                    <a:lnTo>
                      <a:pt x="7" y="20"/>
                    </a:lnTo>
                    <a:lnTo>
                      <a:pt x="7" y="22"/>
                    </a:lnTo>
                    <a:lnTo>
                      <a:pt x="7" y="26"/>
                    </a:lnTo>
                    <a:lnTo>
                      <a:pt x="2" y="26"/>
                    </a:lnTo>
                    <a:lnTo>
                      <a:pt x="0" y="29"/>
                    </a:lnTo>
                    <a:lnTo>
                      <a:pt x="2" y="34"/>
                    </a:lnTo>
                    <a:lnTo>
                      <a:pt x="7" y="38"/>
                    </a:lnTo>
                    <a:lnTo>
                      <a:pt x="7" y="40"/>
                    </a:lnTo>
                    <a:lnTo>
                      <a:pt x="9" y="41"/>
                    </a:lnTo>
                    <a:lnTo>
                      <a:pt x="12" y="48"/>
                    </a:lnTo>
                    <a:lnTo>
                      <a:pt x="14" y="57"/>
                    </a:lnTo>
                    <a:lnTo>
                      <a:pt x="14" y="62"/>
                    </a:lnTo>
                    <a:lnTo>
                      <a:pt x="16" y="64"/>
                    </a:lnTo>
                    <a:lnTo>
                      <a:pt x="16" y="69"/>
                    </a:lnTo>
                    <a:lnTo>
                      <a:pt x="14" y="71"/>
                    </a:lnTo>
                    <a:lnTo>
                      <a:pt x="14" y="74"/>
                    </a:lnTo>
                    <a:lnTo>
                      <a:pt x="12" y="93"/>
                    </a:lnTo>
                    <a:lnTo>
                      <a:pt x="14" y="99"/>
                    </a:lnTo>
                    <a:lnTo>
                      <a:pt x="14" y="102"/>
                    </a:lnTo>
                    <a:lnTo>
                      <a:pt x="16" y="106"/>
                    </a:lnTo>
                    <a:lnTo>
                      <a:pt x="16" y="109"/>
                    </a:lnTo>
                    <a:lnTo>
                      <a:pt x="23" y="111"/>
                    </a:lnTo>
                    <a:lnTo>
                      <a:pt x="33" y="106"/>
                    </a:lnTo>
                    <a:lnTo>
                      <a:pt x="33" y="106"/>
                    </a:lnTo>
                    <a:lnTo>
                      <a:pt x="33" y="102"/>
                    </a:lnTo>
                    <a:lnTo>
                      <a:pt x="35" y="95"/>
                    </a:lnTo>
                    <a:lnTo>
                      <a:pt x="33" y="92"/>
                    </a:lnTo>
                    <a:lnTo>
                      <a:pt x="33" y="90"/>
                    </a:lnTo>
                    <a:lnTo>
                      <a:pt x="33" y="83"/>
                    </a:lnTo>
                    <a:lnTo>
                      <a:pt x="33" y="80"/>
                    </a:lnTo>
                    <a:lnTo>
                      <a:pt x="33" y="80"/>
                    </a:lnTo>
                    <a:lnTo>
                      <a:pt x="33" y="76"/>
                    </a:lnTo>
                    <a:lnTo>
                      <a:pt x="33" y="76"/>
                    </a:lnTo>
                    <a:lnTo>
                      <a:pt x="33" y="71"/>
                    </a:lnTo>
                    <a:lnTo>
                      <a:pt x="33" y="71"/>
                    </a:lnTo>
                    <a:lnTo>
                      <a:pt x="33" y="67"/>
                    </a:lnTo>
                    <a:lnTo>
                      <a:pt x="33" y="66"/>
                    </a:lnTo>
                    <a:lnTo>
                      <a:pt x="33" y="62"/>
                    </a:lnTo>
                    <a:lnTo>
                      <a:pt x="35" y="60"/>
                    </a:lnTo>
                    <a:lnTo>
                      <a:pt x="36" y="59"/>
                    </a:lnTo>
                    <a:lnTo>
                      <a:pt x="38" y="59"/>
                    </a:lnTo>
                    <a:lnTo>
                      <a:pt x="40" y="57"/>
                    </a:lnTo>
                    <a:lnTo>
                      <a:pt x="42" y="53"/>
                    </a:lnTo>
                    <a:lnTo>
                      <a:pt x="45" y="52"/>
                    </a:lnTo>
                    <a:lnTo>
                      <a:pt x="45" y="48"/>
                    </a:lnTo>
                    <a:lnTo>
                      <a:pt x="49" y="47"/>
                    </a:lnTo>
                    <a:lnTo>
                      <a:pt x="49" y="47"/>
                    </a:lnTo>
                    <a:lnTo>
                      <a:pt x="52" y="45"/>
                    </a:lnTo>
                    <a:lnTo>
                      <a:pt x="49" y="40"/>
                    </a:lnTo>
                    <a:lnTo>
                      <a:pt x="49" y="40"/>
                    </a:lnTo>
                    <a:lnTo>
                      <a:pt x="49" y="36"/>
                    </a:lnTo>
                    <a:lnTo>
                      <a:pt x="52" y="36"/>
                    </a:lnTo>
                    <a:lnTo>
                      <a:pt x="52" y="34"/>
                    </a:lnTo>
                    <a:lnTo>
                      <a:pt x="52" y="29"/>
                    </a:lnTo>
                    <a:lnTo>
                      <a:pt x="52" y="26"/>
                    </a:lnTo>
                    <a:lnTo>
                      <a:pt x="47" y="20"/>
                    </a:lnTo>
                    <a:lnTo>
                      <a:pt x="47" y="19"/>
                    </a:lnTo>
                    <a:lnTo>
                      <a:pt x="47" y="13"/>
                    </a:lnTo>
                    <a:lnTo>
                      <a:pt x="49" y="13"/>
                    </a:lnTo>
                    <a:lnTo>
                      <a:pt x="43" y="8"/>
                    </a:lnTo>
                    <a:lnTo>
                      <a:pt x="40" y="8"/>
                    </a:lnTo>
                    <a:lnTo>
                      <a:pt x="36" y="3"/>
                    </a:lnTo>
                    <a:lnTo>
                      <a:pt x="31" y="0"/>
                    </a:lnTo>
                    <a:lnTo>
                      <a:pt x="29" y="3"/>
                    </a:lnTo>
                    <a:lnTo>
                      <a:pt x="29" y="3"/>
                    </a:lnTo>
                    <a:lnTo>
                      <a:pt x="26" y="7"/>
                    </a:lnTo>
                    <a:lnTo>
                      <a:pt x="26" y="7"/>
                    </a:lnTo>
                    <a:lnTo>
                      <a:pt x="26" y="7"/>
                    </a:lnTo>
                    <a:lnTo>
                      <a:pt x="26"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3" name="Freeform 126"/>
              <p:cNvSpPr>
                <a:spLocks noEditPoints="1"/>
              </p:cNvSpPr>
              <p:nvPr/>
            </p:nvSpPr>
            <p:spPr bwMode="auto">
              <a:xfrm>
                <a:off x="4787900" y="3606801"/>
                <a:ext cx="317500" cy="458788"/>
              </a:xfrm>
              <a:custGeom>
                <a:avLst/>
                <a:gdLst/>
                <a:ahLst/>
                <a:cxnLst>
                  <a:cxn ang="0">
                    <a:pos x="197" y="71"/>
                  </a:cxn>
                  <a:cxn ang="0">
                    <a:pos x="193" y="143"/>
                  </a:cxn>
                  <a:cxn ang="0">
                    <a:pos x="183" y="143"/>
                  </a:cxn>
                  <a:cxn ang="0">
                    <a:pos x="183" y="153"/>
                  </a:cxn>
                  <a:cxn ang="0">
                    <a:pos x="172" y="165"/>
                  </a:cxn>
                  <a:cxn ang="0">
                    <a:pos x="172" y="174"/>
                  </a:cxn>
                  <a:cxn ang="0">
                    <a:pos x="171" y="179"/>
                  </a:cxn>
                  <a:cxn ang="0">
                    <a:pos x="165" y="191"/>
                  </a:cxn>
                  <a:cxn ang="0">
                    <a:pos x="171" y="195"/>
                  </a:cxn>
                  <a:cxn ang="0">
                    <a:pos x="171" y="198"/>
                  </a:cxn>
                  <a:cxn ang="0">
                    <a:pos x="174" y="204"/>
                  </a:cxn>
                  <a:cxn ang="0">
                    <a:pos x="181" y="214"/>
                  </a:cxn>
                  <a:cxn ang="0">
                    <a:pos x="181" y="223"/>
                  </a:cxn>
                  <a:cxn ang="0">
                    <a:pos x="172" y="224"/>
                  </a:cxn>
                  <a:cxn ang="0">
                    <a:pos x="162" y="230"/>
                  </a:cxn>
                  <a:cxn ang="0">
                    <a:pos x="160" y="235"/>
                  </a:cxn>
                  <a:cxn ang="0">
                    <a:pos x="153" y="238"/>
                  </a:cxn>
                  <a:cxn ang="0">
                    <a:pos x="148" y="245"/>
                  </a:cxn>
                  <a:cxn ang="0">
                    <a:pos x="148" y="254"/>
                  </a:cxn>
                  <a:cxn ang="0">
                    <a:pos x="136" y="259"/>
                  </a:cxn>
                  <a:cxn ang="0">
                    <a:pos x="124" y="259"/>
                  </a:cxn>
                  <a:cxn ang="0">
                    <a:pos x="115" y="259"/>
                  </a:cxn>
                  <a:cxn ang="0">
                    <a:pos x="119" y="266"/>
                  </a:cxn>
                  <a:cxn ang="0">
                    <a:pos x="113" y="273"/>
                  </a:cxn>
                  <a:cxn ang="0">
                    <a:pos x="92" y="278"/>
                  </a:cxn>
                  <a:cxn ang="0">
                    <a:pos x="82" y="285"/>
                  </a:cxn>
                  <a:cxn ang="0">
                    <a:pos x="77" y="278"/>
                  </a:cxn>
                  <a:cxn ang="0">
                    <a:pos x="72" y="287"/>
                  </a:cxn>
                  <a:cxn ang="0">
                    <a:pos x="61" y="289"/>
                  </a:cxn>
                  <a:cxn ang="0">
                    <a:pos x="59" y="280"/>
                  </a:cxn>
                  <a:cxn ang="0">
                    <a:pos x="51" y="268"/>
                  </a:cxn>
                  <a:cxn ang="0">
                    <a:pos x="37" y="254"/>
                  </a:cxn>
                  <a:cxn ang="0">
                    <a:pos x="33" y="250"/>
                  </a:cxn>
                  <a:cxn ang="0">
                    <a:pos x="33" y="242"/>
                  </a:cxn>
                  <a:cxn ang="0">
                    <a:pos x="40" y="242"/>
                  </a:cxn>
                  <a:cxn ang="0">
                    <a:pos x="49" y="242"/>
                  </a:cxn>
                  <a:cxn ang="0">
                    <a:pos x="56" y="244"/>
                  </a:cxn>
                  <a:cxn ang="0">
                    <a:pos x="54" y="238"/>
                  </a:cxn>
                  <a:cxn ang="0">
                    <a:pos x="46" y="230"/>
                  </a:cxn>
                  <a:cxn ang="0">
                    <a:pos x="49" y="219"/>
                  </a:cxn>
                  <a:cxn ang="0">
                    <a:pos x="49" y="214"/>
                  </a:cxn>
                  <a:cxn ang="0">
                    <a:pos x="46" y="202"/>
                  </a:cxn>
                  <a:cxn ang="0">
                    <a:pos x="39" y="193"/>
                  </a:cxn>
                  <a:cxn ang="0">
                    <a:pos x="28" y="184"/>
                  </a:cxn>
                  <a:cxn ang="0">
                    <a:pos x="21" y="157"/>
                  </a:cxn>
                  <a:cxn ang="0">
                    <a:pos x="25" y="153"/>
                  </a:cxn>
                  <a:cxn ang="0">
                    <a:pos x="54" y="97"/>
                  </a:cxn>
                  <a:cxn ang="0">
                    <a:pos x="59" y="56"/>
                  </a:cxn>
                  <a:cxn ang="0">
                    <a:pos x="51" y="35"/>
                  </a:cxn>
                  <a:cxn ang="0">
                    <a:pos x="40" y="9"/>
                  </a:cxn>
                  <a:cxn ang="0">
                    <a:pos x="6" y="186"/>
                  </a:cxn>
                  <a:cxn ang="0">
                    <a:pos x="0" y="188"/>
                  </a:cxn>
                  <a:cxn ang="0">
                    <a:pos x="6" y="186"/>
                  </a:cxn>
                </a:cxnLst>
                <a:rect l="0" t="0" r="r" b="b"/>
                <a:pathLst>
                  <a:path w="200" h="289">
                    <a:moveTo>
                      <a:pt x="40" y="9"/>
                    </a:moveTo>
                    <a:lnTo>
                      <a:pt x="59" y="0"/>
                    </a:lnTo>
                    <a:lnTo>
                      <a:pt x="197" y="71"/>
                    </a:lnTo>
                    <a:lnTo>
                      <a:pt x="200" y="139"/>
                    </a:lnTo>
                    <a:lnTo>
                      <a:pt x="197" y="139"/>
                    </a:lnTo>
                    <a:lnTo>
                      <a:pt x="193" y="143"/>
                    </a:lnTo>
                    <a:lnTo>
                      <a:pt x="191" y="139"/>
                    </a:lnTo>
                    <a:lnTo>
                      <a:pt x="186" y="139"/>
                    </a:lnTo>
                    <a:lnTo>
                      <a:pt x="183" y="143"/>
                    </a:lnTo>
                    <a:lnTo>
                      <a:pt x="183" y="148"/>
                    </a:lnTo>
                    <a:lnTo>
                      <a:pt x="185" y="151"/>
                    </a:lnTo>
                    <a:lnTo>
                      <a:pt x="183" y="153"/>
                    </a:lnTo>
                    <a:lnTo>
                      <a:pt x="178" y="162"/>
                    </a:lnTo>
                    <a:lnTo>
                      <a:pt x="174" y="162"/>
                    </a:lnTo>
                    <a:lnTo>
                      <a:pt x="172" y="165"/>
                    </a:lnTo>
                    <a:lnTo>
                      <a:pt x="172" y="167"/>
                    </a:lnTo>
                    <a:lnTo>
                      <a:pt x="174" y="167"/>
                    </a:lnTo>
                    <a:lnTo>
                      <a:pt x="172" y="174"/>
                    </a:lnTo>
                    <a:lnTo>
                      <a:pt x="169" y="174"/>
                    </a:lnTo>
                    <a:lnTo>
                      <a:pt x="169" y="176"/>
                    </a:lnTo>
                    <a:lnTo>
                      <a:pt x="171" y="179"/>
                    </a:lnTo>
                    <a:lnTo>
                      <a:pt x="171" y="181"/>
                    </a:lnTo>
                    <a:lnTo>
                      <a:pt x="169" y="184"/>
                    </a:lnTo>
                    <a:lnTo>
                      <a:pt x="165" y="191"/>
                    </a:lnTo>
                    <a:lnTo>
                      <a:pt x="165" y="195"/>
                    </a:lnTo>
                    <a:lnTo>
                      <a:pt x="165" y="197"/>
                    </a:lnTo>
                    <a:lnTo>
                      <a:pt x="171" y="195"/>
                    </a:lnTo>
                    <a:lnTo>
                      <a:pt x="172" y="195"/>
                    </a:lnTo>
                    <a:lnTo>
                      <a:pt x="172" y="197"/>
                    </a:lnTo>
                    <a:lnTo>
                      <a:pt x="171" y="198"/>
                    </a:lnTo>
                    <a:lnTo>
                      <a:pt x="172" y="198"/>
                    </a:lnTo>
                    <a:lnTo>
                      <a:pt x="172" y="202"/>
                    </a:lnTo>
                    <a:lnTo>
                      <a:pt x="174" y="204"/>
                    </a:lnTo>
                    <a:lnTo>
                      <a:pt x="174" y="209"/>
                    </a:lnTo>
                    <a:lnTo>
                      <a:pt x="174" y="212"/>
                    </a:lnTo>
                    <a:lnTo>
                      <a:pt x="181" y="214"/>
                    </a:lnTo>
                    <a:lnTo>
                      <a:pt x="183" y="217"/>
                    </a:lnTo>
                    <a:lnTo>
                      <a:pt x="181" y="219"/>
                    </a:lnTo>
                    <a:lnTo>
                      <a:pt x="181" y="223"/>
                    </a:lnTo>
                    <a:lnTo>
                      <a:pt x="179" y="224"/>
                    </a:lnTo>
                    <a:lnTo>
                      <a:pt x="178" y="226"/>
                    </a:lnTo>
                    <a:lnTo>
                      <a:pt x="172" y="224"/>
                    </a:lnTo>
                    <a:lnTo>
                      <a:pt x="169" y="224"/>
                    </a:lnTo>
                    <a:lnTo>
                      <a:pt x="165" y="226"/>
                    </a:lnTo>
                    <a:lnTo>
                      <a:pt x="162" y="230"/>
                    </a:lnTo>
                    <a:lnTo>
                      <a:pt x="162" y="231"/>
                    </a:lnTo>
                    <a:lnTo>
                      <a:pt x="162" y="235"/>
                    </a:lnTo>
                    <a:lnTo>
                      <a:pt x="160" y="235"/>
                    </a:lnTo>
                    <a:lnTo>
                      <a:pt x="157" y="240"/>
                    </a:lnTo>
                    <a:lnTo>
                      <a:pt x="155" y="240"/>
                    </a:lnTo>
                    <a:lnTo>
                      <a:pt x="153" y="238"/>
                    </a:lnTo>
                    <a:lnTo>
                      <a:pt x="152" y="242"/>
                    </a:lnTo>
                    <a:lnTo>
                      <a:pt x="152" y="244"/>
                    </a:lnTo>
                    <a:lnTo>
                      <a:pt x="148" y="245"/>
                    </a:lnTo>
                    <a:lnTo>
                      <a:pt x="148" y="249"/>
                    </a:lnTo>
                    <a:lnTo>
                      <a:pt x="148" y="252"/>
                    </a:lnTo>
                    <a:lnTo>
                      <a:pt x="148" y="254"/>
                    </a:lnTo>
                    <a:lnTo>
                      <a:pt x="146" y="254"/>
                    </a:lnTo>
                    <a:lnTo>
                      <a:pt x="141" y="259"/>
                    </a:lnTo>
                    <a:lnTo>
                      <a:pt x="136" y="259"/>
                    </a:lnTo>
                    <a:lnTo>
                      <a:pt x="131" y="261"/>
                    </a:lnTo>
                    <a:lnTo>
                      <a:pt x="125" y="259"/>
                    </a:lnTo>
                    <a:lnTo>
                      <a:pt x="124" y="259"/>
                    </a:lnTo>
                    <a:lnTo>
                      <a:pt x="119" y="259"/>
                    </a:lnTo>
                    <a:lnTo>
                      <a:pt x="119" y="257"/>
                    </a:lnTo>
                    <a:lnTo>
                      <a:pt x="115" y="259"/>
                    </a:lnTo>
                    <a:lnTo>
                      <a:pt x="115" y="263"/>
                    </a:lnTo>
                    <a:lnTo>
                      <a:pt x="119" y="266"/>
                    </a:lnTo>
                    <a:lnTo>
                      <a:pt x="119" y="266"/>
                    </a:lnTo>
                    <a:lnTo>
                      <a:pt x="119" y="268"/>
                    </a:lnTo>
                    <a:lnTo>
                      <a:pt x="115" y="271"/>
                    </a:lnTo>
                    <a:lnTo>
                      <a:pt x="113" y="273"/>
                    </a:lnTo>
                    <a:lnTo>
                      <a:pt x="106" y="273"/>
                    </a:lnTo>
                    <a:lnTo>
                      <a:pt x="98" y="277"/>
                    </a:lnTo>
                    <a:lnTo>
                      <a:pt x="92" y="278"/>
                    </a:lnTo>
                    <a:lnTo>
                      <a:pt x="87" y="282"/>
                    </a:lnTo>
                    <a:lnTo>
                      <a:pt x="84" y="285"/>
                    </a:lnTo>
                    <a:lnTo>
                      <a:pt x="82" y="285"/>
                    </a:lnTo>
                    <a:lnTo>
                      <a:pt x="79" y="283"/>
                    </a:lnTo>
                    <a:lnTo>
                      <a:pt x="79" y="280"/>
                    </a:lnTo>
                    <a:lnTo>
                      <a:pt x="77" y="278"/>
                    </a:lnTo>
                    <a:lnTo>
                      <a:pt x="75" y="280"/>
                    </a:lnTo>
                    <a:lnTo>
                      <a:pt x="75" y="283"/>
                    </a:lnTo>
                    <a:lnTo>
                      <a:pt x="72" y="287"/>
                    </a:lnTo>
                    <a:lnTo>
                      <a:pt x="68" y="287"/>
                    </a:lnTo>
                    <a:lnTo>
                      <a:pt x="65" y="289"/>
                    </a:lnTo>
                    <a:lnTo>
                      <a:pt x="61" y="289"/>
                    </a:lnTo>
                    <a:lnTo>
                      <a:pt x="61" y="285"/>
                    </a:lnTo>
                    <a:lnTo>
                      <a:pt x="59" y="282"/>
                    </a:lnTo>
                    <a:lnTo>
                      <a:pt x="59" y="280"/>
                    </a:lnTo>
                    <a:lnTo>
                      <a:pt x="56" y="275"/>
                    </a:lnTo>
                    <a:lnTo>
                      <a:pt x="54" y="270"/>
                    </a:lnTo>
                    <a:lnTo>
                      <a:pt x="51" y="268"/>
                    </a:lnTo>
                    <a:lnTo>
                      <a:pt x="46" y="263"/>
                    </a:lnTo>
                    <a:lnTo>
                      <a:pt x="39" y="254"/>
                    </a:lnTo>
                    <a:lnTo>
                      <a:pt x="37" y="254"/>
                    </a:lnTo>
                    <a:lnTo>
                      <a:pt x="37" y="254"/>
                    </a:lnTo>
                    <a:lnTo>
                      <a:pt x="33" y="252"/>
                    </a:lnTo>
                    <a:lnTo>
                      <a:pt x="33" y="250"/>
                    </a:lnTo>
                    <a:lnTo>
                      <a:pt x="33" y="247"/>
                    </a:lnTo>
                    <a:lnTo>
                      <a:pt x="33" y="245"/>
                    </a:lnTo>
                    <a:lnTo>
                      <a:pt x="33" y="242"/>
                    </a:lnTo>
                    <a:lnTo>
                      <a:pt x="37" y="242"/>
                    </a:lnTo>
                    <a:lnTo>
                      <a:pt x="39" y="242"/>
                    </a:lnTo>
                    <a:lnTo>
                      <a:pt x="40" y="242"/>
                    </a:lnTo>
                    <a:lnTo>
                      <a:pt x="44" y="242"/>
                    </a:lnTo>
                    <a:lnTo>
                      <a:pt x="47" y="242"/>
                    </a:lnTo>
                    <a:lnTo>
                      <a:pt x="49" y="242"/>
                    </a:lnTo>
                    <a:lnTo>
                      <a:pt x="52" y="242"/>
                    </a:lnTo>
                    <a:lnTo>
                      <a:pt x="56" y="244"/>
                    </a:lnTo>
                    <a:lnTo>
                      <a:pt x="56" y="244"/>
                    </a:lnTo>
                    <a:lnTo>
                      <a:pt x="59" y="242"/>
                    </a:lnTo>
                    <a:lnTo>
                      <a:pt x="56" y="242"/>
                    </a:lnTo>
                    <a:lnTo>
                      <a:pt x="54" y="238"/>
                    </a:lnTo>
                    <a:lnTo>
                      <a:pt x="52" y="235"/>
                    </a:lnTo>
                    <a:lnTo>
                      <a:pt x="49" y="235"/>
                    </a:lnTo>
                    <a:lnTo>
                      <a:pt x="46" y="230"/>
                    </a:lnTo>
                    <a:lnTo>
                      <a:pt x="46" y="226"/>
                    </a:lnTo>
                    <a:lnTo>
                      <a:pt x="49" y="224"/>
                    </a:lnTo>
                    <a:lnTo>
                      <a:pt x="49" y="219"/>
                    </a:lnTo>
                    <a:lnTo>
                      <a:pt x="47" y="217"/>
                    </a:lnTo>
                    <a:lnTo>
                      <a:pt x="47" y="216"/>
                    </a:lnTo>
                    <a:lnTo>
                      <a:pt x="49" y="214"/>
                    </a:lnTo>
                    <a:lnTo>
                      <a:pt x="49" y="210"/>
                    </a:lnTo>
                    <a:lnTo>
                      <a:pt x="47" y="207"/>
                    </a:lnTo>
                    <a:lnTo>
                      <a:pt x="46" y="202"/>
                    </a:lnTo>
                    <a:lnTo>
                      <a:pt x="44" y="202"/>
                    </a:lnTo>
                    <a:lnTo>
                      <a:pt x="44" y="197"/>
                    </a:lnTo>
                    <a:lnTo>
                      <a:pt x="39" y="193"/>
                    </a:lnTo>
                    <a:lnTo>
                      <a:pt x="32" y="190"/>
                    </a:lnTo>
                    <a:lnTo>
                      <a:pt x="32" y="188"/>
                    </a:lnTo>
                    <a:lnTo>
                      <a:pt x="28" y="184"/>
                    </a:lnTo>
                    <a:lnTo>
                      <a:pt x="25" y="179"/>
                    </a:lnTo>
                    <a:lnTo>
                      <a:pt x="21" y="179"/>
                    </a:lnTo>
                    <a:lnTo>
                      <a:pt x="21" y="157"/>
                    </a:lnTo>
                    <a:lnTo>
                      <a:pt x="21" y="153"/>
                    </a:lnTo>
                    <a:lnTo>
                      <a:pt x="23" y="153"/>
                    </a:lnTo>
                    <a:lnTo>
                      <a:pt x="25" y="153"/>
                    </a:lnTo>
                    <a:lnTo>
                      <a:pt x="26" y="151"/>
                    </a:lnTo>
                    <a:lnTo>
                      <a:pt x="54" y="122"/>
                    </a:lnTo>
                    <a:lnTo>
                      <a:pt x="54" y="97"/>
                    </a:lnTo>
                    <a:lnTo>
                      <a:pt x="59" y="64"/>
                    </a:lnTo>
                    <a:lnTo>
                      <a:pt x="59" y="61"/>
                    </a:lnTo>
                    <a:lnTo>
                      <a:pt x="59" y="56"/>
                    </a:lnTo>
                    <a:lnTo>
                      <a:pt x="49" y="42"/>
                    </a:lnTo>
                    <a:lnTo>
                      <a:pt x="51" y="40"/>
                    </a:lnTo>
                    <a:lnTo>
                      <a:pt x="51" y="35"/>
                    </a:lnTo>
                    <a:lnTo>
                      <a:pt x="42" y="12"/>
                    </a:lnTo>
                    <a:lnTo>
                      <a:pt x="40" y="9"/>
                    </a:lnTo>
                    <a:lnTo>
                      <a:pt x="40" y="9"/>
                    </a:lnTo>
                    <a:lnTo>
                      <a:pt x="40" y="9"/>
                    </a:lnTo>
                    <a:lnTo>
                      <a:pt x="40" y="9"/>
                    </a:lnTo>
                    <a:close/>
                    <a:moveTo>
                      <a:pt x="6" y="186"/>
                    </a:moveTo>
                    <a:lnTo>
                      <a:pt x="2" y="190"/>
                    </a:lnTo>
                    <a:lnTo>
                      <a:pt x="2" y="190"/>
                    </a:lnTo>
                    <a:lnTo>
                      <a:pt x="0" y="188"/>
                    </a:lnTo>
                    <a:lnTo>
                      <a:pt x="6" y="186"/>
                    </a:lnTo>
                    <a:lnTo>
                      <a:pt x="6" y="186"/>
                    </a:lnTo>
                    <a:lnTo>
                      <a:pt x="6" y="18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4" name="Freeform 127"/>
              <p:cNvSpPr>
                <a:spLocks/>
              </p:cNvSpPr>
              <p:nvPr/>
            </p:nvSpPr>
            <p:spPr bwMode="auto">
              <a:xfrm>
                <a:off x="4471988" y="3614738"/>
                <a:ext cx="407988" cy="317500"/>
              </a:xfrm>
              <a:custGeom>
                <a:avLst/>
                <a:gdLst/>
                <a:ahLst/>
                <a:cxnLst>
                  <a:cxn ang="0">
                    <a:pos x="53" y="195"/>
                  </a:cxn>
                  <a:cxn ang="0">
                    <a:pos x="46" y="192"/>
                  </a:cxn>
                  <a:cxn ang="0">
                    <a:pos x="41" y="190"/>
                  </a:cxn>
                  <a:cxn ang="0">
                    <a:pos x="38" y="193"/>
                  </a:cxn>
                  <a:cxn ang="0">
                    <a:pos x="31" y="188"/>
                  </a:cxn>
                  <a:cxn ang="0">
                    <a:pos x="33" y="185"/>
                  </a:cxn>
                  <a:cxn ang="0">
                    <a:pos x="31" y="178"/>
                  </a:cxn>
                  <a:cxn ang="0">
                    <a:pos x="22" y="181"/>
                  </a:cxn>
                  <a:cxn ang="0">
                    <a:pos x="15" y="171"/>
                  </a:cxn>
                  <a:cxn ang="0">
                    <a:pos x="0" y="155"/>
                  </a:cxn>
                  <a:cxn ang="0">
                    <a:pos x="1" y="148"/>
                  </a:cxn>
                  <a:cxn ang="0">
                    <a:pos x="6" y="146"/>
                  </a:cxn>
                  <a:cxn ang="0">
                    <a:pos x="24" y="145"/>
                  </a:cxn>
                  <a:cxn ang="0">
                    <a:pos x="36" y="143"/>
                  </a:cxn>
                  <a:cxn ang="0">
                    <a:pos x="43" y="139"/>
                  </a:cxn>
                  <a:cxn ang="0">
                    <a:pos x="53" y="136"/>
                  </a:cxn>
                  <a:cxn ang="0">
                    <a:pos x="62" y="127"/>
                  </a:cxn>
                  <a:cxn ang="0">
                    <a:pos x="66" y="120"/>
                  </a:cxn>
                  <a:cxn ang="0">
                    <a:pos x="69" y="73"/>
                  </a:cxn>
                  <a:cxn ang="0">
                    <a:pos x="114" y="47"/>
                  </a:cxn>
                  <a:cxn ang="0">
                    <a:pos x="220" y="6"/>
                  </a:cxn>
                  <a:cxn ang="0">
                    <a:pos x="238" y="4"/>
                  </a:cxn>
                  <a:cxn ang="0">
                    <a:pos x="248" y="28"/>
                  </a:cxn>
                  <a:cxn ang="0">
                    <a:pos x="246" y="37"/>
                  </a:cxn>
                  <a:cxn ang="0">
                    <a:pos x="257" y="56"/>
                  </a:cxn>
                  <a:cxn ang="0">
                    <a:pos x="251" y="91"/>
                  </a:cxn>
                  <a:cxn ang="0">
                    <a:pos x="224" y="145"/>
                  </a:cxn>
                  <a:cxn ang="0">
                    <a:pos x="220" y="146"/>
                  </a:cxn>
                  <a:cxn ang="0">
                    <a:pos x="218" y="150"/>
                  </a:cxn>
                  <a:cxn ang="0">
                    <a:pos x="217" y="169"/>
                  </a:cxn>
                  <a:cxn ang="0">
                    <a:pos x="213" y="172"/>
                  </a:cxn>
                  <a:cxn ang="0">
                    <a:pos x="208" y="172"/>
                  </a:cxn>
                  <a:cxn ang="0">
                    <a:pos x="206" y="176"/>
                  </a:cxn>
                  <a:cxn ang="0">
                    <a:pos x="203" y="178"/>
                  </a:cxn>
                  <a:cxn ang="0">
                    <a:pos x="196" y="178"/>
                  </a:cxn>
                  <a:cxn ang="0">
                    <a:pos x="185" y="176"/>
                  </a:cxn>
                  <a:cxn ang="0">
                    <a:pos x="173" y="176"/>
                  </a:cxn>
                  <a:cxn ang="0">
                    <a:pos x="163" y="178"/>
                  </a:cxn>
                  <a:cxn ang="0">
                    <a:pos x="152" y="186"/>
                  </a:cxn>
                  <a:cxn ang="0">
                    <a:pos x="144" y="185"/>
                  </a:cxn>
                  <a:cxn ang="0">
                    <a:pos x="135" y="181"/>
                  </a:cxn>
                  <a:cxn ang="0">
                    <a:pos x="132" y="176"/>
                  </a:cxn>
                  <a:cxn ang="0">
                    <a:pos x="125" y="176"/>
                  </a:cxn>
                  <a:cxn ang="0">
                    <a:pos x="121" y="176"/>
                  </a:cxn>
                  <a:cxn ang="0">
                    <a:pos x="114" y="178"/>
                  </a:cxn>
                  <a:cxn ang="0">
                    <a:pos x="111" y="181"/>
                  </a:cxn>
                  <a:cxn ang="0">
                    <a:pos x="104" y="172"/>
                  </a:cxn>
                  <a:cxn ang="0">
                    <a:pos x="99" y="169"/>
                  </a:cxn>
                  <a:cxn ang="0">
                    <a:pos x="92" y="167"/>
                  </a:cxn>
                  <a:cxn ang="0">
                    <a:pos x="86" y="167"/>
                  </a:cxn>
                  <a:cxn ang="0">
                    <a:pos x="81" y="167"/>
                  </a:cxn>
                  <a:cxn ang="0">
                    <a:pos x="76" y="167"/>
                  </a:cxn>
                  <a:cxn ang="0">
                    <a:pos x="69" y="169"/>
                  </a:cxn>
                  <a:cxn ang="0">
                    <a:pos x="67" y="171"/>
                  </a:cxn>
                  <a:cxn ang="0">
                    <a:pos x="62" y="176"/>
                  </a:cxn>
                  <a:cxn ang="0">
                    <a:pos x="62" y="176"/>
                  </a:cxn>
                  <a:cxn ang="0">
                    <a:pos x="62" y="181"/>
                  </a:cxn>
                  <a:cxn ang="0">
                    <a:pos x="64" y="185"/>
                  </a:cxn>
                  <a:cxn ang="0">
                    <a:pos x="59" y="190"/>
                  </a:cxn>
                  <a:cxn ang="0">
                    <a:pos x="59" y="193"/>
                  </a:cxn>
                  <a:cxn ang="0">
                    <a:pos x="60" y="199"/>
                  </a:cxn>
                  <a:cxn ang="0">
                    <a:pos x="59" y="200"/>
                  </a:cxn>
                  <a:cxn ang="0">
                    <a:pos x="59" y="200"/>
                  </a:cxn>
                </a:cxnLst>
                <a:rect l="0" t="0" r="r" b="b"/>
                <a:pathLst>
                  <a:path w="257" h="200">
                    <a:moveTo>
                      <a:pt x="59" y="200"/>
                    </a:moveTo>
                    <a:lnTo>
                      <a:pt x="53" y="195"/>
                    </a:lnTo>
                    <a:lnTo>
                      <a:pt x="50" y="195"/>
                    </a:lnTo>
                    <a:lnTo>
                      <a:pt x="46" y="192"/>
                    </a:lnTo>
                    <a:lnTo>
                      <a:pt x="43" y="186"/>
                    </a:lnTo>
                    <a:lnTo>
                      <a:pt x="41" y="190"/>
                    </a:lnTo>
                    <a:lnTo>
                      <a:pt x="41" y="192"/>
                    </a:lnTo>
                    <a:lnTo>
                      <a:pt x="38" y="193"/>
                    </a:lnTo>
                    <a:lnTo>
                      <a:pt x="36" y="193"/>
                    </a:lnTo>
                    <a:lnTo>
                      <a:pt x="31" y="188"/>
                    </a:lnTo>
                    <a:lnTo>
                      <a:pt x="33" y="186"/>
                    </a:lnTo>
                    <a:lnTo>
                      <a:pt x="33" y="185"/>
                    </a:lnTo>
                    <a:lnTo>
                      <a:pt x="31" y="181"/>
                    </a:lnTo>
                    <a:lnTo>
                      <a:pt x="31" y="178"/>
                    </a:lnTo>
                    <a:lnTo>
                      <a:pt x="29" y="178"/>
                    </a:lnTo>
                    <a:lnTo>
                      <a:pt x="22" y="181"/>
                    </a:lnTo>
                    <a:lnTo>
                      <a:pt x="17" y="176"/>
                    </a:lnTo>
                    <a:lnTo>
                      <a:pt x="15" y="171"/>
                    </a:lnTo>
                    <a:lnTo>
                      <a:pt x="0" y="160"/>
                    </a:lnTo>
                    <a:lnTo>
                      <a:pt x="0" y="155"/>
                    </a:lnTo>
                    <a:lnTo>
                      <a:pt x="1" y="150"/>
                    </a:lnTo>
                    <a:lnTo>
                      <a:pt x="1" y="148"/>
                    </a:lnTo>
                    <a:lnTo>
                      <a:pt x="5" y="145"/>
                    </a:lnTo>
                    <a:lnTo>
                      <a:pt x="6" y="146"/>
                    </a:lnTo>
                    <a:lnTo>
                      <a:pt x="19" y="145"/>
                    </a:lnTo>
                    <a:lnTo>
                      <a:pt x="24" y="145"/>
                    </a:lnTo>
                    <a:lnTo>
                      <a:pt x="27" y="143"/>
                    </a:lnTo>
                    <a:lnTo>
                      <a:pt x="36" y="143"/>
                    </a:lnTo>
                    <a:lnTo>
                      <a:pt x="38" y="143"/>
                    </a:lnTo>
                    <a:lnTo>
                      <a:pt x="43" y="139"/>
                    </a:lnTo>
                    <a:lnTo>
                      <a:pt x="46" y="139"/>
                    </a:lnTo>
                    <a:lnTo>
                      <a:pt x="53" y="136"/>
                    </a:lnTo>
                    <a:lnTo>
                      <a:pt x="62" y="131"/>
                    </a:lnTo>
                    <a:lnTo>
                      <a:pt x="62" y="127"/>
                    </a:lnTo>
                    <a:lnTo>
                      <a:pt x="64" y="122"/>
                    </a:lnTo>
                    <a:lnTo>
                      <a:pt x="66" y="120"/>
                    </a:lnTo>
                    <a:lnTo>
                      <a:pt x="67" y="105"/>
                    </a:lnTo>
                    <a:lnTo>
                      <a:pt x="69" y="73"/>
                    </a:lnTo>
                    <a:lnTo>
                      <a:pt x="95" y="66"/>
                    </a:lnTo>
                    <a:lnTo>
                      <a:pt x="114" y="47"/>
                    </a:lnTo>
                    <a:lnTo>
                      <a:pt x="191" y="0"/>
                    </a:lnTo>
                    <a:lnTo>
                      <a:pt x="220" y="6"/>
                    </a:lnTo>
                    <a:lnTo>
                      <a:pt x="224" y="11"/>
                    </a:lnTo>
                    <a:lnTo>
                      <a:pt x="238" y="4"/>
                    </a:lnTo>
                    <a:lnTo>
                      <a:pt x="239" y="6"/>
                    </a:lnTo>
                    <a:lnTo>
                      <a:pt x="248" y="28"/>
                    </a:lnTo>
                    <a:lnTo>
                      <a:pt x="248" y="35"/>
                    </a:lnTo>
                    <a:lnTo>
                      <a:pt x="246" y="37"/>
                    </a:lnTo>
                    <a:lnTo>
                      <a:pt x="257" y="51"/>
                    </a:lnTo>
                    <a:lnTo>
                      <a:pt x="257" y="56"/>
                    </a:lnTo>
                    <a:lnTo>
                      <a:pt x="257" y="59"/>
                    </a:lnTo>
                    <a:lnTo>
                      <a:pt x="251" y="91"/>
                    </a:lnTo>
                    <a:lnTo>
                      <a:pt x="251" y="115"/>
                    </a:lnTo>
                    <a:lnTo>
                      <a:pt x="224" y="145"/>
                    </a:lnTo>
                    <a:lnTo>
                      <a:pt x="222" y="146"/>
                    </a:lnTo>
                    <a:lnTo>
                      <a:pt x="220" y="146"/>
                    </a:lnTo>
                    <a:lnTo>
                      <a:pt x="218" y="146"/>
                    </a:lnTo>
                    <a:lnTo>
                      <a:pt x="218" y="150"/>
                    </a:lnTo>
                    <a:lnTo>
                      <a:pt x="218" y="171"/>
                    </a:lnTo>
                    <a:lnTo>
                      <a:pt x="217" y="169"/>
                    </a:lnTo>
                    <a:lnTo>
                      <a:pt x="213" y="172"/>
                    </a:lnTo>
                    <a:lnTo>
                      <a:pt x="213" y="172"/>
                    </a:lnTo>
                    <a:lnTo>
                      <a:pt x="212" y="176"/>
                    </a:lnTo>
                    <a:lnTo>
                      <a:pt x="208" y="172"/>
                    </a:lnTo>
                    <a:lnTo>
                      <a:pt x="208" y="176"/>
                    </a:lnTo>
                    <a:lnTo>
                      <a:pt x="206" y="176"/>
                    </a:lnTo>
                    <a:lnTo>
                      <a:pt x="203" y="178"/>
                    </a:lnTo>
                    <a:lnTo>
                      <a:pt x="203" y="178"/>
                    </a:lnTo>
                    <a:lnTo>
                      <a:pt x="198" y="181"/>
                    </a:lnTo>
                    <a:lnTo>
                      <a:pt x="196" y="178"/>
                    </a:lnTo>
                    <a:lnTo>
                      <a:pt x="191" y="178"/>
                    </a:lnTo>
                    <a:lnTo>
                      <a:pt x="185" y="176"/>
                    </a:lnTo>
                    <a:lnTo>
                      <a:pt x="178" y="176"/>
                    </a:lnTo>
                    <a:lnTo>
                      <a:pt x="173" y="176"/>
                    </a:lnTo>
                    <a:lnTo>
                      <a:pt x="166" y="176"/>
                    </a:lnTo>
                    <a:lnTo>
                      <a:pt x="163" y="178"/>
                    </a:lnTo>
                    <a:lnTo>
                      <a:pt x="158" y="185"/>
                    </a:lnTo>
                    <a:lnTo>
                      <a:pt x="152" y="186"/>
                    </a:lnTo>
                    <a:lnTo>
                      <a:pt x="149" y="186"/>
                    </a:lnTo>
                    <a:lnTo>
                      <a:pt x="144" y="185"/>
                    </a:lnTo>
                    <a:lnTo>
                      <a:pt x="140" y="185"/>
                    </a:lnTo>
                    <a:lnTo>
                      <a:pt x="135" y="181"/>
                    </a:lnTo>
                    <a:lnTo>
                      <a:pt x="132" y="178"/>
                    </a:lnTo>
                    <a:lnTo>
                      <a:pt x="132" y="176"/>
                    </a:lnTo>
                    <a:lnTo>
                      <a:pt x="128" y="176"/>
                    </a:lnTo>
                    <a:lnTo>
                      <a:pt x="125" y="176"/>
                    </a:lnTo>
                    <a:lnTo>
                      <a:pt x="125" y="176"/>
                    </a:lnTo>
                    <a:lnTo>
                      <a:pt x="121" y="176"/>
                    </a:lnTo>
                    <a:lnTo>
                      <a:pt x="118" y="176"/>
                    </a:lnTo>
                    <a:lnTo>
                      <a:pt x="114" y="178"/>
                    </a:lnTo>
                    <a:lnTo>
                      <a:pt x="112" y="181"/>
                    </a:lnTo>
                    <a:lnTo>
                      <a:pt x="111" y="181"/>
                    </a:lnTo>
                    <a:lnTo>
                      <a:pt x="107" y="178"/>
                    </a:lnTo>
                    <a:lnTo>
                      <a:pt x="104" y="172"/>
                    </a:lnTo>
                    <a:lnTo>
                      <a:pt x="102" y="172"/>
                    </a:lnTo>
                    <a:lnTo>
                      <a:pt x="99" y="169"/>
                    </a:lnTo>
                    <a:lnTo>
                      <a:pt x="95" y="169"/>
                    </a:lnTo>
                    <a:lnTo>
                      <a:pt x="92" y="167"/>
                    </a:lnTo>
                    <a:lnTo>
                      <a:pt x="88" y="167"/>
                    </a:lnTo>
                    <a:lnTo>
                      <a:pt x="86" y="167"/>
                    </a:lnTo>
                    <a:lnTo>
                      <a:pt x="83" y="167"/>
                    </a:lnTo>
                    <a:lnTo>
                      <a:pt x="81" y="167"/>
                    </a:lnTo>
                    <a:lnTo>
                      <a:pt x="76" y="167"/>
                    </a:lnTo>
                    <a:lnTo>
                      <a:pt x="76" y="167"/>
                    </a:lnTo>
                    <a:lnTo>
                      <a:pt x="73" y="167"/>
                    </a:lnTo>
                    <a:lnTo>
                      <a:pt x="69" y="169"/>
                    </a:lnTo>
                    <a:lnTo>
                      <a:pt x="69" y="169"/>
                    </a:lnTo>
                    <a:lnTo>
                      <a:pt x="67" y="171"/>
                    </a:lnTo>
                    <a:lnTo>
                      <a:pt x="62" y="172"/>
                    </a:lnTo>
                    <a:lnTo>
                      <a:pt x="62" y="176"/>
                    </a:lnTo>
                    <a:lnTo>
                      <a:pt x="62" y="176"/>
                    </a:lnTo>
                    <a:lnTo>
                      <a:pt x="62" y="176"/>
                    </a:lnTo>
                    <a:lnTo>
                      <a:pt x="62" y="178"/>
                    </a:lnTo>
                    <a:lnTo>
                      <a:pt x="62" y="181"/>
                    </a:lnTo>
                    <a:lnTo>
                      <a:pt x="64" y="185"/>
                    </a:lnTo>
                    <a:lnTo>
                      <a:pt x="64" y="185"/>
                    </a:lnTo>
                    <a:lnTo>
                      <a:pt x="60" y="185"/>
                    </a:lnTo>
                    <a:lnTo>
                      <a:pt x="59" y="190"/>
                    </a:lnTo>
                    <a:lnTo>
                      <a:pt x="59" y="192"/>
                    </a:lnTo>
                    <a:lnTo>
                      <a:pt x="59" y="193"/>
                    </a:lnTo>
                    <a:lnTo>
                      <a:pt x="59" y="199"/>
                    </a:lnTo>
                    <a:lnTo>
                      <a:pt x="60" y="199"/>
                    </a:lnTo>
                    <a:lnTo>
                      <a:pt x="60" y="199"/>
                    </a:lnTo>
                    <a:lnTo>
                      <a:pt x="59" y="200"/>
                    </a:lnTo>
                    <a:lnTo>
                      <a:pt x="59" y="200"/>
                    </a:lnTo>
                    <a:lnTo>
                      <a:pt x="59" y="20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5" name="Freeform 128"/>
              <p:cNvSpPr>
                <a:spLocks/>
              </p:cNvSpPr>
              <p:nvPr/>
            </p:nvSpPr>
            <p:spPr bwMode="auto">
              <a:xfrm>
                <a:off x="4540250" y="3886201"/>
                <a:ext cx="309563" cy="265113"/>
              </a:xfrm>
              <a:custGeom>
                <a:avLst/>
                <a:gdLst/>
                <a:ahLst/>
                <a:cxnLst>
                  <a:cxn ang="0">
                    <a:pos x="182" y="10"/>
                  </a:cxn>
                  <a:cxn ang="0">
                    <a:pos x="170" y="5"/>
                  </a:cxn>
                  <a:cxn ang="0">
                    <a:pos x="165" y="7"/>
                  </a:cxn>
                  <a:cxn ang="0">
                    <a:pos x="160" y="12"/>
                  </a:cxn>
                  <a:cxn ang="0">
                    <a:pos x="151" y="12"/>
                  </a:cxn>
                  <a:cxn ang="0">
                    <a:pos x="134" y="8"/>
                  </a:cxn>
                  <a:cxn ang="0">
                    <a:pos x="118" y="12"/>
                  </a:cxn>
                  <a:cxn ang="0">
                    <a:pos x="106" y="19"/>
                  </a:cxn>
                  <a:cxn ang="0">
                    <a:pos x="90" y="14"/>
                  </a:cxn>
                  <a:cxn ang="0">
                    <a:pos x="83" y="8"/>
                  </a:cxn>
                  <a:cxn ang="0">
                    <a:pos x="76" y="10"/>
                  </a:cxn>
                  <a:cxn ang="0">
                    <a:pos x="68" y="14"/>
                  </a:cxn>
                  <a:cxn ang="0">
                    <a:pos x="61" y="7"/>
                  </a:cxn>
                  <a:cxn ang="0">
                    <a:pos x="50" y="1"/>
                  </a:cxn>
                  <a:cxn ang="0">
                    <a:pos x="42" y="0"/>
                  </a:cxn>
                  <a:cxn ang="0">
                    <a:pos x="33" y="0"/>
                  </a:cxn>
                  <a:cxn ang="0">
                    <a:pos x="24" y="1"/>
                  </a:cxn>
                  <a:cxn ang="0">
                    <a:pos x="17" y="7"/>
                  </a:cxn>
                  <a:cxn ang="0">
                    <a:pos x="17" y="10"/>
                  </a:cxn>
                  <a:cxn ang="0">
                    <a:pos x="19" y="17"/>
                  </a:cxn>
                  <a:cxn ang="0">
                    <a:pos x="14" y="22"/>
                  </a:cxn>
                  <a:cxn ang="0">
                    <a:pos x="14" y="31"/>
                  </a:cxn>
                  <a:cxn ang="0">
                    <a:pos x="14" y="34"/>
                  </a:cxn>
                  <a:cxn ang="0">
                    <a:pos x="17" y="47"/>
                  </a:cxn>
                  <a:cxn ang="0">
                    <a:pos x="19" y="57"/>
                  </a:cxn>
                  <a:cxn ang="0">
                    <a:pos x="14" y="61"/>
                  </a:cxn>
                  <a:cxn ang="0">
                    <a:pos x="14" y="68"/>
                  </a:cxn>
                  <a:cxn ang="0">
                    <a:pos x="9" y="74"/>
                  </a:cxn>
                  <a:cxn ang="0">
                    <a:pos x="3" y="80"/>
                  </a:cxn>
                  <a:cxn ang="0">
                    <a:pos x="0" y="87"/>
                  </a:cxn>
                  <a:cxn ang="0">
                    <a:pos x="0" y="94"/>
                  </a:cxn>
                  <a:cxn ang="0">
                    <a:pos x="0" y="101"/>
                  </a:cxn>
                  <a:cxn ang="0">
                    <a:pos x="0" y="111"/>
                  </a:cxn>
                  <a:cxn ang="0">
                    <a:pos x="0" y="125"/>
                  </a:cxn>
                  <a:cxn ang="0">
                    <a:pos x="14" y="128"/>
                  </a:cxn>
                  <a:cxn ang="0">
                    <a:pos x="36" y="149"/>
                  </a:cxn>
                  <a:cxn ang="0">
                    <a:pos x="42" y="161"/>
                  </a:cxn>
                  <a:cxn ang="0">
                    <a:pos x="68" y="167"/>
                  </a:cxn>
                  <a:cxn ang="0">
                    <a:pos x="82" y="163"/>
                  </a:cxn>
                  <a:cxn ang="0">
                    <a:pos x="89" y="160"/>
                  </a:cxn>
                  <a:cxn ang="0">
                    <a:pos x="94" y="160"/>
                  </a:cxn>
                  <a:cxn ang="0">
                    <a:pos x="101" y="149"/>
                  </a:cxn>
                  <a:cxn ang="0">
                    <a:pos x="102" y="141"/>
                  </a:cxn>
                  <a:cxn ang="0">
                    <a:pos x="106" y="132"/>
                  </a:cxn>
                  <a:cxn ang="0">
                    <a:pos x="113" y="125"/>
                  </a:cxn>
                  <a:cxn ang="0">
                    <a:pos x="120" y="120"/>
                  </a:cxn>
                  <a:cxn ang="0">
                    <a:pos x="127" y="123"/>
                  </a:cxn>
                  <a:cxn ang="0">
                    <a:pos x="134" y="128"/>
                  </a:cxn>
                  <a:cxn ang="0">
                    <a:pos x="142" y="125"/>
                  </a:cxn>
                  <a:cxn ang="0">
                    <a:pos x="146" y="120"/>
                  </a:cxn>
                  <a:cxn ang="0">
                    <a:pos x="149" y="109"/>
                  </a:cxn>
                  <a:cxn ang="0">
                    <a:pos x="155" y="101"/>
                  </a:cxn>
                  <a:cxn ang="0">
                    <a:pos x="163" y="90"/>
                  </a:cxn>
                  <a:cxn ang="0">
                    <a:pos x="165" y="78"/>
                  </a:cxn>
                  <a:cxn ang="0">
                    <a:pos x="175" y="73"/>
                  </a:cxn>
                  <a:cxn ang="0">
                    <a:pos x="175" y="61"/>
                  </a:cxn>
                  <a:cxn ang="0">
                    <a:pos x="182" y="50"/>
                  </a:cxn>
                  <a:cxn ang="0">
                    <a:pos x="188" y="47"/>
                  </a:cxn>
                  <a:cxn ang="0">
                    <a:pos x="195" y="40"/>
                  </a:cxn>
                  <a:cxn ang="0">
                    <a:pos x="191" y="29"/>
                  </a:cxn>
                  <a:cxn ang="0">
                    <a:pos x="186" y="22"/>
                  </a:cxn>
                  <a:cxn ang="0">
                    <a:pos x="186" y="15"/>
                  </a:cxn>
                </a:cxnLst>
                <a:rect l="0" t="0" r="r" b="b"/>
                <a:pathLst>
                  <a:path w="195" h="167">
                    <a:moveTo>
                      <a:pt x="186" y="15"/>
                    </a:moveTo>
                    <a:lnTo>
                      <a:pt x="186" y="14"/>
                    </a:lnTo>
                    <a:lnTo>
                      <a:pt x="182" y="10"/>
                    </a:lnTo>
                    <a:lnTo>
                      <a:pt x="179" y="3"/>
                    </a:lnTo>
                    <a:lnTo>
                      <a:pt x="174" y="1"/>
                    </a:lnTo>
                    <a:lnTo>
                      <a:pt x="170" y="5"/>
                    </a:lnTo>
                    <a:lnTo>
                      <a:pt x="170" y="7"/>
                    </a:lnTo>
                    <a:lnTo>
                      <a:pt x="169" y="8"/>
                    </a:lnTo>
                    <a:lnTo>
                      <a:pt x="165" y="7"/>
                    </a:lnTo>
                    <a:lnTo>
                      <a:pt x="163" y="8"/>
                    </a:lnTo>
                    <a:lnTo>
                      <a:pt x="163" y="10"/>
                    </a:lnTo>
                    <a:lnTo>
                      <a:pt x="160" y="12"/>
                    </a:lnTo>
                    <a:lnTo>
                      <a:pt x="156" y="15"/>
                    </a:lnTo>
                    <a:lnTo>
                      <a:pt x="156" y="15"/>
                    </a:lnTo>
                    <a:lnTo>
                      <a:pt x="151" y="12"/>
                    </a:lnTo>
                    <a:lnTo>
                      <a:pt x="148" y="12"/>
                    </a:lnTo>
                    <a:lnTo>
                      <a:pt x="141" y="10"/>
                    </a:lnTo>
                    <a:lnTo>
                      <a:pt x="134" y="8"/>
                    </a:lnTo>
                    <a:lnTo>
                      <a:pt x="129" y="10"/>
                    </a:lnTo>
                    <a:lnTo>
                      <a:pt x="122" y="10"/>
                    </a:lnTo>
                    <a:lnTo>
                      <a:pt x="118" y="12"/>
                    </a:lnTo>
                    <a:lnTo>
                      <a:pt x="113" y="17"/>
                    </a:lnTo>
                    <a:lnTo>
                      <a:pt x="109" y="19"/>
                    </a:lnTo>
                    <a:lnTo>
                      <a:pt x="106" y="19"/>
                    </a:lnTo>
                    <a:lnTo>
                      <a:pt x="99" y="17"/>
                    </a:lnTo>
                    <a:lnTo>
                      <a:pt x="96" y="17"/>
                    </a:lnTo>
                    <a:lnTo>
                      <a:pt x="90" y="14"/>
                    </a:lnTo>
                    <a:lnTo>
                      <a:pt x="87" y="12"/>
                    </a:lnTo>
                    <a:lnTo>
                      <a:pt x="87" y="10"/>
                    </a:lnTo>
                    <a:lnTo>
                      <a:pt x="83" y="8"/>
                    </a:lnTo>
                    <a:lnTo>
                      <a:pt x="82" y="8"/>
                    </a:lnTo>
                    <a:lnTo>
                      <a:pt x="82" y="8"/>
                    </a:lnTo>
                    <a:lnTo>
                      <a:pt x="76" y="10"/>
                    </a:lnTo>
                    <a:lnTo>
                      <a:pt x="73" y="10"/>
                    </a:lnTo>
                    <a:lnTo>
                      <a:pt x="71" y="12"/>
                    </a:lnTo>
                    <a:lnTo>
                      <a:pt x="68" y="14"/>
                    </a:lnTo>
                    <a:lnTo>
                      <a:pt x="66" y="14"/>
                    </a:lnTo>
                    <a:lnTo>
                      <a:pt x="64" y="12"/>
                    </a:lnTo>
                    <a:lnTo>
                      <a:pt x="61" y="7"/>
                    </a:lnTo>
                    <a:lnTo>
                      <a:pt x="59" y="5"/>
                    </a:lnTo>
                    <a:lnTo>
                      <a:pt x="54" y="1"/>
                    </a:lnTo>
                    <a:lnTo>
                      <a:pt x="50" y="1"/>
                    </a:lnTo>
                    <a:lnTo>
                      <a:pt x="49" y="0"/>
                    </a:lnTo>
                    <a:lnTo>
                      <a:pt x="43" y="0"/>
                    </a:lnTo>
                    <a:lnTo>
                      <a:pt x="42" y="0"/>
                    </a:lnTo>
                    <a:lnTo>
                      <a:pt x="38" y="0"/>
                    </a:lnTo>
                    <a:lnTo>
                      <a:pt x="36" y="0"/>
                    </a:lnTo>
                    <a:lnTo>
                      <a:pt x="33" y="0"/>
                    </a:lnTo>
                    <a:lnTo>
                      <a:pt x="31" y="0"/>
                    </a:lnTo>
                    <a:lnTo>
                      <a:pt x="30" y="0"/>
                    </a:lnTo>
                    <a:lnTo>
                      <a:pt x="24" y="1"/>
                    </a:lnTo>
                    <a:lnTo>
                      <a:pt x="24" y="1"/>
                    </a:lnTo>
                    <a:lnTo>
                      <a:pt x="23" y="3"/>
                    </a:lnTo>
                    <a:lnTo>
                      <a:pt x="17" y="7"/>
                    </a:lnTo>
                    <a:lnTo>
                      <a:pt x="17" y="8"/>
                    </a:lnTo>
                    <a:lnTo>
                      <a:pt x="17" y="10"/>
                    </a:lnTo>
                    <a:lnTo>
                      <a:pt x="17" y="10"/>
                    </a:lnTo>
                    <a:lnTo>
                      <a:pt x="17" y="12"/>
                    </a:lnTo>
                    <a:lnTo>
                      <a:pt x="17" y="15"/>
                    </a:lnTo>
                    <a:lnTo>
                      <a:pt x="19" y="17"/>
                    </a:lnTo>
                    <a:lnTo>
                      <a:pt x="19" y="19"/>
                    </a:lnTo>
                    <a:lnTo>
                      <a:pt x="16" y="19"/>
                    </a:lnTo>
                    <a:lnTo>
                      <a:pt x="14" y="22"/>
                    </a:lnTo>
                    <a:lnTo>
                      <a:pt x="14" y="24"/>
                    </a:lnTo>
                    <a:lnTo>
                      <a:pt x="14" y="28"/>
                    </a:lnTo>
                    <a:lnTo>
                      <a:pt x="14" y="31"/>
                    </a:lnTo>
                    <a:lnTo>
                      <a:pt x="16" y="31"/>
                    </a:lnTo>
                    <a:lnTo>
                      <a:pt x="16" y="33"/>
                    </a:lnTo>
                    <a:lnTo>
                      <a:pt x="14" y="34"/>
                    </a:lnTo>
                    <a:lnTo>
                      <a:pt x="14" y="40"/>
                    </a:lnTo>
                    <a:lnTo>
                      <a:pt x="14" y="41"/>
                    </a:lnTo>
                    <a:lnTo>
                      <a:pt x="17" y="47"/>
                    </a:lnTo>
                    <a:lnTo>
                      <a:pt x="17" y="50"/>
                    </a:lnTo>
                    <a:lnTo>
                      <a:pt x="19" y="55"/>
                    </a:lnTo>
                    <a:lnTo>
                      <a:pt x="19" y="57"/>
                    </a:lnTo>
                    <a:lnTo>
                      <a:pt x="16" y="57"/>
                    </a:lnTo>
                    <a:lnTo>
                      <a:pt x="14" y="61"/>
                    </a:lnTo>
                    <a:lnTo>
                      <a:pt x="14" y="61"/>
                    </a:lnTo>
                    <a:lnTo>
                      <a:pt x="17" y="66"/>
                    </a:lnTo>
                    <a:lnTo>
                      <a:pt x="16" y="68"/>
                    </a:lnTo>
                    <a:lnTo>
                      <a:pt x="14" y="68"/>
                    </a:lnTo>
                    <a:lnTo>
                      <a:pt x="10" y="69"/>
                    </a:lnTo>
                    <a:lnTo>
                      <a:pt x="10" y="73"/>
                    </a:lnTo>
                    <a:lnTo>
                      <a:pt x="9" y="74"/>
                    </a:lnTo>
                    <a:lnTo>
                      <a:pt x="7" y="78"/>
                    </a:lnTo>
                    <a:lnTo>
                      <a:pt x="5" y="80"/>
                    </a:lnTo>
                    <a:lnTo>
                      <a:pt x="3" y="80"/>
                    </a:lnTo>
                    <a:lnTo>
                      <a:pt x="2" y="81"/>
                    </a:lnTo>
                    <a:lnTo>
                      <a:pt x="0" y="83"/>
                    </a:lnTo>
                    <a:lnTo>
                      <a:pt x="0" y="87"/>
                    </a:lnTo>
                    <a:lnTo>
                      <a:pt x="0" y="88"/>
                    </a:lnTo>
                    <a:lnTo>
                      <a:pt x="0" y="94"/>
                    </a:lnTo>
                    <a:lnTo>
                      <a:pt x="0" y="94"/>
                    </a:lnTo>
                    <a:lnTo>
                      <a:pt x="0" y="97"/>
                    </a:lnTo>
                    <a:lnTo>
                      <a:pt x="0" y="97"/>
                    </a:lnTo>
                    <a:lnTo>
                      <a:pt x="0" y="101"/>
                    </a:lnTo>
                    <a:lnTo>
                      <a:pt x="0" y="101"/>
                    </a:lnTo>
                    <a:lnTo>
                      <a:pt x="0" y="104"/>
                    </a:lnTo>
                    <a:lnTo>
                      <a:pt x="0" y="111"/>
                    </a:lnTo>
                    <a:lnTo>
                      <a:pt x="0" y="113"/>
                    </a:lnTo>
                    <a:lnTo>
                      <a:pt x="2" y="116"/>
                    </a:lnTo>
                    <a:lnTo>
                      <a:pt x="0" y="125"/>
                    </a:lnTo>
                    <a:lnTo>
                      <a:pt x="0" y="128"/>
                    </a:lnTo>
                    <a:lnTo>
                      <a:pt x="9" y="128"/>
                    </a:lnTo>
                    <a:lnTo>
                      <a:pt x="14" y="128"/>
                    </a:lnTo>
                    <a:lnTo>
                      <a:pt x="26" y="134"/>
                    </a:lnTo>
                    <a:lnTo>
                      <a:pt x="33" y="141"/>
                    </a:lnTo>
                    <a:lnTo>
                      <a:pt x="36" y="149"/>
                    </a:lnTo>
                    <a:lnTo>
                      <a:pt x="36" y="156"/>
                    </a:lnTo>
                    <a:lnTo>
                      <a:pt x="38" y="156"/>
                    </a:lnTo>
                    <a:lnTo>
                      <a:pt x="42" y="161"/>
                    </a:lnTo>
                    <a:lnTo>
                      <a:pt x="45" y="165"/>
                    </a:lnTo>
                    <a:lnTo>
                      <a:pt x="50" y="167"/>
                    </a:lnTo>
                    <a:lnTo>
                      <a:pt x="68" y="167"/>
                    </a:lnTo>
                    <a:lnTo>
                      <a:pt x="71" y="165"/>
                    </a:lnTo>
                    <a:lnTo>
                      <a:pt x="73" y="165"/>
                    </a:lnTo>
                    <a:lnTo>
                      <a:pt x="82" y="163"/>
                    </a:lnTo>
                    <a:lnTo>
                      <a:pt x="83" y="163"/>
                    </a:lnTo>
                    <a:lnTo>
                      <a:pt x="87" y="163"/>
                    </a:lnTo>
                    <a:lnTo>
                      <a:pt x="89" y="160"/>
                    </a:lnTo>
                    <a:lnTo>
                      <a:pt x="92" y="161"/>
                    </a:lnTo>
                    <a:lnTo>
                      <a:pt x="94" y="160"/>
                    </a:lnTo>
                    <a:lnTo>
                      <a:pt x="94" y="160"/>
                    </a:lnTo>
                    <a:lnTo>
                      <a:pt x="94" y="160"/>
                    </a:lnTo>
                    <a:lnTo>
                      <a:pt x="99" y="154"/>
                    </a:lnTo>
                    <a:lnTo>
                      <a:pt x="101" y="149"/>
                    </a:lnTo>
                    <a:lnTo>
                      <a:pt x="101" y="146"/>
                    </a:lnTo>
                    <a:lnTo>
                      <a:pt x="99" y="142"/>
                    </a:lnTo>
                    <a:lnTo>
                      <a:pt x="102" y="141"/>
                    </a:lnTo>
                    <a:lnTo>
                      <a:pt x="102" y="137"/>
                    </a:lnTo>
                    <a:lnTo>
                      <a:pt x="104" y="135"/>
                    </a:lnTo>
                    <a:lnTo>
                      <a:pt x="106" y="132"/>
                    </a:lnTo>
                    <a:lnTo>
                      <a:pt x="109" y="132"/>
                    </a:lnTo>
                    <a:lnTo>
                      <a:pt x="113" y="128"/>
                    </a:lnTo>
                    <a:lnTo>
                      <a:pt x="113" y="125"/>
                    </a:lnTo>
                    <a:lnTo>
                      <a:pt x="115" y="123"/>
                    </a:lnTo>
                    <a:lnTo>
                      <a:pt x="118" y="123"/>
                    </a:lnTo>
                    <a:lnTo>
                      <a:pt x="120" y="120"/>
                    </a:lnTo>
                    <a:lnTo>
                      <a:pt x="120" y="120"/>
                    </a:lnTo>
                    <a:lnTo>
                      <a:pt x="125" y="123"/>
                    </a:lnTo>
                    <a:lnTo>
                      <a:pt x="127" y="123"/>
                    </a:lnTo>
                    <a:lnTo>
                      <a:pt x="129" y="125"/>
                    </a:lnTo>
                    <a:lnTo>
                      <a:pt x="132" y="128"/>
                    </a:lnTo>
                    <a:lnTo>
                      <a:pt x="134" y="128"/>
                    </a:lnTo>
                    <a:lnTo>
                      <a:pt x="137" y="132"/>
                    </a:lnTo>
                    <a:lnTo>
                      <a:pt x="141" y="128"/>
                    </a:lnTo>
                    <a:lnTo>
                      <a:pt x="142" y="125"/>
                    </a:lnTo>
                    <a:lnTo>
                      <a:pt x="142" y="123"/>
                    </a:lnTo>
                    <a:lnTo>
                      <a:pt x="144" y="120"/>
                    </a:lnTo>
                    <a:lnTo>
                      <a:pt x="146" y="120"/>
                    </a:lnTo>
                    <a:lnTo>
                      <a:pt x="149" y="116"/>
                    </a:lnTo>
                    <a:lnTo>
                      <a:pt x="149" y="114"/>
                    </a:lnTo>
                    <a:lnTo>
                      <a:pt x="149" y="109"/>
                    </a:lnTo>
                    <a:lnTo>
                      <a:pt x="156" y="106"/>
                    </a:lnTo>
                    <a:lnTo>
                      <a:pt x="156" y="101"/>
                    </a:lnTo>
                    <a:lnTo>
                      <a:pt x="155" y="101"/>
                    </a:lnTo>
                    <a:lnTo>
                      <a:pt x="156" y="97"/>
                    </a:lnTo>
                    <a:lnTo>
                      <a:pt x="160" y="92"/>
                    </a:lnTo>
                    <a:lnTo>
                      <a:pt x="163" y="90"/>
                    </a:lnTo>
                    <a:lnTo>
                      <a:pt x="163" y="87"/>
                    </a:lnTo>
                    <a:lnTo>
                      <a:pt x="165" y="83"/>
                    </a:lnTo>
                    <a:lnTo>
                      <a:pt x="165" y="78"/>
                    </a:lnTo>
                    <a:lnTo>
                      <a:pt x="167" y="78"/>
                    </a:lnTo>
                    <a:lnTo>
                      <a:pt x="172" y="74"/>
                    </a:lnTo>
                    <a:lnTo>
                      <a:pt x="175" y="73"/>
                    </a:lnTo>
                    <a:lnTo>
                      <a:pt x="175" y="68"/>
                    </a:lnTo>
                    <a:lnTo>
                      <a:pt x="175" y="62"/>
                    </a:lnTo>
                    <a:lnTo>
                      <a:pt x="175" y="61"/>
                    </a:lnTo>
                    <a:lnTo>
                      <a:pt x="177" y="57"/>
                    </a:lnTo>
                    <a:lnTo>
                      <a:pt x="181" y="50"/>
                    </a:lnTo>
                    <a:lnTo>
                      <a:pt x="182" y="50"/>
                    </a:lnTo>
                    <a:lnTo>
                      <a:pt x="182" y="47"/>
                    </a:lnTo>
                    <a:lnTo>
                      <a:pt x="186" y="47"/>
                    </a:lnTo>
                    <a:lnTo>
                      <a:pt x="188" y="47"/>
                    </a:lnTo>
                    <a:lnTo>
                      <a:pt x="189" y="43"/>
                    </a:lnTo>
                    <a:lnTo>
                      <a:pt x="193" y="41"/>
                    </a:lnTo>
                    <a:lnTo>
                      <a:pt x="195" y="40"/>
                    </a:lnTo>
                    <a:lnTo>
                      <a:pt x="193" y="34"/>
                    </a:lnTo>
                    <a:lnTo>
                      <a:pt x="193" y="33"/>
                    </a:lnTo>
                    <a:lnTo>
                      <a:pt x="191" y="29"/>
                    </a:lnTo>
                    <a:lnTo>
                      <a:pt x="188" y="29"/>
                    </a:lnTo>
                    <a:lnTo>
                      <a:pt x="186" y="28"/>
                    </a:lnTo>
                    <a:lnTo>
                      <a:pt x="186" y="22"/>
                    </a:lnTo>
                    <a:lnTo>
                      <a:pt x="186" y="19"/>
                    </a:lnTo>
                    <a:lnTo>
                      <a:pt x="186" y="15"/>
                    </a:lnTo>
                    <a:lnTo>
                      <a:pt x="186" y="15"/>
                    </a:lnTo>
                    <a:lnTo>
                      <a:pt x="186" y="15"/>
                    </a:lnTo>
                    <a:lnTo>
                      <a:pt x="186"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6" name="Freeform 129"/>
              <p:cNvSpPr>
                <a:spLocks/>
              </p:cNvSpPr>
              <p:nvPr/>
            </p:nvSpPr>
            <p:spPr bwMode="auto">
              <a:xfrm>
                <a:off x="4625975" y="4249738"/>
                <a:ext cx="7938" cy="17463"/>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7" name="Freeform 130"/>
              <p:cNvSpPr>
                <a:spLocks/>
              </p:cNvSpPr>
              <p:nvPr/>
            </p:nvSpPr>
            <p:spPr bwMode="auto">
              <a:xfrm>
                <a:off x="4686300" y="3910013"/>
                <a:ext cx="209550" cy="301625"/>
              </a:xfrm>
              <a:custGeom>
                <a:avLst/>
                <a:gdLst/>
                <a:ahLst/>
                <a:cxnLst>
                  <a:cxn ang="0">
                    <a:pos x="5" y="136"/>
                  </a:cxn>
                  <a:cxn ang="0">
                    <a:pos x="5" y="124"/>
                  </a:cxn>
                  <a:cxn ang="0">
                    <a:pos x="10" y="119"/>
                  </a:cxn>
                  <a:cxn ang="0">
                    <a:pos x="21" y="110"/>
                  </a:cxn>
                  <a:cxn ang="0">
                    <a:pos x="24" y="106"/>
                  </a:cxn>
                  <a:cxn ang="0">
                    <a:pos x="31" y="106"/>
                  </a:cxn>
                  <a:cxn ang="0">
                    <a:pos x="38" y="110"/>
                  </a:cxn>
                  <a:cxn ang="0">
                    <a:pos x="49" y="110"/>
                  </a:cxn>
                  <a:cxn ang="0">
                    <a:pos x="52" y="103"/>
                  </a:cxn>
                  <a:cxn ang="0">
                    <a:pos x="57" y="98"/>
                  </a:cxn>
                  <a:cxn ang="0">
                    <a:pos x="63" y="84"/>
                  </a:cxn>
                  <a:cxn ang="0">
                    <a:pos x="68" y="75"/>
                  </a:cxn>
                  <a:cxn ang="0">
                    <a:pos x="73" y="66"/>
                  </a:cxn>
                  <a:cxn ang="0">
                    <a:pos x="80" y="59"/>
                  </a:cxn>
                  <a:cxn ang="0">
                    <a:pos x="82" y="47"/>
                  </a:cxn>
                  <a:cxn ang="0">
                    <a:pos x="89" y="35"/>
                  </a:cxn>
                  <a:cxn ang="0">
                    <a:pos x="94" y="30"/>
                  </a:cxn>
                  <a:cxn ang="0">
                    <a:pos x="101" y="26"/>
                  </a:cxn>
                  <a:cxn ang="0">
                    <a:pos x="101" y="18"/>
                  </a:cxn>
                  <a:cxn ang="0">
                    <a:pos x="94" y="13"/>
                  </a:cxn>
                  <a:cxn ang="0">
                    <a:pos x="94" y="0"/>
                  </a:cxn>
                  <a:cxn ang="0">
                    <a:pos x="106" y="13"/>
                  </a:cxn>
                  <a:cxn ang="0">
                    <a:pos x="111" y="21"/>
                  </a:cxn>
                  <a:cxn ang="0">
                    <a:pos x="110" y="26"/>
                  </a:cxn>
                  <a:cxn ang="0">
                    <a:pos x="108" y="35"/>
                  </a:cxn>
                  <a:cxn ang="0">
                    <a:pos x="115" y="44"/>
                  </a:cxn>
                  <a:cxn ang="0">
                    <a:pos x="122" y="51"/>
                  </a:cxn>
                  <a:cxn ang="0">
                    <a:pos x="115" y="51"/>
                  </a:cxn>
                  <a:cxn ang="0">
                    <a:pos x="106" y="51"/>
                  </a:cxn>
                  <a:cxn ang="0">
                    <a:pos x="99" y="51"/>
                  </a:cxn>
                  <a:cxn ang="0">
                    <a:pos x="94" y="56"/>
                  </a:cxn>
                  <a:cxn ang="0">
                    <a:pos x="97" y="63"/>
                  </a:cxn>
                  <a:cxn ang="0">
                    <a:pos x="108" y="70"/>
                  </a:cxn>
                  <a:cxn ang="0">
                    <a:pos x="118" y="84"/>
                  </a:cxn>
                  <a:cxn ang="0">
                    <a:pos x="118" y="96"/>
                  </a:cxn>
                  <a:cxn ang="0">
                    <a:pos x="111" y="106"/>
                  </a:cxn>
                  <a:cxn ang="0">
                    <a:pos x="104" y="115"/>
                  </a:cxn>
                  <a:cxn ang="0">
                    <a:pos x="104" y="124"/>
                  </a:cxn>
                  <a:cxn ang="0">
                    <a:pos x="106" y="138"/>
                  </a:cxn>
                  <a:cxn ang="0">
                    <a:pos x="113" y="146"/>
                  </a:cxn>
                  <a:cxn ang="0">
                    <a:pos x="122" y="160"/>
                  </a:cxn>
                  <a:cxn ang="0">
                    <a:pos x="130" y="171"/>
                  </a:cxn>
                  <a:cxn ang="0">
                    <a:pos x="130" y="178"/>
                  </a:cxn>
                  <a:cxn ang="0">
                    <a:pos x="130" y="183"/>
                  </a:cxn>
                  <a:cxn ang="0">
                    <a:pos x="129" y="188"/>
                  </a:cxn>
                  <a:cxn ang="0">
                    <a:pos x="127" y="190"/>
                  </a:cxn>
                  <a:cxn ang="0">
                    <a:pos x="122" y="188"/>
                  </a:cxn>
                  <a:cxn ang="0">
                    <a:pos x="115" y="188"/>
                  </a:cxn>
                  <a:cxn ang="0">
                    <a:pos x="111" y="188"/>
                  </a:cxn>
                  <a:cxn ang="0">
                    <a:pos x="106" y="186"/>
                  </a:cxn>
                  <a:cxn ang="0">
                    <a:pos x="103" y="186"/>
                  </a:cxn>
                  <a:cxn ang="0">
                    <a:pos x="77" y="183"/>
                  </a:cxn>
                  <a:cxn ang="0">
                    <a:pos x="70" y="183"/>
                  </a:cxn>
                  <a:cxn ang="0">
                    <a:pos x="64" y="183"/>
                  </a:cxn>
                  <a:cxn ang="0">
                    <a:pos x="57" y="183"/>
                  </a:cxn>
                  <a:cxn ang="0">
                    <a:pos x="49" y="183"/>
                  </a:cxn>
                  <a:cxn ang="0">
                    <a:pos x="47" y="186"/>
                  </a:cxn>
                  <a:cxn ang="0">
                    <a:pos x="21" y="186"/>
                  </a:cxn>
                  <a:cxn ang="0">
                    <a:pos x="21" y="181"/>
                  </a:cxn>
                  <a:cxn ang="0">
                    <a:pos x="17" y="164"/>
                  </a:cxn>
                  <a:cxn ang="0">
                    <a:pos x="17" y="153"/>
                  </a:cxn>
                  <a:cxn ang="0">
                    <a:pos x="7" y="153"/>
                  </a:cxn>
                  <a:cxn ang="0">
                    <a:pos x="0" y="143"/>
                  </a:cxn>
                </a:cxnLst>
                <a:rect l="0" t="0" r="r" b="b"/>
                <a:pathLst>
                  <a:path w="132" h="190">
                    <a:moveTo>
                      <a:pt x="0" y="143"/>
                    </a:moveTo>
                    <a:lnTo>
                      <a:pt x="0" y="141"/>
                    </a:lnTo>
                    <a:lnTo>
                      <a:pt x="5" y="136"/>
                    </a:lnTo>
                    <a:lnTo>
                      <a:pt x="7" y="131"/>
                    </a:lnTo>
                    <a:lnTo>
                      <a:pt x="7" y="127"/>
                    </a:lnTo>
                    <a:lnTo>
                      <a:pt x="5" y="124"/>
                    </a:lnTo>
                    <a:lnTo>
                      <a:pt x="9" y="124"/>
                    </a:lnTo>
                    <a:lnTo>
                      <a:pt x="9" y="120"/>
                    </a:lnTo>
                    <a:lnTo>
                      <a:pt x="10" y="119"/>
                    </a:lnTo>
                    <a:lnTo>
                      <a:pt x="12" y="115"/>
                    </a:lnTo>
                    <a:lnTo>
                      <a:pt x="16" y="113"/>
                    </a:lnTo>
                    <a:lnTo>
                      <a:pt x="21" y="110"/>
                    </a:lnTo>
                    <a:lnTo>
                      <a:pt x="21" y="106"/>
                    </a:lnTo>
                    <a:lnTo>
                      <a:pt x="21" y="106"/>
                    </a:lnTo>
                    <a:lnTo>
                      <a:pt x="24" y="106"/>
                    </a:lnTo>
                    <a:lnTo>
                      <a:pt x="26" y="103"/>
                    </a:lnTo>
                    <a:lnTo>
                      <a:pt x="26" y="103"/>
                    </a:lnTo>
                    <a:lnTo>
                      <a:pt x="31" y="106"/>
                    </a:lnTo>
                    <a:lnTo>
                      <a:pt x="33" y="106"/>
                    </a:lnTo>
                    <a:lnTo>
                      <a:pt x="37" y="106"/>
                    </a:lnTo>
                    <a:lnTo>
                      <a:pt x="38" y="110"/>
                    </a:lnTo>
                    <a:lnTo>
                      <a:pt x="42" y="112"/>
                    </a:lnTo>
                    <a:lnTo>
                      <a:pt x="43" y="113"/>
                    </a:lnTo>
                    <a:lnTo>
                      <a:pt x="49" y="110"/>
                    </a:lnTo>
                    <a:lnTo>
                      <a:pt x="49" y="106"/>
                    </a:lnTo>
                    <a:lnTo>
                      <a:pt x="49" y="106"/>
                    </a:lnTo>
                    <a:lnTo>
                      <a:pt x="52" y="103"/>
                    </a:lnTo>
                    <a:lnTo>
                      <a:pt x="54" y="103"/>
                    </a:lnTo>
                    <a:lnTo>
                      <a:pt x="57" y="99"/>
                    </a:lnTo>
                    <a:lnTo>
                      <a:pt x="57" y="98"/>
                    </a:lnTo>
                    <a:lnTo>
                      <a:pt x="57" y="92"/>
                    </a:lnTo>
                    <a:lnTo>
                      <a:pt x="63" y="87"/>
                    </a:lnTo>
                    <a:lnTo>
                      <a:pt x="63" y="84"/>
                    </a:lnTo>
                    <a:lnTo>
                      <a:pt x="61" y="84"/>
                    </a:lnTo>
                    <a:lnTo>
                      <a:pt x="63" y="80"/>
                    </a:lnTo>
                    <a:lnTo>
                      <a:pt x="68" y="75"/>
                    </a:lnTo>
                    <a:lnTo>
                      <a:pt x="71" y="73"/>
                    </a:lnTo>
                    <a:lnTo>
                      <a:pt x="71" y="70"/>
                    </a:lnTo>
                    <a:lnTo>
                      <a:pt x="73" y="66"/>
                    </a:lnTo>
                    <a:lnTo>
                      <a:pt x="73" y="63"/>
                    </a:lnTo>
                    <a:lnTo>
                      <a:pt x="75" y="61"/>
                    </a:lnTo>
                    <a:lnTo>
                      <a:pt x="80" y="59"/>
                    </a:lnTo>
                    <a:lnTo>
                      <a:pt x="82" y="56"/>
                    </a:lnTo>
                    <a:lnTo>
                      <a:pt x="82" y="51"/>
                    </a:lnTo>
                    <a:lnTo>
                      <a:pt x="82" y="47"/>
                    </a:lnTo>
                    <a:lnTo>
                      <a:pt x="82" y="44"/>
                    </a:lnTo>
                    <a:lnTo>
                      <a:pt x="85" y="40"/>
                    </a:lnTo>
                    <a:lnTo>
                      <a:pt x="89" y="35"/>
                    </a:lnTo>
                    <a:lnTo>
                      <a:pt x="90" y="33"/>
                    </a:lnTo>
                    <a:lnTo>
                      <a:pt x="90" y="32"/>
                    </a:lnTo>
                    <a:lnTo>
                      <a:pt x="94" y="30"/>
                    </a:lnTo>
                    <a:lnTo>
                      <a:pt x="96" y="30"/>
                    </a:lnTo>
                    <a:lnTo>
                      <a:pt x="97" y="26"/>
                    </a:lnTo>
                    <a:lnTo>
                      <a:pt x="101" y="26"/>
                    </a:lnTo>
                    <a:lnTo>
                      <a:pt x="103" y="25"/>
                    </a:lnTo>
                    <a:lnTo>
                      <a:pt x="101" y="19"/>
                    </a:lnTo>
                    <a:lnTo>
                      <a:pt x="101" y="18"/>
                    </a:lnTo>
                    <a:lnTo>
                      <a:pt x="99" y="14"/>
                    </a:lnTo>
                    <a:lnTo>
                      <a:pt x="96" y="14"/>
                    </a:lnTo>
                    <a:lnTo>
                      <a:pt x="94" y="13"/>
                    </a:lnTo>
                    <a:lnTo>
                      <a:pt x="94" y="7"/>
                    </a:lnTo>
                    <a:lnTo>
                      <a:pt x="94" y="4"/>
                    </a:lnTo>
                    <a:lnTo>
                      <a:pt x="94" y="0"/>
                    </a:lnTo>
                    <a:lnTo>
                      <a:pt x="101" y="4"/>
                    </a:lnTo>
                    <a:lnTo>
                      <a:pt x="106" y="7"/>
                    </a:lnTo>
                    <a:lnTo>
                      <a:pt x="106" y="13"/>
                    </a:lnTo>
                    <a:lnTo>
                      <a:pt x="108" y="13"/>
                    </a:lnTo>
                    <a:lnTo>
                      <a:pt x="110" y="16"/>
                    </a:lnTo>
                    <a:lnTo>
                      <a:pt x="111" y="21"/>
                    </a:lnTo>
                    <a:lnTo>
                      <a:pt x="111" y="25"/>
                    </a:lnTo>
                    <a:lnTo>
                      <a:pt x="110" y="26"/>
                    </a:lnTo>
                    <a:lnTo>
                      <a:pt x="110" y="26"/>
                    </a:lnTo>
                    <a:lnTo>
                      <a:pt x="111" y="30"/>
                    </a:lnTo>
                    <a:lnTo>
                      <a:pt x="111" y="33"/>
                    </a:lnTo>
                    <a:lnTo>
                      <a:pt x="108" y="35"/>
                    </a:lnTo>
                    <a:lnTo>
                      <a:pt x="108" y="39"/>
                    </a:lnTo>
                    <a:lnTo>
                      <a:pt x="111" y="44"/>
                    </a:lnTo>
                    <a:lnTo>
                      <a:pt x="115" y="44"/>
                    </a:lnTo>
                    <a:lnTo>
                      <a:pt x="116" y="47"/>
                    </a:lnTo>
                    <a:lnTo>
                      <a:pt x="118" y="51"/>
                    </a:lnTo>
                    <a:lnTo>
                      <a:pt x="122" y="51"/>
                    </a:lnTo>
                    <a:lnTo>
                      <a:pt x="118" y="53"/>
                    </a:lnTo>
                    <a:lnTo>
                      <a:pt x="118" y="53"/>
                    </a:lnTo>
                    <a:lnTo>
                      <a:pt x="115" y="51"/>
                    </a:lnTo>
                    <a:lnTo>
                      <a:pt x="111" y="51"/>
                    </a:lnTo>
                    <a:lnTo>
                      <a:pt x="110" y="51"/>
                    </a:lnTo>
                    <a:lnTo>
                      <a:pt x="106" y="51"/>
                    </a:lnTo>
                    <a:lnTo>
                      <a:pt x="103" y="51"/>
                    </a:lnTo>
                    <a:lnTo>
                      <a:pt x="101" y="51"/>
                    </a:lnTo>
                    <a:lnTo>
                      <a:pt x="99" y="51"/>
                    </a:lnTo>
                    <a:lnTo>
                      <a:pt x="96" y="51"/>
                    </a:lnTo>
                    <a:lnTo>
                      <a:pt x="96" y="54"/>
                    </a:lnTo>
                    <a:lnTo>
                      <a:pt x="94" y="56"/>
                    </a:lnTo>
                    <a:lnTo>
                      <a:pt x="94" y="59"/>
                    </a:lnTo>
                    <a:lnTo>
                      <a:pt x="96" y="61"/>
                    </a:lnTo>
                    <a:lnTo>
                      <a:pt x="97" y="63"/>
                    </a:lnTo>
                    <a:lnTo>
                      <a:pt x="97" y="63"/>
                    </a:lnTo>
                    <a:lnTo>
                      <a:pt x="101" y="63"/>
                    </a:lnTo>
                    <a:lnTo>
                      <a:pt x="108" y="70"/>
                    </a:lnTo>
                    <a:lnTo>
                      <a:pt x="113" y="77"/>
                    </a:lnTo>
                    <a:lnTo>
                      <a:pt x="116" y="79"/>
                    </a:lnTo>
                    <a:lnTo>
                      <a:pt x="118" y="84"/>
                    </a:lnTo>
                    <a:lnTo>
                      <a:pt x="122" y="87"/>
                    </a:lnTo>
                    <a:lnTo>
                      <a:pt x="122" y="91"/>
                    </a:lnTo>
                    <a:lnTo>
                      <a:pt x="118" y="96"/>
                    </a:lnTo>
                    <a:lnTo>
                      <a:pt x="116" y="96"/>
                    </a:lnTo>
                    <a:lnTo>
                      <a:pt x="115" y="101"/>
                    </a:lnTo>
                    <a:lnTo>
                      <a:pt x="111" y="106"/>
                    </a:lnTo>
                    <a:lnTo>
                      <a:pt x="110" y="110"/>
                    </a:lnTo>
                    <a:lnTo>
                      <a:pt x="106" y="115"/>
                    </a:lnTo>
                    <a:lnTo>
                      <a:pt x="104" y="115"/>
                    </a:lnTo>
                    <a:lnTo>
                      <a:pt x="103" y="117"/>
                    </a:lnTo>
                    <a:lnTo>
                      <a:pt x="103" y="120"/>
                    </a:lnTo>
                    <a:lnTo>
                      <a:pt x="104" y="124"/>
                    </a:lnTo>
                    <a:lnTo>
                      <a:pt x="104" y="129"/>
                    </a:lnTo>
                    <a:lnTo>
                      <a:pt x="104" y="134"/>
                    </a:lnTo>
                    <a:lnTo>
                      <a:pt x="106" y="138"/>
                    </a:lnTo>
                    <a:lnTo>
                      <a:pt x="106" y="143"/>
                    </a:lnTo>
                    <a:lnTo>
                      <a:pt x="108" y="146"/>
                    </a:lnTo>
                    <a:lnTo>
                      <a:pt x="113" y="146"/>
                    </a:lnTo>
                    <a:lnTo>
                      <a:pt x="115" y="152"/>
                    </a:lnTo>
                    <a:lnTo>
                      <a:pt x="116" y="155"/>
                    </a:lnTo>
                    <a:lnTo>
                      <a:pt x="122" y="160"/>
                    </a:lnTo>
                    <a:lnTo>
                      <a:pt x="122" y="166"/>
                    </a:lnTo>
                    <a:lnTo>
                      <a:pt x="123" y="167"/>
                    </a:lnTo>
                    <a:lnTo>
                      <a:pt x="130" y="171"/>
                    </a:lnTo>
                    <a:lnTo>
                      <a:pt x="130" y="176"/>
                    </a:lnTo>
                    <a:lnTo>
                      <a:pt x="130" y="178"/>
                    </a:lnTo>
                    <a:lnTo>
                      <a:pt x="130" y="178"/>
                    </a:lnTo>
                    <a:lnTo>
                      <a:pt x="132" y="178"/>
                    </a:lnTo>
                    <a:lnTo>
                      <a:pt x="130" y="181"/>
                    </a:lnTo>
                    <a:lnTo>
                      <a:pt x="130" y="183"/>
                    </a:lnTo>
                    <a:lnTo>
                      <a:pt x="129" y="186"/>
                    </a:lnTo>
                    <a:lnTo>
                      <a:pt x="127" y="186"/>
                    </a:lnTo>
                    <a:lnTo>
                      <a:pt x="129" y="188"/>
                    </a:lnTo>
                    <a:lnTo>
                      <a:pt x="129" y="190"/>
                    </a:lnTo>
                    <a:lnTo>
                      <a:pt x="127" y="190"/>
                    </a:lnTo>
                    <a:lnTo>
                      <a:pt x="127" y="190"/>
                    </a:lnTo>
                    <a:lnTo>
                      <a:pt x="127" y="190"/>
                    </a:lnTo>
                    <a:lnTo>
                      <a:pt x="123" y="190"/>
                    </a:lnTo>
                    <a:lnTo>
                      <a:pt x="122" y="188"/>
                    </a:lnTo>
                    <a:lnTo>
                      <a:pt x="118" y="188"/>
                    </a:lnTo>
                    <a:lnTo>
                      <a:pt x="118" y="190"/>
                    </a:lnTo>
                    <a:lnTo>
                      <a:pt x="115" y="188"/>
                    </a:lnTo>
                    <a:lnTo>
                      <a:pt x="113" y="186"/>
                    </a:lnTo>
                    <a:lnTo>
                      <a:pt x="113" y="188"/>
                    </a:lnTo>
                    <a:lnTo>
                      <a:pt x="111" y="188"/>
                    </a:lnTo>
                    <a:lnTo>
                      <a:pt x="110" y="186"/>
                    </a:lnTo>
                    <a:lnTo>
                      <a:pt x="108" y="186"/>
                    </a:lnTo>
                    <a:lnTo>
                      <a:pt x="106" y="186"/>
                    </a:lnTo>
                    <a:lnTo>
                      <a:pt x="104" y="186"/>
                    </a:lnTo>
                    <a:lnTo>
                      <a:pt x="103" y="186"/>
                    </a:lnTo>
                    <a:lnTo>
                      <a:pt x="103" y="186"/>
                    </a:lnTo>
                    <a:lnTo>
                      <a:pt x="99" y="186"/>
                    </a:lnTo>
                    <a:lnTo>
                      <a:pt x="78" y="186"/>
                    </a:lnTo>
                    <a:lnTo>
                      <a:pt x="77" y="183"/>
                    </a:lnTo>
                    <a:lnTo>
                      <a:pt x="77" y="183"/>
                    </a:lnTo>
                    <a:lnTo>
                      <a:pt x="75" y="183"/>
                    </a:lnTo>
                    <a:lnTo>
                      <a:pt x="70" y="183"/>
                    </a:lnTo>
                    <a:lnTo>
                      <a:pt x="70" y="183"/>
                    </a:lnTo>
                    <a:lnTo>
                      <a:pt x="68" y="183"/>
                    </a:lnTo>
                    <a:lnTo>
                      <a:pt x="64" y="183"/>
                    </a:lnTo>
                    <a:lnTo>
                      <a:pt x="63" y="183"/>
                    </a:lnTo>
                    <a:lnTo>
                      <a:pt x="57" y="183"/>
                    </a:lnTo>
                    <a:lnTo>
                      <a:pt x="57" y="183"/>
                    </a:lnTo>
                    <a:lnTo>
                      <a:pt x="52" y="183"/>
                    </a:lnTo>
                    <a:lnTo>
                      <a:pt x="49" y="183"/>
                    </a:lnTo>
                    <a:lnTo>
                      <a:pt x="49" y="183"/>
                    </a:lnTo>
                    <a:lnTo>
                      <a:pt x="47" y="186"/>
                    </a:lnTo>
                    <a:lnTo>
                      <a:pt x="47" y="186"/>
                    </a:lnTo>
                    <a:lnTo>
                      <a:pt x="47" y="186"/>
                    </a:lnTo>
                    <a:lnTo>
                      <a:pt x="24" y="186"/>
                    </a:lnTo>
                    <a:lnTo>
                      <a:pt x="24" y="186"/>
                    </a:lnTo>
                    <a:lnTo>
                      <a:pt x="21" y="186"/>
                    </a:lnTo>
                    <a:lnTo>
                      <a:pt x="21" y="186"/>
                    </a:lnTo>
                    <a:lnTo>
                      <a:pt x="24" y="183"/>
                    </a:lnTo>
                    <a:lnTo>
                      <a:pt x="21" y="181"/>
                    </a:lnTo>
                    <a:lnTo>
                      <a:pt x="21" y="174"/>
                    </a:lnTo>
                    <a:lnTo>
                      <a:pt x="21" y="167"/>
                    </a:lnTo>
                    <a:lnTo>
                      <a:pt x="17" y="164"/>
                    </a:lnTo>
                    <a:lnTo>
                      <a:pt x="17" y="159"/>
                    </a:lnTo>
                    <a:lnTo>
                      <a:pt x="21" y="157"/>
                    </a:lnTo>
                    <a:lnTo>
                      <a:pt x="17" y="153"/>
                    </a:lnTo>
                    <a:lnTo>
                      <a:pt x="12" y="155"/>
                    </a:lnTo>
                    <a:lnTo>
                      <a:pt x="10" y="153"/>
                    </a:lnTo>
                    <a:lnTo>
                      <a:pt x="7" y="153"/>
                    </a:lnTo>
                    <a:lnTo>
                      <a:pt x="5" y="143"/>
                    </a:lnTo>
                    <a:lnTo>
                      <a:pt x="2" y="143"/>
                    </a:lnTo>
                    <a:lnTo>
                      <a:pt x="0" y="143"/>
                    </a:lnTo>
                    <a:lnTo>
                      <a:pt x="0" y="143"/>
                    </a:lnTo>
                    <a:lnTo>
                      <a:pt x="0" y="14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8" name="Freeform 131"/>
              <p:cNvSpPr>
                <a:spLocks/>
              </p:cNvSpPr>
              <p:nvPr/>
            </p:nvSpPr>
            <p:spPr bwMode="auto">
              <a:xfrm>
                <a:off x="4694238" y="4203701"/>
                <a:ext cx="146050"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9" name="Freeform 132"/>
              <p:cNvSpPr>
                <a:spLocks/>
              </p:cNvSpPr>
              <p:nvPr/>
            </p:nvSpPr>
            <p:spPr bwMode="auto">
              <a:xfrm>
                <a:off x="4694238" y="4203701"/>
                <a:ext cx="146050" cy="169863"/>
              </a:xfrm>
              <a:custGeom>
                <a:avLst/>
                <a:gdLst/>
                <a:ahLst/>
                <a:cxnLst>
                  <a:cxn ang="0">
                    <a:pos x="44" y="3"/>
                  </a:cxn>
                  <a:cxn ang="0">
                    <a:pos x="45" y="0"/>
                  </a:cxn>
                  <a:cxn ang="0">
                    <a:pos x="52" y="0"/>
                  </a:cxn>
                  <a:cxn ang="0">
                    <a:pos x="58" y="0"/>
                  </a:cxn>
                  <a:cxn ang="0">
                    <a:pos x="63" y="0"/>
                  </a:cxn>
                  <a:cxn ang="0">
                    <a:pos x="65" y="0"/>
                  </a:cxn>
                  <a:cxn ang="0">
                    <a:pos x="72" y="0"/>
                  </a:cxn>
                  <a:cxn ang="0">
                    <a:pos x="72" y="3"/>
                  </a:cxn>
                  <a:cxn ang="0">
                    <a:pos x="72" y="5"/>
                  </a:cxn>
                  <a:cxn ang="0">
                    <a:pos x="72" y="14"/>
                  </a:cxn>
                  <a:cxn ang="0">
                    <a:pos x="72" y="19"/>
                  </a:cxn>
                  <a:cxn ang="0">
                    <a:pos x="77" y="17"/>
                  </a:cxn>
                  <a:cxn ang="0">
                    <a:pos x="84" y="17"/>
                  </a:cxn>
                  <a:cxn ang="0">
                    <a:pos x="92" y="15"/>
                  </a:cxn>
                  <a:cxn ang="0">
                    <a:pos x="92" y="22"/>
                  </a:cxn>
                  <a:cxn ang="0">
                    <a:pos x="92" y="27"/>
                  </a:cxn>
                  <a:cxn ang="0">
                    <a:pos x="89" y="31"/>
                  </a:cxn>
                  <a:cxn ang="0">
                    <a:pos x="87" y="36"/>
                  </a:cxn>
                  <a:cxn ang="0">
                    <a:pos x="89" y="40"/>
                  </a:cxn>
                  <a:cxn ang="0">
                    <a:pos x="87" y="40"/>
                  </a:cxn>
                  <a:cxn ang="0">
                    <a:pos x="84" y="41"/>
                  </a:cxn>
                  <a:cxn ang="0">
                    <a:pos x="87" y="43"/>
                  </a:cxn>
                  <a:cxn ang="0">
                    <a:pos x="89" y="47"/>
                  </a:cxn>
                  <a:cxn ang="0">
                    <a:pos x="92" y="52"/>
                  </a:cxn>
                  <a:cxn ang="0">
                    <a:pos x="92" y="57"/>
                  </a:cxn>
                  <a:cxn ang="0">
                    <a:pos x="89" y="76"/>
                  </a:cxn>
                  <a:cxn ang="0">
                    <a:pos x="89" y="81"/>
                  </a:cxn>
                  <a:cxn ang="0">
                    <a:pos x="85" y="80"/>
                  </a:cxn>
                  <a:cxn ang="0">
                    <a:pos x="78" y="78"/>
                  </a:cxn>
                  <a:cxn ang="0">
                    <a:pos x="75" y="80"/>
                  </a:cxn>
                  <a:cxn ang="0">
                    <a:pos x="70" y="78"/>
                  </a:cxn>
                  <a:cxn ang="0">
                    <a:pos x="63" y="69"/>
                  </a:cxn>
                  <a:cxn ang="0">
                    <a:pos x="61" y="76"/>
                  </a:cxn>
                  <a:cxn ang="0">
                    <a:pos x="54" y="80"/>
                  </a:cxn>
                  <a:cxn ang="0">
                    <a:pos x="52" y="81"/>
                  </a:cxn>
                  <a:cxn ang="0">
                    <a:pos x="47" y="81"/>
                  </a:cxn>
                  <a:cxn ang="0">
                    <a:pos x="44" y="83"/>
                  </a:cxn>
                  <a:cxn ang="0">
                    <a:pos x="44" y="90"/>
                  </a:cxn>
                  <a:cxn ang="0">
                    <a:pos x="49" y="87"/>
                  </a:cxn>
                  <a:cxn ang="0">
                    <a:pos x="52" y="90"/>
                  </a:cxn>
                  <a:cxn ang="0">
                    <a:pos x="52" y="102"/>
                  </a:cxn>
                  <a:cxn ang="0">
                    <a:pos x="47" y="99"/>
                  </a:cxn>
                  <a:cxn ang="0">
                    <a:pos x="44" y="101"/>
                  </a:cxn>
                  <a:cxn ang="0">
                    <a:pos x="40" y="104"/>
                  </a:cxn>
                  <a:cxn ang="0">
                    <a:pos x="37" y="106"/>
                  </a:cxn>
                  <a:cxn ang="0">
                    <a:pos x="35" y="102"/>
                  </a:cxn>
                  <a:cxn ang="0">
                    <a:pos x="28" y="95"/>
                  </a:cxn>
                  <a:cxn ang="0">
                    <a:pos x="16" y="85"/>
                  </a:cxn>
                  <a:cxn ang="0">
                    <a:pos x="14" y="80"/>
                  </a:cxn>
                  <a:cxn ang="0">
                    <a:pos x="9" y="73"/>
                  </a:cxn>
                  <a:cxn ang="0">
                    <a:pos x="5" y="64"/>
                  </a:cxn>
                  <a:cxn ang="0">
                    <a:pos x="4" y="59"/>
                  </a:cxn>
                  <a:cxn ang="0">
                    <a:pos x="0" y="50"/>
                  </a:cxn>
                  <a:cxn ang="0">
                    <a:pos x="7" y="48"/>
                  </a:cxn>
                  <a:cxn ang="0">
                    <a:pos x="9" y="36"/>
                  </a:cxn>
                  <a:cxn ang="0">
                    <a:pos x="18" y="36"/>
                  </a:cxn>
                  <a:cxn ang="0">
                    <a:pos x="11" y="27"/>
                  </a:cxn>
                  <a:cxn ang="0">
                    <a:pos x="14" y="24"/>
                  </a:cxn>
                  <a:cxn ang="0">
                    <a:pos x="16" y="22"/>
                  </a:cxn>
                  <a:cxn ang="0">
                    <a:pos x="19" y="22"/>
                  </a:cxn>
                  <a:cxn ang="0">
                    <a:pos x="44" y="3"/>
                  </a:cxn>
                  <a:cxn ang="0">
                    <a:pos x="44" y="3"/>
                  </a:cxn>
                </a:cxnLst>
                <a:rect l="0" t="0" r="r" b="b"/>
                <a:pathLst>
                  <a:path w="92" h="107">
                    <a:moveTo>
                      <a:pt x="44" y="3"/>
                    </a:moveTo>
                    <a:lnTo>
                      <a:pt x="44" y="3"/>
                    </a:lnTo>
                    <a:lnTo>
                      <a:pt x="44" y="0"/>
                    </a:lnTo>
                    <a:lnTo>
                      <a:pt x="45" y="0"/>
                    </a:lnTo>
                    <a:lnTo>
                      <a:pt x="47" y="0"/>
                    </a:lnTo>
                    <a:lnTo>
                      <a:pt x="52" y="0"/>
                    </a:lnTo>
                    <a:lnTo>
                      <a:pt x="54" y="0"/>
                    </a:lnTo>
                    <a:lnTo>
                      <a:pt x="58" y="0"/>
                    </a:lnTo>
                    <a:lnTo>
                      <a:pt x="59" y="0"/>
                    </a:lnTo>
                    <a:lnTo>
                      <a:pt x="63" y="0"/>
                    </a:lnTo>
                    <a:lnTo>
                      <a:pt x="65" y="0"/>
                    </a:lnTo>
                    <a:lnTo>
                      <a:pt x="65" y="0"/>
                    </a:lnTo>
                    <a:lnTo>
                      <a:pt x="70" y="0"/>
                    </a:lnTo>
                    <a:lnTo>
                      <a:pt x="72" y="0"/>
                    </a:lnTo>
                    <a:lnTo>
                      <a:pt x="72" y="0"/>
                    </a:lnTo>
                    <a:lnTo>
                      <a:pt x="72" y="3"/>
                    </a:lnTo>
                    <a:lnTo>
                      <a:pt x="72" y="3"/>
                    </a:lnTo>
                    <a:lnTo>
                      <a:pt x="72" y="5"/>
                    </a:lnTo>
                    <a:lnTo>
                      <a:pt x="72" y="8"/>
                    </a:lnTo>
                    <a:lnTo>
                      <a:pt x="72" y="14"/>
                    </a:lnTo>
                    <a:lnTo>
                      <a:pt x="72" y="15"/>
                    </a:lnTo>
                    <a:lnTo>
                      <a:pt x="72" y="19"/>
                    </a:lnTo>
                    <a:lnTo>
                      <a:pt x="75" y="19"/>
                    </a:lnTo>
                    <a:lnTo>
                      <a:pt x="77" y="17"/>
                    </a:lnTo>
                    <a:lnTo>
                      <a:pt x="78" y="19"/>
                    </a:lnTo>
                    <a:lnTo>
                      <a:pt x="84" y="17"/>
                    </a:lnTo>
                    <a:lnTo>
                      <a:pt x="87" y="15"/>
                    </a:lnTo>
                    <a:lnTo>
                      <a:pt x="92" y="15"/>
                    </a:lnTo>
                    <a:lnTo>
                      <a:pt x="92" y="17"/>
                    </a:lnTo>
                    <a:lnTo>
                      <a:pt x="92" y="22"/>
                    </a:lnTo>
                    <a:lnTo>
                      <a:pt x="92" y="26"/>
                    </a:lnTo>
                    <a:lnTo>
                      <a:pt x="92" y="27"/>
                    </a:lnTo>
                    <a:lnTo>
                      <a:pt x="92" y="31"/>
                    </a:lnTo>
                    <a:lnTo>
                      <a:pt x="89" y="31"/>
                    </a:lnTo>
                    <a:lnTo>
                      <a:pt x="87" y="31"/>
                    </a:lnTo>
                    <a:lnTo>
                      <a:pt x="87" y="36"/>
                    </a:lnTo>
                    <a:lnTo>
                      <a:pt x="87" y="36"/>
                    </a:lnTo>
                    <a:lnTo>
                      <a:pt x="89" y="40"/>
                    </a:lnTo>
                    <a:lnTo>
                      <a:pt x="87" y="40"/>
                    </a:lnTo>
                    <a:lnTo>
                      <a:pt x="87" y="40"/>
                    </a:lnTo>
                    <a:lnTo>
                      <a:pt x="84" y="40"/>
                    </a:lnTo>
                    <a:lnTo>
                      <a:pt x="84" y="41"/>
                    </a:lnTo>
                    <a:lnTo>
                      <a:pt x="85" y="43"/>
                    </a:lnTo>
                    <a:lnTo>
                      <a:pt x="87" y="43"/>
                    </a:lnTo>
                    <a:lnTo>
                      <a:pt x="89" y="45"/>
                    </a:lnTo>
                    <a:lnTo>
                      <a:pt x="89" y="47"/>
                    </a:lnTo>
                    <a:lnTo>
                      <a:pt x="92" y="48"/>
                    </a:lnTo>
                    <a:lnTo>
                      <a:pt x="92" y="52"/>
                    </a:lnTo>
                    <a:lnTo>
                      <a:pt x="92" y="54"/>
                    </a:lnTo>
                    <a:lnTo>
                      <a:pt x="92" y="57"/>
                    </a:lnTo>
                    <a:lnTo>
                      <a:pt x="92" y="64"/>
                    </a:lnTo>
                    <a:lnTo>
                      <a:pt x="89" y="76"/>
                    </a:lnTo>
                    <a:lnTo>
                      <a:pt x="89" y="78"/>
                    </a:lnTo>
                    <a:lnTo>
                      <a:pt x="89" y="81"/>
                    </a:lnTo>
                    <a:lnTo>
                      <a:pt x="87" y="81"/>
                    </a:lnTo>
                    <a:lnTo>
                      <a:pt x="85" y="80"/>
                    </a:lnTo>
                    <a:lnTo>
                      <a:pt x="82" y="78"/>
                    </a:lnTo>
                    <a:lnTo>
                      <a:pt x="78" y="78"/>
                    </a:lnTo>
                    <a:lnTo>
                      <a:pt x="77" y="80"/>
                    </a:lnTo>
                    <a:lnTo>
                      <a:pt x="75" y="80"/>
                    </a:lnTo>
                    <a:lnTo>
                      <a:pt x="72" y="80"/>
                    </a:lnTo>
                    <a:lnTo>
                      <a:pt x="70" y="78"/>
                    </a:lnTo>
                    <a:lnTo>
                      <a:pt x="66" y="69"/>
                    </a:lnTo>
                    <a:lnTo>
                      <a:pt x="63" y="69"/>
                    </a:lnTo>
                    <a:lnTo>
                      <a:pt x="61" y="71"/>
                    </a:lnTo>
                    <a:lnTo>
                      <a:pt x="61" y="76"/>
                    </a:lnTo>
                    <a:lnTo>
                      <a:pt x="61" y="80"/>
                    </a:lnTo>
                    <a:lnTo>
                      <a:pt x="54" y="80"/>
                    </a:lnTo>
                    <a:lnTo>
                      <a:pt x="54" y="80"/>
                    </a:lnTo>
                    <a:lnTo>
                      <a:pt x="52" y="81"/>
                    </a:lnTo>
                    <a:lnTo>
                      <a:pt x="51" y="83"/>
                    </a:lnTo>
                    <a:lnTo>
                      <a:pt x="47" y="81"/>
                    </a:lnTo>
                    <a:lnTo>
                      <a:pt x="44" y="81"/>
                    </a:lnTo>
                    <a:lnTo>
                      <a:pt x="44" y="83"/>
                    </a:lnTo>
                    <a:lnTo>
                      <a:pt x="44" y="85"/>
                    </a:lnTo>
                    <a:lnTo>
                      <a:pt x="44" y="90"/>
                    </a:lnTo>
                    <a:lnTo>
                      <a:pt x="45" y="87"/>
                    </a:lnTo>
                    <a:lnTo>
                      <a:pt x="49" y="87"/>
                    </a:lnTo>
                    <a:lnTo>
                      <a:pt x="51" y="87"/>
                    </a:lnTo>
                    <a:lnTo>
                      <a:pt x="52" y="90"/>
                    </a:lnTo>
                    <a:lnTo>
                      <a:pt x="54" y="99"/>
                    </a:lnTo>
                    <a:lnTo>
                      <a:pt x="52" y="102"/>
                    </a:lnTo>
                    <a:lnTo>
                      <a:pt x="49" y="99"/>
                    </a:lnTo>
                    <a:lnTo>
                      <a:pt x="47" y="99"/>
                    </a:lnTo>
                    <a:lnTo>
                      <a:pt x="45" y="101"/>
                    </a:lnTo>
                    <a:lnTo>
                      <a:pt x="44" y="101"/>
                    </a:lnTo>
                    <a:lnTo>
                      <a:pt x="40" y="101"/>
                    </a:lnTo>
                    <a:lnTo>
                      <a:pt x="40" y="104"/>
                    </a:lnTo>
                    <a:lnTo>
                      <a:pt x="37" y="107"/>
                    </a:lnTo>
                    <a:lnTo>
                      <a:pt x="37" y="106"/>
                    </a:lnTo>
                    <a:lnTo>
                      <a:pt x="35" y="106"/>
                    </a:lnTo>
                    <a:lnTo>
                      <a:pt x="35" y="102"/>
                    </a:lnTo>
                    <a:lnTo>
                      <a:pt x="28" y="99"/>
                    </a:lnTo>
                    <a:lnTo>
                      <a:pt x="28" y="95"/>
                    </a:lnTo>
                    <a:lnTo>
                      <a:pt x="19" y="90"/>
                    </a:lnTo>
                    <a:lnTo>
                      <a:pt x="16" y="85"/>
                    </a:lnTo>
                    <a:lnTo>
                      <a:pt x="16" y="83"/>
                    </a:lnTo>
                    <a:lnTo>
                      <a:pt x="14" y="80"/>
                    </a:lnTo>
                    <a:lnTo>
                      <a:pt x="11" y="76"/>
                    </a:lnTo>
                    <a:lnTo>
                      <a:pt x="9" y="73"/>
                    </a:lnTo>
                    <a:lnTo>
                      <a:pt x="9" y="67"/>
                    </a:lnTo>
                    <a:lnTo>
                      <a:pt x="5" y="64"/>
                    </a:lnTo>
                    <a:lnTo>
                      <a:pt x="5" y="62"/>
                    </a:lnTo>
                    <a:lnTo>
                      <a:pt x="4" y="59"/>
                    </a:lnTo>
                    <a:lnTo>
                      <a:pt x="0" y="52"/>
                    </a:lnTo>
                    <a:lnTo>
                      <a:pt x="0" y="50"/>
                    </a:lnTo>
                    <a:lnTo>
                      <a:pt x="4" y="52"/>
                    </a:lnTo>
                    <a:lnTo>
                      <a:pt x="7" y="48"/>
                    </a:lnTo>
                    <a:lnTo>
                      <a:pt x="9" y="40"/>
                    </a:lnTo>
                    <a:lnTo>
                      <a:pt x="9" y="36"/>
                    </a:lnTo>
                    <a:lnTo>
                      <a:pt x="11" y="36"/>
                    </a:lnTo>
                    <a:lnTo>
                      <a:pt x="18" y="36"/>
                    </a:lnTo>
                    <a:lnTo>
                      <a:pt x="14" y="34"/>
                    </a:lnTo>
                    <a:lnTo>
                      <a:pt x="11" y="27"/>
                    </a:lnTo>
                    <a:lnTo>
                      <a:pt x="14" y="27"/>
                    </a:lnTo>
                    <a:lnTo>
                      <a:pt x="14" y="24"/>
                    </a:lnTo>
                    <a:lnTo>
                      <a:pt x="14" y="24"/>
                    </a:lnTo>
                    <a:lnTo>
                      <a:pt x="16" y="22"/>
                    </a:lnTo>
                    <a:lnTo>
                      <a:pt x="19" y="22"/>
                    </a:lnTo>
                    <a:lnTo>
                      <a:pt x="19" y="22"/>
                    </a:lnTo>
                    <a:lnTo>
                      <a:pt x="44" y="24"/>
                    </a:lnTo>
                    <a:lnTo>
                      <a:pt x="44" y="3"/>
                    </a:lnTo>
                    <a:lnTo>
                      <a:pt x="44" y="3"/>
                    </a:lnTo>
                    <a:lnTo>
                      <a:pt x="44"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0" name="Freeform 133"/>
              <p:cNvSpPr>
                <a:spLocks/>
              </p:cNvSpPr>
              <p:nvPr/>
            </p:nvSpPr>
            <p:spPr bwMode="auto">
              <a:xfrm>
                <a:off x="4702175" y="4203701"/>
                <a:ext cx="61913"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1" name="Freeform 134"/>
              <p:cNvSpPr>
                <a:spLocks/>
              </p:cNvSpPr>
              <p:nvPr/>
            </p:nvSpPr>
            <p:spPr bwMode="auto">
              <a:xfrm>
                <a:off x="4702175" y="4203701"/>
                <a:ext cx="61913" cy="38100"/>
              </a:xfrm>
              <a:custGeom>
                <a:avLst/>
                <a:gdLst/>
                <a:ahLst/>
                <a:cxnLst>
                  <a:cxn ang="0">
                    <a:pos x="6" y="24"/>
                  </a:cxn>
                  <a:cxn ang="0">
                    <a:pos x="7" y="24"/>
                  </a:cxn>
                  <a:cxn ang="0">
                    <a:pos x="7" y="24"/>
                  </a:cxn>
                  <a:cxn ang="0">
                    <a:pos x="13" y="24"/>
                  </a:cxn>
                  <a:cxn ang="0">
                    <a:pos x="13" y="24"/>
                  </a:cxn>
                  <a:cxn ang="0">
                    <a:pos x="39" y="24"/>
                  </a:cxn>
                  <a:cxn ang="0">
                    <a:pos x="39" y="0"/>
                  </a:cxn>
                  <a:cxn ang="0">
                    <a:pos x="16" y="0"/>
                  </a:cxn>
                  <a:cxn ang="0">
                    <a:pos x="16" y="0"/>
                  </a:cxn>
                  <a:cxn ang="0">
                    <a:pos x="13" y="0"/>
                  </a:cxn>
                  <a:cxn ang="0">
                    <a:pos x="11" y="0"/>
                  </a:cxn>
                  <a:cxn ang="0">
                    <a:pos x="7" y="0"/>
                  </a:cxn>
                  <a:cxn ang="0">
                    <a:pos x="11" y="3"/>
                  </a:cxn>
                  <a:cxn ang="0">
                    <a:pos x="6" y="12"/>
                  </a:cxn>
                  <a:cxn ang="0">
                    <a:pos x="0" y="22"/>
                  </a:cxn>
                  <a:cxn ang="0">
                    <a:pos x="6" y="24"/>
                  </a:cxn>
                  <a:cxn ang="0">
                    <a:pos x="6" y="24"/>
                  </a:cxn>
                  <a:cxn ang="0">
                    <a:pos x="6" y="24"/>
                  </a:cxn>
                  <a:cxn ang="0">
                    <a:pos x="6" y="24"/>
                  </a:cxn>
                </a:cxnLst>
                <a:rect l="0" t="0" r="r" b="b"/>
                <a:pathLst>
                  <a:path w="39" h="24">
                    <a:moveTo>
                      <a:pt x="6" y="24"/>
                    </a:moveTo>
                    <a:lnTo>
                      <a:pt x="7" y="24"/>
                    </a:lnTo>
                    <a:lnTo>
                      <a:pt x="7" y="24"/>
                    </a:lnTo>
                    <a:lnTo>
                      <a:pt x="13" y="24"/>
                    </a:lnTo>
                    <a:lnTo>
                      <a:pt x="13" y="24"/>
                    </a:lnTo>
                    <a:lnTo>
                      <a:pt x="39" y="24"/>
                    </a:lnTo>
                    <a:lnTo>
                      <a:pt x="39" y="0"/>
                    </a:lnTo>
                    <a:lnTo>
                      <a:pt x="16" y="0"/>
                    </a:lnTo>
                    <a:lnTo>
                      <a:pt x="16" y="0"/>
                    </a:lnTo>
                    <a:lnTo>
                      <a:pt x="13" y="0"/>
                    </a:lnTo>
                    <a:lnTo>
                      <a:pt x="11" y="0"/>
                    </a:lnTo>
                    <a:lnTo>
                      <a:pt x="7" y="0"/>
                    </a:lnTo>
                    <a:lnTo>
                      <a:pt x="11" y="3"/>
                    </a:lnTo>
                    <a:lnTo>
                      <a:pt x="6" y="12"/>
                    </a:lnTo>
                    <a:lnTo>
                      <a:pt x="0" y="22"/>
                    </a:lnTo>
                    <a:lnTo>
                      <a:pt x="6" y="24"/>
                    </a:lnTo>
                    <a:lnTo>
                      <a:pt x="6" y="24"/>
                    </a:lnTo>
                    <a:lnTo>
                      <a:pt x="6" y="24"/>
                    </a:lnTo>
                    <a:lnTo>
                      <a:pt x="6" y="2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2" name="Freeform 135"/>
              <p:cNvSpPr>
                <a:spLocks/>
              </p:cNvSpPr>
              <p:nvPr/>
            </p:nvSpPr>
            <p:spPr bwMode="auto">
              <a:xfrm>
                <a:off x="4749800" y="4159251"/>
                <a:ext cx="215900" cy="246063"/>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3" name="Freeform 136"/>
              <p:cNvSpPr>
                <a:spLocks/>
              </p:cNvSpPr>
              <p:nvPr/>
            </p:nvSpPr>
            <p:spPr bwMode="auto">
              <a:xfrm>
                <a:off x="4749800" y="4159251"/>
                <a:ext cx="215900" cy="246063"/>
              </a:xfrm>
              <a:custGeom>
                <a:avLst/>
                <a:gdLst/>
                <a:ahLst/>
                <a:cxnLst>
                  <a:cxn ang="0">
                    <a:pos x="3" y="129"/>
                  </a:cxn>
                  <a:cxn ang="0">
                    <a:pos x="10" y="127"/>
                  </a:cxn>
                  <a:cxn ang="0">
                    <a:pos x="17" y="127"/>
                  </a:cxn>
                  <a:cxn ang="0">
                    <a:pos x="12" y="115"/>
                  </a:cxn>
                  <a:cxn ang="0">
                    <a:pos x="7" y="113"/>
                  </a:cxn>
                  <a:cxn ang="0">
                    <a:pos x="10" y="109"/>
                  </a:cxn>
                  <a:cxn ang="0">
                    <a:pos x="17" y="108"/>
                  </a:cxn>
                  <a:cxn ang="0">
                    <a:pos x="26" y="104"/>
                  </a:cxn>
                  <a:cxn ang="0">
                    <a:pos x="30" y="97"/>
                  </a:cxn>
                  <a:cxn ang="0">
                    <a:pos x="40" y="108"/>
                  </a:cxn>
                  <a:cxn ang="0">
                    <a:pos x="47" y="106"/>
                  </a:cxn>
                  <a:cxn ang="0">
                    <a:pos x="54" y="109"/>
                  </a:cxn>
                  <a:cxn ang="0">
                    <a:pos x="57" y="90"/>
                  </a:cxn>
                  <a:cxn ang="0">
                    <a:pos x="57" y="78"/>
                  </a:cxn>
                  <a:cxn ang="0">
                    <a:pos x="54" y="73"/>
                  </a:cxn>
                  <a:cxn ang="0">
                    <a:pos x="49" y="69"/>
                  </a:cxn>
                  <a:cxn ang="0">
                    <a:pos x="52" y="66"/>
                  </a:cxn>
                  <a:cxn ang="0">
                    <a:pos x="52" y="62"/>
                  </a:cxn>
                  <a:cxn ang="0">
                    <a:pos x="59" y="57"/>
                  </a:cxn>
                  <a:cxn ang="0">
                    <a:pos x="59" y="49"/>
                  </a:cxn>
                  <a:cxn ang="0">
                    <a:pos x="52" y="43"/>
                  </a:cxn>
                  <a:cxn ang="0">
                    <a:pos x="42" y="45"/>
                  </a:cxn>
                  <a:cxn ang="0">
                    <a:pos x="37" y="43"/>
                  </a:cxn>
                  <a:cxn ang="0">
                    <a:pos x="35" y="33"/>
                  </a:cxn>
                  <a:cxn ang="0">
                    <a:pos x="63" y="31"/>
                  </a:cxn>
                  <a:cxn ang="0">
                    <a:pos x="64" y="31"/>
                  </a:cxn>
                  <a:cxn ang="0">
                    <a:pos x="71" y="33"/>
                  </a:cxn>
                  <a:cxn ang="0">
                    <a:pos x="73" y="33"/>
                  </a:cxn>
                  <a:cxn ang="0">
                    <a:pos x="82" y="33"/>
                  </a:cxn>
                  <a:cxn ang="0">
                    <a:pos x="85" y="35"/>
                  </a:cxn>
                  <a:cxn ang="0">
                    <a:pos x="89" y="33"/>
                  </a:cxn>
                  <a:cxn ang="0">
                    <a:pos x="90" y="26"/>
                  </a:cxn>
                  <a:cxn ang="0">
                    <a:pos x="104" y="7"/>
                  </a:cxn>
                  <a:cxn ang="0">
                    <a:pos x="115" y="0"/>
                  </a:cxn>
                  <a:cxn ang="0">
                    <a:pos x="123" y="0"/>
                  </a:cxn>
                  <a:cxn ang="0">
                    <a:pos x="130" y="3"/>
                  </a:cxn>
                  <a:cxn ang="0">
                    <a:pos x="134" y="3"/>
                  </a:cxn>
                  <a:cxn ang="0">
                    <a:pos x="132" y="15"/>
                  </a:cxn>
                  <a:cxn ang="0">
                    <a:pos x="125" y="33"/>
                  </a:cxn>
                  <a:cxn ang="0">
                    <a:pos x="120" y="45"/>
                  </a:cxn>
                  <a:cxn ang="0">
                    <a:pos x="120" y="55"/>
                  </a:cxn>
                  <a:cxn ang="0">
                    <a:pos x="118" y="64"/>
                  </a:cxn>
                  <a:cxn ang="0">
                    <a:pos x="109" y="85"/>
                  </a:cxn>
                  <a:cxn ang="0">
                    <a:pos x="101" y="87"/>
                  </a:cxn>
                  <a:cxn ang="0">
                    <a:pos x="96" y="97"/>
                  </a:cxn>
                  <a:cxn ang="0">
                    <a:pos x="89" y="113"/>
                  </a:cxn>
                  <a:cxn ang="0">
                    <a:pos x="87" y="127"/>
                  </a:cxn>
                  <a:cxn ang="0">
                    <a:pos x="82" y="135"/>
                  </a:cxn>
                  <a:cxn ang="0">
                    <a:pos x="71" y="148"/>
                  </a:cxn>
                  <a:cxn ang="0">
                    <a:pos x="59" y="151"/>
                  </a:cxn>
                  <a:cxn ang="0">
                    <a:pos x="59" y="142"/>
                  </a:cxn>
                  <a:cxn ang="0">
                    <a:pos x="50" y="146"/>
                  </a:cxn>
                  <a:cxn ang="0">
                    <a:pos x="45" y="149"/>
                  </a:cxn>
                  <a:cxn ang="0">
                    <a:pos x="40" y="151"/>
                  </a:cxn>
                  <a:cxn ang="0">
                    <a:pos x="35" y="149"/>
                  </a:cxn>
                  <a:cxn ang="0">
                    <a:pos x="35" y="142"/>
                  </a:cxn>
                  <a:cxn ang="0">
                    <a:pos x="26" y="146"/>
                  </a:cxn>
                  <a:cxn ang="0">
                    <a:pos x="21" y="151"/>
                  </a:cxn>
                  <a:cxn ang="0">
                    <a:pos x="16" y="155"/>
                  </a:cxn>
                  <a:cxn ang="0">
                    <a:pos x="10" y="148"/>
                  </a:cxn>
                  <a:cxn ang="0">
                    <a:pos x="5" y="139"/>
                  </a:cxn>
                  <a:cxn ang="0">
                    <a:pos x="0" y="135"/>
                  </a:cxn>
                </a:cxnLst>
                <a:rect l="0" t="0" r="r" b="b"/>
                <a:pathLst>
                  <a:path w="136" h="155">
                    <a:moveTo>
                      <a:pt x="0" y="135"/>
                    </a:moveTo>
                    <a:lnTo>
                      <a:pt x="3" y="132"/>
                    </a:lnTo>
                    <a:lnTo>
                      <a:pt x="3" y="129"/>
                    </a:lnTo>
                    <a:lnTo>
                      <a:pt x="5" y="129"/>
                    </a:lnTo>
                    <a:lnTo>
                      <a:pt x="9" y="129"/>
                    </a:lnTo>
                    <a:lnTo>
                      <a:pt x="10" y="127"/>
                    </a:lnTo>
                    <a:lnTo>
                      <a:pt x="12" y="127"/>
                    </a:lnTo>
                    <a:lnTo>
                      <a:pt x="16" y="130"/>
                    </a:lnTo>
                    <a:lnTo>
                      <a:pt x="17" y="127"/>
                    </a:lnTo>
                    <a:lnTo>
                      <a:pt x="16" y="118"/>
                    </a:lnTo>
                    <a:lnTo>
                      <a:pt x="14" y="115"/>
                    </a:lnTo>
                    <a:lnTo>
                      <a:pt x="12" y="115"/>
                    </a:lnTo>
                    <a:lnTo>
                      <a:pt x="9" y="115"/>
                    </a:lnTo>
                    <a:lnTo>
                      <a:pt x="5" y="118"/>
                    </a:lnTo>
                    <a:lnTo>
                      <a:pt x="7" y="113"/>
                    </a:lnTo>
                    <a:lnTo>
                      <a:pt x="5" y="109"/>
                    </a:lnTo>
                    <a:lnTo>
                      <a:pt x="7" y="109"/>
                    </a:lnTo>
                    <a:lnTo>
                      <a:pt x="10" y="109"/>
                    </a:lnTo>
                    <a:lnTo>
                      <a:pt x="14" y="109"/>
                    </a:lnTo>
                    <a:lnTo>
                      <a:pt x="16" y="109"/>
                    </a:lnTo>
                    <a:lnTo>
                      <a:pt x="17" y="108"/>
                    </a:lnTo>
                    <a:lnTo>
                      <a:pt x="17" y="108"/>
                    </a:lnTo>
                    <a:lnTo>
                      <a:pt x="26" y="108"/>
                    </a:lnTo>
                    <a:lnTo>
                      <a:pt x="26" y="104"/>
                    </a:lnTo>
                    <a:lnTo>
                      <a:pt x="26" y="99"/>
                    </a:lnTo>
                    <a:lnTo>
                      <a:pt x="26" y="97"/>
                    </a:lnTo>
                    <a:lnTo>
                      <a:pt x="30" y="97"/>
                    </a:lnTo>
                    <a:lnTo>
                      <a:pt x="35" y="106"/>
                    </a:lnTo>
                    <a:lnTo>
                      <a:pt x="35" y="108"/>
                    </a:lnTo>
                    <a:lnTo>
                      <a:pt x="40" y="108"/>
                    </a:lnTo>
                    <a:lnTo>
                      <a:pt x="42" y="108"/>
                    </a:lnTo>
                    <a:lnTo>
                      <a:pt x="43" y="106"/>
                    </a:lnTo>
                    <a:lnTo>
                      <a:pt x="47" y="106"/>
                    </a:lnTo>
                    <a:lnTo>
                      <a:pt x="50" y="108"/>
                    </a:lnTo>
                    <a:lnTo>
                      <a:pt x="52" y="109"/>
                    </a:lnTo>
                    <a:lnTo>
                      <a:pt x="54" y="109"/>
                    </a:lnTo>
                    <a:lnTo>
                      <a:pt x="54" y="106"/>
                    </a:lnTo>
                    <a:lnTo>
                      <a:pt x="54" y="104"/>
                    </a:lnTo>
                    <a:lnTo>
                      <a:pt x="57" y="90"/>
                    </a:lnTo>
                    <a:lnTo>
                      <a:pt x="59" y="85"/>
                    </a:lnTo>
                    <a:lnTo>
                      <a:pt x="59" y="82"/>
                    </a:lnTo>
                    <a:lnTo>
                      <a:pt x="57" y="78"/>
                    </a:lnTo>
                    <a:lnTo>
                      <a:pt x="57" y="76"/>
                    </a:lnTo>
                    <a:lnTo>
                      <a:pt x="54" y="73"/>
                    </a:lnTo>
                    <a:lnTo>
                      <a:pt x="54" y="73"/>
                    </a:lnTo>
                    <a:lnTo>
                      <a:pt x="52" y="71"/>
                    </a:lnTo>
                    <a:lnTo>
                      <a:pt x="50" y="71"/>
                    </a:lnTo>
                    <a:lnTo>
                      <a:pt x="49" y="69"/>
                    </a:lnTo>
                    <a:lnTo>
                      <a:pt x="49" y="68"/>
                    </a:lnTo>
                    <a:lnTo>
                      <a:pt x="52" y="66"/>
                    </a:lnTo>
                    <a:lnTo>
                      <a:pt x="52" y="66"/>
                    </a:lnTo>
                    <a:lnTo>
                      <a:pt x="54" y="66"/>
                    </a:lnTo>
                    <a:lnTo>
                      <a:pt x="52" y="62"/>
                    </a:lnTo>
                    <a:lnTo>
                      <a:pt x="52" y="62"/>
                    </a:lnTo>
                    <a:lnTo>
                      <a:pt x="52" y="59"/>
                    </a:lnTo>
                    <a:lnTo>
                      <a:pt x="56" y="57"/>
                    </a:lnTo>
                    <a:lnTo>
                      <a:pt x="59" y="57"/>
                    </a:lnTo>
                    <a:lnTo>
                      <a:pt x="59" y="54"/>
                    </a:lnTo>
                    <a:lnTo>
                      <a:pt x="59" y="52"/>
                    </a:lnTo>
                    <a:lnTo>
                      <a:pt x="59" y="49"/>
                    </a:lnTo>
                    <a:lnTo>
                      <a:pt x="59" y="45"/>
                    </a:lnTo>
                    <a:lnTo>
                      <a:pt x="57" y="43"/>
                    </a:lnTo>
                    <a:lnTo>
                      <a:pt x="52" y="43"/>
                    </a:lnTo>
                    <a:lnTo>
                      <a:pt x="49" y="45"/>
                    </a:lnTo>
                    <a:lnTo>
                      <a:pt x="43" y="45"/>
                    </a:lnTo>
                    <a:lnTo>
                      <a:pt x="42" y="45"/>
                    </a:lnTo>
                    <a:lnTo>
                      <a:pt x="38" y="45"/>
                    </a:lnTo>
                    <a:lnTo>
                      <a:pt x="37" y="45"/>
                    </a:lnTo>
                    <a:lnTo>
                      <a:pt x="37" y="43"/>
                    </a:lnTo>
                    <a:lnTo>
                      <a:pt x="37" y="40"/>
                    </a:lnTo>
                    <a:lnTo>
                      <a:pt x="37" y="36"/>
                    </a:lnTo>
                    <a:lnTo>
                      <a:pt x="35" y="33"/>
                    </a:lnTo>
                    <a:lnTo>
                      <a:pt x="37" y="29"/>
                    </a:lnTo>
                    <a:lnTo>
                      <a:pt x="59" y="29"/>
                    </a:lnTo>
                    <a:lnTo>
                      <a:pt x="63" y="31"/>
                    </a:lnTo>
                    <a:lnTo>
                      <a:pt x="63" y="29"/>
                    </a:lnTo>
                    <a:lnTo>
                      <a:pt x="64" y="29"/>
                    </a:lnTo>
                    <a:lnTo>
                      <a:pt x="64" y="31"/>
                    </a:lnTo>
                    <a:lnTo>
                      <a:pt x="68" y="31"/>
                    </a:lnTo>
                    <a:lnTo>
                      <a:pt x="68" y="31"/>
                    </a:lnTo>
                    <a:lnTo>
                      <a:pt x="71" y="33"/>
                    </a:lnTo>
                    <a:lnTo>
                      <a:pt x="73" y="33"/>
                    </a:lnTo>
                    <a:lnTo>
                      <a:pt x="73" y="31"/>
                    </a:lnTo>
                    <a:lnTo>
                      <a:pt x="73" y="33"/>
                    </a:lnTo>
                    <a:lnTo>
                      <a:pt x="76" y="35"/>
                    </a:lnTo>
                    <a:lnTo>
                      <a:pt x="78" y="33"/>
                    </a:lnTo>
                    <a:lnTo>
                      <a:pt x="82" y="33"/>
                    </a:lnTo>
                    <a:lnTo>
                      <a:pt x="83" y="35"/>
                    </a:lnTo>
                    <a:lnTo>
                      <a:pt x="85" y="35"/>
                    </a:lnTo>
                    <a:lnTo>
                      <a:pt x="85" y="35"/>
                    </a:lnTo>
                    <a:lnTo>
                      <a:pt x="87" y="35"/>
                    </a:lnTo>
                    <a:lnTo>
                      <a:pt x="89" y="35"/>
                    </a:lnTo>
                    <a:lnTo>
                      <a:pt x="89" y="33"/>
                    </a:lnTo>
                    <a:lnTo>
                      <a:pt x="87" y="31"/>
                    </a:lnTo>
                    <a:lnTo>
                      <a:pt x="89" y="29"/>
                    </a:lnTo>
                    <a:lnTo>
                      <a:pt x="90" y="26"/>
                    </a:lnTo>
                    <a:lnTo>
                      <a:pt x="90" y="24"/>
                    </a:lnTo>
                    <a:lnTo>
                      <a:pt x="99" y="9"/>
                    </a:lnTo>
                    <a:lnTo>
                      <a:pt x="104" y="7"/>
                    </a:lnTo>
                    <a:lnTo>
                      <a:pt x="106" y="3"/>
                    </a:lnTo>
                    <a:lnTo>
                      <a:pt x="109" y="3"/>
                    </a:lnTo>
                    <a:lnTo>
                      <a:pt x="115" y="0"/>
                    </a:lnTo>
                    <a:lnTo>
                      <a:pt x="118" y="2"/>
                    </a:lnTo>
                    <a:lnTo>
                      <a:pt x="120" y="0"/>
                    </a:lnTo>
                    <a:lnTo>
                      <a:pt x="123" y="0"/>
                    </a:lnTo>
                    <a:lnTo>
                      <a:pt x="125" y="0"/>
                    </a:lnTo>
                    <a:lnTo>
                      <a:pt x="127" y="2"/>
                    </a:lnTo>
                    <a:lnTo>
                      <a:pt x="130" y="3"/>
                    </a:lnTo>
                    <a:lnTo>
                      <a:pt x="132" y="2"/>
                    </a:lnTo>
                    <a:lnTo>
                      <a:pt x="134" y="2"/>
                    </a:lnTo>
                    <a:lnTo>
                      <a:pt x="134" y="3"/>
                    </a:lnTo>
                    <a:lnTo>
                      <a:pt x="136" y="7"/>
                    </a:lnTo>
                    <a:lnTo>
                      <a:pt x="136" y="12"/>
                    </a:lnTo>
                    <a:lnTo>
                      <a:pt x="132" y="15"/>
                    </a:lnTo>
                    <a:lnTo>
                      <a:pt x="130" y="17"/>
                    </a:lnTo>
                    <a:lnTo>
                      <a:pt x="123" y="28"/>
                    </a:lnTo>
                    <a:lnTo>
                      <a:pt x="125" y="33"/>
                    </a:lnTo>
                    <a:lnTo>
                      <a:pt x="123" y="38"/>
                    </a:lnTo>
                    <a:lnTo>
                      <a:pt x="123" y="40"/>
                    </a:lnTo>
                    <a:lnTo>
                      <a:pt x="120" y="45"/>
                    </a:lnTo>
                    <a:lnTo>
                      <a:pt x="120" y="49"/>
                    </a:lnTo>
                    <a:lnTo>
                      <a:pt x="120" y="50"/>
                    </a:lnTo>
                    <a:lnTo>
                      <a:pt x="120" y="55"/>
                    </a:lnTo>
                    <a:lnTo>
                      <a:pt x="120" y="57"/>
                    </a:lnTo>
                    <a:lnTo>
                      <a:pt x="120" y="62"/>
                    </a:lnTo>
                    <a:lnTo>
                      <a:pt x="118" y="64"/>
                    </a:lnTo>
                    <a:lnTo>
                      <a:pt x="118" y="69"/>
                    </a:lnTo>
                    <a:lnTo>
                      <a:pt x="118" y="76"/>
                    </a:lnTo>
                    <a:lnTo>
                      <a:pt x="109" y="85"/>
                    </a:lnTo>
                    <a:lnTo>
                      <a:pt x="106" y="85"/>
                    </a:lnTo>
                    <a:lnTo>
                      <a:pt x="104" y="87"/>
                    </a:lnTo>
                    <a:lnTo>
                      <a:pt x="101" y="87"/>
                    </a:lnTo>
                    <a:lnTo>
                      <a:pt x="99" y="90"/>
                    </a:lnTo>
                    <a:lnTo>
                      <a:pt x="96" y="94"/>
                    </a:lnTo>
                    <a:lnTo>
                      <a:pt x="96" y="97"/>
                    </a:lnTo>
                    <a:lnTo>
                      <a:pt x="89" y="102"/>
                    </a:lnTo>
                    <a:lnTo>
                      <a:pt x="87" y="108"/>
                    </a:lnTo>
                    <a:lnTo>
                      <a:pt x="89" y="113"/>
                    </a:lnTo>
                    <a:lnTo>
                      <a:pt x="89" y="113"/>
                    </a:lnTo>
                    <a:lnTo>
                      <a:pt x="89" y="122"/>
                    </a:lnTo>
                    <a:lnTo>
                      <a:pt x="87" y="127"/>
                    </a:lnTo>
                    <a:lnTo>
                      <a:pt x="87" y="130"/>
                    </a:lnTo>
                    <a:lnTo>
                      <a:pt x="85" y="135"/>
                    </a:lnTo>
                    <a:lnTo>
                      <a:pt x="82" y="135"/>
                    </a:lnTo>
                    <a:lnTo>
                      <a:pt x="78" y="137"/>
                    </a:lnTo>
                    <a:lnTo>
                      <a:pt x="76" y="141"/>
                    </a:lnTo>
                    <a:lnTo>
                      <a:pt x="71" y="148"/>
                    </a:lnTo>
                    <a:lnTo>
                      <a:pt x="68" y="151"/>
                    </a:lnTo>
                    <a:lnTo>
                      <a:pt x="64" y="151"/>
                    </a:lnTo>
                    <a:lnTo>
                      <a:pt x="59" y="151"/>
                    </a:lnTo>
                    <a:lnTo>
                      <a:pt x="59" y="148"/>
                    </a:lnTo>
                    <a:lnTo>
                      <a:pt x="57" y="148"/>
                    </a:lnTo>
                    <a:lnTo>
                      <a:pt x="59" y="142"/>
                    </a:lnTo>
                    <a:lnTo>
                      <a:pt x="59" y="141"/>
                    </a:lnTo>
                    <a:lnTo>
                      <a:pt x="56" y="142"/>
                    </a:lnTo>
                    <a:lnTo>
                      <a:pt x="50" y="146"/>
                    </a:lnTo>
                    <a:lnTo>
                      <a:pt x="49" y="146"/>
                    </a:lnTo>
                    <a:lnTo>
                      <a:pt x="47" y="146"/>
                    </a:lnTo>
                    <a:lnTo>
                      <a:pt x="45" y="149"/>
                    </a:lnTo>
                    <a:lnTo>
                      <a:pt x="43" y="151"/>
                    </a:lnTo>
                    <a:lnTo>
                      <a:pt x="40" y="151"/>
                    </a:lnTo>
                    <a:lnTo>
                      <a:pt x="40" y="151"/>
                    </a:lnTo>
                    <a:lnTo>
                      <a:pt x="40" y="149"/>
                    </a:lnTo>
                    <a:lnTo>
                      <a:pt x="37" y="149"/>
                    </a:lnTo>
                    <a:lnTo>
                      <a:pt x="35" y="149"/>
                    </a:lnTo>
                    <a:lnTo>
                      <a:pt x="35" y="151"/>
                    </a:lnTo>
                    <a:lnTo>
                      <a:pt x="35" y="148"/>
                    </a:lnTo>
                    <a:lnTo>
                      <a:pt x="35" y="142"/>
                    </a:lnTo>
                    <a:lnTo>
                      <a:pt x="30" y="142"/>
                    </a:lnTo>
                    <a:lnTo>
                      <a:pt x="30" y="142"/>
                    </a:lnTo>
                    <a:lnTo>
                      <a:pt x="26" y="146"/>
                    </a:lnTo>
                    <a:lnTo>
                      <a:pt x="23" y="146"/>
                    </a:lnTo>
                    <a:lnTo>
                      <a:pt x="23" y="149"/>
                    </a:lnTo>
                    <a:lnTo>
                      <a:pt x="21" y="151"/>
                    </a:lnTo>
                    <a:lnTo>
                      <a:pt x="17" y="151"/>
                    </a:lnTo>
                    <a:lnTo>
                      <a:pt x="17" y="155"/>
                    </a:lnTo>
                    <a:lnTo>
                      <a:pt x="16" y="155"/>
                    </a:lnTo>
                    <a:lnTo>
                      <a:pt x="14" y="155"/>
                    </a:lnTo>
                    <a:lnTo>
                      <a:pt x="14" y="151"/>
                    </a:lnTo>
                    <a:lnTo>
                      <a:pt x="10" y="148"/>
                    </a:lnTo>
                    <a:lnTo>
                      <a:pt x="10" y="142"/>
                    </a:lnTo>
                    <a:lnTo>
                      <a:pt x="5" y="141"/>
                    </a:lnTo>
                    <a:lnTo>
                      <a:pt x="5" y="139"/>
                    </a:lnTo>
                    <a:lnTo>
                      <a:pt x="0" y="135"/>
                    </a:lnTo>
                    <a:lnTo>
                      <a:pt x="0" y="135"/>
                    </a:lnTo>
                    <a:lnTo>
                      <a:pt x="0" y="13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4" name="Freeform 137"/>
              <p:cNvSpPr>
                <a:spLocks/>
              </p:cNvSpPr>
              <p:nvPr/>
            </p:nvSpPr>
            <p:spPr bwMode="auto">
              <a:xfrm>
                <a:off x="4779963" y="4383088"/>
                <a:ext cx="30163" cy="46038"/>
              </a:xfrm>
              <a:custGeom>
                <a:avLst/>
                <a:gdLst/>
                <a:ahLst/>
                <a:cxnLst>
                  <a:cxn ang="0">
                    <a:pos x="19" y="8"/>
                  </a:cxn>
                  <a:cxn ang="0">
                    <a:pos x="19" y="3"/>
                  </a:cxn>
                  <a:cxn ang="0">
                    <a:pos x="19" y="0"/>
                  </a:cxn>
                  <a:cxn ang="0">
                    <a:pos x="14" y="0"/>
                  </a:cxn>
                  <a:cxn ang="0">
                    <a:pos x="14" y="0"/>
                  </a:cxn>
                  <a:cxn ang="0">
                    <a:pos x="11" y="3"/>
                  </a:cxn>
                  <a:cxn ang="0">
                    <a:pos x="7" y="3"/>
                  </a:cxn>
                  <a:cxn ang="0">
                    <a:pos x="7" y="7"/>
                  </a:cxn>
                  <a:cxn ang="0">
                    <a:pos x="5" y="8"/>
                  </a:cxn>
                  <a:cxn ang="0">
                    <a:pos x="2" y="8"/>
                  </a:cxn>
                  <a:cxn ang="0">
                    <a:pos x="2" y="14"/>
                  </a:cxn>
                  <a:cxn ang="0">
                    <a:pos x="0" y="14"/>
                  </a:cxn>
                  <a:cxn ang="0">
                    <a:pos x="2" y="17"/>
                  </a:cxn>
                  <a:cxn ang="0">
                    <a:pos x="2" y="24"/>
                  </a:cxn>
                  <a:cxn ang="0">
                    <a:pos x="2" y="28"/>
                  </a:cxn>
                  <a:cxn ang="0">
                    <a:pos x="2" y="29"/>
                  </a:cxn>
                  <a:cxn ang="0">
                    <a:pos x="7" y="28"/>
                  </a:cxn>
                  <a:cxn ang="0">
                    <a:pos x="11" y="24"/>
                  </a:cxn>
                  <a:cxn ang="0">
                    <a:pos x="11" y="24"/>
                  </a:cxn>
                  <a:cxn ang="0">
                    <a:pos x="11" y="15"/>
                  </a:cxn>
                  <a:cxn ang="0">
                    <a:pos x="11" y="14"/>
                  </a:cxn>
                  <a:cxn ang="0">
                    <a:pos x="16" y="10"/>
                  </a:cxn>
                  <a:cxn ang="0">
                    <a:pos x="19" y="8"/>
                  </a:cxn>
                  <a:cxn ang="0">
                    <a:pos x="19" y="8"/>
                  </a:cxn>
                  <a:cxn ang="0">
                    <a:pos x="19" y="8"/>
                  </a:cxn>
                </a:cxnLst>
                <a:rect l="0" t="0" r="r" b="b"/>
                <a:pathLst>
                  <a:path w="19" h="29">
                    <a:moveTo>
                      <a:pt x="19" y="8"/>
                    </a:moveTo>
                    <a:lnTo>
                      <a:pt x="19" y="3"/>
                    </a:lnTo>
                    <a:lnTo>
                      <a:pt x="19" y="0"/>
                    </a:lnTo>
                    <a:lnTo>
                      <a:pt x="14" y="0"/>
                    </a:lnTo>
                    <a:lnTo>
                      <a:pt x="14" y="0"/>
                    </a:lnTo>
                    <a:lnTo>
                      <a:pt x="11" y="3"/>
                    </a:lnTo>
                    <a:lnTo>
                      <a:pt x="7" y="3"/>
                    </a:lnTo>
                    <a:lnTo>
                      <a:pt x="7" y="7"/>
                    </a:lnTo>
                    <a:lnTo>
                      <a:pt x="5" y="8"/>
                    </a:lnTo>
                    <a:lnTo>
                      <a:pt x="2" y="8"/>
                    </a:lnTo>
                    <a:lnTo>
                      <a:pt x="2" y="14"/>
                    </a:lnTo>
                    <a:lnTo>
                      <a:pt x="0" y="14"/>
                    </a:lnTo>
                    <a:lnTo>
                      <a:pt x="2" y="17"/>
                    </a:lnTo>
                    <a:lnTo>
                      <a:pt x="2" y="24"/>
                    </a:lnTo>
                    <a:lnTo>
                      <a:pt x="2" y="28"/>
                    </a:lnTo>
                    <a:lnTo>
                      <a:pt x="2" y="29"/>
                    </a:lnTo>
                    <a:lnTo>
                      <a:pt x="7" y="28"/>
                    </a:lnTo>
                    <a:lnTo>
                      <a:pt x="11" y="24"/>
                    </a:lnTo>
                    <a:lnTo>
                      <a:pt x="11" y="24"/>
                    </a:lnTo>
                    <a:lnTo>
                      <a:pt x="11" y="15"/>
                    </a:lnTo>
                    <a:lnTo>
                      <a:pt x="11" y="14"/>
                    </a:lnTo>
                    <a:lnTo>
                      <a:pt x="16" y="10"/>
                    </a:lnTo>
                    <a:lnTo>
                      <a:pt x="19" y="8"/>
                    </a:lnTo>
                    <a:lnTo>
                      <a:pt x="19" y="8"/>
                    </a:lnTo>
                    <a:lnTo>
                      <a:pt x="19" y="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5" name="Freeform 138"/>
              <p:cNvSpPr>
                <a:spLocks/>
              </p:cNvSpPr>
              <p:nvPr/>
            </p:nvSpPr>
            <p:spPr bwMode="auto">
              <a:xfrm>
                <a:off x="5251450" y="4289426"/>
                <a:ext cx="301625" cy="311150"/>
              </a:xfrm>
              <a:custGeom>
                <a:avLst/>
                <a:gdLst/>
                <a:ahLst/>
                <a:cxnLst>
                  <a:cxn ang="0">
                    <a:pos x="23" y="3"/>
                  </a:cxn>
                  <a:cxn ang="0">
                    <a:pos x="80" y="0"/>
                  </a:cxn>
                  <a:cxn ang="0">
                    <a:pos x="144" y="45"/>
                  </a:cxn>
                  <a:cxn ang="0">
                    <a:pos x="169" y="62"/>
                  </a:cxn>
                  <a:cxn ang="0">
                    <a:pos x="169" y="66"/>
                  </a:cxn>
                  <a:cxn ang="0">
                    <a:pos x="162" y="87"/>
                  </a:cxn>
                  <a:cxn ang="0">
                    <a:pos x="169" y="99"/>
                  </a:cxn>
                  <a:cxn ang="0">
                    <a:pos x="174" y="107"/>
                  </a:cxn>
                  <a:cxn ang="0">
                    <a:pos x="169" y="111"/>
                  </a:cxn>
                  <a:cxn ang="0">
                    <a:pos x="171" y="123"/>
                  </a:cxn>
                  <a:cxn ang="0">
                    <a:pos x="171" y="133"/>
                  </a:cxn>
                  <a:cxn ang="0">
                    <a:pos x="172" y="140"/>
                  </a:cxn>
                  <a:cxn ang="0">
                    <a:pos x="174" y="146"/>
                  </a:cxn>
                  <a:cxn ang="0">
                    <a:pos x="181" y="160"/>
                  </a:cxn>
                  <a:cxn ang="0">
                    <a:pos x="188" y="165"/>
                  </a:cxn>
                  <a:cxn ang="0">
                    <a:pos x="188" y="168"/>
                  </a:cxn>
                  <a:cxn ang="0">
                    <a:pos x="181" y="172"/>
                  </a:cxn>
                  <a:cxn ang="0">
                    <a:pos x="171" y="175"/>
                  </a:cxn>
                  <a:cxn ang="0">
                    <a:pos x="165" y="177"/>
                  </a:cxn>
                  <a:cxn ang="0">
                    <a:pos x="153" y="180"/>
                  </a:cxn>
                  <a:cxn ang="0">
                    <a:pos x="144" y="177"/>
                  </a:cxn>
                  <a:cxn ang="0">
                    <a:pos x="143" y="184"/>
                  </a:cxn>
                  <a:cxn ang="0">
                    <a:pos x="134" y="184"/>
                  </a:cxn>
                  <a:cxn ang="0">
                    <a:pos x="129" y="180"/>
                  </a:cxn>
                  <a:cxn ang="0">
                    <a:pos x="122" y="186"/>
                  </a:cxn>
                  <a:cxn ang="0">
                    <a:pos x="117" y="184"/>
                  </a:cxn>
                  <a:cxn ang="0">
                    <a:pos x="108" y="180"/>
                  </a:cxn>
                  <a:cxn ang="0">
                    <a:pos x="106" y="182"/>
                  </a:cxn>
                  <a:cxn ang="0">
                    <a:pos x="84" y="196"/>
                  </a:cxn>
                  <a:cxn ang="0">
                    <a:pos x="77" y="154"/>
                  </a:cxn>
                  <a:cxn ang="0">
                    <a:pos x="73" y="149"/>
                  </a:cxn>
                  <a:cxn ang="0">
                    <a:pos x="68" y="149"/>
                  </a:cxn>
                  <a:cxn ang="0">
                    <a:pos x="66" y="146"/>
                  </a:cxn>
                  <a:cxn ang="0">
                    <a:pos x="61" y="146"/>
                  </a:cxn>
                  <a:cxn ang="0">
                    <a:pos x="58" y="142"/>
                  </a:cxn>
                  <a:cxn ang="0">
                    <a:pos x="52" y="137"/>
                  </a:cxn>
                  <a:cxn ang="0">
                    <a:pos x="40" y="135"/>
                  </a:cxn>
                  <a:cxn ang="0">
                    <a:pos x="35" y="130"/>
                  </a:cxn>
                  <a:cxn ang="0">
                    <a:pos x="28" y="130"/>
                  </a:cxn>
                  <a:cxn ang="0">
                    <a:pos x="5" y="95"/>
                  </a:cxn>
                  <a:cxn ang="0">
                    <a:pos x="9" y="62"/>
                  </a:cxn>
                  <a:cxn ang="0">
                    <a:pos x="21" y="50"/>
                  </a:cxn>
                  <a:cxn ang="0">
                    <a:pos x="28" y="45"/>
                  </a:cxn>
                  <a:cxn ang="0">
                    <a:pos x="25" y="36"/>
                  </a:cxn>
                  <a:cxn ang="0">
                    <a:pos x="23" y="31"/>
                  </a:cxn>
                  <a:cxn ang="0">
                    <a:pos x="21" y="27"/>
                  </a:cxn>
                  <a:cxn ang="0">
                    <a:pos x="26" y="26"/>
                  </a:cxn>
                  <a:cxn ang="0">
                    <a:pos x="28" y="19"/>
                  </a:cxn>
                  <a:cxn ang="0">
                    <a:pos x="25" y="8"/>
                  </a:cxn>
                  <a:cxn ang="0">
                    <a:pos x="21" y="3"/>
                  </a:cxn>
                </a:cxnLst>
                <a:rect l="0" t="0" r="r" b="b"/>
                <a:pathLst>
                  <a:path w="190" h="196">
                    <a:moveTo>
                      <a:pt x="21" y="3"/>
                    </a:moveTo>
                    <a:lnTo>
                      <a:pt x="21" y="3"/>
                    </a:lnTo>
                    <a:lnTo>
                      <a:pt x="23" y="3"/>
                    </a:lnTo>
                    <a:lnTo>
                      <a:pt x="25" y="3"/>
                    </a:lnTo>
                    <a:lnTo>
                      <a:pt x="45" y="3"/>
                    </a:lnTo>
                    <a:lnTo>
                      <a:pt x="80" y="0"/>
                    </a:lnTo>
                    <a:lnTo>
                      <a:pt x="143" y="36"/>
                    </a:lnTo>
                    <a:lnTo>
                      <a:pt x="146" y="43"/>
                    </a:lnTo>
                    <a:lnTo>
                      <a:pt x="144" y="45"/>
                    </a:lnTo>
                    <a:lnTo>
                      <a:pt x="146" y="47"/>
                    </a:lnTo>
                    <a:lnTo>
                      <a:pt x="148" y="48"/>
                    </a:lnTo>
                    <a:lnTo>
                      <a:pt x="169" y="62"/>
                    </a:lnTo>
                    <a:lnTo>
                      <a:pt x="167" y="62"/>
                    </a:lnTo>
                    <a:lnTo>
                      <a:pt x="169" y="64"/>
                    </a:lnTo>
                    <a:lnTo>
                      <a:pt x="169" y="66"/>
                    </a:lnTo>
                    <a:lnTo>
                      <a:pt x="167" y="67"/>
                    </a:lnTo>
                    <a:lnTo>
                      <a:pt x="165" y="78"/>
                    </a:lnTo>
                    <a:lnTo>
                      <a:pt x="162" y="87"/>
                    </a:lnTo>
                    <a:lnTo>
                      <a:pt x="162" y="90"/>
                    </a:lnTo>
                    <a:lnTo>
                      <a:pt x="165" y="95"/>
                    </a:lnTo>
                    <a:lnTo>
                      <a:pt x="169" y="99"/>
                    </a:lnTo>
                    <a:lnTo>
                      <a:pt x="172" y="99"/>
                    </a:lnTo>
                    <a:lnTo>
                      <a:pt x="174" y="104"/>
                    </a:lnTo>
                    <a:lnTo>
                      <a:pt x="174" y="107"/>
                    </a:lnTo>
                    <a:lnTo>
                      <a:pt x="172" y="107"/>
                    </a:lnTo>
                    <a:lnTo>
                      <a:pt x="169" y="107"/>
                    </a:lnTo>
                    <a:lnTo>
                      <a:pt x="169" y="111"/>
                    </a:lnTo>
                    <a:lnTo>
                      <a:pt x="169" y="118"/>
                    </a:lnTo>
                    <a:lnTo>
                      <a:pt x="172" y="121"/>
                    </a:lnTo>
                    <a:lnTo>
                      <a:pt x="171" y="123"/>
                    </a:lnTo>
                    <a:lnTo>
                      <a:pt x="169" y="126"/>
                    </a:lnTo>
                    <a:lnTo>
                      <a:pt x="169" y="130"/>
                    </a:lnTo>
                    <a:lnTo>
                      <a:pt x="171" y="133"/>
                    </a:lnTo>
                    <a:lnTo>
                      <a:pt x="171" y="135"/>
                    </a:lnTo>
                    <a:lnTo>
                      <a:pt x="171" y="137"/>
                    </a:lnTo>
                    <a:lnTo>
                      <a:pt x="172" y="140"/>
                    </a:lnTo>
                    <a:lnTo>
                      <a:pt x="174" y="142"/>
                    </a:lnTo>
                    <a:lnTo>
                      <a:pt x="172" y="146"/>
                    </a:lnTo>
                    <a:lnTo>
                      <a:pt x="174" y="146"/>
                    </a:lnTo>
                    <a:lnTo>
                      <a:pt x="176" y="153"/>
                    </a:lnTo>
                    <a:lnTo>
                      <a:pt x="176" y="154"/>
                    </a:lnTo>
                    <a:lnTo>
                      <a:pt x="181" y="160"/>
                    </a:lnTo>
                    <a:lnTo>
                      <a:pt x="184" y="160"/>
                    </a:lnTo>
                    <a:lnTo>
                      <a:pt x="188" y="163"/>
                    </a:lnTo>
                    <a:lnTo>
                      <a:pt x="188" y="165"/>
                    </a:lnTo>
                    <a:lnTo>
                      <a:pt x="190" y="166"/>
                    </a:lnTo>
                    <a:lnTo>
                      <a:pt x="188" y="166"/>
                    </a:lnTo>
                    <a:lnTo>
                      <a:pt x="188" y="168"/>
                    </a:lnTo>
                    <a:lnTo>
                      <a:pt x="184" y="166"/>
                    </a:lnTo>
                    <a:lnTo>
                      <a:pt x="181" y="170"/>
                    </a:lnTo>
                    <a:lnTo>
                      <a:pt x="181" y="172"/>
                    </a:lnTo>
                    <a:lnTo>
                      <a:pt x="177" y="173"/>
                    </a:lnTo>
                    <a:lnTo>
                      <a:pt x="174" y="175"/>
                    </a:lnTo>
                    <a:lnTo>
                      <a:pt x="171" y="175"/>
                    </a:lnTo>
                    <a:lnTo>
                      <a:pt x="169" y="177"/>
                    </a:lnTo>
                    <a:lnTo>
                      <a:pt x="165" y="177"/>
                    </a:lnTo>
                    <a:lnTo>
                      <a:pt x="165" y="177"/>
                    </a:lnTo>
                    <a:lnTo>
                      <a:pt x="158" y="177"/>
                    </a:lnTo>
                    <a:lnTo>
                      <a:pt x="157" y="180"/>
                    </a:lnTo>
                    <a:lnTo>
                      <a:pt x="153" y="180"/>
                    </a:lnTo>
                    <a:lnTo>
                      <a:pt x="151" y="177"/>
                    </a:lnTo>
                    <a:lnTo>
                      <a:pt x="148" y="180"/>
                    </a:lnTo>
                    <a:lnTo>
                      <a:pt x="144" y="177"/>
                    </a:lnTo>
                    <a:lnTo>
                      <a:pt x="143" y="180"/>
                    </a:lnTo>
                    <a:lnTo>
                      <a:pt x="144" y="180"/>
                    </a:lnTo>
                    <a:lnTo>
                      <a:pt x="143" y="184"/>
                    </a:lnTo>
                    <a:lnTo>
                      <a:pt x="139" y="184"/>
                    </a:lnTo>
                    <a:lnTo>
                      <a:pt x="136" y="186"/>
                    </a:lnTo>
                    <a:lnTo>
                      <a:pt x="134" y="184"/>
                    </a:lnTo>
                    <a:lnTo>
                      <a:pt x="131" y="184"/>
                    </a:lnTo>
                    <a:lnTo>
                      <a:pt x="131" y="182"/>
                    </a:lnTo>
                    <a:lnTo>
                      <a:pt x="129" y="180"/>
                    </a:lnTo>
                    <a:lnTo>
                      <a:pt x="127" y="182"/>
                    </a:lnTo>
                    <a:lnTo>
                      <a:pt x="125" y="182"/>
                    </a:lnTo>
                    <a:lnTo>
                      <a:pt x="122" y="186"/>
                    </a:lnTo>
                    <a:lnTo>
                      <a:pt x="117" y="187"/>
                    </a:lnTo>
                    <a:lnTo>
                      <a:pt x="117" y="186"/>
                    </a:lnTo>
                    <a:lnTo>
                      <a:pt x="117" y="184"/>
                    </a:lnTo>
                    <a:lnTo>
                      <a:pt x="113" y="184"/>
                    </a:lnTo>
                    <a:lnTo>
                      <a:pt x="111" y="182"/>
                    </a:lnTo>
                    <a:lnTo>
                      <a:pt x="108" y="180"/>
                    </a:lnTo>
                    <a:lnTo>
                      <a:pt x="108" y="180"/>
                    </a:lnTo>
                    <a:lnTo>
                      <a:pt x="106" y="180"/>
                    </a:lnTo>
                    <a:lnTo>
                      <a:pt x="106" y="182"/>
                    </a:lnTo>
                    <a:lnTo>
                      <a:pt x="103" y="182"/>
                    </a:lnTo>
                    <a:lnTo>
                      <a:pt x="85" y="182"/>
                    </a:lnTo>
                    <a:lnTo>
                      <a:pt x="84" y="196"/>
                    </a:lnTo>
                    <a:lnTo>
                      <a:pt x="84" y="166"/>
                    </a:lnTo>
                    <a:lnTo>
                      <a:pt x="84" y="160"/>
                    </a:lnTo>
                    <a:lnTo>
                      <a:pt x="77" y="154"/>
                    </a:lnTo>
                    <a:lnTo>
                      <a:pt x="75" y="153"/>
                    </a:lnTo>
                    <a:lnTo>
                      <a:pt x="73" y="149"/>
                    </a:lnTo>
                    <a:lnTo>
                      <a:pt x="73" y="149"/>
                    </a:lnTo>
                    <a:lnTo>
                      <a:pt x="71" y="149"/>
                    </a:lnTo>
                    <a:lnTo>
                      <a:pt x="70" y="149"/>
                    </a:lnTo>
                    <a:lnTo>
                      <a:pt x="68" y="149"/>
                    </a:lnTo>
                    <a:lnTo>
                      <a:pt x="66" y="149"/>
                    </a:lnTo>
                    <a:lnTo>
                      <a:pt x="66" y="146"/>
                    </a:lnTo>
                    <a:lnTo>
                      <a:pt x="66" y="146"/>
                    </a:lnTo>
                    <a:lnTo>
                      <a:pt x="63" y="146"/>
                    </a:lnTo>
                    <a:lnTo>
                      <a:pt x="63" y="146"/>
                    </a:lnTo>
                    <a:lnTo>
                      <a:pt x="61" y="146"/>
                    </a:lnTo>
                    <a:lnTo>
                      <a:pt x="61" y="146"/>
                    </a:lnTo>
                    <a:lnTo>
                      <a:pt x="61" y="146"/>
                    </a:lnTo>
                    <a:lnTo>
                      <a:pt x="58" y="142"/>
                    </a:lnTo>
                    <a:lnTo>
                      <a:pt x="56" y="140"/>
                    </a:lnTo>
                    <a:lnTo>
                      <a:pt x="54" y="139"/>
                    </a:lnTo>
                    <a:lnTo>
                      <a:pt x="52" y="137"/>
                    </a:lnTo>
                    <a:lnTo>
                      <a:pt x="51" y="137"/>
                    </a:lnTo>
                    <a:lnTo>
                      <a:pt x="44" y="135"/>
                    </a:lnTo>
                    <a:lnTo>
                      <a:pt x="40" y="135"/>
                    </a:lnTo>
                    <a:lnTo>
                      <a:pt x="38" y="132"/>
                    </a:lnTo>
                    <a:lnTo>
                      <a:pt x="35" y="132"/>
                    </a:lnTo>
                    <a:lnTo>
                      <a:pt x="35" y="130"/>
                    </a:lnTo>
                    <a:lnTo>
                      <a:pt x="32" y="130"/>
                    </a:lnTo>
                    <a:lnTo>
                      <a:pt x="30" y="130"/>
                    </a:lnTo>
                    <a:lnTo>
                      <a:pt x="28" y="130"/>
                    </a:lnTo>
                    <a:lnTo>
                      <a:pt x="21" y="126"/>
                    </a:lnTo>
                    <a:lnTo>
                      <a:pt x="18" y="113"/>
                    </a:lnTo>
                    <a:lnTo>
                      <a:pt x="5" y="95"/>
                    </a:lnTo>
                    <a:lnTo>
                      <a:pt x="2" y="76"/>
                    </a:lnTo>
                    <a:lnTo>
                      <a:pt x="0" y="62"/>
                    </a:lnTo>
                    <a:lnTo>
                      <a:pt x="9" y="62"/>
                    </a:lnTo>
                    <a:lnTo>
                      <a:pt x="12" y="60"/>
                    </a:lnTo>
                    <a:lnTo>
                      <a:pt x="18" y="55"/>
                    </a:lnTo>
                    <a:lnTo>
                      <a:pt x="21" y="50"/>
                    </a:lnTo>
                    <a:lnTo>
                      <a:pt x="23" y="50"/>
                    </a:lnTo>
                    <a:lnTo>
                      <a:pt x="25" y="48"/>
                    </a:lnTo>
                    <a:lnTo>
                      <a:pt x="28" y="45"/>
                    </a:lnTo>
                    <a:lnTo>
                      <a:pt x="28" y="41"/>
                    </a:lnTo>
                    <a:lnTo>
                      <a:pt x="28" y="36"/>
                    </a:lnTo>
                    <a:lnTo>
                      <a:pt x="25" y="36"/>
                    </a:lnTo>
                    <a:lnTo>
                      <a:pt x="25" y="34"/>
                    </a:lnTo>
                    <a:lnTo>
                      <a:pt x="23" y="33"/>
                    </a:lnTo>
                    <a:lnTo>
                      <a:pt x="23" y="31"/>
                    </a:lnTo>
                    <a:lnTo>
                      <a:pt x="21" y="31"/>
                    </a:lnTo>
                    <a:lnTo>
                      <a:pt x="21" y="27"/>
                    </a:lnTo>
                    <a:lnTo>
                      <a:pt x="21" y="27"/>
                    </a:lnTo>
                    <a:lnTo>
                      <a:pt x="23" y="27"/>
                    </a:lnTo>
                    <a:lnTo>
                      <a:pt x="26" y="27"/>
                    </a:lnTo>
                    <a:lnTo>
                      <a:pt x="26" y="26"/>
                    </a:lnTo>
                    <a:lnTo>
                      <a:pt x="28" y="26"/>
                    </a:lnTo>
                    <a:lnTo>
                      <a:pt x="28" y="22"/>
                    </a:lnTo>
                    <a:lnTo>
                      <a:pt x="28" y="19"/>
                    </a:lnTo>
                    <a:lnTo>
                      <a:pt x="26" y="13"/>
                    </a:lnTo>
                    <a:lnTo>
                      <a:pt x="25" y="12"/>
                    </a:lnTo>
                    <a:lnTo>
                      <a:pt x="25" y="8"/>
                    </a:lnTo>
                    <a:lnTo>
                      <a:pt x="23" y="7"/>
                    </a:lnTo>
                    <a:lnTo>
                      <a:pt x="21" y="3"/>
                    </a:lnTo>
                    <a:lnTo>
                      <a:pt x="21" y="3"/>
                    </a:lnTo>
                    <a:lnTo>
                      <a:pt x="21" y="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6" name="Freeform 139"/>
              <p:cNvSpPr>
                <a:spLocks/>
              </p:cNvSpPr>
              <p:nvPr/>
            </p:nvSpPr>
            <p:spPr bwMode="auto">
              <a:xfrm>
                <a:off x="5235575" y="4297363"/>
                <a:ext cx="55563" cy="46038"/>
              </a:xfrm>
              <a:custGeom>
                <a:avLst/>
                <a:gdLst/>
                <a:ahLst/>
                <a:cxnLst>
                  <a:cxn ang="0">
                    <a:pos x="10" y="5"/>
                  </a:cxn>
                  <a:cxn ang="0">
                    <a:pos x="12" y="5"/>
                  </a:cxn>
                  <a:cxn ang="0">
                    <a:pos x="14" y="3"/>
                  </a:cxn>
                  <a:cxn ang="0">
                    <a:pos x="15" y="2"/>
                  </a:cxn>
                  <a:cxn ang="0">
                    <a:pos x="19" y="3"/>
                  </a:cxn>
                  <a:cxn ang="0">
                    <a:pos x="19" y="3"/>
                  </a:cxn>
                  <a:cxn ang="0">
                    <a:pos x="24" y="3"/>
                  </a:cxn>
                  <a:cxn ang="0">
                    <a:pos x="24" y="3"/>
                  </a:cxn>
                  <a:cxn ang="0">
                    <a:pos x="24" y="0"/>
                  </a:cxn>
                  <a:cxn ang="0">
                    <a:pos x="28" y="0"/>
                  </a:cxn>
                  <a:cxn ang="0">
                    <a:pos x="29" y="3"/>
                  </a:cxn>
                  <a:cxn ang="0">
                    <a:pos x="31" y="5"/>
                  </a:cxn>
                  <a:cxn ang="0">
                    <a:pos x="31" y="8"/>
                  </a:cxn>
                  <a:cxn ang="0">
                    <a:pos x="33" y="10"/>
                  </a:cxn>
                  <a:cxn ang="0">
                    <a:pos x="35" y="15"/>
                  </a:cxn>
                  <a:cxn ang="0">
                    <a:pos x="35" y="19"/>
                  </a:cxn>
                  <a:cxn ang="0">
                    <a:pos x="35" y="22"/>
                  </a:cxn>
                  <a:cxn ang="0">
                    <a:pos x="33" y="22"/>
                  </a:cxn>
                  <a:cxn ang="0">
                    <a:pos x="33" y="24"/>
                  </a:cxn>
                  <a:cxn ang="0">
                    <a:pos x="29" y="24"/>
                  </a:cxn>
                  <a:cxn ang="0">
                    <a:pos x="28" y="24"/>
                  </a:cxn>
                  <a:cxn ang="0">
                    <a:pos x="28" y="24"/>
                  </a:cxn>
                  <a:cxn ang="0">
                    <a:pos x="28" y="22"/>
                  </a:cxn>
                  <a:cxn ang="0">
                    <a:pos x="28" y="22"/>
                  </a:cxn>
                  <a:cxn ang="0">
                    <a:pos x="24" y="19"/>
                  </a:cxn>
                  <a:cxn ang="0">
                    <a:pos x="24" y="19"/>
                  </a:cxn>
                  <a:cxn ang="0">
                    <a:pos x="22" y="19"/>
                  </a:cxn>
                  <a:cxn ang="0">
                    <a:pos x="19" y="19"/>
                  </a:cxn>
                  <a:cxn ang="0">
                    <a:pos x="19" y="22"/>
                  </a:cxn>
                  <a:cxn ang="0">
                    <a:pos x="19" y="28"/>
                  </a:cxn>
                  <a:cxn ang="0">
                    <a:pos x="19" y="28"/>
                  </a:cxn>
                  <a:cxn ang="0">
                    <a:pos x="15" y="29"/>
                  </a:cxn>
                  <a:cxn ang="0">
                    <a:pos x="14" y="28"/>
                  </a:cxn>
                  <a:cxn ang="0">
                    <a:pos x="12" y="28"/>
                  </a:cxn>
                  <a:cxn ang="0">
                    <a:pos x="12" y="29"/>
                  </a:cxn>
                  <a:cxn ang="0">
                    <a:pos x="9" y="28"/>
                  </a:cxn>
                  <a:cxn ang="0">
                    <a:pos x="7" y="24"/>
                  </a:cxn>
                  <a:cxn ang="0">
                    <a:pos x="5" y="24"/>
                  </a:cxn>
                  <a:cxn ang="0">
                    <a:pos x="2" y="24"/>
                  </a:cxn>
                  <a:cxn ang="0">
                    <a:pos x="0" y="24"/>
                  </a:cxn>
                  <a:cxn ang="0">
                    <a:pos x="0" y="22"/>
                  </a:cxn>
                  <a:cxn ang="0">
                    <a:pos x="3" y="10"/>
                  </a:cxn>
                  <a:cxn ang="0">
                    <a:pos x="7" y="8"/>
                  </a:cxn>
                  <a:cxn ang="0">
                    <a:pos x="10" y="5"/>
                  </a:cxn>
                  <a:cxn ang="0">
                    <a:pos x="10" y="5"/>
                  </a:cxn>
                  <a:cxn ang="0">
                    <a:pos x="10" y="5"/>
                  </a:cxn>
                </a:cxnLst>
                <a:rect l="0" t="0" r="r" b="b"/>
                <a:pathLst>
                  <a:path w="35" h="29">
                    <a:moveTo>
                      <a:pt x="10" y="5"/>
                    </a:moveTo>
                    <a:lnTo>
                      <a:pt x="12" y="5"/>
                    </a:lnTo>
                    <a:lnTo>
                      <a:pt x="14" y="3"/>
                    </a:lnTo>
                    <a:lnTo>
                      <a:pt x="15" y="2"/>
                    </a:lnTo>
                    <a:lnTo>
                      <a:pt x="19" y="3"/>
                    </a:lnTo>
                    <a:lnTo>
                      <a:pt x="19" y="3"/>
                    </a:lnTo>
                    <a:lnTo>
                      <a:pt x="24" y="3"/>
                    </a:lnTo>
                    <a:lnTo>
                      <a:pt x="24" y="3"/>
                    </a:lnTo>
                    <a:lnTo>
                      <a:pt x="24" y="0"/>
                    </a:lnTo>
                    <a:lnTo>
                      <a:pt x="28" y="0"/>
                    </a:lnTo>
                    <a:lnTo>
                      <a:pt x="29" y="3"/>
                    </a:lnTo>
                    <a:lnTo>
                      <a:pt x="31" y="5"/>
                    </a:lnTo>
                    <a:lnTo>
                      <a:pt x="31" y="8"/>
                    </a:lnTo>
                    <a:lnTo>
                      <a:pt x="33" y="10"/>
                    </a:lnTo>
                    <a:lnTo>
                      <a:pt x="35" y="15"/>
                    </a:lnTo>
                    <a:lnTo>
                      <a:pt x="35" y="19"/>
                    </a:lnTo>
                    <a:lnTo>
                      <a:pt x="35" y="22"/>
                    </a:lnTo>
                    <a:lnTo>
                      <a:pt x="33" y="22"/>
                    </a:lnTo>
                    <a:lnTo>
                      <a:pt x="33" y="24"/>
                    </a:lnTo>
                    <a:lnTo>
                      <a:pt x="29" y="24"/>
                    </a:lnTo>
                    <a:lnTo>
                      <a:pt x="28" y="24"/>
                    </a:lnTo>
                    <a:lnTo>
                      <a:pt x="28" y="24"/>
                    </a:lnTo>
                    <a:lnTo>
                      <a:pt x="28" y="22"/>
                    </a:lnTo>
                    <a:lnTo>
                      <a:pt x="28" y="22"/>
                    </a:lnTo>
                    <a:lnTo>
                      <a:pt x="24" y="19"/>
                    </a:lnTo>
                    <a:lnTo>
                      <a:pt x="24" y="19"/>
                    </a:lnTo>
                    <a:lnTo>
                      <a:pt x="22" y="19"/>
                    </a:lnTo>
                    <a:lnTo>
                      <a:pt x="19" y="19"/>
                    </a:lnTo>
                    <a:lnTo>
                      <a:pt x="19" y="22"/>
                    </a:lnTo>
                    <a:lnTo>
                      <a:pt x="19" y="28"/>
                    </a:lnTo>
                    <a:lnTo>
                      <a:pt x="19" y="28"/>
                    </a:lnTo>
                    <a:lnTo>
                      <a:pt x="15" y="29"/>
                    </a:lnTo>
                    <a:lnTo>
                      <a:pt x="14" y="28"/>
                    </a:lnTo>
                    <a:lnTo>
                      <a:pt x="12" y="28"/>
                    </a:lnTo>
                    <a:lnTo>
                      <a:pt x="12" y="29"/>
                    </a:lnTo>
                    <a:lnTo>
                      <a:pt x="9" y="28"/>
                    </a:lnTo>
                    <a:lnTo>
                      <a:pt x="7" y="24"/>
                    </a:lnTo>
                    <a:lnTo>
                      <a:pt x="5" y="24"/>
                    </a:lnTo>
                    <a:lnTo>
                      <a:pt x="2" y="24"/>
                    </a:lnTo>
                    <a:lnTo>
                      <a:pt x="0" y="24"/>
                    </a:lnTo>
                    <a:lnTo>
                      <a:pt x="0" y="22"/>
                    </a:lnTo>
                    <a:lnTo>
                      <a:pt x="3" y="10"/>
                    </a:lnTo>
                    <a:lnTo>
                      <a:pt x="7" y="8"/>
                    </a:lnTo>
                    <a:lnTo>
                      <a:pt x="10" y="5"/>
                    </a:lnTo>
                    <a:lnTo>
                      <a:pt x="10" y="5"/>
                    </a:lnTo>
                    <a:lnTo>
                      <a:pt x="10" y="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7" name="Freeform 140"/>
              <p:cNvSpPr>
                <a:spLocks/>
              </p:cNvSpPr>
              <p:nvPr/>
            </p:nvSpPr>
            <p:spPr bwMode="auto">
              <a:xfrm>
                <a:off x="5235575" y="4321176"/>
                <a:ext cx="55563"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8" name="Freeform 141"/>
              <p:cNvSpPr>
                <a:spLocks/>
              </p:cNvSpPr>
              <p:nvPr/>
            </p:nvSpPr>
            <p:spPr bwMode="auto">
              <a:xfrm>
                <a:off x="5235575" y="4321176"/>
                <a:ext cx="55563" cy="69850"/>
              </a:xfrm>
              <a:custGeom>
                <a:avLst/>
                <a:gdLst/>
                <a:ahLst/>
                <a:cxnLst>
                  <a:cxn ang="0">
                    <a:pos x="7" y="44"/>
                  </a:cxn>
                  <a:cxn ang="0">
                    <a:pos x="15" y="44"/>
                  </a:cxn>
                  <a:cxn ang="0">
                    <a:pos x="19" y="40"/>
                  </a:cxn>
                  <a:cxn ang="0">
                    <a:pos x="24" y="35"/>
                  </a:cxn>
                  <a:cxn ang="0">
                    <a:pos x="28" y="30"/>
                  </a:cxn>
                  <a:cxn ang="0">
                    <a:pos x="29" y="30"/>
                  </a:cxn>
                  <a:cxn ang="0">
                    <a:pos x="31" y="28"/>
                  </a:cxn>
                  <a:cxn ang="0">
                    <a:pos x="35" y="25"/>
                  </a:cxn>
                  <a:cxn ang="0">
                    <a:pos x="35" y="20"/>
                  </a:cxn>
                  <a:cxn ang="0">
                    <a:pos x="35" y="14"/>
                  </a:cxn>
                  <a:cxn ang="0">
                    <a:pos x="31" y="14"/>
                  </a:cxn>
                  <a:cxn ang="0">
                    <a:pos x="31" y="14"/>
                  </a:cxn>
                  <a:cxn ang="0">
                    <a:pos x="29" y="11"/>
                  </a:cxn>
                  <a:cxn ang="0">
                    <a:pos x="29" y="11"/>
                  </a:cxn>
                  <a:cxn ang="0">
                    <a:pos x="28" y="9"/>
                  </a:cxn>
                  <a:cxn ang="0">
                    <a:pos x="28" y="6"/>
                  </a:cxn>
                  <a:cxn ang="0">
                    <a:pos x="28" y="4"/>
                  </a:cxn>
                  <a:cxn ang="0">
                    <a:pos x="24" y="0"/>
                  </a:cxn>
                  <a:cxn ang="0">
                    <a:pos x="24" y="0"/>
                  </a:cxn>
                  <a:cxn ang="0">
                    <a:pos x="22" y="0"/>
                  </a:cxn>
                  <a:cxn ang="0">
                    <a:pos x="19" y="0"/>
                  </a:cxn>
                  <a:cxn ang="0">
                    <a:pos x="19" y="4"/>
                  </a:cxn>
                  <a:cxn ang="0">
                    <a:pos x="19" y="9"/>
                  </a:cxn>
                  <a:cxn ang="0">
                    <a:pos x="19" y="11"/>
                  </a:cxn>
                  <a:cxn ang="0">
                    <a:pos x="15" y="11"/>
                  </a:cxn>
                  <a:cxn ang="0">
                    <a:pos x="14" y="11"/>
                  </a:cxn>
                  <a:cxn ang="0">
                    <a:pos x="12" y="11"/>
                  </a:cxn>
                  <a:cxn ang="0">
                    <a:pos x="12" y="11"/>
                  </a:cxn>
                  <a:cxn ang="0">
                    <a:pos x="9" y="11"/>
                  </a:cxn>
                  <a:cxn ang="0">
                    <a:pos x="7" y="6"/>
                  </a:cxn>
                  <a:cxn ang="0">
                    <a:pos x="5" y="6"/>
                  </a:cxn>
                  <a:cxn ang="0">
                    <a:pos x="2" y="6"/>
                  </a:cxn>
                  <a:cxn ang="0">
                    <a:pos x="0" y="6"/>
                  </a:cxn>
                  <a:cxn ang="0">
                    <a:pos x="0" y="9"/>
                  </a:cxn>
                  <a:cxn ang="0">
                    <a:pos x="2" y="11"/>
                  </a:cxn>
                  <a:cxn ang="0">
                    <a:pos x="3" y="16"/>
                  </a:cxn>
                  <a:cxn ang="0">
                    <a:pos x="3" y="20"/>
                  </a:cxn>
                  <a:cxn ang="0">
                    <a:pos x="7" y="44"/>
                  </a:cxn>
                  <a:cxn ang="0">
                    <a:pos x="7" y="44"/>
                  </a:cxn>
                  <a:cxn ang="0">
                    <a:pos x="7" y="44"/>
                  </a:cxn>
                </a:cxnLst>
                <a:rect l="0" t="0" r="r" b="b"/>
                <a:pathLst>
                  <a:path w="35" h="44">
                    <a:moveTo>
                      <a:pt x="7" y="44"/>
                    </a:moveTo>
                    <a:lnTo>
                      <a:pt x="15" y="44"/>
                    </a:lnTo>
                    <a:lnTo>
                      <a:pt x="19" y="40"/>
                    </a:lnTo>
                    <a:lnTo>
                      <a:pt x="24" y="35"/>
                    </a:lnTo>
                    <a:lnTo>
                      <a:pt x="28" y="30"/>
                    </a:lnTo>
                    <a:lnTo>
                      <a:pt x="29" y="30"/>
                    </a:lnTo>
                    <a:lnTo>
                      <a:pt x="31" y="28"/>
                    </a:lnTo>
                    <a:lnTo>
                      <a:pt x="35" y="25"/>
                    </a:lnTo>
                    <a:lnTo>
                      <a:pt x="35" y="20"/>
                    </a:lnTo>
                    <a:lnTo>
                      <a:pt x="35" y="14"/>
                    </a:lnTo>
                    <a:lnTo>
                      <a:pt x="31" y="14"/>
                    </a:lnTo>
                    <a:lnTo>
                      <a:pt x="31" y="14"/>
                    </a:lnTo>
                    <a:lnTo>
                      <a:pt x="29" y="11"/>
                    </a:lnTo>
                    <a:lnTo>
                      <a:pt x="29" y="11"/>
                    </a:lnTo>
                    <a:lnTo>
                      <a:pt x="28" y="9"/>
                    </a:lnTo>
                    <a:lnTo>
                      <a:pt x="28" y="6"/>
                    </a:lnTo>
                    <a:lnTo>
                      <a:pt x="28" y="4"/>
                    </a:lnTo>
                    <a:lnTo>
                      <a:pt x="24" y="0"/>
                    </a:lnTo>
                    <a:lnTo>
                      <a:pt x="24" y="0"/>
                    </a:lnTo>
                    <a:lnTo>
                      <a:pt x="22" y="0"/>
                    </a:lnTo>
                    <a:lnTo>
                      <a:pt x="19" y="0"/>
                    </a:lnTo>
                    <a:lnTo>
                      <a:pt x="19" y="4"/>
                    </a:lnTo>
                    <a:lnTo>
                      <a:pt x="19" y="9"/>
                    </a:lnTo>
                    <a:lnTo>
                      <a:pt x="19" y="11"/>
                    </a:lnTo>
                    <a:lnTo>
                      <a:pt x="15" y="11"/>
                    </a:lnTo>
                    <a:lnTo>
                      <a:pt x="14" y="11"/>
                    </a:lnTo>
                    <a:lnTo>
                      <a:pt x="12" y="11"/>
                    </a:lnTo>
                    <a:lnTo>
                      <a:pt x="12" y="11"/>
                    </a:lnTo>
                    <a:lnTo>
                      <a:pt x="9" y="11"/>
                    </a:lnTo>
                    <a:lnTo>
                      <a:pt x="7" y="6"/>
                    </a:lnTo>
                    <a:lnTo>
                      <a:pt x="5" y="6"/>
                    </a:lnTo>
                    <a:lnTo>
                      <a:pt x="2" y="6"/>
                    </a:lnTo>
                    <a:lnTo>
                      <a:pt x="0" y="6"/>
                    </a:lnTo>
                    <a:lnTo>
                      <a:pt x="0" y="9"/>
                    </a:lnTo>
                    <a:lnTo>
                      <a:pt x="2" y="11"/>
                    </a:lnTo>
                    <a:lnTo>
                      <a:pt x="3" y="16"/>
                    </a:lnTo>
                    <a:lnTo>
                      <a:pt x="3" y="20"/>
                    </a:lnTo>
                    <a:lnTo>
                      <a:pt x="7" y="44"/>
                    </a:lnTo>
                    <a:lnTo>
                      <a:pt x="7" y="44"/>
                    </a:lnTo>
                    <a:lnTo>
                      <a:pt x="7" y="4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9" name="Freeform 142"/>
              <p:cNvSpPr>
                <a:spLocks/>
              </p:cNvSpPr>
              <p:nvPr/>
            </p:nvSpPr>
            <p:spPr bwMode="auto">
              <a:xfrm>
                <a:off x="4779963" y="4119563"/>
                <a:ext cx="519113" cy="511175"/>
              </a:xfrm>
              <a:custGeom>
                <a:avLst/>
                <a:gdLst/>
                <a:ahLst/>
                <a:cxnLst>
                  <a:cxn ang="0">
                    <a:pos x="9" y="178"/>
                  </a:cxn>
                  <a:cxn ang="0">
                    <a:pos x="21" y="174"/>
                  </a:cxn>
                  <a:cxn ang="0">
                    <a:pos x="37" y="166"/>
                  </a:cxn>
                  <a:cxn ang="0">
                    <a:pos x="45" y="174"/>
                  </a:cxn>
                  <a:cxn ang="0">
                    <a:pos x="66" y="159"/>
                  </a:cxn>
                  <a:cxn ang="0">
                    <a:pos x="68" y="131"/>
                  </a:cxn>
                  <a:cxn ang="0">
                    <a:pos x="84" y="112"/>
                  </a:cxn>
                  <a:cxn ang="0">
                    <a:pos x="99" y="87"/>
                  </a:cxn>
                  <a:cxn ang="0">
                    <a:pos x="103" y="65"/>
                  </a:cxn>
                  <a:cxn ang="0">
                    <a:pos x="115" y="39"/>
                  </a:cxn>
                  <a:cxn ang="0">
                    <a:pos x="113" y="16"/>
                  </a:cxn>
                  <a:cxn ang="0">
                    <a:pos x="118" y="7"/>
                  </a:cxn>
                  <a:cxn ang="0">
                    <a:pos x="130" y="2"/>
                  </a:cxn>
                  <a:cxn ang="0">
                    <a:pos x="146" y="16"/>
                  </a:cxn>
                  <a:cxn ang="0">
                    <a:pos x="165" y="16"/>
                  </a:cxn>
                  <a:cxn ang="0">
                    <a:pos x="176" y="16"/>
                  </a:cxn>
                  <a:cxn ang="0">
                    <a:pos x="190" y="11"/>
                  </a:cxn>
                  <a:cxn ang="0">
                    <a:pos x="212" y="2"/>
                  </a:cxn>
                  <a:cxn ang="0">
                    <a:pos x="223" y="6"/>
                  </a:cxn>
                  <a:cxn ang="0">
                    <a:pos x="229" y="0"/>
                  </a:cxn>
                  <a:cxn ang="0">
                    <a:pos x="245" y="4"/>
                  </a:cxn>
                  <a:cxn ang="0">
                    <a:pos x="266" y="4"/>
                  </a:cxn>
                  <a:cxn ang="0">
                    <a:pos x="280" y="16"/>
                  </a:cxn>
                  <a:cxn ang="0">
                    <a:pos x="290" y="14"/>
                  </a:cxn>
                  <a:cxn ang="0">
                    <a:pos x="304" y="9"/>
                  </a:cxn>
                  <a:cxn ang="0">
                    <a:pos x="316" y="23"/>
                  </a:cxn>
                  <a:cxn ang="0">
                    <a:pos x="325" y="30"/>
                  </a:cxn>
                  <a:cxn ang="0">
                    <a:pos x="323" y="51"/>
                  </a:cxn>
                  <a:cxn ang="0">
                    <a:pos x="311" y="79"/>
                  </a:cxn>
                  <a:cxn ang="0">
                    <a:pos x="301" y="114"/>
                  </a:cxn>
                  <a:cxn ang="0">
                    <a:pos x="292" y="143"/>
                  </a:cxn>
                  <a:cxn ang="0">
                    <a:pos x="315" y="232"/>
                  </a:cxn>
                  <a:cxn ang="0">
                    <a:pos x="285" y="260"/>
                  </a:cxn>
                  <a:cxn ang="0">
                    <a:pos x="282" y="273"/>
                  </a:cxn>
                  <a:cxn ang="0">
                    <a:pos x="276" y="293"/>
                  </a:cxn>
                  <a:cxn ang="0">
                    <a:pos x="296" y="305"/>
                  </a:cxn>
                  <a:cxn ang="0">
                    <a:pos x="301" y="322"/>
                  </a:cxn>
                  <a:cxn ang="0">
                    <a:pos x="289" y="322"/>
                  </a:cxn>
                  <a:cxn ang="0">
                    <a:pos x="266" y="301"/>
                  </a:cxn>
                  <a:cxn ang="0">
                    <a:pos x="254" y="291"/>
                  </a:cxn>
                  <a:cxn ang="0">
                    <a:pos x="242" y="300"/>
                  </a:cxn>
                  <a:cxn ang="0">
                    <a:pos x="224" y="293"/>
                  </a:cxn>
                  <a:cxn ang="0">
                    <a:pos x="217" y="284"/>
                  </a:cxn>
                  <a:cxn ang="0">
                    <a:pos x="207" y="287"/>
                  </a:cxn>
                  <a:cxn ang="0">
                    <a:pos x="202" y="280"/>
                  </a:cxn>
                  <a:cxn ang="0">
                    <a:pos x="188" y="284"/>
                  </a:cxn>
                  <a:cxn ang="0">
                    <a:pos x="176" y="282"/>
                  </a:cxn>
                  <a:cxn ang="0">
                    <a:pos x="172" y="277"/>
                  </a:cxn>
                  <a:cxn ang="0">
                    <a:pos x="170" y="265"/>
                  </a:cxn>
                  <a:cxn ang="0">
                    <a:pos x="167" y="256"/>
                  </a:cxn>
                  <a:cxn ang="0">
                    <a:pos x="165" y="240"/>
                  </a:cxn>
                  <a:cxn ang="0">
                    <a:pos x="163" y="227"/>
                  </a:cxn>
                  <a:cxn ang="0">
                    <a:pos x="144" y="214"/>
                  </a:cxn>
                  <a:cxn ang="0">
                    <a:pos x="122" y="216"/>
                  </a:cxn>
                  <a:cxn ang="0">
                    <a:pos x="106" y="230"/>
                  </a:cxn>
                  <a:cxn ang="0">
                    <a:pos x="89" y="223"/>
                  </a:cxn>
                  <a:cxn ang="0">
                    <a:pos x="80" y="209"/>
                  </a:cxn>
                  <a:cxn ang="0">
                    <a:pos x="77" y="197"/>
                  </a:cxn>
                  <a:cxn ang="0">
                    <a:pos x="37" y="192"/>
                  </a:cxn>
                  <a:cxn ang="0">
                    <a:pos x="18" y="192"/>
                  </a:cxn>
                  <a:cxn ang="0">
                    <a:pos x="9" y="195"/>
                  </a:cxn>
                  <a:cxn ang="0">
                    <a:pos x="0" y="192"/>
                  </a:cxn>
                </a:cxnLst>
                <a:rect l="0" t="0" r="r" b="b"/>
                <a:pathLst>
                  <a:path w="327" h="322">
                    <a:moveTo>
                      <a:pt x="0" y="192"/>
                    </a:moveTo>
                    <a:lnTo>
                      <a:pt x="4" y="190"/>
                    </a:lnTo>
                    <a:lnTo>
                      <a:pt x="7" y="188"/>
                    </a:lnTo>
                    <a:lnTo>
                      <a:pt x="9" y="187"/>
                    </a:lnTo>
                    <a:lnTo>
                      <a:pt x="9" y="180"/>
                    </a:lnTo>
                    <a:lnTo>
                      <a:pt x="9" y="178"/>
                    </a:lnTo>
                    <a:lnTo>
                      <a:pt x="14" y="174"/>
                    </a:lnTo>
                    <a:lnTo>
                      <a:pt x="18" y="173"/>
                    </a:lnTo>
                    <a:lnTo>
                      <a:pt x="18" y="173"/>
                    </a:lnTo>
                    <a:lnTo>
                      <a:pt x="21" y="173"/>
                    </a:lnTo>
                    <a:lnTo>
                      <a:pt x="21" y="173"/>
                    </a:lnTo>
                    <a:lnTo>
                      <a:pt x="21" y="174"/>
                    </a:lnTo>
                    <a:lnTo>
                      <a:pt x="26" y="174"/>
                    </a:lnTo>
                    <a:lnTo>
                      <a:pt x="26" y="173"/>
                    </a:lnTo>
                    <a:lnTo>
                      <a:pt x="30" y="169"/>
                    </a:lnTo>
                    <a:lnTo>
                      <a:pt x="30" y="169"/>
                    </a:lnTo>
                    <a:lnTo>
                      <a:pt x="31" y="169"/>
                    </a:lnTo>
                    <a:lnTo>
                      <a:pt x="37" y="166"/>
                    </a:lnTo>
                    <a:lnTo>
                      <a:pt x="40" y="164"/>
                    </a:lnTo>
                    <a:lnTo>
                      <a:pt x="40" y="166"/>
                    </a:lnTo>
                    <a:lnTo>
                      <a:pt x="38" y="169"/>
                    </a:lnTo>
                    <a:lnTo>
                      <a:pt x="40" y="169"/>
                    </a:lnTo>
                    <a:lnTo>
                      <a:pt x="40" y="173"/>
                    </a:lnTo>
                    <a:lnTo>
                      <a:pt x="45" y="174"/>
                    </a:lnTo>
                    <a:lnTo>
                      <a:pt x="49" y="173"/>
                    </a:lnTo>
                    <a:lnTo>
                      <a:pt x="52" y="169"/>
                    </a:lnTo>
                    <a:lnTo>
                      <a:pt x="57" y="164"/>
                    </a:lnTo>
                    <a:lnTo>
                      <a:pt x="59" y="160"/>
                    </a:lnTo>
                    <a:lnTo>
                      <a:pt x="63" y="159"/>
                    </a:lnTo>
                    <a:lnTo>
                      <a:pt x="66" y="159"/>
                    </a:lnTo>
                    <a:lnTo>
                      <a:pt x="68" y="154"/>
                    </a:lnTo>
                    <a:lnTo>
                      <a:pt x="68" y="150"/>
                    </a:lnTo>
                    <a:lnTo>
                      <a:pt x="68" y="147"/>
                    </a:lnTo>
                    <a:lnTo>
                      <a:pt x="68" y="136"/>
                    </a:lnTo>
                    <a:lnTo>
                      <a:pt x="68" y="136"/>
                    </a:lnTo>
                    <a:lnTo>
                      <a:pt x="68" y="131"/>
                    </a:lnTo>
                    <a:lnTo>
                      <a:pt x="68" y="127"/>
                    </a:lnTo>
                    <a:lnTo>
                      <a:pt x="75" y="120"/>
                    </a:lnTo>
                    <a:lnTo>
                      <a:pt x="75" y="119"/>
                    </a:lnTo>
                    <a:lnTo>
                      <a:pt x="80" y="114"/>
                    </a:lnTo>
                    <a:lnTo>
                      <a:pt x="82" y="112"/>
                    </a:lnTo>
                    <a:lnTo>
                      <a:pt x="84" y="112"/>
                    </a:lnTo>
                    <a:lnTo>
                      <a:pt x="87" y="110"/>
                    </a:lnTo>
                    <a:lnTo>
                      <a:pt x="90" y="108"/>
                    </a:lnTo>
                    <a:lnTo>
                      <a:pt x="97" y="100"/>
                    </a:lnTo>
                    <a:lnTo>
                      <a:pt x="97" y="93"/>
                    </a:lnTo>
                    <a:lnTo>
                      <a:pt x="99" y="89"/>
                    </a:lnTo>
                    <a:lnTo>
                      <a:pt x="99" y="87"/>
                    </a:lnTo>
                    <a:lnTo>
                      <a:pt x="99" y="82"/>
                    </a:lnTo>
                    <a:lnTo>
                      <a:pt x="99" y="80"/>
                    </a:lnTo>
                    <a:lnTo>
                      <a:pt x="99" y="75"/>
                    </a:lnTo>
                    <a:lnTo>
                      <a:pt x="99" y="74"/>
                    </a:lnTo>
                    <a:lnTo>
                      <a:pt x="99" y="70"/>
                    </a:lnTo>
                    <a:lnTo>
                      <a:pt x="103" y="65"/>
                    </a:lnTo>
                    <a:lnTo>
                      <a:pt x="103" y="63"/>
                    </a:lnTo>
                    <a:lnTo>
                      <a:pt x="104" y="58"/>
                    </a:lnTo>
                    <a:lnTo>
                      <a:pt x="103" y="53"/>
                    </a:lnTo>
                    <a:lnTo>
                      <a:pt x="110" y="42"/>
                    </a:lnTo>
                    <a:lnTo>
                      <a:pt x="111" y="40"/>
                    </a:lnTo>
                    <a:lnTo>
                      <a:pt x="115" y="39"/>
                    </a:lnTo>
                    <a:lnTo>
                      <a:pt x="115" y="32"/>
                    </a:lnTo>
                    <a:lnTo>
                      <a:pt x="113" y="28"/>
                    </a:lnTo>
                    <a:lnTo>
                      <a:pt x="113" y="23"/>
                    </a:lnTo>
                    <a:lnTo>
                      <a:pt x="113" y="23"/>
                    </a:lnTo>
                    <a:lnTo>
                      <a:pt x="115" y="20"/>
                    </a:lnTo>
                    <a:lnTo>
                      <a:pt x="113" y="16"/>
                    </a:lnTo>
                    <a:lnTo>
                      <a:pt x="113" y="16"/>
                    </a:lnTo>
                    <a:lnTo>
                      <a:pt x="115" y="16"/>
                    </a:lnTo>
                    <a:lnTo>
                      <a:pt x="117" y="14"/>
                    </a:lnTo>
                    <a:lnTo>
                      <a:pt x="117" y="11"/>
                    </a:lnTo>
                    <a:lnTo>
                      <a:pt x="118" y="9"/>
                    </a:lnTo>
                    <a:lnTo>
                      <a:pt x="118" y="7"/>
                    </a:lnTo>
                    <a:lnTo>
                      <a:pt x="120" y="6"/>
                    </a:lnTo>
                    <a:lnTo>
                      <a:pt x="122" y="6"/>
                    </a:lnTo>
                    <a:lnTo>
                      <a:pt x="125" y="4"/>
                    </a:lnTo>
                    <a:lnTo>
                      <a:pt x="125" y="4"/>
                    </a:lnTo>
                    <a:lnTo>
                      <a:pt x="127" y="2"/>
                    </a:lnTo>
                    <a:lnTo>
                      <a:pt x="130" y="2"/>
                    </a:lnTo>
                    <a:lnTo>
                      <a:pt x="130" y="4"/>
                    </a:lnTo>
                    <a:lnTo>
                      <a:pt x="132" y="4"/>
                    </a:lnTo>
                    <a:lnTo>
                      <a:pt x="139" y="9"/>
                    </a:lnTo>
                    <a:lnTo>
                      <a:pt x="141" y="11"/>
                    </a:lnTo>
                    <a:lnTo>
                      <a:pt x="146" y="14"/>
                    </a:lnTo>
                    <a:lnTo>
                      <a:pt x="146" y="16"/>
                    </a:lnTo>
                    <a:lnTo>
                      <a:pt x="150" y="14"/>
                    </a:lnTo>
                    <a:lnTo>
                      <a:pt x="153" y="16"/>
                    </a:lnTo>
                    <a:lnTo>
                      <a:pt x="157" y="16"/>
                    </a:lnTo>
                    <a:lnTo>
                      <a:pt x="160" y="16"/>
                    </a:lnTo>
                    <a:lnTo>
                      <a:pt x="162" y="16"/>
                    </a:lnTo>
                    <a:lnTo>
                      <a:pt x="165" y="16"/>
                    </a:lnTo>
                    <a:lnTo>
                      <a:pt x="169" y="16"/>
                    </a:lnTo>
                    <a:lnTo>
                      <a:pt x="172" y="20"/>
                    </a:lnTo>
                    <a:lnTo>
                      <a:pt x="172" y="20"/>
                    </a:lnTo>
                    <a:lnTo>
                      <a:pt x="176" y="20"/>
                    </a:lnTo>
                    <a:lnTo>
                      <a:pt x="179" y="16"/>
                    </a:lnTo>
                    <a:lnTo>
                      <a:pt x="176" y="16"/>
                    </a:lnTo>
                    <a:lnTo>
                      <a:pt x="176" y="14"/>
                    </a:lnTo>
                    <a:lnTo>
                      <a:pt x="179" y="11"/>
                    </a:lnTo>
                    <a:lnTo>
                      <a:pt x="181" y="7"/>
                    </a:lnTo>
                    <a:lnTo>
                      <a:pt x="184" y="7"/>
                    </a:lnTo>
                    <a:lnTo>
                      <a:pt x="188" y="9"/>
                    </a:lnTo>
                    <a:lnTo>
                      <a:pt x="190" y="11"/>
                    </a:lnTo>
                    <a:lnTo>
                      <a:pt x="191" y="9"/>
                    </a:lnTo>
                    <a:lnTo>
                      <a:pt x="200" y="9"/>
                    </a:lnTo>
                    <a:lnTo>
                      <a:pt x="202" y="7"/>
                    </a:lnTo>
                    <a:lnTo>
                      <a:pt x="203" y="6"/>
                    </a:lnTo>
                    <a:lnTo>
                      <a:pt x="210" y="2"/>
                    </a:lnTo>
                    <a:lnTo>
                      <a:pt x="212" y="2"/>
                    </a:lnTo>
                    <a:lnTo>
                      <a:pt x="212" y="4"/>
                    </a:lnTo>
                    <a:lnTo>
                      <a:pt x="214" y="4"/>
                    </a:lnTo>
                    <a:lnTo>
                      <a:pt x="214" y="7"/>
                    </a:lnTo>
                    <a:lnTo>
                      <a:pt x="216" y="7"/>
                    </a:lnTo>
                    <a:lnTo>
                      <a:pt x="219" y="6"/>
                    </a:lnTo>
                    <a:lnTo>
                      <a:pt x="223" y="6"/>
                    </a:lnTo>
                    <a:lnTo>
                      <a:pt x="226" y="4"/>
                    </a:lnTo>
                    <a:lnTo>
                      <a:pt x="226" y="4"/>
                    </a:lnTo>
                    <a:lnTo>
                      <a:pt x="229" y="0"/>
                    </a:lnTo>
                    <a:lnTo>
                      <a:pt x="229" y="0"/>
                    </a:lnTo>
                    <a:lnTo>
                      <a:pt x="229" y="0"/>
                    </a:lnTo>
                    <a:lnTo>
                      <a:pt x="229" y="0"/>
                    </a:lnTo>
                    <a:lnTo>
                      <a:pt x="231" y="0"/>
                    </a:lnTo>
                    <a:lnTo>
                      <a:pt x="236" y="0"/>
                    </a:lnTo>
                    <a:lnTo>
                      <a:pt x="238" y="0"/>
                    </a:lnTo>
                    <a:lnTo>
                      <a:pt x="240" y="0"/>
                    </a:lnTo>
                    <a:lnTo>
                      <a:pt x="242" y="2"/>
                    </a:lnTo>
                    <a:lnTo>
                      <a:pt x="245" y="4"/>
                    </a:lnTo>
                    <a:lnTo>
                      <a:pt x="252" y="4"/>
                    </a:lnTo>
                    <a:lnTo>
                      <a:pt x="252" y="4"/>
                    </a:lnTo>
                    <a:lnTo>
                      <a:pt x="257" y="0"/>
                    </a:lnTo>
                    <a:lnTo>
                      <a:pt x="261" y="2"/>
                    </a:lnTo>
                    <a:lnTo>
                      <a:pt x="266" y="4"/>
                    </a:lnTo>
                    <a:lnTo>
                      <a:pt x="266" y="4"/>
                    </a:lnTo>
                    <a:lnTo>
                      <a:pt x="266" y="7"/>
                    </a:lnTo>
                    <a:lnTo>
                      <a:pt x="268" y="9"/>
                    </a:lnTo>
                    <a:lnTo>
                      <a:pt x="269" y="9"/>
                    </a:lnTo>
                    <a:lnTo>
                      <a:pt x="271" y="11"/>
                    </a:lnTo>
                    <a:lnTo>
                      <a:pt x="276" y="14"/>
                    </a:lnTo>
                    <a:lnTo>
                      <a:pt x="280" y="16"/>
                    </a:lnTo>
                    <a:lnTo>
                      <a:pt x="280" y="16"/>
                    </a:lnTo>
                    <a:lnTo>
                      <a:pt x="282" y="14"/>
                    </a:lnTo>
                    <a:lnTo>
                      <a:pt x="285" y="11"/>
                    </a:lnTo>
                    <a:lnTo>
                      <a:pt x="289" y="11"/>
                    </a:lnTo>
                    <a:lnTo>
                      <a:pt x="290" y="11"/>
                    </a:lnTo>
                    <a:lnTo>
                      <a:pt x="290" y="14"/>
                    </a:lnTo>
                    <a:lnTo>
                      <a:pt x="292" y="14"/>
                    </a:lnTo>
                    <a:lnTo>
                      <a:pt x="296" y="11"/>
                    </a:lnTo>
                    <a:lnTo>
                      <a:pt x="297" y="11"/>
                    </a:lnTo>
                    <a:lnTo>
                      <a:pt x="299" y="7"/>
                    </a:lnTo>
                    <a:lnTo>
                      <a:pt x="304" y="9"/>
                    </a:lnTo>
                    <a:lnTo>
                      <a:pt x="304" y="9"/>
                    </a:lnTo>
                    <a:lnTo>
                      <a:pt x="308" y="14"/>
                    </a:lnTo>
                    <a:lnTo>
                      <a:pt x="308" y="16"/>
                    </a:lnTo>
                    <a:lnTo>
                      <a:pt x="308" y="16"/>
                    </a:lnTo>
                    <a:lnTo>
                      <a:pt x="313" y="20"/>
                    </a:lnTo>
                    <a:lnTo>
                      <a:pt x="315" y="20"/>
                    </a:lnTo>
                    <a:lnTo>
                      <a:pt x="316" y="23"/>
                    </a:lnTo>
                    <a:lnTo>
                      <a:pt x="318" y="25"/>
                    </a:lnTo>
                    <a:lnTo>
                      <a:pt x="318" y="27"/>
                    </a:lnTo>
                    <a:lnTo>
                      <a:pt x="318" y="28"/>
                    </a:lnTo>
                    <a:lnTo>
                      <a:pt x="320" y="28"/>
                    </a:lnTo>
                    <a:lnTo>
                      <a:pt x="323" y="28"/>
                    </a:lnTo>
                    <a:lnTo>
                      <a:pt x="325" y="30"/>
                    </a:lnTo>
                    <a:lnTo>
                      <a:pt x="325" y="34"/>
                    </a:lnTo>
                    <a:lnTo>
                      <a:pt x="323" y="35"/>
                    </a:lnTo>
                    <a:lnTo>
                      <a:pt x="323" y="40"/>
                    </a:lnTo>
                    <a:lnTo>
                      <a:pt x="322" y="46"/>
                    </a:lnTo>
                    <a:lnTo>
                      <a:pt x="322" y="49"/>
                    </a:lnTo>
                    <a:lnTo>
                      <a:pt x="323" y="51"/>
                    </a:lnTo>
                    <a:lnTo>
                      <a:pt x="325" y="53"/>
                    </a:lnTo>
                    <a:lnTo>
                      <a:pt x="327" y="56"/>
                    </a:lnTo>
                    <a:lnTo>
                      <a:pt x="327" y="58"/>
                    </a:lnTo>
                    <a:lnTo>
                      <a:pt x="316" y="70"/>
                    </a:lnTo>
                    <a:lnTo>
                      <a:pt x="311" y="75"/>
                    </a:lnTo>
                    <a:lnTo>
                      <a:pt x="311" y="79"/>
                    </a:lnTo>
                    <a:lnTo>
                      <a:pt x="304" y="91"/>
                    </a:lnTo>
                    <a:lnTo>
                      <a:pt x="302" y="93"/>
                    </a:lnTo>
                    <a:lnTo>
                      <a:pt x="302" y="96"/>
                    </a:lnTo>
                    <a:lnTo>
                      <a:pt x="302" y="103"/>
                    </a:lnTo>
                    <a:lnTo>
                      <a:pt x="299" y="110"/>
                    </a:lnTo>
                    <a:lnTo>
                      <a:pt x="301" y="114"/>
                    </a:lnTo>
                    <a:lnTo>
                      <a:pt x="296" y="119"/>
                    </a:lnTo>
                    <a:lnTo>
                      <a:pt x="292" y="120"/>
                    </a:lnTo>
                    <a:lnTo>
                      <a:pt x="289" y="131"/>
                    </a:lnTo>
                    <a:lnTo>
                      <a:pt x="289" y="136"/>
                    </a:lnTo>
                    <a:lnTo>
                      <a:pt x="290" y="138"/>
                    </a:lnTo>
                    <a:lnTo>
                      <a:pt x="292" y="143"/>
                    </a:lnTo>
                    <a:lnTo>
                      <a:pt x="292" y="147"/>
                    </a:lnTo>
                    <a:lnTo>
                      <a:pt x="297" y="181"/>
                    </a:lnTo>
                    <a:lnTo>
                      <a:pt x="301" y="202"/>
                    </a:lnTo>
                    <a:lnTo>
                      <a:pt x="313" y="220"/>
                    </a:lnTo>
                    <a:lnTo>
                      <a:pt x="316" y="232"/>
                    </a:lnTo>
                    <a:lnTo>
                      <a:pt x="315" y="232"/>
                    </a:lnTo>
                    <a:lnTo>
                      <a:pt x="289" y="239"/>
                    </a:lnTo>
                    <a:lnTo>
                      <a:pt x="280" y="251"/>
                    </a:lnTo>
                    <a:lnTo>
                      <a:pt x="280" y="254"/>
                    </a:lnTo>
                    <a:lnTo>
                      <a:pt x="282" y="256"/>
                    </a:lnTo>
                    <a:lnTo>
                      <a:pt x="285" y="258"/>
                    </a:lnTo>
                    <a:lnTo>
                      <a:pt x="285" y="260"/>
                    </a:lnTo>
                    <a:lnTo>
                      <a:pt x="282" y="261"/>
                    </a:lnTo>
                    <a:lnTo>
                      <a:pt x="285" y="263"/>
                    </a:lnTo>
                    <a:lnTo>
                      <a:pt x="282" y="265"/>
                    </a:lnTo>
                    <a:lnTo>
                      <a:pt x="285" y="268"/>
                    </a:lnTo>
                    <a:lnTo>
                      <a:pt x="282" y="270"/>
                    </a:lnTo>
                    <a:lnTo>
                      <a:pt x="282" y="273"/>
                    </a:lnTo>
                    <a:lnTo>
                      <a:pt x="282" y="273"/>
                    </a:lnTo>
                    <a:lnTo>
                      <a:pt x="280" y="277"/>
                    </a:lnTo>
                    <a:lnTo>
                      <a:pt x="276" y="277"/>
                    </a:lnTo>
                    <a:lnTo>
                      <a:pt x="276" y="280"/>
                    </a:lnTo>
                    <a:lnTo>
                      <a:pt x="276" y="291"/>
                    </a:lnTo>
                    <a:lnTo>
                      <a:pt x="276" y="293"/>
                    </a:lnTo>
                    <a:lnTo>
                      <a:pt x="280" y="296"/>
                    </a:lnTo>
                    <a:lnTo>
                      <a:pt x="285" y="300"/>
                    </a:lnTo>
                    <a:lnTo>
                      <a:pt x="285" y="305"/>
                    </a:lnTo>
                    <a:lnTo>
                      <a:pt x="289" y="305"/>
                    </a:lnTo>
                    <a:lnTo>
                      <a:pt x="294" y="305"/>
                    </a:lnTo>
                    <a:lnTo>
                      <a:pt x="296" y="305"/>
                    </a:lnTo>
                    <a:lnTo>
                      <a:pt x="294" y="305"/>
                    </a:lnTo>
                    <a:lnTo>
                      <a:pt x="294" y="301"/>
                    </a:lnTo>
                    <a:lnTo>
                      <a:pt x="297" y="301"/>
                    </a:lnTo>
                    <a:lnTo>
                      <a:pt x="301" y="301"/>
                    </a:lnTo>
                    <a:lnTo>
                      <a:pt x="301" y="319"/>
                    </a:lnTo>
                    <a:lnTo>
                      <a:pt x="301" y="322"/>
                    </a:lnTo>
                    <a:lnTo>
                      <a:pt x="297" y="322"/>
                    </a:lnTo>
                    <a:lnTo>
                      <a:pt x="297" y="319"/>
                    </a:lnTo>
                    <a:lnTo>
                      <a:pt x="296" y="319"/>
                    </a:lnTo>
                    <a:lnTo>
                      <a:pt x="292" y="322"/>
                    </a:lnTo>
                    <a:lnTo>
                      <a:pt x="290" y="322"/>
                    </a:lnTo>
                    <a:lnTo>
                      <a:pt x="289" y="322"/>
                    </a:lnTo>
                    <a:lnTo>
                      <a:pt x="285" y="319"/>
                    </a:lnTo>
                    <a:lnTo>
                      <a:pt x="280" y="315"/>
                    </a:lnTo>
                    <a:lnTo>
                      <a:pt x="276" y="312"/>
                    </a:lnTo>
                    <a:lnTo>
                      <a:pt x="275" y="307"/>
                    </a:lnTo>
                    <a:lnTo>
                      <a:pt x="271" y="305"/>
                    </a:lnTo>
                    <a:lnTo>
                      <a:pt x="266" y="301"/>
                    </a:lnTo>
                    <a:lnTo>
                      <a:pt x="259" y="300"/>
                    </a:lnTo>
                    <a:lnTo>
                      <a:pt x="259" y="300"/>
                    </a:lnTo>
                    <a:lnTo>
                      <a:pt x="257" y="296"/>
                    </a:lnTo>
                    <a:lnTo>
                      <a:pt x="257" y="291"/>
                    </a:lnTo>
                    <a:lnTo>
                      <a:pt x="257" y="291"/>
                    </a:lnTo>
                    <a:lnTo>
                      <a:pt x="254" y="291"/>
                    </a:lnTo>
                    <a:lnTo>
                      <a:pt x="252" y="291"/>
                    </a:lnTo>
                    <a:lnTo>
                      <a:pt x="250" y="296"/>
                    </a:lnTo>
                    <a:lnTo>
                      <a:pt x="250" y="296"/>
                    </a:lnTo>
                    <a:lnTo>
                      <a:pt x="245" y="300"/>
                    </a:lnTo>
                    <a:lnTo>
                      <a:pt x="242" y="300"/>
                    </a:lnTo>
                    <a:lnTo>
                      <a:pt x="242" y="300"/>
                    </a:lnTo>
                    <a:lnTo>
                      <a:pt x="238" y="296"/>
                    </a:lnTo>
                    <a:lnTo>
                      <a:pt x="235" y="296"/>
                    </a:lnTo>
                    <a:lnTo>
                      <a:pt x="229" y="293"/>
                    </a:lnTo>
                    <a:lnTo>
                      <a:pt x="229" y="293"/>
                    </a:lnTo>
                    <a:lnTo>
                      <a:pt x="226" y="293"/>
                    </a:lnTo>
                    <a:lnTo>
                      <a:pt x="224" y="293"/>
                    </a:lnTo>
                    <a:lnTo>
                      <a:pt x="224" y="291"/>
                    </a:lnTo>
                    <a:lnTo>
                      <a:pt x="224" y="289"/>
                    </a:lnTo>
                    <a:lnTo>
                      <a:pt x="224" y="287"/>
                    </a:lnTo>
                    <a:lnTo>
                      <a:pt x="224" y="284"/>
                    </a:lnTo>
                    <a:lnTo>
                      <a:pt x="223" y="284"/>
                    </a:lnTo>
                    <a:lnTo>
                      <a:pt x="217" y="284"/>
                    </a:lnTo>
                    <a:lnTo>
                      <a:pt x="217" y="286"/>
                    </a:lnTo>
                    <a:lnTo>
                      <a:pt x="214" y="286"/>
                    </a:lnTo>
                    <a:lnTo>
                      <a:pt x="212" y="287"/>
                    </a:lnTo>
                    <a:lnTo>
                      <a:pt x="209" y="289"/>
                    </a:lnTo>
                    <a:lnTo>
                      <a:pt x="209" y="289"/>
                    </a:lnTo>
                    <a:lnTo>
                      <a:pt x="207" y="287"/>
                    </a:lnTo>
                    <a:lnTo>
                      <a:pt x="207" y="284"/>
                    </a:lnTo>
                    <a:lnTo>
                      <a:pt x="207" y="282"/>
                    </a:lnTo>
                    <a:lnTo>
                      <a:pt x="203" y="282"/>
                    </a:lnTo>
                    <a:lnTo>
                      <a:pt x="203" y="282"/>
                    </a:lnTo>
                    <a:lnTo>
                      <a:pt x="202" y="280"/>
                    </a:lnTo>
                    <a:lnTo>
                      <a:pt x="202" y="280"/>
                    </a:lnTo>
                    <a:lnTo>
                      <a:pt x="198" y="280"/>
                    </a:lnTo>
                    <a:lnTo>
                      <a:pt x="195" y="282"/>
                    </a:lnTo>
                    <a:lnTo>
                      <a:pt x="193" y="284"/>
                    </a:lnTo>
                    <a:lnTo>
                      <a:pt x="191" y="284"/>
                    </a:lnTo>
                    <a:lnTo>
                      <a:pt x="190" y="284"/>
                    </a:lnTo>
                    <a:lnTo>
                      <a:pt x="188" y="284"/>
                    </a:lnTo>
                    <a:lnTo>
                      <a:pt x="184" y="284"/>
                    </a:lnTo>
                    <a:lnTo>
                      <a:pt x="181" y="284"/>
                    </a:lnTo>
                    <a:lnTo>
                      <a:pt x="179" y="282"/>
                    </a:lnTo>
                    <a:lnTo>
                      <a:pt x="176" y="282"/>
                    </a:lnTo>
                    <a:lnTo>
                      <a:pt x="176" y="282"/>
                    </a:lnTo>
                    <a:lnTo>
                      <a:pt x="176" y="282"/>
                    </a:lnTo>
                    <a:lnTo>
                      <a:pt x="172" y="284"/>
                    </a:lnTo>
                    <a:lnTo>
                      <a:pt x="172" y="284"/>
                    </a:lnTo>
                    <a:lnTo>
                      <a:pt x="172" y="282"/>
                    </a:lnTo>
                    <a:lnTo>
                      <a:pt x="172" y="279"/>
                    </a:lnTo>
                    <a:lnTo>
                      <a:pt x="172" y="279"/>
                    </a:lnTo>
                    <a:lnTo>
                      <a:pt x="172" y="277"/>
                    </a:lnTo>
                    <a:lnTo>
                      <a:pt x="172" y="277"/>
                    </a:lnTo>
                    <a:lnTo>
                      <a:pt x="172" y="273"/>
                    </a:lnTo>
                    <a:lnTo>
                      <a:pt x="170" y="270"/>
                    </a:lnTo>
                    <a:lnTo>
                      <a:pt x="172" y="270"/>
                    </a:lnTo>
                    <a:lnTo>
                      <a:pt x="172" y="268"/>
                    </a:lnTo>
                    <a:lnTo>
                      <a:pt x="170" y="265"/>
                    </a:lnTo>
                    <a:lnTo>
                      <a:pt x="170" y="263"/>
                    </a:lnTo>
                    <a:lnTo>
                      <a:pt x="170" y="261"/>
                    </a:lnTo>
                    <a:lnTo>
                      <a:pt x="170" y="260"/>
                    </a:lnTo>
                    <a:lnTo>
                      <a:pt x="169" y="260"/>
                    </a:lnTo>
                    <a:lnTo>
                      <a:pt x="167" y="256"/>
                    </a:lnTo>
                    <a:lnTo>
                      <a:pt x="167" y="256"/>
                    </a:lnTo>
                    <a:lnTo>
                      <a:pt x="167" y="254"/>
                    </a:lnTo>
                    <a:lnTo>
                      <a:pt x="165" y="251"/>
                    </a:lnTo>
                    <a:lnTo>
                      <a:pt x="165" y="251"/>
                    </a:lnTo>
                    <a:lnTo>
                      <a:pt x="163" y="247"/>
                    </a:lnTo>
                    <a:lnTo>
                      <a:pt x="165" y="246"/>
                    </a:lnTo>
                    <a:lnTo>
                      <a:pt x="165" y="240"/>
                    </a:lnTo>
                    <a:lnTo>
                      <a:pt x="163" y="237"/>
                    </a:lnTo>
                    <a:lnTo>
                      <a:pt x="163" y="235"/>
                    </a:lnTo>
                    <a:lnTo>
                      <a:pt x="165" y="235"/>
                    </a:lnTo>
                    <a:lnTo>
                      <a:pt x="165" y="232"/>
                    </a:lnTo>
                    <a:lnTo>
                      <a:pt x="163" y="230"/>
                    </a:lnTo>
                    <a:lnTo>
                      <a:pt x="163" y="227"/>
                    </a:lnTo>
                    <a:lnTo>
                      <a:pt x="165" y="223"/>
                    </a:lnTo>
                    <a:lnTo>
                      <a:pt x="165" y="223"/>
                    </a:lnTo>
                    <a:lnTo>
                      <a:pt x="165" y="220"/>
                    </a:lnTo>
                    <a:lnTo>
                      <a:pt x="165" y="218"/>
                    </a:lnTo>
                    <a:lnTo>
                      <a:pt x="146" y="216"/>
                    </a:lnTo>
                    <a:lnTo>
                      <a:pt x="144" y="214"/>
                    </a:lnTo>
                    <a:lnTo>
                      <a:pt x="146" y="213"/>
                    </a:lnTo>
                    <a:lnTo>
                      <a:pt x="146" y="209"/>
                    </a:lnTo>
                    <a:lnTo>
                      <a:pt x="141" y="209"/>
                    </a:lnTo>
                    <a:lnTo>
                      <a:pt x="141" y="211"/>
                    </a:lnTo>
                    <a:lnTo>
                      <a:pt x="125" y="211"/>
                    </a:lnTo>
                    <a:lnTo>
                      <a:pt x="122" y="216"/>
                    </a:lnTo>
                    <a:lnTo>
                      <a:pt x="122" y="220"/>
                    </a:lnTo>
                    <a:lnTo>
                      <a:pt x="122" y="220"/>
                    </a:lnTo>
                    <a:lnTo>
                      <a:pt x="122" y="223"/>
                    </a:lnTo>
                    <a:lnTo>
                      <a:pt x="122" y="227"/>
                    </a:lnTo>
                    <a:lnTo>
                      <a:pt x="108" y="228"/>
                    </a:lnTo>
                    <a:lnTo>
                      <a:pt x="106" y="230"/>
                    </a:lnTo>
                    <a:lnTo>
                      <a:pt x="99" y="228"/>
                    </a:lnTo>
                    <a:lnTo>
                      <a:pt x="99" y="228"/>
                    </a:lnTo>
                    <a:lnTo>
                      <a:pt x="96" y="228"/>
                    </a:lnTo>
                    <a:lnTo>
                      <a:pt x="90" y="228"/>
                    </a:lnTo>
                    <a:lnTo>
                      <a:pt x="89" y="228"/>
                    </a:lnTo>
                    <a:lnTo>
                      <a:pt x="89" y="223"/>
                    </a:lnTo>
                    <a:lnTo>
                      <a:pt x="85" y="220"/>
                    </a:lnTo>
                    <a:lnTo>
                      <a:pt x="84" y="218"/>
                    </a:lnTo>
                    <a:lnTo>
                      <a:pt x="82" y="216"/>
                    </a:lnTo>
                    <a:lnTo>
                      <a:pt x="82" y="214"/>
                    </a:lnTo>
                    <a:lnTo>
                      <a:pt x="82" y="213"/>
                    </a:lnTo>
                    <a:lnTo>
                      <a:pt x="80" y="209"/>
                    </a:lnTo>
                    <a:lnTo>
                      <a:pt x="80" y="206"/>
                    </a:lnTo>
                    <a:lnTo>
                      <a:pt x="80" y="202"/>
                    </a:lnTo>
                    <a:lnTo>
                      <a:pt x="80" y="200"/>
                    </a:lnTo>
                    <a:lnTo>
                      <a:pt x="80" y="200"/>
                    </a:lnTo>
                    <a:lnTo>
                      <a:pt x="80" y="197"/>
                    </a:lnTo>
                    <a:lnTo>
                      <a:pt x="77" y="197"/>
                    </a:lnTo>
                    <a:lnTo>
                      <a:pt x="80" y="195"/>
                    </a:lnTo>
                    <a:lnTo>
                      <a:pt x="80" y="192"/>
                    </a:lnTo>
                    <a:lnTo>
                      <a:pt x="61" y="192"/>
                    </a:lnTo>
                    <a:lnTo>
                      <a:pt x="49" y="192"/>
                    </a:lnTo>
                    <a:lnTo>
                      <a:pt x="44" y="192"/>
                    </a:lnTo>
                    <a:lnTo>
                      <a:pt x="37" y="192"/>
                    </a:lnTo>
                    <a:lnTo>
                      <a:pt x="35" y="192"/>
                    </a:lnTo>
                    <a:lnTo>
                      <a:pt x="30" y="192"/>
                    </a:lnTo>
                    <a:lnTo>
                      <a:pt x="26" y="192"/>
                    </a:lnTo>
                    <a:lnTo>
                      <a:pt x="21" y="192"/>
                    </a:lnTo>
                    <a:lnTo>
                      <a:pt x="21" y="192"/>
                    </a:lnTo>
                    <a:lnTo>
                      <a:pt x="18" y="192"/>
                    </a:lnTo>
                    <a:lnTo>
                      <a:pt x="14" y="192"/>
                    </a:lnTo>
                    <a:lnTo>
                      <a:pt x="12" y="192"/>
                    </a:lnTo>
                    <a:lnTo>
                      <a:pt x="11" y="195"/>
                    </a:lnTo>
                    <a:lnTo>
                      <a:pt x="9" y="195"/>
                    </a:lnTo>
                    <a:lnTo>
                      <a:pt x="9" y="195"/>
                    </a:lnTo>
                    <a:lnTo>
                      <a:pt x="9" y="195"/>
                    </a:lnTo>
                    <a:lnTo>
                      <a:pt x="7" y="195"/>
                    </a:lnTo>
                    <a:lnTo>
                      <a:pt x="7" y="195"/>
                    </a:lnTo>
                    <a:lnTo>
                      <a:pt x="5" y="192"/>
                    </a:lnTo>
                    <a:lnTo>
                      <a:pt x="0" y="192"/>
                    </a:lnTo>
                    <a:lnTo>
                      <a:pt x="0" y="192"/>
                    </a:lnTo>
                    <a:lnTo>
                      <a:pt x="0" y="192"/>
                    </a:lnTo>
                    <a:lnTo>
                      <a:pt x="0" y="19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0" name="Freeform 143"/>
              <p:cNvSpPr>
                <a:spLocks/>
              </p:cNvSpPr>
              <p:nvPr/>
            </p:nvSpPr>
            <p:spPr bwMode="auto">
              <a:xfrm>
                <a:off x="5337175" y="4522788"/>
                <a:ext cx="85725"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1" name="Freeform 144"/>
              <p:cNvSpPr>
                <a:spLocks/>
              </p:cNvSpPr>
              <p:nvPr/>
            </p:nvSpPr>
            <p:spPr bwMode="auto">
              <a:xfrm>
                <a:off x="5337175" y="4522788"/>
                <a:ext cx="85725" cy="215900"/>
              </a:xfrm>
              <a:custGeom>
                <a:avLst/>
                <a:gdLst/>
                <a:ahLst/>
                <a:cxnLst>
                  <a:cxn ang="0">
                    <a:pos x="5" y="0"/>
                  </a:cxn>
                  <a:cxn ang="0">
                    <a:pos x="9" y="0"/>
                  </a:cxn>
                  <a:cxn ang="0">
                    <a:pos x="11" y="4"/>
                  </a:cxn>
                  <a:cxn ang="0">
                    <a:pos x="14" y="4"/>
                  </a:cxn>
                  <a:cxn ang="0">
                    <a:pos x="17" y="4"/>
                  </a:cxn>
                  <a:cxn ang="0">
                    <a:pos x="19" y="7"/>
                  </a:cxn>
                  <a:cxn ang="0">
                    <a:pos x="28" y="14"/>
                  </a:cxn>
                  <a:cxn ang="0">
                    <a:pos x="28" y="51"/>
                  </a:cxn>
                  <a:cxn ang="0">
                    <a:pos x="30" y="68"/>
                  </a:cxn>
                  <a:cxn ang="0">
                    <a:pos x="37" y="73"/>
                  </a:cxn>
                  <a:cxn ang="0">
                    <a:pos x="40" y="77"/>
                  </a:cxn>
                  <a:cxn ang="0">
                    <a:pos x="47" y="86"/>
                  </a:cxn>
                  <a:cxn ang="0">
                    <a:pos x="54" y="94"/>
                  </a:cxn>
                  <a:cxn ang="0">
                    <a:pos x="54" y="98"/>
                  </a:cxn>
                  <a:cxn ang="0">
                    <a:pos x="52" y="99"/>
                  </a:cxn>
                  <a:cxn ang="0">
                    <a:pos x="49" y="103"/>
                  </a:cxn>
                  <a:cxn ang="0">
                    <a:pos x="49" y="105"/>
                  </a:cxn>
                  <a:cxn ang="0">
                    <a:pos x="51" y="112"/>
                  </a:cxn>
                  <a:cxn ang="0">
                    <a:pos x="47" y="117"/>
                  </a:cxn>
                  <a:cxn ang="0">
                    <a:pos x="42" y="124"/>
                  </a:cxn>
                  <a:cxn ang="0">
                    <a:pos x="40" y="127"/>
                  </a:cxn>
                  <a:cxn ang="0">
                    <a:pos x="40" y="136"/>
                  </a:cxn>
                  <a:cxn ang="0">
                    <a:pos x="35" y="134"/>
                  </a:cxn>
                  <a:cxn ang="0">
                    <a:pos x="35" y="131"/>
                  </a:cxn>
                  <a:cxn ang="0">
                    <a:pos x="30" y="127"/>
                  </a:cxn>
                  <a:cxn ang="0">
                    <a:pos x="24" y="120"/>
                  </a:cxn>
                  <a:cxn ang="0">
                    <a:pos x="24" y="113"/>
                  </a:cxn>
                  <a:cxn ang="0">
                    <a:pos x="24" y="108"/>
                  </a:cxn>
                  <a:cxn ang="0">
                    <a:pos x="30" y="99"/>
                  </a:cxn>
                  <a:cxn ang="0">
                    <a:pos x="30" y="93"/>
                  </a:cxn>
                  <a:cxn ang="0">
                    <a:pos x="24" y="87"/>
                  </a:cxn>
                  <a:cxn ang="0">
                    <a:pos x="19" y="89"/>
                  </a:cxn>
                  <a:cxn ang="0">
                    <a:pos x="16" y="91"/>
                  </a:cxn>
                  <a:cxn ang="0">
                    <a:pos x="12" y="86"/>
                  </a:cxn>
                  <a:cxn ang="0">
                    <a:pos x="9" y="82"/>
                  </a:cxn>
                  <a:cxn ang="0">
                    <a:pos x="4" y="82"/>
                  </a:cxn>
                  <a:cxn ang="0">
                    <a:pos x="2" y="77"/>
                  </a:cxn>
                  <a:cxn ang="0">
                    <a:pos x="0" y="73"/>
                  </a:cxn>
                  <a:cxn ang="0">
                    <a:pos x="4" y="70"/>
                  </a:cxn>
                  <a:cxn ang="0">
                    <a:pos x="4" y="65"/>
                  </a:cxn>
                  <a:cxn ang="0">
                    <a:pos x="4" y="61"/>
                  </a:cxn>
                  <a:cxn ang="0">
                    <a:pos x="7" y="58"/>
                  </a:cxn>
                  <a:cxn ang="0">
                    <a:pos x="12" y="54"/>
                  </a:cxn>
                  <a:cxn ang="0">
                    <a:pos x="12" y="53"/>
                  </a:cxn>
                  <a:cxn ang="0">
                    <a:pos x="11" y="51"/>
                  </a:cxn>
                  <a:cxn ang="0">
                    <a:pos x="11" y="47"/>
                  </a:cxn>
                  <a:cxn ang="0">
                    <a:pos x="11" y="42"/>
                  </a:cxn>
                  <a:cxn ang="0">
                    <a:pos x="11" y="39"/>
                  </a:cxn>
                  <a:cxn ang="0">
                    <a:pos x="9" y="32"/>
                  </a:cxn>
                  <a:cxn ang="0">
                    <a:pos x="14" y="26"/>
                  </a:cxn>
                  <a:cxn ang="0">
                    <a:pos x="14" y="25"/>
                  </a:cxn>
                  <a:cxn ang="0">
                    <a:pos x="14" y="18"/>
                  </a:cxn>
                  <a:cxn ang="0">
                    <a:pos x="11" y="14"/>
                  </a:cxn>
                  <a:cxn ang="0">
                    <a:pos x="12" y="7"/>
                  </a:cxn>
                  <a:cxn ang="0">
                    <a:pos x="7" y="7"/>
                  </a:cxn>
                  <a:cxn ang="0">
                    <a:pos x="5" y="4"/>
                  </a:cxn>
                  <a:cxn ang="0">
                    <a:pos x="4" y="0"/>
                  </a:cxn>
                </a:cxnLst>
                <a:rect l="0" t="0" r="r" b="b"/>
                <a:pathLst>
                  <a:path w="54" h="136">
                    <a:moveTo>
                      <a:pt x="4" y="0"/>
                    </a:moveTo>
                    <a:lnTo>
                      <a:pt x="5" y="0"/>
                    </a:lnTo>
                    <a:lnTo>
                      <a:pt x="7" y="0"/>
                    </a:lnTo>
                    <a:lnTo>
                      <a:pt x="9" y="0"/>
                    </a:lnTo>
                    <a:lnTo>
                      <a:pt x="11" y="0"/>
                    </a:lnTo>
                    <a:lnTo>
                      <a:pt x="11" y="4"/>
                    </a:lnTo>
                    <a:lnTo>
                      <a:pt x="12" y="4"/>
                    </a:lnTo>
                    <a:lnTo>
                      <a:pt x="14" y="4"/>
                    </a:lnTo>
                    <a:lnTo>
                      <a:pt x="16" y="4"/>
                    </a:lnTo>
                    <a:lnTo>
                      <a:pt x="17" y="4"/>
                    </a:lnTo>
                    <a:lnTo>
                      <a:pt x="17" y="4"/>
                    </a:lnTo>
                    <a:lnTo>
                      <a:pt x="19" y="7"/>
                    </a:lnTo>
                    <a:lnTo>
                      <a:pt x="21" y="7"/>
                    </a:lnTo>
                    <a:lnTo>
                      <a:pt x="28" y="14"/>
                    </a:lnTo>
                    <a:lnTo>
                      <a:pt x="28" y="21"/>
                    </a:lnTo>
                    <a:lnTo>
                      <a:pt x="28" y="51"/>
                    </a:lnTo>
                    <a:lnTo>
                      <a:pt x="28" y="53"/>
                    </a:lnTo>
                    <a:lnTo>
                      <a:pt x="30" y="68"/>
                    </a:lnTo>
                    <a:lnTo>
                      <a:pt x="35" y="72"/>
                    </a:lnTo>
                    <a:lnTo>
                      <a:pt x="37" y="73"/>
                    </a:lnTo>
                    <a:lnTo>
                      <a:pt x="38" y="75"/>
                    </a:lnTo>
                    <a:lnTo>
                      <a:pt x="40" y="77"/>
                    </a:lnTo>
                    <a:lnTo>
                      <a:pt x="47" y="80"/>
                    </a:lnTo>
                    <a:lnTo>
                      <a:pt x="47" y="86"/>
                    </a:lnTo>
                    <a:lnTo>
                      <a:pt x="52" y="89"/>
                    </a:lnTo>
                    <a:lnTo>
                      <a:pt x="54" y="94"/>
                    </a:lnTo>
                    <a:lnTo>
                      <a:pt x="54" y="96"/>
                    </a:lnTo>
                    <a:lnTo>
                      <a:pt x="54" y="98"/>
                    </a:lnTo>
                    <a:lnTo>
                      <a:pt x="52" y="99"/>
                    </a:lnTo>
                    <a:lnTo>
                      <a:pt x="52" y="99"/>
                    </a:lnTo>
                    <a:lnTo>
                      <a:pt x="49" y="99"/>
                    </a:lnTo>
                    <a:lnTo>
                      <a:pt x="49" y="103"/>
                    </a:lnTo>
                    <a:lnTo>
                      <a:pt x="51" y="103"/>
                    </a:lnTo>
                    <a:lnTo>
                      <a:pt x="49" y="105"/>
                    </a:lnTo>
                    <a:lnTo>
                      <a:pt x="51" y="108"/>
                    </a:lnTo>
                    <a:lnTo>
                      <a:pt x="51" y="112"/>
                    </a:lnTo>
                    <a:lnTo>
                      <a:pt x="51" y="115"/>
                    </a:lnTo>
                    <a:lnTo>
                      <a:pt x="47" y="117"/>
                    </a:lnTo>
                    <a:lnTo>
                      <a:pt x="44" y="119"/>
                    </a:lnTo>
                    <a:lnTo>
                      <a:pt x="42" y="124"/>
                    </a:lnTo>
                    <a:lnTo>
                      <a:pt x="42" y="127"/>
                    </a:lnTo>
                    <a:lnTo>
                      <a:pt x="40" y="127"/>
                    </a:lnTo>
                    <a:lnTo>
                      <a:pt x="40" y="134"/>
                    </a:lnTo>
                    <a:lnTo>
                      <a:pt x="40" y="136"/>
                    </a:lnTo>
                    <a:lnTo>
                      <a:pt x="37" y="136"/>
                    </a:lnTo>
                    <a:lnTo>
                      <a:pt x="35" y="134"/>
                    </a:lnTo>
                    <a:lnTo>
                      <a:pt x="37" y="134"/>
                    </a:lnTo>
                    <a:lnTo>
                      <a:pt x="35" y="131"/>
                    </a:lnTo>
                    <a:lnTo>
                      <a:pt x="33" y="127"/>
                    </a:lnTo>
                    <a:lnTo>
                      <a:pt x="30" y="127"/>
                    </a:lnTo>
                    <a:lnTo>
                      <a:pt x="28" y="124"/>
                    </a:lnTo>
                    <a:lnTo>
                      <a:pt x="24" y="120"/>
                    </a:lnTo>
                    <a:lnTo>
                      <a:pt x="24" y="119"/>
                    </a:lnTo>
                    <a:lnTo>
                      <a:pt x="24" y="113"/>
                    </a:lnTo>
                    <a:lnTo>
                      <a:pt x="23" y="112"/>
                    </a:lnTo>
                    <a:lnTo>
                      <a:pt x="24" y="108"/>
                    </a:lnTo>
                    <a:lnTo>
                      <a:pt x="24" y="105"/>
                    </a:lnTo>
                    <a:lnTo>
                      <a:pt x="30" y="99"/>
                    </a:lnTo>
                    <a:lnTo>
                      <a:pt x="30" y="96"/>
                    </a:lnTo>
                    <a:lnTo>
                      <a:pt x="30" y="93"/>
                    </a:lnTo>
                    <a:lnTo>
                      <a:pt x="30" y="89"/>
                    </a:lnTo>
                    <a:lnTo>
                      <a:pt x="24" y="87"/>
                    </a:lnTo>
                    <a:lnTo>
                      <a:pt x="21" y="87"/>
                    </a:lnTo>
                    <a:lnTo>
                      <a:pt x="19" y="89"/>
                    </a:lnTo>
                    <a:lnTo>
                      <a:pt x="16" y="89"/>
                    </a:lnTo>
                    <a:lnTo>
                      <a:pt x="16" y="91"/>
                    </a:lnTo>
                    <a:lnTo>
                      <a:pt x="12" y="89"/>
                    </a:lnTo>
                    <a:lnTo>
                      <a:pt x="12" y="86"/>
                    </a:lnTo>
                    <a:lnTo>
                      <a:pt x="11" y="86"/>
                    </a:lnTo>
                    <a:lnTo>
                      <a:pt x="9" y="82"/>
                    </a:lnTo>
                    <a:lnTo>
                      <a:pt x="9" y="80"/>
                    </a:lnTo>
                    <a:lnTo>
                      <a:pt x="4" y="82"/>
                    </a:lnTo>
                    <a:lnTo>
                      <a:pt x="4" y="80"/>
                    </a:lnTo>
                    <a:lnTo>
                      <a:pt x="2" y="77"/>
                    </a:lnTo>
                    <a:lnTo>
                      <a:pt x="0" y="75"/>
                    </a:lnTo>
                    <a:lnTo>
                      <a:pt x="0" y="73"/>
                    </a:lnTo>
                    <a:lnTo>
                      <a:pt x="0" y="73"/>
                    </a:lnTo>
                    <a:lnTo>
                      <a:pt x="4" y="70"/>
                    </a:lnTo>
                    <a:lnTo>
                      <a:pt x="4" y="66"/>
                    </a:lnTo>
                    <a:lnTo>
                      <a:pt x="4" y="65"/>
                    </a:lnTo>
                    <a:lnTo>
                      <a:pt x="4" y="63"/>
                    </a:lnTo>
                    <a:lnTo>
                      <a:pt x="4" y="61"/>
                    </a:lnTo>
                    <a:lnTo>
                      <a:pt x="4" y="59"/>
                    </a:lnTo>
                    <a:lnTo>
                      <a:pt x="7" y="58"/>
                    </a:lnTo>
                    <a:lnTo>
                      <a:pt x="11" y="58"/>
                    </a:lnTo>
                    <a:lnTo>
                      <a:pt x="12" y="54"/>
                    </a:lnTo>
                    <a:lnTo>
                      <a:pt x="14" y="54"/>
                    </a:lnTo>
                    <a:lnTo>
                      <a:pt x="12" y="53"/>
                    </a:lnTo>
                    <a:lnTo>
                      <a:pt x="11" y="53"/>
                    </a:lnTo>
                    <a:lnTo>
                      <a:pt x="11" y="51"/>
                    </a:lnTo>
                    <a:lnTo>
                      <a:pt x="11" y="47"/>
                    </a:lnTo>
                    <a:lnTo>
                      <a:pt x="11" y="47"/>
                    </a:lnTo>
                    <a:lnTo>
                      <a:pt x="12" y="46"/>
                    </a:lnTo>
                    <a:lnTo>
                      <a:pt x="11" y="42"/>
                    </a:lnTo>
                    <a:lnTo>
                      <a:pt x="11" y="40"/>
                    </a:lnTo>
                    <a:lnTo>
                      <a:pt x="11" y="39"/>
                    </a:lnTo>
                    <a:lnTo>
                      <a:pt x="11" y="35"/>
                    </a:lnTo>
                    <a:lnTo>
                      <a:pt x="9" y="32"/>
                    </a:lnTo>
                    <a:lnTo>
                      <a:pt x="11" y="30"/>
                    </a:lnTo>
                    <a:lnTo>
                      <a:pt x="14" y="26"/>
                    </a:lnTo>
                    <a:lnTo>
                      <a:pt x="14" y="25"/>
                    </a:lnTo>
                    <a:lnTo>
                      <a:pt x="14" y="25"/>
                    </a:lnTo>
                    <a:lnTo>
                      <a:pt x="14" y="19"/>
                    </a:lnTo>
                    <a:lnTo>
                      <a:pt x="14" y="18"/>
                    </a:lnTo>
                    <a:lnTo>
                      <a:pt x="11" y="16"/>
                    </a:lnTo>
                    <a:lnTo>
                      <a:pt x="11" y="14"/>
                    </a:lnTo>
                    <a:lnTo>
                      <a:pt x="12" y="9"/>
                    </a:lnTo>
                    <a:lnTo>
                      <a:pt x="12" y="7"/>
                    </a:lnTo>
                    <a:lnTo>
                      <a:pt x="11" y="7"/>
                    </a:lnTo>
                    <a:lnTo>
                      <a:pt x="7" y="7"/>
                    </a:lnTo>
                    <a:lnTo>
                      <a:pt x="7" y="4"/>
                    </a:lnTo>
                    <a:lnTo>
                      <a:pt x="5" y="4"/>
                    </a:lnTo>
                    <a:lnTo>
                      <a:pt x="4" y="0"/>
                    </a:lnTo>
                    <a:lnTo>
                      <a:pt x="4" y="0"/>
                    </a:lnTo>
                    <a:lnTo>
                      <a:pt x="4"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2" name="Freeform 145"/>
              <p:cNvSpPr>
                <a:spLocks/>
              </p:cNvSpPr>
              <p:nvPr/>
            </p:nvSpPr>
            <p:spPr bwMode="auto">
              <a:xfrm>
                <a:off x="5041900" y="4489451"/>
                <a:ext cx="317500" cy="274638"/>
              </a:xfrm>
              <a:custGeom>
                <a:avLst/>
                <a:gdLst/>
                <a:ahLst/>
                <a:cxnLst>
                  <a:cxn ang="0">
                    <a:pos x="44" y="51"/>
                  </a:cxn>
                  <a:cxn ang="0">
                    <a:pos x="45" y="58"/>
                  </a:cxn>
                  <a:cxn ang="0">
                    <a:pos x="54" y="53"/>
                  </a:cxn>
                  <a:cxn ang="0">
                    <a:pos x="61" y="58"/>
                  </a:cxn>
                  <a:cxn ang="0">
                    <a:pos x="66" y="63"/>
                  </a:cxn>
                  <a:cxn ang="0">
                    <a:pos x="77" y="68"/>
                  </a:cxn>
                  <a:cxn ang="0">
                    <a:pos x="85" y="65"/>
                  </a:cxn>
                  <a:cxn ang="0">
                    <a:pos x="92" y="60"/>
                  </a:cxn>
                  <a:cxn ang="0">
                    <a:pos x="101" y="70"/>
                  </a:cxn>
                  <a:cxn ang="0">
                    <a:pos x="117" y="84"/>
                  </a:cxn>
                  <a:cxn ang="0">
                    <a:pos x="129" y="91"/>
                  </a:cxn>
                  <a:cxn ang="0">
                    <a:pos x="136" y="91"/>
                  </a:cxn>
                  <a:cxn ang="0">
                    <a:pos x="129" y="70"/>
                  </a:cxn>
                  <a:cxn ang="0">
                    <a:pos x="124" y="75"/>
                  </a:cxn>
                  <a:cxn ang="0">
                    <a:pos x="113" y="63"/>
                  </a:cxn>
                  <a:cxn ang="0">
                    <a:pos x="117" y="46"/>
                  </a:cxn>
                  <a:cxn ang="0">
                    <a:pos x="120" y="37"/>
                  </a:cxn>
                  <a:cxn ang="0">
                    <a:pos x="120" y="28"/>
                  </a:cxn>
                  <a:cxn ang="0">
                    <a:pos x="115" y="20"/>
                  </a:cxn>
                  <a:cxn ang="0">
                    <a:pos x="160" y="4"/>
                  </a:cxn>
                  <a:cxn ang="0">
                    <a:pos x="169" y="7"/>
                  </a:cxn>
                  <a:cxn ang="0">
                    <a:pos x="183" y="13"/>
                  </a:cxn>
                  <a:cxn ang="0">
                    <a:pos x="191" y="20"/>
                  </a:cxn>
                  <a:cxn ang="0">
                    <a:pos x="193" y="28"/>
                  </a:cxn>
                  <a:cxn ang="0">
                    <a:pos x="197" y="35"/>
                  </a:cxn>
                  <a:cxn ang="0">
                    <a:pos x="200" y="46"/>
                  </a:cxn>
                  <a:cxn ang="0">
                    <a:pos x="195" y="53"/>
                  </a:cxn>
                  <a:cxn ang="0">
                    <a:pos x="197" y="63"/>
                  </a:cxn>
                  <a:cxn ang="0">
                    <a:pos x="197" y="70"/>
                  </a:cxn>
                  <a:cxn ang="0">
                    <a:pos x="198" y="75"/>
                  </a:cxn>
                  <a:cxn ang="0">
                    <a:pos x="191" y="82"/>
                  </a:cxn>
                  <a:cxn ang="0">
                    <a:pos x="191" y="91"/>
                  </a:cxn>
                  <a:cxn ang="0">
                    <a:pos x="188" y="98"/>
                  </a:cxn>
                  <a:cxn ang="0">
                    <a:pos x="186" y="107"/>
                  </a:cxn>
                  <a:cxn ang="0">
                    <a:pos x="151" y="117"/>
                  </a:cxn>
                  <a:cxn ang="0">
                    <a:pos x="146" y="129"/>
                  </a:cxn>
                  <a:cxn ang="0">
                    <a:pos x="137" y="129"/>
                  </a:cxn>
                  <a:cxn ang="0">
                    <a:pos x="125" y="133"/>
                  </a:cxn>
                  <a:cxn ang="0">
                    <a:pos x="118" y="140"/>
                  </a:cxn>
                  <a:cxn ang="0">
                    <a:pos x="117" y="145"/>
                  </a:cxn>
                  <a:cxn ang="0">
                    <a:pos x="89" y="171"/>
                  </a:cxn>
                  <a:cxn ang="0">
                    <a:pos x="77" y="169"/>
                  </a:cxn>
                  <a:cxn ang="0">
                    <a:pos x="70" y="169"/>
                  </a:cxn>
                  <a:cxn ang="0">
                    <a:pos x="61" y="167"/>
                  </a:cxn>
                  <a:cxn ang="0">
                    <a:pos x="52" y="164"/>
                  </a:cxn>
                  <a:cxn ang="0">
                    <a:pos x="47" y="162"/>
                  </a:cxn>
                  <a:cxn ang="0">
                    <a:pos x="26" y="166"/>
                  </a:cxn>
                  <a:cxn ang="0">
                    <a:pos x="18" y="157"/>
                  </a:cxn>
                  <a:cxn ang="0">
                    <a:pos x="7" y="148"/>
                  </a:cxn>
                  <a:cxn ang="0">
                    <a:pos x="0" y="141"/>
                  </a:cxn>
                  <a:cxn ang="0">
                    <a:pos x="38" y="79"/>
                  </a:cxn>
                  <a:cxn ang="0">
                    <a:pos x="38" y="67"/>
                  </a:cxn>
                  <a:cxn ang="0">
                    <a:pos x="38" y="51"/>
                  </a:cxn>
                </a:cxnLst>
                <a:rect l="0" t="0" r="r" b="b"/>
                <a:pathLst>
                  <a:path w="200" h="173">
                    <a:moveTo>
                      <a:pt x="38" y="51"/>
                    </a:moveTo>
                    <a:lnTo>
                      <a:pt x="40" y="51"/>
                    </a:lnTo>
                    <a:lnTo>
                      <a:pt x="40" y="51"/>
                    </a:lnTo>
                    <a:lnTo>
                      <a:pt x="44" y="51"/>
                    </a:lnTo>
                    <a:lnTo>
                      <a:pt x="44" y="53"/>
                    </a:lnTo>
                    <a:lnTo>
                      <a:pt x="44" y="56"/>
                    </a:lnTo>
                    <a:lnTo>
                      <a:pt x="45" y="58"/>
                    </a:lnTo>
                    <a:lnTo>
                      <a:pt x="45" y="58"/>
                    </a:lnTo>
                    <a:lnTo>
                      <a:pt x="49" y="56"/>
                    </a:lnTo>
                    <a:lnTo>
                      <a:pt x="51" y="54"/>
                    </a:lnTo>
                    <a:lnTo>
                      <a:pt x="54" y="54"/>
                    </a:lnTo>
                    <a:lnTo>
                      <a:pt x="54" y="53"/>
                    </a:lnTo>
                    <a:lnTo>
                      <a:pt x="59" y="53"/>
                    </a:lnTo>
                    <a:lnTo>
                      <a:pt x="61" y="53"/>
                    </a:lnTo>
                    <a:lnTo>
                      <a:pt x="61" y="56"/>
                    </a:lnTo>
                    <a:lnTo>
                      <a:pt x="61" y="58"/>
                    </a:lnTo>
                    <a:lnTo>
                      <a:pt x="61" y="60"/>
                    </a:lnTo>
                    <a:lnTo>
                      <a:pt x="61" y="61"/>
                    </a:lnTo>
                    <a:lnTo>
                      <a:pt x="63" y="61"/>
                    </a:lnTo>
                    <a:lnTo>
                      <a:pt x="66" y="63"/>
                    </a:lnTo>
                    <a:lnTo>
                      <a:pt x="66" y="63"/>
                    </a:lnTo>
                    <a:lnTo>
                      <a:pt x="71" y="67"/>
                    </a:lnTo>
                    <a:lnTo>
                      <a:pt x="75" y="67"/>
                    </a:lnTo>
                    <a:lnTo>
                      <a:pt x="77" y="68"/>
                    </a:lnTo>
                    <a:lnTo>
                      <a:pt x="77" y="68"/>
                    </a:lnTo>
                    <a:lnTo>
                      <a:pt x="80" y="68"/>
                    </a:lnTo>
                    <a:lnTo>
                      <a:pt x="85" y="67"/>
                    </a:lnTo>
                    <a:lnTo>
                      <a:pt x="85" y="65"/>
                    </a:lnTo>
                    <a:lnTo>
                      <a:pt x="89" y="60"/>
                    </a:lnTo>
                    <a:lnTo>
                      <a:pt x="91" y="60"/>
                    </a:lnTo>
                    <a:lnTo>
                      <a:pt x="92" y="60"/>
                    </a:lnTo>
                    <a:lnTo>
                      <a:pt x="92" y="60"/>
                    </a:lnTo>
                    <a:lnTo>
                      <a:pt x="92" y="65"/>
                    </a:lnTo>
                    <a:lnTo>
                      <a:pt x="96" y="68"/>
                    </a:lnTo>
                    <a:lnTo>
                      <a:pt x="96" y="70"/>
                    </a:lnTo>
                    <a:lnTo>
                      <a:pt x="101" y="70"/>
                    </a:lnTo>
                    <a:lnTo>
                      <a:pt x="106" y="75"/>
                    </a:lnTo>
                    <a:lnTo>
                      <a:pt x="110" y="75"/>
                    </a:lnTo>
                    <a:lnTo>
                      <a:pt x="113" y="80"/>
                    </a:lnTo>
                    <a:lnTo>
                      <a:pt x="117" y="84"/>
                    </a:lnTo>
                    <a:lnTo>
                      <a:pt x="120" y="87"/>
                    </a:lnTo>
                    <a:lnTo>
                      <a:pt x="124" y="91"/>
                    </a:lnTo>
                    <a:lnTo>
                      <a:pt x="125" y="91"/>
                    </a:lnTo>
                    <a:lnTo>
                      <a:pt x="129" y="91"/>
                    </a:lnTo>
                    <a:lnTo>
                      <a:pt x="131" y="89"/>
                    </a:lnTo>
                    <a:lnTo>
                      <a:pt x="132" y="89"/>
                    </a:lnTo>
                    <a:lnTo>
                      <a:pt x="132" y="91"/>
                    </a:lnTo>
                    <a:lnTo>
                      <a:pt x="136" y="91"/>
                    </a:lnTo>
                    <a:lnTo>
                      <a:pt x="136" y="89"/>
                    </a:lnTo>
                    <a:lnTo>
                      <a:pt x="136" y="70"/>
                    </a:lnTo>
                    <a:lnTo>
                      <a:pt x="132" y="70"/>
                    </a:lnTo>
                    <a:lnTo>
                      <a:pt x="129" y="70"/>
                    </a:lnTo>
                    <a:lnTo>
                      <a:pt x="129" y="74"/>
                    </a:lnTo>
                    <a:lnTo>
                      <a:pt x="131" y="75"/>
                    </a:lnTo>
                    <a:lnTo>
                      <a:pt x="129" y="75"/>
                    </a:lnTo>
                    <a:lnTo>
                      <a:pt x="124" y="75"/>
                    </a:lnTo>
                    <a:lnTo>
                      <a:pt x="122" y="74"/>
                    </a:lnTo>
                    <a:lnTo>
                      <a:pt x="120" y="70"/>
                    </a:lnTo>
                    <a:lnTo>
                      <a:pt x="117" y="65"/>
                    </a:lnTo>
                    <a:lnTo>
                      <a:pt x="113" y="63"/>
                    </a:lnTo>
                    <a:lnTo>
                      <a:pt x="113" y="60"/>
                    </a:lnTo>
                    <a:lnTo>
                      <a:pt x="113" y="51"/>
                    </a:lnTo>
                    <a:lnTo>
                      <a:pt x="113" y="47"/>
                    </a:lnTo>
                    <a:lnTo>
                      <a:pt x="117" y="46"/>
                    </a:lnTo>
                    <a:lnTo>
                      <a:pt x="118" y="42"/>
                    </a:lnTo>
                    <a:lnTo>
                      <a:pt x="118" y="42"/>
                    </a:lnTo>
                    <a:lnTo>
                      <a:pt x="118" y="39"/>
                    </a:lnTo>
                    <a:lnTo>
                      <a:pt x="120" y="37"/>
                    </a:lnTo>
                    <a:lnTo>
                      <a:pt x="118" y="35"/>
                    </a:lnTo>
                    <a:lnTo>
                      <a:pt x="120" y="32"/>
                    </a:lnTo>
                    <a:lnTo>
                      <a:pt x="118" y="30"/>
                    </a:lnTo>
                    <a:lnTo>
                      <a:pt x="120" y="28"/>
                    </a:lnTo>
                    <a:lnTo>
                      <a:pt x="120" y="28"/>
                    </a:lnTo>
                    <a:lnTo>
                      <a:pt x="118" y="25"/>
                    </a:lnTo>
                    <a:lnTo>
                      <a:pt x="117" y="23"/>
                    </a:lnTo>
                    <a:lnTo>
                      <a:pt x="115" y="20"/>
                    </a:lnTo>
                    <a:lnTo>
                      <a:pt x="124" y="7"/>
                    </a:lnTo>
                    <a:lnTo>
                      <a:pt x="151" y="0"/>
                    </a:lnTo>
                    <a:lnTo>
                      <a:pt x="158" y="4"/>
                    </a:lnTo>
                    <a:lnTo>
                      <a:pt x="160" y="4"/>
                    </a:lnTo>
                    <a:lnTo>
                      <a:pt x="162" y="6"/>
                    </a:lnTo>
                    <a:lnTo>
                      <a:pt x="165" y="6"/>
                    </a:lnTo>
                    <a:lnTo>
                      <a:pt x="165" y="7"/>
                    </a:lnTo>
                    <a:lnTo>
                      <a:pt x="169" y="7"/>
                    </a:lnTo>
                    <a:lnTo>
                      <a:pt x="169" y="11"/>
                    </a:lnTo>
                    <a:lnTo>
                      <a:pt x="172" y="11"/>
                    </a:lnTo>
                    <a:lnTo>
                      <a:pt x="181" y="13"/>
                    </a:lnTo>
                    <a:lnTo>
                      <a:pt x="183" y="13"/>
                    </a:lnTo>
                    <a:lnTo>
                      <a:pt x="184" y="14"/>
                    </a:lnTo>
                    <a:lnTo>
                      <a:pt x="186" y="16"/>
                    </a:lnTo>
                    <a:lnTo>
                      <a:pt x="188" y="16"/>
                    </a:lnTo>
                    <a:lnTo>
                      <a:pt x="191" y="20"/>
                    </a:lnTo>
                    <a:lnTo>
                      <a:pt x="191" y="20"/>
                    </a:lnTo>
                    <a:lnTo>
                      <a:pt x="191" y="23"/>
                    </a:lnTo>
                    <a:lnTo>
                      <a:pt x="193" y="23"/>
                    </a:lnTo>
                    <a:lnTo>
                      <a:pt x="193" y="28"/>
                    </a:lnTo>
                    <a:lnTo>
                      <a:pt x="197" y="28"/>
                    </a:lnTo>
                    <a:lnTo>
                      <a:pt x="198" y="28"/>
                    </a:lnTo>
                    <a:lnTo>
                      <a:pt x="198" y="30"/>
                    </a:lnTo>
                    <a:lnTo>
                      <a:pt x="197" y="35"/>
                    </a:lnTo>
                    <a:lnTo>
                      <a:pt x="197" y="37"/>
                    </a:lnTo>
                    <a:lnTo>
                      <a:pt x="200" y="39"/>
                    </a:lnTo>
                    <a:lnTo>
                      <a:pt x="200" y="39"/>
                    </a:lnTo>
                    <a:lnTo>
                      <a:pt x="200" y="46"/>
                    </a:lnTo>
                    <a:lnTo>
                      <a:pt x="200" y="46"/>
                    </a:lnTo>
                    <a:lnTo>
                      <a:pt x="200" y="47"/>
                    </a:lnTo>
                    <a:lnTo>
                      <a:pt x="197" y="51"/>
                    </a:lnTo>
                    <a:lnTo>
                      <a:pt x="195" y="53"/>
                    </a:lnTo>
                    <a:lnTo>
                      <a:pt x="197" y="56"/>
                    </a:lnTo>
                    <a:lnTo>
                      <a:pt x="197" y="60"/>
                    </a:lnTo>
                    <a:lnTo>
                      <a:pt x="197" y="61"/>
                    </a:lnTo>
                    <a:lnTo>
                      <a:pt x="197" y="63"/>
                    </a:lnTo>
                    <a:lnTo>
                      <a:pt x="198" y="67"/>
                    </a:lnTo>
                    <a:lnTo>
                      <a:pt x="197" y="68"/>
                    </a:lnTo>
                    <a:lnTo>
                      <a:pt x="197" y="68"/>
                    </a:lnTo>
                    <a:lnTo>
                      <a:pt x="197" y="70"/>
                    </a:lnTo>
                    <a:lnTo>
                      <a:pt x="197" y="74"/>
                    </a:lnTo>
                    <a:lnTo>
                      <a:pt x="198" y="74"/>
                    </a:lnTo>
                    <a:lnTo>
                      <a:pt x="200" y="75"/>
                    </a:lnTo>
                    <a:lnTo>
                      <a:pt x="198" y="75"/>
                    </a:lnTo>
                    <a:lnTo>
                      <a:pt x="197" y="79"/>
                    </a:lnTo>
                    <a:lnTo>
                      <a:pt x="193" y="79"/>
                    </a:lnTo>
                    <a:lnTo>
                      <a:pt x="191" y="80"/>
                    </a:lnTo>
                    <a:lnTo>
                      <a:pt x="191" y="82"/>
                    </a:lnTo>
                    <a:lnTo>
                      <a:pt x="191" y="84"/>
                    </a:lnTo>
                    <a:lnTo>
                      <a:pt x="191" y="86"/>
                    </a:lnTo>
                    <a:lnTo>
                      <a:pt x="191" y="87"/>
                    </a:lnTo>
                    <a:lnTo>
                      <a:pt x="191" y="91"/>
                    </a:lnTo>
                    <a:lnTo>
                      <a:pt x="188" y="94"/>
                    </a:lnTo>
                    <a:lnTo>
                      <a:pt x="186" y="94"/>
                    </a:lnTo>
                    <a:lnTo>
                      <a:pt x="186" y="96"/>
                    </a:lnTo>
                    <a:lnTo>
                      <a:pt x="188" y="98"/>
                    </a:lnTo>
                    <a:lnTo>
                      <a:pt x="191" y="101"/>
                    </a:lnTo>
                    <a:lnTo>
                      <a:pt x="191" y="103"/>
                    </a:lnTo>
                    <a:lnTo>
                      <a:pt x="191" y="103"/>
                    </a:lnTo>
                    <a:lnTo>
                      <a:pt x="186" y="107"/>
                    </a:lnTo>
                    <a:lnTo>
                      <a:pt x="176" y="108"/>
                    </a:lnTo>
                    <a:lnTo>
                      <a:pt x="172" y="110"/>
                    </a:lnTo>
                    <a:lnTo>
                      <a:pt x="155" y="117"/>
                    </a:lnTo>
                    <a:lnTo>
                      <a:pt x="151" y="117"/>
                    </a:lnTo>
                    <a:lnTo>
                      <a:pt x="146" y="120"/>
                    </a:lnTo>
                    <a:lnTo>
                      <a:pt x="143" y="124"/>
                    </a:lnTo>
                    <a:lnTo>
                      <a:pt x="146" y="129"/>
                    </a:lnTo>
                    <a:lnTo>
                      <a:pt x="146" y="129"/>
                    </a:lnTo>
                    <a:lnTo>
                      <a:pt x="143" y="129"/>
                    </a:lnTo>
                    <a:lnTo>
                      <a:pt x="143" y="129"/>
                    </a:lnTo>
                    <a:lnTo>
                      <a:pt x="139" y="129"/>
                    </a:lnTo>
                    <a:lnTo>
                      <a:pt x="137" y="129"/>
                    </a:lnTo>
                    <a:lnTo>
                      <a:pt x="137" y="129"/>
                    </a:lnTo>
                    <a:lnTo>
                      <a:pt x="132" y="129"/>
                    </a:lnTo>
                    <a:lnTo>
                      <a:pt x="129" y="129"/>
                    </a:lnTo>
                    <a:lnTo>
                      <a:pt x="125" y="133"/>
                    </a:lnTo>
                    <a:lnTo>
                      <a:pt x="125" y="133"/>
                    </a:lnTo>
                    <a:lnTo>
                      <a:pt x="120" y="134"/>
                    </a:lnTo>
                    <a:lnTo>
                      <a:pt x="118" y="138"/>
                    </a:lnTo>
                    <a:lnTo>
                      <a:pt x="118" y="140"/>
                    </a:lnTo>
                    <a:lnTo>
                      <a:pt x="118" y="141"/>
                    </a:lnTo>
                    <a:lnTo>
                      <a:pt x="118" y="143"/>
                    </a:lnTo>
                    <a:lnTo>
                      <a:pt x="118" y="143"/>
                    </a:lnTo>
                    <a:lnTo>
                      <a:pt x="117" y="145"/>
                    </a:lnTo>
                    <a:lnTo>
                      <a:pt x="110" y="147"/>
                    </a:lnTo>
                    <a:lnTo>
                      <a:pt x="101" y="155"/>
                    </a:lnTo>
                    <a:lnTo>
                      <a:pt x="92" y="164"/>
                    </a:lnTo>
                    <a:lnTo>
                      <a:pt x="89" y="171"/>
                    </a:lnTo>
                    <a:lnTo>
                      <a:pt x="84" y="173"/>
                    </a:lnTo>
                    <a:lnTo>
                      <a:pt x="80" y="173"/>
                    </a:lnTo>
                    <a:lnTo>
                      <a:pt x="77" y="169"/>
                    </a:lnTo>
                    <a:lnTo>
                      <a:pt x="77" y="169"/>
                    </a:lnTo>
                    <a:lnTo>
                      <a:pt x="77" y="169"/>
                    </a:lnTo>
                    <a:lnTo>
                      <a:pt x="75" y="169"/>
                    </a:lnTo>
                    <a:lnTo>
                      <a:pt x="73" y="169"/>
                    </a:lnTo>
                    <a:lnTo>
                      <a:pt x="70" y="169"/>
                    </a:lnTo>
                    <a:lnTo>
                      <a:pt x="66" y="171"/>
                    </a:lnTo>
                    <a:lnTo>
                      <a:pt x="66" y="171"/>
                    </a:lnTo>
                    <a:lnTo>
                      <a:pt x="63" y="169"/>
                    </a:lnTo>
                    <a:lnTo>
                      <a:pt x="61" y="167"/>
                    </a:lnTo>
                    <a:lnTo>
                      <a:pt x="58" y="167"/>
                    </a:lnTo>
                    <a:lnTo>
                      <a:pt x="56" y="167"/>
                    </a:lnTo>
                    <a:lnTo>
                      <a:pt x="52" y="164"/>
                    </a:lnTo>
                    <a:lnTo>
                      <a:pt x="52" y="164"/>
                    </a:lnTo>
                    <a:lnTo>
                      <a:pt x="51" y="162"/>
                    </a:lnTo>
                    <a:lnTo>
                      <a:pt x="49" y="164"/>
                    </a:lnTo>
                    <a:lnTo>
                      <a:pt x="47" y="162"/>
                    </a:lnTo>
                    <a:lnTo>
                      <a:pt x="47" y="162"/>
                    </a:lnTo>
                    <a:lnTo>
                      <a:pt x="45" y="162"/>
                    </a:lnTo>
                    <a:lnTo>
                      <a:pt x="44" y="162"/>
                    </a:lnTo>
                    <a:lnTo>
                      <a:pt x="40" y="162"/>
                    </a:lnTo>
                    <a:lnTo>
                      <a:pt x="26" y="166"/>
                    </a:lnTo>
                    <a:lnTo>
                      <a:pt x="23" y="164"/>
                    </a:lnTo>
                    <a:lnTo>
                      <a:pt x="21" y="162"/>
                    </a:lnTo>
                    <a:lnTo>
                      <a:pt x="21" y="160"/>
                    </a:lnTo>
                    <a:lnTo>
                      <a:pt x="18" y="157"/>
                    </a:lnTo>
                    <a:lnTo>
                      <a:pt x="16" y="157"/>
                    </a:lnTo>
                    <a:lnTo>
                      <a:pt x="14" y="157"/>
                    </a:lnTo>
                    <a:lnTo>
                      <a:pt x="11" y="152"/>
                    </a:lnTo>
                    <a:lnTo>
                      <a:pt x="7" y="148"/>
                    </a:lnTo>
                    <a:lnTo>
                      <a:pt x="7" y="148"/>
                    </a:lnTo>
                    <a:lnTo>
                      <a:pt x="4" y="147"/>
                    </a:lnTo>
                    <a:lnTo>
                      <a:pt x="4" y="143"/>
                    </a:lnTo>
                    <a:lnTo>
                      <a:pt x="0" y="141"/>
                    </a:lnTo>
                    <a:lnTo>
                      <a:pt x="4" y="84"/>
                    </a:lnTo>
                    <a:lnTo>
                      <a:pt x="40" y="84"/>
                    </a:lnTo>
                    <a:lnTo>
                      <a:pt x="38" y="82"/>
                    </a:lnTo>
                    <a:lnTo>
                      <a:pt x="38" y="79"/>
                    </a:lnTo>
                    <a:lnTo>
                      <a:pt x="40" y="75"/>
                    </a:lnTo>
                    <a:lnTo>
                      <a:pt x="40" y="74"/>
                    </a:lnTo>
                    <a:lnTo>
                      <a:pt x="38" y="70"/>
                    </a:lnTo>
                    <a:lnTo>
                      <a:pt x="38" y="67"/>
                    </a:lnTo>
                    <a:lnTo>
                      <a:pt x="38" y="60"/>
                    </a:lnTo>
                    <a:lnTo>
                      <a:pt x="37" y="53"/>
                    </a:lnTo>
                    <a:lnTo>
                      <a:pt x="38" y="51"/>
                    </a:lnTo>
                    <a:lnTo>
                      <a:pt x="38" y="51"/>
                    </a:lnTo>
                    <a:lnTo>
                      <a:pt x="38" y="51"/>
                    </a:lnTo>
                    <a:lnTo>
                      <a:pt x="38" y="51"/>
                    </a:lnTo>
                    <a:lnTo>
                      <a:pt x="38" y="5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3" name="Freeform 146"/>
              <p:cNvSpPr>
                <a:spLocks/>
              </p:cNvSpPr>
              <p:nvPr/>
            </p:nvSpPr>
            <p:spPr bwMode="auto">
              <a:xfrm>
                <a:off x="4764088" y="4429126"/>
                <a:ext cx="341313" cy="334963"/>
              </a:xfrm>
              <a:custGeom>
                <a:avLst/>
                <a:gdLst/>
                <a:ahLst/>
                <a:cxnLst>
                  <a:cxn ang="0">
                    <a:pos x="196" y="198"/>
                  </a:cxn>
                  <a:cxn ang="0">
                    <a:pos x="184" y="190"/>
                  </a:cxn>
                  <a:cxn ang="0">
                    <a:pos x="177" y="181"/>
                  </a:cxn>
                  <a:cxn ang="0">
                    <a:pos x="213" y="122"/>
                  </a:cxn>
                  <a:cxn ang="0">
                    <a:pos x="213" y="110"/>
                  </a:cxn>
                  <a:cxn ang="0">
                    <a:pos x="213" y="91"/>
                  </a:cxn>
                  <a:cxn ang="0">
                    <a:pos x="206" y="91"/>
                  </a:cxn>
                  <a:cxn ang="0">
                    <a:pos x="200" y="92"/>
                  </a:cxn>
                  <a:cxn ang="0">
                    <a:pos x="187" y="91"/>
                  </a:cxn>
                  <a:cxn ang="0">
                    <a:pos x="184" y="92"/>
                  </a:cxn>
                  <a:cxn ang="0">
                    <a:pos x="184" y="85"/>
                  </a:cxn>
                  <a:cxn ang="0">
                    <a:pos x="184" y="77"/>
                  </a:cxn>
                  <a:cxn ang="0">
                    <a:pos x="182" y="70"/>
                  </a:cxn>
                  <a:cxn ang="0">
                    <a:pos x="179" y="65"/>
                  </a:cxn>
                  <a:cxn ang="0">
                    <a:pos x="175" y="56"/>
                  </a:cxn>
                  <a:cxn ang="0">
                    <a:pos x="175" y="44"/>
                  </a:cxn>
                  <a:cxn ang="0">
                    <a:pos x="175" y="35"/>
                  </a:cxn>
                  <a:cxn ang="0">
                    <a:pos x="177" y="26"/>
                  </a:cxn>
                  <a:cxn ang="0">
                    <a:pos x="156" y="18"/>
                  </a:cxn>
                  <a:cxn ang="0">
                    <a:pos x="134" y="25"/>
                  </a:cxn>
                  <a:cxn ang="0">
                    <a:pos x="134" y="35"/>
                  </a:cxn>
                  <a:cxn ang="0">
                    <a:pos x="109" y="37"/>
                  </a:cxn>
                  <a:cxn ang="0">
                    <a:pos x="100" y="32"/>
                  </a:cxn>
                  <a:cxn ang="0">
                    <a:pos x="94" y="23"/>
                  </a:cxn>
                  <a:cxn ang="0">
                    <a:pos x="90" y="11"/>
                  </a:cxn>
                  <a:cxn ang="0">
                    <a:pos x="88" y="5"/>
                  </a:cxn>
                  <a:cxn ang="0">
                    <a:pos x="59" y="0"/>
                  </a:cxn>
                  <a:cxn ang="0">
                    <a:pos x="41" y="2"/>
                  </a:cxn>
                  <a:cxn ang="0">
                    <a:pos x="28" y="0"/>
                  </a:cxn>
                  <a:cxn ang="0">
                    <a:pos x="19" y="4"/>
                  </a:cxn>
                  <a:cxn ang="0">
                    <a:pos x="14" y="5"/>
                  </a:cxn>
                  <a:cxn ang="0">
                    <a:pos x="28" y="33"/>
                  </a:cxn>
                  <a:cxn ang="0">
                    <a:pos x="28" y="56"/>
                  </a:cxn>
                  <a:cxn ang="0">
                    <a:pos x="36" y="82"/>
                  </a:cxn>
                  <a:cxn ang="0">
                    <a:pos x="31" y="115"/>
                  </a:cxn>
                  <a:cxn ang="0">
                    <a:pos x="14" y="132"/>
                  </a:cxn>
                  <a:cxn ang="0">
                    <a:pos x="7" y="158"/>
                  </a:cxn>
                  <a:cxn ang="0">
                    <a:pos x="0" y="183"/>
                  </a:cxn>
                  <a:cxn ang="0">
                    <a:pos x="0" y="198"/>
                  </a:cxn>
                  <a:cxn ang="0">
                    <a:pos x="5" y="195"/>
                  </a:cxn>
                  <a:cxn ang="0">
                    <a:pos x="15" y="195"/>
                  </a:cxn>
                  <a:cxn ang="0">
                    <a:pos x="24" y="193"/>
                  </a:cxn>
                  <a:cxn ang="0">
                    <a:pos x="29" y="193"/>
                  </a:cxn>
                  <a:cxn ang="0">
                    <a:pos x="33" y="195"/>
                  </a:cxn>
                  <a:cxn ang="0">
                    <a:pos x="45" y="198"/>
                  </a:cxn>
                  <a:cxn ang="0">
                    <a:pos x="114" y="198"/>
                  </a:cxn>
                  <a:cxn ang="0">
                    <a:pos x="121" y="205"/>
                  </a:cxn>
                  <a:cxn ang="0">
                    <a:pos x="130" y="207"/>
                  </a:cxn>
                  <a:cxn ang="0">
                    <a:pos x="140" y="207"/>
                  </a:cxn>
                  <a:cxn ang="0">
                    <a:pos x="147" y="205"/>
                  </a:cxn>
                  <a:cxn ang="0">
                    <a:pos x="160" y="209"/>
                  </a:cxn>
                  <a:cxn ang="0">
                    <a:pos x="165" y="209"/>
                  </a:cxn>
                  <a:cxn ang="0">
                    <a:pos x="168" y="211"/>
                  </a:cxn>
                  <a:cxn ang="0">
                    <a:pos x="200" y="204"/>
                  </a:cxn>
                </a:cxnLst>
                <a:rect l="0" t="0" r="r" b="b"/>
                <a:pathLst>
                  <a:path w="215" h="211">
                    <a:moveTo>
                      <a:pt x="200" y="204"/>
                    </a:moveTo>
                    <a:lnTo>
                      <a:pt x="198" y="202"/>
                    </a:lnTo>
                    <a:lnTo>
                      <a:pt x="196" y="200"/>
                    </a:lnTo>
                    <a:lnTo>
                      <a:pt x="196" y="198"/>
                    </a:lnTo>
                    <a:lnTo>
                      <a:pt x="193" y="195"/>
                    </a:lnTo>
                    <a:lnTo>
                      <a:pt x="191" y="195"/>
                    </a:lnTo>
                    <a:lnTo>
                      <a:pt x="187" y="195"/>
                    </a:lnTo>
                    <a:lnTo>
                      <a:pt x="184" y="190"/>
                    </a:lnTo>
                    <a:lnTo>
                      <a:pt x="182" y="188"/>
                    </a:lnTo>
                    <a:lnTo>
                      <a:pt x="182" y="186"/>
                    </a:lnTo>
                    <a:lnTo>
                      <a:pt x="179" y="185"/>
                    </a:lnTo>
                    <a:lnTo>
                      <a:pt x="177" y="181"/>
                    </a:lnTo>
                    <a:lnTo>
                      <a:pt x="175" y="179"/>
                    </a:lnTo>
                    <a:lnTo>
                      <a:pt x="177" y="124"/>
                    </a:lnTo>
                    <a:lnTo>
                      <a:pt x="215" y="124"/>
                    </a:lnTo>
                    <a:lnTo>
                      <a:pt x="213" y="122"/>
                    </a:lnTo>
                    <a:lnTo>
                      <a:pt x="213" y="117"/>
                    </a:lnTo>
                    <a:lnTo>
                      <a:pt x="215" y="115"/>
                    </a:lnTo>
                    <a:lnTo>
                      <a:pt x="215" y="112"/>
                    </a:lnTo>
                    <a:lnTo>
                      <a:pt x="213" y="110"/>
                    </a:lnTo>
                    <a:lnTo>
                      <a:pt x="213" y="105"/>
                    </a:lnTo>
                    <a:lnTo>
                      <a:pt x="213" y="99"/>
                    </a:lnTo>
                    <a:lnTo>
                      <a:pt x="212" y="92"/>
                    </a:lnTo>
                    <a:lnTo>
                      <a:pt x="213" y="91"/>
                    </a:lnTo>
                    <a:lnTo>
                      <a:pt x="213" y="91"/>
                    </a:lnTo>
                    <a:lnTo>
                      <a:pt x="213" y="89"/>
                    </a:lnTo>
                    <a:lnTo>
                      <a:pt x="210" y="89"/>
                    </a:lnTo>
                    <a:lnTo>
                      <a:pt x="206" y="91"/>
                    </a:lnTo>
                    <a:lnTo>
                      <a:pt x="205" y="92"/>
                    </a:lnTo>
                    <a:lnTo>
                      <a:pt x="203" y="92"/>
                    </a:lnTo>
                    <a:lnTo>
                      <a:pt x="201" y="92"/>
                    </a:lnTo>
                    <a:lnTo>
                      <a:pt x="200" y="92"/>
                    </a:lnTo>
                    <a:lnTo>
                      <a:pt x="196" y="92"/>
                    </a:lnTo>
                    <a:lnTo>
                      <a:pt x="193" y="92"/>
                    </a:lnTo>
                    <a:lnTo>
                      <a:pt x="191" y="91"/>
                    </a:lnTo>
                    <a:lnTo>
                      <a:pt x="187" y="91"/>
                    </a:lnTo>
                    <a:lnTo>
                      <a:pt x="187" y="91"/>
                    </a:lnTo>
                    <a:lnTo>
                      <a:pt x="187" y="91"/>
                    </a:lnTo>
                    <a:lnTo>
                      <a:pt x="184" y="92"/>
                    </a:lnTo>
                    <a:lnTo>
                      <a:pt x="184" y="92"/>
                    </a:lnTo>
                    <a:lnTo>
                      <a:pt x="184" y="91"/>
                    </a:lnTo>
                    <a:lnTo>
                      <a:pt x="184" y="87"/>
                    </a:lnTo>
                    <a:lnTo>
                      <a:pt x="184" y="87"/>
                    </a:lnTo>
                    <a:lnTo>
                      <a:pt x="184" y="85"/>
                    </a:lnTo>
                    <a:lnTo>
                      <a:pt x="184" y="85"/>
                    </a:lnTo>
                    <a:lnTo>
                      <a:pt x="184" y="82"/>
                    </a:lnTo>
                    <a:lnTo>
                      <a:pt x="182" y="78"/>
                    </a:lnTo>
                    <a:lnTo>
                      <a:pt x="184" y="77"/>
                    </a:lnTo>
                    <a:lnTo>
                      <a:pt x="184" y="77"/>
                    </a:lnTo>
                    <a:lnTo>
                      <a:pt x="182" y="73"/>
                    </a:lnTo>
                    <a:lnTo>
                      <a:pt x="182" y="72"/>
                    </a:lnTo>
                    <a:lnTo>
                      <a:pt x="182" y="70"/>
                    </a:lnTo>
                    <a:lnTo>
                      <a:pt x="182" y="68"/>
                    </a:lnTo>
                    <a:lnTo>
                      <a:pt x="180" y="68"/>
                    </a:lnTo>
                    <a:lnTo>
                      <a:pt x="179" y="65"/>
                    </a:lnTo>
                    <a:lnTo>
                      <a:pt x="179" y="65"/>
                    </a:lnTo>
                    <a:lnTo>
                      <a:pt x="179" y="63"/>
                    </a:lnTo>
                    <a:lnTo>
                      <a:pt x="177" y="59"/>
                    </a:lnTo>
                    <a:lnTo>
                      <a:pt x="177" y="58"/>
                    </a:lnTo>
                    <a:lnTo>
                      <a:pt x="175" y="56"/>
                    </a:lnTo>
                    <a:lnTo>
                      <a:pt x="177" y="54"/>
                    </a:lnTo>
                    <a:lnTo>
                      <a:pt x="177" y="49"/>
                    </a:lnTo>
                    <a:lnTo>
                      <a:pt x="175" y="45"/>
                    </a:lnTo>
                    <a:lnTo>
                      <a:pt x="175" y="44"/>
                    </a:lnTo>
                    <a:lnTo>
                      <a:pt x="177" y="44"/>
                    </a:lnTo>
                    <a:lnTo>
                      <a:pt x="177" y="40"/>
                    </a:lnTo>
                    <a:lnTo>
                      <a:pt x="175" y="38"/>
                    </a:lnTo>
                    <a:lnTo>
                      <a:pt x="175" y="35"/>
                    </a:lnTo>
                    <a:lnTo>
                      <a:pt x="177" y="32"/>
                    </a:lnTo>
                    <a:lnTo>
                      <a:pt x="177" y="32"/>
                    </a:lnTo>
                    <a:lnTo>
                      <a:pt x="177" y="28"/>
                    </a:lnTo>
                    <a:lnTo>
                      <a:pt x="177" y="26"/>
                    </a:lnTo>
                    <a:lnTo>
                      <a:pt x="156" y="25"/>
                    </a:lnTo>
                    <a:lnTo>
                      <a:pt x="156" y="23"/>
                    </a:lnTo>
                    <a:lnTo>
                      <a:pt x="156" y="21"/>
                    </a:lnTo>
                    <a:lnTo>
                      <a:pt x="156" y="18"/>
                    </a:lnTo>
                    <a:lnTo>
                      <a:pt x="153" y="18"/>
                    </a:lnTo>
                    <a:lnTo>
                      <a:pt x="153" y="19"/>
                    </a:lnTo>
                    <a:lnTo>
                      <a:pt x="137" y="19"/>
                    </a:lnTo>
                    <a:lnTo>
                      <a:pt x="134" y="25"/>
                    </a:lnTo>
                    <a:lnTo>
                      <a:pt x="134" y="28"/>
                    </a:lnTo>
                    <a:lnTo>
                      <a:pt x="134" y="28"/>
                    </a:lnTo>
                    <a:lnTo>
                      <a:pt x="134" y="32"/>
                    </a:lnTo>
                    <a:lnTo>
                      <a:pt x="134" y="35"/>
                    </a:lnTo>
                    <a:lnTo>
                      <a:pt x="120" y="37"/>
                    </a:lnTo>
                    <a:lnTo>
                      <a:pt x="118" y="38"/>
                    </a:lnTo>
                    <a:lnTo>
                      <a:pt x="111" y="37"/>
                    </a:lnTo>
                    <a:lnTo>
                      <a:pt x="109" y="37"/>
                    </a:lnTo>
                    <a:lnTo>
                      <a:pt x="106" y="37"/>
                    </a:lnTo>
                    <a:lnTo>
                      <a:pt x="102" y="37"/>
                    </a:lnTo>
                    <a:lnTo>
                      <a:pt x="100" y="37"/>
                    </a:lnTo>
                    <a:lnTo>
                      <a:pt x="100" y="32"/>
                    </a:lnTo>
                    <a:lnTo>
                      <a:pt x="97" y="28"/>
                    </a:lnTo>
                    <a:lnTo>
                      <a:pt x="95" y="26"/>
                    </a:lnTo>
                    <a:lnTo>
                      <a:pt x="94" y="25"/>
                    </a:lnTo>
                    <a:lnTo>
                      <a:pt x="94" y="23"/>
                    </a:lnTo>
                    <a:lnTo>
                      <a:pt x="94" y="21"/>
                    </a:lnTo>
                    <a:lnTo>
                      <a:pt x="92" y="18"/>
                    </a:lnTo>
                    <a:lnTo>
                      <a:pt x="90" y="14"/>
                    </a:lnTo>
                    <a:lnTo>
                      <a:pt x="90" y="11"/>
                    </a:lnTo>
                    <a:lnTo>
                      <a:pt x="92" y="9"/>
                    </a:lnTo>
                    <a:lnTo>
                      <a:pt x="92" y="9"/>
                    </a:lnTo>
                    <a:lnTo>
                      <a:pt x="90" y="5"/>
                    </a:lnTo>
                    <a:lnTo>
                      <a:pt x="88" y="5"/>
                    </a:lnTo>
                    <a:lnTo>
                      <a:pt x="90" y="4"/>
                    </a:lnTo>
                    <a:lnTo>
                      <a:pt x="90" y="2"/>
                    </a:lnTo>
                    <a:lnTo>
                      <a:pt x="73" y="0"/>
                    </a:lnTo>
                    <a:lnTo>
                      <a:pt x="59" y="0"/>
                    </a:lnTo>
                    <a:lnTo>
                      <a:pt x="55" y="2"/>
                    </a:lnTo>
                    <a:lnTo>
                      <a:pt x="47" y="2"/>
                    </a:lnTo>
                    <a:lnTo>
                      <a:pt x="47" y="0"/>
                    </a:lnTo>
                    <a:lnTo>
                      <a:pt x="41" y="2"/>
                    </a:lnTo>
                    <a:lnTo>
                      <a:pt x="36" y="2"/>
                    </a:lnTo>
                    <a:lnTo>
                      <a:pt x="33" y="2"/>
                    </a:lnTo>
                    <a:lnTo>
                      <a:pt x="31" y="2"/>
                    </a:lnTo>
                    <a:lnTo>
                      <a:pt x="28" y="0"/>
                    </a:lnTo>
                    <a:lnTo>
                      <a:pt x="24" y="2"/>
                    </a:lnTo>
                    <a:lnTo>
                      <a:pt x="24" y="2"/>
                    </a:lnTo>
                    <a:lnTo>
                      <a:pt x="22" y="4"/>
                    </a:lnTo>
                    <a:lnTo>
                      <a:pt x="19" y="4"/>
                    </a:lnTo>
                    <a:lnTo>
                      <a:pt x="19" y="4"/>
                    </a:lnTo>
                    <a:lnTo>
                      <a:pt x="19" y="4"/>
                    </a:lnTo>
                    <a:lnTo>
                      <a:pt x="19" y="4"/>
                    </a:lnTo>
                    <a:lnTo>
                      <a:pt x="14" y="5"/>
                    </a:lnTo>
                    <a:lnTo>
                      <a:pt x="15" y="9"/>
                    </a:lnTo>
                    <a:lnTo>
                      <a:pt x="15" y="11"/>
                    </a:lnTo>
                    <a:lnTo>
                      <a:pt x="24" y="21"/>
                    </a:lnTo>
                    <a:lnTo>
                      <a:pt x="28" y="33"/>
                    </a:lnTo>
                    <a:lnTo>
                      <a:pt x="31" y="42"/>
                    </a:lnTo>
                    <a:lnTo>
                      <a:pt x="29" y="49"/>
                    </a:lnTo>
                    <a:lnTo>
                      <a:pt x="24" y="54"/>
                    </a:lnTo>
                    <a:lnTo>
                      <a:pt x="28" y="56"/>
                    </a:lnTo>
                    <a:lnTo>
                      <a:pt x="28" y="63"/>
                    </a:lnTo>
                    <a:lnTo>
                      <a:pt x="29" y="68"/>
                    </a:lnTo>
                    <a:lnTo>
                      <a:pt x="29" y="72"/>
                    </a:lnTo>
                    <a:lnTo>
                      <a:pt x="36" y="82"/>
                    </a:lnTo>
                    <a:lnTo>
                      <a:pt x="36" y="85"/>
                    </a:lnTo>
                    <a:lnTo>
                      <a:pt x="38" y="87"/>
                    </a:lnTo>
                    <a:lnTo>
                      <a:pt x="38" y="101"/>
                    </a:lnTo>
                    <a:lnTo>
                      <a:pt x="31" y="115"/>
                    </a:lnTo>
                    <a:lnTo>
                      <a:pt x="29" y="115"/>
                    </a:lnTo>
                    <a:lnTo>
                      <a:pt x="22" y="118"/>
                    </a:lnTo>
                    <a:lnTo>
                      <a:pt x="22" y="124"/>
                    </a:lnTo>
                    <a:lnTo>
                      <a:pt x="14" y="132"/>
                    </a:lnTo>
                    <a:lnTo>
                      <a:pt x="12" y="139"/>
                    </a:lnTo>
                    <a:lnTo>
                      <a:pt x="10" y="139"/>
                    </a:lnTo>
                    <a:lnTo>
                      <a:pt x="10" y="153"/>
                    </a:lnTo>
                    <a:lnTo>
                      <a:pt x="7" y="158"/>
                    </a:lnTo>
                    <a:lnTo>
                      <a:pt x="5" y="165"/>
                    </a:lnTo>
                    <a:lnTo>
                      <a:pt x="0" y="172"/>
                    </a:lnTo>
                    <a:lnTo>
                      <a:pt x="0" y="176"/>
                    </a:lnTo>
                    <a:lnTo>
                      <a:pt x="0" y="183"/>
                    </a:lnTo>
                    <a:lnTo>
                      <a:pt x="0" y="192"/>
                    </a:lnTo>
                    <a:lnTo>
                      <a:pt x="0" y="195"/>
                    </a:lnTo>
                    <a:lnTo>
                      <a:pt x="0" y="198"/>
                    </a:lnTo>
                    <a:lnTo>
                      <a:pt x="0" y="198"/>
                    </a:lnTo>
                    <a:lnTo>
                      <a:pt x="1" y="198"/>
                    </a:lnTo>
                    <a:lnTo>
                      <a:pt x="3" y="198"/>
                    </a:lnTo>
                    <a:lnTo>
                      <a:pt x="5" y="198"/>
                    </a:lnTo>
                    <a:lnTo>
                      <a:pt x="5" y="195"/>
                    </a:lnTo>
                    <a:lnTo>
                      <a:pt x="7" y="195"/>
                    </a:lnTo>
                    <a:lnTo>
                      <a:pt x="10" y="195"/>
                    </a:lnTo>
                    <a:lnTo>
                      <a:pt x="14" y="198"/>
                    </a:lnTo>
                    <a:lnTo>
                      <a:pt x="15" y="195"/>
                    </a:lnTo>
                    <a:lnTo>
                      <a:pt x="15" y="195"/>
                    </a:lnTo>
                    <a:lnTo>
                      <a:pt x="19" y="192"/>
                    </a:lnTo>
                    <a:lnTo>
                      <a:pt x="22" y="192"/>
                    </a:lnTo>
                    <a:lnTo>
                      <a:pt x="24" y="193"/>
                    </a:lnTo>
                    <a:lnTo>
                      <a:pt x="28" y="193"/>
                    </a:lnTo>
                    <a:lnTo>
                      <a:pt x="28" y="192"/>
                    </a:lnTo>
                    <a:lnTo>
                      <a:pt x="28" y="192"/>
                    </a:lnTo>
                    <a:lnTo>
                      <a:pt x="29" y="193"/>
                    </a:lnTo>
                    <a:lnTo>
                      <a:pt x="31" y="193"/>
                    </a:lnTo>
                    <a:lnTo>
                      <a:pt x="33" y="195"/>
                    </a:lnTo>
                    <a:lnTo>
                      <a:pt x="33" y="195"/>
                    </a:lnTo>
                    <a:lnTo>
                      <a:pt x="33" y="195"/>
                    </a:lnTo>
                    <a:lnTo>
                      <a:pt x="36" y="198"/>
                    </a:lnTo>
                    <a:lnTo>
                      <a:pt x="41" y="200"/>
                    </a:lnTo>
                    <a:lnTo>
                      <a:pt x="43" y="198"/>
                    </a:lnTo>
                    <a:lnTo>
                      <a:pt x="45" y="198"/>
                    </a:lnTo>
                    <a:lnTo>
                      <a:pt x="47" y="198"/>
                    </a:lnTo>
                    <a:lnTo>
                      <a:pt x="47" y="198"/>
                    </a:lnTo>
                    <a:lnTo>
                      <a:pt x="50" y="198"/>
                    </a:lnTo>
                    <a:lnTo>
                      <a:pt x="114" y="198"/>
                    </a:lnTo>
                    <a:lnTo>
                      <a:pt x="114" y="198"/>
                    </a:lnTo>
                    <a:lnTo>
                      <a:pt x="116" y="202"/>
                    </a:lnTo>
                    <a:lnTo>
                      <a:pt x="118" y="204"/>
                    </a:lnTo>
                    <a:lnTo>
                      <a:pt x="121" y="205"/>
                    </a:lnTo>
                    <a:lnTo>
                      <a:pt x="125" y="205"/>
                    </a:lnTo>
                    <a:lnTo>
                      <a:pt x="128" y="205"/>
                    </a:lnTo>
                    <a:lnTo>
                      <a:pt x="130" y="205"/>
                    </a:lnTo>
                    <a:lnTo>
                      <a:pt x="130" y="207"/>
                    </a:lnTo>
                    <a:lnTo>
                      <a:pt x="134" y="209"/>
                    </a:lnTo>
                    <a:lnTo>
                      <a:pt x="134" y="207"/>
                    </a:lnTo>
                    <a:lnTo>
                      <a:pt x="137" y="205"/>
                    </a:lnTo>
                    <a:lnTo>
                      <a:pt x="140" y="207"/>
                    </a:lnTo>
                    <a:lnTo>
                      <a:pt x="144" y="207"/>
                    </a:lnTo>
                    <a:lnTo>
                      <a:pt x="144" y="205"/>
                    </a:lnTo>
                    <a:lnTo>
                      <a:pt x="146" y="205"/>
                    </a:lnTo>
                    <a:lnTo>
                      <a:pt x="147" y="205"/>
                    </a:lnTo>
                    <a:lnTo>
                      <a:pt x="151" y="209"/>
                    </a:lnTo>
                    <a:lnTo>
                      <a:pt x="154" y="211"/>
                    </a:lnTo>
                    <a:lnTo>
                      <a:pt x="156" y="211"/>
                    </a:lnTo>
                    <a:lnTo>
                      <a:pt x="160" y="209"/>
                    </a:lnTo>
                    <a:lnTo>
                      <a:pt x="160" y="209"/>
                    </a:lnTo>
                    <a:lnTo>
                      <a:pt x="161" y="207"/>
                    </a:lnTo>
                    <a:lnTo>
                      <a:pt x="161" y="209"/>
                    </a:lnTo>
                    <a:lnTo>
                      <a:pt x="165" y="209"/>
                    </a:lnTo>
                    <a:lnTo>
                      <a:pt x="165" y="209"/>
                    </a:lnTo>
                    <a:lnTo>
                      <a:pt x="165" y="211"/>
                    </a:lnTo>
                    <a:lnTo>
                      <a:pt x="167" y="211"/>
                    </a:lnTo>
                    <a:lnTo>
                      <a:pt x="168" y="211"/>
                    </a:lnTo>
                    <a:lnTo>
                      <a:pt x="170" y="211"/>
                    </a:lnTo>
                    <a:lnTo>
                      <a:pt x="172" y="211"/>
                    </a:lnTo>
                    <a:lnTo>
                      <a:pt x="172" y="211"/>
                    </a:lnTo>
                    <a:lnTo>
                      <a:pt x="200" y="204"/>
                    </a:lnTo>
                    <a:lnTo>
                      <a:pt x="200" y="204"/>
                    </a:lnTo>
                    <a:lnTo>
                      <a:pt x="200" y="20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4" name="Freeform 147"/>
              <p:cNvSpPr>
                <a:spLocks/>
              </p:cNvSpPr>
              <p:nvPr/>
            </p:nvSpPr>
            <p:spPr bwMode="auto">
              <a:xfrm>
                <a:off x="5127625" y="4691063"/>
                <a:ext cx="215900"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5" name="Freeform 148"/>
              <p:cNvSpPr>
                <a:spLocks/>
              </p:cNvSpPr>
              <p:nvPr/>
            </p:nvSpPr>
            <p:spPr bwMode="auto">
              <a:xfrm>
                <a:off x="5127625" y="4691063"/>
                <a:ext cx="215900" cy="196850"/>
              </a:xfrm>
              <a:custGeom>
                <a:avLst/>
                <a:gdLst/>
                <a:ahLst/>
                <a:cxnLst>
                  <a:cxn ang="0">
                    <a:pos x="7" y="39"/>
                  </a:cxn>
                  <a:cxn ang="0">
                    <a:pos x="12" y="42"/>
                  </a:cxn>
                  <a:cxn ang="0">
                    <a:pos x="21" y="40"/>
                  </a:cxn>
                  <a:cxn ang="0">
                    <a:pos x="23" y="40"/>
                  </a:cxn>
                  <a:cxn ang="0">
                    <a:pos x="35" y="42"/>
                  </a:cxn>
                  <a:cxn ang="0">
                    <a:pos x="57" y="18"/>
                  </a:cxn>
                  <a:cxn ang="0">
                    <a:pos x="64" y="14"/>
                  </a:cxn>
                  <a:cxn ang="0">
                    <a:pos x="64" y="9"/>
                  </a:cxn>
                  <a:cxn ang="0">
                    <a:pos x="73" y="4"/>
                  </a:cxn>
                  <a:cxn ang="0">
                    <a:pos x="85" y="0"/>
                  </a:cxn>
                  <a:cxn ang="0">
                    <a:pos x="90" y="0"/>
                  </a:cxn>
                  <a:cxn ang="0">
                    <a:pos x="94" y="7"/>
                  </a:cxn>
                  <a:cxn ang="0">
                    <a:pos x="104" y="11"/>
                  </a:cxn>
                  <a:cxn ang="0">
                    <a:pos x="110" y="9"/>
                  </a:cxn>
                  <a:cxn ang="0">
                    <a:pos x="122" y="16"/>
                  </a:cxn>
                  <a:cxn ang="0">
                    <a:pos x="132" y="23"/>
                  </a:cxn>
                  <a:cxn ang="0">
                    <a:pos x="136" y="28"/>
                  </a:cxn>
                  <a:cxn ang="0">
                    <a:pos x="136" y="33"/>
                  </a:cxn>
                  <a:cxn ang="0">
                    <a:pos x="132" y="44"/>
                  </a:cxn>
                  <a:cxn ang="0">
                    <a:pos x="136" y="49"/>
                  </a:cxn>
                  <a:cxn ang="0">
                    <a:pos x="132" y="56"/>
                  </a:cxn>
                  <a:cxn ang="0">
                    <a:pos x="129" y="61"/>
                  </a:cxn>
                  <a:cxn ang="0">
                    <a:pos x="132" y="68"/>
                  </a:cxn>
                  <a:cxn ang="0">
                    <a:pos x="132" y="77"/>
                  </a:cxn>
                  <a:cxn ang="0">
                    <a:pos x="127" y="84"/>
                  </a:cxn>
                  <a:cxn ang="0">
                    <a:pos x="123" y="91"/>
                  </a:cxn>
                  <a:cxn ang="0">
                    <a:pos x="123" y="98"/>
                  </a:cxn>
                  <a:cxn ang="0">
                    <a:pos x="99" y="120"/>
                  </a:cxn>
                  <a:cxn ang="0">
                    <a:pos x="87" y="120"/>
                  </a:cxn>
                  <a:cxn ang="0">
                    <a:pos x="80" y="119"/>
                  </a:cxn>
                  <a:cxn ang="0">
                    <a:pos x="68" y="115"/>
                  </a:cxn>
                  <a:cxn ang="0">
                    <a:pos x="68" y="112"/>
                  </a:cxn>
                  <a:cxn ang="0">
                    <a:pos x="59" y="106"/>
                  </a:cxn>
                  <a:cxn ang="0">
                    <a:pos x="50" y="106"/>
                  </a:cxn>
                  <a:cxn ang="0">
                    <a:pos x="42" y="101"/>
                  </a:cxn>
                  <a:cxn ang="0">
                    <a:pos x="38" y="91"/>
                  </a:cxn>
                  <a:cxn ang="0">
                    <a:pos x="35" y="87"/>
                  </a:cxn>
                  <a:cxn ang="0">
                    <a:pos x="35" y="84"/>
                  </a:cxn>
                  <a:cxn ang="0">
                    <a:pos x="26" y="77"/>
                  </a:cxn>
                  <a:cxn ang="0">
                    <a:pos x="17" y="65"/>
                  </a:cxn>
                  <a:cxn ang="0">
                    <a:pos x="14" y="61"/>
                  </a:cxn>
                  <a:cxn ang="0">
                    <a:pos x="9" y="54"/>
                  </a:cxn>
                  <a:cxn ang="0">
                    <a:pos x="7" y="49"/>
                  </a:cxn>
                  <a:cxn ang="0">
                    <a:pos x="0" y="46"/>
                  </a:cxn>
                  <a:cxn ang="0">
                    <a:pos x="0" y="40"/>
                  </a:cxn>
                  <a:cxn ang="0">
                    <a:pos x="0" y="39"/>
                  </a:cxn>
                </a:cxnLst>
                <a:rect l="0" t="0" r="r" b="b"/>
                <a:pathLst>
                  <a:path w="136" h="124">
                    <a:moveTo>
                      <a:pt x="0" y="39"/>
                    </a:moveTo>
                    <a:lnTo>
                      <a:pt x="2" y="39"/>
                    </a:lnTo>
                    <a:lnTo>
                      <a:pt x="7" y="39"/>
                    </a:lnTo>
                    <a:lnTo>
                      <a:pt x="9" y="40"/>
                    </a:lnTo>
                    <a:lnTo>
                      <a:pt x="10" y="42"/>
                    </a:lnTo>
                    <a:lnTo>
                      <a:pt x="12" y="42"/>
                    </a:lnTo>
                    <a:lnTo>
                      <a:pt x="16" y="40"/>
                    </a:lnTo>
                    <a:lnTo>
                      <a:pt x="19" y="40"/>
                    </a:lnTo>
                    <a:lnTo>
                      <a:pt x="21" y="40"/>
                    </a:lnTo>
                    <a:lnTo>
                      <a:pt x="23" y="40"/>
                    </a:lnTo>
                    <a:lnTo>
                      <a:pt x="23" y="40"/>
                    </a:lnTo>
                    <a:lnTo>
                      <a:pt x="23" y="40"/>
                    </a:lnTo>
                    <a:lnTo>
                      <a:pt x="26" y="44"/>
                    </a:lnTo>
                    <a:lnTo>
                      <a:pt x="30" y="44"/>
                    </a:lnTo>
                    <a:lnTo>
                      <a:pt x="35" y="42"/>
                    </a:lnTo>
                    <a:lnTo>
                      <a:pt x="38" y="35"/>
                    </a:lnTo>
                    <a:lnTo>
                      <a:pt x="47" y="27"/>
                    </a:lnTo>
                    <a:lnTo>
                      <a:pt x="57" y="18"/>
                    </a:lnTo>
                    <a:lnTo>
                      <a:pt x="63" y="16"/>
                    </a:lnTo>
                    <a:lnTo>
                      <a:pt x="64" y="14"/>
                    </a:lnTo>
                    <a:lnTo>
                      <a:pt x="64" y="14"/>
                    </a:lnTo>
                    <a:lnTo>
                      <a:pt x="64" y="13"/>
                    </a:lnTo>
                    <a:lnTo>
                      <a:pt x="64" y="11"/>
                    </a:lnTo>
                    <a:lnTo>
                      <a:pt x="64" y="9"/>
                    </a:lnTo>
                    <a:lnTo>
                      <a:pt x="68" y="6"/>
                    </a:lnTo>
                    <a:lnTo>
                      <a:pt x="71" y="4"/>
                    </a:lnTo>
                    <a:lnTo>
                      <a:pt x="73" y="4"/>
                    </a:lnTo>
                    <a:lnTo>
                      <a:pt x="77" y="0"/>
                    </a:lnTo>
                    <a:lnTo>
                      <a:pt x="80" y="0"/>
                    </a:lnTo>
                    <a:lnTo>
                      <a:pt x="85" y="0"/>
                    </a:lnTo>
                    <a:lnTo>
                      <a:pt x="85" y="0"/>
                    </a:lnTo>
                    <a:lnTo>
                      <a:pt x="87" y="0"/>
                    </a:lnTo>
                    <a:lnTo>
                      <a:pt x="90" y="0"/>
                    </a:lnTo>
                    <a:lnTo>
                      <a:pt x="92" y="0"/>
                    </a:lnTo>
                    <a:lnTo>
                      <a:pt x="94" y="0"/>
                    </a:lnTo>
                    <a:lnTo>
                      <a:pt x="94" y="7"/>
                    </a:lnTo>
                    <a:lnTo>
                      <a:pt x="99" y="7"/>
                    </a:lnTo>
                    <a:lnTo>
                      <a:pt x="101" y="7"/>
                    </a:lnTo>
                    <a:lnTo>
                      <a:pt x="104" y="11"/>
                    </a:lnTo>
                    <a:lnTo>
                      <a:pt x="104" y="9"/>
                    </a:lnTo>
                    <a:lnTo>
                      <a:pt x="106" y="7"/>
                    </a:lnTo>
                    <a:lnTo>
                      <a:pt x="110" y="9"/>
                    </a:lnTo>
                    <a:lnTo>
                      <a:pt x="115" y="13"/>
                    </a:lnTo>
                    <a:lnTo>
                      <a:pt x="118" y="16"/>
                    </a:lnTo>
                    <a:lnTo>
                      <a:pt x="122" y="16"/>
                    </a:lnTo>
                    <a:lnTo>
                      <a:pt x="127" y="18"/>
                    </a:lnTo>
                    <a:lnTo>
                      <a:pt x="129" y="20"/>
                    </a:lnTo>
                    <a:lnTo>
                      <a:pt x="132" y="23"/>
                    </a:lnTo>
                    <a:lnTo>
                      <a:pt x="136" y="23"/>
                    </a:lnTo>
                    <a:lnTo>
                      <a:pt x="136" y="27"/>
                    </a:lnTo>
                    <a:lnTo>
                      <a:pt x="136" y="28"/>
                    </a:lnTo>
                    <a:lnTo>
                      <a:pt x="136" y="32"/>
                    </a:lnTo>
                    <a:lnTo>
                      <a:pt x="136" y="32"/>
                    </a:lnTo>
                    <a:lnTo>
                      <a:pt x="136" y="33"/>
                    </a:lnTo>
                    <a:lnTo>
                      <a:pt x="136" y="37"/>
                    </a:lnTo>
                    <a:lnTo>
                      <a:pt x="132" y="39"/>
                    </a:lnTo>
                    <a:lnTo>
                      <a:pt x="132" y="44"/>
                    </a:lnTo>
                    <a:lnTo>
                      <a:pt x="132" y="47"/>
                    </a:lnTo>
                    <a:lnTo>
                      <a:pt x="132" y="49"/>
                    </a:lnTo>
                    <a:lnTo>
                      <a:pt x="136" y="49"/>
                    </a:lnTo>
                    <a:lnTo>
                      <a:pt x="136" y="51"/>
                    </a:lnTo>
                    <a:lnTo>
                      <a:pt x="132" y="54"/>
                    </a:lnTo>
                    <a:lnTo>
                      <a:pt x="132" y="56"/>
                    </a:lnTo>
                    <a:lnTo>
                      <a:pt x="132" y="60"/>
                    </a:lnTo>
                    <a:lnTo>
                      <a:pt x="129" y="60"/>
                    </a:lnTo>
                    <a:lnTo>
                      <a:pt x="129" y="61"/>
                    </a:lnTo>
                    <a:lnTo>
                      <a:pt x="132" y="65"/>
                    </a:lnTo>
                    <a:lnTo>
                      <a:pt x="132" y="67"/>
                    </a:lnTo>
                    <a:lnTo>
                      <a:pt x="132" y="68"/>
                    </a:lnTo>
                    <a:lnTo>
                      <a:pt x="132" y="72"/>
                    </a:lnTo>
                    <a:lnTo>
                      <a:pt x="132" y="73"/>
                    </a:lnTo>
                    <a:lnTo>
                      <a:pt x="132" y="77"/>
                    </a:lnTo>
                    <a:lnTo>
                      <a:pt x="132" y="79"/>
                    </a:lnTo>
                    <a:lnTo>
                      <a:pt x="129" y="82"/>
                    </a:lnTo>
                    <a:lnTo>
                      <a:pt x="127" y="84"/>
                    </a:lnTo>
                    <a:lnTo>
                      <a:pt x="123" y="84"/>
                    </a:lnTo>
                    <a:lnTo>
                      <a:pt x="123" y="87"/>
                    </a:lnTo>
                    <a:lnTo>
                      <a:pt x="123" y="91"/>
                    </a:lnTo>
                    <a:lnTo>
                      <a:pt x="123" y="91"/>
                    </a:lnTo>
                    <a:lnTo>
                      <a:pt x="123" y="96"/>
                    </a:lnTo>
                    <a:lnTo>
                      <a:pt x="123" y="98"/>
                    </a:lnTo>
                    <a:lnTo>
                      <a:pt x="123" y="105"/>
                    </a:lnTo>
                    <a:lnTo>
                      <a:pt x="104" y="124"/>
                    </a:lnTo>
                    <a:lnTo>
                      <a:pt x="99" y="120"/>
                    </a:lnTo>
                    <a:lnTo>
                      <a:pt x="96" y="119"/>
                    </a:lnTo>
                    <a:lnTo>
                      <a:pt x="90" y="120"/>
                    </a:lnTo>
                    <a:lnTo>
                      <a:pt x="87" y="120"/>
                    </a:lnTo>
                    <a:lnTo>
                      <a:pt x="87" y="120"/>
                    </a:lnTo>
                    <a:lnTo>
                      <a:pt x="83" y="119"/>
                    </a:lnTo>
                    <a:lnTo>
                      <a:pt x="80" y="119"/>
                    </a:lnTo>
                    <a:lnTo>
                      <a:pt x="78" y="115"/>
                    </a:lnTo>
                    <a:lnTo>
                      <a:pt x="75" y="115"/>
                    </a:lnTo>
                    <a:lnTo>
                      <a:pt x="68" y="115"/>
                    </a:lnTo>
                    <a:lnTo>
                      <a:pt x="68" y="115"/>
                    </a:lnTo>
                    <a:lnTo>
                      <a:pt x="68" y="113"/>
                    </a:lnTo>
                    <a:lnTo>
                      <a:pt x="68" y="112"/>
                    </a:lnTo>
                    <a:lnTo>
                      <a:pt x="64" y="110"/>
                    </a:lnTo>
                    <a:lnTo>
                      <a:pt x="63" y="110"/>
                    </a:lnTo>
                    <a:lnTo>
                      <a:pt x="59" y="106"/>
                    </a:lnTo>
                    <a:lnTo>
                      <a:pt x="57" y="106"/>
                    </a:lnTo>
                    <a:lnTo>
                      <a:pt x="52" y="106"/>
                    </a:lnTo>
                    <a:lnTo>
                      <a:pt x="50" y="106"/>
                    </a:lnTo>
                    <a:lnTo>
                      <a:pt x="47" y="106"/>
                    </a:lnTo>
                    <a:lnTo>
                      <a:pt x="45" y="103"/>
                    </a:lnTo>
                    <a:lnTo>
                      <a:pt x="42" y="101"/>
                    </a:lnTo>
                    <a:lnTo>
                      <a:pt x="40" y="98"/>
                    </a:lnTo>
                    <a:lnTo>
                      <a:pt x="40" y="96"/>
                    </a:lnTo>
                    <a:lnTo>
                      <a:pt x="38" y="91"/>
                    </a:lnTo>
                    <a:lnTo>
                      <a:pt x="40" y="91"/>
                    </a:lnTo>
                    <a:lnTo>
                      <a:pt x="37" y="87"/>
                    </a:lnTo>
                    <a:lnTo>
                      <a:pt x="35" y="87"/>
                    </a:lnTo>
                    <a:lnTo>
                      <a:pt x="35" y="84"/>
                    </a:lnTo>
                    <a:lnTo>
                      <a:pt x="35" y="84"/>
                    </a:lnTo>
                    <a:lnTo>
                      <a:pt x="35" y="84"/>
                    </a:lnTo>
                    <a:lnTo>
                      <a:pt x="31" y="82"/>
                    </a:lnTo>
                    <a:lnTo>
                      <a:pt x="31" y="79"/>
                    </a:lnTo>
                    <a:lnTo>
                      <a:pt x="26" y="77"/>
                    </a:lnTo>
                    <a:lnTo>
                      <a:pt x="23" y="75"/>
                    </a:lnTo>
                    <a:lnTo>
                      <a:pt x="19" y="68"/>
                    </a:lnTo>
                    <a:lnTo>
                      <a:pt x="17" y="65"/>
                    </a:lnTo>
                    <a:lnTo>
                      <a:pt x="16" y="65"/>
                    </a:lnTo>
                    <a:lnTo>
                      <a:pt x="14" y="63"/>
                    </a:lnTo>
                    <a:lnTo>
                      <a:pt x="14" y="61"/>
                    </a:lnTo>
                    <a:lnTo>
                      <a:pt x="12" y="60"/>
                    </a:lnTo>
                    <a:lnTo>
                      <a:pt x="10" y="56"/>
                    </a:lnTo>
                    <a:lnTo>
                      <a:pt x="9" y="54"/>
                    </a:lnTo>
                    <a:lnTo>
                      <a:pt x="9" y="54"/>
                    </a:lnTo>
                    <a:lnTo>
                      <a:pt x="9" y="53"/>
                    </a:lnTo>
                    <a:lnTo>
                      <a:pt x="7" y="49"/>
                    </a:lnTo>
                    <a:lnTo>
                      <a:pt x="4" y="49"/>
                    </a:lnTo>
                    <a:lnTo>
                      <a:pt x="4" y="47"/>
                    </a:lnTo>
                    <a:lnTo>
                      <a:pt x="0" y="46"/>
                    </a:lnTo>
                    <a:lnTo>
                      <a:pt x="0" y="44"/>
                    </a:lnTo>
                    <a:lnTo>
                      <a:pt x="0" y="42"/>
                    </a:lnTo>
                    <a:lnTo>
                      <a:pt x="0" y="40"/>
                    </a:lnTo>
                    <a:lnTo>
                      <a:pt x="0" y="39"/>
                    </a:lnTo>
                    <a:lnTo>
                      <a:pt x="0" y="39"/>
                    </a:lnTo>
                    <a:lnTo>
                      <a:pt x="0" y="39"/>
                    </a:lnTo>
                    <a:lnTo>
                      <a:pt x="0" y="39"/>
                    </a:lnTo>
                    <a:lnTo>
                      <a:pt x="0" y="3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6" name="Freeform 149"/>
              <p:cNvSpPr>
                <a:spLocks/>
              </p:cNvSpPr>
              <p:nvPr/>
            </p:nvSpPr>
            <p:spPr bwMode="auto">
              <a:xfrm>
                <a:off x="4981575" y="4754563"/>
                <a:ext cx="254000" cy="254000"/>
              </a:xfrm>
              <a:custGeom>
                <a:avLst/>
                <a:gdLst/>
                <a:ahLst/>
                <a:cxnLst>
                  <a:cxn ang="0">
                    <a:pos x="92" y="4"/>
                  </a:cxn>
                  <a:cxn ang="0">
                    <a:pos x="96" y="9"/>
                  </a:cxn>
                  <a:cxn ang="0">
                    <a:pos x="101" y="13"/>
                  </a:cxn>
                  <a:cxn ang="0">
                    <a:pos x="104" y="18"/>
                  </a:cxn>
                  <a:cxn ang="0">
                    <a:pos x="106" y="25"/>
                  </a:cxn>
                  <a:cxn ang="0">
                    <a:pos x="111" y="30"/>
                  </a:cxn>
                  <a:cxn ang="0">
                    <a:pos x="123" y="40"/>
                  </a:cxn>
                  <a:cxn ang="0">
                    <a:pos x="127" y="44"/>
                  </a:cxn>
                  <a:cxn ang="0">
                    <a:pos x="129" y="49"/>
                  </a:cxn>
                  <a:cxn ang="0">
                    <a:pos x="132" y="56"/>
                  </a:cxn>
                  <a:cxn ang="0">
                    <a:pos x="137" y="63"/>
                  </a:cxn>
                  <a:cxn ang="0">
                    <a:pos x="144" y="68"/>
                  </a:cxn>
                  <a:cxn ang="0">
                    <a:pos x="155" y="72"/>
                  </a:cxn>
                  <a:cxn ang="0">
                    <a:pos x="160" y="75"/>
                  </a:cxn>
                  <a:cxn ang="0">
                    <a:pos x="160" y="79"/>
                  </a:cxn>
                  <a:cxn ang="0">
                    <a:pos x="151" y="80"/>
                  </a:cxn>
                  <a:cxn ang="0">
                    <a:pos x="149" y="86"/>
                  </a:cxn>
                  <a:cxn ang="0">
                    <a:pos x="142" y="89"/>
                  </a:cxn>
                  <a:cxn ang="0">
                    <a:pos x="134" y="91"/>
                  </a:cxn>
                  <a:cxn ang="0">
                    <a:pos x="129" y="98"/>
                  </a:cxn>
                  <a:cxn ang="0">
                    <a:pos x="123" y="98"/>
                  </a:cxn>
                  <a:cxn ang="0">
                    <a:pos x="116" y="110"/>
                  </a:cxn>
                  <a:cxn ang="0">
                    <a:pos x="115" y="115"/>
                  </a:cxn>
                  <a:cxn ang="0">
                    <a:pos x="109" y="120"/>
                  </a:cxn>
                  <a:cxn ang="0">
                    <a:pos x="106" y="122"/>
                  </a:cxn>
                  <a:cxn ang="0">
                    <a:pos x="99" y="126"/>
                  </a:cxn>
                  <a:cxn ang="0">
                    <a:pos x="96" y="134"/>
                  </a:cxn>
                  <a:cxn ang="0">
                    <a:pos x="96" y="141"/>
                  </a:cxn>
                  <a:cxn ang="0">
                    <a:pos x="89" y="141"/>
                  </a:cxn>
                  <a:cxn ang="0">
                    <a:pos x="78" y="143"/>
                  </a:cxn>
                  <a:cxn ang="0">
                    <a:pos x="64" y="140"/>
                  </a:cxn>
                  <a:cxn ang="0">
                    <a:pos x="56" y="136"/>
                  </a:cxn>
                  <a:cxn ang="0">
                    <a:pos x="45" y="148"/>
                  </a:cxn>
                  <a:cxn ang="0">
                    <a:pos x="35" y="153"/>
                  </a:cxn>
                  <a:cxn ang="0">
                    <a:pos x="24" y="160"/>
                  </a:cxn>
                  <a:cxn ang="0">
                    <a:pos x="14" y="159"/>
                  </a:cxn>
                  <a:cxn ang="0">
                    <a:pos x="12" y="150"/>
                  </a:cxn>
                  <a:cxn ang="0">
                    <a:pos x="5" y="133"/>
                  </a:cxn>
                  <a:cxn ang="0">
                    <a:pos x="0" y="127"/>
                  </a:cxn>
                  <a:cxn ang="0">
                    <a:pos x="17" y="75"/>
                  </a:cxn>
                  <a:cxn ang="0">
                    <a:pos x="50" y="9"/>
                  </a:cxn>
                  <a:cxn ang="0">
                    <a:pos x="59" y="7"/>
                  </a:cxn>
                  <a:cxn ang="0">
                    <a:pos x="63" y="13"/>
                  </a:cxn>
                  <a:cxn ang="0">
                    <a:pos x="63" y="16"/>
                  </a:cxn>
                  <a:cxn ang="0">
                    <a:pos x="76" y="4"/>
                  </a:cxn>
                  <a:cxn ang="0">
                    <a:pos x="82" y="6"/>
                  </a:cxn>
                  <a:cxn ang="0">
                    <a:pos x="92" y="0"/>
                  </a:cxn>
                  <a:cxn ang="0">
                    <a:pos x="92" y="0"/>
                  </a:cxn>
                </a:cxnLst>
                <a:rect l="0" t="0" r="r" b="b"/>
                <a:pathLst>
                  <a:path w="160" h="160">
                    <a:moveTo>
                      <a:pt x="92" y="0"/>
                    </a:moveTo>
                    <a:lnTo>
                      <a:pt x="92" y="2"/>
                    </a:lnTo>
                    <a:lnTo>
                      <a:pt x="92" y="4"/>
                    </a:lnTo>
                    <a:lnTo>
                      <a:pt x="92" y="6"/>
                    </a:lnTo>
                    <a:lnTo>
                      <a:pt x="92" y="7"/>
                    </a:lnTo>
                    <a:lnTo>
                      <a:pt x="96" y="9"/>
                    </a:lnTo>
                    <a:lnTo>
                      <a:pt x="96" y="11"/>
                    </a:lnTo>
                    <a:lnTo>
                      <a:pt x="101" y="11"/>
                    </a:lnTo>
                    <a:lnTo>
                      <a:pt x="101" y="13"/>
                    </a:lnTo>
                    <a:lnTo>
                      <a:pt x="101" y="16"/>
                    </a:lnTo>
                    <a:lnTo>
                      <a:pt x="101" y="16"/>
                    </a:lnTo>
                    <a:lnTo>
                      <a:pt x="104" y="18"/>
                    </a:lnTo>
                    <a:lnTo>
                      <a:pt x="104" y="21"/>
                    </a:lnTo>
                    <a:lnTo>
                      <a:pt x="106" y="23"/>
                    </a:lnTo>
                    <a:lnTo>
                      <a:pt x="106" y="25"/>
                    </a:lnTo>
                    <a:lnTo>
                      <a:pt x="108" y="27"/>
                    </a:lnTo>
                    <a:lnTo>
                      <a:pt x="109" y="27"/>
                    </a:lnTo>
                    <a:lnTo>
                      <a:pt x="111" y="30"/>
                    </a:lnTo>
                    <a:lnTo>
                      <a:pt x="116" y="37"/>
                    </a:lnTo>
                    <a:lnTo>
                      <a:pt x="120" y="39"/>
                    </a:lnTo>
                    <a:lnTo>
                      <a:pt x="123" y="40"/>
                    </a:lnTo>
                    <a:lnTo>
                      <a:pt x="123" y="44"/>
                    </a:lnTo>
                    <a:lnTo>
                      <a:pt x="127" y="44"/>
                    </a:lnTo>
                    <a:lnTo>
                      <a:pt x="127" y="44"/>
                    </a:lnTo>
                    <a:lnTo>
                      <a:pt x="127" y="46"/>
                    </a:lnTo>
                    <a:lnTo>
                      <a:pt x="127" y="47"/>
                    </a:lnTo>
                    <a:lnTo>
                      <a:pt x="129" y="49"/>
                    </a:lnTo>
                    <a:lnTo>
                      <a:pt x="132" y="53"/>
                    </a:lnTo>
                    <a:lnTo>
                      <a:pt x="132" y="53"/>
                    </a:lnTo>
                    <a:lnTo>
                      <a:pt x="132" y="56"/>
                    </a:lnTo>
                    <a:lnTo>
                      <a:pt x="132" y="60"/>
                    </a:lnTo>
                    <a:lnTo>
                      <a:pt x="134" y="63"/>
                    </a:lnTo>
                    <a:lnTo>
                      <a:pt x="137" y="63"/>
                    </a:lnTo>
                    <a:lnTo>
                      <a:pt x="139" y="68"/>
                    </a:lnTo>
                    <a:lnTo>
                      <a:pt x="142" y="68"/>
                    </a:lnTo>
                    <a:lnTo>
                      <a:pt x="144" y="68"/>
                    </a:lnTo>
                    <a:lnTo>
                      <a:pt x="149" y="68"/>
                    </a:lnTo>
                    <a:lnTo>
                      <a:pt x="151" y="68"/>
                    </a:lnTo>
                    <a:lnTo>
                      <a:pt x="155" y="72"/>
                    </a:lnTo>
                    <a:lnTo>
                      <a:pt x="156" y="72"/>
                    </a:lnTo>
                    <a:lnTo>
                      <a:pt x="160" y="72"/>
                    </a:lnTo>
                    <a:lnTo>
                      <a:pt x="160" y="75"/>
                    </a:lnTo>
                    <a:lnTo>
                      <a:pt x="160" y="75"/>
                    </a:lnTo>
                    <a:lnTo>
                      <a:pt x="160" y="77"/>
                    </a:lnTo>
                    <a:lnTo>
                      <a:pt x="160" y="79"/>
                    </a:lnTo>
                    <a:lnTo>
                      <a:pt x="156" y="79"/>
                    </a:lnTo>
                    <a:lnTo>
                      <a:pt x="155" y="79"/>
                    </a:lnTo>
                    <a:lnTo>
                      <a:pt x="151" y="80"/>
                    </a:lnTo>
                    <a:lnTo>
                      <a:pt x="151" y="82"/>
                    </a:lnTo>
                    <a:lnTo>
                      <a:pt x="151" y="86"/>
                    </a:lnTo>
                    <a:lnTo>
                      <a:pt x="149" y="86"/>
                    </a:lnTo>
                    <a:lnTo>
                      <a:pt x="148" y="89"/>
                    </a:lnTo>
                    <a:lnTo>
                      <a:pt x="144" y="89"/>
                    </a:lnTo>
                    <a:lnTo>
                      <a:pt x="142" y="89"/>
                    </a:lnTo>
                    <a:lnTo>
                      <a:pt x="141" y="89"/>
                    </a:lnTo>
                    <a:lnTo>
                      <a:pt x="137" y="89"/>
                    </a:lnTo>
                    <a:lnTo>
                      <a:pt x="134" y="91"/>
                    </a:lnTo>
                    <a:lnTo>
                      <a:pt x="132" y="94"/>
                    </a:lnTo>
                    <a:lnTo>
                      <a:pt x="132" y="94"/>
                    </a:lnTo>
                    <a:lnTo>
                      <a:pt x="129" y="98"/>
                    </a:lnTo>
                    <a:lnTo>
                      <a:pt x="129" y="98"/>
                    </a:lnTo>
                    <a:lnTo>
                      <a:pt x="127" y="98"/>
                    </a:lnTo>
                    <a:lnTo>
                      <a:pt x="123" y="98"/>
                    </a:lnTo>
                    <a:lnTo>
                      <a:pt x="122" y="100"/>
                    </a:lnTo>
                    <a:lnTo>
                      <a:pt x="118" y="106"/>
                    </a:lnTo>
                    <a:lnTo>
                      <a:pt x="116" y="110"/>
                    </a:lnTo>
                    <a:lnTo>
                      <a:pt x="118" y="112"/>
                    </a:lnTo>
                    <a:lnTo>
                      <a:pt x="118" y="115"/>
                    </a:lnTo>
                    <a:lnTo>
                      <a:pt x="115" y="115"/>
                    </a:lnTo>
                    <a:lnTo>
                      <a:pt x="115" y="117"/>
                    </a:lnTo>
                    <a:lnTo>
                      <a:pt x="111" y="117"/>
                    </a:lnTo>
                    <a:lnTo>
                      <a:pt x="109" y="120"/>
                    </a:lnTo>
                    <a:lnTo>
                      <a:pt x="108" y="122"/>
                    </a:lnTo>
                    <a:lnTo>
                      <a:pt x="108" y="122"/>
                    </a:lnTo>
                    <a:lnTo>
                      <a:pt x="106" y="122"/>
                    </a:lnTo>
                    <a:lnTo>
                      <a:pt x="104" y="126"/>
                    </a:lnTo>
                    <a:lnTo>
                      <a:pt x="101" y="126"/>
                    </a:lnTo>
                    <a:lnTo>
                      <a:pt x="99" y="126"/>
                    </a:lnTo>
                    <a:lnTo>
                      <a:pt x="96" y="129"/>
                    </a:lnTo>
                    <a:lnTo>
                      <a:pt x="96" y="133"/>
                    </a:lnTo>
                    <a:lnTo>
                      <a:pt x="96" y="134"/>
                    </a:lnTo>
                    <a:lnTo>
                      <a:pt x="96" y="138"/>
                    </a:lnTo>
                    <a:lnTo>
                      <a:pt x="96" y="141"/>
                    </a:lnTo>
                    <a:lnTo>
                      <a:pt x="96" y="141"/>
                    </a:lnTo>
                    <a:lnTo>
                      <a:pt x="92" y="145"/>
                    </a:lnTo>
                    <a:lnTo>
                      <a:pt x="90" y="143"/>
                    </a:lnTo>
                    <a:lnTo>
                      <a:pt x="89" y="141"/>
                    </a:lnTo>
                    <a:lnTo>
                      <a:pt x="85" y="143"/>
                    </a:lnTo>
                    <a:lnTo>
                      <a:pt x="82" y="143"/>
                    </a:lnTo>
                    <a:lnTo>
                      <a:pt x="78" y="143"/>
                    </a:lnTo>
                    <a:lnTo>
                      <a:pt x="76" y="143"/>
                    </a:lnTo>
                    <a:lnTo>
                      <a:pt x="73" y="143"/>
                    </a:lnTo>
                    <a:lnTo>
                      <a:pt x="64" y="140"/>
                    </a:lnTo>
                    <a:lnTo>
                      <a:pt x="64" y="140"/>
                    </a:lnTo>
                    <a:lnTo>
                      <a:pt x="63" y="136"/>
                    </a:lnTo>
                    <a:lnTo>
                      <a:pt x="56" y="136"/>
                    </a:lnTo>
                    <a:lnTo>
                      <a:pt x="52" y="136"/>
                    </a:lnTo>
                    <a:lnTo>
                      <a:pt x="47" y="140"/>
                    </a:lnTo>
                    <a:lnTo>
                      <a:pt x="45" y="148"/>
                    </a:lnTo>
                    <a:lnTo>
                      <a:pt x="42" y="150"/>
                    </a:lnTo>
                    <a:lnTo>
                      <a:pt x="36" y="153"/>
                    </a:lnTo>
                    <a:lnTo>
                      <a:pt x="35" y="153"/>
                    </a:lnTo>
                    <a:lnTo>
                      <a:pt x="31" y="157"/>
                    </a:lnTo>
                    <a:lnTo>
                      <a:pt x="28" y="157"/>
                    </a:lnTo>
                    <a:lnTo>
                      <a:pt x="24" y="160"/>
                    </a:lnTo>
                    <a:lnTo>
                      <a:pt x="21" y="159"/>
                    </a:lnTo>
                    <a:lnTo>
                      <a:pt x="17" y="160"/>
                    </a:lnTo>
                    <a:lnTo>
                      <a:pt x="14" y="159"/>
                    </a:lnTo>
                    <a:lnTo>
                      <a:pt x="9" y="160"/>
                    </a:lnTo>
                    <a:lnTo>
                      <a:pt x="9" y="157"/>
                    </a:lnTo>
                    <a:lnTo>
                      <a:pt x="12" y="150"/>
                    </a:lnTo>
                    <a:lnTo>
                      <a:pt x="12" y="148"/>
                    </a:lnTo>
                    <a:lnTo>
                      <a:pt x="9" y="138"/>
                    </a:lnTo>
                    <a:lnTo>
                      <a:pt x="5" y="133"/>
                    </a:lnTo>
                    <a:lnTo>
                      <a:pt x="0" y="127"/>
                    </a:lnTo>
                    <a:lnTo>
                      <a:pt x="0" y="127"/>
                    </a:lnTo>
                    <a:lnTo>
                      <a:pt x="0" y="127"/>
                    </a:lnTo>
                    <a:lnTo>
                      <a:pt x="0" y="127"/>
                    </a:lnTo>
                    <a:lnTo>
                      <a:pt x="3" y="75"/>
                    </a:lnTo>
                    <a:lnTo>
                      <a:pt x="17" y="75"/>
                    </a:lnTo>
                    <a:lnTo>
                      <a:pt x="21" y="13"/>
                    </a:lnTo>
                    <a:lnTo>
                      <a:pt x="35" y="13"/>
                    </a:lnTo>
                    <a:lnTo>
                      <a:pt x="50" y="9"/>
                    </a:lnTo>
                    <a:lnTo>
                      <a:pt x="56" y="7"/>
                    </a:lnTo>
                    <a:lnTo>
                      <a:pt x="59" y="7"/>
                    </a:lnTo>
                    <a:lnTo>
                      <a:pt x="59" y="7"/>
                    </a:lnTo>
                    <a:lnTo>
                      <a:pt x="61" y="7"/>
                    </a:lnTo>
                    <a:lnTo>
                      <a:pt x="61" y="11"/>
                    </a:lnTo>
                    <a:lnTo>
                      <a:pt x="63" y="13"/>
                    </a:lnTo>
                    <a:lnTo>
                      <a:pt x="61" y="13"/>
                    </a:lnTo>
                    <a:lnTo>
                      <a:pt x="61" y="16"/>
                    </a:lnTo>
                    <a:lnTo>
                      <a:pt x="63" y="16"/>
                    </a:lnTo>
                    <a:lnTo>
                      <a:pt x="68" y="13"/>
                    </a:lnTo>
                    <a:lnTo>
                      <a:pt x="73" y="7"/>
                    </a:lnTo>
                    <a:lnTo>
                      <a:pt x="76" y="4"/>
                    </a:lnTo>
                    <a:lnTo>
                      <a:pt x="78" y="4"/>
                    </a:lnTo>
                    <a:lnTo>
                      <a:pt x="78" y="4"/>
                    </a:lnTo>
                    <a:lnTo>
                      <a:pt x="82" y="6"/>
                    </a:lnTo>
                    <a:lnTo>
                      <a:pt x="83" y="4"/>
                    </a:lnTo>
                    <a:lnTo>
                      <a:pt x="89" y="0"/>
                    </a:lnTo>
                    <a:lnTo>
                      <a:pt x="92" y="0"/>
                    </a:lnTo>
                    <a:lnTo>
                      <a:pt x="92" y="0"/>
                    </a:lnTo>
                    <a:lnTo>
                      <a:pt x="92" y="0"/>
                    </a:lnTo>
                    <a:lnTo>
                      <a:pt x="92" y="0"/>
                    </a:lnTo>
                    <a:lnTo>
                      <a:pt x="9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7" name="Freeform 150"/>
              <p:cNvSpPr>
                <a:spLocks/>
              </p:cNvSpPr>
              <p:nvPr/>
            </p:nvSpPr>
            <p:spPr bwMode="auto">
              <a:xfrm>
                <a:off x="4764088" y="4730751"/>
                <a:ext cx="363538" cy="341313"/>
              </a:xfrm>
              <a:custGeom>
                <a:avLst/>
                <a:gdLst/>
                <a:ahLst/>
                <a:cxnLst>
                  <a:cxn ang="0">
                    <a:pos x="140" y="88"/>
                  </a:cxn>
                  <a:cxn ang="0">
                    <a:pos x="172" y="28"/>
                  </a:cxn>
                  <a:cxn ang="0">
                    <a:pos x="196" y="22"/>
                  </a:cxn>
                  <a:cxn ang="0">
                    <a:pos x="196" y="26"/>
                  </a:cxn>
                  <a:cxn ang="0">
                    <a:pos x="196" y="31"/>
                  </a:cxn>
                  <a:cxn ang="0">
                    <a:pos x="208" y="22"/>
                  </a:cxn>
                  <a:cxn ang="0">
                    <a:pos x="215" y="19"/>
                  </a:cxn>
                  <a:cxn ang="0">
                    <a:pos x="224" y="15"/>
                  </a:cxn>
                  <a:cxn ang="0">
                    <a:pos x="227" y="12"/>
                  </a:cxn>
                  <a:cxn ang="0">
                    <a:pos x="222" y="10"/>
                  </a:cxn>
                  <a:cxn ang="0">
                    <a:pos x="217" y="10"/>
                  </a:cxn>
                  <a:cxn ang="0">
                    <a:pos x="172" y="19"/>
                  </a:cxn>
                  <a:cxn ang="0">
                    <a:pos x="167" y="19"/>
                  </a:cxn>
                  <a:cxn ang="0">
                    <a:pos x="163" y="19"/>
                  </a:cxn>
                  <a:cxn ang="0">
                    <a:pos x="158" y="19"/>
                  </a:cxn>
                  <a:cxn ang="0">
                    <a:pos x="154" y="19"/>
                  </a:cxn>
                  <a:cxn ang="0">
                    <a:pos x="146" y="15"/>
                  </a:cxn>
                  <a:cxn ang="0">
                    <a:pos x="140" y="17"/>
                  </a:cxn>
                  <a:cxn ang="0">
                    <a:pos x="132" y="19"/>
                  </a:cxn>
                  <a:cxn ang="0">
                    <a:pos x="127" y="15"/>
                  </a:cxn>
                  <a:cxn ang="0">
                    <a:pos x="118" y="14"/>
                  </a:cxn>
                  <a:cxn ang="0">
                    <a:pos x="113" y="8"/>
                  </a:cxn>
                  <a:cxn ang="0">
                    <a:pos x="47" y="7"/>
                  </a:cxn>
                  <a:cxn ang="0">
                    <a:pos x="41" y="10"/>
                  </a:cxn>
                  <a:cxn ang="0">
                    <a:pos x="33" y="5"/>
                  </a:cxn>
                  <a:cxn ang="0">
                    <a:pos x="29" y="3"/>
                  </a:cxn>
                  <a:cxn ang="0">
                    <a:pos x="28" y="3"/>
                  </a:cxn>
                  <a:cxn ang="0">
                    <a:pos x="19" y="0"/>
                  </a:cxn>
                  <a:cxn ang="0">
                    <a:pos x="14" y="7"/>
                  </a:cxn>
                  <a:cxn ang="0">
                    <a:pos x="5" y="5"/>
                  </a:cxn>
                  <a:cxn ang="0">
                    <a:pos x="1" y="8"/>
                  </a:cxn>
                  <a:cxn ang="0">
                    <a:pos x="0" y="22"/>
                  </a:cxn>
                  <a:cxn ang="0">
                    <a:pos x="24" y="61"/>
                  </a:cxn>
                  <a:cxn ang="0">
                    <a:pos x="34" y="85"/>
                  </a:cxn>
                  <a:cxn ang="0">
                    <a:pos x="41" y="106"/>
                  </a:cxn>
                  <a:cxn ang="0">
                    <a:pos x="50" y="141"/>
                  </a:cxn>
                  <a:cxn ang="0">
                    <a:pos x="47" y="155"/>
                  </a:cxn>
                  <a:cxn ang="0">
                    <a:pos x="54" y="167"/>
                  </a:cxn>
                  <a:cxn ang="0">
                    <a:pos x="54" y="175"/>
                  </a:cxn>
                  <a:cxn ang="0">
                    <a:pos x="59" y="189"/>
                  </a:cxn>
                  <a:cxn ang="0">
                    <a:pos x="69" y="203"/>
                  </a:cxn>
                  <a:cxn ang="0">
                    <a:pos x="80" y="205"/>
                  </a:cxn>
                  <a:cxn ang="0">
                    <a:pos x="81" y="198"/>
                  </a:cxn>
                  <a:cxn ang="0">
                    <a:pos x="90" y="201"/>
                  </a:cxn>
                  <a:cxn ang="0">
                    <a:pos x="97" y="212"/>
                  </a:cxn>
                  <a:cxn ang="0">
                    <a:pos x="106" y="214"/>
                  </a:cxn>
                  <a:cxn ang="0">
                    <a:pos x="113" y="212"/>
                  </a:cxn>
                  <a:cxn ang="0">
                    <a:pos x="118" y="215"/>
                  </a:cxn>
                  <a:cxn ang="0">
                    <a:pos x="123" y="208"/>
                  </a:cxn>
                  <a:cxn ang="0">
                    <a:pos x="134" y="203"/>
                  </a:cxn>
                  <a:cxn ang="0">
                    <a:pos x="137" y="141"/>
                  </a:cxn>
                </a:cxnLst>
                <a:rect l="0" t="0" r="r" b="b"/>
                <a:pathLst>
                  <a:path w="229" h="215">
                    <a:moveTo>
                      <a:pt x="137" y="141"/>
                    </a:moveTo>
                    <a:lnTo>
                      <a:pt x="137" y="141"/>
                    </a:lnTo>
                    <a:lnTo>
                      <a:pt x="140" y="88"/>
                    </a:lnTo>
                    <a:lnTo>
                      <a:pt x="154" y="88"/>
                    </a:lnTo>
                    <a:lnTo>
                      <a:pt x="158" y="26"/>
                    </a:lnTo>
                    <a:lnTo>
                      <a:pt x="172" y="28"/>
                    </a:lnTo>
                    <a:lnTo>
                      <a:pt x="187" y="22"/>
                    </a:lnTo>
                    <a:lnTo>
                      <a:pt x="193" y="22"/>
                    </a:lnTo>
                    <a:lnTo>
                      <a:pt x="196" y="22"/>
                    </a:lnTo>
                    <a:lnTo>
                      <a:pt x="196" y="22"/>
                    </a:lnTo>
                    <a:lnTo>
                      <a:pt x="196" y="22"/>
                    </a:lnTo>
                    <a:lnTo>
                      <a:pt x="196" y="26"/>
                    </a:lnTo>
                    <a:lnTo>
                      <a:pt x="200" y="26"/>
                    </a:lnTo>
                    <a:lnTo>
                      <a:pt x="196" y="26"/>
                    </a:lnTo>
                    <a:lnTo>
                      <a:pt x="196" y="31"/>
                    </a:lnTo>
                    <a:lnTo>
                      <a:pt x="200" y="31"/>
                    </a:lnTo>
                    <a:lnTo>
                      <a:pt x="205" y="26"/>
                    </a:lnTo>
                    <a:lnTo>
                      <a:pt x="208" y="22"/>
                    </a:lnTo>
                    <a:lnTo>
                      <a:pt x="212" y="19"/>
                    </a:lnTo>
                    <a:lnTo>
                      <a:pt x="215" y="19"/>
                    </a:lnTo>
                    <a:lnTo>
                      <a:pt x="215" y="19"/>
                    </a:lnTo>
                    <a:lnTo>
                      <a:pt x="219" y="19"/>
                    </a:lnTo>
                    <a:lnTo>
                      <a:pt x="220" y="19"/>
                    </a:lnTo>
                    <a:lnTo>
                      <a:pt x="224" y="15"/>
                    </a:lnTo>
                    <a:lnTo>
                      <a:pt x="229" y="15"/>
                    </a:lnTo>
                    <a:lnTo>
                      <a:pt x="227" y="12"/>
                    </a:lnTo>
                    <a:lnTo>
                      <a:pt x="227" y="12"/>
                    </a:lnTo>
                    <a:lnTo>
                      <a:pt x="224" y="10"/>
                    </a:lnTo>
                    <a:lnTo>
                      <a:pt x="224" y="12"/>
                    </a:lnTo>
                    <a:lnTo>
                      <a:pt x="222" y="10"/>
                    </a:lnTo>
                    <a:lnTo>
                      <a:pt x="222" y="10"/>
                    </a:lnTo>
                    <a:lnTo>
                      <a:pt x="220" y="10"/>
                    </a:lnTo>
                    <a:lnTo>
                      <a:pt x="217" y="10"/>
                    </a:lnTo>
                    <a:lnTo>
                      <a:pt x="215" y="10"/>
                    </a:lnTo>
                    <a:lnTo>
                      <a:pt x="172" y="19"/>
                    </a:lnTo>
                    <a:lnTo>
                      <a:pt x="172" y="19"/>
                    </a:lnTo>
                    <a:lnTo>
                      <a:pt x="170" y="19"/>
                    </a:lnTo>
                    <a:lnTo>
                      <a:pt x="168" y="19"/>
                    </a:lnTo>
                    <a:lnTo>
                      <a:pt x="167" y="19"/>
                    </a:lnTo>
                    <a:lnTo>
                      <a:pt x="165" y="19"/>
                    </a:lnTo>
                    <a:lnTo>
                      <a:pt x="165" y="19"/>
                    </a:lnTo>
                    <a:lnTo>
                      <a:pt x="163" y="19"/>
                    </a:lnTo>
                    <a:lnTo>
                      <a:pt x="161" y="19"/>
                    </a:lnTo>
                    <a:lnTo>
                      <a:pt x="160" y="17"/>
                    </a:lnTo>
                    <a:lnTo>
                      <a:pt x="158" y="19"/>
                    </a:lnTo>
                    <a:lnTo>
                      <a:pt x="158" y="19"/>
                    </a:lnTo>
                    <a:lnTo>
                      <a:pt x="156" y="19"/>
                    </a:lnTo>
                    <a:lnTo>
                      <a:pt x="154" y="19"/>
                    </a:lnTo>
                    <a:lnTo>
                      <a:pt x="151" y="19"/>
                    </a:lnTo>
                    <a:lnTo>
                      <a:pt x="147" y="15"/>
                    </a:lnTo>
                    <a:lnTo>
                      <a:pt x="146" y="15"/>
                    </a:lnTo>
                    <a:lnTo>
                      <a:pt x="142" y="15"/>
                    </a:lnTo>
                    <a:lnTo>
                      <a:pt x="142" y="17"/>
                    </a:lnTo>
                    <a:lnTo>
                      <a:pt x="140" y="17"/>
                    </a:lnTo>
                    <a:lnTo>
                      <a:pt x="137" y="15"/>
                    </a:lnTo>
                    <a:lnTo>
                      <a:pt x="134" y="17"/>
                    </a:lnTo>
                    <a:lnTo>
                      <a:pt x="132" y="19"/>
                    </a:lnTo>
                    <a:lnTo>
                      <a:pt x="128" y="17"/>
                    </a:lnTo>
                    <a:lnTo>
                      <a:pt x="128" y="15"/>
                    </a:lnTo>
                    <a:lnTo>
                      <a:pt x="127" y="15"/>
                    </a:lnTo>
                    <a:lnTo>
                      <a:pt x="123" y="15"/>
                    </a:lnTo>
                    <a:lnTo>
                      <a:pt x="120" y="15"/>
                    </a:lnTo>
                    <a:lnTo>
                      <a:pt x="118" y="14"/>
                    </a:lnTo>
                    <a:lnTo>
                      <a:pt x="116" y="12"/>
                    </a:lnTo>
                    <a:lnTo>
                      <a:pt x="114" y="8"/>
                    </a:lnTo>
                    <a:lnTo>
                      <a:pt x="113" y="8"/>
                    </a:lnTo>
                    <a:lnTo>
                      <a:pt x="50" y="8"/>
                    </a:lnTo>
                    <a:lnTo>
                      <a:pt x="47" y="7"/>
                    </a:lnTo>
                    <a:lnTo>
                      <a:pt x="47" y="7"/>
                    </a:lnTo>
                    <a:lnTo>
                      <a:pt x="45" y="8"/>
                    </a:lnTo>
                    <a:lnTo>
                      <a:pt x="43" y="8"/>
                    </a:lnTo>
                    <a:lnTo>
                      <a:pt x="41" y="10"/>
                    </a:lnTo>
                    <a:lnTo>
                      <a:pt x="36" y="8"/>
                    </a:lnTo>
                    <a:lnTo>
                      <a:pt x="33" y="5"/>
                    </a:lnTo>
                    <a:lnTo>
                      <a:pt x="33" y="5"/>
                    </a:lnTo>
                    <a:lnTo>
                      <a:pt x="33" y="3"/>
                    </a:lnTo>
                    <a:lnTo>
                      <a:pt x="31" y="3"/>
                    </a:lnTo>
                    <a:lnTo>
                      <a:pt x="29" y="3"/>
                    </a:lnTo>
                    <a:lnTo>
                      <a:pt x="28" y="0"/>
                    </a:lnTo>
                    <a:lnTo>
                      <a:pt x="28" y="0"/>
                    </a:lnTo>
                    <a:lnTo>
                      <a:pt x="28" y="3"/>
                    </a:lnTo>
                    <a:lnTo>
                      <a:pt x="24" y="3"/>
                    </a:lnTo>
                    <a:lnTo>
                      <a:pt x="22" y="0"/>
                    </a:lnTo>
                    <a:lnTo>
                      <a:pt x="19" y="0"/>
                    </a:lnTo>
                    <a:lnTo>
                      <a:pt x="15" y="3"/>
                    </a:lnTo>
                    <a:lnTo>
                      <a:pt x="15" y="5"/>
                    </a:lnTo>
                    <a:lnTo>
                      <a:pt x="14" y="7"/>
                    </a:lnTo>
                    <a:lnTo>
                      <a:pt x="10" y="5"/>
                    </a:lnTo>
                    <a:lnTo>
                      <a:pt x="7" y="5"/>
                    </a:lnTo>
                    <a:lnTo>
                      <a:pt x="5" y="5"/>
                    </a:lnTo>
                    <a:lnTo>
                      <a:pt x="5" y="8"/>
                    </a:lnTo>
                    <a:lnTo>
                      <a:pt x="3" y="8"/>
                    </a:lnTo>
                    <a:lnTo>
                      <a:pt x="1" y="8"/>
                    </a:lnTo>
                    <a:lnTo>
                      <a:pt x="0" y="7"/>
                    </a:lnTo>
                    <a:lnTo>
                      <a:pt x="0" y="7"/>
                    </a:lnTo>
                    <a:lnTo>
                      <a:pt x="0" y="22"/>
                    </a:lnTo>
                    <a:lnTo>
                      <a:pt x="10" y="31"/>
                    </a:lnTo>
                    <a:lnTo>
                      <a:pt x="15" y="42"/>
                    </a:lnTo>
                    <a:lnTo>
                      <a:pt x="24" y="61"/>
                    </a:lnTo>
                    <a:lnTo>
                      <a:pt x="28" y="68"/>
                    </a:lnTo>
                    <a:lnTo>
                      <a:pt x="34" y="80"/>
                    </a:lnTo>
                    <a:lnTo>
                      <a:pt x="34" y="85"/>
                    </a:lnTo>
                    <a:lnTo>
                      <a:pt x="45" y="99"/>
                    </a:lnTo>
                    <a:lnTo>
                      <a:pt x="45" y="104"/>
                    </a:lnTo>
                    <a:lnTo>
                      <a:pt x="41" y="106"/>
                    </a:lnTo>
                    <a:lnTo>
                      <a:pt x="45" y="115"/>
                    </a:lnTo>
                    <a:lnTo>
                      <a:pt x="45" y="127"/>
                    </a:lnTo>
                    <a:lnTo>
                      <a:pt x="50" y="141"/>
                    </a:lnTo>
                    <a:lnTo>
                      <a:pt x="50" y="148"/>
                    </a:lnTo>
                    <a:lnTo>
                      <a:pt x="50" y="153"/>
                    </a:lnTo>
                    <a:lnTo>
                      <a:pt x="47" y="155"/>
                    </a:lnTo>
                    <a:lnTo>
                      <a:pt x="50" y="156"/>
                    </a:lnTo>
                    <a:lnTo>
                      <a:pt x="50" y="167"/>
                    </a:lnTo>
                    <a:lnTo>
                      <a:pt x="54" y="167"/>
                    </a:lnTo>
                    <a:lnTo>
                      <a:pt x="55" y="168"/>
                    </a:lnTo>
                    <a:lnTo>
                      <a:pt x="54" y="172"/>
                    </a:lnTo>
                    <a:lnTo>
                      <a:pt x="54" y="175"/>
                    </a:lnTo>
                    <a:lnTo>
                      <a:pt x="55" y="177"/>
                    </a:lnTo>
                    <a:lnTo>
                      <a:pt x="55" y="184"/>
                    </a:lnTo>
                    <a:lnTo>
                      <a:pt x="59" y="189"/>
                    </a:lnTo>
                    <a:lnTo>
                      <a:pt x="64" y="198"/>
                    </a:lnTo>
                    <a:lnTo>
                      <a:pt x="67" y="200"/>
                    </a:lnTo>
                    <a:lnTo>
                      <a:pt x="69" y="203"/>
                    </a:lnTo>
                    <a:lnTo>
                      <a:pt x="73" y="207"/>
                    </a:lnTo>
                    <a:lnTo>
                      <a:pt x="78" y="207"/>
                    </a:lnTo>
                    <a:lnTo>
                      <a:pt x="80" y="205"/>
                    </a:lnTo>
                    <a:lnTo>
                      <a:pt x="80" y="203"/>
                    </a:lnTo>
                    <a:lnTo>
                      <a:pt x="80" y="201"/>
                    </a:lnTo>
                    <a:lnTo>
                      <a:pt x="81" y="198"/>
                    </a:lnTo>
                    <a:lnTo>
                      <a:pt x="85" y="198"/>
                    </a:lnTo>
                    <a:lnTo>
                      <a:pt x="87" y="201"/>
                    </a:lnTo>
                    <a:lnTo>
                      <a:pt x="90" y="201"/>
                    </a:lnTo>
                    <a:lnTo>
                      <a:pt x="88" y="205"/>
                    </a:lnTo>
                    <a:lnTo>
                      <a:pt x="92" y="208"/>
                    </a:lnTo>
                    <a:lnTo>
                      <a:pt x="97" y="212"/>
                    </a:lnTo>
                    <a:lnTo>
                      <a:pt x="100" y="214"/>
                    </a:lnTo>
                    <a:lnTo>
                      <a:pt x="102" y="214"/>
                    </a:lnTo>
                    <a:lnTo>
                      <a:pt x="106" y="214"/>
                    </a:lnTo>
                    <a:lnTo>
                      <a:pt x="107" y="214"/>
                    </a:lnTo>
                    <a:lnTo>
                      <a:pt x="109" y="212"/>
                    </a:lnTo>
                    <a:lnTo>
                      <a:pt x="113" y="212"/>
                    </a:lnTo>
                    <a:lnTo>
                      <a:pt x="114" y="215"/>
                    </a:lnTo>
                    <a:lnTo>
                      <a:pt x="116" y="215"/>
                    </a:lnTo>
                    <a:lnTo>
                      <a:pt x="118" y="215"/>
                    </a:lnTo>
                    <a:lnTo>
                      <a:pt x="118" y="212"/>
                    </a:lnTo>
                    <a:lnTo>
                      <a:pt x="120" y="208"/>
                    </a:lnTo>
                    <a:lnTo>
                      <a:pt x="123" y="208"/>
                    </a:lnTo>
                    <a:lnTo>
                      <a:pt x="123" y="205"/>
                    </a:lnTo>
                    <a:lnTo>
                      <a:pt x="127" y="203"/>
                    </a:lnTo>
                    <a:lnTo>
                      <a:pt x="134" y="203"/>
                    </a:lnTo>
                    <a:lnTo>
                      <a:pt x="135" y="203"/>
                    </a:lnTo>
                    <a:lnTo>
                      <a:pt x="137" y="141"/>
                    </a:lnTo>
                    <a:lnTo>
                      <a:pt x="137" y="141"/>
                    </a:lnTo>
                    <a:lnTo>
                      <a:pt x="137" y="141"/>
                    </a:lnTo>
                    <a:lnTo>
                      <a:pt x="137" y="14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8" name="Freeform 151"/>
              <p:cNvSpPr>
                <a:spLocks noEditPoints="1"/>
              </p:cNvSpPr>
              <p:nvPr/>
            </p:nvSpPr>
            <p:spPr bwMode="auto">
              <a:xfrm>
                <a:off x="5607050" y="4592638"/>
                <a:ext cx="201613" cy="385763"/>
              </a:xfrm>
              <a:custGeom>
                <a:avLst/>
                <a:gdLst/>
                <a:ahLst/>
                <a:cxnLst>
                  <a:cxn ang="0">
                    <a:pos x="37" y="240"/>
                  </a:cxn>
                  <a:cxn ang="0">
                    <a:pos x="59" y="233"/>
                  </a:cxn>
                  <a:cxn ang="0">
                    <a:pos x="66" y="221"/>
                  </a:cxn>
                  <a:cxn ang="0">
                    <a:pos x="70" y="208"/>
                  </a:cxn>
                  <a:cxn ang="0">
                    <a:pos x="73" y="200"/>
                  </a:cxn>
                  <a:cxn ang="0">
                    <a:pos x="84" y="175"/>
                  </a:cxn>
                  <a:cxn ang="0">
                    <a:pos x="96" y="141"/>
                  </a:cxn>
                  <a:cxn ang="0">
                    <a:pos x="105" y="122"/>
                  </a:cxn>
                  <a:cxn ang="0">
                    <a:pos x="112" y="99"/>
                  </a:cxn>
                  <a:cxn ang="0">
                    <a:pos x="113" y="83"/>
                  </a:cxn>
                  <a:cxn ang="0">
                    <a:pos x="117" y="71"/>
                  </a:cxn>
                  <a:cxn ang="0">
                    <a:pos x="117" y="62"/>
                  </a:cxn>
                  <a:cxn ang="0">
                    <a:pos x="124" y="71"/>
                  </a:cxn>
                  <a:cxn ang="0">
                    <a:pos x="126" y="62"/>
                  </a:cxn>
                  <a:cxn ang="0">
                    <a:pos x="122" y="49"/>
                  </a:cxn>
                  <a:cxn ang="0">
                    <a:pos x="124" y="36"/>
                  </a:cxn>
                  <a:cxn ang="0">
                    <a:pos x="119" y="14"/>
                  </a:cxn>
                  <a:cxn ang="0">
                    <a:pos x="113" y="9"/>
                  </a:cxn>
                  <a:cxn ang="0">
                    <a:pos x="110" y="7"/>
                  </a:cxn>
                  <a:cxn ang="0">
                    <a:pos x="105" y="12"/>
                  </a:cxn>
                  <a:cxn ang="0">
                    <a:pos x="103" y="19"/>
                  </a:cxn>
                  <a:cxn ang="0">
                    <a:pos x="96" y="29"/>
                  </a:cxn>
                  <a:cxn ang="0">
                    <a:pos x="92" y="29"/>
                  </a:cxn>
                  <a:cxn ang="0">
                    <a:pos x="91" y="40"/>
                  </a:cxn>
                  <a:cxn ang="0">
                    <a:pos x="86" y="40"/>
                  </a:cxn>
                  <a:cxn ang="0">
                    <a:pos x="89" y="49"/>
                  </a:cxn>
                  <a:cxn ang="0">
                    <a:pos x="79" y="54"/>
                  </a:cxn>
                  <a:cxn ang="0">
                    <a:pos x="77" y="50"/>
                  </a:cxn>
                  <a:cxn ang="0">
                    <a:pos x="73" y="59"/>
                  </a:cxn>
                  <a:cxn ang="0">
                    <a:pos x="72" y="62"/>
                  </a:cxn>
                  <a:cxn ang="0">
                    <a:pos x="70" y="57"/>
                  </a:cxn>
                  <a:cxn ang="0">
                    <a:pos x="61" y="71"/>
                  </a:cxn>
                  <a:cxn ang="0">
                    <a:pos x="56" y="66"/>
                  </a:cxn>
                  <a:cxn ang="0">
                    <a:pos x="47" y="68"/>
                  </a:cxn>
                  <a:cxn ang="0">
                    <a:pos x="46" y="71"/>
                  </a:cxn>
                  <a:cxn ang="0">
                    <a:pos x="33" y="75"/>
                  </a:cxn>
                  <a:cxn ang="0">
                    <a:pos x="25" y="76"/>
                  </a:cxn>
                  <a:cxn ang="0">
                    <a:pos x="18" y="95"/>
                  </a:cxn>
                  <a:cxn ang="0">
                    <a:pos x="20" y="109"/>
                  </a:cxn>
                  <a:cxn ang="0">
                    <a:pos x="25" y="129"/>
                  </a:cxn>
                  <a:cxn ang="0">
                    <a:pos x="21" y="141"/>
                  </a:cxn>
                  <a:cxn ang="0">
                    <a:pos x="16" y="153"/>
                  </a:cxn>
                  <a:cxn ang="0">
                    <a:pos x="6" y="165"/>
                  </a:cxn>
                  <a:cxn ang="0">
                    <a:pos x="2" y="181"/>
                  </a:cxn>
                  <a:cxn ang="0">
                    <a:pos x="6" y="196"/>
                  </a:cxn>
                  <a:cxn ang="0">
                    <a:pos x="11" y="203"/>
                  </a:cxn>
                  <a:cxn ang="0">
                    <a:pos x="6" y="214"/>
                  </a:cxn>
                  <a:cxn ang="0">
                    <a:pos x="7" y="228"/>
                  </a:cxn>
                  <a:cxn ang="0">
                    <a:pos x="16" y="235"/>
                  </a:cxn>
                  <a:cxn ang="0">
                    <a:pos x="25" y="240"/>
                  </a:cxn>
                  <a:cxn ang="0">
                    <a:pos x="28" y="243"/>
                  </a:cxn>
                  <a:cxn ang="0">
                    <a:pos x="99" y="17"/>
                  </a:cxn>
                  <a:cxn ang="0">
                    <a:pos x="99" y="17"/>
                  </a:cxn>
                  <a:cxn ang="0">
                    <a:pos x="99" y="22"/>
                  </a:cxn>
                  <a:cxn ang="0">
                    <a:pos x="99" y="22"/>
                  </a:cxn>
                  <a:cxn ang="0">
                    <a:pos x="94" y="21"/>
                  </a:cxn>
                  <a:cxn ang="0">
                    <a:pos x="94" y="24"/>
                  </a:cxn>
                  <a:cxn ang="0">
                    <a:pos x="94" y="22"/>
                  </a:cxn>
                  <a:cxn ang="0">
                    <a:pos x="117" y="87"/>
                  </a:cxn>
                  <a:cxn ang="0">
                    <a:pos x="119" y="85"/>
                  </a:cxn>
                  <a:cxn ang="0">
                    <a:pos x="117" y="90"/>
                  </a:cxn>
                </a:cxnLst>
                <a:rect l="0" t="0" r="r" b="b"/>
                <a:pathLst>
                  <a:path w="127" h="243">
                    <a:moveTo>
                      <a:pt x="28" y="243"/>
                    </a:moveTo>
                    <a:lnTo>
                      <a:pt x="28" y="242"/>
                    </a:lnTo>
                    <a:lnTo>
                      <a:pt x="33" y="242"/>
                    </a:lnTo>
                    <a:lnTo>
                      <a:pt x="37" y="240"/>
                    </a:lnTo>
                    <a:lnTo>
                      <a:pt x="39" y="236"/>
                    </a:lnTo>
                    <a:lnTo>
                      <a:pt x="51" y="235"/>
                    </a:lnTo>
                    <a:lnTo>
                      <a:pt x="54" y="235"/>
                    </a:lnTo>
                    <a:lnTo>
                      <a:pt x="59" y="233"/>
                    </a:lnTo>
                    <a:lnTo>
                      <a:pt x="59" y="231"/>
                    </a:lnTo>
                    <a:lnTo>
                      <a:pt x="63" y="231"/>
                    </a:lnTo>
                    <a:lnTo>
                      <a:pt x="65" y="226"/>
                    </a:lnTo>
                    <a:lnTo>
                      <a:pt x="66" y="221"/>
                    </a:lnTo>
                    <a:lnTo>
                      <a:pt x="68" y="217"/>
                    </a:lnTo>
                    <a:lnTo>
                      <a:pt x="72" y="215"/>
                    </a:lnTo>
                    <a:lnTo>
                      <a:pt x="70" y="210"/>
                    </a:lnTo>
                    <a:lnTo>
                      <a:pt x="70" y="208"/>
                    </a:lnTo>
                    <a:lnTo>
                      <a:pt x="72" y="207"/>
                    </a:lnTo>
                    <a:lnTo>
                      <a:pt x="73" y="203"/>
                    </a:lnTo>
                    <a:lnTo>
                      <a:pt x="73" y="200"/>
                    </a:lnTo>
                    <a:lnTo>
                      <a:pt x="73" y="200"/>
                    </a:lnTo>
                    <a:lnTo>
                      <a:pt x="79" y="196"/>
                    </a:lnTo>
                    <a:lnTo>
                      <a:pt x="79" y="184"/>
                    </a:lnTo>
                    <a:lnTo>
                      <a:pt x="82" y="177"/>
                    </a:lnTo>
                    <a:lnTo>
                      <a:pt x="84" y="175"/>
                    </a:lnTo>
                    <a:lnTo>
                      <a:pt x="86" y="168"/>
                    </a:lnTo>
                    <a:lnTo>
                      <a:pt x="91" y="160"/>
                    </a:lnTo>
                    <a:lnTo>
                      <a:pt x="94" y="146"/>
                    </a:lnTo>
                    <a:lnTo>
                      <a:pt x="96" y="141"/>
                    </a:lnTo>
                    <a:lnTo>
                      <a:pt x="96" y="135"/>
                    </a:lnTo>
                    <a:lnTo>
                      <a:pt x="99" y="129"/>
                    </a:lnTo>
                    <a:lnTo>
                      <a:pt x="101" y="127"/>
                    </a:lnTo>
                    <a:lnTo>
                      <a:pt x="105" y="122"/>
                    </a:lnTo>
                    <a:lnTo>
                      <a:pt x="106" y="111"/>
                    </a:lnTo>
                    <a:lnTo>
                      <a:pt x="108" y="104"/>
                    </a:lnTo>
                    <a:lnTo>
                      <a:pt x="110" y="102"/>
                    </a:lnTo>
                    <a:lnTo>
                      <a:pt x="112" y="99"/>
                    </a:lnTo>
                    <a:lnTo>
                      <a:pt x="110" y="94"/>
                    </a:lnTo>
                    <a:lnTo>
                      <a:pt x="112" y="90"/>
                    </a:lnTo>
                    <a:lnTo>
                      <a:pt x="113" y="85"/>
                    </a:lnTo>
                    <a:lnTo>
                      <a:pt x="113" y="83"/>
                    </a:lnTo>
                    <a:lnTo>
                      <a:pt x="117" y="80"/>
                    </a:lnTo>
                    <a:lnTo>
                      <a:pt x="117" y="76"/>
                    </a:lnTo>
                    <a:lnTo>
                      <a:pt x="113" y="75"/>
                    </a:lnTo>
                    <a:lnTo>
                      <a:pt x="117" y="71"/>
                    </a:lnTo>
                    <a:lnTo>
                      <a:pt x="113" y="68"/>
                    </a:lnTo>
                    <a:lnTo>
                      <a:pt x="113" y="68"/>
                    </a:lnTo>
                    <a:lnTo>
                      <a:pt x="113" y="62"/>
                    </a:lnTo>
                    <a:lnTo>
                      <a:pt x="117" y="62"/>
                    </a:lnTo>
                    <a:lnTo>
                      <a:pt x="117" y="62"/>
                    </a:lnTo>
                    <a:lnTo>
                      <a:pt x="117" y="68"/>
                    </a:lnTo>
                    <a:lnTo>
                      <a:pt x="120" y="71"/>
                    </a:lnTo>
                    <a:lnTo>
                      <a:pt x="124" y="71"/>
                    </a:lnTo>
                    <a:lnTo>
                      <a:pt x="124" y="68"/>
                    </a:lnTo>
                    <a:lnTo>
                      <a:pt x="124" y="66"/>
                    </a:lnTo>
                    <a:lnTo>
                      <a:pt x="126" y="66"/>
                    </a:lnTo>
                    <a:lnTo>
                      <a:pt x="126" y="62"/>
                    </a:lnTo>
                    <a:lnTo>
                      <a:pt x="127" y="59"/>
                    </a:lnTo>
                    <a:lnTo>
                      <a:pt x="127" y="57"/>
                    </a:lnTo>
                    <a:lnTo>
                      <a:pt x="124" y="52"/>
                    </a:lnTo>
                    <a:lnTo>
                      <a:pt x="122" y="49"/>
                    </a:lnTo>
                    <a:lnTo>
                      <a:pt x="124" y="47"/>
                    </a:lnTo>
                    <a:lnTo>
                      <a:pt x="124" y="43"/>
                    </a:lnTo>
                    <a:lnTo>
                      <a:pt x="122" y="40"/>
                    </a:lnTo>
                    <a:lnTo>
                      <a:pt x="124" y="36"/>
                    </a:lnTo>
                    <a:lnTo>
                      <a:pt x="124" y="29"/>
                    </a:lnTo>
                    <a:lnTo>
                      <a:pt x="120" y="26"/>
                    </a:lnTo>
                    <a:lnTo>
                      <a:pt x="120" y="17"/>
                    </a:lnTo>
                    <a:lnTo>
                      <a:pt x="119" y="14"/>
                    </a:lnTo>
                    <a:lnTo>
                      <a:pt x="119" y="17"/>
                    </a:lnTo>
                    <a:lnTo>
                      <a:pt x="117" y="12"/>
                    </a:lnTo>
                    <a:lnTo>
                      <a:pt x="113" y="9"/>
                    </a:lnTo>
                    <a:lnTo>
                      <a:pt x="113" y="9"/>
                    </a:lnTo>
                    <a:lnTo>
                      <a:pt x="113" y="3"/>
                    </a:lnTo>
                    <a:lnTo>
                      <a:pt x="113" y="0"/>
                    </a:lnTo>
                    <a:lnTo>
                      <a:pt x="108" y="5"/>
                    </a:lnTo>
                    <a:lnTo>
                      <a:pt x="110" y="7"/>
                    </a:lnTo>
                    <a:lnTo>
                      <a:pt x="106" y="9"/>
                    </a:lnTo>
                    <a:lnTo>
                      <a:pt x="103" y="7"/>
                    </a:lnTo>
                    <a:lnTo>
                      <a:pt x="101" y="7"/>
                    </a:lnTo>
                    <a:lnTo>
                      <a:pt x="105" y="12"/>
                    </a:lnTo>
                    <a:lnTo>
                      <a:pt x="105" y="12"/>
                    </a:lnTo>
                    <a:lnTo>
                      <a:pt x="106" y="14"/>
                    </a:lnTo>
                    <a:lnTo>
                      <a:pt x="106" y="17"/>
                    </a:lnTo>
                    <a:lnTo>
                      <a:pt x="103" y="19"/>
                    </a:lnTo>
                    <a:lnTo>
                      <a:pt x="103" y="24"/>
                    </a:lnTo>
                    <a:lnTo>
                      <a:pt x="101" y="28"/>
                    </a:lnTo>
                    <a:lnTo>
                      <a:pt x="99" y="26"/>
                    </a:lnTo>
                    <a:lnTo>
                      <a:pt x="96" y="29"/>
                    </a:lnTo>
                    <a:lnTo>
                      <a:pt x="96" y="31"/>
                    </a:lnTo>
                    <a:lnTo>
                      <a:pt x="94" y="35"/>
                    </a:lnTo>
                    <a:lnTo>
                      <a:pt x="92" y="31"/>
                    </a:lnTo>
                    <a:lnTo>
                      <a:pt x="92" y="29"/>
                    </a:lnTo>
                    <a:lnTo>
                      <a:pt x="91" y="29"/>
                    </a:lnTo>
                    <a:lnTo>
                      <a:pt x="87" y="31"/>
                    </a:lnTo>
                    <a:lnTo>
                      <a:pt x="87" y="35"/>
                    </a:lnTo>
                    <a:lnTo>
                      <a:pt x="91" y="40"/>
                    </a:lnTo>
                    <a:lnTo>
                      <a:pt x="92" y="40"/>
                    </a:lnTo>
                    <a:lnTo>
                      <a:pt x="91" y="40"/>
                    </a:lnTo>
                    <a:lnTo>
                      <a:pt x="89" y="40"/>
                    </a:lnTo>
                    <a:lnTo>
                      <a:pt x="86" y="40"/>
                    </a:lnTo>
                    <a:lnTo>
                      <a:pt x="86" y="43"/>
                    </a:lnTo>
                    <a:lnTo>
                      <a:pt x="89" y="45"/>
                    </a:lnTo>
                    <a:lnTo>
                      <a:pt x="91" y="47"/>
                    </a:lnTo>
                    <a:lnTo>
                      <a:pt x="89" y="49"/>
                    </a:lnTo>
                    <a:lnTo>
                      <a:pt x="87" y="47"/>
                    </a:lnTo>
                    <a:lnTo>
                      <a:pt x="84" y="49"/>
                    </a:lnTo>
                    <a:lnTo>
                      <a:pt x="84" y="50"/>
                    </a:lnTo>
                    <a:lnTo>
                      <a:pt x="79" y="54"/>
                    </a:lnTo>
                    <a:lnTo>
                      <a:pt x="79" y="50"/>
                    </a:lnTo>
                    <a:lnTo>
                      <a:pt x="79" y="50"/>
                    </a:lnTo>
                    <a:lnTo>
                      <a:pt x="79" y="47"/>
                    </a:lnTo>
                    <a:lnTo>
                      <a:pt x="77" y="50"/>
                    </a:lnTo>
                    <a:lnTo>
                      <a:pt x="79" y="52"/>
                    </a:lnTo>
                    <a:lnTo>
                      <a:pt x="77" y="54"/>
                    </a:lnTo>
                    <a:lnTo>
                      <a:pt x="73" y="55"/>
                    </a:lnTo>
                    <a:lnTo>
                      <a:pt x="73" y="59"/>
                    </a:lnTo>
                    <a:lnTo>
                      <a:pt x="77" y="59"/>
                    </a:lnTo>
                    <a:lnTo>
                      <a:pt x="77" y="62"/>
                    </a:lnTo>
                    <a:lnTo>
                      <a:pt x="73" y="62"/>
                    </a:lnTo>
                    <a:lnTo>
                      <a:pt x="72" y="62"/>
                    </a:lnTo>
                    <a:lnTo>
                      <a:pt x="72" y="62"/>
                    </a:lnTo>
                    <a:lnTo>
                      <a:pt x="70" y="62"/>
                    </a:lnTo>
                    <a:lnTo>
                      <a:pt x="72" y="59"/>
                    </a:lnTo>
                    <a:lnTo>
                      <a:pt x="70" y="57"/>
                    </a:lnTo>
                    <a:lnTo>
                      <a:pt x="63" y="62"/>
                    </a:lnTo>
                    <a:lnTo>
                      <a:pt x="63" y="68"/>
                    </a:lnTo>
                    <a:lnTo>
                      <a:pt x="63" y="71"/>
                    </a:lnTo>
                    <a:lnTo>
                      <a:pt x="61" y="71"/>
                    </a:lnTo>
                    <a:lnTo>
                      <a:pt x="59" y="71"/>
                    </a:lnTo>
                    <a:lnTo>
                      <a:pt x="59" y="71"/>
                    </a:lnTo>
                    <a:lnTo>
                      <a:pt x="59" y="66"/>
                    </a:lnTo>
                    <a:lnTo>
                      <a:pt x="56" y="66"/>
                    </a:lnTo>
                    <a:lnTo>
                      <a:pt x="54" y="68"/>
                    </a:lnTo>
                    <a:lnTo>
                      <a:pt x="49" y="68"/>
                    </a:lnTo>
                    <a:lnTo>
                      <a:pt x="49" y="68"/>
                    </a:lnTo>
                    <a:lnTo>
                      <a:pt x="47" y="68"/>
                    </a:lnTo>
                    <a:lnTo>
                      <a:pt x="47" y="71"/>
                    </a:lnTo>
                    <a:lnTo>
                      <a:pt x="46" y="71"/>
                    </a:lnTo>
                    <a:lnTo>
                      <a:pt x="46" y="73"/>
                    </a:lnTo>
                    <a:lnTo>
                      <a:pt x="46" y="71"/>
                    </a:lnTo>
                    <a:lnTo>
                      <a:pt x="42" y="68"/>
                    </a:lnTo>
                    <a:lnTo>
                      <a:pt x="42" y="71"/>
                    </a:lnTo>
                    <a:lnTo>
                      <a:pt x="39" y="68"/>
                    </a:lnTo>
                    <a:lnTo>
                      <a:pt x="33" y="75"/>
                    </a:lnTo>
                    <a:lnTo>
                      <a:pt x="32" y="75"/>
                    </a:lnTo>
                    <a:lnTo>
                      <a:pt x="30" y="75"/>
                    </a:lnTo>
                    <a:lnTo>
                      <a:pt x="28" y="75"/>
                    </a:lnTo>
                    <a:lnTo>
                      <a:pt x="25" y="76"/>
                    </a:lnTo>
                    <a:lnTo>
                      <a:pt x="28" y="82"/>
                    </a:lnTo>
                    <a:lnTo>
                      <a:pt x="21" y="90"/>
                    </a:lnTo>
                    <a:lnTo>
                      <a:pt x="21" y="90"/>
                    </a:lnTo>
                    <a:lnTo>
                      <a:pt x="18" y="95"/>
                    </a:lnTo>
                    <a:lnTo>
                      <a:pt x="18" y="99"/>
                    </a:lnTo>
                    <a:lnTo>
                      <a:pt x="20" y="101"/>
                    </a:lnTo>
                    <a:lnTo>
                      <a:pt x="18" y="104"/>
                    </a:lnTo>
                    <a:lnTo>
                      <a:pt x="20" y="109"/>
                    </a:lnTo>
                    <a:lnTo>
                      <a:pt x="20" y="115"/>
                    </a:lnTo>
                    <a:lnTo>
                      <a:pt x="25" y="122"/>
                    </a:lnTo>
                    <a:lnTo>
                      <a:pt x="21" y="125"/>
                    </a:lnTo>
                    <a:lnTo>
                      <a:pt x="25" y="129"/>
                    </a:lnTo>
                    <a:lnTo>
                      <a:pt x="25" y="130"/>
                    </a:lnTo>
                    <a:lnTo>
                      <a:pt x="25" y="132"/>
                    </a:lnTo>
                    <a:lnTo>
                      <a:pt x="25" y="134"/>
                    </a:lnTo>
                    <a:lnTo>
                      <a:pt x="21" y="141"/>
                    </a:lnTo>
                    <a:lnTo>
                      <a:pt x="20" y="146"/>
                    </a:lnTo>
                    <a:lnTo>
                      <a:pt x="20" y="149"/>
                    </a:lnTo>
                    <a:lnTo>
                      <a:pt x="16" y="149"/>
                    </a:lnTo>
                    <a:lnTo>
                      <a:pt x="16" y="153"/>
                    </a:lnTo>
                    <a:lnTo>
                      <a:pt x="13" y="155"/>
                    </a:lnTo>
                    <a:lnTo>
                      <a:pt x="13" y="162"/>
                    </a:lnTo>
                    <a:lnTo>
                      <a:pt x="11" y="163"/>
                    </a:lnTo>
                    <a:lnTo>
                      <a:pt x="6" y="165"/>
                    </a:lnTo>
                    <a:lnTo>
                      <a:pt x="6" y="167"/>
                    </a:lnTo>
                    <a:lnTo>
                      <a:pt x="6" y="172"/>
                    </a:lnTo>
                    <a:lnTo>
                      <a:pt x="2" y="175"/>
                    </a:lnTo>
                    <a:lnTo>
                      <a:pt x="2" y="181"/>
                    </a:lnTo>
                    <a:lnTo>
                      <a:pt x="0" y="182"/>
                    </a:lnTo>
                    <a:lnTo>
                      <a:pt x="2" y="184"/>
                    </a:lnTo>
                    <a:lnTo>
                      <a:pt x="2" y="191"/>
                    </a:lnTo>
                    <a:lnTo>
                      <a:pt x="6" y="196"/>
                    </a:lnTo>
                    <a:lnTo>
                      <a:pt x="6" y="200"/>
                    </a:lnTo>
                    <a:lnTo>
                      <a:pt x="6" y="203"/>
                    </a:lnTo>
                    <a:lnTo>
                      <a:pt x="7" y="203"/>
                    </a:lnTo>
                    <a:lnTo>
                      <a:pt x="11" y="203"/>
                    </a:lnTo>
                    <a:lnTo>
                      <a:pt x="7" y="203"/>
                    </a:lnTo>
                    <a:lnTo>
                      <a:pt x="6" y="205"/>
                    </a:lnTo>
                    <a:lnTo>
                      <a:pt x="6" y="208"/>
                    </a:lnTo>
                    <a:lnTo>
                      <a:pt x="6" y="214"/>
                    </a:lnTo>
                    <a:lnTo>
                      <a:pt x="6" y="222"/>
                    </a:lnTo>
                    <a:lnTo>
                      <a:pt x="7" y="222"/>
                    </a:lnTo>
                    <a:lnTo>
                      <a:pt x="7" y="226"/>
                    </a:lnTo>
                    <a:lnTo>
                      <a:pt x="7" y="228"/>
                    </a:lnTo>
                    <a:lnTo>
                      <a:pt x="11" y="231"/>
                    </a:lnTo>
                    <a:lnTo>
                      <a:pt x="11" y="231"/>
                    </a:lnTo>
                    <a:lnTo>
                      <a:pt x="13" y="233"/>
                    </a:lnTo>
                    <a:lnTo>
                      <a:pt x="16" y="235"/>
                    </a:lnTo>
                    <a:lnTo>
                      <a:pt x="18" y="235"/>
                    </a:lnTo>
                    <a:lnTo>
                      <a:pt x="20" y="236"/>
                    </a:lnTo>
                    <a:lnTo>
                      <a:pt x="21" y="236"/>
                    </a:lnTo>
                    <a:lnTo>
                      <a:pt x="25" y="240"/>
                    </a:lnTo>
                    <a:lnTo>
                      <a:pt x="25" y="242"/>
                    </a:lnTo>
                    <a:lnTo>
                      <a:pt x="28" y="242"/>
                    </a:lnTo>
                    <a:lnTo>
                      <a:pt x="28" y="243"/>
                    </a:lnTo>
                    <a:lnTo>
                      <a:pt x="28" y="243"/>
                    </a:lnTo>
                    <a:lnTo>
                      <a:pt x="28" y="243"/>
                    </a:lnTo>
                    <a:lnTo>
                      <a:pt x="28" y="243"/>
                    </a:lnTo>
                    <a:close/>
                    <a:moveTo>
                      <a:pt x="99" y="17"/>
                    </a:moveTo>
                    <a:lnTo>
                      <a:pt x="99" y="17"/>
                    </a:lnTo>
                    <a:lnTo>
                      <a:pt x="101" y="12"/>
                    </a:lnTo>
                    <a:lnTo>
                      <a:pt x="101" y="14"/>
                    </a:lnTo>
                    <a:lnTo>
                      <a:pt x="99" y="17"/>
                    </a:lnTo>
                    <a:lnTo>
                      <a:pt x="99" y="17"/>
                    </a:lnTo>
                    <a:lnTo>
                      <a:pt x="99" y="17"/>
                    </a:lnTo>
                    <a:lnTo>
                      <a:pt x="99" y="17"/>
                    </a:lnTo>
                    <a:close/>
                    <a:moveTo>
                      <a:pt x="99" y="22"/>
                    </a:moveTo>
                    <a:lnTo>
                      <a:pt x="99" y="22"/>
                    </a:lnTo>
                    <a:lnTo>
                      <a:pt x="99" y="24"/>
                    </a:lnTo>
                    <a:lnTo>
                      <a:pt x="99" y="24"/>
                    </a:lnTo>
                    <a:lnTo>
                      <a:pt x="99" y="22"/>
                    </a:lnTo>
                    <a:lnTo>
                      <a:pt x="99" y="22"/>
                    </a:lnTo>
                    <a:lnTo>
                      <a:pt x="99" y="22"/>
                    </a:lnTo>
                    <a:lnTo>
                      <a:pt x="99" y="22"/>
                    </a:lnTo>
                    <a:close/>
                    <a:moveTo>
                      <a:pt x="94" y="22"/>
                    </a:moveTo>
                    <a:lnTo>
                      <a:pt x="94" y="21"/>
                    </a:lnTo>
                    <a:lnTo>
                      <a:pt x="94" y="22"/>
                    </a:lnTo>
                    <a:lnTo>
                      <a:pt x="96" y="22"/>
                    </a:lnTo>
                    <a:lnTo>
                      <a:pt x="96" y="26"/>
                    </a:lnTo>
                    <a:lnTo>
                      <a:pt x="94" y="24"/>
                    </a:lnTo>
                    <a:lnTo>
                      <a:pt x="92" y="24"/>
                    </a:lnTo>
                    <a:lnTo>
                      <a:pt x="94" y="22"/>
                    </a:lnTo>
                    <a:lnTo>
                      <a:pt x="94" y="22"/>
                    </a:lnTo>
                    <a:lnTo>
                      <a:pt x="94" y="22"/>
                    </a:lnTo>
                    <a:lnTo>
                      <a:pt x="94" y="22"/>
                    </a:lnTo>
                    <a:close/>
                    <a:moveTo>
                      <a:pt x="117" y="90"/>
                    </a:moveTo>
                    <a:lnTo>
                      <a:pt x="117" y="89"/>
                    </a:lnTo>
                    <a:lnTo>
                      <a:pt x="117" y="87"/>
                    </a:lnTo>
                    <a:lnTo>
                      <a:pt x="117" y="85"/>
                    </a:lnTo>
                    <a:lnTo>
                      <a:pt x="117" y="85"/>
                    </a:lnTo>
                    <a:lnTo>
                      <a:pt x="119" y="83"/>
                    </a:lnTo>
                    <a:lnTo>
                      <a:pt x="119" y="85"/>
                    </a:lnTo>
                    <a:lnTo>
                      <a:pt x="117" y="89"/>
                    </a:lnTo>
                    <a:lnTo>
                      <a:pt x="117" y="90"/>
                    </a:lnTo>
                    <a:lnTo>
                      <a:pt x="117" y="90"/>
                    </a:lnTo>
                    <a:lnTo>
                      <a:pt x="117" y="9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89" name="Freeform 152"/>
              <p:cNvSpPr>
                <a:spLocks/>
              </p:cNvSpPr>
              <p:nvPr/>
            </p:nvSpPr>
            <p:spPr bwMode="auto">
              <a:xfrm>
                <a:off x="5265738" y="4552951"/>
                <a:ext cx="287338" cy="455613"/>
              </a:xfrm>
              <a:custGeom>
                <a:avLst/>
                <a:gdLst/>
                <a:ahLst/>
                <a:cxnLst>
                  <a:cxn ang="0">
                    <a:pos x="31" y="180"/>
                  </a:cxn>
                  <a:cxn ang="0">
                    <a:pos x="36" y="169"/>
                  </a:cxn>
                  <a:cxn ang="0">
                    <a:pos x="40" y="157"/>
                  </a:cxn>
                  <a:cxn ang="0">
                    <a:pos x="40" y="147"/>
                  </a:cxn>
                  <a:cxn ang="0">
                    <a:pos x="42" y="136"/>
                  </a:cxn>
                  <a:cxn ang="0">
                    <a:pos x="43" y="120"/>
                  </a:cxn>
                  <a:cxn ang="0">
                    <a:pos x="45" y="110"/>
                  </a:cxn>
                  <a:cxn ang="0">
                    <a:pos x="28" y="103"/>
                  </a:cxn>
                  <a:cxn ang="0">
                    <a:pos x="12" y="98"/>
                  </a:cxn>
                  <a:cxn ang="0">
                    <a:pos x="0" y="82"/>
                  </a:cxn>
                  <a:cxn ang="0">
                    <a:pos x="33" y="67"/>
                  </a:cxn>
                  <a:cxn ang="0">
                    <a:pos x="56" y="65"/>
                  </a:cxn>
                  <a:cxn ang="0">
                    <a:pos x="62" y="68"/>
                  </a:cxn>
                  <a:cxn ang="0">
                    <a:pos x="75" y="75"/>
                  </a:cxn>
                  <a:cxn ang="0">
                    <a:pos x="68" y="93"/>
                  </a:cxn>
                  <a:cxn ang="0">
                    <a:pos x="78" y="108"/>
                  </a:cxn>
                  <a:cxn ang="0">
                    <a:pos x="83" y="117"/>
                  </a:cxn>
                  <a:cxn ang="0">
                    <a:pos x="87" y="98"/>
                  </a:cxn>
                  <a:cxn ang="0">
                    <a:pos x="92" y="84"/>
                  </a:cxn>
                  <a:cxn ang="0">
                    <a:pos x="96" y="79"/>
                  </a:cxn>
                  <a:cxn ang="0">
                    <a:pos x="90" y="65"/>
                  </a:cxn>
                  <a:cxn ang="0">
                    <a:pos x="78" y="51"/>
                  </a:cxn>
                  <a:cxn ang="0">
                    <a:pos x="94" y="16"/>
                  </a:cxn>
                  <a:cxn ang="0">
                    <a:pos x="102" y="18"/>
                  </a:cxn>
                  <a:cxn ang="0">
                    <a:pos x="113" y="16"/>
                  </a:cxn>
                  <a:cxn ang="0">
                    <a:pos x="122" y="18"/>
                  </a:cxn>
                  <a:cxn ang="0">
                    <a:pos x="132" y="13"/>
                  </a:cxn>
                  <a:cxn ang="0">
                    <a:pos x="144" y="13"/>
                  </a:cxn>
                  <a:cxn ang="0">
                    <a:pos x="160" y="9"/>
                  </a:cxn>
                  <a:cxn ang="0">
                    <a:pos x="174" y="0"/>
                  </a:cxn>
                  <a:cxn ang="0">
                    <a:pos x="179" y="4"/>
                  </a:cxn>
                  <a:cxn ang="0">
                    <a:pos x="175" y="14"/>
                  </a:cxn>
                  <a:cxn ang="0">
                    <a:pos x="177" y="28"/>
                  </a:cxn>
                  <a:cxn ang="0">
                    <a:pos x="175" y="44"/>
                  </a:cxn>
                  <a:cxn ang="0">
                    <a:pos x="172" y="61"/>
                  </a:cxn>
                  <a:cxn ang="0">
                    <a:pos x="179" y="74"/>
                  </a:cxn>
                  <a:cxn ang="0">
                    <a:pos x="174" y="79"/>
                  </a:cxn>
                  <a:cxn ang="0">
                    <a:pos x="174" y="84"/>
                  </a:cxn>
                  <a:cxn ang="0">
                    <a:pos x="163" y="101"/>
                  </a:cxn>
                  <a:cxn ang="0">
                    <a:pos x="146" y="112"/>
                  </a:cxn>
                  <a:cxn ang="0">
                    <a:pos x="120" y="124"/>
                  </a:cxn>
                  <a:cxn ang="0">
                    <a:pos x="109" y="129"/>
                  </a:cxn>
                  <a:cxn ang="0">
                    <a:pos x="101" y="143"/>
                  </a:cxn>
                  <a:cxn ang="0">
                    <a:pos x="83" y="154"/>
                  </a:cxn>
                  <a:cxn ang="0">
                    <a:pos x="73" y="160"/>
                  </a:cxn>
                  <a:cxn ang="0">
                    <a:pos x="71" y="167"/>
                  </a:cxn>
                  <a:cxn ang="0">
                    <a:pos x="73" y="185"/>
                  </a:cxn>
                  <a:cxn ang="0">
                    <a:pos x="78" y="207"/>
                  </a:cxn>
                  <a:cxn ang="0">
                    <a:pos x="82" y="207"/>
                  </a:cxn>
                  <a:cxn ang="0">
                    <a:pos x="82" y="218"/>
                  </a:cxn>
                  <a:cxn ang="0">
                    <a:pos x="76" y="232"/>
                  </a:cxn>
                  <a:cxn ang="0">
                    <a:pos x="78" y="244"/>
                  </a:cxn>
                  <a:cxn ang="0">
                    <a:pos x="36" y="265"/>
                  </a:cxn>
                  <a:cxn ang="0">
                    <a:pos x="28" y="272"/>
                  </a:cxn>
                  <a:cxn ang="0">
                    <a:pos x="33" y="280"/>
                  </a:cxn>
                  <a:cxn ang="0">
                    <a:pos x="31" y="286"/>
                  </a:cxn>
                  <a:cxn ang="0">
                    <a:pos x="21" y="286"/>
                  </a:cxn>
                  <a:cxn ang="0">
                    <a:pos x="19" y="275"/>
                  </a:cxn>
                  <a:cxn ang="0">
                    <a:pos x="19" y="258"/>
                  </a:cxn>
                  <a:cxn ang="0">
                    <a:pos x="17" y="233"/>
                  </a:cxn>
                  <a:cxn ang="0">
                    <a:pos x="12" y="211"/>
                  </a:cxn>
                </a:cxnLst>
                <a:rect l="0" t="0" r="r" b="b"/>
                <a:pathLst>
                  <a:path w="181" h="287">
                    <a:moveTo>
                      <a:pt x="12" y="211"/>
                    </a:moveTo>
                    <a:lnTo>
                      <a:pt x="31" y="192"/>
                    </a:lnTo>
                    <a:lnTo>
                      <a:pt x="31" y="185"/>
                    </a:lnTo>
                    <a:lnTo>
                      <a:pt x="31" y="185"/>
                    </a:lnTo>
                    <a:lnTo>
                      <a:pt x="31" y="180"/>
                    </a:lnTo>
                    <a:lnTo>
                      <a:pt x="33" y="178"/>
                    </a:lnTo>
                    <a:lnTo>
                      <a:pt x="33" y="174"/>
                    </a:lnTo>
                    <a:lnTo>
                      <a:pt x="33" y="173"/>
                    </a:lnTo>
                    <a:lnTo>
                      <a:pt x="36" y="171"/>
                    </a:lnTo>
                    <a:lnTo>
                      <a:pt x="36" y="169"/>
                    </a:lnTo>
                    <a:lnTo>
                      <a:pt x="40" y="167"/>
                    </a:lnTo>
                    <a:lnTo>
                      <a:pt x="42" y="164"/>
                    </a:lnTo>
                    <a:lnTo>
                      <a:pt x="42" y="160"/>
                    </a:lnTo>
                    <a:lnTo>
                      <a:pt x="40" y="160"/>
                    </a:lnTo>
                    <a:lnTo>
                      <a:pt x="40" y="157"/>
                    </a:lnTo>
                    <a:lnTo>
                      <a:pt x="42" y="154"/>
                    </a:lnTo>
                    <a:lnTo>
                      <a:pt x="40" y="152"/>
                    </a:lnTo>
                    <a:lnTo>
                      <a:pt x="38" y="148"/>
                    </a:lnTo>
                    <a:lnTo>
                      <a:pt x="38" y="148"/>
                    </a:lnTo>
                    <a:lnTo>
                      <a:pt x="40" y="147"/>
                    </a:lnTo>
                    <a:lnTo>
                      <a:pt x="40" y="143"/>
                    </a:lnTo>
                    <a:lnTo>
                      <a:pt x="40" y="141"/>
                    </a:lnTo>
                    <a:lnTo>
                      <a:pt x="43" y="138"/>
                    </a:lnTo>
                    <a:lnTo>
                      <a:pt x="43" y="136"/>
                    </a:lnTo>
                    <a:lnTo>
                      <a:pt x="42" y="136"/>
                    </a:lnTo>
                    <a:lnTo>
                      <a:pt x="40" y="134"/>
                    </a:lnTo>
                    <a:lnTo>
                      <a:pt x="42" y="131"/>
                    </a:lnTo>
                    <a:lnTo>
                      <a:pt x="42" y="126"/>
                    </a:lnTo>
                    <a:lnTo>
                      <a:pt x="43" y="124"/>
                    </a:lnTo>
                    <a:lnTo>
                      <a:pt x="43" y="120"/>
                    </a:lnTo>
                    <a:lnTo>
                      <a:pt x="43" y="120"/>
                    </a:lnTo>
                    <a:lnTo>
                      <a:pt x="43" y="119"/>
                    </a:lnTo>
                    <a:lnTo>
                      <a:pt x="43" y="115"/>
                    </a:lnTo>
                    <a:lnTo>
                      <a:pt x="45" y="114"/>
                    </a:lnTo>
                    <a:lnTo>
                      <a:pt x="45" y="110"/>
                    </a:lnTo>
                    <a:lnTo>
                      <a:pt x="40" y="110"/>
                    </a:lnTo>
                    <a:lnTo>
                      <a:pt x="38" y="107"/>
                    </a:lnTo>
                    <a:lnTo>
                      <a:pt x="36" y="105"/>
                    </a:lnTo>
                    <a:lnTo>
                      <a:pt x="31" y="103"/>
                    </a:lnTo>
                    <a:lnTo>
                      <a:pt x="28" y="103"/>
                    </a:lnTo>
                    <a:lnTo>
                      <a:pt x="24" y="101"/>
                    </a:lnTo>
                    <a:lnTo>
                      <a:pt x="19" y="96"/>
                    </a:lnTo>
                    <a:lnTo>
                      <a:pt x="16" y="96"/>
                    </a:lnTo>
                    <a:lnTo>
                      <a:pt x="14" y="96"/>
                    </a:lnTo>
                    <a:lnTo>
                      <a:pt x="12" y="98"/>
                    </a:lnTo>
                    <a:lnTo>
                      <a:pt x="10" y="96"/>
                    </a:lnTo>
                    <a:lnTo>
                      <a:pt x="9" y="96"/>
                    </a:lnTo>
                    <a:lnTo>
                      <a:pt x="3" y="96"/>
                    </a:lnTo>
                    <a:lnTo>
                      <a:pt x="3" y="87"/>
                    </a:lnTo>
                    <a:lnTo>
                      <a:pt x="0" y="82"/>
                    </a:lnTo>
                    <a:lnTo>
                      <a:pt x="3" y="79"/>
                    </a:lnTo>
                    <a:lnTo>
                      <a:pt x="9" y="75"/>
                    </a:lnTo>
                    <a:lnTo>
                      <a:pt x="12" y="75"/>
                    </a:lnTo>
                    <a:lnTo>
                      <a:pt x="31" y="68"/>
                    </a:lnTo>
                    <a:lnTo>
                      <a:pt x="33" y="67"/>
                    </a:lnTo>
                    <a:lnTo>
                      <a:pt x="43" y="65"/>
                    </a:lnTo>
                    <a:lnTo>
                      <a:pt x="49" y="61"/>
                    </a:lnTo>
                    <a:lnTo>
                      <a:pt x="54" y="61"/>
                    </a:lnTo>
                    <a:lnTo>
                      <a:pt x="54" y="61"/>
                    </a:lnTo>
                    <a:lnTo>
                      <a:pt x="56" y="65"/>
                    </a:lnTo>
                    <a:lnTo>
                      <a:pt x="56" y="65"/>
                    </a:lnTo>
                    <a:lnTo>
                      <a:pt x="56" y="68"/>
                    </a:lnTo>
                    <a:lnTo>
                      <a:pt x="59" y="70"/>
                    </a:lnTo>
                    <a:lnTo>
                      <a:pt x="59" y="68"/>
                    </a:lnTo>
                    <a:lnTo>
                      <a:pt x="62" y="68"/>
                    </a:lnTo>
                    <a:lnTo>
                      <a:pt x="64" y="67"/>
                    </a:lnTo>
                    <a:lnTo>
                      <a:pt x="68" y="67"/>
                    </a:lnTo>
                    <a:lnTo>
                      <a:pt x="73" y="68"/>
                    </a:lnTo>
                    <a:lnTo>
                      <a:pt x="75" y="74"/>
                    </a:lnTo>
                    <a:lnTo>
                      <a:pt x="75" y="75"/>
                    </a:lnTo>
                    <a:lnTo>
                      <a:pt x="73" y="80"/>
                    </a:lnTo>
                    <a:lnTo>
                      <a:pt x="69" y="84"/>
                    </a:lnTo>
                    <a:lnTo>
                      <a:pt x="69" y="89"/>
                    </a:lnTo>
                    <a:lnTo>
                      <a:pt x="66" y="91"/>
                    </a:lnTo>
                    <a:lnTo>
                      <a:pt x="68" y="93"/>
                    </a:lnTo>
                    <a:lnTo>
                      <a:pt x="68" y="98"/>
                    </a:lnTo>
                    <a:lnTo>
                      <a:pt x="69" y="101"/>
                    </a:lnTo>
                    <a:lnTo>
                      <a:pt x="71" y="103"/>
                    </a:lnTo>
                    <a:lnTo>
                      <a:pt x="75" y="107"/>
                    </a:lnTo>
                    <a:lnTo>
                      <a:pt x="78" y="108"/>
                    </a:lnTo>
                    <a:lnTo>
                      <a:pt x="78" y="110"/>
                    </a:lnTo>
                    <a:lnTo>
                      <a:pt x="82" y="114"/>
                    </a:lnTo>
                    <a:lnTo>
                      <a:pt x="78" y="115"/>
                    </a:lnTo>
                    <a:lnTo>
                      <a:pt x="82" y="117"/>
                    </a:lnTo>
                    <a:lnTo>
                      <a:pt x="83" y="117"/>
                    </a:lnTo>
                    <a:lnTo>
                      <a:pt x="83" y="114"/>
                    </a:lnTo>
                    <a:lnTo>
                      <a:pt x="83" y="108"/>
                    </a:lnTo>
                    <a:lnTo>
                      <a:pt x="87" y="107"/>
                    </a:lnTo>
                    <a:lnTo>
                      <a:pt x="87" y="103"/>
                    </a:lnTo>
                    <a:lnTo>
                      <a:pt x="87" y="98"/>
                    </a:lnTo>
                    <a:lnTo>
                      <a:pt x="90" y="96"/>
                    </a:lnTo>
                    <a:lnTo>
                      <a:pt x="94" y="96"/>
                    </a:lnTo>
                    <a:lnTo>
                      <a:pt x="94" y="93"/>
                    </a:lnTo>
                    <a:lnTo>
                      <a:pt x="94" y="87"/>
                    </a:lnTo>
                    <a:lnTo>
                      <a:pt x="92" y="84"/>
                    </a:lnTo>
                    <a:lnTo>
                      <a:pt x="94" y="82"/>
                    </a:lnTo>
                    <a:lnTo>
                      <a:pt x="92" y="82"/>
                    </a:lnTo>
                    <a:lnTo>
                      <a:pt x="92" y="80"/>
                    </a:lnTo>
                    <a:lnTo>
                      <a:pt x="96" y="80"/>
                    </a:lnTo>
                    <a:lnTo>
                      <a:pt x="96" y="79"/>
                    </a:lnTo>
                    <a:lnTo>
                      <a:pt x="97" y="77"/>
                    </a:lnTo>
                    <a:lnTo>
                      <a:pt x="97" y="75"/>
                    </a:lnTo>
                    <a:lnTo>
                      <a:pt x="97" y="74"/>
                    </a:lnTo>
                    <a:lnTo>
                      <a:pt x="96" y="68"/>
                    </a:lnTo>
                    <a:lnTo>
                      <a:pt x="90" y="65"/>
                    </a:lnTo>
                    <a:lnTo>
                      <a:pt x="90" y="61"/>
                    </a:lnTo>
                    <a:lnTo>
                      <a:pt x="83" y="56"/>
                    </a:lnTo>
                    <a:lnTo>
                      <a:pt x="82" y="54"/>
                    </a:lnTo>
                    <a:lnTo>
                      <a:pt x="82" y="53"/>
                    </a:lnTo>
                    <a:lnTo>
                      <a:pt x="78" y="51"/>
                    </a:lnTo>
                    <a:lnTo>
                      <a:pt x="73" y="47"/>
                    </a:lnTo>
                    <a:lnTo>
                      <a:pt x="71" y="32"/>
                    </a:lnTo>
                    <a:lnTo>
                      <a:pt x="75" y="16"/>
                    </a:lnTo>
                    <a:lnTo>
                      <a:pt x="90" y="16"/>
                    </a:lnTo>
                    <a:lnTo>
                      <a:pt x="94" y="16"/>
                    </a:lnTo>
                    <a:lnTo>
                      <a:pt x="94" y="14"/>
                    </a:lnTo>
                    <a:lnTo>
                      <a:pt x="97" y="14"/>
                    </a:lnTo>
                    <a:lnTo>
                      <a:pt x="97" y="14"/>
                    </a:lnTo>
                    <a:lnTo>
                      <a:pt x="99" y="16"/>
                    </a:lnTo>
                    <a:lnTo>
                      <a:pt x="102" y="18"/>
                    </a:lnTo>
                    <a:lnTo>
                      <a:pt x="104" y="18"/>
                    </a:lnTo>
                    <a:lnTo>
                      <a:pt x="106" y="20"/>
                    </a:lnTo>
                    <a:lnTo>
                      <a:pt x="106" y="21"/>
                    </a:lnTo>
                    <a:lnTo>
                      <a:pt x="109" y="20"/>
                    </a:lnTo>
                    <a:lnTo>
                      <a:pt x="113" y="16"/>
                    </a:lnTo>
                    <a:lnTo>
                      <a:pt x="115" y="16"/>
                    </a:lnTo>
                    <a:lnTo>
                      <a:pt x="118" y="14"/>
                    </a:lnTo>
                    <a:lnTo>
                      <a:pt x="118" y="16"/>
                    </a:lnTo>
                    <a:lnTo>
                      <a:pt x="118" y="18"/>
                    </a:lnTo>
                    <a:lnTo>
                      <a:pt x="122" y="18"/>
                    </a:lnTo>
                    <a:lnTo>
                      <a:pt x="123" y="20"/>
                    </a:lnTo>
                    <a:lnTo>
                      <a:pt x="127" y="18"/>
                    </a:lnTo>
                    <a:lnTo>
                      <a:pt x="132" y="18"/>
                    </a:lnTo>
                    <a:lnTo>
                      <a:pt x="132" y="14"/>
                    </a:lnTo>
                    <a:lnTo>
                      <a:pt x="132" y="13"/>
                    </a:lnTo>
                    <a:lnTo>
                      <a:pt x="132" y="11"/>
                    </a:lnTo>
                    <a:lnTo>
                      <a:pt x="137" y="13"/>
                    </a:lnTo>
                    <a:lnTo>
                      <a:pt x="141" y="11"/>
                    </a:lnTo>
                    <a:lnTo>
                      <a:pt x="141" y="13"/>
                    </a:lnTo>
                    <a:lnTo>
                      <a:pt x="144" y="13"/>
                    </a:lnTo>
                    <a:lnTo>
                      <a:pt x="146" y="11"/>
                    </a:lnTo>
                    <a:lnTo>
                      <a:pt x="153" y="9"/>
                    </a:lnTo>
                    <a:lnTo>
                      <a:pt x="155" y="11"/>
                    </a:lnTo>
                    <a:lnTo>
                      <a:pt x="158" y="9"/>
                    </a:lnTo>
                    <a:lnTo>
                      <a:pt x="160" y="9"/>
                    </a:lnTo>
                    <a:lnTo>
                      <a:pt x="163" y="9"/>
                    </a:lnTo>
                    <a:lnTo>
                      <a:pt x="165" y="6"/>
                    </a:lnTo>
                    <a:lnTo>
                      <a:pt x="168" y="6"/>
                    </a:lnTo>
                    <a:lnTo>
                      <a:pt x="170" y="4"/>
                    </a:lnTo>
                    <a:lnTo>
                      <a:pt x="174" y="0"/>
                    </a:lnTo>
                    <a:lnTo>
                      <a:pt x="175" y="0"/>
                    </a:lnTo>
                    <a:lnTo>
                      <a:pt x="177" y="0"/>
                    </a:lnTo>
                    <a:lnTo>
                      <a:pt x="179" y="0"/>
                    </a:lnTo>
                    <a:lnTo>
                      <a:pt x="181" y="0"/>
                    </a:lnTo>
                    <a:lnTo>
                      <a:pt x="179" y="4"/>
                    </a:lnTo>
                    <a:lnTo>
                      <a:pt x="179" y="6"/>
                    </a:lnTo>
                    <a:lnTo>
                      <a:pt x="179" y="6"/>
                    </a:lnTo>
                    <a:lnTo>
                      <a:pt x="175" y="11"/>
                    </a:lnTo>
                    <a:lnTo>
                      <a:pt x="175" y="13"/>
                    </a:lnTo>
                    <a:lnTo>
                      <a:pt x="175" y="14"/>
                    </a:lnTo>
                    <a:lnTo>
                      <a:pt x="175" y="16"/>
                    </a:lnTo>
                    <a:lnTo>
                      <a:pt x="175" y="18"/>
                    </a:lnTo>
                    <a:lnTo>
                      <a:pt x="175" y="23"/>
                    </a:lnTo>
                    <a:lnTo>
                      <a:pt x="177" y="28"/>
                    </a:lnTo>
                    <a:lnTo>
                      <a:pt x="177" y="28"/>
                    </a:lnTo>
                    <a:lnTo>
                      <a:pt x="177" y="34"/>
                    </a:lnTo>
                    <a:lnTo>
                      <a:pt x="177" y="34"/>
                    </a:lnTo>
                    <a:lnTo>
                      <a:pt x="177" y="37"/>
                    </a:lnTo>
                    <a:lnTo>
                      <a:pt x="175" y="39"/>
                    </a:lnTo>
                    <a:lnTo>
                      <a:pt x="175" y="44"/>
                    </a:lnTo>
                    <a:lnTo>
                      <a:pt x="175" y="53"/>
                    </a:lnTo>
                    <a:lnTo>
                      <a:pt x="174" y="53"/>
                    </a:lnTo>
                    <a:lnTo>
                      <a:pt x="175" y="54"/>
                    </a:lnTo>
                    <a:lnTo>
                      <a:pt x="175" y="61"/>
                    </a:lnTo>
                    <a:lnTo>
                      <a:pt x="172" y="61"/>
                    </a:lnTo>
                    <a:lnTo>
                      <a:pt x="172" y="65"/>
                    </a:lnTo>
                    <a:lnTo>
                      <a:pt x="174" y="65"/>
                    </a:lnTo>
                    <a:lnTo>
                      <a:pt x="177" y="65"/>
                    </a:lnTo>
                    <a:lnTo>
                      <a:pt x="177" y="65"/>
                    </a:lnTo>
                    <a:lnTo>
                      <a:pt x="179" y="74"/>
                    </a:lnTo>
                    <a:lnTo>
                      <a:pt x="177" y="74"/>
                    </a:lnTo>
                    <a:lnTo>
                      <a:pt x="175" y="75"/>
                    </a:lnTo>
                    <a:lnTo>
                      <a:pt x="175" y="77"/>
                    </a:lnTo>
                    <a:lnTo>
                      <a:pt x="175" y="79"/>
                    </a:lnTo>
                    <a:lnTo>
                      <a:pt x="174" y="79"/>
                    </a:lnTo>
                    <a:lnTo>
                      <a:pt x="170" y="82"/>
                    </a:lnTo>
                    <a:lnTo>
                      <a:pt x="172" y="82"/>
                    </a:lnTo>
                    <a:lnTo>
                      <a:pt x="172" y="82"/>
                    </a:lnTo>
                    <a:lnTo>
                      <a:pt x="175" y="82"/>
                    </a:lnTo>
                    <a:lnTo>
                      <a:pt x="174" y="84"/>
                    </a:lnTo>
                    <a:lnTo>
                      <a:pt x="172" y="87"/>
                    </a:lnTo>
                    <a:lnTo>
                      <a:pt x="170" y="89"/>
                    </a:lnTo>
                    <a:lnTo>
                      <a:pt x="168" y="93"/>
                    </a:lnTo>
                    <a:lnTo>
                      <a:pt x="168" y="96"/>
                    </a:lnTo>
                    <a:lnTo>
                      <a:pt x="163" y="101"/>
                    </a:lnTo>
                    <a:lnTo>
                      <a:pt x="160" y="101"/>
                    </a:lnTo>
                    <a:lnTo>
                      <a:pt x="160" y="103"/>
                    </a:lnTo>
                    <a:lnTo>
                      <a:pt x="149" y="110"/>
                    </a:lnTo>
                    <a:lnTo>
                      <a:pt x="148" y="110"/>
                    </a:lnTo>
                    <a:lnTo>
                      <a:pt x="146" y="112"/>
                    </a:lnTo>
                    <a:lnTo>
                      <a:pt x="137" y="119"/>
                    </a:lnTo>
                    <a:lnTo>
                      <a:pt x="132" y="117"/>
                    </a:lnTo>
                    <a:lnTo>
                      <a:pt x="132" y="119"/>
                    </a:lnTo>
                    <a:lnTo>
                      <a:pt x="127" y="120"/>
                    </a:lnTo>
                    <a:lnTo>
                      <a:pt x="120" y="124"/>
                    </a:lnTo>
                    <a:lnTo>
                      <a:pt x="118" y="124"/>
                    </a:lnTo>
                    <a:lnTo>
                      <a:pt x="118" y="126"/>
                    </a:lnTo>
                    <a:lnTo>
                      <a:pt x="113" y="131"/>
                    </a:lnTo>
                    <a:lnTo>
                      <a:pt x="113" y="131"/>
                    </a:lnTo>
                    <a:lnTo>
                      <a:pt x="109" y="129"/>
                    </a:lnTo>
                    <a:lnTo>
                      <a:pt x="109" y="134"/>
                    </a:lnTo>
                    <a:lnTo>
                      <a:pt x="109" y="134"/>
                    </a:lnTo>
                    <a:lnTo>
                      <a:pt x="108" y="136"/>
                    </a:lnTo>
                    <a:lnTo>
                      <a:pt x="101" y="141"/>
                    </a:lnTo>
                    <a:lnTo>
                      <a:pt x="101" y="143"/>
                    </a:lnTo>
                    <a:lnTo>
                      <a:pt x="99" y="145"/>
                    </a:lnTo>
                    <a:lnTo>
                      <a:pt x="97" y="145"/>
                    </a:lnTo>
                    <a:lnTo>
                      <a:pt x="97" y="148"/>
                    </a:lnTo>
                    <a:lnTo>
                      <a:pt x="92" y="148"/>
                    </a:lnTo>
                    <a:lnTo>
                      <a:pt x="83" y="154"/>
                    </a:lnTo>
                    <a:lnTo>
                      <a:pt x="83" y="157"/>
                    </a:lnTo>
                    <a:lnTo>
                      <a:pt x="82" y="160"/>
                    </a:lnTo>
                    <a:lnTo>
                      <a:pt x="78" y="160"/>
                    </a:lnTo>
                    <a:lnTo>
                      <a:pt x="76" y="162"/>
                    </a:lnTo>
                    <a:lnTo>
                      <a:pt x="73" y="160"/>
                    </a:lnTo>
                    <a:lnTo>
                      <a:pt x="71" y="160"/>
                    </a:lnTo>
                    <a:lnTo>
                      <a:pt x="71" y="160"/>
                    </a:lnTo>
                    <a:lnTo>
                      <a:pt x="73" y="164"/>
                    </a:lnTo>
                    <a:lnTo>
                      <a:pt x="73" y="166"/>
                    </a:lnTo>
                    <a:lnTo>
                      <a:pt x="71" y="167"/>
                    </a:lnTo>
                    <a:lnTo>
                      <a:pt x="71" y="171"/>
                    </a:lnTo>
                    <a:lnTo>
                      <a:pt x="69" y="173"/>
                    </a:lnTo>
                    <a:lnTo>
                      <a:pt x="75" y="180"/>
                    </a:lnTo>
                    <a:lnTo>
                      <a:pt x="75" y="183"/>
                    </a:lnTo>
                    <a:lnTo>
                      <a:pt x="73" y="185"/>
                    </a:lnTo>
                    <a:lnTo>
                      <a:pt x="75" y="185"/>
                    </a:lnTo>
                    <a:lnTo>
                      <a:pt x="76" y="188"/>
                    </a:lnTo>
                    <a:lnTo>
                      <a:pt x="76" y="192"/>
                    </a:lnTo>
                    <a:lnTo>
                      <a:pt x="78" y="195"/>
                    </a:lnTo>
                    <a:lnTo>
                      <a:pt x="78" y="207"/>
                    </a:lnTo>
                    <a:lnTo>
                      <a:pt x="78" y="211"/>
                    </a:lnTo>
                    <a:lnTo>
                      <a:pt x="78" y="211"/>
                    </a:lnTo>
                    <a:lnTo>
                      <a:pt x="78" y="207"/>
                    </a:lnTo>
                    <a:lnTo>
                      <a:pt x="82" y="202"/>
                    </a:lnTo>
                    <a:lnTo>
                      <a:pt x="82" y="207"/>
                    </a:lnTo>
                    <a:lnTo>
                      <a:pt x="82" y="207"/>
                    </a:lnTo>
                    <a:lnTo>
                      <a:pt x="82" y="211"/>
                    </a:lnTo>
                    <a:lnTo>
                      <a:pt x="82" y="213"/>
                    </a:lnTo>
                    <a:lnTo>
                      <a:pt x="82" y="216"/>
                    </a:lnTo>
                    <a:lnTo>
                      <a:pt x="82" y="218"/>
                    </a:lnTo>
                    <a:lnTo>
                      <a:pt x="78" y="225"/>
                    </a:lnTo>
                    <a:lnTo>
                      <a:pt x="78" y="227"/>
                    </a:lnTo>
                    <a:lnTo>
                      <a:pt x="78" y="228"/>
                    </a:lnTo>
                    <a:lnTo>
                      <a:pt x="78" y="232"/>
                    </a:lnTo>
                    <a:lnTo>
                      <a:pt x="76" y="232"/>
                    </a:lnTo>
                    <a:lnTo>
                      <a:pt x="78" y="235"/>
                    </a:lnTo>
                    <a:lnTo>
                      <a:pt x="78" y="233"/>
                    </a:lnTo>
                    <a:lnTo>
                      <a:pt x="82" y="235"/>
                    </a:lnTo>
                    <a:lnTo>
                      <a:pt x="78" y="239"/>
                    </a:lnTo>
                    <a:lnTo>
                      <a:pt x="78" y="244"/>
                    </a:lnTo>
                    <a:lnTo>
                      <a:pt x="71" y="249"/>
                    </a:lnTo>
                    <a:lnTo>
                      <a:pt x="59" y="254"/>
                    </a:lnTo>
                    <a:lnTo>
                      <a:pt x="45" y="258"/>
                    </a:lnTo>
                    <a:lnTo>
                      <a:pt x="38" y="263"/>
                    </a:lnTo>
                    <a:lnTo>
                      <a:pt x="36" y="265"/>
                    </a:lnTo>
                    <a:lnTo>
                      <a:pt x="33" y="267"/>
                    </a:lnTo>
                    <a:lnTo>
                      <a:pt x="31" y="268"/>
                    </a:lnTo>
                    <a:lnTo>
                      <a:pt x="31" y="272"/>
                    </a:lnTo>
                    <a:lnTo>
                      <a:pt x="28" y="272"/>
                    </a:lnTo>
                    <a:lnTo>
                      <a:pt x="28" y="272"/>
                    </a:lnTo>
                    <a:lnTo>
                      <a:pt x="28" y="275"/>
                    </a:lnTo>
                    <a:lnTo>
                      <a:pt x="28" y="277"/>
                    </a:lnTo>
                    <a:lnTo>
                      <a:pt x="28" y="280"/>
                    </a:lnTo>
                    <a:lnTo>
                      <a:pt x="31" y="280"/>
                    </a:lnTo>
                    <a:lnTo>
                      <a:pt x="33" y="280"/>
                    </a:lnTo>
                    <a:lnTo>
                      <a:pt x="33" y="275"/>
                    </a:lnTo>
                    <a:lnTo>
                      <a:pt x="36" y="275"/>
                    </a:lnTo>
                    <a:lnTo>
                      <a:pt x="36" y="277"/>
                    </a:lnTo>
                    <a:lnTo>
                      <a:pt x="33" y="282"/>
                    </a:lnTo>
                    <a:lnTo>
                      <a:pt x="31" y="286"/>
                    </a:lnTo>
                    <a:lnTo>
                      <a:pt x="31" y="287"/>
                    </a:lnTo>
                    <a:lnTo>
                      <a:pt x="28" y="287"/>
                    </a:lnTo>
                    <a:lnTo>
                      <a:pt x="24" y="287"/>
                    </a:lnTo>
                    <a:lnTo>
                      <a:pt x="23" y="287"/>
                    </a:lnTo>
                    <a:lnTo>
                      <a:pt x="21" y="286"/>
                    </a:lnTo>
                    <a:lnTo>
                      <a:pt x="23" y="282"/>
                    </a:lnTo>
                    <a:lnTo>
                      <a:pt x="23" y="280"/>
                    </a:lnTo>
                    <a:lnTo>
                      <a:pt x="23" y="280"/>
                    </a:lnTo>
                    <a:lnTo>
                      <a:pt x="21" y="277"/>
                    </a:lnTo>
                    <a:lnTo>
                      <a:pt x="19" y="275"/>
                    </a:lnTo>
                    <a:lnTo>
                      <a:pt x="17" y="275"/>
                    </a:lnTo>
                    <a:lnTo>
                      <a:pt x="17" y="275"/>
                    </a:lnTo>
                    <a:lnTo>
                      <a:pt x="17" y="268"/>
                    </a:lnTo>
                    <a:lnTo>
                      <a:pt x="17" y="263"/>
                    </a:lnTo>
                    <a:lnTo>
                      <a:pt x="19" y="258"/>
                    </a:lnTo>
                    <a:lnTo>
                      <a:pt x="19" y="244"/>
                    </a:lnTo>
                    <a:lnTo>
                      <a:pt x="17" y="240"/>
                    </a:lnTo>
                    <a:lnTo>
                      <a:pt x="17" y="237"/>
                    </a:lnTo>
                    <a:lnTo>
                      <a:pt x="17" y="233"/>
                    </a:lnTo>
                    <a:lnTo>
                      <a:pt x="17" y="233"/>
                    </a:lnTo>
                    <a:lnTo>
                      <a:pt x="17" y="225"/>
                    </a:lnTo>
                    <a:lnTo>
                      <a:pt x="16" y="220"/>
                    </a:lnTo>
                    <a:lnTo>
                      <a:pt x="14" y="216"/>
                    </a:lnTo>
                    <a:lnTo>
                      <a:pt x="12" y="213"/>
                    </a:lnTo>
                    <a:lnTo>
                      <a:pt x="12" y="211"/>
                    </a:lnTo>
                    <a:lnTo>
                      <a:pt x="12" y="211"/>
                    </a:lnTo>
                    <a:lnTo>
                      <a:pt x="12" y="21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0" name="Freeform 153"/>
              <p:cNvSpPr>
                <a:spLocks/>
              </p:cNvSpPr>
              <p:nvPr/>
            </p:nvSpPr>
            <p:spPr bwMode="auto">
              <a:xfrm>
                <a:off x="5265738" y="4978401"/>
                <a:ext cx="38100" cy="39688"/>
              </a:xfrm>
              <a:custGeom>
                <a:avLst/>
                <a:gdLst/>
                <a:ahLst/>
                <a:cxnLst>
                  <a:cxn ang="0">
                    <a:pos x="21" y="7"/>
                  </a:cxn>
                  <a:cxn ang="0">
                    <a:pos x="21" y="7"/>
                  </a:cxn>
                  <a:cxn ang="0">
                    <a:pos x="21" y="7"/>
                  </a:cxn>
                  <a:cxn ang="0">
                    <a:pos x="23" y="9"/>
                  </a:cxn>
                  <a:cxn ang="0">
                    <a:pos x="24" y="11"/>
                  </a:cxn>
                  <a:cxn ang="0">
                    <a:pos x="24" y="12"/>
                  </a:cxn>
                  <a:cxn ang="0">
                    <a:pos x="24" y="14"/>
                  </a:cxn>
                  <a:cxn ang="0">
                    <a:pos x="23" y="16"/>
                  </a:cxn>
                  <a:cxn ang="0">
                    <a:pos x="24" y="19"/>
                  </a:cxn>
                  <a:cxn ang="0">
                    <a:pos x="23" y="19"/>
                  </a:cxn>
                  <a:cxn ang="0">
                    <a:pos x="21" y="19"/>
                  </a:cxn>
                  <a:cxn ang="0">
                    <a:pos x="21" y="21"/>
                  </a:cxn>
                  <a:cxn ang="0">
                    <a:pos x="21" y="25"/>
                  </a:cxn>
                  <a:cxn ang="0">
                    <a:pos x="17" y="25"/>
                  </a:cxn>
                  <a:cxn ang="0">
                    <a:pos x="12" y="25"/>
                  </a:cxn>
                  <a:cxn ang="0">
                    <a:pos x="7" y="23"/>
                  </a:cxn>
                  <a:cxn ang="0">
                    <a:pos x="3" y="19"/>
                  </a:cxn>
                  <a:cxn ang="0">
                    <a:pos x="3" y="16"/>
                  </a:cxn>
                  <a:cxn ang="0">
                    <a:pos x="0" y="16"/>
                  </a:cxn>
                  <a:cxn ang="0">
                    <a:pos x="3" y="12"/>
                  </a:cxn>
                  <a:cxn ang="0">
                    <a:pos x="7" y="5"/>
                  </a:cxn>
                  <a:cxn ang="0">
                    <a:pos x="7" y="2"/>
                  </a:cxn>
                  <a:cxn ang="0">
                    <a:pos x="10" y="0"/>
                  </a:cxn>
                  <a:cxn ang="0">
                    <a:pos x="16" y="4"/>
                  </a:cxn>
                  <a:cxn ang="0">
                    <a:pos x="17" y="5"/>
                  </a:cxn>
                  <a:cxn ang="0">
                    <a:pos x="21" y="7"/>
                  </a:cxn>
                  <a:cxn ang="0">
                    <a:pos x="21" y="7"/>
                  </a:cxn>
                  <a:cxn ang="0">
                    <a:pos x="21" y="7"/>
                  </a:cxn>
                  <a:cxn ang="0">
                    <a:pos x="21" y="7"/>
                  </a:cxn>
                </a:cxnLst>
                <a:rect l="0" t="0" r="r" b="b"/>
                <a:pathLst>
                  <a:path w="24" h="25">
                    <a:moveTo>
                      <a:pt x="21" y="7"/>
                    </a:moveTo>
                    <a:lnTo>
                      <a:pt x="21" y="7"/>
                    </a:lnTo>
                    <a:lnTo>
                      <a:pt x="21" y="7"/>
                    </a:lnTo>
                    <a:lnTo>
                      <a:pt x="23" y="9"/>
                    </a:lnTo>
                    <a:lnTo>
                      <a:pt x="24" y="11"/>
                    </a:lnTo>
                    <a:lnTo>
                      <a:pt x="24" y="12"/>
                    </a:lnTo>
                    <a:lnTo>
                      <a:pt x="24" y="14"/>
                    </a:lnTo>
                    <a:lnTo>
                      <a:pt x="23" y="16"/>
                    </a:lnTo>
                    <a:lnTo>
                      <a:pt x="24" y="19"/>
                    </a:lnTo>
                    <a:lnTo>
                      <a:pt x="23" y="19"/>
                    </a:lnTo>
                    <a:lnTo>
                      <a:pt x="21" y="19"/>
                    </a:lnTo>
                    <a:lnTo>
                      <a:pt x="21" y="21"/>
                    </a:lnTo>
                    <a:lnTo>
                      <a:pt x="21" y="25"/>
                    </a:lnTo>
                    <a:lnTo>
                      <a:pt x="17" y="25"/>
                    </a:lnTo>
                    <a:lnTo>
                      <a:pt x="12" y="25"/>
                    </a:lnTo>
                    <a:lnTo>
                      <a:pt x="7" y="23"/>
                    </a:lnTo>
                    <a:lnTo>
                      <a:pt x="3" y="19"/>
                    </a:lnTo>
                    <a:lnTo>
                      <a:pt x="3" y="16"/>
                    </a:lnTo>
                    <a:lnTo>
                      <a:pt x="0" y="16"/>
                    </a:lnTo>
                    <a:lnTo>
                      <a:pt x="3" y="12"/>
                    </a:lnTo>
                    <a:lnTo>
                      <a:pt x="7" y="5"/>
                    </a:lnTo>
                    <a:lnTo>
                      <a:pt x="7" y="2"/>
                    </a:lnTo>
                    <a:lnTo>
                      <a:pt x="10" y="0"/>
                    </a:lnTo>
                    <a:lnTo>
                      <a:pt x="16" y="4"/>
                    </a:lnTo>
                    <a:lnTo>
                      <a:pt x="17" y="5"/>
                    </a:lnTo>
                    <a:lnTo>
                      <a:pt x="21" y="7"/>
                    </a:lnTo>
                    <a:lnTo>
                      <a:pt x="21" y="7"/>
                    </a:lnTo>
                    <a:lnTo>
                      <a:pt x="21" y="7"/>
                    </a:lnTo>
                    <a:lnTo>
                      <a:pt x="21"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1" name="Freeform 154"/>
              <p:cNvSpPr>
                <a:spLocks/>
              </p:cNvSpPr>
              <p:nvPr/>
            </p:nvSpPr>
            <p:spPr bwMode="auto">
              <a:xfrm>
                <a:off x="5157788" y="5064126"/>
                <a:ext cx="69850" cy="63500"/>
              </a:xfrm>
              <a:custGeom>
                <a:avLst/>
                <a:gdLst/>
                <a:ahLst/>
                <a:cxnLst>
                  <a:cxn ang="0">
                    <a:pos x="5" y="31"/>
                  </a:cxn>
                  <a:cxn ang="0">
                    <a:pos x="5" y="30"/>
                  </a:cxn>
                  <a:cxn ang="0">
                    <a:pos x="5" y="26"/>
                  </a:cxn>
                  <a:cxn ang="0">
                    <a:pos x="5" y="23"/>
                  </a:cxn>
                  <a:cxn ang="0">
                    <a:pos x="0" y="23"/>
                  </a:cxn>
                  <a:cxn ang="0">
                    <a:pos x="0" y="19"/>
                  </a:cxn>
                  <a:cxn ang="0">
                    <a:pos x="2" y="18"/>
                  </a:cxn>
                  <a:cxn ang="0">
                    <a:pos x="9" y="14"/>
                  </a:cxn>
                  <a:cxn ang="0">
                    <a:pos x="11" y="9"/>
                  </a:cxn>
                  <a:cxn ang="0">
                    <a:pos x="14" y="7"/>
                  </a:cxn>
                  <a:cxn ang="0">
                    <a:pos x="21" y="4"/>
                  </a:cxn>
                  <a:cxn ang="0">
                    <a:pos x="21" y="2"/>
                  </a:cxn>
                  <a:cxn ang="0">
                    <a:pos x="25" y="2"/>
                  </a:cxn>
                  <a:cxn ang="0">
                    <a:pos x="25" y="0"/>
                  </a:cxn>
                  <a:cxn ang="0">
                    <a:pos x="28" y="0"/>
                  </a:cxn>
                  <a:cxn ang="0">
                    <a:pos x="30" y="2"/>
                  </a:cxn>
                  <a:cxn ang="0">
                    <a:pos x="31" y="0"/>
                  </a:cxn>
                  <a:cxn ang="0">
                    <a:pos x="33" y="2"/>
                  </a:cxn>
                  <a:cxn ang="0">
                    <a:pos x="37" y="2"/>
                  </a:cxn>
                  <a:cxn ang="0">
                    <a:pos x="40" y="4"/>
                  </a:cxn>
                  <a:cxn ang="0">
                    <a:pos x="44" y="11"/>
                  </a:cxn>
                  <a:cxn ang="0">
                    <a:pos x="44" y="16"/>
                  </a:cxn>
                  <a:cxn ang="0">
                    <a:pos x="40" y="19"/>
                  </a:cxn>
                  <a:cxn ang="0">
                    <a:pos x="37" y="21"/>
                  </a:cxn>
                  <a:cxn ang="0">
                    <a:pos x="37" y="23"/>
                  </a:cxn>
                  <a:cxn ang="0">
                    <a:pos x="38" y="23"/>
                  </a:cxn>
                  <a:cxn ang="0">
                    <a:pos x="38" y="26"/>
                  </a:cxn>
                  <a:cxn ang="0">
                    <a:pos x="35" y="30"/>
                  </a:cxn>
                  <a:cxn ang="0">
                    <a:pos x="31" y="28"/>
                  </a:cxn>
                  <a:cxn ang="0">
                    <a:pos x="30" y="30"/>
                  </a:cxn>
                  <a:cxn ang="0">
                    <a:pos x="26" y="30"/>
                  </a:cxn>
                  <a:cxn ang="0">
                    <a:pos x="21" y="31"/>
                  </a:cxn>
                  <a:cxn ang="0">
                    <a:pos x="21" y="35"/>
                  </a:cxn>
                  <a:cxn ang="0">
                    <a:pos x="21" y="35"/>
                  </a:cxn>
                  <a:cxn ang="0">
                    <a:pos x="19" y="37"/>
                  </a:cxn>
                  <a:cxn ang="0">
                    <a:pos x="16" y="40"/>
                  </a:cxn>
                  <a:cxn ang="0">
                    <a:pos x="11" y="37"/>
                  </a:cxn>
                  <a:cxn ang="0">
                    <a:pos x="11" y="35"/>
                  </a:cxn>
                  <a:cxn ang="0">
                    <a:pos x="5" y="31"/>
                  </a:cxn>
                  <a:cxn ang="0">
                    <a:pos x="5" y="31"/>
                  </a:cxn>
                  <a:cxn ang="0">
                    <a:pos x="5" y="31"/>
                  </a:cxn>
                </a:cxnLst>
                <a:rect l="0" t="0" r="r" b="b"/>
                <a:pathLst>
                  <a:path w="44" h="40">
                    <a:moveTo>
                      <a:pt x="5" y="31"/>
                    </a:moveTo>
                    <a:lnTo>
                      <a:pt x="5" y="30"/>
                    </a:lnTo>
                    <a:lnTo>
                      <a:pt x="5" y="26"/>
                    </a:lnTo>
                    <a:lnTo>
                      <a:pt x="5" y="23"/>
                    </a:lnTo>
                    <a:lnTo>
                      <a:pt x="0" y="23"/>
                    </a:lnTo>
                    <a:lnTo>
                      <a:pt x="0" y="19"/>
                    </a:lnTo>
                    <a:lnTo>
                      <a:pt x="2" y="18"/>
                    </a:lnTo>
                    <a:lnTo>
                      <a:pt x="9" y="14"/>
                    </a:lnTo>
                    <a:lnTo>
                      <a:pt x="11" y="9"/>
                    </a:lnTo>
                    <a:lnTo>
                      <a:pt x="14" y="7"/>
                    </a:lnTo>
                    <a:lnTo>
                      <a:pt x="21" y="4"/>
                    </a:lnTo>
                    <a:lnTo>
                      <a:pt x="21" y="2"/>
                    </a:lnTo>
                    <a:lnTo>
                      <a:pt x="25" y="2"/>
                    </a:lnTo>
                    <a:lnTo>
                      <a:pt x="25" y="0"/>
                    </a:lnTo>
                    <a:lnTo>
                      <a:pt x="28" y="0"/>
                    </a:lnTo>
                    <a:lnTo>
                      <a:pt x="30" y="2"/>
                    </a:lnTo>
                    <a:lnTo>
                      <a:pt x="31" y="0"/>
                    </a:lnTo>
                    <a:lnTo>
                      <a:pt x="33" y="2"/>
                    </a:lnTo>
                    <a:lnTo>
                      <a:pt x="37" y="2"/>
                    </a:lnTo>
                    <a:lnTo>
                      <a:pt x="40" y="4"/>
                    </a:lnTo>
                    <a:lnTo>
                      <a:pt x="44" y="11"/>
                    </a:lnTo>
                    <a:lnTo>
                      <a:pt x="44" y="16"/>
                    </a:lnTo>
                    <a:lnTo>
                      <a:pt x="40" y="19"/>
                    </a:lnTo>
                    <a:lnTo>
                      <a:pt x="37" y="21"/>
                    </a:lnTo>
                    <a:lnTo>
                      <a:pt x="37" y="23"/>
                    </a:lnTo>
                    <a:lnTo>
                      <a:pt x="38" y="23"/>
                    </a:lnTo>
                    <a:lnTo>
                      <a:pt x="38" y="26"/>
                    </a:lnTo>
                    <a:lnTo>
                      <a:pt x="35" y="30"/>
                    </a:lnTo>
                    <a:lnTo>
                      <a:pt x="31" y="28"/>
                    </a:lnTo>
                    <a:lnTo>
                      <a:pt x="30" y="30"/>
                    </a:lnTo>
                    <a:lnTo>
                      <a:pt x="26" y="30"/>
                    </a:lnTo>
                    <a:lnTo>
                      <a:pt x="21" y="31"/>
                    </a:lnTo>
                    <a:lnTo>
                      <a:pt x="21" y="35"/>
                    </a:lnTo>
                    <a:lnTo>
                      <a:pt x="21" y="35"/>
                    </a:lnTo>
                    <a:lnTo>
                      <a:pt x="19" y="37"/>
                    </a:lnTo>
                    <a:lnTo>
                      <a:pt x="16" y="40"/>
                    </a:lnTo>
                    <a:lnTo>
                      <a:pt x="11" y="37"/>
                    </a:lnTo>
                    <a:lnTo>
                      <a:pt x="11" y="35"/>
                    </a:lnTo>
                    <a:lnTo>
                      <a:pt x="5" y="31"/>
                    </a:lnTo>
                    <a:lnTo>
                      <a:pt x="5" y="31"/>
                    </a:lnTo>
                    <a:lnTo>
                      <a:pt x="5" y="3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2" name="Freeform 155"/>
              <p:cNvSpPr>
                <a:spLocks noEditPoints="1"/>
              </p:cNvSpPr>
              <p:nvPr/>
            </p:nvSpPr>
            <p:spPr bwMode="auto">
              <a:xfrm>
                <a:off x="4625975" y="1214438"/>
                <a:ext cx="287338" cy="307975"/>
              </a:xfrm>
              <a:custGeom>
                <a:avLst/>
                <a:gdLst/>
                <a:ahLst/>
                <a:cxnLst>
                  <a:cxn ang="0">
                    <a:pos x="81" y="19"/>
                  </a:cxn>
                  <a:cxn ang="0">
                    <a:pos x="121" y="39"/>
                  </a:cxn>
                  <a:cxn ang="0">
                    <a:pos x="113" y="50"/>
                  </a:cxn>
                  <a:cxn ang="0">
                    <a:pos x="111" y="55"/>
                  </a:cxn>
                  <a:cxn ang="0">
                    <a:pos x="139" y="69"/>
                  </a:cxn>
                  <a:cxn ang="0">
                    <a:pos x="167" y="57"/>
                  </a:cxn>
                  <a:cxn ang="0">
                    <a:pos x="177" y="22"/>
                  </a:cxn>
                  <a:cxn ang="0">
                    <a:pos x="149" y="10"/>
                  </a:cxn>
                  <a:cxn ang="0">
                    <a:pos x="141" y="8"/>
                  </a:cxn>
                  <a:cxn ang="0">
                    <a:pos x="132" y="10"/>
                  </a:cxn>
                  <a:cxn ang="0">
                    <a:pos x="121" y="6"/>
                  </a:cxn>
                  <a:cxn ang="0">
                    <a:pos x="118" y="15"/>
                  </a:cxn>
                  <a:cxn ang="0">
                    <a:pos x="99" y="8"/>
                  </a:cxn>
                  <a:cxn ang="0">
                    <a:pos x="94" y="19"/>
                  </a:cxn>
                  <a:cxn ang="0">
                    <a:pos x="80" y="20"/>
                  </a:cxn>
                  <a:cxn ang="0">
                    <a:pos x="83" y="39"/>
                  </a:cxn>
                  <a:cxn ang="0">
                    <a:pos x="132" y="114"/>
                  </a:cxn>
                  <a:cxn ang="0">
                    <a:pos x="154" y="126"/>
                  </a:cxn>
                  <a:cxn ang="0">
                    <a:pos x="149" y="154"/>
                  </a:cxn>
                  <a:cxn ang="0">
                    <a:pos x="139" y="146"/>
                  </a:cxn>
                  <a:cxn ang="0">
                    <a:pos x="130" y="135"/>
                  </a:cxn>
                  <a:cxn ang="0">
                    <a:pos x="108" y="76"/>
                  </a:cxn>
                  <a:cxn ang="0">
                    <a:pos x="115" y="104"/>
                  </a:cxn>
                  <a:cxn ang="0">
                    <a:pos x="134" y="107"/>
                  </a:cxn>
                  <a:cxn ang="0">
                    <a:pos x="121" y="93"/>
                  </a:cxn>
                  <a:cxn ang="0">
                    <a:pos x="14" y="113"/>
                  </a:cxn>
                  <a:cxn ang="0">
                    <a:pos x="9" y="95"/>
                  </a:cxn>
                  <a:cxn ang="0">
                    <a:pos x="17" y="118"/>
                  </a:cxn>
                  <a:cxn ang="0">
                    <a:pos x="73" y="186"/>
                  </a:cxn>
                  <a:cxn ang="0">
                    <a:pos x="66" y="173"/>
                  </a:cxn>
                  <a:cxn ang="0">
                    <a:pos x="48" y="159"/>
                  </a:cxn>
                  <a:cxn ang="0">
                    <a:pos x="50" y="147"/>
                  </a:cxn>
                  <a:cxn ang="0">
                    <a:pos x="52" y="140"/>
                  </a:cxn>
                  <a:cxn ang="0">
                    <a:pos x="76" y="130"/>
                  </a:cxn>
                  <a:cxn ang="0">
                    <a:pos x="50" y="135"/>
                  </a:cxn>
                  <a:cxn ang="0">
                    <a:pos x="45" y="125"/>
                  </a:cxn>
                  <a:cxn ang="0">
                    <a:pos x="68" y="109"/>
                  </a:cxn>
                  <a:cxn ang="0">
                    <a:pos x="68" y="92"/>
                  </a:cxn>
                  <a:cxn ang="0">
                    <a:pos x="55" y="93"/>
                  </a:cxn>
                  <a:cxn ang="0">
                    <a:pos x="45" y="93"/>
                  </a:cxn>
                  <a:cxn ang="0">
                    <a:pos x="35" y="119"/>
                  </a:cxn>
                  <a:cxn ang="0">
                    <a:pos x="26" y="100"/>
                  </a:cxn>
                  <a:cxn ang="0">
                    <a:pos x="9" y="85"/>
                  </a:cxn>
                  <a:cxn ang="0">
                    <a:pos x="14" y="81"/>
                  </a:cxn>
                  <a:cxn ang="0">
                    <a:pos x="7" y="76"/>
                  </a:cxn>
                  <a:cxn ang="0">
                    <a:pos x="3" y="46"/>
                  </a:cxn>
                  <a:cxn ang="0">
                    <a:pos x="17" y="45"/>
                  </a:cxn>
                  <a:cxn ang="0">
                    <a:pos x="22" y="50"/>
                  </a:cxn>
                  <a:cxn ang="0">
                    <a:pos x="31" y="57"/>
                  </a:cxn>
                  <a:cxn ang="0">
                    <a:pos x="40" y="45"/>
                  </a:cxn>
                  <a:cxn ang="0">
                    <a:pos x="50" y="73"/>
                  </a:cxn>
                  <a:cxn ang="0">
                    <a:pos x="55" y="59"/>
                  </a:cxn>
                  <a:cxn ang="0">
                    <a:pos x="64" y="36"/>
                  </a:cxn>
                  <a:cxn ang="0">
                    <a:pos x="76" y="64"/>
                  </a:cxn>
                  <a:cxn ang="0">
                    <a:pos x="99" y="69"/>
                  </a:cxn>
                  <a:cxn ang="0">
                    <a:pos x="113" y="92"/>
                  </a:cxn>
                  <a:cxn ang="0">
                    <a:pos x="99" y="123"/>
                  </a:cxn>
                  <a:cxn ang="0">
                    <a:pos x="90" y="149"/>
                  </a:cxn>
                  <a:cxn ang="0">
                    <a:pos x="87" y="186"/>
                  </a:cxn>
                </a:cxnLst>
                <a:rect l="0" t="0" r="r" b="b"/>
                <a:pathLst>
                  <a:path w="181" h="194">
                    <a:moveTo>
                      <a:pt x="81" y="19"/>
                    </a:moveTo>
                    <a:lnTo>
                      <a:pt x="80" y="15"/>
                    </a:lnTo>
                    <a:lnTo>
                      <a:pt x="78" y="13"/>
                    </a:lnTo>
                    <a:lnTo>
                      <a:pt x="80" y="12"/>
                    </a:lnTo>
                    <a:lnTo>
                      <a:pt x="81" y="10"/>
                    </a:lnTo>
                    <a:lnTo>
                      <a:pt x="83" y="12"/>
                    </a:lnTo>
                    <a:lnTo>
                      <a:pt x="85" y="13"/>
                    </a:lnTo>
                    <a:lnTo>
                      <a:pt x="85" y="15"/>
                    </a:lnTo>
                    <a:lnTo>
                      <a:pt x="83" y="17"/>
                    </a:lnTo>
                    <a:lnTo>
                      <a:pt x="81" y="19"/>
                    </a:lnTo>
                    <a:lnTo>
                      <a:pt x="81" y="19"/>
                    </a:lnTo>
                    <a:lnTo>
                      <a:pt x="81" y="19"/>
                    </a:lnTo>
                    <a:lnTo>
                      <a:pt x="81" y="19"/>
                    </a:lnTo>
                    <a:close/>
                    <a:moveTo>
                      <a:pt x="99" y="45"/>
                    </a:moveTo>
                    <a:lnTo>
                      <a:pt x="99" y="45"/>
                    </a:lnTo>
                    <a:lnTo>
                      <a:pt x="99" y="43"/>
                    </a:lnTo>
                    <a:lnTo>
                      <a:pt x="102" y="41"/>
                    </a:lnTo>
                    <a:lnTo>
                      <a:pt x="104" y="39"/>
                    </a:lnTo>
                    <a:lnTo>
                      <a:pt x="111" y="39"/>
                    </a:lnTo>
                    <a:lnTo>
                      <a:pt x="116" y="39"/>
                    </a:lnTo>
                    <a:lnTo>
                      <a:pt x="118" y="38"/>
                    </a:lnTo>
                    <a:lnTo>
                      <a:pt x="121" y="38"/>
                    </a:lnTo>
                    <a:lnTo>
                      <a:pt x="121" y="38"/>
                    </a:lnTo>
                    <a:lnTo>
                      <a:pt x="121" y="39"/>
                    </a:lnTo>
                    <a:lnTo>
                      <a:pt x="121" y="41"/>
                    </a:lnTo>
                    <a:lnTo>
                      <a:pt x="118" y="43"/>
                    </a:lnTo>
                    <a:lnTo>
                      <a:pt x="118" y="45"/>
                    </a:lnTo>
                    <a:lnTo>
                      <a:pt x="115" y="43"/>
                    </a:lnTo>
                    <a:lnTo>
                      <a:pt x="109" y="45"/>
                    </a:lnTo>
                    <a:lnTo>
                      <a:pt x="106" y="43"/>
                    </a:lnTo>
                    <a:lnTo>
                      <a:pt x="106" y="45"/>
                    </a:lnTo>
                    <a:lnTo>
                      <a:pt x="108" y="46"/>
                    </a:lnTo>
                    <a:lnTo>
                      <a:pt x="113" y="46"/>
                    </a:lnTo>
                    <a:lnTo>
                      <a:pt x="115" y="48"/>
                    </a:lnTo>
                    <a:lnTo>
                      <a:pt x="115" y="50"/>
                    </a:lnTo>
                    <a:lnTo>
                      <a:pt x="113" y="50"/>
                    </a:lnTo>
                    <a:lnTo>
                      <a:pt x="109" y="48"/>
                    </a:lnTo>
                    <a:lnTo>
                      <a:pt x="108" y="50"/>
                    </a:lnTo>
                    <a:lnTo>
                      <a:pt x="106" y="50"/>
                    </a:lnTo>
                    <a:lnTo>
                      <a:pt x="102" y="48"/>
                    </a:lnTo>
                    <a:lnTo>
                      <a:pt x="99" y="46"/>
                    </a:lnTo>
                    <a:lnTo>
                      <a:pt x="95" y="48"/>
                    </a:lnTo>
                    <a:lnTo>
                      <a:pt x="95" y="50"/>
                    </a:lnTo>
                    <a:lnTo>
                      <a:pt x="99" y="50"/>
                    </a:lnTo>
                    <a:lnTo>
                      <a:pt x="104" y="55"/>
                    </a:lnTo>
                    <a:lnTo>
                      <a:pt x="106" y="55"/>
                    </a:lnTo>
                    <a:lnTo>
                      <a:pt x="109" y="53"/>
                    </a:lnTo>
                    <a:lnTo>
                      <a:pt x="111" y="55"/>
                    </a:lnTo>
                    <a:lnTo>
                      <a:pt x="113" y="59"/>
                    </a:lnTo>
                    <a:lnTo>
                      <a:pt x="113" y="60"/>
                    </a:lnTo>
                    <a:lnTo>
                      <a:pt x="115" y="62"/>
                    </a:lnTo>
                    <a:lnTo>
                      <a:pt x="118" y="60"/>
                    </a:lnTo>
                    <a:lnTo>
                      <a:pt x="121" y="60"/>
                    </a:lnTo>
                    <a:lnTo>
                      <a:pt x="127" y="59"/>
                    </a:lnTo>
                    <a:lnTo>
                      <a:pt x="130" y="59"/>
                    </a:lnTo>
                    <a:lnTo>
                      <a:pt x="134" y="57"/>
                    </a:lnTo>
                    <a:lnTo>
                      <a:pt x="135" y="59"/>
                    </a:lnTo>
                    <a:lnTo>
                      <a:pt x="134" y="62"/>
                    </a:lnTo>
                    <a:lnTo>
                      <a:pt x="135" y="66"/>
                    </a:lnTo>
                    <a:lnTo>
                      <a:pt x="139" y="69"/>
                    </a:lnTo>
                    <a:lnTo>
                      <a:pt x="142" y="69"/>
                    </a:lnTo>
                    <a:lnTo>
                      <a:pt x="148" y="67"/>
                    </a:lnTo>
                    <a:lnTo>
                      <a:pt x="149" y="66"/>
                    </a:lnTo>
                    <a:lnTo>
                      <a:pt x="149" y="64"/>
                    </a:lnTo>
                    <a:lnTo>
                      <a:pt x="149" y="62"/>
                    </a:lnTo>
                    <a:lnTo>
                      <a:pt x="149" y="60"/>
                    </a:lnTo>
                    <a:lnTo>
                      <a:pt x="153" y="57"/>
                    </a:lnTo>
                    <a:lnTo>
                      <a:pt x="154" y="57"/>
                    </a:lnTo>
                    <a:lnTo>
                      <a:pt x="158" y="59"/>
                    </a:lnTo>
                    <a:lnTo>
                      <a:pt x="160" y="60"/>
                    </a:lnTo>
                    <a:lnTo>
                      <a:pt x="161" y="60"/>
                    </a:lnTo>
                    <a:lnTo>
                      <a:pt x="167" y="57"/>
                    </a:lnTo>
                    <a:lnTo>
                      <a:pt x="167" y="55"/>
                    </a:lnTo>
                    <a:lnTo>
                      <a:pt x="167" y="50"/>
                    </a:lnTo>
                    <a:lnTo>
                      <a:pt x="165" y="50"/>
                    </a:lnTo>
                    <a:lnTo>
                      <a:pt x="168" y="48"/>
                    </a:lnTo>
                    <a:lnTo>
                      <a:pt x="170" y="45"/>
                    </a:lnTo>
                    <a:lnTo>
                      <a:pt x="172" y="39"/>
                    </a:lnTo>
                    <a:lnTo>
                      <a:pt x="175" y="36"/>
                    </a:lnTo>
                    <a:lnTo>
                      <a:pt x="177" y="33"/>
                    </a:lnTo>
                    <a:lnTo>
                      <a:pt x="181" y="31"/>
                    </a:lnTo>
                    <a:lnTo>
                      <a:pt x="181" y="27"/>
                    </a:lnTo>
                    <a:lnTo>
                      <a:pt x="177" y="26"/>
                    </a:lnTo>
                    <a:lnTo>
                      <a:pt x="177" y="22"/>
                    </a:lnTo>
                    <a:lnTo>
                      <a:pt x="177" y="20"/>
                    </a:lnTo>
                    <a:lnTo>
                      <a:pt x="177" y="19"/>
                    </a:lnTo>
                    <a:lnTo>
                      <a:pt x="177" y="17"/>
                    </a:lnTo>
                    <a:lnTo>
                      <a:pt x="172" y="17"/>
                    </a:lnTo>
                    <a:lnTo>
                      <a:pt x="170" y="15"/>
                    </a:lnTo>
                    <a:lnTo>
                      <a:pt x="168" y="15"/>
                    </a:lnTo>
                    <a:lnTo>
                      <a:pt x="161" y="15"/>
                    </a:lnTo>
                    <a:lnTo>
                      <a:pt x="160" y="15"/>
                    </a:lnTo>
                    <a:lnTo>
                      <a:pt x="158" y="13"/>
                    </a:lnTo>
                    <a:lnTo>
                      <a:pt x="153" y="13"/>
                    </a:lnTo>
                    <a:lnTo>
                      <a:pt x="153" y="12"/>
                    </a:lnTo>
                    <a:lnTo>
                      <a:pt x="149" y="10"/>
                    </a:lnTo>
                    <a:lnTo>
                      <a:pt x="149" y="8"/>
                    </a:lnTo>
                    <a:lnTo>
                      <a:pt x="148" y="10"/>
                    </a:lnTo>
                    <a:lnTo>
                      <a:pt x="148" y="10"/>
                    </a:lnTo>
                    <a:lnTo>
                      <a:pt x="148" y="6"/>
                    </a:lnTo>
                    <a:lnTo>
                      <a:pt x="148" y="5"/>
                    </a:lnTo>
                    <a:lnTo>
                      <a:pt x="146" y="6"/>
                    </a:lnTo>
                    <a:lnTo>
                      <a:pt x="144" y="10"/>
                    </a:lnTo>
                    <a:lnTo>
                      <a:pt x="142" y="10"/>
                    </a:lnTo>
                    <a:lnTo>
                      <a:pt x="142" y="6"/>
                    </a:lnTo>
                    <a:lnTo>
                      <a:pt x="141" y="5"/>
                    </a:lnTo>
                    <a:lnTo>
                      <a:pt x="141" y="6"/>
                    </a:lnTo>
                    <a:lnTo>
                      <a:pt x="141" y="8"/>
                    </a:lnTo>
                    <a:lnTo>
                      <a:pt x="141" y="10"/>
                    </a:lnTo>
                    <a:lnTo>
                      <a:pt x="137" y="13"/>
                    </a:lnTo>
                    <a:lnTo>
                      <a:pt x="137" y="15"/>
                    </a:lnTo>
                    <a:lnTo>
                      <a:pt x="137" y="19"/>
                    </a:lnTo>
                    <a:lnTo>
                      <a:pt x="134" y="17"/>
                    </a:lnTo>
                    <a:lnTo>
                      <a:pt x="134" y="15"/>
                    </a:lnTo>
                    <a:lnTo>
                      <a:pt x="132" y="15"/>
                    </a:lnTo>
                    <a:lnTo>
                      <a:pt x="132" y="17"/>
                    </a:lnTo>
                    <a:lnTo>
                      <a:pt x="132" y="19"/>
                    </a:lnTo>
                    <a:lnTo>
                      <a:pt x="130" y="17"/>
                    </a:lnTo>
                    <a:lnTo>
                      <a:pt x="130" y="15"/>
                    </a:lnTo>
                    <a:lnTo>
                      <a:pt x="132" y="10"/>
                    </a:lnTo>
                    <a:lnTo>
                      <a:pt x="132" y="5"/>
                    </a:lnTo>
                    <a:lnTo>
                      <a:pt x="130" y="3"/>
                    </a:lnTo>
                    <a:lnTo>
                      <a:pt x="127" y="0"/>
                    </a:lnTo>
                    <a:lnTo>
                      <a:pt x="127" y="0"/>
                    </a:lnTo>
                    <a:lnTo>
                      <a:pt x="125" y="0"/>
                    </a:lnTo>
                    <a:lnTo>
                      <a:pt x="125" y="3"/>
                    </a:lnTo>
                    <a:lnTo>
                      <a:pt x="127" y="3"/>
                    </a:lnTo>
                    <a:lnTo>
                      <a:pt x="127" y="5"/>
                    </a:lnTo>
                    <a:lnTo>
                      <a:pt x="125" y="5"/>
                    </a:lnTo>
                    <a:lnTo>
                      <a:pt x="121" y="3"/>
                    </a:lnTo>
                    <a:lnTo>
                      <a:pt x="121" y="3"/>
                    </a:lnTo>
                    <a:lnTo>
                      <a:pt x="121" y="6"/>
                    </a:lnTo>
                    <a:lnTo>
                      <a:pt x="125" y="10"/>
                    </a:lnTo>
                    <a:lnTo>
                      <a:pt x="125" y="13"/>
                    </a:lnTo>
                    <a:lnTo>
                      <a:pt x="125" y="17"/>
                    </a:lnTo>
                    <a:lnTo>
                      <a:pt x="125" y="20"/>
                    </a:lnTo>
                    <a:lnTo>
                      <a:pt x="127" y="26"/>
                    </a:lnTo>
                    <a:lnTo>
                      <a:pt x="125" y="27"/>
                    </a:lnTo>
                    <a:lnTo>
                      <a:pt x="125" y="27"/>
                    </a:lnTo>
                    <a:lnTo>
                      <a:pt x="121" y="26"/>
                    </a:lnTo>
                    <a:lnTo>
                      <a:pt x="118" y="22"/>
                    </a:lnTo>
                    <a:lnTo>
                      <a:pt x="116" y="20"/>
                    </a:lnTo>
                    <a:lnTo>
                      <a:pt x="116" y="19"/>
                    </a:lnTo>
                    <a:lnTo>
                      <a:pt x="118" y="15"/>
                    </a:lnTo>
                    <a:lnTo>
                      <a:pt x="118" y="13"/>
                    </a:lnTo>
                    <a:lnTo>
                      <a:pt x="116" y="13"/>
                    </a:lnTo>
                    <a:lnTo>
                      <a:pt x="113" y="15"/>
                    </a:lnTo>
                    <a:lnTo>
                      <a:pt x="111" y="15"/>
                    </a:lnTo>
                    <a:lnTo>
                      <a:pt x="109" y="15"/>
                    </a:lnTo>
                    <a:lnTo>
                      <a:pt x="108" y="19"/>
                    </a:lnTo>
                    <a:lnTo>
                      <a:pt x="104" y="17"/>
                    </a:lnTo>
                    <a:lnTo>
                      <a:pt x="104" y="15"/>
                    </a:lnTo>
                    <a:lnTo>
                      <a:pt x="104" y="13"/>
                    </a:lnTo>
                    <a:lnTo>
                      <a:pt x="102" y="13"/>
                    </a:lnTo>
                    <a:lnTo>
                      <a:pt x="101" y="10"/>
                    </a:lnTo>
                    <a:lnTo>
                      <a:pt x="99" y="8"/>
                    </a:lnTo>
                    <a:lnTo>
                      <a:pt x="99" y="6"/>
                    </a:lnTo>
                    <a:lnTo>
                      <a:pt x="95" y="6"/>
                    </a:lnTo>
                    <a:lnTo>
                      <a:pt x="95" y="5"/>
                    </a:lnTo>
                    <a:lnTo>
                      <a:pt x="95" y="3"/>
                    </a:lnTo>
                    <a:lnTo>
                      <a:pt x="94" y="0"/>
                    </a:lnTo>
                    <a:lnTo>
                      <a:pt x="94" y="0"/>
                    </a:lnTo>
                    <a:lnTo>
                      <a:pt x="92" y="3"/>
                    </a:lnTo>
                    <a:lnTo>
                      <a:pt x="90" y="5"/>
                    </a:lnTo>
                    <a:lnTo>
                      <a:pt x="92" y="10"/>
                    </a:lnTo>
                    <a:lnTo>
                      <a:pt x="94" y="13"/>
                    </a:lnTo>
                    <a:lnTo>
                      <a:pt x="94" y="19"/>
                    </a:lnTo>
                    <a:lnTo>
                      <a:pt x="94" y="19"/>
                    </a:lnTo>
                    <a:lnTo>
                      <a:pt x="90" y="17"/>
                    </a:lnTo>
                    <a:lnTo>
                      <a:pt x="90" y="13"/>
                    </a:lnTo>
                    <a:lnTo>
                      <a:pt x="88" y="12"/>
                    </a:lnTo>
                    <a:lnTo>
                      <a:pt x="88" y="15"/>
                    </a:lnTo>
                    <a:lnTo>
                      <a:pt x="88" y="19"/>
                    </a:lnTo>
                    <a:lnTo>
                      <a:pt x="90" y="22"/>
                    </a:lnTo>
                    <a:lnTo>
                      <a:pt x="90" y="22"/>
                    </a:lnTo>
                    <a:lnTo>
                      <a:pt x="90" y="27"/>
                    </a:lnTo>
                    <a:lnTo>
                      <a:pt x="88" y="26"/>
                    </a:lnTo>
                    <a:lnTo>
                      <a:pt x="87" y="22"/>
                    </a:lnTo>
                    <a:lnTo>
                      <a:pt x="85" y="20"/>
                    </a:lnTo>
                    <a:lnTo>
                      <a:pt x="80" y="20"/>
                    </a:lnTo>
                    <a:lnTo>
                      <a:pt x="76" y="19"/>
                    </a:lnTo>
                    <a:lnTo>
                      <a:pt x="76" y="20"/>
                    </a:lnTo>
                    <a:lnTo>
                      <a:pt x="76" y="26"/>
                    </a:lnTo>
                    <a:lnTo>
                      <a:pt x="78" y="22"/>
                    </a:lnTo>
                    <a:lnTo>
                      <a:pt x="81" y="26"/>
                    </a:lnTo>
                    <a:lnTo>
                      <a:pt x="80" y="27"/>
                    </a:lnTo>
                    <a:lnTo>
                      <a:pt x="80" y="27"/>
                    </a:lnTo>
                    <a:lnTo>
                      <a:pt x="83" y="27"/>
                    </a:lnTo>
                    <a:lnTo>
                      <a:pt x="85" y="31"/>
                    </a:lnTo>
                    <a:lnTo>
                      <a:pt x="80" y="33"/>
                    </a:lnTo>
                    <a:lnTo>
                      <a:pt x="80" y="34"/>
                    </a:lnTo>
                    <a:lnTo>
                      <a:pt x="83" y="39"/>
                    </a:lnTo>
                    <a:lnTo>
                      <a:pt x="87" y="41"/>
                    </a:lnTo>
                    <a:lnTo>
                      <a:pt x="88" y="43"/>
                    </a:lnTo>
                    <a:lnTo>
                      <a:pt x="94" y="43"/>
                    </a:lnTo>
                    <a:lnTo>
                      <a:pt x="95" y="43"/>
                    </a:lnTo>
                    <a:lnTo>
                      <a:pt x="99" y="45"/>
                    </a:lnTo>
                    <a:lnTo>
                      <a:pt x="99" y="45"/>
                    </a:lnTo>
                    <a:lnTo>
                      <a:pt x="99" y="45"/>
                    </a:lnTo>
                    <a:lnTo>
                      <a:pt x="99" y="45"/>
                    </a:lnTo>
                    <a:close/>
                    <a:moveTo>
                      <a:pt x="121" y="121"/>
                    </a:moveTo>
                    <a:lnTo>
                      <a:pt x="121" y="118"/>
                    </a:lnTo>
                    <a:lnTo>
                      <a:pt x="127" y="116"/>
                    </a:lnTo>
                    <a:lnTo>
                      <a:pt x="132" y="114"/>
                    </a:lnTo>
                    <a:lnTo>
                      <a:pt x="135" y="113"/>
                    </a:lnTo>
                    <a:lnTo>
                      <a:pt x="141" y="109"/>
                    </a:lnTo>
                    <a:lnTo>
                      <a:pt x="146" y="107"/>
                    </a:lnTo>
                    <a:lnTo>
                      <a:pt x="146" y="111"/>
                    </a:lnTo>
                    <a:lnTo>
                      <a:pt x="149" y="114"/>
                    </a:lnTo>
                    <a:lnTo>
                      <a:pt x="149" y="116"/>
                    </a:lnTo>
                    <a:lnTo>
                      <a:pt x="146" y="118"/>
                    </a:lnTo>
                    <a:lnTo>
                      <a:pt x="146" y="119"/>
                    </a:lnTo>
                    <a:lnTo>
                      <a:pt x="146" y="123"/>
                    </a:lnTo>
                    <a:lnTo>
                      <a:pt x="149" y="126"/>
                    </a:lnTo>
                    <a:lnTo>
                      <a:pt x="153" y="130"/>
                    </a:lnTo>
                    <a:lnTo>
                      <a:pt x="154" y="126"/>
                    </a:lnTo>
                    <a:lnTo>
                      <a:pt x="160" y="126"/>
                    </a:lnTo>
                    <a:lnTo>
                      <a:pt x="161" y="126"/>
                    </a:lnTo>
                    <a:lnTo>
                      <a:pt x="163" y="130"/>
                    </a:lnTo>
                    <a:lnTo>
                      <a:pt x="167" y="130"/>
                    </a:lnTo>
                    <a:lnTo>
                      <a:pt x="165" y="130"/>
                    </a:lnTo>
                    <a:lnTo>
                      <a:pt x="161" y="132"/>
                    </a:lnTo>
                    <a:lnTo>
                      <a:pt x="158" y="137"/>
                    </a:lnTo>
                    <a:lnTo>
                      <a:pt x="158" y="140"/>
                    </a:lnTo>
                    <a:lnTo>
                      <a:pt x="158" y="147"/>
                    </a:lnTo>
                    <a:lnTo>
                      <a:pt x="153" y="149"/>
                    </a:lnTo>
                    <a:lnTo>
                      <a:pt x="149" y="149"/>
                    </a:lnTo>
                    <a:lnTo>
                      <a:pt x="149" y="154"/>
                    </a:lnTo>
                    <a:lnTo>
                      <a:pt x="149" y="154"/>
                    </a:lnTo>
                    <a:lnTo>
                      <a:pt x="146" y="158"/>
                    </a:lnTo>
                    <a:lnTo>
                      <a:pt x="144" y="158"/>
                    </a:lnTo>
                    <a:lnTo>
                      <a:pt x="144" y="154"/>
                    </a:lnTo>
                    <a:lnTo>
                      <a:pt x="146" y="153"/>
                    </a:lnTo>
                    <a:lnTo>
                      <a:pt x="144" y="149"/>
                    </a:lnTo>
                    <a:lnTo>
                      <a:pt x="146" y="144"/>
                    </a:lnTo>
                    <a:lnTo>
                      <a:pt x="146" y="140"/>
                    </a:lnTo>
                    <a:lnTo>
                      <a:pt x="144" y="140"/>
                    </a:lnTo>
                    <a:lnTo>
                      <a:pt x="142" y="140"/>
                    </a:lnTo>
                    <a:lnTo>
                      <a:pt x="141" y="142"/>
                    </a:lnTo>
                    <a:lnTo>
                      <a:pt x="139" y="146"/>
                    </a:lnTo>
                    <a:lnTo>
                      <a:pt x="135" y="147"/>
                    </a:lnTo>
                    <a:lnTo>
                      <a:pt x="134" y="147"/>
                    </a:lnTo>
                    <a:lnTo>
                      <a:pt x="130" y="149"/>
                    </a:lnTo>
                    <a:lnTo>
                      <a:pt x="127" y="149"/>
                    </a:lnTo>
                    <a:lnTo>
                      <a:pt x="125" y="153"/>
                    </a:lnTo>
                    <a:lnTo>
                      <a:pt x="121" y="153"/>
                    </a:lnTo>
                    <a:lnTo>
                      <a:pt x="121" y="149"/>
                    </a:lnTo>
                    <a:lnTo>
                      <a:pt x="125" y="147"/>
                    </a:lnTo>
                    <a:lnTo>
                      <a:pt x="121" y="146"/>
                    </a:lnTo>
                    <a:lnTo>
                      <a:pt x="127" y="142"/>
                    </a:lnTo>
                    <a:lnTo>
                      <a:pt x="127" y="137"/>
                    </a:lnTo>
                    <a:lnTo>
                      <a:pt x="130" y="135"/>
                    </a:lnTo>
                    <a:lnTo>
                      <a:pt x="130" y="130"/>
                    </a:lnTo>
                    <a:lnTo>
                      <a:pt x="130" y="126"/>
                    </a:lnTo>
                    <a:lnTo>
                      <a:pt x="130" y="126"/>
                    </a:lnTo>
                    <a:lnTo>
                      <a:pt x="127" y="126"/>
                    </a:lnTo>
                    <a:lnTo>
                      <a:pt x="121" y="123"/>
                    </a:lnTo>
                    <a:lnTo>
                      <a:pt x="121" y="121"/>
                    </a:lnTo>
                    <a:lnTo>
                      <a:pt x="121" y="121"/>
                    </a:lnTo>
                    <a:lnTo>
                      <a:pt x="121" y="121"/>
                    </a:lnTo>
                    <a:lnTo>
                      <a:pt x="121" y="121"/>
                    </a:lnTo>
                    <a:close/>
                    <a:moveTo>
                      <a:pt x="104" y="73"/>
                    </a:moveTo>
                    <a:lnTo>
                      <a:pt x="106" y="76"/>
                    </a:lnTo>
                    <a:lnTo>
                      <a:pt x="108" y="76"/>
                    </a:lnTo>
                    <a:lnTo>
                      <a:pt x="111" y="79"/>
                    </a:lnTo>
                    <a:lnTo>
                      <a:pt x="115" y="76"/>
                    </a:lnTo>
                    <a:lnTo>
                      <a:pt x="115" y="73"/>
                    </a:lnTo>
                    <a:lnTo>
                      <a:pt x="111" y="73"/>
                    </a:lnTo>
                    <a:lnTo>
                      <a:pt x="106" y="71"/>
                    </a:lnTo>
                    <a:lnTo>
                      <a:pt x="104" y="71"/>
                    </a:lnTo>
                    <a:lnTo>
                      <a:pt x="104" y="73"/>
                    </a:lnTo>
                    <a:lnTo>
                      <a:pt x="104" y="73"/>
                    </a:lnTo>
                    <a:lnTo>
                      <a:pt x="104" y="73"/>
                    </a:lnTo>
                    <a:lnTo>
                      <a:pt x="104" y="73"/>
                    </a:lnTo>
                    <a:close/>
                    <a:moveTo>
                      <a:pt x="111" y="102"/>
                    </a:moveTo>
                    <a:lnTo>
                      <a:pt x="115" y="104"/>
                    </a:lnTo>
                    <a:lnTo>
                      <a:pt x="118" y="104"/>
                    </a:lnTo>
                    <a:lnTo>
                      <a:pt x="118" y="107"/>
                    </a:lnTo>
                    <a:lnTo>
                      <a:pt x="118" y="107"/>
                    </a:lnTo>
                    <a:lnTo>
                      <a:pt x="118" y="109"/>
                    </a:lnTo>
                    <a:lnTo>
                      <a:pt x="121" y="111"/>
                    </a:lnTo>
                    <a:lnTo>
                      <a:pt x="118" y="114"/>
                    </a:lnTo>
                    <a:lnTo>
                      <a:pt x="121" y="113"/>
                    </a:lnTo>
                    <a:lnTo>
                      <a:pt x="125" y="114"/>
                    </a:lnTo>
                    <a:lnTo>
                      <a:pt x="125" y="113"/>
                    </a:lnTo>
                    <a:lnTo>
                      <a:pt x="130" y="109"/>
                    </a:lnTo>
                    <a:lnTo>
                      <a:pt x="132" y="109"/>
                    </a:lnTo>
                    <a:lnTo>
                      <a:pt x="134" y="107"/>
                    </a:lnTo>
                    <a:lnTo>
                      <a:pt x="134" y="107"/>
                    </a:lnTo>
                    <a:lnTo>
                      <a:pt x="134" y="104"/>
                    </a:lnTo>
                    <a:lnTo>
                      <a:pt x="135" y="102"/>
                    </a:lnTo>
                    <a:lnTo>
                      <a:pt x="137" y="99"/>
                    </a:lnTo>
                    <a:lnTo>
                      <a:pt x="135" y="95"/>
                    </a:lnTo>
                    <a:lnTo>
                      <a:pt x="132" y="95"/>
                    </a:lnTo>
                    <a:lnTo>
                      <a:pt x="132" y="93"/>
                    </a:lnTo>
                    <a:lnTo>
                      <a:pt x="130" y="93"/>
                    </a:lnTo>
                    <a:lnTo>
                      <a:pt x="130" y="95"/>
                    </a:lnTo>
                    <a:lnTo>
                      <a:pt x="125" y="95"/>
                    </a:lnTo>
                    <a:lnTo>
                      <a:pt x="125" y="95"/>
                    </a:lnTo>
                    <a:lnTo>
                      <a:pt x="121" y="93"/>
                    </a:lnTo>
                    <a:lnTo>
                      <a:pt x="118" y="95"/>
                    </a:lnTo>
                    <a:lnTo>
                      <a:pt x="118" y="99"/>
                    </a:lnTo>
                    <a:lnTo>
                      <a:pt x="118" y="99"/>
                    </a:lnTo>
                    <a:lnTo>
                      <a:pt x="116" y="99"/>
                    </a:lnTo>
                    <a:lnTo>
                      <a:pt x="113" y="102"/>
                    </a:lnTo>
                    <a:lnTo>
                      <a:pt x="111" y="102"/>
                    </a:lnTo>
                    <a:lnTo>
                      <a:pt x="111" y="102"/>
                    </a:lnTo>
                    <a:lnTo>
                      <a:pt x="111" y="102"/>
                    </a:lnTo>
                    <a:lnTo>
                      <a:pt x="111" y="102"/>
                    </a:lnTo>
                    <a:close/>
                    <a:moveTo>
                      <a:pt x="17" y="118"/>
                    </a:moveTo>
                    <a:lnTo>
                      <a:pt x="14" y="113"/>
                    </a:lnTo>
                    <a:lnTo>
                      <a:pt x="14" y="113"/>
                    </a:lnTo>
                    <a:lnTo>
                      <a:pt x="14" y="109"/>
                    </a:lnTo>
                    <a:lnTo>
                      <a:pt x="10" y="107"/>
                    </a:lnTo>
                    <a:lnTo>
                      <a:pt x="7" y="107"/>
                    </a:lnTo>
                    <a:lnTo>
                      <a:pt x="5" y="104"/>
                    </a:lnTo>
                    <a:lnTo>
                      <a:pt x="5" y="99"/>
                    </a:lnTo>
                    <a:lnTo>
                      <a:pt x="3" y="95"/>
                    </a:lnTo>
                    <a:lnTo>
                      <a:pt x="2" y="93"/>
                    </a:lnTo>
                    <a:lnTo>
                      <a:pt x="2" y="88"/>
                    </a:lnTo>
                    <a:lnTo>
                      <a:pt x="2" y="86"/>
                    </a:lnTo>
                    <a:lnTo>
                      <a:pt x="3" y="88"/>
                    </a:lnTo>
                    <a:lnTo>
                      <a:pt x="7" y="92"/>
                    </a:lnTo>
                    <a:lnTo>
                      <a:pt x="9" y="95"/>
                    </a:lnTo>
                    <a:lnTo>
                      <a:pt x="7" y="99"/>
                    </a:lnTo>
                    <a:lnTo>
                      <a:pt x="10" y="102"/>
                    </a:lnTo>
                    <a:lnTo>
                      <a:pt x="12" y="104"/>
                    </a:lnTo>
                    <a:lnTo>
                      <a:pt x="14" y="104"/>
                    </a:lnTo>
                    <a:lnTo>
                      <a:pt x="14" y="104"/>
                    </a:lnTo>
                    <a:lnTo>
                      <a:pt x="14" y="104"/>
                    </a:lnTo>
                    <a:lnTo>
                      <a:pt x="17" y="107"/>
                    </a:lnTo>
                    <a:lnTo>
                      <a:pt x="17" y="113"/>
                    </a:lnTo>
                    <a:lnTo>
                      <a:pt x="21" y="116"/>
                    </a:lnTo>
                    <a:lnTo>
                      <a:pt x="21" y="118"/>
                    </a:lnTo>
                    <a:lnTo>
                      <a:pt x="17" y="118"/>
                    </a:lnTo>
                    <a:lnTo>
                      <a:pt x="17" y="118"/>
                    </a:lnTo>
                    <a:lnTo>
                      <a:pt x="17" y="118"/>
                    </a:lnTo>
                    <a:lnTo>
                      <a:pt x="17" y="118"/>
                    </a:lnTo>
                    <a:lnTo>
                      <a:pt x="17" y="118"/>
                    </a:lnTo>
                    <a:lnTo>
                      <a:pt x="17" y="118"/>
                    </a:lnTo>
                    <a:close/>
                    <a:moveTo>
                      <a:pt x="80" y="194"/>
                    </a:moveTo>
                    <a:lnTo>
                      <a:pt x="78" y="193"/>
                    </a:lnTo>
                    <a:lnTo>
                      <a:pt x="76" y="193"/>
                    </a:lnTo>
                    <a:lnTo>
                      <a:pt x="76" y="194"/>
                    </a:lnTo>
                    <a:lnTo>
                      <a:pt x="76" y="194"/>
                    </a:lnTo>
                    <a:lnTo>
                      <a:pt x="76" y="193"/>
                    </a:lnTo>
                    <a:lnTo>
                      <a:pt x="76" y="189"/>
                    </a:lnTo>
                    <a:lnTo>
                      <a:pt x="73" y="186"/>
                    </a:lnTo>
                    <a:lnTo>
                      <a:pt x="71" y="186"/>
                    </a:lnTo>
                    <a:lnTo>
                      <a:pt x="68" y="180"/>
                    </a:lnTo>
                    <a:lnTo>
                      <a:pt x="68" y="177"/>
                    </a:lnTo>
                    <a:lnTo>
                      <a:pt x="71" y="177"/>
                    </a:lnTo>
                    <a:lnTo>
                      <a:pt x="71" y="177"/>
                    </a:lnTo>
                    <a:lnTo>
                      <a:pt x="71" y="175"/>
                    </a:lnTo>
                    <a:lnTo>
                      <a:pt x="71" y="173"/>
                    </a:lnTo>
                    <a:lnTo>
                      <a:pt x="71" y="172"/>
                    </a:lnTo>
                    <a:lnTo>
                      <a:pt x="71" y="172"/>
                    </a:lnTo>
                    <a:lnTo>
                      <a:pt x="68" y="172"/>
                    </a:lnTo>
                    <a:lnTo>
                      <a:pt x="68" y="172"/>
                    </a:lnTo>
                    <a:lnTo>
                      <a:pt x="66" y="173"/>
                    </a:lnTo>
                    <a:lnTo>
                      <a:pt x="62" y="175"/>
                    </a:lnTo>
                    <a:lnTo>
                      <a:pt x="59" y="172"/>
                    </a:lnTo>
                    <a:lnTo>
                      <a:pt x="59" y="170"/>
                    </a:lnTo>
                    <a:lnTo>
                      <a:pt x="57" y="168"/>
                    </a:lnTo>
                    <a:lnTo>
                      <a:pt x="55" y="166"/>
                    </a:lnTo>
                    <a:lnTo>
                      <a:pt x="54" y="166"/>
                    </a:lnTo>
                    <a:lnTo>
                      <a:pt x="52" y="166"/>
                    </a:lnTo>
                    <a:lnTo>
                      <a:pt x="50" y="163"/>
                    </a:lnTo>
                    <a:lnTo>
                      <a:pt x="50" y="161"/>
                    </a:lnTo>
                    <a:lnTo>
                      <a:pt x="48" y="159"/>
                    </a:lnTo>
                    <a:lnTo>
                      <a:pt x="48" y="159"/>
                    </a:lnTo>
                    <a:lnTo>
                      <a:pt x="48" y="159"/>
                    </a:lnTo>
                    <a:lnTo>
                      <a:pt x="48" y="158"/>
                    </a:lnTo>
                    <a:lnTo>
                      <a:pt x="45" y="158"/>
                    </a:lnTo>
                    <a:lnTo>
                      <a:pt x="45" y="154"/>
                    </a:lnTo>
                    <a:lnTo>
                      <a:pt x="45" y="154"/>
                    </a:lnTo>
                    <a:lnTo>
                      <a:pt x="45" y="154"/>
                    </a:lnTo>
                    <a:lnTo>
                      <a:pt x="45" y="149"/>
                    </a:lnTo>
                    <a:lnTo>
                      <a:pt x="45" y="149"/>
                    </a:lnTo>
                    <a:lnTo>
                      <a:pt x="43" y="147"/>
                    </a:lnTo>
                    <a:lnTo>
                      <a:pt x="43" y="146"/>
                    </a:lnTo>
                    <a:lnTo>
                      <a:pt x="45" y="144"/>
                    </a:lnTo>
                    <a:lnTo>
                      <a:pt x="48" y="144"/>
                    </a:lnTo>
                    <a:lnTo>
                      <a:pt x="50" y="147"/>
                    </a:lnTo>
                    <a:lnTo>
                      <a:pt x="50" y="147"/>
                    </a:lnTo>
                    <a:lnTo>
                      <a:pt x="52" y="147"/>
                    </a:lnTo>
                    <a:lnTo>
                      <a:pt x="54" y="146"/>
                    </a:lnTo>
                    <a:lnTo>
                      <a:pt x="55" y="147"/>
                    </a:lnTo>
                    <a:lnTo>
                      <a:pt x="57" y="147"/>
                    </a:lnTo>
                    <a:lnTo>
                      <a:pt x="61" y="147"/>
                    </a:lnTo>
                    <a:lnTo>
                      <a:pt x="66" y="147"/>
                    </a:lnTo>
                    <a:lnTo>
                      <a:pt x="68" y="146"/>
                    </a:lnTo>
                    <a:lnTo>
                      <a:pt x="64" y="144"/>
                    </a:lnTo>
                    <a:lnTo>
                      <a:pt x="61" y="144"/>
                    </a:lnTo>
                    <a:lnTo>
                      <a:pt x="55" y="142"/>
                    </a:lnTo>
                    <a:lnTo>
                      <a:pt x="52" y="140"/>
                    </a:lnTo>
                    <a:lnTo>
                      <a:pt x="52" y="140"/>
                    </a:lnTo>
                    <a:lnTo>
                      <a:pt x="55" y="139"/>
                    </a:lnTo>
                    <a:lnTo>
                      <a:pt x="57" y="139"/>
                    </a:lnTo>
                    <a:lnTo>
                      <a:pt x="64" y="137"/>
                    </a:lnTo>
                    <a:lnTo>
                      <a:pt x="68" y="135"/>
                    </a:lnTo>
                    <a:lnTo>
                      <a:pt x="71" y="135"/>
                    </a:lnTo>
                    <a:lnTo>
                      <a:pt x="73" y="135"/>
                    </a:lnTo>
                    <a:lnTo>
                      <a:pt x="73" y="135"/>
                    </a:lnTo>
                    <a:lnTo>
                      <a:pt x="76" y="135"/>
                    </a:lnTo>
                    <a:lnTo>
                      <a:pt x="76" y="132"/>
                    </a:lnTo>
                    <a:lnTo>
                      <a:pt x="76" y="130"/>
                    </a:lnTo>
                    <a:lnTo>
                      <a:pt x="76" y="130"/>
                    </a:lnTo>
                    <a:lnTo>
                      <a:pt x="76" y="130"/>
                    </a:lnTo>
                    <a:lnTo>
                      <a:pt x="73" y="130"/>
                    </a:lnTo>
                    <a:lnTo>
                      <a:pt x="71" y="132"/>
                    </a:lnTo>
                    <a:lnTo>
                      <a:pt x="66" y="132"/>
                    </a:lnTo>
                    <a:lnTo>
                      <a:pt x="62" y="132"/>
                    </a:lnTo>
                    <a:lnTo>
                      <a:pt x="62" y="130"/>
                    </a:lnTo>
                    <a:lnTo>
                      <a:pt x="59" y="130"/>
                    </a:lnTo>
                    <a:lnTo>
                      <a:pt x="59" y="132"/>
                    </a:lnTo>
                    <a:lnTo>
                      <a:pt x="57" y="132"/>
                    </a:lnTo>
                    <a:lnTo>
                      <a:pt x="55" y="135"/>
                    </a:lnTo>
                    <a:lnTo>
                      <a:pt x="52" y="135"/>
                    </a:lnTo>
                    <a:lnTo>
                      <a:pt x="50" y="135"/>
                    </a:lnTo>
                    <a:lnTo>
                      <a:pt x="48" y="137"/>
                    </a:lnTo>
                    <a:lnTo>
                      <a:pt x="45" y="137"/>
                    </a:lnTo>
                    <a:lnTo>
                      <a:pt x="43" y="139"/>
                    </a:lnTo>
                    <a:lnTo>
                      <a:pt x="40" y="139"/>
                    </a:lnTo>
                    <a:lnTo>
                      <a:pt x="40" y="137"/>
                    </a:lnTo>
                    <a:lnTo>
                      <a:pt x="40" y="135"/>
                    </a:lnTo>
                    <a:lnTo>
                      <a:pt x="38" y="130"/>
                    </a:lnTo>
                    <a:lnTo>
                      <a:pt x="40" y="126"/>
                    </a:lnTo>
                    <a:lnTo>
                      <a:pt x="40" y="126"/>
                    </a:lnTo>
                    <a:lnTo>
                      <a:pt x="40" y="125"/>
                    </a:lnTo>
                    <a:lnTo>
                      <a:pt x="43" y="123"/>
                    </a:lnTo>
                    <a:lnTo>
                      <a:pt x="45" y="125"/>
                    </a:lnTo>
                    <a:lnTo>
                      <a:pt x="45" y="126"/>
                    </a:lnTo>
                    <a:lnTo>
                      <a:pt x="45" y="126"/>
                    </a:lnTo>
                    <a:lnTo>
                      <a:pt x="45" y="125"/>
                    </a:lnTo>
                    <a:lnTo>
                      <a:pt x="48" y="123"/>
                    </a:lnTo>
                    <a:lnTo>
                      <a:pt x="50" y="123"/>
                    </a:lnTo>
                    <a:lnTo>
                      <a:pt x="52" y="119"/>
                    </a:lnTo>
                    <a:lnTo>
                      <a:pt x="55" y="116"/>
                    </a:lnTo>
                    <a:lnTo>
                      <a:pt x="59" y="114"/>
                    </a:lnTo>
                    <a:lnTo>
                      <a:pt x="59" y="113"/>
                    </a:lnTo>
                    <a:lnTo>
                      <a:pt x="59" y="111"/>
                    </a:lnTo>
                    <a:lnTo>
                      <a:pt x="64" y="109"/>
                    </a:lnTo>
                    <a:lnTo>
                      <a:pt x="68" y="109"/>
                    </a:lnTo>
                    <a:lnTo>
                      <a:pt x="71" y="107"/>
                    </a:lnTo>
                    <a:lnTo>
                      <a:pt x="76" y="107"/>
                    </a:lnTo>
                    <a:lnTo>
                      <a:pt x="76" y="104"/>
                    </a:lnTo>
                    <a:lnTo>
                      <a:pt x="76" y="104"/>
                    </a:lnTo>
                    <a:lnTo>
                      <a:pt x="76" y="104"/>
                    </a:lnTo>
                    <a:lnTo>
                      <a:pt x="71" y="104"/>
                    </a:lnTo>
                    <a:lnTo>
                      <a:pt x="71" y="107"/>
                    </a:lnTo>
                    <a:lnTo>
                      <a:pt x="68" y="104"/>
                    </a:lnTo>
                    <a:lnTo>
                      <a:pt x="68" y="102"/>
                    </a:lnTo>
                    <a:lnTo>
                      <a:pt x="68" y="99"/>
                    </a:lnTo>
                    <a:lnTo>
                      <a:pt x="68" y="95"/>
                    </a:lnTo>
                    <a:lnTo>
                      <a:pt x="68" y="92"/>
                    </a:lnTo>
                    <a:lnTo>
                      <a:pt x="66" y="92"/>
                    </a:lnTo>
                    <a:lnTo>
                      <a:pt x="66" y="95"/>
                    </a:lnTo>
                    <a:lnTo>
                      <a:pt x="66" y="99"/>
                    </a:lnTo>
                    <a:lnTo>
                      <a:pt x="64" y="102"/>
                    </a:lnTo>
                    <a:lnTo>
                      <a:pt x="59" y="107"/>
                    </a:lnTo>
                    <a:lnTo>
                      <a:pt x="57" y="107"/>
                    </a:lnTo>
                    <a:lnTo>
                      <a:pt x="55" y="107"/>
                    </a:lnTo>
                    <a:lnTo>
                      <a:pt x="54" y="102"/>
                    </a:lnTo>
                    <a:lnTo>
                      <a:pt x="55" y="100"/>
                    </a:lnTo>
                    <a:lnTo>
                      <a:pt x="57" y="99"/>
                    </a:lnTo>
                    <a:lnTo>
                      <a:pt x="57" y="95"/>
                    </a:lnTo>
                    <a:lnTo>
                      <a:pt x="55" y="93"/>
                    </a:lnTo>
                    <a:lnTo>
                      <a:pt x="55" y="90"/>
                    </a:lnTo>
                    <a:lnTo>
                      <a:pt x="54" y="88"/>
                    </a:lnTo>
                    <a:lnTo>
                      <a:pt x="52" y="88"/>
                    </a:lnTo>
                    <a:lnTo>
                      <a:pt x="52" y="90"/>
                    </a:lnTo>
                    <a:lnTo>
                      <a:pt x="52" y="95"/>
                    </a:lnTo>
                    <a:lnTo>
                      <a:pt x="52" y="99"/>
                    </a:lnTo>
                    <a:lnTo>
                      <a:pt x="50" y="100"/>
                    </a:lnTo>
                    <a:lnTo>
                      <a:pt x="48" y="99"/>
                    </a:lnTo>
                    <a:lnTo>
                      <a:pt x="50" y="95"/>
                    </a:lnTo>
                    <a:lnTo>
                      <a:pt x="48" y="93"/>
                    </a:lnTo>
                    <a:lnTo>
                      <a:pt x="48" y="93"/>
                    </a:lnTo>
                    <a:lnTo>
                      <a:pt x="45" y="93"/>
                    </a:lnTo>
                    <a:lnTo>
                      <a:pt x="45" y="95"/>
                    </a:lnTo>
                    <a:lnTo>
                      <a:pt x="45" y="99"/>
                    </a:lnTo>
                    <a:lnTo>
                      <a:pt x="45" y="102"/>
                    </a:lnTo>
                    <a:lnTo>
                      <a:pt x="48" y="104"/>
                    </a:lnTo>
                    <a:lnTo>
                      <a:pt x="48" y="107"/>
                    </a:lnTo>
                    <a:lnTo>
                      <a:pt x="48" y="111"/>
                    </a:lnTo>
                    <a:lnTo>
                      <a:pt x="48" y="109"/>
                    </a:lnTo>
                    <a:lnTo>
                      <a:pt x="45" y="111"/>
                    </a:lnTo>
                    <a:lnTo>
                      <a:pt x="43" y="114"/>
                    </a:lnTo>
                    <a:lnTo>
                      <a:pt x="43" y="118"/>
                    </a:lnTo>
                    <a:lnTo>
                      <a:pt x="40" y="119"/>
                    </a:lnTo>
                    <a:lnTo>
                      <a:pt x="35" y="119"/>
                    </a:lnTo>
                    <a:lnTo>
                      <a:pt x="31" y="119"/>
                    </a:lnTo>
                    <a:lnTo>
                      <a:pt x="31" y="118"/>
                    </a:lnTo>
                    <a:lnTo>
                      <a:pt x="33" y="116"/>
                    </a:lnTo>
                    <a:lnTo>
                      <a:pt x="31" y="113"/>
                    </a:lnTo>
                    <a:lnTo>
                      <a:pt x="28" y="109"/>
                    </a:lnTo>
                    <a:lnTo>
                      <a:pt x="26" y="109"/>
                    </a:lnTo>
                    <a:lnTo>
                      <a:pt x="26" y="109"/>
                    </a:lnTo>
                    <a:lnTo>
                      <a:pt x="21" y="107"/>
                    </a:lnTo>
                    <a:lnTo>
                      <a:pt x="21" y="104"/>
                    </a:lnTo>
                    <a:lnTo>
                      <a:pt x="26" y="104"/>
                    </a:lnTo>
                    <a:lnTo>
                      <a:pt x="28" y="102"/>
                    </a:lnTo>
                    <a:lnTo>
                      <a:pt x="26" y="100"/>
                    </a:lnTo>
                    <a:lnTo>
                      <a:pt x="26" y="100"/>
                    </a:lnTo>
                    <a:lnTo>
                      <a:pt x="22" y="102"/>
                    </a:lnTo>
                    <a:lnTo>
                      <a:pt x="21" y="100"/>
                    </a:lnTo>
                    <a:lnTo>
                      <a:pt x="21" y="99"/>
                    </a:lnTo>
                    <a:lnTo>
                      <a:pt x="17" y="95"/>
                    </a:lnTo>
                    <a:lnTo>
                      <a:pt x="14" y="95"/>
                    </a:lnTo>
                    <a:lnTo>
                      <a:pt x="14" y="92"/>
                    </a:lnTo>
                    <a:lnTo>
                      <a:pt x="14" y="90"/>
                    </a:lnTo>
                    <a:lnTo>
                      <a:pt x="14" y="90"/>
                    </a:lnTo>
                    <a:lnTo>
                      <a:pt x="14" y="88"/>
                    </a:lnTo>
                    <a:lnTo>
                      <a:pt x="10" y="86"/>
                    </a:lnTo>
                    <a:lnTo>
                      <a:pt x="9" y="85"/>
                    </a:lnTo>
                    <a:lnTo>
                      <a:pt x="9" y="81"/>
                    </a:lnTo>
                    <a:lnTo>
                      <a:pt x="10" y="81"/>
                    </a:lnTo>
                    <a:lnTo>
                      <a:pt x="14" y="85"/>
                    </a:lnTo>
                    <a:lnTo>
                      <a:pt x="14" y="86"/>
                    </a:lnTo>
                    <a:lnTo>
                      <a:pt x="14" y="86"/>
                    </a:lnTo>
                    <a:lnTo>
                      <a:pt x="17" y="86"/>
                    </a:lnTo>
                    <a:lnTo>
                      <a:pt x="17" y="85"/>
                    </a:lnTo>
                    <a:lnTo>
                      <a:pt x="17" y="81"/>
                    </a:lnTo>
                    <a:lnTo>
                      <a:pt x="17" y="81"/>
                    </a:lnTo>
                    <a:lnTo>
                      <a:pt x="17" y="81"/>
                    </a:lnTo>
                    <a:lnTo>
                      <a:pt x="14" y="81"/>
                    </a:lnTo>
                    <a:lnTo>
                      <a:pt x="14" y="81"/>
                    </a:lnTo>
                    <a:lnTo>
                      <a:pt x="12" y="76"/>
                    </a:lnTo>
                    <a:lnTo>
                      <a:pt x="12" y="76"/>
                    </a:lnTo>
                    <a:lnTo>
                      <a:pt x="12" y="76"/>
                    </a:lnTo>
                    <a:lnTo>
                      <a:pt x="14" y="71"/>
                    </a:lnTo>
                    <a:lnTo>
                      <a:pt x="14" y="67"/>
                    </a:lnTo>
                    <a:lnTo>
                      <a:pt x="14" y="67"/>
                    </a:lnTo>
                    <a:lnTo>
                      <a:pt x="12" y="67"/>
                    </a:lnTo>
                    <a:lnTo>
                      <a:pt x="10" y="66"/>
                    </a:lnTo>
                    <a:lnTo>
                      <a:pt x="9" y="66"/>
                    </a:lnTo>
                    <a:lnTo>
                      <a:pt x="9" y="71"/>
                    </a:lnTo>
                    <a:lnTo>
                      <a:pt x="9" y="73"/>
                    </a:lnTo>
                    <a:lnTo>
                      <a:pt x="7" y="76"/>
                    </a:lnTo>
                    <a:lnTo>
                      <a:pt x="5" y="76"/>
                    </a:lnTo>
                    <a:lnTo>
                      <a:pt x="5" y="73"/>
                    </a:lnTo>
                    <a:lnTo>
                      <a:pt x="0" y="69"/>
                    </a:lnTo>
                    <a:lnTo>
                      <a:pt x="0" y="64"/>
                    </a:lnTo>
                    <a:lnTo>
                      <a:pt x="0" y="60"/>
                    </a:lnTo>
                    <a:lnTo>
                      <a:pt x="0" y="57"/>
                    </a:lnTo>
                    <a:lnTo>
                      <a:pt x="2" y="57"/>
                    </a:lnTo>
                    <a:lnTo>
                      <a:pt x="3" y="53"/>
                    </a:lnTo>
                    <a:lnTo>
                      <a:pt x="5" y="53"/>
                    </a:lnTo>
                    <a:lnTo>
                      <a:pt x="5" y="50"/>
                    </a:lnTo>
                    <a:lnTo>
                      <a:pt x="3" y="50"/>
                    </a:lnTo>
                    <a:lnTo>
                      <a:pt x="3" y="46"/>
                    </a:lnTo>
                    <a:lnTo>
                      <a:pt x="7" y="43"/>
                    </a:lnTo>
                    <a:lnTo>
                      <a:pt x="10" y="43"/>
                    </a:lnTo>
                    <a:lnTo>
                      <a:pt x="12" y="48"/>
                    </a:lnTo>
                    <a:lnTo>
                      <a:pt x="14" y="50"/>
                    </a:lnTo>
                    <a:lnTo>
                      <a:pt x="14" y="50"/>
                    </a:lnTo>
                    <a:lnTo>
                      <a:pt x="17" y="50"/>
                    </a:lnTo>
                    <a:lnTo>
                      <a:pt x="14" y="45"/>
                    </a:lnTo>
                    <a:lnTo>
                      <a:pt x="14" y="41"/>
                    </a:lnTo>
                    <a:lnTo>
                      <a:pt x="14" y="41"/>
                    </a:lnTo>
                    <a:lnTo>
                      <a:pt x="17" y="41"/>
                    </a:lnTo>
                    <a:lnTo>
                      <a:pt x="17" y="45"/>
                    </a:lnTo>
                    <a:lnTo>
                      <a:pt x="17" y="45"/>
                    </a:lnTo>
                    <a:lnTo>
                      <a:pt x="21" y="45"/>
                    </a:lnTo>
                    <a:lnTo>
                      <a:pt x="26" y="38"/>
                    </a:lnTo>
                    <a:lnTo>
                      <a:pt x="31" y="38"/>
                    </a:lnTo>
                    <a:lnTo>
                      <a:pt x="33" y="39"/>
                    </a:lnTo>
                    <a:lnTo>
                      <a:pt x="35" y="43"/>
                    </a:lnTo>
                    <a:lnTo>
                      <a:pt x="35" y="46"/>
                    </a:lnTo>
                    <a:lnTo>
                      <a:pt x="31" y="48"/>
                    </a:lnTo>
                    <a:lnTo>
                      <a:pt x="29" y="48"/>
                    </a:lnTo>
                    <a:lnTo>
                      <a:pt x="29" y="46"/>
                    </a:lnTo>
                    <a:lnTo>
                      <a:pt x="28" y="46"/>
                    </a:lnTo>
                    <a:lnTo>
                      <a:pt x="22" y="50"/>
                    </a:lnTo>
                    <a:lnTo>
                      <a:pt x="22" y="50"/>
                    </a:lnTo>
                    <a:lnTo>
                      <a:pt x="21" y="50"/>
                    </a:lnTo>
                    <a:lnTo>
                      <a:pt x="21" y="53"/>
                    </a:lnTo>
                    <a:lnTo>
                      <a:pt x="22" y="53"/>
                    </a:lnTo>
                    <a:lnTo>
                      <a:pt x="26" y="53"/>
                    </a:lnTo>
                    <a:lnTo>
                      <a:pt x="29" y="50"/>
                    </a:lnTo>
                    <a:lnTo>
                      <a:pt x="31" y="53"/>
                    </a:lnTo>
                    <a:lnTo>
                      <a:pt x="31" y="53"/>
                    </a:lnTo>
                    <a:lnTo>
                      <a:pt x="28" y="55"/>
                    </a:lnTo>
                    <a:lnTo>
                      <a:pt x="28" y="57"/>
                    </a:lnTo>
                    <a:lnTo>
                      <a:pt x="29" y="59"/>
                    </a:lnTo>
                    <a:lnTo>
                      <a:pt x="29" y="57"/>
                    </a:lnTo>
                    <a:lnTo>
                      <a:pt x="31" y="57"/>
                    </a:lnTo>
                    <a:lnTo>
                      <a:pt x="33" y="59"/>
                    </a:lnTo>
                    <a:lnTo>
                      <a:pt x="35" y="60"/>
                    </a:lnTo>
                    <a:lnTo>
                      <a:pt x="35" y="62"/>
                    </a:lnTo>
                    <a:lnTo>
                      <a:pt x="35" y="67"/>
                    </a:lnTo>
                    <a:lnTo>
                      <a:pt x="36" y="69"/>
                    </a:lnTo>
                    <a:lnTo>
                      <a:pt x="38" y="69"/>
                    </a:lnTo>
                    <a:lnTo>
                      <a:pt x="38" y="64"/>
                    </a:lnTo>
                    <a:lnTo>
                      <a:pt x="35" y="60"/>
                    </a:lnTo>
                    <a:lnTo>
                      <a:pt x="35" y="57"/>
                    </a:lnTo>
                    <a:lnTo>
                      <a:pt x="36" y="53"/>
                    </a:lnTo>
                    <a:lnTo>
                      <a:pt x="40" y="48"/>
                    </a:lnTo>
                    <a:lnTo>
                      <a:pt x="40" y="45"/>
                    </a:lnTo>
                    <a:lnTo>
                      <a:pt x="40" y="43"/>
                    </a:lnTo>
                    <a:lnTo>
                      <a:pt x="43" y="43"/>
                    </a:lnTo>
                    <a:lnTo>
                      <a:pt x="45" y="48"/>
                    </a:lnTo>
                    <a:lnTo>
                      <a:pt x="48" y="50"/>
                    </a:lnTo>
                    <a:lnTo>
                      <a:pt x="48" y="50"/>
                    </a:lnTo>
                    <a:lnTo>
                      <a:pt x="48" y="57"/>
                    </a:lnTo>
                    <a:lnTo>
                      <a:pt x="52" y="66"/>
                    </a:lnTo>
                    <a:lnTo>
                      <a:pt x="52" y="67"/>
                    </a:lnTo>
                    <a:lnTo>
                      <a:pt x="52" y="71"/>
                    </a:lnTo>
                    <a:lnTo>
                      <a:pt x="48" y="73"/>
                    </a:lnTo>
                    <a:lnTo>
                      <a:pt x="48" y="73"/>
                    </a:lnTo>
                    <a:lnTo>
                      <a:pt x="50" y="73"/>
                    </a:lnTo>
                    <a:lnTo>
                      <a:pt x="52" y="73"/>
                    </a:lnTo>
                    <a:lnTo>
                      <a:pt x="55" y="73"/>
                    </a:lnTo>
                    <a:lnTo>
                      <a:pt x="57" y="76"/>
                    </a:lnTo>
                    <a:lnTo>
                      <a:pt x="59" y="81"/>
                    </a:lnTo>
                    <a:lnTo>
                      <a:pt x="61" y="85"/>
                    </a:lnTo>
                    <a:lnTo>
                      <a:pt x="62" y="85"/>
                    </a:lnTo>
                    <a:lnTo>
                      <a:pt x="64" y="81"/>
                    </a:lnTo>
                    <a:lnTo>
                      <a:pt x="61" y="76"/>
                    </a:lnTo>
                    <a:lnTo>
                      <a:pt x="61" y="73"/>
                    </a:lnTo>
                    <a:lnTo>
                      <a:pt x="57" y="69"/>
                    </a:lnTo>
                    <a:lnTo>
                      <a:pt x="55" y="64"/>
                    </a:lnTo>
                    <a:lnTo>
                      <a:pt x="55" y="59"/>
                    </a:lnTo>
                    <a:lnTo>
                      <a:pt x="55" y="50"/>
                    </a:lnTo>
                    <a:lnTo>
                      <a:pt x="54" y="48"/>
                    </a:lnTo>
                    <a:lnTo>
                      <a:pt x="54" y="46"/>
                    </a:lnTo>
                    <a:lnTo>
                      <a:pt x="54" y="43"/>
                    </a:lnTo>
                    <a:lnTo>
                      <a:pt x="54" y="39"/>
                    </a:lnTo>
                    <a:lnTo>
                      <a:pt x="55" y="36"/>
                    </a:lnTo>
                    <a:lnTo>
                      <a:pt x="55" y="31"/>
                    </a:lnTo>
                    <a:lnTo>
                      <a:pt x="57" y="27"/>
                    </a:lnTo>
                    <a:lnTo>
                      <a:pt x="59" y="27"/>
                    </a:lnTo>
                    <a:lnTo>
                      <a:pt x="61" y="27"/>
                    </a:lnTo>
                    <a:lnTo>
                      <a:pt x="64" y="33"/>
                    </a:lnTo>
                    <a:lnTo>
                      <a:pt x="64" y="36"/>
                    </a:lnTo>
                    <a:lnTo>
                      <a:pt x="66" y="38"/>
                    </a:lnTo>
                    <a:lnTo>
                      <a:pt x="68" y="34"/>
                    </a:lnTo>
                    <a:lnTo>
                      <a:pt x="71" y="33"/>
                    </a:lnTo>
                    <a:lnTo>
                      <a:pt x="71" y="34"/>
                    </a:lnTo>
                    <a:lnTo>
                      <a:pt x="76" y="39"/>
                    </a:lnTo>
                    <a:lnTo>
                      <a:pt x="76" y="45"/>
                    </a:lnTo>
                    <a:lnTo>
                      <a:pt x="76" y="48"/>
                    </a:lnTo>
                    <a:lnTo>
                      <a:pt x="76" y="50"/>
                    </a:lnTo>
                    <a:lnTo>
                      <a:pt x="76" y="55"/>
                    </a:lnTo>
                    <a:lnTo>
                      <a:pt x="76" y="60"/>
                    </a:lnTo>
                    <a:lnTo>
                      <a:pt x="76" y="62"/>
                    </a:lnTo>
                    <a:lnTo>
                      <a:pt x="76" y="64"/>
                    </a:lnTo>
                    <a:lnTo>
                      <a:pt x="78" y="60"/>
                    </a:lnTo>
                    <a:lnTo>
                      <a:pt x="78" y="57"/>
                    </a:lnTo>
                    <a:lnTo>
                      <a:pt x="78" y="50"/>
                    </a:lnTo>
                    <a:lnTo>
                      <a:pt x="78" y="48"/>
                    </a:lnTo>
                    <a:lnTo>
                      <a:pt x="81" y="46"/>
                    </a:lnTo>
                    <a:lnTo>
                      <a:pt x="85" y="50"/>
                    </a:lnTo>
                    <a:lnTo>
                      <a:pt x="88" y="55"/>
                    </a:lnTo>
                    <a:lnTo>
                      <a:pt x="90" y="64"/>
                    </a:lnTo>
                    <a:lnTo>
                      <a:pt x="90" y="66"/>
                    </a:lnTo>
                    <a:lnTo>
                      <a:pt x="92" y="69"/>
                    </a:lnTo>
                    <a:lnTo>
                      <a:pt x="95" y="69"/>
                    </a:lnTo>
                    <a:lnTo>
                      <a:pt x="99" y="69"/>
                    </a:lnTo>
                    <a:lnTo>
                      <a:pt x="101" y="73"/>
                    </a:lnTo>
                    <a:lnTo>
                      <a:pt x="102" y="76"/>
                    </a:lnTo>
                    <a:lnTo>
                      <a:pt x="108" y="81"/>
                    </a:lnTo>
                    <a:lnTo>
                      <a:pt x="111" y="81"/>
                    </a:lnTo>
                    <a:lnTo>
                      <a:pt x="118" y="85"/>
                    </a:lnTo>
                    <a:lnTo>
                      <a:pt x="121" y="85"/>
                    </a:lnTo>
                    <a:lnTo>
                      <a:pt x="121" y="88"/>
                    </a:lnTo>
                    <a:lnTo>
                      <a:pt x="121" y="90"/>
                    </a:lnTo>
                    <a:lnTo>
                      <a:pt x="118" y="93"/>
                    </a:lnTo>
                    <a:lnTo>
                      <a:pt x="118" y="93"/>
                    </a:lnTo>
                    <a:lnTo>
                      <a:pt x="116" y="90"/>
                    </a:lnTo>
                    <a:lnTo>
                      <a:pt x="113" y="92"/>
                    </a:lnTo>
                    <a:lnTo>
                      <a:pt x="111" y="92"/>
                    </a:lnTo>
                    <a:lnTo>
                      <a:pt x="106" y="95"/>
                    </a:lnTo>
                    <a:lnTo>
                      <a:pt x="102" y="95"/>
                    </a:lnTo>
                    <a:lnTo>
                      <a:pt x="102" y="95"/>
                    </a:lnTo>
                    <a:lnTo>
                      <a:pt x="102" y="99"/>
                    </a:lnTo>
                    <a:lnTo>
                      <a:pt x="102" y="100"/>
                    </a:lnTo>
                    <a:lnTo>
                      <a:pt x="99" y="104"/>
                    </a:lnTo>
                    <a:lnTo>
                      <a:pt x="99" y="104"/>
                    </a:lnTo>
                    <a:lnTo>
                      <a:pt x="99" y="109"/>
                    </a:lnTo>
                    <a:lnTo>
                      <a:pt x="99" y="116"/>
                    </a:lnTo>
                    <a:lnTo>
                      <a:pt x="99" y="118"/>
                    </a:lnTo>
                    <a:lnTo>
                      <a:pt x="99" y="123"/>
                    </a:lnTo>
                    <a:lnTo>
                      <a:pt x="99" y="123"/>
                    </a:lnTo>
                    <a:lnTo>
                      <a:pt x="99" y="126"/>
                    </a:lnTo>
                    <a:lnTo>
                      <a:pt x="95" y="125"/>
                    </a:lnTo>
                    <a:lnTo>
                      <a:pt x="95" y="126"/>
                    </a:lnTo>
                    <a:lnTo>
                      <a:pt x="95" y="130"/>
                    </a:lnTo>
                    <a:lnTo>
                      <a:pt x="95" y="135"/>
                    </a:lnTo>
                    <a:lnTo>
                      <a:pt x="95" y="137"/>
                    </a:lnTo>
                    <a:lnTo>
                      <a:pt x="95" y="140"/>
                    </a:lnTo>
                    <a:lnTo>
                      <a:pt x="95" y="146"/>
                    </a:lnTo>
                    <a:lnTo>
                      <a:pt x="95" y="149"/>
                    </a:lnTo>
                    <a:lnTo>
                      <a:pt x="95" y="149"/>
                    </a:lnTo>
                    <a:lnTo>
                      <a:pt x="90" y="149"/>
                    </a:lnTo>
                    <a:lnTo>
                      <a:pt x="88" y="149"/>
                    </a:lnTo>
                    <a:lnTo>
                      <a:pt x="90" y="153"/>
                    </a:lnTo>
                    <a:lnTo>
                      <a:pt x="90" y="154"/>
                    </a:lnTo>
                    <a:lnTo>
                      <a:pt x="88" y="154"/>
                    </a:lnTo>
                    <a:lnTo>
                      <a:pt x="88" y="158"/>
                    </a:lnTo>
                    <a:lnTo>
                      <a:pt x="88" y="159"/>
                    </a:lnTo>
                    <a:lnTo>
                      <a:pt x="87" y="172"/>
                    </a:lnTo>
                    <a:lnTo>
                      <a:pt x="87" y="175"/>
                    </a:lnTo>
                    <a:lnTo>
                      <a:pt x="85" y="177"/>
                    </a:lnTo>
                    <a:lnTo>
                      <a:pt x="85" y="180"/>
                    </a:lnTo>
                    <a:lnTo>
                      <a:pt x="87" y="184"/>
                    </a:lnTo>
                    <a:lnTo>
                      <a:pt x="87" y="186"/>
                    </a:lnTo>
                    <a:lnTo>
                      <a:pt x="85" y="189"/>
                    </a:lnTo>
                    <a:lnTo>
                      <a:pt x="85" y="191"/>
                    </a:lnTo>
                    <a:lnTo>
                      <a:pt x="83" y="194"/>
                    </a:lnTo>
                    <a:lnTo>
                      <a:pt x="80" y="194"/>
                    </a:lnTo>
                    <a:lnTo>
                      <a:pt x="80" y="194"/>
                    </a:lnTo>
                    <a:lnTo>
                      <a:pt x="80" y="194"/>
                    </a:lnTo>
                    <a:lnTo>
                      <a:pt x="80" y="19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3" name="Freeform 156"/>
              <p:cNvSpPr>
                <a:spLocks noEditPoints="1"/>
              </p:cNvSpPr>
              <p:nvPr/>
            </p:nvSpPr>
            <p:spPr bwMode="auto">
              <a:xfrm>
                <a:off x="3914775" y="2089151"/>
                <a:ext cx="239713" cy="153988"/>
              </a:xfrm>
              <a:custGeom>
                <a:avLst/>
                <a:gdLst/>
                <a:ahLst/>
                <a:cxnLst>
                  <a:cxn ang="0">
                    <a:pos x="55" y="95"/>
                  </a:cxn>
                  <a:cxn ang="0">
                    <a:pos x="45" y="81"/>
                  </a:cxn>
                  <a:cxn ang="0">
                    <a:pos x="57" y="87"/>
                  </a:cxn>
                  <a:cxn ang="0">
                    <a:pos x="81" y="92"/>
                  </a:cxn>
                  <a:cxn ang="0">
                    <a:pos x="88" y="87"/>
                  </a:cxn>
                  <a:cxn ang="0">
                    <a:pos x="95" y="83"/>
                  </a:cxn>
                  <a:cxn ang="0">
                    <a:pos x="106" y="80"/>
                  </a:cxn>
                  <a:cxn ang="0">
                    <a:pos x="126" y="68"/>
                  </a:cxn>
                  <a:cxn ang="0">
                    <a:pos x="130" y="66"/>
                  </a:cxn>
                  <a:cxn ang="0">
                    <a:pos x="137" y="57"/>
                  </a:cxn>
                  <a:cxn ang="0">
                    <a:pos x="142" y="55"/>
                  </a:cxn>
                  <a:cxn ang="0">
                    <a:pos x="142" y="41"/>
                  </a:cxn>
                  <a:cxn ang="0">
                    <a:pos x="151" y="33"/>
                  </a:cxn>
                  <a:cxn ang="0">
                    <a:pos x="142" y="24"/>
                  </a:cxn>
                  <a:cxn ang="0">
                    <a:pos x="139" y="19"/>
                  </a:cxn>
                  <a:cxn ang="0">
                    <a:pos x="132" y="10"/>
                  </a:cxn>
                  <a:cxn ang="0">
                    <a:pos x="137" y="1"/>
                  </a:cxn>
                  <a:cxn ang="0">
                    <a:pos x="123" y="8"/>
                  </a:cxn>
                  <a:cxn ang="0">
                    <a:pos x="114" y="1"/>
                  </a:cxn>
                  <a:cxn ang="0">
                    <a:pos x="109" y="10"/>
                  </a:cxn>
                  <a:cxn ang="0">
                    <a:pos x="100" y="14"/>
                  </a:cxn>
                  <a:cxn ang="0">
                    <a:pos x="86" y="10"/>
                  </a:cxn>
                  <a:cxn ang="0">
                    <a:pos x="83" y="19"/>
                  </a:cxn>
                  <a:cxn ang="0">
                    <a:pos x="73" y="14"/>
                  </a:cxn>
                  <a:cxn ang="0">
                    <a:pos x="66" y="19"/>
                  </a:cxn>
                  <a:cxn ang="0">
                    <a:pos x="57" y="19"/>
                  </a:cxn>
                  <a:cxn ang="0">
                    <a:pos x="55" y="28"/>
                  </a:cxn>
                  <a:cxn ang="0">
                    <a:pos x="45" y="34"/>
                  </a:cxn>
                  <a:cxn ang="0">
                    <a:pos x="41" y="24"/>
                  </a:cxn>
                  <a:cxn ang="0">
                    <a:pos x="46" y="15"/>
                  </a:cxn>
                  <a:cxn ang="0">
                    <a:pos x="40" y="8"/>
                  </a:cxn>
                  <a:cxn ang="0">
                    <a:pos x="27" y="0"/>
                  </a:cxn>
                  <a:cxn ang="0">
                    <a:pos x="24" y="1"/>
                  </a:cxn>
                  <a:cxn ang="0">
                    <a:pos x="27" y="5"/>
                  </a:cxn>
                  <a:cxn ang="0">
                    <a:pos x="31" y="14"/>
                  </a:cxn>
                  <a:cxn ang="0">
                    <a:pos x="22" y="14"/>
                  </a:cxn>
                  <a:cxn ang="0">
                    <a:pos x="17" y="10"/>
                  </a:cxn>
                  <a:cxn ang="0">
                    <a:pos x="13" y="14"/>
                  </a:cxn>
                  <a:cxn ang="0">
                    <a:pos x="12" y="19"/>
                  </a:cxn>
                  <a:cxn ang="0">
                    <a:pos x="13" y="22"/>
                  </a:cxn>
                  <a:cxn ang="0">
                    <a:pos x="8" y="28"/>
                  </a:cxn>
                  <a:cxn ang="0">
                    <a:pos x="3" y="28"/>
                  </a:cxn>
                  <a:cxn ang="0">
                    <a:pos x="19" y="22"/>
                  </a:cxn>
                  <a:cxn ang="0">
                    <a:pos x="22" y="28"/>
                  </a:cxn>
                  <a:cxn ang="0">
                    <a:pos x="29" y="28"/>
                  </a:cxn>
                  <a:cxn ang="0">
                    <a:pos x="36" y="28"/>
                  </a:cxn>
                  <a:cxn ang="0">
                    <a:pos x="29" y="34"/>
                  </a:cxn>
                  <a:cxn ang="0">
                    <a:pos x="34" y="36"/>
                  </a:cxn>
                  <a:cxn ang="0">
                    <a:pos x="27" y="41"/>
                  </a:cxn>
                  <a:cxn ang="0">
                    <a:pos x="19" y="40"/>
                  </a:cxn>
                  <a:cxn ang="0">
                    <a:pos x="13" y="43"/>
                  </a:cxn>
                  <a:cxn ang="0">
                    <a:pos x="5" y="47"/>
                  </a:cxn>
                  <a:cxn ang="0">
                    <a:pos x="22" y="50"/>
                  </a:cxn>
                  <a:cxn ang="0">
                    <a:pos x="27" y="57"/>
                  </a:cxn>
                  <a:cxn ang="0">
                    <a:pos x="29" y="61"/>
                  </a:cxn>
                  <a:cxn ang="0">
                    <a:pos x="40" y="66"/>
                  </a:cxn>
                  <a:cxn ang="0">
                    <a:pos x="27" y="69"/>
                  </a:cxn>
                  <a:cxn ang="0">
                    <a:pos x="19" y="68"/>
                  </a:cxn>
                  <a:cxn ang="0">
                    <a:pos x="19" y="74"/>
                  </a:cxn>
                  <a:cxn ang="0">
                    <a:pos x="31" y="81"/>
                  </a:cxn>
                  <a:cxn ang="0">
                    <a:pos x="45" y="81"/>
                  </a:cxn>
                </a:cxnLst>
                <a:rect l="0" t="0" r="r" b="b"/>
                <a:pathLst>
                  <a:path w="151" h="97">
                    <a:moveTo>
                      <a:pt x="52" y="97"/>
                    </a:moveTo>
                    <a:lnTo>
                      <a:pt x="50" y="95"/>
                    </a:lnTo>
                    <a:lnTo>
                      <a:pt x="52" y="92"/>
                    </a:lnTo>
                    <a:lnTo>
                      <a:pt x="55" y="92"/>
                    </a:lnTo>
                    <a:lnTo>
                      <a:pt x="55" y="95"/>
                    </a:lnTo>
                    <a:lnTo>
                      <a:pt x="52" y="97"/>
                    </a:lnTo>
                    <a:lnTo>
                      <a:pt x="52" y="97"/>
                    </a:lnTo>
                    <a:lnTo>
                      <a:pt x="52" y="97"/>
                    </a:lnTo>
                    <a:lnTo>
                      <a:pt x="52" y="97"/>
                    </a:lnTo>
                    <a:close/>
                    <a:moveTo>
                      <a:pt x="45" y="81"/>
                    </a:moveTo>
                    <a:lnTo>
                      <a:pt x="46" y="80"/>
                    </a:lnTo>
                    <a:lnTo>
                      <a:pt x="46" y="83"/>
                    </a:lnTo>
                    <a:lnTo>
                      <a:pt x="52" y="88"/>
                    </a:lnTo>
                    <a:lnTo>
                      <a:pt x="55" y="90"/>
                    </a:lnTo>
                    <a:lnTo>
                      <a:pt x="57" y="87"/>
                    </a:lnTo>
                    <a:lnTo>
                      <a:pt x="60" y="87"/>
                    </a:lnTo>
                    <a:lnTo>
                      <a:pt x="66" y="94"/>
                    </a:lnTo>
                    <a:lnTo>
                      <a:pt x="73" y="92"/>
                    </a:lnTo>
                    <a:lnTo>
                      <a:pt x="74" y="94"/>
                    </a:lnTo>
                    <a:lnTo>
                      <a:pt x="81" y="92"/>
                    </a:lnTo>
                    <a:lnTo>
                      <a:pt x="81" y="88"/>
                    </a:lnTo>
                    <a:lnTo>
                      <a:pt x="81" y="87"/>
                    </a:lnTo>
                    <a:lnTo>
                      <a:pt x="83" y="88"/>
                    </a:lnTo>
                    <a:lnTo>
                      <a:pt x="86" y="90"/>
                    </a:lnTo>
                    <a:lnTo>
                      <a:pt x="88" y="87"/>
                    </a:lnTo>
                    <a:lnTo>
                      <a:pt x="90" y="81"/>
                    </a:lnTo>
                    <a:lnTo>
                      <a:pt x="93" y="81"/>
                    </a:lnTo>
                    <a:lnTo>
                      <a:pt x="92" y="83"/>
                    </a:lnTo>
                    <a:lnTo>
                      <a:pt x="93" y="85"/>
                    </a:lnTo>
                    <a:lnTo>
                      <a:pt x="95" y="83"/>
                    </a:lnTo>
                    <a:lnTo>
                      <a:pt x="97" y="83"/>
                    </a:lnTo>
                    <a:lnTo>
                      <a:pt x="100" y="78"/>
                    </a:lnTo>
                    <a:lnTo>
                      <a:pt x="102" y="80"/>
                    </a:lnTo>
                    <a:lnTo>
                      <a:pt x="104" y="80"/>
                    </a:lnTo>
                    <a:lnTo>
                      <a:pt x="106" y="80"/>
                    </a:lnTo>
                    <a:lnTo>
                      <a:pt x="106" y="80"/>
                    </a:lnTo>
                    <a:lnTo>
                      <a:pt x="109" y="80"/>
                    </a:lnTo>
                    <a:lnTo>
                      <a:pt x="114" y="74"/>
                    </a:lnTo>
                    <a:lnTo>
                      <a:pt x="118" y="69"/>
                    </a:lnTo>
                    <a:lnTo>
                      <a:pt x="126" y="68"/>
                    </a:lnTo>
                    <a:lnTo>
                      <a:pt x="128" y="66"/>
                    </a:lnTo>
                    <a:lnTo>
                      <a:pt x="126" y="62"/>
                    </a:lnTo>
                    <a:lnTo>
                      <a:pt x="128" y="61"/>
                    </a:lnTo>
                    <a:lnTo>
                      <a:pt x="130" y="61"/>
                    </a:lnTo>
                    <a:lnTo>
                      <a:pt x="130" y="66"/>
                    </a:lnTo>
                    <a:lnTo>
                      <a:pt x="133" y="66"/>
                    </a:lnTo>
                    <a:lnTo>
                      <a:pt x="137" y="62"/>
                    </a:lnTo>
                    <a:lnTo>
                      <a:pt x="137" y="61"/>
                    </a:lnTo>
                    <a:lnTo>
                      <a:pt x="137" y="61"/>
                    </a:lnTo>
                    <a:lnTo>
                      <a:pt x="137" y="57"/>
                    </a:lnTo>
                    <a:lnTo>
                      <a:pt x="137" y="57"/>
                    </a:lnTo>
                    <a:lnTo>
                      <a:pt x="137" y="54"/>
                    </a:lnTo>
                    <a:lnTo>
                      <a:pt x="137" y="52"/>
                    </a:lnTo>
                    <a:lnTo>
                      <a:pt x="142" y="54"/>
                    </a:lnTo>
                    <a:lnTo>
                      <a:pt x="142" y="55"/>
                    </a:lnTo>
                    <a:lnTo>
                      <a:pt x="144" y="55"/>
                    </a:lnTo>
                    <a:lnTo>
                      <a:pt x="145" y="52"/>
                    </a:lnTo>
                    <a:lnTo>
                      <a:pt x="145" y="48"/>
                    </a:lnTo>
                    <a:lnTo>
                      <a:pt x="142" y="45"/>
                    </a:lnTo>
                    <a:lnTo>
                      <a:pt x="142" y="41"/>
                    </a:lnTo>
                    <a:lnTo>
                      <a:pt x="144" y="40"/>
                    </a:lnTo>
                    <a:lnTo>
                      <a:pt x="144" y="36"/>
                    </a:lnTo>
                    <a:lnTo>
                      <a:pt x="147" y="34"/>
                    </a:lnTo>
                    <a:lnTo>
                      <a:pt x="149" y="34"/>
                    </a:lnTo>
                    <a:lnTo>
                      <a:pt x="151" y="33"/>
                    </a:lnTo>
                    <a:lnTo>
                      <a:pt x="147" y="29"/>
                    </a:lnTo>
                    <a:lnTo>
                      <a:pt x="142" y="29"/>
                    </a:lnTo>
                    <a:lnTo>
                      <a:pt x="139" y="31"/>
                    </a:lnTo>
                    <a:lnTo>
                      <a:pt x="142" y="28"/>
                    </a:lnTo>
                    <a:lnTo>
                      <a:pt x="142" y="24"/>
                    </a:lnTo>
                    <a:lnTo>
                      <a:pt x="137" y="24"/>
                    </a:lnTo>
                    <a:lnTo>
                      <a:pt x="137" y="28"/>
                    </a:lnTo>
                    <a:lnTo>
                      <a:pt x="133" y="22"/>
                    </a:lnTo>
                    <a:lnTo>
                      <a:pt x="137" y="19"/>
                    </a:lnTo>
                    <a:lnTo>
                      <a:pt x="139" y="19"/>
                    </a:lnTo>
                    <a:lnTo>
                      <a:pt x="139" y="14"/>
                    </a:lnTo>
                    <a:lnTo>
                      <a:pt x="137" y="14"/>
                    </a:lnTo>
                    <a:lnTo>
                      <a:pt x="133" y="14"/>
                    </a:lnTo>
                    <a:lnTo>
                      <a:pt x="133" y="14"/>
                    </a:lnTo>
                    <a:lnTo>
                      <a:pt x="132" y="10"/>
                    </a:lnTo>
                    <a:lnTo>
                      <a:pt x="133" y="10"/>
                    </a:lnTo>
                    <a:lnTo>
                      <a:pt x="133" y="5"/>
                    </a:lnTo>
                    <a:lnTo>
                      <a:pt x="137" y="5"/>
                    </a:lnTo>
                    <a:lnTo>
                      <a:pt x="139" y="5"/>
                    </a:lnTo>
                    <a:lnTo>
                      <a:pt x="137" y="1"/>
                    </a:lnTo>
                    <a:lnTo>
                      <a:pt x="133" y="1"/>
                    </a:lnTo>
                    <a:lnTo>
                      <a:pt x="128" y="10"/>
                    </a:lnTo>
                    <a:lnTo>
                      <a:pt x="126" y="10"/>
                    </a:lnTo>
                    <a:lnTo>
                      <a:pt x="125" y="10"/>
                    </a:lnTo>
                    <a:lnTo>
                      <a:pt x="123" y="8"/>
                    </a:lnTo>
                    <a:lnTo>
                      <a:pt x="123" y="5"/>
                    </a:lnTo>
                    <a:lnTo>
                      <a:pt x="121" y="5"/>
                    </a:lnTo>
                    <a:lnTo>
                      <a:pt x="121" y="1"/>
                    </a:lnTo>
                    <a:lnTo>
                      <a:pt x="118" y="1"/>
                    </a:lnTo>
                    <a:lnTo>
                      <a:pt x="114" y="1"/>
                    </a:lnTo>
                    <a:lnTo>
                      <a:pt x="114" y="1"/>
                    </a:lnTo>
                    <a:lnTo>
                      <a:pt x="111" y="5"/>
                    </a:lnTo>
                    <a:lnTo>
                      <a:pt x="114" y="8"/>
                    </a:lnTo>
                    <a:lnTo>
                      <a:pt x="111" y="10"/>
                    </a:lnTo>
                    <a:lnTo>
                      <a:pt x="109" y="10"/>
                    </a:lnTo>
                    <a:lnTo>
                      <a:pt x="106" y="14"/>
                    </a:lnTo>
                    <a:lnTo>
                      <a:pt x="106" y="10"/>
                    </a:lnTo>
                    <a:lnTo>
                      <a:pt x="104" y="8"/>
                    </a:lnTo>
                    <a:lnTo>
                      <a:pt x="102" y="10"/>
                    </a:lnTo>
                    <a:lnTo>
                      <a:pt x="100" y="14"/>
                    </a:lnTo>
                    <a:lnTo>
                      <a:pt x="97" y="14"/>
                    </a:lnTo>
                    <a:lnTo>
                      <a:pt x="93" y="10"/>
                    </a:lnTo>
                    <a:lnTo>
                      <a:pt x="90" y="10"/>
                    </a:lnTo>
                    <a:lnTo>
                      <a:pt x="90" y="10"/>
                    </a:lnTo>
                    <a:lnTo>
                      <a:pt x="86" y="10"/>
                    </a:lnTo>
                    <a:lnTo>
                      <a:pt x="86" y="14"/>
                    </a:lnTo>
                    <a:lnTo>
                      <a:pt x="88" y="21"/>
                    </a:lnTo>
                    <a:lnTo>
                      <a:pt x="86" y="29"/>
                    </a:lnTo>
                    <a:lnTo>
                      <a:pt x="86" y="22"/>
                    </a:lnTo>
                    <a:lnTo>
                      <a:pt x="83" y="19"/>
                    </a:lnTo>
                    <a:lnTo>
                      <a:pt x="83" y="14"/>
                    </a:lnTo>
                    <a:lnTo>
                      <a:pt x="83" y="14"/>
                    </a:lnTo>
                    <a:lnTo>
                      <a:pt x="83" y="10"/>
                    </a:lnTo>
                    <a:lnTo>
                      <a:pt x="78" y="8"/>
                    </a:lnTo>
                    <a:lnTo>
                      <a:pt x="73" y="14"/>
                    </a:lnTo>
                    <a:lnTo>
                      <a:pt x="71" y="15"/>
                    </a:lnTo>
                    <a:lnTo>
                      <a:pt x="73" y="19"/>
                    </a:lnTo>
                    <a:lnTo>
                      <a:pt x="69" y="22"/>
                    </a:lnTo>
                    <a:lnTo>
                      <a:pt x="67" y="22"/>
                    </a:lnTo>
                    <a:lnTo>
                      <a:pt x="66" y="19"/>
                    </a:lnTo>
                    <a:lnTo>
                      <a:pt x="64" y="19"/>
                    </a:lnTo>
                    <a:lnTo>
                      <a:pt x="64" y="10"/>
                    </a:lnTo>
                    <a:lnTo>
                      <a:pt x="60" y="8"/>
                    </a:lnTo>
                    <a:lnTo>
                      <a:pt x="57" y="10"/>
                    </a:lnTo>
                    <a:lnTo>
                      <a:pt x="57" y="19"/>
                    </a:lnTo>
                    <a:lnTo>
                      <a:pt x="59" y="22"/>
                    </a:lnTo>
                    <a:lnTo>
                      <a:pt x="59" y="28"/>
                    </a:lnTo>
                    <a:lnTo>
                      <a:pt x="57" y="31"/>
                    </a:lnTo>
                    <a:lnTo>
                      <a:pt x="55" y="31"/>
                    </a:lnTo>
                    <a:lnTo>
                      <a:pt x="55" y="28"/>
                    </a:lnTo>
                    <a:lnTo>
                      <a:pt x="50" y="28"/>
                    </a:lnTo>
                    <a:lnTo>
                      <a:pt x="50" y="33"/>
                    </a:lnTo>
                    <a:lnTo>
                      <a:pt x="46" y="34"/>
                    </a:lnTo>
                    <a:lnTo>
                      <a:pt x="46" y="40"/>
                    </a:lnTo>
                    <a:lnTo>
                      <a:pt x="45" y="34"/>
                    </a:lnTo>
                    <a:lnTo>
                      <a:pt x="43" y="33"/>
                    </a:lnTo>
                    <a:lnTo>
                      <a:pt x="43" y="31"/>
                    </a:lnTo>
                    <a:lnTo>
                      <a:pt x="45" y="28"/>
                    </a:lnTo>
                    <a:lnTo>
                      <a:pt x="45" y="24"/>
                    </a:lnTo>
                    <a:lnTo>
                      <a:pt x="41" y="24"/>
                    </a:lnTo>
                    <a:lnTo>
                      <a:pt x="43" y="22"/>
                    </a:lnTo>
                    <a:lnTo>
                      <a:pt x="41" y="19"/>
                    </a:lnTo>
                    <a:lnTo>
                      <a:pt x="43" y="21"/>
                    </a:lnTo>
                    <a:lnTo>
                      <a:pt x="46" y="19"/>
                    </a:lnTo>
                    <a:lnTo>
                      <a:pt x="46" y="15"/>
                    </a:lnTo>
                    <a:lnTo>
                      <a:pt x="43" y="14"/>
                    </a:lnTo>
                    <a:lnTo>
                      <a:pt x="45" y="10"/>
                    </a:lnTo>
                    <a:lnTo>
                      <a:pt x="43" y="10"/>
                    </a:lnTo>
                    <a:lnTo>
                      <a:pt x="41" y="10"/>
                    </a:lnTo>
                    <a:lnTo>
                      <a:pt x="40" y="8"/>
                    </a:lnTo>
                    <a:lnTo>
                      <a:pt x="34" y="5"/>
                    </a:lnTo>
                    <a:lnTo>
                      <a:pt x="34" y="1"/>
                    </a:lnTo>
                    <a:lnTo>
                      <a:pt x="33" y="0"/>
                    </a:lnTo>
                    <a:lnTo>
                      <a:pt x="29" y="0"/>
                    </a:lnTo>
                    <a:lnTo>
                      <a:pt x="27" y="0"/>
                    </a:lnTo>
                    <a:lnTo>
                      <a:pt x="22" y="0"/>
                    </a:lnTo>
                    <a:lnTo>
                      <a:pt x="19" y="1"/>
                    </a:lnTo>
                    <a:lnTo>
                      <a:pt x="22" y="1"/>
                    </a:lnTo>
                    <a:lnTo>
                      <a:pt x="24" y="1"/>
                    </a:lnTo>
                    <a:lnTo>
                      <a:pt x="24" y="1"/>
                    </a:lnTo>
                    <a:lnTo>
                      <a:pt x="27" y="1"/>
                    </a:lnTo>
                    <a:lnTo>
                      <a:pt x="29" y="1"/>
                    </a:lnTo>
                    <a:lnTo>
                      <a:pt x="31" y="1"/>
                    </a:lnTo>
                    <a:lnTo>
                      <a:pt x="29" y="5"/>
                    </a:lnTo>
                    <a:lnTo>
                      <a:pt x="27" y="5"/>
                    </a:lnTo>
                    <a:lnTo>
                      <a:pt x="24" y="5"/>
                    </a:lnTo>
                    <a:lnTo>
                      <a:pt x="24" y="5"/>
                    </a:lnTo>
                    <a:lnTo>
                      <a:pt x="29" y="8"/>
                    </a:lnTo>
                    <a:lnTo>
                      <a:pt x="33" y="14"/>
                    </a:lnTo>
                    <a:lnTo>
                      <a:pt x="31" y="14"/>
                    </a:lnTo>
                    <a:lnTo>
                      <a:pt x="29" y="14"/>
                    </a:lnTo>
                    <a:lnTo>
                      <a:pt x="29" y="14"/>
                    </a:lnTo>
                    <a:lnTo>
                      <a:pt x="27" y="10"/>
                    </a:lnTo>
                    <a:lnTo>
                      <a:pt x="24" y="14"/>
                    </a:lnTo>
                    <a:lnTo>
                      <a:pt x="22" y="14"/>
                    </a:lnTo>
                    <a:lnTo>
                      <a:pt x="22" y="10"/>
                    </a:lnTo>
                    <a:lnTo>
                      <a:pt x="19" y="5"/>
                    </a:lnTo>
                    <a:lnTo>
                      <a:pt x="17" y="5"/>
                    </a:lnTo>
                    <a:lnTo>
                      <a:pt x="15" y="5"/>
                    </a:lnTo>
                    <a:lnTo>
                      <a:pt x="17" y="10"/>
                    </a:lnTo>
                    <a:lnTo>
                      <a:pt x="17" y="10"/>
                    </a:lnTo>
                    <a:lnTo>
                      <a:pt x="15" y="8"/>
                    </a:lnTo>
                    <a:lnTo>
                      <a:pt x="12" y="8"/>
                    </a:lnTo>
                    <a:lnTo>
                      <a:pt x="10" y="10"/>
                    </a:lnTo>
                    <a:lnTo>
                      <a:pt x="13" y="14"/>
                    </a:lnTo>
                    <a:lnTo>
                      <a:pt x="15" y="14"/>
                    </a:lnTo>
                    <a:lnTo>
                      <a:pt x="17" y="14"/>
                    </a:lnTo>
                    <a:lnTo>
                      <a:pt x="13" y="14"/>
                    </a:lnTo>
                    <a:lnTo>
                      <a:pt x="10" y="14"/>
                    </a:lnTo>
                    <a:lnTo>
                      <a:pt x="12" y="19"/>
                    </a:lnTo>
                    <a:lnTo>
                      <a:pt x="17" y="19"/>
                    </a:lnTo>
                    <a:lnTo>
                      <a:pt x="13" y="19"/>
                    </a:lnTo>
                    <a:lnTo>
                      <a:pt x="13" y="21"/>
                    </a:lnTo>
                    <a:lnTo>
                      <a:pt x="13" y="22"/>
                    </a:lnTo>
                    <a:lnTo>
                      <a:pt x="13" y="22"/>
                    </a:lnTo>
                    <a:lnTo>
                      <a:pt x="8" y="19"/>
                    </a:lnTo>
                    <a:lnTo>
                      <a:pt x="6" y="19"/>
                    </a:lnTo>
                    <a:lnTo>
                      <a:pt x="5" y="19"/>
                    </a:lnTo>
                    <a:lnTo>
                      <a:pt x="6" y="22"/>
                    </a:lnTo>
                    <a:lnTo>
                      <a:pt x="8" y="28"/>
                    </a:lnTo>
                    <a:lnTo>
                      <a:pt x="6" y="28"/>
                    </a:lnTo>
                    <a:lnTo>
                      <a:pt x="3" y="22"/>
                    </a:lnTo>
                    <a:lnTo>
                      <a:pt x="1" y="21"/>
                    </a:lnTo>
                    <a:lnTo>
                      <a:pt x="0" y="24"/>
                    </a:lnTo>
                    <a:lnTo>
                      <a:pt x="3" y="28"/>
                    </a:lnTo>
                    <a:lnTo>
                      <a:pt x="5" y="29"/>
                    </a:lnTo>
                    <a:lnTo>
                      <a:pt x="10" y="31"/>
                    </a:lnTo>
                    <a:lnTo>
                      <a:pt x="12" y="28"/>
                    </a:lnTo>
                    <a:lnTo>
                      <a:pt x="17" y="28"/>
                    </a:lnTo>
                    <a:lnTo>
                      <a:pt x="19" y="22"/>
                    </a:lnTo>
                    <a:lnTo>
                      <a:pt x="19" y="24"/>
                    </a:lnTo>
                    <a:lnTo>
                      <a:pt x="19" y="28"/>
                    </a:lnTo>
                    <a:lnTo>
                      <a:pt x="19" y="28"/>
                    </a:lnTo>
                    <a:lnTo>
                      <a:pt x="22" y="24"/>
                    </a:lnTo>
                    <a:lnTo>
                      <a:pt x="22" y="28"/>
                    </a:lnTo>
                    <a:lnTo>
                      <a:pt x="24" y="28"/>
                    </a:lnTo>
                    <a:lnTo>
                      <a:pt x="27" y="28"/>
                    </a:lnTo>
                    <a:lnTo>
                      <a:pt x="27" y="24"/>
                    </a:lnTo>
                    <a:lnTo>
                      <a:pt x="27" y="28"/>
                    </a:lnTo>
                    <a:lnTo>
                      <a:pt x="29" y="28"/>
                    </a:lnTo>
                    <a:lnTo>
                      <a:pt x="33" y="24"/>
                    </a:lnTo>
                    <a:lnTo>
                      <a:pt x="33" y="28"/>
                    </a:lnTo>
                    <a:lnTo>
                      <a:pt x="31" y="29"/>
                    </a:lnTo>
                    <a:lnTo>
                      <a:pt x="33" y="31"/>
                    </a:lnTo>
                    <a:lnTo>
                      <a:pt x="36" y="28"/>
                    </a:lnTo>
                    <a:lnTo>
                      <a:pt x="40" y="31"/>
                    </a:lnTo>
                    <a:lnTo>
                      <a:pt x="38" y="31"/>
                    </a:lnTo>
                    <a:lnTo>
                      <a:pt x="34" y="31"/>
                    </a:lnTo>
                    <a:lnTo>
                      <a:pt x="33" y="33"/>
                    </a:lnTo>
                    <a:lnTo>
                      <a:pt x="29" y="34"/>
                    </a:lnTo>
                    <a:lnTo>
                      <a:pt x="24" y="36"/>
                    </a:lnTo>
                    <a:lnTo>
                      <a:pt x="24" y="36"/>
                    </a:lnTo>
                    <a:lnTo>
                      <a:pt x="31" y="38"/>
                    </a:lnTo>
                    <a:lnTo>
                      <a:pt x="34" y="38"/>
                    </a:lnTo>
                    <a:lnTo>
                      <a:pt x="34" y="36"/>
                    </a:lnTo>
                    <a:lnTo>
                      <a:pt x="38" y="34"/>
                    </a:lnTo>
                    <a:lnTo>
                      <a:pt x="38" y="38"/>
                    </a:lnTo>
                    <a:lnTo>
                      <a:pt x="34" y="41"/>
                    </a:lnTo>
                    <a:lnTo>
                      <a:pt x="29" y="41"/>
                    </a:lnTo>
                    <a:lnTo>
                      <a:pt x="27" y="41"/>
                    </a:lnTo>
                    <a:lnTo>
                      <a:pt x="24" y="43"/>
                    </a:lnTo>
                    <a:lnTo>
                      <a:pt x="22" y="41"/>
                    </a:lnTo>
                    <a:lnTo>
                      <a:pt x="22" y="41"/>
                    </a:lnTo>
                    <a:lnTo>
                      <a:pt x="22" y="40"/>
                    </a:lnTo>
                    <a:lnTo>
                      <a:pt x="19" y="40"/>
                    </a:lnTo>
                    <a:lnTo>
                      <a:pt x="19" y="40"/>
                    </a:lnTo>
                    <a:lnTo>
                      <a:pt x="19" y="41"/>
                    </a:lnTo>
                    <a:lnTo>
                      <a:pt x="19" y="43"/>
                    </a:lnTo>
                    <a:lnTo>
                      <a:pt x="17" y="41"/>
                    </a:lnTo>
                    <a:lnTo>
                      <a:pt x="13" y="43"/>
                    </a:lnTo>
                    <a:lnTo>
                      <a:pt x="10" y="43"/>
                    </a:lnTo>
                    <a:lnTo>
                      <a:pt x="6" y="43"/>
                    </a:lnTo>
                    <a:lnTo>
                      <a:pt x="3" y="43"/>
                    </a:lnTo>
                    <a:lnTo>
                      <a:pt x="1" y="43"/>
                    </a:lnTo>
                    <a:lnTo>
                      <a:pt x="5" y="47"/>
                    </a:lnTo>
                    <a:lnTo>
                      <a:pt x="6" y="50"/>
                    </a:lnTo>
                    <a:lnTo>
                      <a:pt x="10" y="50"/>
                    </a:lnTo>
                    <a:lnTo>
                      <a:pt x="10" y="50"/>
                    </a:lnTo>
                    <a:lnTo>
                      <a:pt x="17" y="52"/>
                    </a:lnTo>
                    <a:lnTo>
                      <a:pt x="22" y="50"/>
                    </a:lnTo>
                    <a:lnTo>
                      <a:pt x="27" y="50"/>
                    </a:lnTo>
                    <a:lnTo>
                      <a:pt x="27" y="52"/>
                    </a:lnTo>
                    <a:lnTo>
                      <a:pt x="22" y="54"/>
                    </a:lnTo>
                    <a:lnTo>
                      <a:pt x="22" y="55"/>
                    </a:lnTo>
                    <a:lnTo>
                      <a:pt x="27" y="57"/>
                    </a:lnTo>
                    <a:lnTo>
                      <a:pt x="27" y="61"/>
                    </a:lnTo>
                    <a:lnTo>
                      <a:pt x="29" y="61"/>
                    </a:lnTo>
                    <a:lnTo>
                      <a:pt x="34" y="57"/>
                    </a:lnTo>
                    <a:lnTo>
                      <a:pt x="33" y="57"/>
                    </a:lnTo>
                    <a:lnTo>
                      <a:pt x="29" y="61"/>
                    </a:lnTo>
                    <a:lnTo>
                      <a:pt x="27" y="62"/>
                    </a:lnTo>
                    <a:lnTo>
                      <a:pt x="31" y="66"/>
                    </a:lnTo>
                    <a:lnTo>
                      <a:pt x="36" y="61"/>
                    </a:lnTo>
                    <a:lnTo>
                      <a:pt x="40" y="62"/>
                    </a:lnTo>
                    <a:lnTo>
                      <a:pt x="40" y="66"/>
                    </a:lnTo>
                    <a:lnTo>
                      <a:pt x="38" y="62"/>
                    </a:lnTo>
                    <a:lnTo>
                      <a:pt x="34" y="66"/>
                    </a:lnTo>
                    <a:lnTo>
                      <a:pt x="33" y="66"/>
                    </a:lnTo>
                    <a:lnTo>
                      <a:pt x="29" y="66"/>
                    </a:lnTo>
                    <a:lnTo>
                      <a:pt x="27" y="69"/>
                    </a:lnTo>
                    <a:lnTo>
                      <a:pt x="27" y="71"/>
                    </a:lnTo>
                    <a:lnTo>
                      <a:pt x="24" y="71"/>
                    </a:lnTo>
                    <a:lnTo>
                      <a:pt x="22" y="71"/>
                    </a:lnTo>
                    <a:lnTo>
                      <a:pt x="22" y="69"/>
                    </a:lnTo>
                    <a:lnTo>
                      <a:pt x="19" y="68"/>
                    </a:lnTo>
                    <a:lnTo>
                      <a:pt x="19" y="69"/>
                    </a:lnTo>
                    <a:lnTo>
                      <a:pt x="19" y="69"/>
                    </a:lnTo>
                    <a:lnTo>
                      <a:pt x="19" y="74"/>
                    </a:lnTo>
                    <a:lnTo>
                      <a:pt x="19" y="74"/>
                    </a:lnTo>
                    <a:lnTo>
                      <a:pt x="19" y="74"/>
                    </a:lnTo>
                    <a:lnTo>
                      <a:pt x="19" y="81"/>
                    </a:lnTo>
                    <a:lnTo>
                      <a:pt x="22" y="81"/>
                    </a:lnTo>
                    <a:lnTo>
                      <a:pt x="22" y="80"/>
                    </a:lnTo>
                    <a:lnTo>
                      <a:pt x="27" y="81"/>
                    </a:lnTo>
                    <a:lnTo>
                      <a:pt x="31" y="81"/>
                    </a:lnTo>
                    <a:lnTo>
                      <a:pt x="36" y="78"/>
                    </a:lnTo>
                    <a:lnTo>
                      <a:pt x="40" y="80"/>
                    </a:lnTo>
                    <a:lnTo>
                      <a:pt x="43" y="78"/>
                    </a:lnTo>
                    <a:lnTo>
                      <a:pt x="43" y="81"/>
                    </a:lnTo>
                    <a:lnTo>
                      <a:pt x="45" y="81"/>
                    </a:lnTo>
                    <a:lnTo>
                      <a:pt x="45" y="81"/>
                    </a:lnTo>
                    <a:lnTo>
                      <a:pt x="45" y="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4" name="Freeform 157"/>
              <p:cNvSpPr>
                <a:spLocks noEditPoints="1"/>
              </p:cNvSpPr>
              <p:nvPr/>
            </p:nvSpPr>
            <p:spPr bwMode="auto">
              <a:xfrm>
                <a:off x="3111500" y="887413"/>
                <a:ext cx="1144588" cy="1479550"/>
              </a:xfrm>
              <a:custGeom>
                <a:avLst/>
                <a:gdLst/>
                <a:ahLst/>
                <a:cxnLst>
                  <a:cxn ang="0">
                    <a:pos x="179" y="885"/>
                  </a:cxn>
                  <a:cxn ang="0">
                    <a:pos x="135" y="854"/>
                  </a:cxn>
                  <a:cxn ang="0">
                    <a:pos x="130" y="800"/>
                  </a:cxn>
                  <a:cxn ang="0">
                    <a:pos x="116" y="769"/>
                  </a:cxn>
                  <a:cxn ang="0">
                    <a:pos x="144" y="718"/>
                  </a:cxn>
                  <a:cxn ang="0">
                    <a:pos x="108" y="698"/>
                  </a:cxn>
                  <a:cxn ang="0">
                    <a:pos x="122" y="678"/>
                  </a:cxn>
                  <a:cxn ang="0">
                    <a:pos x="161" y="652"/>
                  </a:cxn>
                  <a:cxn ang="0">
                    <a:pos x="134" y="595"/>
                  </a:cxn>
                  <a:cxn ang="0">
                    <a:pos x="160" y="569"/>
                  </a:cxn>
                  <a:cxn ang="0">
                    <a:pos x="130" y="558"/>
                  </a:cxn>
                  <a:cxn ang="0">
                    <a:pos x="142" y="475"/>
                  </a:cxn>
                  <a:cxn ang="0">
                    <a:pos x="122" y="364"/>
                  </a:cxn>
                  <a:cxn ang="0">
                    <a:pos x="24" y="319"/>
                  </a:cxn>
                  <a:cxn ang="0">
                    <a:pos x="66" y="270"/>
                  </a:cxn>
                  <a:cxn ang="0">
                    <a:pos x="45" y="214"/>
                  </a:cxn>
                  <a:cxn ang="0">
                    <a:pos x="120" y="152"/>
                  </a:cxn>
                  <a:cxn ang="0">
                    <a:pos x="207" y="87"/>
                  </a:cxn>
                  <a:cxn ang="0">
                    <a:pos x="297" y="87"/>
                  </a:cxn>
                  <a:cxn ang="0">
                    <a:pos x="365" y="82"/>
                  </a:cxn>
                  <a:cxn ang="0">
                    <a:pos x="424" y="52"/>
                  </a:cxn>
                  <a:cxn ang="0">
                    <a:pos x="452" y="32"/>
                  </a:cxn>
                  <a:cxn ang="0">
                    <a:pos x="585" y="28"/>
                  </a:cxn>
                  <a:cxn ang="0">
                    <a:pos x="511" y="44"/>
                  </a:cxn>
                  <a:cxn ang="0">
                    <a:pos x="622" y="65"/>
                  </a:cxn>
                  <a:cxn ang="0">
                    <a:pos x="526" y="110"/>
                  </a:cxn>
                  <a:cxn ang="0">
                    <a:pos x="591" y="141"/>
                  </a:cxn>
                  <a:cxn ang="0">
                    <a:pos x="617" y="169"/>
                  </a:cxn>
                  <a:cxn ang="0">
                    <a:pos x="686" y="183"/>
                  </a:cxn>
                  <a:cxn ang="0">
                    <a:pos x="622" y="230"/>
                  </a:cxn>
                  <a:cxn ang="0">
                    <a:pos x="618" y="355"/>
                  </a:cxn>
                  <a:cxn ang="0">
                    <a:pos x="584" y="386"/>
                  </a:cxn>
                  <a:cxn ang="0">
                    <a:pos x="594" y="451"/>
                  </a:cxn>
                  <a:cxn ang="0">
                    <a:pos x="594" y="485"/>
                  </a:cxn>
                  <a:cxn ang="0">
                    <a:pos x="542" y="508"/>
                  </a:cxn>
                  <a:cxn ang="0">
                    <a:pos x="497" y="525"/>
                  </a:cxn>
                  <a:cxn ang="0">
                    <a:pos x="528" y="553"/>
                  </a:cxn>
                  <a:cxn ang="0">
                    <a:pos x="554" y="626"/>
                  </a:cxn>
                  <a:cxn ang="0">
                    <a:pos x="492" y="588"/>
                  </a:cxn>
                  <a:cxn ang="0">
                    <a:pos x="483" y="638"/>
                  </a:cxn>
                  <a:cxn ang="0">
                    <a:pos x="504" y="672"/>
                  </a:cxn>
                  <a:cxn ang="0">
                    <a:pos x="406" y="678"/>
                  </a:cxn>
                  <a:cxn ang="0">
                    <a:pos x="347" y="758"/>
                  </a:cxn>
                  <a:cxn ang="0">
                    <a:pos x="287" y="781"/>
                  </a:cxn>
                  <a:cxn ang="0">
                    <a:pos x="257" y="837"/>
                  </a:cxn>
                  <a:cxn ang="0">
                    <a:pos x="233" y="877"/>
                  </a:cxn>
                  <a:cxn ang="0">
                    <a:pos x="215" y="922"/>
                  </a:cxn>
                  <a:cxn ang="0">
                    <a:pos x="241" y="852"/>
                  </a:cxn>
                  <a:cxn ang="0">
                    <a:pos x="320" y="769"/>
                  </a:cxn>
                  <a:cxn ang="0">
                    <a:pos x="552" y="552"/>
                  </a:cxn>
                  <a:cxn ang="0">
                    <a:pos x="533" y="520"/>
                  </a:cxn>
                  <a:cxn ang="0">
                    <a:pos x="629" y="459"/>
                  </a:cxn>
                  <a:cxn ang="0">
                    <a:pos x="610" y="336"/>
                  </a:cxn>
                  <a:cxn ang="0">
                    <a:pos x="664" y="136"/>
                  </a:cxn>
                  <a:cxn ang="0">
                    <a:pos x="446" y="19"/>
                  </a:cxn>
                  <a:cxn ang="0">
                    <a:pos x="370" y="99"/>
                  </a:cxn>
                  <a:cxn ang="0">
                    <a:pos x="16" y="273"/>
                  </a:cxn>
                  <a:cxn ang="0">
                    <a:pos x="142" y="482"/>
                  </a:cxn>
                  <a:cxn ang="0">
                    <a:pos x="135" y="510"/>
                  </a:cxn>
                  <a:cxn ang="0">
                    <a:pos x="172" y="899"/>
                  </a:cxn>
                  <a:cxn ang="0">
                    <a:pos x="108" y="718"/>
                  </a:cxn>
                  <a:cxn ang="0">
                    <a:pos x="165" y="586"/>
                  </a:cxn>
                  <a:cxn ang="0">
                    <a:pos x="161" y="618"/>
                  </a:cxn>
                </a:cxnLst>
                <a:rect l="0" t="0" r="r" b="b"/>
                <a:pathLst>
                  <a:path w="721" h="932">
                    <a:moveTo>
                      <a:pt x="215" y="922"/>
                    </a:moveTo>
                    <a:lnTo>
                      <a:pt x="207" y="918"/>
                    </a:lnTo>
                    <a:lnTo>
                      <a:pt x="203" y="918"/>
                    </a:lnTo>
                    <a:lnTo>
                      <a:pt x="201" y="918"/>
                    </a:lnTo>
                    <a:lnTo>
                      <a:pt x="203" y="915"/>
                    </a:lnTo>
                    <a:lnTo>
                      <a:pt x="203" y="915"/>
                    </a:lnTo>
                    <a:lnTo>
                      <a:pt x="203" y="913"/>
                    </a:lnTo>
                    <a:lnTo>
                      <a:pt x="201" y="913"/>
                    </a:lnTo>
                    <a:lnTo>
                      <a:pt x="200" y="915"/>
                    </a:lnTo>
                    <a:lnTo>
                      <a:pt x="200" y="915"/>
                    </a:lnTo>
                    <a:lnTo>
                      <a:pt x="198" y="918"/>
                    </a:lnTo>
                    <a:lnTo>
                      <a:pt x="196" y="918"/>
                    </a:lnTo>
                    <a:lnTo>
                      <a:pt x="195" y="918"/>
                    </a:lnTo>
                    <a:lnTo>
                      <a:pt x="195" y="918"/>
                    </a:lnTo>
                    <a:lnTo>
                      <a:pt x="195" y="922"/>
                    </a:lnTo>
                    <a:lnTo>
                      <a:pt x="193" y="924"/>
                    </a:lnTo>
                    <a:lnTo>
                      <a:pt x="191" y="922"/>
                    </a:lnTo>
                    <a:lnTo>
                      <a:pt x="193" y="918"/>
                    </a:lnTo>
                    <a:lnTo>
                      <a:pt x="193" y="918"/>
                    </a:lnTo>
                    <a:lnTo>
                      <a:pt x="193" y="915"/>
                    </a:lnTo>
                    <a:lnTo>
                      <a:pt x="196" y="911"/>
                    </a:lnTo>
                    <a:lnTo>
                      <a:pt x="196" y="910"/>
                    </a:lnTo>
                    <a:lnTo>
                      <a:pt x="195" y="911"/>
                    </a:lnTo>
                    <a:lnTo>
                      <a:pt x="191" y="918"/>
                    </a:lnTo>
                    <a:lnTo>
                      <a:pt x="188" y="918"/>
                    </a:lnTo>
                    <a:lnTo>
                      <a:pt x="188" y="918"/>
                    </a:lnTo>
                    <a:lnTo>
                      <a:pt x="188" y="918"/>
                    </a:lnTo>
                    <a:lnTo>
                      <a:pt x="191" y="915"/>
                    </a:lnTo>
                    <a:lnTo>
                      <a:pt x="191" y="911"/>
                    </a:lnTo>
                    <a:lnTo>
                      <a:pt x="193" y="908"/>
                    </a:lnTo>
                    <a:lnTo>
                      <a:pt x="191" y="908"/>
                    </a:lnTo>
                    <a:lnTo>
                      <a:pt x="189" y="908"/>
                    </a:lnTo>
                    <a:lnTo>
                      <a:pt x="188" y="911"/>
                    </a:lnTo>
                    <a:lnTo>
                      <a:pt x="188" y="911"/>
                    </a:lnTo>
                    <a:lnTo>
                      <a:pt x="188" y="911"/>
                    </a:lnTo>
                    <a:lnTo>
                      <a:pt x="188" y="908"/>
                    </a:lnTo>
                    <a:lnTo>
                      <a:pt x="189" y="906"/>
                    </a:lnTo>
                    <a:lnTo>
                      <a:pt x="188" y="905"/>
                    </a:lnTo>
                    <a:lnTo>
                      <a:pt x="188" y="906"/>
                    </a:lnTo>
                    <a:lnTo>
                      <a:pt x="184" y="908"/>
                    </a:lnTo>
                    <a:lnTo>
                      <a:pt x="184" y="908"/>
                    </a:lnTo>
                    <a:lnTo>
                      <a:pt x="184" y="911"/>
                    </a:lnTo>
                    <a:lnTo>
                      <a:pt x="182" y="908"/>
                    </a:lnTo>
                    <a:lnTo>
                      <a:pt x="182" y="906"/>
                    </a:lnTo>
                    <a:lnTo>
                      <a:pt x="181" y="906"/>
                    </a:lnTo>
                    <a:lnTo>
                      <a:pt x="179" y="908"/>
                    </a:lnTo>
                    <a:lnTo>
                      <a:pt x="177" y="908"/>
                    </a:lnTo>
                    <a:lnTo>
                      <a:pt x="179" y="906"/>
                    </a:lnTo>
                    <a:lnTo>
                      <a:pt x="184" y="903"/>
                    </a:lnTo>
                    <a:lnTo>
                      <a:pt x="184" y="901"/>
                    </a:lnTo>
                    <a:lnTo>
                      <a:pt x="184" y="899"/>
                    </a:lnTo>
                    <a:lnTo>
                      <a:pt x="188" y="899"/>
                    </a:lnTo>
                    <a:lnTo>
                      <a:pt x="188" y="896"/>
                    </a:lnTo>
                    <a:lnTo>
                      <a:pt x="184" y="899"/>
                    </a:lnTo>
                    <a:lnTo>
                      <a:pt x="182" y="899"/>
                    </a:lnTo>
                    <a:lnTo>
                      <a:pt x="181" y="899"/>
                    </a:lnTo>
                    <a:lnTo>
                      <a:pt x="182" y="899"/>
                    </a:lnTo>
                    <a:lnTo>
                      <a:pt x="184" y="899"/>
                    </a:lnTo>
                    <a:lnTo>
                      <a:pt x="188" y="896"/>
                    </a:lnTo>
                    <a:lnTo>
                      <a:pt x="189" y="896"/>
                    </a:lnTo>
                    <a:lnTo>
                      <a:pt x="191" y="894"/>
                    </a:lnTo>
                    <a:lnTo>
                      <a:pt x="191" y="891"/>
                    </a:lnTo>
                    <a:lnTo>
                      <a:pt x="191" y="887"/>
                    </a:lnTo>
                    <a:lnTo>
                      <a:pt x="189" y="887"/>
                    </a:lnTo>
                    <a:lnTo>
                      <a:pt x="188" y="894"/>
                    </a:lnTo>
                    <a:lnTo>
                      <a:pt x="182" y="896"/>
                    </a:lnTo>
                    <a:lnTo>
                      <a:pt x="179" y="896"/>
                    </a:lnTo>
                    <a:lnTo>
                      <a:pt x="177" y="896"/>
                    </a:lnTo>
                    <a:lnTo>
                      <a:pt x="179" y="896"/>
                    </a:lnTo>
                    <a:lnTo>
                      <a:pt x="181" y="896"/>
                    </a:lnTo>
                    <a:lnTo>
                      <a:pt x="184" y="891"/>
                    </a:lnTo>
                    <a:lnTo>
                      <a:pt x="184" y="887"/>
                    </a:lnTo>
                    <a:lnTo>
                      <a:pt x="182" y="885"/>
                    </a:lnTo>
                    <a:lnTo>
                      <a:pt x="181" y="885"/>
                    </a:lnTo>
                    <a:lnTo>
                      <a:pt x="179" y="885"/>
                    </a:lnTo>
                    <a:lnTo>
                      <a:pt x="179" y="887"/>
                    </a:lnTo>
                    <a:lnTo>
                      <a:pt x="181" y="887"/>
                    </a:lnTo>
                    <a:lnTo>
                      <a:pt x="181" y="891"/>
                    </a:lnTo>
                    <a:lnTo>
                      <a:pt x="179" y="891"/>
                    </a:lnTo>
                    <a:lnTo>
                      <a:pt x="177" y="891"/>
                    </a:lnTo>
                    <a:lnTo>
                      <a:pt x="174" y="891"/>
                    </a:lnTo>
                    <a:lnTo>
                      <a:pt x="172" y="891"/>
                    </a:lnTo>
                    <a:lnTo>
                      <a:pt x="170" y="894"/>
                    </a:lnTo>
                    <a:lnTo>
                      <a:pt x="168" y="896"/>
                    </a:lnTo>
                    <a:lnTo>
                      <a:pt x="167" y="896"/>
                    </a:lnTo>
                    <a:lnTo>
                      <a:pt x="165" y="896"/>
                    </a:lnTo>
                    <a:lnTo>
                      <a:pt x="165" y="896"/>
                    </a:lnTo>
                    <a:lnTo>
                      <a:pt x="161" y="896"/>
                    </a:lnTo>
                    <a:lnTo>
                      <a:pt x="160" y="896"/>
                    </a:lnTo>
                    <a:lnTo>
                      <a:pt x="158" y="896"/>
                    </a:lnTo>
                    <a:lnTo>
                      <a:pt x="156" y="896"/>
                    </a:lnTo>
                    <a:lnTo>
                      <a:pt x="156" y="899"/>
                    </a:lnTo>
                    <a:lnTo>
                      <a:pt x="156" y="899"/>
                    </a:lnTo>
                    <a:lnTo>
                      <a:pt x="156" y="899"/>
                    </a:lnTo>
                    <a:lnTo>
                      <a:pt x="151" y="899"/>
                    </a:lnTo>
                    <a:lnTo>
                      <a:pt x="149" y="896"/>
                    </a:lnTo>
                    <a:lnTo>
                      <a:pt x="151" y="896"/>
                    </a:lnTo>
                    <a:lnTo>
                      <a:pt x="155" y="896"/>
                    </a:lnTo>
                    <a:lnTo>
                      <a:pt x="156" y="894"/>
                    </a:lnTo>
                    <a:lnTo>
                      <a:pt x="156" y="891"/>
                    </a:lnTo>
                    <a:lnTo>
                      <a:pt x="153" y="891"/>
                    </a:lnTo>
                    <a:lnTo>
                      <a:pt x="153" y="887"/>
                    </a:lnTo>
                    <a:lnTo>
                      <a:pt x="149" y="885"/>
                    </a:lnTo>
                    <a:lnTo>
                      <a:pt x="149" y="884"/>
                    </a:lnTo>
                    <a:lnTo>
                      <a:pt x="148" y="885"/>
                    </a:lnTo>
                    <a:lnTo>
                      <a:pt x="142" y="887"/>
                    </a:lnTo>
                    <a:lnTo>
                      <a:pt x="142" y="887"/>
                    </a:lnTo>
                    <a:lnTo>
                      <a:pt x="139" y="885"/>
                    </a:lnTo>
                    <a:lnTo>
                      <a:pt x="142" y="882"/>
                    </a:lnTo>
                    <a:lnTo>
                      <a:pt x="142" y="880"/>
                    </a:lnTo>
                    <a:lnTo>
                      <a:pt x="139" y="880"/>
                    </a:lnTo>
                    <a:lnTo>
                      <a:pt x="139" y="880"/>
                    </a:lnTo>
                    <a:lnTo>
                      <a:pt x="142" y="878"/>
                    </a:lnTo>
                    <a:lnTo>
                      <a:pt x="146" y="878"/>
                    </a:lnTo>
                    <a:lnTo>
                      <a:pt x="146" y="877"/>
                    </a:lnTo>
                    <a:lnTo>
                      <a:pt x="146" y="875"/>
                    </a:lnTo>
                    <a:lnTo>
                      <a:pt x="144" y="875"/>
                    </a:lnTo>
                    <a:lnTo>
                      <a:pt x="142" y="875"/>
                    </a:lnTo>
                    <a:lnTo>
                      <a:pt x="139" y="877"/>
                    </a:lnTo>
                    <a:lnTo>
                      <a:pt x="135" y="878"/>
                    </a:lnTo>
                    <a:lnTo>
                      <a:pt x="130" y="877"/>
                    </a:lnTo>
                    <a:lnTo>
                      <a:pt x="134" y="875"/>
                    </a:lnTo>
                    <a:lnTo>
                      <a:pt x="135" y="875"/>
                    </a:lnTo>
                    <a:lnTo>
                      <a:pt x="137" y="873"/>
                    </a:lnTo>
                    <a:lnTo>
                      <a:pt x="137" y="871"/>
                    </a:lnTo>
                    <a:lnTo>
                      <a:pt x="139" y="868"/>
                    </a:lnTo>
                    <a:lnTo>
                      <a:pt x="142" y="868"/>
                    </a:lnTo>
                    <a:lnTo>
                      <a:pt x="142" y="868"/>
                    </a:lnTo>
                    <a:lnTo>
                      <a:pt x="139" y="865"/>
                    </a:lnTo>
                    <a:lnTo>
                      <a:pt x="137" y="868"/>
                    </a:lnTo>
                    <a:lnTo>
                      <a:pt x="134" y="868"/>
                    </a:lnTo>
                    <a:lnTo>
                      <a:pt x="130" y="868"/>
                    </a:lnTo>
                    <a:lnTo>
                      <a:pt x="134" y="865"/>
                    </a:lnTo>
                    <a:lnTo>
                      <a:pt x="135" y="863"/>
                    </a:lnTo>
                    <a:lnTo>
                      <a:pt x="139" y="865"/>
                    </a:lnTo>
                    <a:lnTo>
                      <a:pt x="139" y="863"/>
                    </a:lnTo>
                    <a:lnTo>
                      <a:pt x="142" y="863"/>
                    </a:lnTo>
                    <a:lnTo>
                      <a:pt x="142" y="859"/>
                    </a:lnTo>
                    <a:lnTo>
                      <a:pt x="142" y="859"/>
                    </a:lnTo>
                    <a:lnTo>
                      <a:pt x="142" y="858"/>
                    </a:lnTo>
                    <a:lnTo>
                      <a:pt x="137" y="859"/>
                    </a:lnTo>
                    <a:lnTo>
                      <a:pt x="137" y="859"/>
                    </a:lnTo>
                    <a:lnTo>
                      <a:pt x="135" y="863"/>
                    </a:lnTo>
                    <a:lnTo>
                      <a:pt x="130" y="863"/>
                    </a:lnTo>
                    <a:lnTo>
                      <a:pt x="134" y="859"/>
                    </a:lnTo>
                    <a:lnTo>
                      <a:pt x="135" y="859"/>
                    </a:lnTo>
                    <a:lnTo>
                      <a:pt x="135" y="858"/>
                    </a:lnTo>
                    <a:lnTo>
                      <a:pt x="134" y="856"/>
                    </a:lnTo>
                    <a:lnTo>
                      <a:pt x="135" y="854"/>
                    </a:lnTo>
                    <a:lnTo>
                      <a:pt x="135" y="854"/>
                    </a:lnTo>
                    <a:lnTo>
                      <a:pt x="134" y="852"/>
                    </a:lnTo>
                    <a:lnTo>
                      <a:pt x="130" y="852"/>
                    </a:lnTo>
                    <a:lnTo>
                      <a:pt x="130" y="852"/>
                    </a:lnTo>
                    <a:lnTo>
                      <a:pt x="134" y="851"/>
                    </a:lnTo>
                    <a:lnTo>
                      <a:pt x="130" y="847"/>
                    </a:lnTo>
                    <a:lnTo>
                      <a:pt x="130" y="847"/>
                    </a:lnTo>
                    <a:lnTo>
                      <a:pt x="128" y="849"/>
                    </a:lnTo>
                    <a:lnTo>
                      <a:pt x="127" y="849"/>
                    </a:lnTo>
                    <a:lnTo>
                      <a:pt x="127" y="847"/>
                    </a:lnTo>
                    <a:lnTo>
                      <a:pt x="128" y="845"/>
                    </a:lnTo>
                    <a:lnTo>
                      <a:pt x="130" y="842"/>
                    </a:lnTo>
                    <a:lnTo>
                      <a:pt x="130" y="842"/>
                    </a:lnTo>
                    <a:lnTo>
                      <a:pt x="134" y="840"/>
                    </a:lnTo>
                    <a:lnTo>
                      <a:pt x="130" y="837"/>
                    </a:lnTo>
                    <a:lnTo>
                      <a:pt x="134" y="837"/>
                    </a:lnTo>
                    <a:lnTo>
                      <a:pt x="134" y="835"/>
                    </a:lnTo>
                    <a:lnTo>
                      <a:pt x="134" y="831"/>
                    </a:lnTo>
                    <a:lnTo>
                      <a:pt x="130" y="835"/>
                    </a:lnTo>
                    <a:lnTo>
                      <a:pt x="130" y="835"/>
                    </a:lnTo>
                    <a:lnTo>
                      <a:pt x="130" y="831"/>
                    </a:lnTo>
                    <a:lnTo>
                      <a:pt x="127" y="831"/>
                    </a:lnTo>
                    <a:lnTo>
                      <a:pt x="127" y="835"/>
                    </a:lnTo>
                    <a:lnTo>
                      <a:pt x="125" y="835"/>
                    </a:lnTo>
                    <a:lnTo>
                      <a:pt x="123" y="831"/>
                    </a:lnTo>
                    <a:lnTo>
                      <a:pt x="125" y="830"/>
                    </a:lnTo>
                    <a:lnTo>
                      <a:pt x="128" y="828"/>
                    </a:lnTo>
                    <a:lnTo>
                      <a:pt x="128" y="826"/>
                    </a:lnTo>
                    <a:lnTo>
                      <a:pt x="127" y="825"/>
                    </a:lnTo>
                    <a:lnTo>
                      <a:pt x="123" y="825"/>
                    </a:lnTo>
                    <a:lnTo>
                      <a:pt x="122" y="826"/>
                    </a:lnTo>
                    <a:lnTo>
                      <a:pt x="120" y="826"/>
                    </a:lnTo>
                    <a:lnTo>
                      <a:pt x="120" y="825"/>
                    </a:lnTo>
                    <a:lnTo>
                      <a:pt x="120" y="823"/>
                    </a:lnTo>
                    <a:lnTo>
                      <a:pt x="122" y="823"/>
                    </a:lnTo>
                    <a:lnTo>
                      <a:pt x="125" y="823"/>
                    </a:lnTo>
                    <a:lnTo>
                      <a:pt x="128" y="823"/>
                    </a:lnTo>
                    <a:lnTo>
                      <a:pt x="130" y="821"/>
                    </a:lnTo>
                    <a:lnTo>
                      <a:pt x="128" y="821"/>
                    </a:lnTo>
                    <a:lnTo>
                      <a:pt x="127" y="819"/>
                    </a:lnTo>
                    <a:lnTo>
                      <a:pt x="123" y="819"/>
                    </a:lnTo>
                    <a:lnTo>
                      <a:pt x="122" y="821"/>
                    </a:lnTo>
                    <a:lnTo>
                      <a:pt x="120" y="821"/>
                    </a:lnTo>
                    <a:lnTo>
                      <a:pt x="120" y="819"/>
                    </a:lnTo>
                    <a:lnTo>
                      <a:pt x="122" y="816"/>
                    </a:lnTo>
                    <a:lnTo>
                      <a:pt x="125" y="816"/>
                    </a:lnTo>
                    <a:lnTo>
                      <a:pt x="127" y="816"/>
                    </a:lnTo>
                    <a:lnTo>
                      <a:pt x="125" y="814"/>
                    </a:lnTo>
                    <a:lnTo>
                      <a:pt x="123" y="814"/>
                    </a:lnTo>
                    <a:lnTo>
                      <a:pt x="122" y="812"/>
                    </a:lnTo>
                    <a:lnTo>
                      <a:pt x="123" y="812"/>
                    </a:lnTo>
                    <a:lnTo>
                      <a:pt x="125" y="812"/>
                    </a:lnTo>
                    <a:lnTo>
                      <a:pt x="127" y="814"/>
                    </a:lnTo>
                    <a:lnTo>
                      <a:pt x="130" y="812"/>
                    </a:lnTo>
                    <a:lnTo>
                      <a:pt x="130" y="812"/>
                    </a:lnTo>
                    <a:lnTo>
                      <a:pt x="130" y="809"/>
                    </a:lnTo>
                    <a:lnTo>
                      <a:pt x="130" y="812"/>
                    </a:lnTo>
                    <a:lnTo>
                      <a:pt x="127" y="812"/>
                    </a:lnTo>
                    <a:lnTo>
                      <a:pt x="125" y="812"/>
                    </a:lnTo>
                    <a:lnTo>
                      <a:pt x="123" y="812"/>
                    </a:lnTo>
                    <a:lnTo>
                      <a:pt x="122" y="812"/>
                    </a:lnTo>
                    <a:lnTo>
                      <a:pt x="120" y="812"/>
                    </a:lnTo>
                    <a:lnTo>
                      <a:pt x="120" y="814"/>
                    </a:lnTo>
                    <a:lnTo>
                      <a:pt x="116" y="812"/>
                    </a:lnTo>
                    <a:lnTo>
                      <a:pt x="116" y="809"/>
                    </a:lnTo>
                    <a:lnTo>
                      <a:pt x="116" y="809"/>
                    </a:lnTo>
                    <a:lnTo>
                      <a:pt x="120" y="809"/>
                    </a:lnTo>
                    <a:lnTo>
                      <a:pt x="123" y="807"/>
                    </a:lnTo>
                    <a:lnTo>
                      <a:pt x="123" y="804"/>
                    </a:lnTo>
                    <a:lnTo>
                      <a:pt x="120" y="807"/>
                    </a:lnTo>
                    <a:lnTo>
                      <a:pt x="116" y="804"/>
                    </a:lnTo>
                    <a:lnTo>
                      <a:pt x="116" y="804"/>
                    </a:lnTo>
                    <a:lnTo>
                      <a:pt x="116" y="800"/>
                    </a:lnTo>
                    <a:lnTo>
                      <a:pt x="120" y="800"/>
                    </a:lnTo>
                    <a:lnTo>
                      <a:pt x="127" y="800"/>
                    </a:lnTo>
                    <a:lnTo>
                      <a:pt x="130" y="800"/>
                    </a:lnTo>
                    <a:lnTo>
                      <a:pt x="135" y="800"/>
                    </a:lnTo>
                    <a:lnTo>
                      <a:pt x="137" y="797"/>
                    </a:lnTo>
                    <a:lnTo>
                      <a:pt x="137" y="797"/>
                    </a:lnTo>
                    <a:lnTo>
                      <a:pt x="135" y="797"/>
                    </a:lnTo>
                    <a:lnTo>
                      <a:pt x="130" y="795"/>
                    </a:lnTo>
                    <a:lnTo>
                      <a:pt x="128" y="797"/>
                    </a:lnTo>
                    <a:lnTo>
                      <a:pt x="123" y="798"/>
                    </a:lnTo>
                    <a:lnTo>
                      <a:pt x="122" y="800"/>
                    </a:lnTo>
                    <a:lnTo>
                      <a:pt x="120" y="800"/>
                    </a:lnTo>
                    <a:lnTo>
                      <a:pt x="116" y="798"/>
                    </a:lnTo>
                    <a:lnTo>
                      <a:pt x="120" y="797"/>
                    </a:lnTo>
                    <a:lnTo>
                      <a:pt x="123" y="798"/>
                    </a:lnTo>
                    <a:lnTo>
                      <a:pt x="125" y="797"/>
                    </a:lnTo>
                    <a:lnTo>
                      <a:pt x="128" y="791"/>
                    </a:lnTo>
                    <a:lnTo>
                      <a:pt x="130" y="791"/>
                    </a:lnTo>
                    <a:lnTo>
                      <a:pt x="134" y="791"/>
                    </a:lnTo>
                    <a:lnTo>
                      <a:pt x="135" y="795"/>
                    </a:lnTo>
                    <a:lnTo>
                      <a:pt x="137" y="795"/>
                    </a:lnTo>
                    <a:lnTo>
                      <a:pt x="139" y="793"/>
                    </a:lnTo>
                    <a:lnTo>
                      <a:pt x="137" y="793"/>
                    </a:lnTo>
                    <a:lnTo>
                      <a:pt x="134" y="790"/>
                    </a:lnTo>
                    <a:lnTo>
                      <a:pt x="130" y="790"/>
                    </a:lnTo>
                    <a:lnTo>
                      <a:pt x="130" y="788"/>
                    </a:lnTo>
                    <a:lnTo>
                      <a:pt x="130" y="786"/>
                    </a:lnTo>
                    <a:lnTo>
                      <a:pt x="134" y="786"/>
                    </a:lnTo>
                    <a:lnTo>
                      <a:pt x="135" y="785"/>
                    </a:lnTo>
                    <a:lnTo>
                      <a:pt x="135" y="785"/>
                    </a:lnTo>
                    <a:lnTo>
                      <a:pt x="137" y="788"/>
                    </a:lnTo>
                    <a:lnTo>
                      <a:pt x="139" y="791"/>
                    </a:lnTo>
                    <a:lnTo>
                      <a:pt x="142" y="793"/>
                    </a:lnTo>
                    <a:lnTo>
                      <a:pt x="142" y="791"/>
                    </a:lnTo>
                    <a:lnTo>
                      <a:pt x="142" y="790"/>
                    </a:lnTo>
                    <a:lnTo>
                      <a:pt x="139" y="788"/>
                    </a:lnTo>
                    <a:lnTo>
                      <a:pt x="139" y="785"/>
                    </a:lnTo>
                    <a:lnTo>
                      <a:pt x="142" y="781"/>
                    </a:lnTo>
                    <a:lnTo>
                      <a:pt x="142" y="781"/>
                    </a:lnTo>
                    <a:lnTo>
                      <a:pt x="139" y="781"/>
                    </a:lnTo>
                    <a:lnTo>
                      <a:pt x="139" y="781"/>
                    </a:lnTo>
                    <a:lnTo>
                      <a:pt x="137" y="781"/>
                    </a:lnTo>
                    <a:lnTo>
                      <a:pt x="135" y="781"/>
                    </a:lnTo>
                    <a:lnTo>
                      <a:pt x="134" y="781"/>
                    </a:lnTo>
                    <a:lnTo>
                      <a:pt x="130" y="785"/>
                    </a:lnTo>
                    <a:lnTo>
                      <a:pt x="128" y="785"/>
                    </a:lnTo>
                    <a:lnTo>
                      <a:pt x="127" y="785"/>
                    </a:lnTo>
                    <a:lnTo>
                      <a:pt x="127" y="785"/>
                    </a:lnTo>
                    <a:lnTo>
                      <a:pt x="128" y="781"/>
                    </a:lnTo>
                    <a:lnTo>
                      <a:pt x="128" y="781"/>
                    </a:lnTo>
                    <a:lnTo>
                      <a:pt x="127" y="781"/>
                    </a:lnTo>
                    <a:lnTo>
                      <a:pt x="125" y="785"/>
                    </a:lnTo>
                    <a:lnTo>
                      <a:pt x="123" y="785"/>
                    </a:lnTo>
                    <a:lnTo>
                      <a:pt x="120" y="788"/>
                    </a:lnTo>
                    <a:lnTo>
                      <a:pt x="120" y="790"/>
                    </a:lnTo>
                    <a:lnTo>
                      <a:pt x="116" y="793"/>
                    </a:lnTo>
                    <a:lnTo>
                      <a:pt x="115" y="793"/>
                    </a:lnTo>
                    <a:lnTo>
                      <a:pt x="115" y="790"/>
                    </a:lnTo>
                    <a:lnTo>
                      <a:pt x="115" y="786"/>
                    </a:lnTo>
                    <a:lnTo>
                      <a:pt x="116" y="785"/>
                    </a:lnTo>
                    <a:lnTo>
                      <a:pt x="113" y="785"/>
                    </a:lnTo>
                    <a:lnTo>
                      <a:pt x="115" y="781"/>
                    </a:lnTo>
                    <a:lnTo>
                      <a:pt x="115" y="778"/>
                    </a:lnTo>
                    <a:lnTo>
                      <a:pt x="116" y="778"/>
                    </a:lnTo>
                    <a:lnTo>
                      <a:pt x="120" y="778"/>
                    </a:lnTo>
                    <a:lnTo>
                      <a:pt x="123" y="778"/>
                    </a:lnTo>
                    <a:lnTo>
                      <a:pt x="125" y="772"/>
                    </a:lnTo>
                    <a:lnTo>
                      <a:pt x="127" y="772"/>
                    </a:lnTo>
                    <a:lnTo>
                      <a:pt x="125" y="772"/>
                    </a:lnTo>
                    <a:lnTo>
                      <a:pt x="123" y="772"/>
                    </a:lnTo>
                    <a:lnTo>
                      <a:pt x="122" y="772"/>
                    </a:lnTo>
                    <a:lnTo>
                      <a:pt x="120" y="772"/>
                    </a:lnTo>
                    <a:lnTo>
                      <a:pt x="120" y="776"/>
                    </a:lnTo>
                    <a:lnTo>
                      <a:pt x="116" y="778"/>
                    </a:lnTo>
                    <a:lnTo>
                      <a:pt x="116" y="778"/>
                    </a:lnTo>
                    <a:lnTo>
                      <a:pt x="115" y="772"/>
                    </a:lnTo>
                    <a:lnTo>
                      <a:pt x="115" y="769"/>
                    </a:lnTo>
                    <a:lnTo>
                      <a:pt x="116" y="769"/>
                    </a:lnTo>
                    <a:lnTo>
                      <a:pt x="116" y="765"/>
                    </a:lnTo>
                    <a:lnTo>
                      <a:pt x="115" y="762"/>
                    </a:lnTo>
                    <a:lnTo>
                      <a:pt x="115" y="762"/>
                    </a:lnTo>
                    <a:lnTo>
                      <a:pt x="113" y="765"/>
                    </a:lnTo>
                    <a:lnTo>
                      <a:pt x="111" y="764"/>
                    </a:lnTo>
                    <a:lnTo>
                      <a:pt x="108" y="762"/>
                    </a:lnTo>
                    <a:lnTo>
                      <a:pt x="113" y="760"/>
                    </a:lnTo>
                    <a:lnTo>
                      <a:pt x="116" y="760"/>
                    </a:lnTo>
                    <a:lnTo>
                      <a:pt x="116" y="758"/>
                    </a:lnTo>
                    <a:lnTo>
                      <a:pt x="122" y="757"/>
                    </a:lnTo>
                    <a:lnTo>
                      <a:pt x="123" y="755"/>
                    </a:lnTo>
                    <a:lnTo>
                      <a:pt x="125" y="755"/>
                    </a:lnTo>
                    <a:lnTo>
                      <a:pt x="125" y="753"/>
                    </a:lnTo>
                    <a:lnTo>
                      <a:pt x="127" y="750"/>
                    </a:lnTo>
                    <a:lnTo>
                      <a:pt x="128" y="753"/>
                    </a:lnTo>
                    <a:lnTo>
                      <a:pt x="128" y="750"/>
                    </a:lnTo>
                    <a:lnTo>
                      <a:pt x="135" y="750"/>
                    </a:lnTo>
                    <a:lnTo>
                      <a:pt x="137" y="753"/>
                    </a:lnTo>
                    <a:lnTo>
                      <a:pt x="139" y="753"/>
                    </a:lnTo>
                    <a:lnTo>
                      <a:pt x="139" y="750"/>
                    </a:lnTo>
                    <a:lnTo>
                      <a:pt x="135" y="750"/>
                    </a:lnTo>
                    <a:lnTo>
                      <a:pt x="134" y="748"/>
                    </a:lnTo>
                    <a:lnTo>
                      <a:pt x="130" y="748"/>
                    </a:lnTo>
                    <a:lnTo>
                      <a:pt x="125" y="750"/>
                    </a:lnTo>
                    <a:lnTo>
                      <a:pt x="123" y="750"/>
                    </a:lnTo>
                    <a:lnTo>
                      <a:pt x="122" y="750"/>
                    </a:lnTo>
                    <a:lnTo>
                      <a:pt x="122" y="753"/>
                    </a:lnTo>
                    <a:lnTo>
                      <a:pt x="120" y="755"/>
                    </a:lnTo>
                    <a:lnTo>
                      <a:pt x="116" y="755"/>
                    </a:lnTo>
                    <a:lnTo>
                      <a:pt x="116" y="758"/>
                    </a:lnTo>
                    <a:lnTo>
                      <a:pt x="115" y="758"/>
                    </a:lnTo>
                    <a:lnTo>
                      <a:pt x="113" y="757"/>
                    </a:lnTo>
                    <a:lnTo>
                      <a:pt x="115" y="755"/>
                    </a:lnTo>
                    <a:lnTo>
                      <a:pt x="111" y="753"/>
                    </a:lnTo>
                    <a:lnTo>
                      <a:pt x="113" y="753"/>
                    </a:lnTo>
                    <a:lnTo>
                      <a:pt x="115" y="750"/>
                    </a:lnTo>
                    <a:lnTo>
                      <a:pt x="111" y="750"/>
                    </a:lnTo>
                    <a:lnTo>
                      <a:pt x="108" y="750"/>
                    </a:lnTo>
                    <a:lnTo>
                      <a:pt x="108" y="748"/>
                    </a:lnTo>
                    <a:lnTo>
                      <a:pt x="108" y="745"/>
                    </a:lnTo>
                    <a:lnTo>
                      <a:pt x="111" y="745"/>
                    </a:lnTo>
                    <a:lnTo>
                      <a:pt x="115" y="743"/>
                    </a:lnTo>
                    <a:lnTo>
                      <a:pt x="116" y="743"/>
                    </a:lnTo>
                    <a:lnTo>
                      <a:pt x="116" y="745"/>
                    </a:lnTo>
                    <a:lnTo>
                      <a:pt x="120" y="745"/>
                    </a:lnTo>
                    <a:lnTo>
                      <a:pt x="122" y="743"/>
                    </a:lnTo>
                    <a:lnTo>
                      <a:pt x="123" y="741"/>
                    </a:lnTo>
                    <a:lnTo>
                      <a:pt x="127" y="741"/>
                    </a:lnTo>
                    <a:lnTo>
                      <a:pt x="127" y="739"/>
                    </a:lnTo>
                    <a:lnTo>
                      <a:pt x="127" y="739"/>
                    </a:lnTo>
                    <a:lnTo>
                      <a:pt x="123" y="738"/>
                    </a:lnTo>
                    <a:lnTo>
                      <a:pt x="120" y="741"/>
                    </a:lnTo>
                    <a:lnTo>
                      <a:pt x="120" y="743"/>
                    </a:lnTo>
                    <a:lnTo>
                      <a:pt x="116" y="741"/>
                    </a:lnTo>
                    <a:lnTo>
                      <a:pt x="116" y="739"/>
                    </a:lnTo>
                    <a:lnTo>
                      <a:pt x="115" y="739"/>
                    </a:lnTo>
                    <a:lnTo>
                      <a:pt x="113" y="741"/>
                    </a:lnTo>
                    <a:lnTo>
                      <a:pt x="108" y="743"/>
                    </a:lnTo>
                    <a:lnTo>
                      <a:pt x="108" y="741"/>
                    </a:lnTo>
                    <a:lnTo>
                      <a:pt x="108" y="741"/>
                    </a:lnTo>
                    <a:lnTo>
                      <a:pt x="106" y="741"/>
                    </a:lnTo>
                    <a:lnTo>
                      <a:pt x="104" y="741"/>
                    </a:lnTo>
                    <a:lnTo>
                      <a:pt x="104" y="739"/>
                    </a:lnTo>
                    <a:lnTo>
                      <a:pt x="106" y="739"/>
                    </a:lnTo>
                    <a:lnTo>
                      <a:pt x="111" y="738"/>
                    </a:lnTo>
                    <a:lnTo>
                      <a:pt x="116" y="734"/>
                    </a:lnTo>
                    <a:lnTo>
                      <a:pt x="120" y="734"/>
                    </a:lnTo>
                    <a:lnTo>
                      <a:pt x="123" y="732"/>
                    </a:lnTo>
                    <a:lnTo>
                      <a:pt x="125" y="729"/>
                    </a:lnTo>
                    <a:lnTo>
                      <a:pt x="130" y="725"/>
                    </a:lnTo>
                    <a:lnTo>
                      <a:pt x="137" y="722"/>
                    </a:lnTo>
                    <a:lnTo>
                      <a:pt x="139" y="720"/>
                    </a:lnTo>
                    <a:lnTo>
                      <a:pt x="142" y="720"/>
                    </a:lnTo>
                    <a:lnTo>
                      <a:pt x="144" y="718"/>
                    </a:lnTo>
                    <a:lnTo>
                      <a:pt x="144" y="718"/>
                    </a:lnTo>
                    <a:lnTo>
                      <a:pt x="142" y="717"/>
                    </a:lnTo>
                    <a:lnTo>
                      <a:pt x="139" y="718"/>
                    </a:lnTo>
                    <a:lnTo>
                      <a:pt x="128" y="722"/>
                    </a:lnTo>
                    <a:lnTo>
                      <a:pt x="125" y="725"/>
                    </a:lnTo>
                    <a:lnTo>
                      <a:pt x="123" y="729"/>
                    </a:lnTo>
                    <a:lnTo>
                      <a:pt x="120" y="731"/>
                    </a:lnTo>
                    <a:lnTo>
                      <a:pt x="115" y="732"/>
                    </a:lnTo>
                    <a:lnTo>
                      <a:pt x="113" y="734"/>
                    </a:lnTo>
                    <a:lnTo>
                      <a:pt x="106" y="736"/>
                    </a:lnTo>
                    <a:lnTo>
                      <a:pt x="102" y="736"/>
                    </a:lnTo>
                    <a:lnTo>
                      <a:pt x="102" y="734"/>
                    </a:lnTo>
                    <a:lnTo>
                      <a:pt x="104" y="734"/>
                    </a:lnTo>
                    <a:lnTo>
                      <a:pt x="104" y="727"/>
                    </a:lnTo>
                    <a:lnTo>
                      <a:pt x="106" y="725"/>
                    </a:lnTo>
                    <a:lnTo>
                      <a:pt x="108" y="725"/>
                    </a:lnTo>
                    <a:lnTo>
                      <a:pt x="108" y="727"/>
                    </a:lnTo>
                    <a:lnTo>
                      <a:pt x="113" y="725"/>
                    </a:lnTo>
                    <a:lnTo>
                      <a:pt x="116" y="725"/>
                    </a:lnTo>
                    <a:lnTo>
                      <a:pt x="120" y="725"/>
                    </a:lnTo>
                    <a:lnTo>
                      <a:pt x="116" y="725"/>
                    </a:lnTo>
                    <a:lnTo>
                      <a:pt x="116" y="725"/>
                    </a:lnTo>
                    <a:lnTo>
                      <a:pt x="113" y="725"/>
                    </a:lnTo>
                    <a:lnTo>
                      <a:pt x="111" y="725"/>
                    </a:lnTo>
                    <a:lnTo>
                      <a:pt x="108" y="725"/>
                    </a:lnTo>
                    <a:lnTo>
                      <a:pt x="108" y="722"/>
                    </a:lnTo>
                    <a:lnTo>
                      <a:pt x="108" y="722"/>
                    </a:lnTo>
                    <a:lnTo>
                      <a:pt x="111" y="720"/>
                    </a:lnTo>
                    <a:lnTo>
                      <a:pt x="115" y="722"/>
                    </a:lnTo>
                    <a:lnTo>
                      <a:pt x="116" y="722"/>
                    </a:lnTo>
                    <a:lnTo>
                      <a:pt x="120" y="722"/>
                    </a:lnTo>
                    <a:lnTo>
                      <a:pt x="120" y="720"/>
                    </a:lnTo>
                    <a:lnTo>
                      <a:pt x="116" y="720"/>
                    </a:lnTo>
                    <a:lnTo>
                      <a:pt x="116" y="720"/>
                    </a:lnTo>
                    <a:lnTo>
                      <a:pt x="116" y="718"/>
                    </a:lnTo>
                    <a:lnTo>
                      <a:pt x="116" y="717"/>
                    </a:lnTo>
                    <a:lnTo>
                      <a:pt x="120" y="717"/>
                    </a:lnTo>
                    <a:lnTo>
                      <a:pt x="120" y="717"/>
                    </a:lnTo>
                    <a:lnTo>
                      <a:pt x="120" y="717"/>
                    </a:lnTo>
                    <a:lnTo>
                      <a:pt x="122" y="717"/>
                    </a:lnTo>
                    <a:lnTo>
                      <a:pt x="123" y="717"/>
                    </a:lnTo>
                    <a:lnTo>
                      <a:pt x="123" y="713"/>
                    </a:lnTo>
                    <a:lnTo>
                      <a:pt x="123" y="712"/>
                    </a:lnTo>
                    <a:lnTo>
                      <a:pt x="123" y="712"/>
                    </a:lnTo>
                    <a:lnTo>
                      <a:pt x="120" y="712"/>
                    </a:lnTo>
                    <a:lnTo>
                      <a:pt x="120" y="713"/>
                    </a:lnTo>
                    <a:lnTo>
                      <a:pt x="116" y="713"/>
                    </a:lnTo>
                    <a:lnTo>
                      <a:pt x="108" y="710"/>
                    </a:lnTo>
                    <a:lnTo>
                      <a:pt x="108" y="710"/>
                    </a:lnTo>
                    <a:lnTo>
                      <a:pt x="104" y="708"/>
                    </a:lnTo>
                    <a:lnTo>
                      <a:pt x="106" y="708"/>
                    </a:lnTo>
                    <a:lnTo>
                      <a:pt x="108" y="708"/>
                    </a:lnTo>
                    <a:lnTo>
                      <a:pt x="111" y="708"/>
                    </a:lnTo>
                    <a:lnTo>
                      <a:pt x="113" y="708"/>
                    </a:lnTo>
                    <a:lnTo>
                      <a:pt x="111" y="706"/>
                    </a:lnTo>
                    <a:lnTo>
                      <a:pt x="108" y="706"/>
                    </a:lnTo>
                    <a:lnTo>
                      <a:pt x="108" y="705"/>
                    </a:lnTo>
                    <a:lnTo>
                      <a:pt x="108" y="703"/>
                    </a:lnTo>
                    <a:lnTo>
                      <a:pt x="113" y="703"/>
                    </a:lnTo>
                    <a:lnTo>
                      <a:pt x="113" y="703"/>
                    </a:lnTo>
                    <a:lnTo>
                      <a:pt x="116" y="703"/>
                    </a:lnTo>
                    <a:lnTo>
                      <a:pt x="127" y="703"/>
                    </a:lnTo>
                    <a:lnTo>
                      <a:pt x="130" y="703"/>
                    </a:lnTo>
                    <a:lnTo>
                      <a:pt x="134" y="703"/>
                    </a:lnTo>
                    <a:lnTo>
                      <a:pt x="135" y="703"/>
                    </a:lnTo>
                    <a:lnTo>
                      <a:pt x="135" y="703"/>
                    </a:lnTo>
                    <a:lnTo>
                      <a:pt x="130" y="699"/>
                    </a:lnTo>
                    <a:lnTo>
                      <a:pt x="125" y="699"/>
                    </a:lnTo>
                    <a:lnTo>
                      <a:pt x="120" y="699"/>
                    </a:lnTo>
                    <a:lnTo>
                      <a:pt x="116" y="703"/>
                    </a:lnTo>
                    <a:lnTo>
                      <a:pt x="116" y="699"/>
                    </a:lnTo>
                    <a:lnTo>
                      <a:pt x="115" y="699"/>
                    </a:lnTo>
                    <a:lnTo>
                      <a:pt x="111" y="699"/>
                    </a:lnTo>
                    <a:lnTo>
                      <a:pt x="108" y="703"/>
                    </a:lnTo>
                    <a:lnTo>
                      <a:pt x="108" y="703"/>
                    </a:lnTo>
                    <a:lnTo>
                      <a:pt x="108" y="698"/>
                    </a:lnTo>
                    <a:lnTo>
                      <a:pt x="111" y="698"/>
                    </a:lnTo>
                    <a:lnTo>
                      <a:pt x="113" y="694"/>
                    </a:lnTo>
                    <a:lnTo>
                      <a:pt x="116" y="694"/>
                    </a:lnTo>
                    <a:lnTo>
                      <a:pt x="120" y="691"/>
                    </a:lnTo>
                    <a:lnTo>
                      <a:pt x="120" y="689"/>
                    </a:lnTo>
                    <a:lnTo>
                      <a:pt x="122" y="685"/>
                    </a:lnTo>
                    <a:lnTo>
                      <a:pt x="123" y="685"/>
                    </a:lnTo>
                    <a:lnTo>
                      <a:pt x="125" y="689"/>
                    </a:lnTo>
                    <a:lnTo>
                      <a:pt x="128" y="685"/>
                    </a:lnTo>
                    <a:lnTo>
                      <a:pt x="130" y="685"/>
                    </a:lnTo>
                    <a:lnTo>
                      <a:pt x="130" y="685"/>
                    </a:lnTo>
                    <a:lnTo>
                      <a:pt x="134" y="689"/>
                    </a:lnTo>
                    <a:lnTo>
                      <a:pt x="137" y="689"/>
                    </a:lnTo>
                    <a:lnTo>
                      <a:pt x="139" y="691"/>
                    </a:lnTo>
                    <a:lnTo>
                      <a:pt x="142" y="691"/>
                    </a:lnTo>
                    <a:lnTo>
                      <a:pt x="146" y="694"/>
                    </a:lnTo>
                    <a:lnTo>
                      <a:pt x="149" y="698"/>
                    </a:lnTo>
                    <a:lnTo>
                      <a:pt x="153" y="698"/>
                    </a:lnTo>
                    <a:lnTo>
                      <a:pt x="158" y="699"/>
                    </a:lnTo>
                    <a:lnTo>
                      <a:pt x="160" y="698"/>
                    </a:lnTo>
                    <a:lnTo>
                      <a:pt x="161" y="698"/>
                    </a:lnTo>
                    <a:lnTo>
                      <a:pt x="161" y="698"/>
                    </a:lnTo>
                    <a:lnTo>
                      <a:pt x="161" y="698"/>
                    </a:lnTo>
                    <a:lnTo>
                      <a:pt x="158" y="698"/>
                    </a:lnTo>
                    <a:lnTo>
                      <a:pt x="158" y="698"/>
                    </a:lnTo>
                    <a:lnTo>
                      <a:pt x="155" y="698"/>
                    </a:lnTo>
                    <a:lnTo>
                      <a:pt x="151" y="694"/>
                    </a:lnTo>
                    <a:lnTo>
                      <a:pt x="148" y="691"/>
                    </a:lnTo>
                    <a:lnTo>
                      <a:pt x="148" y="691"/>
                    </a:lnTo>
                    <a:lnTo>
                      <a:pt x="149" y="691"/>
                    </a:lnTo>
                    <a:lnTo>
                      <a:pt x="155" y="691"/>
                    </a:lnTo>
                    <a:lnTo>
                      <a:pt x="160" y="689"/>
                    </a:lnTo>
                    <a:lnTo>
                      <a:pt x="161" y="685"/>
                    </a:lnTo>
                    <a:lnTo>
                      <a:pt x="160" y="685"/>
                    </a:lnTo>
                    <a:lnTo>
                      <a:pt x="156" y="684"/>
                    </a:lnTo>
                    <a:lnTo>
                      <a:pt x="155" y="684"/>
                    </a:lnTo>
                    <a:lnTo>
                      <a:pt x="155" y="685"/>
                    </a:lnTo>
                    <a:lnTo>
                      <a:pt x="155" y="685"/>
                    </a:lnTo>
                    <a:lnTo>
                      <a:pt x="155" y="685"/>
                    </a:lnTo>
                    <a:lnTo>
                      <a:pt x="149" y="685"/>
                    </a:lnTo>
                    <a:lnTo>
                      <a:pt x="148" y="685"/>
                    </a:lnTo>
                    <a:lnTo>
                      <a:pt x="148" y="684"/>
                    </a:lnTo>
                    <a:lnTo>
                      <a:pt x="149" y="684"/>
                    </a:lnTo>
                    <a:lnTo>
                      <a:pt x="151" y="684"/>
                    </a:lnTo>
                    <a:lnTo>
                      <a:pt x="151" y="682"/>
                    </a:lnTo>
                    <a:lnTo>
                      <a:pt x="149" y="680"/>
                    </a:lnTo>
                    <a:lnTo>
                      <a:pt x="148" y="680"/>
                    </a:lnTo>
                    <a:lnTo>
                      <a:pt x="148" y="680"/>
                    </a:lnTo>
                    <a:lnTo>
                      <a:pt x="146" y="680"/>
                    </a:lnTo>
                    <a:lnTo>
                      <a:pt x="144" y="680"/>
                    </a:lnTo>
                    <a:lnTo>
                      <a:pt x="144" y="682"/>
                    </a:lnTo>
                    <a:lnTo>
                      <a:pt x="144" y="684"/>
                    </a:lnTo>
                    <a:lnTo>
                      <a:pt x="144" y="685"/>
                    </a:lnTo>
                    <a:lnTo>
                      <a:pt x="142" y="689"/>
                    </a:lnTo>
                    <a:lnTo>
                      <a:pt x="139" y="691"/>
                    </a:lnTo>
                    <a:lnTo>
                      <a:pt x="139" y="689"/>
                    </a:lnTo>
                    <a:lnTo>
                      <a:pt x="135" y="685"/>
                    </a:lnTo>
                    <a:lnTo>
                      <a:pt x="134" y="685"/>
                    </a:lnTo>
                    <a:lnTo>
                      <a:pt x="130" y="684"/>
                    </a:lnTo>
                    <a:lnTo>
                      <a:pt x="130" y="682"/>
                    </a:lnTo>
                    <a:lnTo>
                      <a:pt x="130" y="682"/>
                    </a:lnTo>
                    <a:lnTo>
                      <a:pt x="128" y="684"/>
                    </a:lnTo>
                    <a:lnTo>
                      <a:pt x="125" y="685"/>
                    </a:lnTo>
                    <a:lnTo>
                      <a:pt x="122" y="685"/>
                    </a:lnTo>
                    <a:lnTo>
                      <a:pt x="120" y="685"/>
                    </a:lnTo>
                    <a:lnTo>
                      <a:pt x="116" y="691"/>
                    </a:lnTo>
                    <a:lnTo>
                      <a:pt x="115" y="691"/>
                    </a:lnTo>
                    <a:lnTo>
                      <a:pt x="113" y="691"/>
                    </a:lnTo>
                    <a:lnTo>
                      <a:pt x="113" y="689"/>
                    </a:lnTo>
                    <a:lnTo>
                      <a:pt x="116" y="684"/>
                    </a:lnTo>
                    <a:lnTo>
                      <a:pt x="120" y="684"/>
                    </a:lnTo>
                    <a:lnTo>
                      <a:pt x="120" y="682"/>
                    </a:lnTo>
                    <a:lnTo>
                      <a:pt x="120" y="680"/>
                    </a:lnTo>
                    <a:lnTo>
                      <a:pt x="120" y="680"/>
                    </a:lnTo>
                    <a:lnTo>
                      <a:pt x="122" y="678"/>
                    </a:lnTo>
                    <a:lnTo>
                      <a:pt x="122" y="677"/>
                    </a:lnTo>
                    <a:lnTo>
                      <a:pt x="123" y="675"/>
                    </a:lnTo>
                    <a:lnTo>
                      <a:pt x="125" y="675"/>
                    </a:lnTo>
                    <a:lnTo>
                      <a:pt x="127" y="677"/>
                    </a:lnTo>
                    <a:lnTo>
                      <a:pt x="130" y="678"/>
                    </a:lnTo>
                    <a:lnTo>
                      <a:pt x="135" y="678"/>
                    </a:lnTo>
                    <a:lnTo>
                      <a:pt x="135" y="678"/>
                    </a:lnTo>
                    <a:lnTo>
                      <a:pt x="134" y="677"/>
                    </a:lnTo>
                    <a:lnTo>
                      <a:pt x="130" y="677"/>
                    </a:lnTo>
                    <a:lnTo>
                      <a:pt x="128" y="675"/>
                    </a:lnTo>
                    <a:lnTo>
                      <a:pt x="125" y="672"/>
                    </a:lnTo>
                    <a:lnTo>
                      <a:pt x="123" y="670"/>
                    </a:lnTo>
                    <a:lnTo>
                      <a:pt x="122" y="668"/>
                    </a:lnTo>
                    <a:lnTo>
                      <a:pt x="122" y="666"/>
                    </a:lnTo>
                    <a:lnTo>
                      <a:pt x="123" y="666"/>
                    </a:lnTo>
                    <a:lnTo>
                      <a:pt x="127" y="666"/>
                    </a:lnTo>
                    <a:lnTo>
                      <a:pt x="130" y="672"/>
                    </a:lnTo>
                    <a:lnTo>
                      <a:pt x="134" y="675"/>
                    </a:lnTo>
                    <a:lnTo>
                      <a:pt x="134" y="673"/>
                    </a:lnTo>
                    <a:lnTo>
                      <a:pt x="134" y="672"/>
                    </a:lnTo>
                    <a:lnTo>
                      <a:pt x="130" y="668"/>
                    </a:lnTo>
                    <a:lnTo>
                      <a:pt x="134" y="668"/>
                    </a:lnTo>
                    <a:lnTo>
                      <a:pt x="135" y="672"/>
                    </a:lnTo>
                    <a:lnTo>
                      <a:pt x="135" y="673"/>
                    </a:lnTo>
                    <a:lnTo>
                      <a:pt x="142" y="677"/>
                    </a:lnTo>
                    <a:lnTo>
                      <a:pt x="142" y="677"/>
                    </a:lnTo>
                    <a:lnTo>
                      <a:pt x="144" y="675"/>
                    </a:lnTo>
                    <a:lnTo>
                      <a:pt x="148" y="675"/>
                    </a:lnTo>
                    <a:lnTo>
                      <a:pt x="149" y="677"/>
                    </a:lnTo>
                    <a:lnTo>
                      <a:pt x="153" y="680"/>
                    </a:lnTo>
                    <a:lnTo>
                      <a:pt x="156" y="680"/>
                    </a:lnTo>
                    <a:lnTo>
                      <a:pt x="156" y="682"/>
                    </a:lnTo>
                    <a:lnTo>
                      <a:pt x="160" y="682"/>
                    </a:lnTo>
                    <a:lnTo>
                      <a:pt x="160" y="680"/>
                    </a:lnTo>
                    <a:lnTo>
                      <a:pt x="156" y="678"/>
                    </a:lnTo>
                    <a:lnTo>
                      <a:pt x="149" y="672"/>
                    </a:lnTo>
                    <a:lnTo>
                      <a:pt x="148" y="670"/>
                    </a:lnTo>
                    <a:lnTo>
                      <a:pt x="149" y="668"/>
                    </a:lnTo>
                    <a:lnTo>
                      <a:pt x="153" y="668"/>
                    </a:lnTo>
                    <a:lnTo>
                      <a:pt x="153" y="666"/>
                    </a:lnTo>
                    <a:lnTo>
                      <a:pt x="155" y="663"/>
                    </a:lnTo>
                    <a:lnTo>
                      <a:pt x="156" y="663"/>
                    </a:lnTo>
                    <a:lnTo>
                      <a:pt x="156" y="663"/>
                    </a:lnTo>
                    <a:lnTo>
                      <a:pt x="153" y="663"/>
                    </a:lnTo>
                    <a:lnTo>
                      <a:pt x="151" y="663"/>
                    </a:lnTo>
                    <a:lnTo>
                      <a:pt x="146" y="663"/>
                    </a:lnTo>
                    <a:lnTo>
                      <a:pt x="144" y="663"/>
                    </a:lnTo>
                    <a:lnTo>
                      <a:pt x="146" y="666"/>
                    </a:lnTo>
                    <a:lnTo>
                      <a:pt x="148" y="666"/>
                    </a:lnTo>
                    <a:lnTo>
                      <a:pt x="148" y="668"/>
                    </a:lnTo>
                    <a:lnTo>
                      <a:pt x="142" y="668"/>
                    </a:lnTo>
                    <a:lnTo>
                      <a:pt x="142" y="668"/>
                    </a:lnTo>
                    <a:lnTo>
                      <a:pt x="139" y="668"/>
                    </a:lnTo>
                    <a:lnTo>
                      <a:pt x="137" y="668"/>
                    </a:lnTo>
                    <a:lnTo>
                      <a:pt x="135" y="666"/>
                    </a:lnTo>
                    <a:lnTo>
                      <a:pt x="134" y="666"/>
                    </a:lnTo>
                    <a:lnTo>
                      <a:pt x="130" y="663"/>
                    </a:lnTo>
                    <a:lnTo>
                      <a:pt x="134" y="663"/>
                    </a:lnTo>
                    <a:lnTo>
                      <a:pt x="135" y="663"/>
                    </a:lnTo>
                    <a:lnTo>
                      <a:pt x="134" y="663"/>
                    </a:lnTo>
                    <a:lnTo>
                      <a:pt x="130" y="663"/>
                    </a:lnTo>
                    <a:lnTo>
                      <a:pt x="130" y="663"/>
                    </a:lnTo>
                    <a:lnTo>
                      <a:pt x="134" y="661"/>
                    </a:lnTo>
                    <a:lnTo>
                      <a:pt x="139" y="659"/>
                    </a:lnTo>
                    <a:lnTo>
                      <a:pt x="139" y="658"/>
                    </a:lnTo>
                    <a:lnTo>
                      <a:pt x="142" y="658"/>
                    </a:lnTo>
                    <a:lnTo>
                      <a:pt x="144" y="659"/>
                    </a:lnTo>
                    <a:lnTo>
                      <a:pt x="148" y="659"/>
                    </a:lnTo>
                    <a:lnTo>
                      <a:pt x="151" y="659"/>
                    </a:lnTo>
                    <a:lnTo>
                      <a:pt x="155" y="659"/>
                    </a:lnTo>
                    <a:lnTo>
                      <a:pt x="155" y="658"/>
                    </a:lnTo>
                    <a:lnTo>
                      <a:pt x="156" y="656"/>
                    </a:lnTo>
                    <a:lnTo>
                      <a:pt x="158" y="656"/>
                    </a:lnTo>
                    <a:lnTo>
                      <a:pt x="160" y="654"/>
                    </a:lnTo>
                    <a:lnTo>
                      <a:pt x="161" y="652"/>
                    </a:lnTo>
                    <a:lnTo>
                      <a:pt x="160" y="651"/>
                    </a:lnTo>
                    <a:lnTo>
                      <a:pt x="158" y="654"/>
                    </a:lnTo>
                    <a:lnTo>
                      <a:pt x="156" y="654"/>
                    </a:lnTo>
                    <a:lnTo>
                      <a:pt x="155" y="652"/>
                    </a:lnTo>
                    <a:lnTo>
                      <a:pt x="156" y="649"/>
                    </a:lnTo>
                    <a:lnTo>
                      <a:pt x="158" y="644"/>
                    </a:lnTo>
                    <a:lnTo>
                      <a:pt x="158" y="638"/>
                    </a:lnTo>
                    <a:lnTo>
                      <a:pt x="160" y="638"/>
                    </a:lnTo>
                    <a:lnTo>
                      <a:pt x="161" y="638"/>
                    </a:lnTo>
                    <a:lnTo>
                      <a:pt x="161" y="644"/>
                    </a:lnTo>
                    <a:lnTo>
                      <a:pt x="161" y="644"/>
                    </a:lnTo>
                    <a:lnTo>
                      <a:pt x="161" y="645"/>
                    </a:lnTo>
                    <a:lnTo>
                      <a:pt x="165" y="645"/>
                    </a:lnTo>
                    <a:lnTo>
                      <a:pt x="165" y="645"/>
                    </a:lnTo>
                    <a:lnTo>
                      <a:pt x="167" y="647"/>
                    </a:lnTo>
                    <a:lnTo>
                      <a:pt x="168" y="647"/>
                    </a:lnTo>
                    <a:lnTo>
                      <a:pt x="170" y="645"/>
                    </a:lnTo>
                    <a:lnTo>
                      <a:pt x="172" y="647"/>
                    </a:lnTo>
                    <a:lnTo>
                      <a:pt x="172" y="647"/>
                    </a:lnTo>
                    <a:lnTo>
                      <a:pt x="172" y="645"/>
                    </a:lnTo>
                    <a:lnTo>
                      <a:pt x="170" y="644"/>
                    </a:lnTo>
                    <a:lnTo>
                      <a:pt x="167" y="644"/>
                    </a:lnTo>
                    <a:lnTo>
                      <a:pt x="167" y="644"/>
                    </a:lnTo>
                    <a:lnTo>
                      <a:pt x="168" y="644"/>
                    </a:lnTo>
                    <a:lnTo>
                      <a:pt x="172" y="640"/>
                    </a:lnTo>
                    <a:lnTo>
                      <a:pt x="172" y="640"/>
                    </a:lnTo>
                    <a:lnTo>
                      <a:pt x="170" y="638"/>
                    </a:lnTo>
                    <a:lnTo>
                      <a:pt x="168" y="638"/>
                    </a:lnTo>
                    <a:lnTo>
                      <a:pt x="168" y="638"/>
                    </a:lnTo>
                    <a:lnTo>
                      <a:pt x="167" y="638"/>
                    </a:lnTo>
                    <a:lnTo>
                      <a:pt x="165" y="638"/>
                    </a:lnTo>
                    <a:lnTo>
                      <a:pt x="165" y="638"/>
                    </a:lnTo>
                    <a:lnTo>
                      <a:pt x="161" y="638"/>
                    </a:lnTo>
                    <a:lnTo>
                      <a:pt x="161" y="635"/>
                    </a:lnTo>
                    <a:lnTo>
                      <a:pt x="161" y="635"/>
                    </a:lnTo>
                    <a:lnTo>
                      <a:pt x="165" y="635"/>
                    </a:lnTo>
                    <a:lnTo>
                      <a:pt x="167" y="632"/>
                    </a:lnTo>
                    <a:lnTo>
                      <a:pt x="168" y="630"/>
                    </a:lnTo>
                    <a:lnTo>
                      <a:pt x="170" y="630"/>
                    </a:lnTo>
                    <a:lnTo>
                      <a:pt x="172" y="630"/>
                    </a:lnTo>
                    <a:lnTo>
                      <a:pt x="174" y="630"/>
                    </a:lnTo>
                    <a:lnTo>
                      <a:pt x="174" y="626"/>
                    </a:lnTo>
                    <a:lnTo>
                      <a:pt x="170" y="626"/>
                    </a:lnTo>
                    <a:lnTo>
                      <a:pt x="168" y="626"/>
                    </a:lnTo>
                    <a:lnTo>
                      <a:pt x="167" y="626"/>
                    </a:lnTo>
                    <a:lnTo>
                      <a:pt x="168" y="625"/>
                    </a:lnTo>
                    <a:lnTo>
                      <a:pt x="172" y="623"/>
                    </a:lnTo>
                    <a:lnTo>
                      <a:pt x="174" y="621"/>
                    </a:lnTo>
                    <a:lnTo>
                      <a:pt x="175" y="621"/>
                    </a:lnTo>
                    <a:lnTo>
                      <a:pt x="175" y="619"/>
                    </a:lnTo>
                    <a:lnTo>
                      <a:pt x="179" y="618"/>
                    </a:lnTo>
                    <a:lnTo>
                      <a:pt x="177" y="616"/>
                    </a:lnTo>
                    <a:lnTo>
                      <a:pt x="174" y="616"/>
                    </a:lnTo>
                    <a:lnTo>
                      <a:pt x="174" y="616"/>
                    </a:lnTo>
                    <a:lnTo>
                      <a:pt x="177" y="612"/>
                    </a:lnTo>
                    <a:lnTo>
                      <a:pt x="179" y="616"/>
                    </a:lnTo>
                    <a:lnTo>
                      <a:pt x="179" y="611"/>
                    </a:lnTo>
                    <a:lnTo>
                      <a:pt x="177" y="611"/>
                    </a:lnTo>
                    <a:lnTo>
                      <a:pt x="174" y="611"/>
                    </a:lnTo>
                    <a:lnTo>
                      <a:pt x="170" y="612"/>
                    </a:lnTo>
                    <a:lnTo>
                      <a:pt x="168" y="612"/>
                    </a:lnTo>
                    <a:lnTo>
                      <a:pt x="165" y="611"/>
                    </a:lnTo>
                    <a:lnTo>
                      <a:pt x="165" y="612"/>
                    </a:lnTo>
                    <a:lnTo>
                      <a:pt x="161" y="611"/>
                    </a:lnTo>
                    <a:lnTo>
                      <a:pt x="161" y="611"/>
                    </a:lnTo>
                    <a:lnTo>
                      <a:pt x="160" y="611"/>
                    </a:lnTo>
                    <a:lnTo>
                      <a:pt x="156" y="611"/>
                    </a:lnTo>
                    <a:lnTo>
                      <a:pt x="155" y="607"/>
                    </a:lnTo>
                    <a:lnTo>
                      <a:pt x="151" y="607"/>
                    </a:lnTo>
                    <a:lnTo>
                      <a:pt x="149" y="607"/>
                    </a:lnTo>
                    <a:lnTo>
                      <a:pt x="149" y="604"/>
                    </a:lnTo>
                    <a:lnTo>
                      <a:pt x="148" y="602"/>
                    </a:lnTo>
                    <a:lnTo>
                      <a:pt x="144" y="600"/>
                    </a:lnTo>
                    <a:lnTo>
                      <a:pt x="139" y="597"/>
                    </a:lnTo>
                    <a:lnTo>
                      <a:pt x="134" y="595"/>
                    </a:lnTo>
                    <a:lnTo>
                      <a:pt x="130" y="592"/>
                    </a:lnTo>
                    <a:lnTo>
                      <a:pt x="130" y="590"/>
                    </a:lnTo>
                    <a:lnTo>
                      <a:pt x="130" y="586"/>
                    </a:lnTo>
                    <a:lnTo>
                      <a:pt x="127" y="585"/>
                    </a:lnTo>
                    <a:lnTo>
                      <a:pt x="125" y="581"/>
                    </a:lnTo>
                    <a:lnTo>
                      <a:pt x="125" y="579"/>
                    </a:lnTo>
                    <a:lnTo>
                      <a:pt x="130" y="576"/>
                    </a:lnTo>
                    <a:lnTo>
                      <a:pt x="134" y="576"/>
                    </a:lnTo>
                    <a:lnTo>
                      <a:pt x="135" y="576"/>
                    </a:lnTo>
                    <a:lnTo>
                      <a:pt x="137" y="576"/>
                    </a:lnTo>
                    <a:lnTo>
                      <a:pt x="139" y="576"/>
                    </a:lnTo>
                    <a:lnTo>
                      <a:pt x="142" y="579"/>
                    </a:lnTo>
                    <a:lnTo>
                      <a:pt x="146" y="579"/>
                    </a:lnTo>
                    <a:lnTo>
                      <a:pt x="148" y="581"/>
                    </a:lnTo>
                    <a:lnTo>
                      <a:pt x="149" y="581"/>
                    </a:lnTo>
                    <a:lnTo>
                      <a:pt x="153" y="581"/>
                    </a:lnTo>
                    <a:lnTo>
                      <a:pt x="155" y="585"/>
                    </a:lnTo>
                    <a:lnTo>
                      <a:pt x="158" y="585"/>
                    </a:lnTo>
                    <a:lnTo>
                      <a:pt x="160" y="585"/>
                    </a:lnTo>
                    <a:lnTo>
                      <a:pt x="161" y="586"/>
                    </a:lnTo>
                    <a:lnTo>
                      <a:pt x="161" y="593"/>
                    </a:lnTo>
                    <a:lnTo>
                      <a:pt x="165" y="597"/>
                    </a:lnTo>
                    <a:lnTo>
                      <a:pt x="167" y="598"/>
                    </a:lnTo>
                    <a:lnTo>
                      <a:pt x="170" y="602"/>
                    </a:lnTo>
                    <a:lnTo>
                      <a:pt x="174" y="602"/>
                    </a:lnTo>
                    <a:lnTo>
                      <a:pt x="175" y="602"/>
                    </a:lnTo>
                    <a:lnTo>
                      <a:pt x="177" y="598"/>
                    </a:lnTo>
                    <a:lnTo>
                      <a:pt x="177" y="598"/>
                    </a:lnTo>
                    <a:lnTo>
                      <a:pt x="174" y="598"/>
                    </a:lnTo>
                    <a:lnTo>
                      <a:pt x="174" y="600"/>
                    </a:lnTo>
                    <a:lnTo>
                      <a:pt x="170" y="598"/>
                    </a:lnTo>
                    <a:lnTo>
                      <a:pt x="167" y="593"/>
                    </a:lnTo>
                    <a:lnTo>
                      <a:pt x="167" y="592"/>
                    </a:lnTo>
                    <a:lnTo>
                      <a:pt x="168" y="592"/>
                    </a:lnTo>
                    <a:lnTo>
                      <a:pt x="172" y="595"/>
                    </a:lnTo>
                    <a:lnTo>
                      <a:pt x="174" y="595"/>
                    </a:lnTo>
                    <a:lnTo>
                      <a:pt x="174" y="593"/>
                    </a:lnTo>
                    <a:lnTo>
                      <a:pt x="175" y="593"/>
                    </a:lnTo>
                    <a:lnTo>
                      <a:pt x="175" y="592"/>
                    </a:lnTo>
                    <a:lnTo>
                      <a:pt x="172" y="590"/>
                    </a:lnTo>
                    <a:lnTo>
                      <a:pt x="167" y="586"/>
                    </a:lnTo>
                    <a:lnTo>
                      <a:pt x="167" y="585"/>
                    </a:lnTo>
                    <a:lnTo>
                      <a:pt x="167" y="585"/>
                    </a:lnTo>
                    <a:lnTo>
                      <a:pt x="168" y="585"/>
                    </a:lnTo>
                    <a:lnTo>
                      <a:pt x="170" y="586"/>
                    </a:lnTo>
                    <a:lnTo>
                      <a:pt x="172" y="586"/>
                    </a:lnTo>
                    <a:lnTo>
                      <a:pt x="170" y="585"/>
                    </a:lnTo>
                    <a:lnTo>
                      <a:pt x="167" y="579"/>
                    </a:lnTo>
                    <a:lnTo>
                      <a:pt x="165" y="576"/>
                    </a:lnTo>
                    <a:lnTo>
                      <a:pt x="165" y="576"/>
                    </a:lnTo>
                    <a:lnTo>
                      <a:pt x="165" y="574"/>
                    </a:lnTo>
                    <a:lnTo>
                      <a:pt x="167" y="576"/>
                    </a:lnTo>
                    <a:lnTo>
                      <a:pt x="174" y="576"/>
                    </a:lnTo>
                    <a:lnTo>
                      <a:pt x="177" y="576"/>
                    </a:lnTo>
                    <a:lnTo>
                      <a:pt x="177" y="576"/>
                    </a:lnTo>
                    <a:lnTo>
                      <a:pt x="174" y="572"/>
                    </a:lnTo>
                    <a:lnTo>
                      <a:pt x="172" y="572"/>
                    </a:lnTo>
                    <a:lnTo>
                      <a:pt x="170" y="572"/>
                    </a:lnTo>
                    <a:lnTo>
                      <a:pt x="168" y="574"/>
                    </a:lnTo>
                    <a:lnTo>
                      <a:pt x="165" y="572"/>
                    </a:lnTo>
                    <a:lnTo>
                      <a:pt x="165" y="571"/>
                    </a:lnTo>
                    <a:lnTo>
                      <a:pt x="165" y="571"/>
                    </a:lnTo>
                    <a:lnTo>
                      <a:pt x="168" y="567"/>
                    </a:lnTo>
                    <a:lnTo>
                      <a:pt x="170" y="569"/>
                    </a:lnTo>
                    <a:lnTo>
                      <a:pt x="172" y="571"/>
                    </a:lnTo>
                    <a:lnTo>
                      <a:pt x="174" y="569"/>
                    </a:lnTo>
                    <a:lnTo>
                      <a:pt x="174" y="567"/>
                    </a:lnTo>
                    <a:lnTo>
                      <a:pt x="170" y="564"/>
                    </a:lnTo>
                    <a:lnTo>
                      <a:pt x="170" y="564"/>
                    </a:lnTo>
                    <a:lnTo>
                      <a:pt x="168" y="565"/>
                    </a:lnTo>
                    <a:lnTo>
                      <a:pt x="167" y="565"/>
                    </a:lnTo>
                    <a:lnTo>
                      <a:pt x="165" y="567"/>
                    </a:lnTo>
                    <a:lnTo>
                      <a:pt x="161" y="571"/>
                    </a:lnTo>
                    <a:lnTo>
                      <a:pt x="160" y="571"/>
                    </a:lnTo>
                    <a:lnTo>
                      <a:pt x="160" y="569"/>
                    </a:lnTo>
                    <a:lnTo>
                      <a:pt x="161" y="567"/>
                    </a:lnTo>
                    <a:lnTo>
                      <a:pt x="161" y="565"/>
                    </a:lnTo>
                    <a:lnTo>
                      <a:pt x="165" y="562"/>
                    </a:lnTo>
                    <a:lnTo>
                      <a:pt x="165" y="562"/>
                    </a:lnTo>
                    <a:lnTo>
                      <a:pt x="167" y="562"/>
                    </a:lnTo>
                    <a:lnTo>
                      <a:pt x="168" y="560"/>
                    </a:lnTo>
                    <a:lnTo>
                      <a:pt x="172" y="560"/>
                    </a:lnTo>
                    <a:lnTo>
                      <a:pt x="174" y="558"/>
                    </a:lnTo>
                    <a:lnTo>
                      <a:pt x="172" y="558"/>
                    </a:lnTo>
                    <a:lnTo>
                      <a:pt x="168" y="557"/>
                    </a:lnTo>
                    <a:lnTo>
                      <a:pt x="165" y="560"/>
                    </a:lnTo>
                    <a:lnTo>
                      <a:pt x="165" y="560"/>
                    </a:lnTo>
                    <a:lnTo>
                      <a:pt x="161" y="558"/>
                    </a:lnTo>
                    <a:lnTo>
                      <a:pt x="160" y="560"/>
                    </a:lnTo>
                    <a:lnTo>
                      <a:pt x="158" y="558"/>
                    </a:lnTo>
                    <a:lnTo>
                      <a:pt x="158" y="557"/>
                    </a:lnTo>
                    <a:lnTo>
                      <a:pt x="160" y="557"/>
                    </a:lnTo>
                    <a:lnTo>
                      <a:pt x="161" y="553"/>
                    </a:lnTo>
                    <a:lnTo>
                      <a:pt x="165" y="553"/>
                    </a:lnTo>
                    <a:lnTo>
                      <a:pt x="170" y="552"/>
                    </a:lnTo>
                    <a:lnTo>
                      <a:pt x="175" y="552"/>
                    </a:lnTo>
                    <a:lnTo>
                      <a:pt x="175" y="548"/>
                    </a:lnTo>
                    <a:lnTo>
                      <a:pt x="174" y="548"/>
                    </a:lnTo>
                    <a:lnTo>
                      <a:pt x="172" y="548"/>
                    </a:lnTo>
                    <a:lnTo>
                      <a:pt x="170" y="552"/>
                    </a:lnTo>
                    <a:lnTo>
                      <a:pt x="167" y="552"/>
                    </a:lnTo>
                    <a:lnTo>
                      <a:pt x="165" y="552"/>
                    </a:lnTo>
                    <a:lnTo>
                      <a:pt x="165" y="548"/>
                    </a:lnTo>
                    <a:lnTo>
                      <a:pt x="161" y="548"/>
                    </a:lnTo>
                    <a:lnTo>
                      <a:pt x="160" y="548"/>
                    </a:lnTo>
                    <a:lnTo>
                      <a:pt x="160" y="548"/>
                    </a:lnTo>
                    <a:lnTo>
                      <a:pt x="160" y="546"/>
                    </a:lnTo>
                    <a:lnTo>
                      <a:pt x="161" y="545"/>
                    </a:lnTo>
                    <a:lnTo>
                      <a:pt x="161" y="539"/>
                    </a:lnTo>
                    <a:lnTo>
                      <a:pt x="165" y="539"/>
                    </a:lnTo>
                    <a:lnTo>
                      <a:pt x="165" y="538"/>
                    </a:lnTo>
                    <a:lnTo>
                      <a:pt x="165" y="536"/>
                    </a:lnTo>
                    <a:lnTo>
                      <a:pt x="165" y="536"/>
                    </a:lnTo>
                    <a:lnTo>
                      <a:pt x="161" y="538"/>
                    </a:lnTo>
                    <a:lnTo>
                      <a:pt x="160" y="541"/>
                    </a:lnTo>
                    <a:lnTo>
                      <a:pt x="160" y="543"/>
                    </a:lnTo>
                    <a:lnTo>
                      <a:pt x="156" y="545"/>
                    </a:lnTo>
                    <a:lnTo>
                      <a:pt x="156" y="546"/>
                    </a:lnTo>
                    <a:lnTo>
                      <a:pt x="155" y="546"/>
                    </a:lnTo>
                    <a:lnTo>
                      <a:pt x="155" y="543"/>
                    </a:lnTo>
                    <a:lnTo>
                      <a:pt x="156" y="539"/>
                    </a:lnTo>
                    <a:lnTo>
                      <a:pt x="156" y="534"/>
                    </a:lnTo>
                    <a:lnTo>
                      <a:pt x="155" y="531"/>
                    </a:lnTo>
                    <a:lnTo>
                      <a:pt x="155" y="529"/>
                    </a:lnTo>
                    <a:lnTo>
                      <a:pt x="155" y="525"/>
                    </a:lnTo>
                    <a:lnTo>
                      <a:pt x="155" y="524"/>
                    </a:lnTo>
                    <a:lnTo>
                      <a:pt x="155" y="524"/>
                    </a:lnTo>
                    <a:lnTo>
                      <a:pt x="153" y="525"/>
                    </a:lnTo>
                    <a:lnTo>
                      <a:pt x="153" y="531"/>
                    </a:lnTo>
                    <a:lnTo>
                      <a:pt x="153" y="532"/>
                    </a:lnTo>
                    <a:lnTo>
                      <a:pt x="155" y="536"/>
                    </a:lnTo>
                    <a:lnTo>
                      <a:pt x="155" y="539"/>
                    </a:lnTo>
                    <a:lnTo>
                      <a:pt x="155" y="545"/>
                    </a:lnTo>
                    <a:lnTo>
                      <a:pt x="153" y="546"/>
                    </a:lnTo>
                    <a:lnTo>
                      <a:pt x="151" y="546"/>
                    </a:lnTo>
                    <a:lnTo>
                      <a:pt x="149" y="545"/>
                    </a:lnTo>
                    <a:lnTo>
                      <a:pt x="148" y="543"/>
                    </a:lnTo>
                    <a:lnTo>
                      <a:pt x="148" y="548"/>
                    </a:lnTo>
                    <a:lnTo>
                      <a:pt x="146" y="548"/>
                    </a:lnTo>
                    <a:lnTo>
                      <a:pt x="144" y="548"/>
                    </a:lnTo>
                    <a:lnTo>
                      <a:pt x="142" y="548"/>
                    </a:lnTo>
                    <a:lnTo>
                      <a:pt x="144" y="548"/>
                    </a:lnTo>
                    <a:lnTo>
                      <a:pt x="146" y="552"/>
                    </a:lnTo>
                    <a:lnTo>
                      <a:pt x="144" y="553"/>
                    </a:lnTo>
                    <a:lnTo>
                      <a:pt x="142" y="557"/>
                    </a:lnTo>
                    <a:lnTo>
                      <a:pt x="142" y="557"/>
                    </a:lnTo>
                    <a:lnTo>
                      <a:pt x="139" y="557"/>
                    </a:lnTo>
                    <a:lnTo>
                      <a:pt x="139" y="557"/>
                    </a:lnTo>
                    <a:lnTo>
                      <a:pt x="137" y="558"/>
                    </a:lnTo>
                    <a:lnTo>
                      <a:pt x="130" y="558"/>
                    </a:lnTo>
                    <a:lnTo>
                      <a:pt x="130" y="557"/>
                    </a:lnTo>
                    <a:lnTo>
                      <a:pt x="130" y="557"/>
                    </a:lnTo>
                    <a:lnTo>
                      <a:pt x="130" y="552"/>
                    </a:lnTo>
                    <a:lnTo>
                      <a:pt x="128" y="552"/>
                    </a:lnTo>
                    <a:lnTo>
                      <a:pt x="127" y="552"/>
                    </a:lnTo>
                    <a:lnTo>
                      <a:pt x="127" y="553"/>
                    </a:lnTo>
                    <a:lnTo>
                      <a:pt x="125" y="553"/>
                    </a:lnTo>
                    <a:lnTo>
                      <a:pt x="125" y="552"/>
                    </a:lnTo>
                    <a:lnTo>
                      <a:pt x="125" y="548"/>
                    </a:lnTo>
                    <a:lnTo>
                      <a:pt x="125" y="546"/>
                    </a:lnTo>
                    <a:lnTo>
                      <a:pt x="123" y="545"/>
                    </a:lnTo>
                    <a:lnTo>
                      <a:pt x="123" y="543"/>
                    </a:lnTo>
                    <a:lnTo>
                      <a:pt x="127" y="541"/>
                    </a:lnTo>
                    <a:lnTo>
                      <a:pt x="130" y="541"/>
                    </a:lnTo>
                    <a:lnTo>
                      <a:pt x="130" y="541"/>
                    </a:lnTo>
                    <a:lnTo>
                      <a:pt x="130" y="539"/>
                    </a:lnTo>
                    <a:lnTo>
                      <a:pt x="134" y="538"/>
                    </a:lnTo>
                    <a:lnTo>
                      <a:pt x="139" y="538"/>
                    </a:lnTo>
                    <a:lnTo>
                      <a:pt x="139" y="538"/>
                    </a:lnTo>
                    <a:lnTo>
                      <a:pt x="142" y="534"/>
                    </a:lnTo>
                    <a:lnTo>
                      <a:pt x="146" y="529"/>
                    </a:lnTo>
                    <a:lnTo>
                      <a:pt x="146" y="529"/>
                    </a:lnTo>
                    <a:lnTo>
                      <a:pt x="146" y="529"/>
                    </a:lnTo>
                    <a:lnTo>
                      <a:pt x="144" y="529"/>
                    </a:lnTo>
                    <a:lnTo>
                      <a:pt x="142" y="531"/>
                    </a:lnTo>
                    <a:lnTo>
                      <a:pt x="139" y="534"/>
                    </a:lnTo>
                    <a:lnTo>
                      <a:pt x="137" y="536"/>
                    </a:lnTo>
                    <a:lnTo>
                      <a:pt x="130" y="534"/>
                    </a:lnTo>
                    <a:lnTo>
                      <a:pt x="130" y="532"/>
                    </a:lnTo>
                    <a:lnTo>
                      <a:pt x="130" y="531"/>
                    </a:lnTo>
                    <a:lnTo>
                      <a:pt x="134" y="529"/>
                    </a:lnTo>
                    <a:lnTo>
                      <a:pt x="137" y="525"/>
                    </a:lnTo>
                    <a:lnTo>
                      <a:pt x="139" y="525"/>
                    </a:lnTo>
                    <a:lnTo>
                      <a:pt x="139" y="525"/>
                    </a:lnTo>
                    <a:lnTo>
                      <a:pt x="139" y="524"/>
                    </a:lnTo>
                    <a:lnTo>
                      <a:pt x="139" y="520"/>
                    </a:lnTo>
                    <a:lnTo>
                      <a:pt x="142" y="520"/>
                    </a:lnTo>
                    <a:lnTo>
                      <a:pt x="142" y="520"/>
                    </a:lnTo>
                    <a:lnTo>
                      <a:pt x="142" y="520"/>
                    </a:lnTo>
                    <a:lnTo>
                      <a:pt x="142" y="517"/>
                    </a:lnTo>
                    <a:lnTo>
                      <a:pt x="142" y="517"/>
                    </a:lnTo>
                    <a:lnTo>
                      <a:pt x="139" y="517"/>
                    </a:lnTo>
                    <a:lnTo>
                      <a:pt x="139" y="517"/>
                    </a:lnTo>
                    <a:lnTo>
                      <a:pt x="134" y="517"/>
                    </a:lnTo>
                    <a:lnTo>
                      <a:pt x="134" y="517"/>
                    </a:lnTo>
                    <a:lnTo>
                      <a:pt x="130" y="517"/>
                    </a:lnTo>
                    <a:lnTo>
                      <a:pt x="134" y="515"/>
                    </a:lnTo>
                    <a:lnTo>
                      <a:pt x="137" y="513"/>
                    </a:lnTo>
                    <a:lnTo>
                      <a:pt x="139" y="513"/>
                    </a:lnTo>
                    <a:lnTo>
                      <a:pt x="139" y="515"/>
                    </a:lnTo>
                    <a:lnTo>
                      <a:pt x="142" y="515"/>
                    </a:lnTo>
                    <a:lnTo>
                      <a:pt x="144" y="513"/>
                    </a:lnTo>
                    <a:lnTo>
                      <a:pt x="148" y="508"/>
                    </a:lnTo>
                    <a:lnTo>
                      <a:pt x="146" y="506"/>
                    </a:lnTo>
                    <a:lnTo>
                      <a:pt x="146" y="505"/>
                    </a:lnTo>
                    <a:lnTo>
                      <a:pt x="149" y="501"/>
                    </a:lnTo>
                    <a:lnTo>
                      <a:pt x="149" y="498"/>
                    </a:lnTo>
                    <a:lnTo>
                      <a:pt x="149" y="494"/>
                    </a:lnTo>
                    <a:lnTo>
                      <a:pt x="148" y="492"/>
                    </a:lnTo>
                    <a:lnTo>
                      <a:pt x="146" y="492"/>
                    </a:lnTo>
                    <a:lnTo>
                      <a:pt x="144" y="492"/>
                    </a:lnTo>
                    <a:lnTo>
                      <a:pt x="142" y="489"/>
                    </a:lnTo>
                    <a:lnTo>
                      <a:pt x="142" y="489"/>
                    </a:lnTo>
                    <a:lnTo>
                      <a:pt x="139" y="489"/>
                    </a:lnTo>
                    <a:lnTo>
                      <a:pt x="139" y="489"/>
                    </a:lnTo>
                    <a:lnTo>
                      <a:pt x="139" y="487"/>
                    </a:lnTo>
                    <a:lnTo>
                      <a:pt x="142" y="489"/>
                    </a:lnTo>
                    <a:lnTo>
                      <a:pt x="144" y="487"/>
                    </a:lnTo>
                    <a:lnTo>
                      <a:pt x="146" y="485"/>
                    </a:lnTo>
                    <a:lnTo>
                      <a:pt x="146" y="482"/>
                    </a:lnTo>
                    <a:lnTo>
                      <a:pt x="148" y="480"/>
                    </a:lnTo>
                    <a:lnTo>
                      <a:pt x="148" y="478"/>
                    </a:lnTo>
                    <a:lnTo>
                      <a:pt x="146" y="477"/>
                    </a:lnTo>
                    <a:lnTo>
                      <a:pt x="144" y="477"/>
                    </a:lnTo>
                    <a:lnTo>
                      <a:pt x="142" y="475"/>
                    </a:lnTo>
                    <a:lnTo>
                      <a:pt x="142" y="473"/>
                    </a:lnTo>
                    <a:lnTo>
                      <a:pt x="144" y="472"/>
                    </a:lnTo>
                    <a:lnTo>
                      <a:pt x="146" y="472"/>
                    </a:lnTo>
                    <a:lnTo>
                      <a:pt x="146" y="470"/>
                    </a:lnTo>
                    <a:lnTo>
                      <a:pt x="142" y="466"/>
                    </a:lnTo>
                    <a:lnTo>
                      <a:pt x="142" y="465"/>
                    </a:lnTo>
                    <a:lnTo>
                      <a:pt x="144" y="465"/>
                    </a:lnTo>
                    <a:lnTo>
                      <a:pt x="146" y="466"/>
                    </a:lnTo>
                    <a:lnTo>
                      <a:pt x="146" y="465"/>
                    </a:lnTo>
                    <a:lnTo>
                      <a:pt x="144" y="461"/>
                    </a:lnTo>
                    <a:lnTo>
                      <a:pt x="144" y="461"/>
                    </a:lnTo>
                    <a:lnTo>
                      <a:pt x="146" y="458"/>
                    </a:lnTo>
                    <a:lnTo>
                      <a:pt x="146" y="454"/>
                    </a:lnTo>
                    <a:lnTo>
                      <a:pt x="144" y="452"/>
                    </a:lnTo>
                    <a:lnTo>
                      <a:pt x="144" y="449"/>
                    </a:lnTo>
                    <a:lnTo>
                      <a:pt x="142" y="447"/>
                    </a:lnTo>
                    <a:lnTo>
                      <a:pt x="144" y="445"/>
                    </a:lnTo>
                    <a:lnTo>
                      <a:pt x="146" y="442"/>
                    </a:lnTo>
                    <a:lnTo>
                      <a:pt x="144" y="442"/>
                    </a:lnTo>
                    <a:lnTo>
                      <a:pt x="142" y="442"/>
                    </a:lnTo>
                    <a:lnTo>
                      <a:pt x="139" y="445"/>
                    </a:lnTo>
                    <a:lnTo>
                      <a:pt x="139" y="445"/>
                    </a:lnTo>
                    <a:lnTo>
                      <a:pt x="137" y="445"/>
                    </a:lnTo>
                    <a:lnTo>
                      <a:pt x="135" y="447"/>
                    </a:lnTo>
                    <a:lnTo>
                      <a:pt x="134" y="445"/>
                    </a:lnTo>
                    <a:lnTo>
                      <a:pt x="135" y="445"/>
                    </a:lnTo>
                    <a:lnTo>
                      <a:pt x="139" y="442"/>
                    </a:lnTo>
                    <a:lnTo>
                      <a:pt x="139" y="442"/>
                    </a:lnTo>
                    <a:lnTo>
                      <a:pt x="142" y="442"/>
                    </a:lnTo>
                    <a:lnTo>
                      <a:pt x="142" y="439"/>
                    </a:lnTo>
                    <a:lnTo>
                      <a:pt x="144" y="435"/>
                    </a:lnTo>
                    <a:lnTo>
                      <a:pt x="148" y="433"/>
                    </a:lnTo>
                    <a:lnTo>
                      <a:pt x="148" y="433"/>
                    </a:lnTo>
                    <a:lnTo>
                      <a:pt x="148" y="430"/>
                    </a:lnTo>
                    <a:lnTo>
                      <a:pt x="146" y="428"/>
                    </a:lnTo>
                    <a:lnTo>
                      <a:pt x="144" y="426"/>
                    </a:lnTo>
                    <a:lnTo>
                      <a:pt x="142" y="423"/>
                    </a:lnTo>
                    <a:lnTo>
                      <a:pt x="142" y="421"/>
                    </a:lnTo>
                    <a:lnTo>
                      <a:pt x="142" y="421"/>
                    </a:lnTo>
                    <a:lnTo>
                      <a:pt x="139" y="419"/>
                    </a:lnTo>
                    <a:lnTo>
                      <a:pt x="139" y="418"/>
                    </a:lnTo>
                    <a:lnTo>
                      <a:pt x="142" y="416"/>
                    </a:lnTo>
                    <a:lnTo>
                      <a:pt x="139" y="414"/>
                    </a:lnTo>
                    <a:lnTo>
                      <a:pt x="139" y="411"/>
                    </a:lnTo>
                    <a:lnTo>
                      <a:pt x="139" y="407"/>
                    </a:lnTo>
                    <a:lnTo>
                      <a:pt x="134" y="402"/>
                    </a:lnTo>
                    <a:lnTo>
                      <a:pt x="134" y="402"/>
                    </a:lnTo>
                    <a:lnTo>
                      <a:pt x="130" y="400"/>
                    </a:lnTo>
                    <a:lnTo>
                      <a:pt x="130" y="400"/>
                    </a:lnTo>
                    <a:lnTo>
                      <a:pt x="130" y="399"/>
                    </a:lnTo>
                    <a:lnTo>
                      <a:pt x="130" y="397"/>
                    </a:lnTo>
                    <a:lnTo>
                      <a:pt x="135" y="395"/>
                    </a:lnTo>
                    <a:lnTo>
                      <a:pt x="137" y="393"/>
                    </a:lnTo>
                    <a:lnTo>
                      <a:pt x="139" y="392"/>
                    </a:lnTo>
                    <a:lnTo>
                      <a:pt x="137" y="390"/>
                    </a:lnTo>
                    <a:lnTo>
                      <a:pt x="135" y="390"/>
                    </a:lnTo>
                    <a:lnTo>
                      <a:pt x="135" y="390"/>
                    </a:lnTo>
                    <a:lnTo>
                      <a:pt x="137" y="388"/>
                    </a:lnTo>
                    <a:lnTo>
                      <a:pt x="139" y="385"/>
                    </a:lnTo>
                    <a:lnTo>
                      <a:pt x="139" y="383"/>
                    </a:lnTo>
                    <a:lnTo>
                      <a:pt x="139" y="383"/>
                    </a:lnTo>
                    <a:lnTo>
                      <a:pt x="139" y="379"/>
                    </a:lnTo>
                    <a:lnTo>
                      <a:pt x="139" y="379"/>
                    </a:lnTo>
                    <a:lnTo>
                      <a:pt x="139" y="378"/>
                    </a:lnTo>
                    <a:lnTo>
                      <a:pt x="137" y="376"/>
                    </a:lnTo>
                    <a:lnTo>
                      <a:pt x="134" y="372"/>
                    </a:lnTo>
                    <a:lnTo>
                      <a:pt x="130" y="371"/>
                    </a:lnTo>
                    <a:lnTo>
                      <a:pt x="130" y="367"/>
                    </a:lnTo>
                    <a:lnTo>
                      <a:pt x="128" y="365"/>
                    </a:lnTo>
                    <a:lnTo>
                      <a:pt x="127" y="367"/>
                    </a:lnTo>
                    <a:lnTo>
                      <a:pt x="127" y="369"/>
                    </a:lnTo>
                    <a:lnTo>
                      <a:pt x="125" y="369"/>
                    </a:lnTo>
                    <a:lnTo>
                      <a:pt x="123" y="367"/>
                    </a:lnTo>
                    <a:lnTo>
                      <a:pt x="123" y="365"/>
                    </a:lnTo>
                    <a:lnTo>
                      <a:pt x="122" y="364"/>
                    </a:lnTo>
                    <a:lnTo>
                      <a:pt x="120" y="362"/>
                    </a:lnTo>
                    <a:lnTo>
                      <a:pt x="116" y="360"/>
                    </a:lnTo>
                    <a:lnTo>
                      <a:pt x="116" y="359"/>
                    </a:lnTo>
                    <a:lnTo>
                      <a:pt x="116" y="360"/>
                    </a:lnTo>
                    <a:lnTo>
                      <a:pt x="115" y="360"/>
                    </a:lnTo>
                    <a:lnTo>
                      <a:pt x="115" y="359"/>
                    </a:lnTo>
                    <a:lnTo>
                      <a:pt x="115" y="355"/>
                    </a:lnTo>
                    <a:lnTo>
                      <a:pt x="111" y="352"/>
                    </a:lnTo>
                    <a:lnTo>
                      <a:pt x="108" y="352"/>
                    </a:lnTo>
                    <a:lnTo>
                      <a:pt x="106" y="352"/>
                    </a:lnTo>
                    <a:lnTo>
                      <a:pt x="104" y="352"/>
                    </a:lnTo>
                    <a:lnTo>
                      <a:pt x="102" y="352"/>
                    </a:lnTo>
                    <a:lnTo>
                      <a:pt x="97" y="348"/>
                    </a:lnTo>
                    <a:lnTo>
                      <a:pt x="94" y="346"/>
                    </a:lnTo>
                    <a:lnTo>
                      <a:pt x="90" y="343"/>
                    </a:lnTo>
                    <a:lnTo>
                      <a:pt x="89" y="343"/>
                    </a:lnTo>
                    <a:lnTo>
                      <a:pt x="85" y="343"/>
                    </a:lnTo>
                    <a:lnTo>
                      <a:pt x="83" y="343"/>
                    </a:lnTo>
                    <a:lnTo>
                      <a:pt x="80" y="348"/>
                    </a:lnTo>
                    <a:lnTo>
                      <a:pt x="78" y="352"/>
                    </a:lnTo>
                    <a:lnTo>
                      <a:pt x="76" y="352"/>
                    </a:lnTo>
                    <a:lnTo>
                      <a:pt x="76" y="348"/>
                    </a:lnTo>
                    <a:lnTo>
                      <a:pt x="78" y="346"/>
                    </a:lnTo>
                    <a:lnTo>
                      <a:pt x="76" y="343"/>
                    </a:lnTo>
                    <a:lnTo>
                      <a:pt x="76" y="343"/>
                    </a:lnTo>
                    <a:lnTo>
                      <a:pt x="75" y="341"/>
                    </a:lnTo>
                    <a:lnTo>
                      <a:pt x="71" y="343"/>
                    </a:lnTo>
                    <a:lnTo>
                      <a:pt x="71" y="346"/>
                    </a:lnTo>
                    <a:lnTo>
                      <a:pt x="68" y="348"/>
                    </a:lnTo>
                    <a:lnTo>
                      <a:pt x="66" y="346"/>
                    </a:lnTo>
                    <a:lnTo>
                      <a:pt x="66" y="343"/>
                    </a:lnTo>
                    <a:lnTo>
                      <a:pt x="62" y="341"/>
                    </a:lnTo>
                    <a:lnTo>
                      <a:pt x="62" y="343"/>
                    </a:lnTo>
                    <a:lnTo>
                      <a:pt x="62" y="348"/>
                    </a:lnTo>
                    <a:lnTo>
                      <a:pt x="61" y="352"/>
                    </a:lnTo>
                    <a:lnTo>
                      <a:pt x="57" y="348"/>
                    </a:lnTo>
                    <a:lnTo>
                      <a:pt x="57" y="346"/>
                    </a:lnTo>
                    <a:lnTo>
                      <a:pt x="59" y="343"/>
                    </a:lnTo>
                    <a:lnTo>
                      <a:pt x="62" y="341"/>
                    </a:lnTo>
                    <a:lnTo>
                      <a:pt x="61" y="339"/>
                    </a:lnTo>
                    <a:lnTo>
                      <a:pt x="59" y="339"/>
                    </a:lnTo>
                    <a:lnTo>
                      <a:pt x="57" y="339"/>
                    </a:lnTo>
                    <a:lnTo>
                      <a:pt x="54" y="341"/>
                    </a:lnTo>
                    <a:lnTo>
                      <a:pt x="52" y="341"/>
                    </a:lnTo>
                    <a:lnTo>
                      <a:pt x="52" y="343"/>
                    </a:lnTo>
                    <a:lnTo>
                      <a:pt x="52" y="343"/>
                    </a:lnTo>
                    <a:lnTo>
                      <a:pt x="49" y="343"/>
                    </a:lnTo>
                    <a:lnTo>
                      <a:pt x="49" y="339"/>
                    </a:lnTo>
                    <a:lnTo>
                      <a:pt x="49" y="338"/>
                    </a:lnTo>
                    <a:lnTo>
                      <a:pt x="47" y="334"/>
                    </a:lnTo>
                    <a:lnTo>
                      <a:pt x="47" y="334"/>
                    </a:lnTo>
                    <a:lnTo>
                      <a:pt x="45" y="334"/>
                    </a:lnTo>
                    <a:lnTo>
                      <a:pt x="43" y="336"/>
                    </a:lnTo>
                    <a:lnTo>
                      <a:pt x="43" y="341"/>
                    </a:lnTo>
                    <a:lnTo>
                      <a:pt x="43" y="341"/>
                    </a:lnTo>
                    <a:lnTo>
                      <a:pt x="43" y="343"/>
                    </a:lnTo>
                    <a:lnTo>
                      <a:pt x="43" y="348"/>
                    </a:lnTo>
                    <a:lnTo>
                      <a:pt x="43" y="352"/>
                    </a:lnTo>
                    <a:lnTo>
                      <a:pt x="43" y="352"/>
                    </a:lnTo>
                    <a:lnTo>
                      <a:pt x="40" y="352"/>
                    </a:lnTo>
                    <a:lnTo>
                      <a:pt x="36" y="348"/>
                    </a:lnTo>
                    <a:lnTo>
                      <a:pt x="33" y="346"/>
                    </a:lnTo>
                    <a:lnTo>
                      <a:pt x="29" y="343"/>
                    </a:lnTo>
                    <a:lnTo>
                      <a:pt x="28" y="341"/>
                    </a:lnTo>
                    <a:lnTo>
                      <a:pt x="24" y="339"/>
                    </a:lnTo>
                    <a:lnTo>
                      <a:pt x="24" y="338"/>
                    </a:lnTo>
                    <a:lnTo>
                      <a:pt x="26" y="338"/>
                    </a:lnTo>
                    <a:lnTo>
                      <a:pt x="22" y="336"/>
                    </a:lnTo>
                    <a:lnTo>
                      <a:pt x="21" y="332"/>
                    </a:lnTo>
                    <a:lnTo>
                      <a:pt x="21" y="329"/>
                    </a:lnTo>
                    <a:lnTo>
                      <a:pt x="17" y="325"/>
                    </a:lnTo>
                    <a:lnTo>
                      <a:pt x="17" y="320"/>
                    </a:lnTo>
                    <a:lnTo>
                      <a:pt x="17" y="320"/>
                    </a:lnTo>
                    <a:lnTo>
                      <a:pt x="22" y="320"/>
                    </a:lnTo>
                    <a:lnTo>
                      <a:pt x="24" y="319"/>
                    </a:lnTo>
                    <a:lnTo>
                      <a:pt x="26" y="317"/>
                    </a:lnTo>
                    <a:lnTo>
                      <a:pt x="31" y="317"/>
                    </a:lnTo>
                    <a:lnTo>
                      <a:pt x="33" y="319"/>
                    </a:lnTo>
                    <a:lnTo>
                      <a:pt x="35" y="317"/>
                    </a:lnTo>
                    <a:lnTo>
                      <a:pt x="36" y="315"/>
                    </a:lnTo>
                    <a:lnTo>
                      <a:pt x="36" y="313"/>
                    </a:lnTo>
                    <a:lnTo>
                      <a:pt x="33" y="313"/>
                    </a:lnTo>
                    <a:lnTo>
                      <a:pt x="28" y="312"/>
                    </a:lnTo>
                    <a:lnTo>
                      <a:pt x="26" y="312"/>
                    </a:lnTo>
                    <a:lnTo>
                      <a:pt x="24" y="313"/>
                    </a:lnTo>
                    <a:lnTo>
                      <a:pt x="21" y="308"/>
                    </a:lnTo>
                    <a:lnTo>
                      <a:pt x="21" y="303"/>
                    </a:lnTo>
                    <a:lnTo>
                      <a:pt x="21" y="301"/>
                    </a:lnTo>
                    <a:lnTo>
                      <a:pt x="24" y="299"/>
                    </a:lnTo>
                    <a:lnTo>
                      <a:pt x="26" y="296"/>
                    </a:lnTo>
                    <a:lnTo>
                      <a:pt x="26" y="296"/>
                    </a:lnTo>
                    <a:lnTo>
                      <a:pt x="24" y="296"/>
                    </a:lnTo>
                    <a:lnTo>
                      <a:pt x="22" y="296"/>
                    </a:lnTo>
                    <a:lnTo>
                      <a:pt x="21" y="299"/>
                    </a:lnTo>
                    <a:lnTo>
                      <a:pt x="21" y="299"/>
                    </a:lnTo>
                    <a:lnTo>
                      <a:pt x="17" y="299"/>
                    </a:lnTo>
                    <a:lnTo>
                      <a:pt x="17" y="303"/>
                    </a:lnTo>
                    <a:lnTo>
                      <a:pt x="12" y="301"/>
                    </a:lnTo>
                    <a:lnTo>
                      <a:pt x="12" y="298"/>
                    </a:lnTo>
                    <a:lnTo>
                      <a:pt x="12" y="296"/>
                    </a:lnTo>
                    <a:lnTo>
                      <a:pt x="16" y="296"/>
                    </a:lnTo>
                    <a:lnTo>
                      <a:pt x="14" y="292"/>
                    </a:lnTo>
                    <a:lnTo>
                      <a:pt x="12" y="292"/>
                    </a:lnTo>
                    <a:lnTo>
                      <a:pt x="10" y="292"/>
                    </a:lnTo>
                    <a:lnTo>
                      <a:pt x="10" y="292"/>
                    </a:lnTo>
                    <a:lnTo>
                      <a:pt x="10" y="289"/>
                    </a:lnTo>
                    <a:lnTo>
                      <a:pt x="12" y="287"/>
                    </a:lnTo>
                    <a:lnTo>
                      <a:pt x="14" y="287"/>
                    </a:lnTo>
                    <a:lnTo>
                      <a:pt x="16" y="285"/>
                    </a:lnTo>
                    <a:lnTo>
                      <a:pt x="17" y="285"/>
                    </a:lnTo>
                    <a:lnTo>
                      <a:pt x="17" y="287"/>
                    </a:lnTo>
                    <a:lnTo>
                      <a:pt x="17" y="284"/>
                    </a:lnTo>
                    <a:lnTo>
                      <a:pt x="22" y="282"/>
                    </a:lnTo>
                    <a:lnTo>
                      <a:pt x="29" y="282"/>
                    </a:lnTo>
                    <a:lnTo>
                      <a:pt x="33" y="285"/>
                    </a:lnTo>
                    <a:lnTo>
                      <a:pt x="40" y="285"/>
                    </a:lnTo>
                    <a:lnTo>
                      <a:pt x="43" y="289"/>
                    </a:lnTo>
                    <a:lnTo>
                      <a:pt x="49" y="289"/>
                    </a:lnTo>
                    <a:lnTo>
                      <a:pt x="52" y="291"/>
                    </a:lnTo>
                    <a:lnTo>
                      <a:pt x="59" y="292"/>
                    </a:lnTo>
                    <a:lnTo>
                      <a:pt x="61" y="292"/>
                    </a:lnTo>
                    <a:lnTo>
                      <a:pt x="62" y="292"/>
                    </a:lnTo>
                    <a:lnTo>
                      <a:pt x="66" y="292"/>
                    </a:lnTo>
                    <a:lnTo>
                      <a:pt x="62" y="292"/>
                    </a:lnTo>
                    <a:lnTo>
                      <a:pt x="61" y="292"/>
                    </a:lnTo>
                    <a:lnTo>
                      <a:pt x="56" y="291"/>
                    </a:lnTo>
                    <a:lnTo>
                      <a:pt x="52" y="285"/>
                    </a:lnTo>
                    <a:lnTo>
                      <a:pt x="47" y="285"/>
                    </a:lnTo>
                    <a:lnTo>
                      <a:pt x="43" y="285"/>
                    </a:lnTo>
                    <a:lnTo>
                      <a:pt x="40" y="282"/>
                    </a:lnTo>
                    <a:lnTo>
                      <a:pt x="40" y="280"/>
                    </a:lnTo>
                    <a:lnTo>
                      <a:pt x="45" y="279"/>
                    </a:lnTo>
                    <a:lnTo>
                      <a:pt x="52" y="280"/>
                    </a:lnTo>
                    <a:lnTo>
                      <a:pt x="57" y="280"/>
                    </a:lnTo>
                    <a:lnTo>
                      <a:pt x="62" y="282"/>
                    </a:lnTo>
                    <a:lnTo>
                      <a:pt x="66" y="285"/>
                    </a:lnTo>
                    <a:lnTo>
                      <a:pt x="66" y="285"/>
                    </a:lnTo>
                    <a:lnTo>
                      <a:pt x="68" y="287"/>
                    </a:lnTo>
                    <a:lnTo>
                      <a:pt x="69" y="289"/>
                    </a:lnTo>
                    <a:lnTo>
                      <a:pt x="69" y="287"/>
                    </a:lnTo>
                    <a:lnTo>
                      <a:pt x="69" y="285"/>
                    </a:lnTo>
                    <a:lnTo>
                      <a:pt x="69" y="282"/>
                    </a:lnTo>
                    <a:lnTo>
                      <a:pt x="75" y="280"/>
                    </a:lnTo>
                    <a:lnTo>
                      <a:pt x="75" y="280"/>
                    </a:lnTo>
                    <a:lnTo>
                      <a:pt x="75" y="275"/>
                    </a:lnTo>
                    <a:lnTo>
                      <a:pt x="71" y="273"/>
                    </a:lnTo>
                    <a:lnTo>
                      <a:pt x="69" y="273"/>
                    </a:lnTo>
                    <a:lnTo>
                      <a:pt x="68" y="273"/>
                    </a:lnTo>
                    <a:lnTo>
                      <a:pt x="69" y="270"/>
                    </a:lnTo>
                    <a:lnTo>
                      <a:pt x="66" y="270"/>
                    </a:lnTo>
                    <a:lnTo>
                      <a:pt x="66" y="270"/>
                    </a:lnTo>
                    <a:lnTo>
                      <a:pt x="62" y="273"/>
                    </a:lnTo>
                    <a:lnTo>
                      <a:pt x="59" y="273"/>
                    </a:lnTo>
                    <a:lnTo>
                      <a:pt x="54" y="273"/>
                    </a:lnTo>
                    <a:lnTo>
                      <a:pt x="52" y="270"/>
                    </a:lnTo>
                    <a:lnTo>
                      <a:pt x="52" y="268"/>
                    </a:lnTo>
                    <a:lnTo>
                      <a:pt x="52" y="268"/>
                    </a:lnTo>
                    <a:lnTo>
                      <a:pt x="47" y="265"/>
                    </a:lnTo>
                    <a:lnTo>
                      <a:pt x="45" y="265"/>
                    </a:lnTo>
                    <a:lnTo>
                      <a:pt x="45" y="265"/>
                    </a:lnTo>
                    <a:lnTo>
                      <a:pt x="45" y="268"/>
                    </a:lnTo>
                    <a:lnTo>
                      <a:pt x="47" y="268"/>
                    </a:lnTo>
                    <a:lnTo>
                      <a:pt x="47" y="273"/>
                    </a:lnTo>
                    <a:lnTo>
                      <a:pt x="45" y="273"/>
                    </a:lnTo>
                    <a:lnTo>
                      <a:pt x="40" y="273"/>
                    </a:lnTo>
                    <a:lnTo>
                      <a:pt x="36" y="273"/>
                    </a:lnTo>
                    <a:lnTo>
                      <a:pt x="31" y="268"/>
                    </a:lnTo>
                    <a:lnTo>
                      <a:pt x="33" y="265"/>
                    </a:lnTo>
                    <a:lnTo>
                      <a:pt x="36" y="265"/>
                    </a:lnTo>
                    <a:lnTo>
                      <a:pt x="40" y="261"/>
                    </a:lnTo>
                    <a:lnTo>
                      <a:pt x="40" y="261"/>
                    </a:lnTo>
                    <a:lnTo>
                      <a:pt x="40" y="261"/>
                    </a:lnTo>
                    <a:lnTo>
                      <a:pt x="36" y="261"/>
                    </a:lnTo>
                    <a:lnTo>
                      <a:pt x="33" y="265"/>
                    </a:lnTo>
                    <a:lnTo>
                      <a:pt x="29" y="261"/>
                    </a:lnTo>
                    <a:lnTo>
                      <a:pt x="29" y="261"/>
                    </a:lnTo>
                    <a:lnTo>
                      <a:pt x="31" y="259"/>
                    </a:lnTo>
                    <a:lnTo>
                      <a:pt x="35" y="258"/>
                    </a:lnTo>
                    <a:lnTo>
                      <a:pt x="36" y="256"/>
                    </a:lnTo>
                    <a:lnTo>
                      <a:pt x="40" y="252"/>
                    </a:lnTo>
                    <a:lnTo>
                      <a:pt x="38" y="251"/>
                    </a:lnTo>
                    <a:lnTo>
                      <a:pt x="36" y="249"/>
                    </a:lnTo>
                    <a:lnTo>
                      <a:pt x="36" y="251"/>
                    </a:lnTo>
                    <a:lnTo>
                      <a:pt x="35" y="252"/>
                    </a:lnTo>
                    <a:lnTo>
                      <a:pt x="31" y="254"/>
                    </a:lnTo>
                    <a:lnTo>
                      <a:pt x="26" y="256"/>
                    </a:lnTo>
                    <a:lnTo>
                      <a:pt x="24" y="256"/>
                    </a:lnTo>
                    <a:lnTo>
                      <a:pt x="22" y="252"/>
                    </a:lnTo>
                    <a:lnTo>
                      <a:pt x="22" y="251"/>
                    </a:lnTo>
                    <a:lnTo>
                      <a:pt x="24" y="249"/>
                    </a:lnTo>
                    <a:lnTo>
                      <a:pt x="26" y="247"/>
                    </a:lnTo>
                    <a:lnTo>
                      <a:pt x="26" y="245"/>
                    </a:lnTo>
                    <a:lnTo>
                      <a:pt x="24" y="245"/>
                    </a:lnTo>
                    <a:lnTo>
                      <a:pt x="21" y="245"/>
                    </a:lnTo>
                    <a:lnTo>
                      <a:pt x="21" y="245"/>
                    </a:lnTo>
                    <a:lnTo>
                      <a:pt x="17" y="237"/>
                    </a:lnTo>
                    <a:lnTo>
                      <a:pt x="16" y="237"/>
                    </a:lnTo>
                    <a:lnTo>
                      <a:pt x="12" y="233"/>
                    </a:lnTo>
                    <a:lnTo>
                      <a:pt x="12" y="233"/>
                    </a:lnTo>
                    <a:lnTo>
                      <a:pt x="14" y="232"/>
                    </a:lnTo>
                    <a:lnTo>
                      <a:pt x="17" y="230"/>
                    </a:lnTo>
                    <a:lnTo>
                      <a:pt x="17" y="228"/>
                    </a:lnTo>
                    <a:lnTo>
                      <a:pt x="17" y="226"/>
                    </a:lnTo>
                    <a:lnTo>
                      <a:pt x="21" y="226"/>
                    </a:lnTo>
                    <a:lnTo>
                      <a:pt x="21" y="228"/>
                    </a:lnTo>
                    <a:lnTo>
                      <a:pt x="21" y="226"/>
                    </a:lnTo>
                    <a:lnTo>
                      <a:pt x="21" y="225"/>
                    </a:lnTo>
                    <a:lnTo>
                      <a:pt x="17" y="225"/>
                    </a:lnTo>
                    <a:lnTo>
                      <a:pt x="16" y="223"/>
                    </a:lnTo>
                    <a:lnTo>
                      <a:pt x="17" y="221"/>
                    </a:lnTo>
                    <a:lnTo>
                      <a:pt x="21" y="221"/>
                    </a:lnTo>
                    <a:lnTo>
                      <a:pt x="24" y="219"/>
                    </a:lnTo>
                    <a:lnTo>
                      <a:pt x="24" y="218"/>
                    </a:lnTo>
                    <a:lnTo>
                      <a:pt x="24" y="214"/>
                    </a:lnTo>
                    <a:lnTo>
                      <a:pt x="28" y="214"/>
                    </a:lnTo>
                    <a:lnTo>
                      <a:pt x="29" y="214"/>
                    </a:lnTo>
                    <a:lnTo>
                      <a:pt x="31" y="214"/>
                    </a:lnTo>
                    <a:lnTo>
                      <a:pt x="33" y="214"/>
                    </a:lnTo>
                    <a:lnTo>
                      <a:pt x="36" y="214"/>
                    </a:lnTo>
                    <a:lnTo>
                      <a:pt x="38" y="211"/>
                    </a:lnTo>
                    <a:lnTo>
                      <a:pt x="40" y="211"/>
                    </a:lnTo>
                    <a:lnTo>
                      <a:pt x="43" y="214"/>
                    </a:lnTo>
                    <a:lnTo>
                      <a:pt x="43" y="214"/>
                    </a:lnTo>
                    <a:lnTo>
                      <a:pt x="43" y="214"/>
                    </a:lnTo>
                    <a:lnTo>
                      <a:pt x="45" y="214"/>
                    </a:lnTo>
                    <a:lnTo>
                      <a:pt x="45" y="211"/>
                    </a:lnTo>
                    <a:lnTo>
                      <a:pt x="49" y="209"/>
                    </a:lnTo>
                    <a:lnTo>
                      <a:pt x="52" y="211"/>
                    </a:lnTo>
                    <a:lnTo>
                      <a:pt x="52" y="211"/>
                    </a:lnTo>
                    <a:lnTo>
                      <a:pt x="54" y="209"/>
                    </a:lnTo>
                    <a:lnTo>
                      <a:pt x="54" y="209"/>
                    </a:lnTo>
                    <a:lnTo>
                      <a:pt x="57" y="209"/>
                    </a:lnTo>
                    <a:lnTo>
                      <a:pt x="69" y="206"/>
                    </a:lnTo>
                    <a:lnTo>
                      <a:pt x="71" y="206"/>
                    </a:lnTo>
                    <a:lnTo>
                      <a:pt x="75" y="209"/>
                    </a:lnTo>
                    <a:lnTo>
                      <a:pt x="75" y="206"/>
                    </a:lnTo>
                    <a:lnTo>
                      <a:pt x="75" y="206"/>
                    </a:lnTo>
                    <a:lnTo>
                      <a:pt x="75" y="204"/>
                    </a:lnTo>
                    <a:lnTo>
                      <a:pt x="78" y="200"/>
                    </a:lnTo>
                    <a:lnTo>
                      <a:pt x="83" y="200"/>
                    </a:lnTo>
                    <a:lnTo>
                      <a:pt x="85" y="200"/>
                    </a:lnTo>
                    <a:lnTo>
                      <a:pt x="89" y="202"/>
                    </a:lnTo>
                    <a:lnTo>
                      <a:pt x="90" y="202"/>
                    </a:lnTo>
                    <a:lnTo>
                      <a:pt x="94" y="200"/>
                    </a:lnTo>
                    <a:lnTo>
                      <a:pt x="97" y="199"/>
                    </a:lnTo>
                    <a:lnTo>
                      <a:pt x="102" y="200"/>
                    </a:lnTo>
                    <a:lnTo>
                      <a:pt x="104" y="202"/>
                    </a:lnTo>
                    <a:lnTo>
                      <a:pt x="108" y="202"/>
                    </a:lnTo>
                    <a:lnTo>
                      <a:pt x="108" y="204"/>
                    </a:lnTo>
                    <a:lnTo>
                      <a:pt x="113" y="206"/>
                    </a:lnTo>
                    <a:lnTo>
                      <a:pt x="115" y="206"/>
                    </a:lnTo>
                    <a:lnTo>
                      <a:pt x="116" y="206"/>
                    </a:lnTo>
                    <a:lnTo>
                      <a:pt x="116" y="204"/>
                    </a:lnTo>
                    <a:lnTo>
                      <a:pt x="120" y="200"/>
                    </a:lnTo>
                    <a:lnTo>
                      <a:pt x="122" y="197"/>
                    </a:lnTo>
                    <a:lnTo>
                      <a:pt x="123" y="193"/>
                    </a:lnTo>
                    <a:lnTo>
                      <a:pt x="128" y="192"/>
                    </a:lnTo>
                    <a:lnTo>
                      <a:pt x="128" y="190"/>
                    </a:lnTo>
                    <a:lnTo>
                      <a:pt x="130" y="186"/>
                    </a:lnTo>
                    <a:lnTo>
                      <a:pt x="135" y="183"/>
                    </a:lnTo>
                    <a:lnTo>
                      <a:pt x="137" y="181"/>
                    </a:lnTo>
                    <a:lnTo>
                      <a:pt x="134" y="181"/>
                    </a:lnTo>
                    <a:lnTo>
                      <a:pt x="134" y="178"/>
                    </a:lnTo>
                    <a:lnTo>
                      <a:pt x="137" y="174"/>
                    </a:lnTo>
                    <a:lnTo>
                      <a:pt x="139" y="174"/>
                    </a:lnTo>
                    <a:lnTo>
                      <a:pt x="142" y="174"/>
                    </a:lnTo>
                    <a:lnTo>
                      <a:pt x="146" y="171"/>
                    </a:lnTo>
                    <a:lnTo>
                      <a:pt x="148" y="169"/>
                    </a:lnTo>
                    <a:lnTo>
                      <a:pt x="146" y="167"/>
                    </a:lnTo>
                    <a:lnTo>
                      <a:pt x="142" y="167"/>
                    </a:lnTo>
                    <a:lnTo>
                      <a:pt x="139" y="166"/>
                    </a:lnTo>
                    <a:lnTo>
                      <a:pt x="139" y="164"/>
                    </a:lnTo>
                    <a:lnTo>
                      <a:pt x="139" y="162"/>
                    </a:lnTo>
                    <a:lnTo>
                      <a:pt x="142" y="160"/>
                    </a:lnTo>
                    <a:lnTo>
                      <a:pt x="148" y="162"/>
                    </a:lnTo>
                    <a:lnTo>
                      <a:pt x="151" y="160"/>
                    </a:lnTo>
                    <a:lnTo>
                      <a:pt x="155" y="159"/>
                    </a:lnTo>
                    <a:lnTo>
                      <a:pt x="156" y="155"/>
                    </a:lnTo>
                    <a:lnTo>
                      <a:pt x="155" y="155"/>
                    </a:lnTo>
                    <a:lnTo>
                      <a:pt x="155" y="152"/>
                    </a:lnTo>
                    <a:lnTo>
                      <a:pt x="155" y="152"/>
                    </a:lnTo>
                    <a:lnTo>
                      <a:pt x="151" y="155"/>
                    </a:lnTo>
                    <a:lnTo>
                      <a:pt x="151" y="159"/>
                    </a:lnTo>
                    <a:lnTo>
                      <a:pt x="149" y="159"/>
                    </a:lnTo>
                    <a:lnTo>
                      <a:pt x="144" y="159"/>
                    </a:lnTo>
                    <a:lnTo>
                      <a:pt x="142" y="159"/>
                    </a:lnTo>
                    <a:lnTo>
                      <a:pt x="139" y="159"/>
                    </a:lnTo>
                    <a:lnTo>
                      <a:pt x="137" y="160"/>
                    </a:lnTo>
                    <a:lnTo>
                      <a:pt x="135" y="160"/>
                    </a:lnTo>
                    <a:lnTo>
                      <a:pt x="134" y="159"/>
                    </a:lnTo>
                    <a:lnTo>
                      <a:pt x="130" y="155"/>
                    </a:lnTo>
                    <a:lnTo>
                      <a:pt x="128" y="159"/>
                    </a:lnTo>
                    <a:lnTo>
                      <a:pt x="127" y="159"/>
                    </a:lnTo>
                    <a:lnTo>
                      <a:pt x="125" y="159"/>
                    </a:lnTo>
                    <a:lnTo>
                      <a:pt x="123" y="159"/>
                    </a:lnTo>
                    <a:lnTo>
                      <a:pt x="122" y="159"/>
                    </a:lnTo>
                    <a:lnTo>
                      <a:pt x="120" y="159"/>
                    </a:lnTo>
                    <a:lnTo>
                      <a:pt x="120" y="155"/>
                    </a:lnTo>
                    <a:lnTo>
                      <a:pt x="120" y="152"/>
                    </a:lnTo>
                    <a:lnTo>
                      <a:pt x="120" y="152"/>
                    </a:lnTo>
                    <a:lnTo>
                      <a:pt x="120" y="150"/>
                    </a:lnTo>
                    <a:lnTo>
                      <a:pt x="120" y="146"/>
                    </a:lnTo>
                    <a:lnTo>
                      <a:pt x="122" y="146"/>
                    </a:lnTo>
                    <a:lnTo>
                      <a:pt x="123" y="145"/>
                    </a:lnTo>
                    <a:lnTo>
                      <a:pt x="125" y="143"/>
                    </a:lnTo>
                    <a:lnTo>
                      <a:pt x="127" y="143"/>
                    </a:lnTo>
                    <a:lnTo>
                      <a:pt x="127" y="141"/>
                    </a:lnTo>
                    <a:lnTo>
                      <a:pt x="125" y="139"/>
                    </a:lnTo>
                    <a:lnTo>
                      <a:pt x="125" y="138"/>
                    </a:lnTo>
                    <a:lnTo>
                      <a:pt x="127" y="136"/>
                    </a:lnTo>
                    <a:lnTo>
                      <a:pt x="128" y="136"/>
                    </a:lnTo>
                    <a:lnTo>
                      <a:pt x="130" y="134"/>
                    </a:lnTo>
                    <a:lnTo>
                      <a:pt x="134" y="132"/>
                    </a:lnTo>
                    <a:lnTo>
                      <a:pt x="135" y="131"/>
                    </a:lnTo>
                    <a:lnTo>
                      <a:pt x="139" y="129"/>
                    </a:lnTo>
                    <a:lnTo>
                      <a:pt x="142" y="127"/>
                    </a:lnTo>
                    <a:lnTo>
                      <a:pt x="142" y="124"/>
                    </a:lnTo>
                    <a:lnTo>
                      <a:pt x="148" y="127"/>
                    </a:lnTo>
                    <a:lnTo>
                      <a:pt x="149" y="124"/>
                    </a:lnTo>
                    <a:lnTo>
                      <a:pt x="149" y="124"/>
                    </a:lnTo>
                    <a:lnTo>
                      <a:pt x="148" y="124"/>
                    </a:lnTo>
                    <a:lnTo>
                      <a:pt x="148" y="122"/>
                    </a:lnTo>
                    <a:lnTo>
                      <a:pt x="149" y="122"/>
                    </a:lnTo>
                    <a:lnTo>
                      <a:pt x="153" y="122"/>
                    </a:lnTo>
                    <a:lnTo>
                      <a:pt x="153" y="124"/>
                    </a:lnTo>
                    <a:lnTo>
                      <a:pt x="155" y="122"/>
                    </a:lnTo>
                    <a:lnTo>
                      <a:pt x="160" y="119"/>
                    </a:lnTo>
                    <a:lnTo>
                      <a:pt x="158" y="115"/>
                    </a:lnTo>
                    <a:lnTo>
                      <a:pt x="160" y="113"/>
                    </a:lnTo>
                    <a:lnTo>
                      <a:pt x="161" y="110"/>
                    </a:lnTo>
                    <a:lnTo>
                      <a:pt x="165" y="110"/>
                    </a:lnTo>
                    <a:lnTo>
                      <a:pt x="167" y="106"/>
                    </a:lnTo>
                    <a:lnTo>
                      <a:pt x="170" y="106"/>
                    </a:lnTo>
                    <a:lnTo>
                      <a:pt x="172" y="106"/>
                    </a:lnTo>
                    <a:lnTo>
                      <a:pt x="172" y="106"/>
                    </a:lnTo>
                    <a:lnTo>
                      <a:pt x="174" y="110"/>
                    </a:lnTo>
                    <a:lnTo>
                      <a:pt x="174" y="117"/>
                    </a:lnTo>
                    <a:lnTo>
                      <a:pt x="174" y="119"/>
                    </a:lnTo>
                    <a:lnTo>
                      <a:pt x="174" y="124"/>
                    </a:lnTo>
                    <a:lnTo>
                      <a:pt x="174" y="129"/>
                    </a:lnTo>
                    <a:lnTo>
                      <a:pt x="175" y="129"/>
                    </a:lnTo>
                    <a:lnTo>
                      <a:pt x="175" y="127"/>
                    </a:lnTo>
                    <a:lnTo>
                      <a:pt x="177" y="124"/>
                    </a:lnTo>
                    <a:lnTo>
                      <a:pt x="175" y="119"/>
                    </a:lnTo>
                    <a:lnTo>
                      <a:pt x="175" y="115"/>
                    </a:lnTo>
                    <a:lnTo>
                      <a:pt x="175" y="112"/>
                    </a:lnTo>
                    <a:lnTo>
                      <a:pt x="175" y="108"/>
                    </a:lnTo>
                    <a:lnTo>
                      <a:pt x="177" y="106"/>
                    </a:lnTo>
                    <a:lnTo>
                      <a:pt x="179" y="106"/>
                    </a:lnTo>
                    <a:lnTo>
                      <a:pt x="181" y="105"/>
                    </a:lnTo>
                    <a:lnTo>
                      <a:pt x="182" y="103"/>
                    </a:lnTo>
                    <a:lnTo>
                      <a:pt x="184" y="103"/>
                    </a:lnTo>
                    <a:lnTo>
                      <a:pt x="184" y="105"/>
                    </a:lnTo>
                    <a:lnTo>
                      <a:pt x="184" y="106"/>
                    </a:lnTo>
                    <a:lnTo>
                      <a:pt x="184" y="106"/>
                    </a:lnTo>
                    <a:lnTo>
                      <a:pt x="188" y="108"/>
                    </a:lnTo>
                    <a:lnTo>
                      <a:pt x="188" y="110"/>
                    </a:lnTo>
                    <a:lnTo>
                      <a:pt x="188" y="112"/>
                    </a:lnTo>
                    <a:lnTo>
                      <a:pt x="189" y="113"/>
                    </a:lnTo>
                    <a:lnTo>
                      <a:pt x="195" y="113"/>
                    </a:lnTo>
                    <a:lnTo>
                      <a:pt x="196" y="113"/>
                    </a:lnTo>
                    <a:lnTo>
                      <a:pt x="198" y="113"/>
                    </a:lnTo>
                    <a:lnTo>
                      <a:pt x="200" y="112"/>
                    </a:lnTo>
                    <a:lnTo>
                      <a:pt x="198" y="108"/>
                    </a:lnTo>
                    <a:lnTo>
                      <a:pt x="200" y="106"/>
                    </a:lnTo>
                    <a:lnTo>
                      <a:pt x="201" y="105"/>
                    </a:lnTo>
                    <a:lnTo>
                      <a:pt x="201" y="101"/>
                    </a:lnTo>
                    <a:lnTo>
                      <a:pt x="203" y="101"/>
                    </a:lnTo>
                    <a:lnTo>
                      <a:pt x="205" y="99"/>
                    </a:lnTo>
                    <a:lnTo>
                      <a:pt x="210" y="99"/>
                    </a:lnTo>
                    <a:lnTo>
                      <a:pt x="210" y="96"/>
                    </a:lnTo>
                    <a:lnTo>
                      <a:pt x="210" y="91"/>
                    </a:lnTo>
                    <a:lnTo>
                      <a:pt x="210" y="91"/>
                    </a:lnTo>
                    <a:lnTo>
                      <a:pt x="207" y="91"/>
                    </a:lnTo>
                    <a:lnTo>
                      <a:pt x="207" y="87"/>
                    </a:lnTo>
                    <a:lnTo>
                      <a:pt x="207" y="87"/>
                    </a:lnTo>
                    <a:lnTo>
                      <a:pt x="210" y="84"/>
                    </a:lnTo>
                    <a:lnTo>
                      <a:pt x="210" y="80"/>
                    </a:lnTo>
                    <a:lnTo>
                      <a:pt x="210" y="79"/>
                    </a:lnTo>
                    <a:lnTo>
                      <a:pt x="212" y="73"/>
                    </a:lnTo>
                    <a:lnTo>
                      <a:pt x="215" y="72"/>
                    </a:lnTo>
                    <a:lnTo>
                      <a:pt x="219" y="72"/>
                    </a:lnTo>
                    <a:lnTo>
                      <a:pt x="222" y="68"/>
                    </a:lnTo>
                    <a:lnTo>
                      <a:pt x="228" y="68"/>
                    </a:lnTo>
                    <a:lnTo>
                      <a:pt x="228" y="68"/>
                    </a:lnTo>
                    <a:lnTo>
                      <a:pt x="229" y="72"/>
                    </a:lnTo>
                    <a:lnTo>
                      <a:pt x="229" y="73"/>
                    </a:lnTo>
                    <a:lnTo>
                      <a:pt x="233" y="77"/>
                    </a:lnTo>
                    <a:lnTo>
                      <a:pt x="233" y="80"/>
                    </a:lnTo>
                    <a:lnTo>
                      <a:pt x="229" y="87"/>
                    </a:lnTo>
                    <a:lnTo>
                      <a:pt x="229" y="94"/>
                    </a:lnTo>
                    <a:lnTo>
                      <a:pt x="233" y="96"/>
                    </a:lnTo>
                    <a:lnTo>
                      <a:pt x="238" y="99"/>
                    </a:lnTo>
                    <a:lnTo>
                      <a:pt x="238" y="101"/>
                    </a:lnTo>
                    <a:lnTo>
                      <a:pt x="240" y="103"/>
                    </a:lnTo>
                    <a:lnTo>
                      <a:pt x="240" y="101"/>
                    </a:lnTo>
                    <a:lnTo>
                      <a:pt x="240" y="96"/>
                    </a:lnTo>
                    <a:lnTo>
                      <a:pt x="240" y="94"/>
                    </a:lnTo>
                    <a:lnTo>
                      <a:pt x="234" y="87"/>
                    </a:lnTo>
                    <a:lnTo>
                      <a:pt x="234" y="82"/>
                    </a:lnTo>
                    <a:lnTo>
                      <a:pt x="238" y="79"/>
                    </a:lnTo>
                    <a:lnTo>
                      <a:pt x="238" y="75"/>
                    </a:lnTo>
                    <a:lnTo>
                      <a:pt x="238" y="73"/>
                    </a:lnTo>
                    <a:lnTo>
                      <a:pt x="234" y="72"/>
                    </a:lnTo>
                    <a:lnTo>
                      <a:pt x="234" y="68"/>
                    </a:lnTo>
                    <a:lnTo>
                      <a:pt x="234" y="65"/>
                    </a:lnTo>
                    <a:lnTo>
                      <a:pt x="234" y="65"/>
                    </a:lnTo>
                    <a:lnTo>
                      <a:pt x="238" y="59"/>
                    </a:lnTo>
                    <a:lnTo>
                      <a:pt x="241" y="59"/>
                    </a:lnTo>
                    <a:lnTo>
                      <a:pt x="243" y="63"/>
                    </a:lnTo>
                    <a:lnTo>
                      <a:pt x="245" y="59"/>
                    </a:lnTo>
                    <a:lnTo>
                      <a:pt x="248" y="59"/>
                    </a:lnTo>
                    <a:lnTo>
                      <a:pt x="252" y="63"/>
                    </a:lnTo>
                    <a:lnTo>
                      <a:pt x="261" y="63"/>
                    </a:lnTo>
                    <a:lnTo>
                      <a:pt x="266" y="59"/>
                    </a:lnTo>
                    <a:lnTo>
                      <a:pt x="273" y="59"/>
                    </a:lnTo>
                    <a:lnTo>
                      <a:pt x="274" y="59"/>
                    </a:lnTo>
                    <a:lnTo>
                      <a:pt x="274" y="65"/>
                    </a:lnTo>
                    <a:lnTo>
                      <a:pt x="274" y="68"/>
                    </a:lnTo>
                    <a:lnTo>
                      <a:pt x="274" y="68"/>
                    </a:lnTo>
                    <a:lnTo>
                      <a:pt x="278" y="68"/>
                    </a:lnTo>
                    <a:lnTo>
                      <a:pt x="280" y="65"/>
                    </a:lnTo>
                    <a:lnTo>
                      <a:pt x="278" y="63"/>
                    </a:lnTo>
                    <a:lnTo>
                      <a:pt x="278" y="59"/>
                    </a:lnTo>
                    <a:lnTo>
                      <a:pt x="283" y="56"/>
                    </a:lnTo>
                    <a:lnTo>
                      <a:pt x="287" y="58"/>
                    </a:lnTo>
                    <a:lnTo>
                      <a:pt x="287" y="59"/>
                    </a:lnTo>
                    <a:lnTo>
                      <a:pt x="287" y="65"/>
                    </a:lnTo>
                    <a:lnTo>
                      <a:pt x="288" y="65"/>
                    </a:lnTo>
                    <a:lnTo>
                      <a:pt x="290" y="63"/>
                    </a:lnTo>
                    <a:lnTo>
                      <a:pt x="290" y="58"/>
                    </a:lnTo>
                    <a:lnTo>
                      <a:pt x="287" y="56"/>
                    </a:lnTo>
                    <a:lnTo>
                      <a:pt x="287" y="54"/>
                    </a:lnTo>
                    <a:lnTo>
                      <a:pt x="287" y="52"/>
                    </a:lnTo>
                    <a:lnTo>
                      <a:pt x="290" y="52"/>
                    </a:lnTo>
                    <a:lnTo>
                      <a:pt x="294" y="54"/>
                    </a:lnTo>
                    <a:lnTo>
                      <a:pt x="297" y="52"/>
                    </a:lnTo>
                    <a:lnTo>
                      <a:pt x="301" y="51"/>
                    </a:lnTo>
                    <a:lnTo>
                      <a:pt x="306" y="52"/>
                    </a:lnTo>
                    <a:lnTo>
                      <a:pt x="306" y="54"/>
                    </a:lnTo>
                    <a:lnTo>
                      <a:pt x="306" y="63"/>
                    </a:lnTo>
                    <a:lnTo>
                      <a:pt x="302" y="68"/>
                    </a:lnTo>
                    <a:lnTo>
                      <a:pt x="302" y="72"/>
                    </a:lnTo>
                    <a:lnTo>
                      <a:pt x="301" y="75"/>
                    </a:lnTo>
                    <a:lnTo>
                      <a:pt x="301" y="79"/>
                    </a:lnTo>
                    <a:lnTo>
                      <a:pt x="301" y="80"/>
                    </a:lnTo>
                    <a:lnTo>
                      <a:pt x="299" y="84"/>
                    </a:lnTo>
                    <a:lnTo>
                      <a:pt x="297" y="84"/>
                    </a:lnTo>
                    <a:lnTo>
                      <a:pt x="295" y="86"/>
                    </a:lnTo>
                    <a:lnTo>
                      <a:pt x="297" y="87"/>
                    </a:lnTo>
                    <a:lnTo>
                      <a:pt x="297" y="87"/>
                    </a:lnTo>
                    <a:lnTo>
                      <a:pt x="297" y="91"/>
                    </a:lnTo>
                    <a:lnTo>
                      <a:pt x="294" y="94"/>
                    </a:lnTo>
                    <a:lnTo>
                      <a:pt x="292" y="99"/>
                    </a:lnTo>
                    <a:lnTo>
                      <a:pt x="288" y="99"/>
                    </a:lnTo>
                    <a:lnTo>
                      <a:pt x="287" y="101"/>
                    </a:lnTo>
                    <a:lnTo>
                      <a:pt x="287" y="105"/>
                    </a:lnTo>
                    <a:lnTo>
                      <a:pt x="287" y="108"/>
                    </a:lnTo>
                    <a:lnTo>
                      <a:pt x="283" y="112"/>
                    </a:lnTo>
                    <a:lnTo>
                      <a:pt x="287" y="113"/>
                    </a:lnTo>
                    <a:lnTo>
                      <a:pt x="287" y="113"/>
                    </a:lnTo>
                    <a:lnTo>
                      <a:pt x="288" y="108"/>
                    </a:lnTo>
                    <a:lnTo>
                      <a:pt x="292" y="106"/>
                    </a:lnTo>
                    <a:lnTo>
                      <a:pt x="292" y="105"/>
                    </a:lnTo>
                    <a:lnTo>
                      <a:pt x="294" y="103"/>
                    </a:lnTo>
                    <a:lnTo>
                      <a:pt x="297" y="99"/>
                    </a:lnTo>
                    <a:lnTo>
                      <a:pt x="299" y="96"/>
                    </a:lnTo>
                    <a:lnTo>
                      <a:pt x="301" y="94"/>
                    </a:lnTo>
                    <a:lnTo>
                      <a:pt x="302" y="94"/>
                    </a:lnTo>
                    <a:lnTo>
                      <a:pt x="302" y="91"/>
                    </a:lnTo>
                    <a:lnTo>
                      <a:pt x="302" y="87"/>
                    </a:lnTo>
                    <a:lnTo>
                      <a:pt x="306" y="87"/>
                    </a:lnTo>
                    <a:lnTo>
                      <a:pt x="306" y="84"/>
                    </a:lnTo>
                    <a:lnTo>
                      <a:pt x="309" y="82"/>
                    </a:lnTo>
                    <a:lnTo>
                      <a:pt x="309" y="84"/>
                    </a:lnTo>
                    <a:lnTo>
                      <a:pt x="309" y="87"/>
                    </a:lnTo>
                    <a:lnTo>
                      <a:pt x="311" y="87"/>
                    </a:lnTo>
                    <a:lnTo>
                      <a:pt x="311" y="91"/>
                    </a:lnTo>
                    <a:lnTo>
                      <a:pt x="314" y="96"/>
                    </a:lnTo>
                    <a:lnTo>
                      <a:pt x="314" y="99"/>
                    </a:lnTo>
                    <a:lnTo>
                      <a:pt x="316" y="103"/>
                    </a:lnTo>
                    <a:lnTo>
                      <a:pt x="318" y="105"/>
                    </a:lnTo>
                    <a:lnTo>
                      <a:pt x="320" y="105"/>
                    </a:lnTo>
                    <a:lnTo>
                      <a:pt x="321" y="106"/>
                    </a:lnTo>
                    <a:lnTo>
                      <a:pt x="323" y="106"/>
                    </a:lnTo>
                    <a:lnTo>
                      <a:pt x="323" y="105"/>
                    </a:lnTo>
                    <a:lnTo>
                      <a:pt x="323" y="103"/>
                    </a:lnTo>
                    <a:lnTo>
                      <a:pt x="323" y="101"/>
                    </a:lnTo>
                    <a:lnTo>
                      <a:pt x="321" y="99"/>
                    </a:lnTo>
                    <a:lnTo>
                      <a:pt x="320" y="96"/>
                    </a:lnTo>
                    <a:lnTo>
                      <a:pt x="321" y="96"/>
                    </a:lnTo>
                    <a:lnTo>
                      <a:pt x="323" y="96"/>
                    </a:lnTo>
                    <a:lnTo>
                      <a:pt x="325" y="99"/>
                    </a:lnTo>
                    <a:lnTo>
                      <a:pt x="328" y="99"/>
                    </a:lnTo>
                    <a:lnTo>
                      <a:pt x="332" y="99"/>
                    </a:lnTo>
                    <a:lnTo>
                      <a:pt x="332" y="101"/>
                    </a:lnTo>
                    <a:lnTo>
                      <a:pt x="332" y="101"/>
                    </a:lnTo>
                    <a:lnTo>
                      <a:pt x="334" y="99"/>
                    </a:lnTo>
                    <a:lnTo>
                      <a:pt x="337" y="99"/>
                    </a:lnTo>
                    <a:lnTo>
                      <a:pt x="337" y="101"/>
                    </a:lnTo>
                    <a:lnTo>
                      <a:pt x="339" y="101"/>
                    </a:lnTo>
                    <a:lnTo>
                      <a:pt x="337" y="96"/>
                    </a:lnTo>
                    <a:lnTo>
                      <a:pt x="337" y="91"/>
                    </a:lnTo>
                    <a:lnTo>
                      <a:pt x="339" y="87"/>
                    </a:lnTo>
                    <a:lnTo>
                      <a:pt x="339" y="84"/>
                    </a:lnTo>
                    <a:lnTo>
                      <a:pt x="337" y="80"/>
                    </a:lnTo>
                    <a:lnTo>
                      <a:pt x="337" y="77"/>
                    </a:lnTo>
                    <a:lnTo>
                      <a:pt x="337" y="72"/>
                    </a:lnTo>
                    <a:lnTo>
                      <a:pt x="339" y="68"/>
                    </a:lnTo>
                    <a:lnTo>
                      <a:pt x="340" y="65"/>
                    </a:lnTo>
                    <a:lnTo>
                      <a:pt x="339" y="63"/>
                    </a:lnTo>
                    <a:lnTo>
                      <a:pt x="340" y="59"/>
                    </a:lnTo>
                    <a:lnTo>
                      <a:pt x="340" y="56"/>
                    </a:lnTo>
                    <a:lnTo>
                      <a:pt x="342" y="54"/>
                    </a:lnTo>
                    <a:lnTo>
                      <a:pt x="344" y="54"/>
                    </a:lnTo>
                    <a:lnTo>
                      <a:pt x="347" y="56"/>
                    </a:lnTo>
                    <a:lnTo>
                      <a:pt x="349" y="56"/>
                    </a:lnTo>
                    <a:lnTo>
                      <a:pt x="351" y="58"/>
                    </a:lnTo>
                    <a:lnTo>
                      <a:pt x="351" y="59"/>
                    </a:lnTo>
                    <a:lnTo>
                      <a:pt x="356" y="59"/>
                    </a:lnTo>
                    <a:lnTo>
                      <a:pt x="356" y="65"/>
                    </a:lnTo>
                    <a:lnTo>
                      <a:pt x="360" y="72"/>
                    </a:lnTo>
                    <a:lnTo>
                      <a:pt x="360" y="73"/>
                    </a:lnTo>
                    <a:lnTo>
                      <a:pt x="361" y="79"/>
                    </a:lnTo>
                    <a:lnTo>
                      <a:pt x="365" y="82"/>
                    </a:lnTo>
                    <a:lnTo>
                      <a:pt x="365" y="91"/>
                    </a:lnTo>
                    <a:lnTo>
                      <a:pt x="365" y="91"/>
                    </a:lnTo>
                    <a:lnTo>
                      <a:pt x="363" y="94"/>
                    </a:lnTo>
                    <a:lnTo>
                      <a:pt x="363" y="96"/>
                    </a:lnTo>
                    <a:lnTo>
                      <a:pt x="363" y="99"/>
                    </a:lnTo>
                    <a:lnTo>
                      <a:pt x="365" y="101"/>
                    </a:lnTo>
                    <a:lnTo>
                      <a:pt x="367" y="106"/>
                    </a:lnTo>
                    <a:lnTo>
                      <a:pt x="367" y="112"/>
                    </a:lnTo>
                    <a:lnTo>
                      <a:pt x="367" y="115"/>
                    </a:lnTo>
                    <a:lnTo>
                      <a:pt x="368" y="117"/>
                    </a:lnTo>
                    <a:lnTo>
                      <a:pt x="372" y="117"/>
                    </a:lnTo>
                    <a:lnTo>
                      <a:pt x="375" y="119"/>
                    </a:lnTo>
                    <a:lnTo>
                      <a:pt x="379" y="119"/>
                    </a:lnTo>
                    <a:lnTo>
                      <a:pt x="382" y="119"/>
                    </a:lnTo>
                    <a:lnTo>
                      <a:pt x="382" y="113"/>
                    </a:lnTo>
                    <a:lnTo>
                      <a:pt x="384" y="112"/>
                    </a:lnTo>
                    <a:lnTo>
                      <a:pt x="386" y="113"/>
                    </a:lnTo>
                    <a:lnTo>
                      <a:pt x="386" y="115"/>
                    </a:lnTo>
                    <a:lnTo>
                      <a:pt x="386" y="119"/>
                    </a:lnTo>
                    <a:lnTo>
                      <a:pt x="387" y="117"/>
                    </a:lnTo>
                    <a:lnTo>
                      <a:pt x="389" y="117"/>
                    </a:lnTo>
                    <a:lnTo>
                      <a:pt x="391" y="119"/>
                    </a:lnTo>
                    <a:lnTo>
                      <a:pt x="393" y="119"/>
                    </a:lnTo>
                    <a:lnTo>
                      <a:pt x="393" y="122"/>
                    </a:lnTo>
                    <a:lnTo>
                      <a:pt x="394" y="124"/>
                    </a:lnTo>
                    <a:lnTo>
                      <a:pt x="396" y="124"/>
                    </a:lnTo>
                    <a:lnTo>
                      <a:pt x="398" y="124"/>
                    </a:lnTo>
                    <a:lnTo>
                      <a:pt x="401" y="124"/>
                    </a:lnTo>
                    <a:lnTo>
                      <a:pt x="401" y="124"/>
                    </a:lnTo>
                    <a:lnTo>
                      <a:pt x="401" y="124"/>
                    </a:lnTo>
                    <a:lnTo>
                      <a:pt x="398" y="119"/>
                    </a:lnTo>
                    <a:lnTo>
                      <a:pt x="398" y="119"/>
                    </a:lnTo>
                    <a:lnTo>
                      <a:pt x="398" y="117"/>
                    </a:lnTo>
                    <a:lnTo>
                      <a:pt x="394" y="117"/>
                    </a:lnTo>
                    <a:lnTo>
                      <a:pt x="393" y="115"/>
                    </a:lnTo>
                    <a:lnTo>
                      <a:pt x="394" y="112"/>
                    </a:lnTo>
                    <a:lnTo>
                      <a:pt x="393" y="108"/>
                    </a:lnTo>
                    <a:lnTo>
                      <a:pt x="387" y="106"/>
                    </a:lnTo>
                    <a:lnTo>
                      <a:pt x="387" y="103"/>
                    </a:lnTo>
                    <a:lnTo>
                      <a:pt x="387" y="99"/>
                    </a:lnTo>
                    <a:lnTo>
                      <a:pt x="386" y="96"/>
                    </a:lnTo>
                    <a:lnTo>
                      <a:pt x="386" y="96"/>
                    </a:lnTo>
                    <a:lnTo>
                      <a:pt x="386" y="91"/>
                    </a:lnTo>
                    <a:lnTo>
                      <a:pt x="386" y="87"/>
                    </a:lnTo>
                    <a:lnTo>
                      <a:pt x="382" y="84"/>
                    </a:lnTo>
                    <a:lnTo>
                      <a:pt x="382" y="80"/>
                    </a:lnTo>
                    <a:lnTo>
                      <a:pt x="384" y="79"/>
                    </a:lnTo>
                    <a:lnTo>
                      <a:pt x="382" y="73"/>
                    </a:lnTo>
                    <a:lnTo>
                      <a:pt x="382" y="72"/>
                    </a:lnTo>
                    <a:lnTo>
                      <a:pt x="382" y="68"/>
                    </a:lnTo>
                    <a:lnTo>
                      <a:pt x="382" y="65"/>
                    </a:lnTo>
                    <a:lnTo>
                      <a:pt x="379" y="59"/>
                    </a:lnTo>
                    <a:lnTo>
                      <a:pt x="379" y="59"/>
                    </a:lnTo>
                    <a:lnTo>
                      <a:pt x="379" y="56"/>
                    </a:lnTo>
                    <a:lnTo>
                      <a:pt x="379" y="51"/>
                    </a:lnTo>
                    <a:lnTo>
                      <a:pt x="379" y="49"/>
                    </a:lnTo>
                    <a:lnTo>
                      <a:pt x="384" y="51"/>
                    </a:lnTo>
                    <a:lnTo>
                      <a:pt x="386" y="52"/>
                    </a:lnTo>
                    <a:lnTo>
                      <a:pt x="387" y="52"/>
                    </a:lnTo>
                    <a:lnTo>
                      <a:pt x="389" y="51"/>
                    </a:lnTo>
                    <a:lnTo>
                      <a:pt x="391" y="51"/>
                    </a:lnTo>
                    <a:lnTo>
                      <a:pt x="396" y="58"/>
                    </a:lnTo>
                    <a:lnTo>
                      <a:pt x="401" y="59"/>
                    </a:lnTo>
                    <a:lnTo>
                      <a:pt x="401" y="59"/>
                    </a:lnTo>
                    <a:lnTo>
                      <a:pt x="401" y="56"/>
                    </a:lnTo>
                    <a:lnTo>
                      <a:pt x="401" y="54"/>
                    </a:lnTo>
                    <a:lnTo>
                      <a:pt x="401" y="49"/>
                    </a:lnTo>
                    <a:lnTo>
                      <a:pt x="405" y="49"/>
                    </a:lnTo>
                    <a:lnTo>
                      <a:pt x="406" y="49"/>
                    </a:lnTo>
                    <a:lnTo>
                      <a:pt x="410" y="49"/>
                    </a:lnTo>
                    <a:lnTo>
                      <a:pt x="413" y="47"/>
                    </a:lnTo>
                    <a:lnTo>
                      <a:pt x="417" y="47"/>
                    </a:lnTo>
                    <a:lnTo>
                      <a:pt x="420" y="49"/>
                    </a:lnTo>
                    <a:lnTo>
                      <a:pt x="422" y="51"/>
                    </a:lnTo>
                    <a:lnTo>
                      <a:pt x="424" y="52"/>
                    </a:lnTo>
                    <a:lnTo>
                      <a:pt x="424" y="58"/>
                    </a:lnTo>
                    <a:lnTo>
                      <a:pt x="424" y="59"/>
                    </a:lnTo>
                    <a:lnTo>
                      <a:pt x="427" y="63"/>
                    </a:lnTo>
                    <a:lnTo>
                      <a:pt x="427" y="65"/>
                    </a:lnTo>
                    <a:lnTo>
                      <a:pt x="427" y="68"/>
                    </a:lnTo>
                    <a:lnTo>
                      <a:pt x="429" y="73"/>
                    </a:lnTo>
                    <a:lnTo>
                      <a:pt x="429" y="79"/>
                    </a:lnTo>
                    <a:lnTo>
                      <a:pt x="429" y="80"/>
                    </a:lnTo>
                    <a:lnTo>
                      <a:pt x="433" y="82"/>
                    </a:lnTo>
                    <a:lnTo>
                      <a:pt x="436" y="82"/>
                    </a:lnTo>
                    <a:lnTo>
                      <a:pt x="441" y="86"/>
                    </a:lnTo>
                    <a:lnTo>
                      <a:pt x="446" y="87"/>
                    </a:lnTo>
                    <a:lnTo>
                      <a:pt x="445" y="86"/>
                    </a:lnTo>
                    <a:lnTo>
                      <a:pt x="445" y="84"/>
                    </a:lnTo>
                    <a:lnTo>
                      <a:pt x="441" y="82"/>
                    </a:lnTo>
                    <a:lnTo>
                      <a:pt x="440" y="79"/>
                    </a:lnTo>
                    <a:lnTo>
                      <a:pt x="436" y="79"/>
                    </a:lnTo>
                    <a:lnTo>
                      <a:pt x="433" y="77"/>
                    </a:lnTo>
                    <a:lnTo>
                      <a:pt x="433" y="75"/>
                    </a:lnTo>
                    <a:lnTo>
                      <a:pt x="433" y="72"/>
                    </a:lnTo>
                    <a:lnTo>
                      <a:pt x="429" y="68"/>
                    </a:lnTo>
                    <a:lnTo>
                      <a:pt x="429" y="65"/>
                    </a:lnTo>
                    <a:lnTo>
                      <a:pt x="431" y="59"/>
                    </a:lnTo>
                    <a:lnTo>
                      <a:pt x="431" y="58"/>
                    </a:lnTo>
                    <a:lnTo>
                      <a:pt x="431" y="54"/>
                    </a:lnTo>
                    <a:lnTo>
                      <a:pt x="433" y="54"/>
                    </a:lnTo>
                    <a:lnTo>
                      <a:pt x="431" y="51"/>
                    </a:lnTo>
                    <a:lnTo>
                      <a:pt x="427" y="49"/>
                    </a:lnTo>
                    <a:lnTo>
                      <a:pt x="424" y="44"/>
                    </a:lnTo>
                    <a:lnTo>
                      <a:pt x="422" y="44"/>
                    </a:lnTo>
                    <a:lnTo>
                      <a:pt x="419" y="44"/>
                    </a:lnTo>
                    <a:lnTo>
                      <a:pt x="417" y="46"/>
                    </a:lnTo>
                    <a:lnTo>
                      <a:pt x="415" y="46"/>
                    </a:lnTo>
                    <a:lnTo>
                      <a:pt x="410" y="44"/>
                    </a:lnTo>
                    <a:lnTo>
                      <a:pt x="410" y="40"/>
                    </a:lnTo>
                    <a:lnTo>
                      <a:pt x="412" y="37"/>
                    </a:lnTo>
                    <a:lnTo>
                      <a:pt x="415" y="37"/>
                    </a:lnTo>
                    <a:lnTo>
                      <a:pt x="415" y="35"/>
                    </a:lnTo>
                    <a:lnTo>
                      <a:pt x="410" y="32"/>
                    </a:lnTo>
                    <a:lnTo>
                      <a:pt x="410" y="28"/>
                    </a:lnTo>
                    <a:lnTo>
                      <a:pt x="410" y="25"/>
                    </a:lnTo>
                    <a:lnTo>
                      <a:pt x="412" y="21"/>
                    </a:lnTo>
                    <a:lnTo>
                      <a:pt x="413" y="21"/>
                    </a:lnTo>
                    <a:lnTo>
                      <a:pt x="415" y="25"/>
                    </a:lnTo>
                    <a:lnTo>
                      <a:pt x="417" y="28"/>
                    </a:lnTo>
                    <a:lnTo>
                      <a:pt x="419" y="28"/>
                    </a:lnTo>
                    <a:lnTo>
                      <a:pt x="422" y="23"/>
                    </a:lnTo>
                    <a:lnTo>
                      <a:pt x="424" y="21"/>
                    </a:lnTo>
                    <a:lnTo>
                      <a:pt x="427" y="19"/>
                    </a:lnTo>
                    <a:lnTo>
                      <a:pt x="427" y="18"/>
                    </a:lnTo>
                    <a:lnTo>
                      <a:pt x="431" y="14"/>
                    </a:lnTo>
                    <a:lnTo>
                      <a:pt x="436" y="14"/>
                    </a:lnTo>
                    <a:lnTo>
                      <a:pt x="431" y="16"/>
                    </a:lnTo>
                    <a:lnTo>
                      <a:pt x="431" y="18"/>
                    </a:lnTo>
                    <a:lnTo>
                      <a:pt x="431" y="19"/>
                    </a:lnTo>
                    <a:lnTo>
                      <a:pt x="436" y="18"/>
                    </a:lnTo>
                    <a:lnTo>
                      <a:pt x="436" y="18"/>
                    </a:lnTo>
                    <a:lnTo>
                      <a:pt x="438" y="19"/>
                    </a:lnTo>
                    <a:lnTo>
                      <a:pt x="438" y="23"/>
                    </a:lnTo>
                    <a:lnTo>
                      <a:pt x="441" y="25"/>
                    </a:lnTo>
                    <a:lnTo>
                      <a:pt x="441" y="26"/>
                    </a:lnTo>
                    <a:lnTo>
                      <a:pt x="440" y="28"/>
                    </a:lnTo>
                    <a:lnTo>
                      <a:pt x="440" y="30"/>
                    </a:lnTo>
                    <a:lnTo>
                      <a:pt x="441" y="28"/>
                    </a:lnTo>
                    <a:lnTo>
                      <a:pt x="445" y="25"/>
                    </a:lnTo>
                    <a:lnTo>
                      <a:pt x="446" y="26"/>
                    </a:lnTo>
                    <a:lnTo>
                      <a:pt x="450" y="28"/>
                    </a:lnTo>
                    <a:lnTo>
                      <a:pt x="450" y="32"/>
                    </a:lnTo>
                    <a:lnTo>
                      <a:pt x="452" y="37"/>
                    </a:lnTo>
                    <a:lnTo>
                      <a:pt x="452" y="40"/>
                    </a:lnTo>
                    <a:lnTo>
                      <a:pt x="452" y="44"/>
                    </a:lnTo>
                    <a:lnTo>
                      <a:pt x="455" y="42"/>
                    </a:lnTo>
                    <a:lnTo>
                      <a:pt x="455" y="37"/>
                    </a:lnTo>
                    <a:lnTo>
                      <a:pt x="453" y="35"/>
                    </a:lnTo>
                    <a:lnTo>
                      <a:pt x="452" y="32"/>
                    </a:lnTo>
                    <a:lnTo>
                      <a:pt x="452" y="30"/>
                    </a:lnTo>
                    <a:lnTo>
                      <a:pt x="452" y="28"/>
                    </a:lnTo>
                    <a:lnTo>
                      <a:pt x="452" y="28"/>
                    </a:lnTo>
                    <a:lnTo>
                      <a:pt x="455" y="30"/>
                    </a:lnTo>
                    <a:lnTo>
                      <a:pt x="460" y="32"/>
                    </a:lnTo>
                    <a:lnTo>
                      <a:pt x="464" y="37"/>
                    </a:lnTo>
                    <a:lnTo>
                      <a:pt x="467" y="40"/>
                    </a:lnTo>
                    <a:lnTo>
                      <a:pt x="473" y="40"/>
                    </a:lnTo>
                    <a:lnTo>
                      <a:pt x="473" y="40"/>
                    </a:lnTo>
                    <a:lnTo>
                      <a:pt x="469" y="37"/>
                    </a:lnTo>
                    <a:lnTo>
                      <a:pt x="466" y="37"/>
                    </a:lnTo>
                    <a:lnTo>
                      <a:pt x="462" y="32"/>
                    </a:lnTo>
                    <a:lnTo>
                      <a:pt x="462" y="28"/>
                    </a:lnTo>
                    <a:lnTo>
                      <a:pt x="464" y="23"/>
                    </a:lnTo>
                    <a:lnTo>
                      <a:pt x="467" y="23"/>
                    </a:lnTo>
                    <a:lnTo>
                      <a:pt x="469" y="23"/>
                    </a:lnTo>
                    <a:lnTo>
                      <a:pt x="473" y="25"/>
                    </a:lnTo>
                    <a:lnTo>
                      <a:pt x="478" y="25"/>
                    </a:lnTo>
                    <a:lnTo>
                      <a:pt x="478" y="23"/>
                    </a:lnTo>
                    <a:lnTo>
                      <a:pt x="478" y="21"/>
                    </a:lnTo>
                    <a:lnTo>
                      <a:pt x="474" y="21"/>
                    </a:lnTo>
                    <a:lnTo>
                      <a:pt x="474" y="19"/>
                    </a:lnTo>
                    <a:lnTo>
                      <a:pt x="478" y="16"/>
                    </a:lnTo>
                    <a:lnTo>
                      <a:pt x="481" y="12"/>
                    </a:lnTo>
                    <a:lnTo>
                      <a:pt x="481" y="12"/>
                    </a:lnTo>
                    <a:lnTo>
                      <a:pt x="478" y="9"/>
                    </a:lnTo>
                    <a:lnTo>
                      <a:pt x="478" y="7"/>
                    </a:lnTo>
                    <a:lnTo>
                      <a:pt x="481" y="7"/>
                    </a:lnTo>
                    <a:lnTo>
                      <a:pt x="483" y="7"/>
                    </a:lnTo>
                    <a:lnTo>
                      <a:pt x="485" y="6"/>
                    </a:lnTo>
                    <a:lnTo>
                      <a:pt x="485" y="0"/>
                    </a:lnTo>
                    <a:lnTo>
                      <a:pt x="486" y="0"/>
                    </a:lnTo>
                    <a:lnTo>
                      <a:pt x="488" y="0"/>
                    </a:lnTo>
                    <a:lnTo>
                      <a:pt x="490" y="0"/>
                    </a:lnTo>
                    <a:lnTo>
                      <a:pt x="492" y="4"/>
                    </a:lnTo>
                    <a:lnTo>
                      <a:pt x="492" y="6"/>
                    </a:lnTo>
                    <a:lnTo>
                      <a:pt x="492" y="9"/>
                    </a:lnTo>
                    <a:lnTo>
                      <a:pt x="495" y="9"/>
                    </a:lnTo>
                    <a:lnTo>
                      <a:pt x="497" y="9"/>
                    </a:lnTo>
                    <a:lnTo>
                      <a:pt x="497" y="7"/>
                    </a:lnTo>
                    <a:lnTo>
                      <a:pt x="497" y="4"/>
                    </a:lnTo>
                    <a:lnTo>
                      <a:pt x="497" y="0"/>
                    </a:lnTo>
                    <a:lnTo>
                      <a:pt x="497" y="0"/>
                    </a:lnTo>
                    <a:lnTo>
                      <a:pt x="500" y="0"/>
                    </a:lnTo>
                    <a:lnTo>
                      <a:pt x="504" y="0"/>
                    </a:lnTo>
                    <a:lnTo>
                      <a:pt x="509" y="0"/>
                    </a:lnTo>
                    <a:lnTo>
                      <a:pt x="511" y="0"/>
                    </a:lnTo>
                    <a:lnTo>
                      <a:pt x="512" y="4"/>
                    </a:lnTo>
                    <a:lnTo>
                      <a:pt x="512" y="0"/>
                    </a:lnTo>
                    <a:lnTo>
                      <a:pt x="514" y="0"/>
                    </a:lnTo>
                    <a:lnTo>
                      <a:pt x="519" y="0"/>
                    </a:lnTo>
                    <a:lnTo>
                      <a:pt x="523" y="0"/>
                    </a:lnTo>
                    <a:lnTo>
                      <a:pt x="526" y="4"/>
                    </a:lnTo>
                    <a:lnTo>
                      <a:pt x="528" y="4"/>
                    </a:lnTo>
                    <a:lnTo>
                      <a:pt x="530" y="4"/>
                    </a:lnTo>
                    <a:lnTo>
                      <a:pt x="532" y="6"/>
                    </a:lnTo>
                    <a:lnTo>
                      <a:pt x="533" y="7"/>
                    </a:lnTo>
                    <a:lnTo>
                      <a:pt x="539" y="9"/>
                    </a:lnTo>
                    <a:lnTo>
                      <a:pt x="540" y="9"/>
                    </a:lnTo>
                    <a:lnTo>
                      <a:pt x="540" y="9"/>
                    </a:lnTo>
                    <a:lnTo>
                      <a:pt x="542" y="7"/>
                    </a:lnTo>
                    <a:lnTo>
                      <a:pt x="546" y="9"/>
                    </a:lnTo>
                    <a:lnTo>
                      <a:pt x="549" y="9"/>
                    </a:lnTo>
                    <a:lnTo>
                      <a:pt x="552" y="14"/>
                    </a:lnTo>
                    <a:lnTo>
                      <a:pt x="559" y="14"/>
                    </a:lnTo>
                    <a:lnTo>
                      <a:pt x="561" y="16"/>
                    </a:lnTo>
                    <a:lnTo>
                      <a:pt x="565" y="14"/>
                    </a:lnTo>
                    <a:lnTo>
                      <a:pt x="566" y="16"/>
                    </a:lnTo>
                    <a:lnTo>
                      <a:pt x="568" y="18"/>
                    </a:lnTo>
                    <a:lnTo>
                      <a:pt x="572" y="16"/>
                    </a:lnTo>
                    <a:lnTo>
                      <a:pt x="572" y="18"/>
                    </a:lnTo>
                    <a:lnTo>
                      <a:pt x="575" y="19"/>
                    </a:lnTo>
                    <a:lnTo>
                      <a:pt x="580" y="21"/>
                    </a:lnTo>
                    <a:lnTo>
                      <a:pt x="584" y="25"/>
                    </a:lnTo>
                    <a:lnTo>
                      <a:pt x="585" y="28"/>
                    </a:lnTo>
                    <a:lnTo>
                      <a:pt x="589" y="28"/>
                    </a:lnTo>
                    <a:lnTo>
                      <a:pt x="594" y="32"/>
                    </a:lnTo>
                    <a:lnTo>
                      <a:pt x="594" y="32"/>
                    </a:lnTo>
                    <a:lnTo>
                      <a:pt x="591" y="37"/>
                    </a:lnTo>
                    <a:lnTo>
                      <a:pt x="589" y="37"/>
                    </a:lnTo>
                    <a:lnTo>
                      <a:pt x="585" y="37"/>
                    </a:lnTo>
                    <a:lnTo>
                      <a:pt x="584" y="37"/>
                    </a:lnTo>
                    <a:lnTo>
                      <a:pt x="582" y="40"/>
                    </a:lnTo>
                    <a:lnTo>
                      <a:pt x="579" y="40"/>
                    </a:lnTo>
                    <a:lnTo>
                      <a:pt x="577" y="37"/>
                    </a:lnTo>
                    <a:lnTo>
                      <a:pt x="573" y="40"/>
                    </a:lnTo>
                    <a:lnTo>
                      <a:pt x="572" y="40"/>
                    </a:lnTo>
                    <a:lnTo>
                      <a:pt x="565" y="37"/>
                    </a:lnTo>
                    <a:lnTo>
                      <a:pt x="561" y="35"/>
                    </a:lnTo>
                    <a:lnTo>
                      <a:pt x="559" y="35"/>
                    </a:lnTo>
                    <a:lnTo>
                      <a:pt x="556" y="35"/>
                    </a:lnTo>
                    <a:lnTo>
                      <a:pt x="552" y="35"/>
                    </a:lnTo>
                    <a:lnTo>
                      <a:pt x="551" y="35"/>
                    </a:lnTo>
                    <a:lnTo>
                      <a:pt x="549" y="37"/>
                    </a:lnTo>
                    <a:lnTo>
                      <a:pt x="549" y="35"/>
                    </a:lnTo>
                    <a:lnTo>
                      <a:pt x="546" y="35"/>
                    </a:lnTo>
                    <a:lnTo>
                      <a:pt x="539" y="37"/>
                    </a:lnTo>
                    <a:lnTo>
                      <a:pt x="537" y="37"/>
                    </a:lnTo>
                    <a:lnTo>
                      <a:pt x="533" y="37"/>
                    </a:lnTo>
                    <a:lnTo>
                      <a:pt x="532" y="37"/>
                    </a:lnTo>
                    <a:lnTo>
                      <a:pt x="526" y="37"/>
                    </a:lnTo>
                    <a:lnTo>
                      <a:pt x="523" y="37"/>
                    </a:lnTo>
                    <a:lnTo>
                      <a:pt x="521" y="37"/>
                    </a:lnTo>
                    <a:lnTo>
                      <a:pt x="521" y="32"/>
                    </a:lnTo>
                    <a:lnTo>
                      <a:pt x="523" y="32"/>
                    </a:lnTo>
                    <a:lnTo>
                      <a:pt x="523" y="32"/>
                    </a:lnTo>
                    <a:lnTo>
                      <a:pt x="523" y="30"/>
                    </a:lnTo>
                    <a:lnTo>
                      <a:pt x="523" y="28"/>
                    </a:lnTo>
                    <a:lnTo>
                      <a:pt x="521" y="28"/>
                    </a:lnTo>
                    <a:lnTo>
                      <a:pt x="519" y="28"/>
                    </a:lnTo>
                    <a:lnTo>
                      <a:pt x="514" y="32"/>
                    </a:lnTo>
                    <a:lnTo>
                      <a:pt x="514" y="35"/>
                    </a:lnTo>
                    <a:lnTo>
                      <a:pt x="518" y="37"/>
                    </a:lnTo>
                    <a:lnTo>
                      <a:pt x="521" y="37"/>
                    </a:lnTo>
                    <a:lnTo>
                      <a:pt x="519" y="40"/>
                    </a:lnTo>
                    <a:lnTo>
                      <a:pt x="518" y="40"/>
                    </a:lnTo>
                    <a:lnTo>
                      <a:pt x="514" y="40"/>
                    </a:lnTo>
                    <a:lnTo>
                      <a:pt x="512" y="40"/>
                    </a:lnTo>
                    <a:lnTo>
                      <a:pt x="509" y="40"/>
                    </a:lnTo>
                    <a:lnTo>
                      <a:pt x="507" y="40"/>
                    </a:lnTo>
                    <a:lnTo>
                      <a:pt x="504" y="40"/>
                    </a:lnTo>
                    <a:lnTo>
                      <a:pt x="500" y="40"/>
                    </a:lnTo>
                    <a:lnTo>
                      <a:pt x="497" y="40"/>
                    </a:lnTo>
                    <a:lnTo>
                      <a:pt x="492" y="42"/>
                    </a:lnTo>
                    <a:lnTo>
                      <a:pt x="486" y="46"/>
                    </a:lnTo>
                    <a:lnTo>
                      <a:pt x="485" y="49"/>
                    </a:lnTo>
                    <a:lnTo>
                      <a:pt x="485" y="54"/>
                    </a:lnTo>
                    <a:lnTo>
                      <a:pt x="485" y="56"/>
                    </a:lnTo>
                    <a:lnTo>
                      <a:pt x="483" y="58"/>
                    </a:lnTo>
                    <a:lnTo>
                      <a:pt x="485" y="59"/>
                    </a:lnTo>
                    <a:lnTo>
                      <a:pt x="488" y="59"/>
                    </a:lnTo>
                    <a:lnTo>
                      <a:pt x="488" y="56"/>
                    </a:lnTo>
                    <a:lnTo>
                      <a:pt x="488" y="52"/>
                    </a:lnTo>
                    <a:lnTo>
                      <a:pt x="488" y="52"/>
                    </a:lnTo>
                    <a:lnTo>
                      <a:pt x="490" y="51"/>
                    </a:lnTo>
                    <a:lnTo>
                      <a:pt x="492" y="51"/>
                    </a:lnTo>
                    <a:lnTo>
                      <a:pt x="497" y="49"/>
                    </a:lnTo>
                    <a:lnTo>
                      <a:pt x="497" y="51"/>
                    </a:lnTo>
                    <a:lnTo>
                      <a:pt x="497" y="52"/>
                    </a:lnTo>
                    <a:lnTo>
                      <a:pt x="495" y="56"/>
                    </a:lnTo>
                    <a:lnTo>
                      <a:pt x="495" y="58"/>
                    </a:lnTo>
                    <a:lnTo>
                      <a:pt x="497" y="58"/>
                    </a:lnTo>
                    <a:lnTo>
                      <a:pt x="497" y="56"/>
                    </a:lnTo>
                    <a:lnTo>
                      <a:pt x="497" y="51"/>
                    </a:lnTo>
                    <a:lnTo>
                      <a:pt x="497" y="51"/>
                    </a:lnTo>
                    <a:lnTo>
                      <a:pt x="500" y="47"/>
                    </a:lnTo>
                    <a:lnTo>
                      <a:pt x="500" y="47"/>
                    </a:lnTo>
                    <a:lnTo>
                      <a:pt x="504" y="46"/>
                    </a:lnTo>
                    <a:lnTo>
                      <a:pt x="506" y="46"/>
                    </a:lnTo>
                    <a:lnTo>
                      <a:pt x="511" y="44"/>
                    </a:lnTo>
                    <a:lnTo>
                      <a:pt x="514" y="44"/>
                    </a:lnTo>
                    <a:lnTo>
                      <a:pt x="514" y="44"/>
                    </a:lnTo>
                    <a:lnTo>
                      <a:pt x="518" y="44"/>
                    </a:lnTo>
                    <a:lnTo>
                      <a:pt x="518" y="46"/>
                    </a:lnTo>
                    <a:lnTo>
                      <a:pt x="521" y="51"/>
                    </a:lnTo>
                    <a:lnTo>
                      <a:pt x="523" y="52"/>
                    </a:lnTo>
                    <a:lnTo>
                      <a:pt x="523" y="52"/>
                    </a:lnTo>
                    <a:lnTo>
                      <a:pt x="523" y="49"/>
                    </a:lnTo>
                    <a:lnTo>
                      <a:pt x="523" y="46"/>
                    </a:lnTo>
                    <a:lnTo>
                      <a:pt x="523" y="44"/>
                    </a:lnTo>
                    <a:lnTo>
                      <a:pt x="526" y="44"/>
                    </a:lnTo>
                    <a:lnTo>
                      <a:pt x="528" y="44"/>
                    </a:lnTo>
                    <a:lnTo>
                      <a:pt x="533" y="44"/>
                    </a:lnTo>
                    <a:lnTo>
                      <a:pt x="537" y="44"/>
                    </a:lnTo>
                    <a:lnTo>
                      <a:pt x="542" y="40"/>
                    </a:lnTo>
                    <a:lnTo>
                      <a:pt x="546" y="40"/>
                    </a:lnTo>
                    <a:lnTo>
                      <a:pt x="551" y="40"/>
                    </a:lnTo>
                    <a:lnTo>
                      <a:pt x="556" y="40"/>
                    </a:lnTo>
                    <a:lnTo>
                      <a:pt x="559" y="42"/>
                    </a:lnTo>
                    <a:lnTo>
                      <a:pt x="563" y="44"/>
                    </a:lnTo>
                    <a:lnTo>
                      <a:pt x="565" y="44"/>
                    </a:lnTo>
                    <a:lnTo>
                      <a:pt x="568" y="46"/>
                    </a:lnTo>
                    <a:lnTo>
                      <a:pt x="572" y="47"/>
                    </a:lnTo>
                    <a:lnTo>
                      <a:pt x="572" y="49"/>
                    </a:lnTo>
                    <a:lnTo>
                      <a:pt x="573" y="47"/>
                    </a:lnTo>
                    <a:lnTo>
                      <a:pt x="577" y="47"/>
                    </a:lnTo>
                    <a:lnTo>
                      <a:pt x="579" y="47"/>
                    </a:lnTo>
                    <a:lnTo>
                      <a:pt x="579" y="49"/>
                    </a:lnTo>
                    <a:lnTo>
                      <a:pt x="580" y="49"/>
                    </a:lnTo>
                    <a:lnTo>
                      <a:pt x="584" y="47"/>
                    </a:lnTo>
                    <a:lnTo>
                      <a:pt x="585" y="47"/>
                    </a:lnTo>
                    <a:lnTo>
                      <a:pt x="589" y="47"/>
                    </a:lnTo>
                    <a:lnTo>
                      <a:pt x="594" y="44"/>
                    </a:lnTo>
                    <a:lnTo>
                      <a:pt x="596" y="42"/>
                    </a:lnTo>
                    <a:lnTo>
                      <a:pt x="599" y="40"/>
                    </a:lnTo>
                    <a:lnTo>
                      <a:pt x="599" y="42"/>
                    </a:lnTo>
                    <a:lnTo>
                      <a:pt x="601" y="46"/>
                    </a:lnTo>
                    <a:lnTo>
                      <a:pt x="605" y="47"/>
                    </a:lnTo>
                    <a:lnTo>
                      <a:pt x="605" y="47"/>
                    </a:lnTo>
                    <a:lnTo>
                      <a:pt x="603" y="51"/>
                    </a:lnTo>
                    <a:lnTo>
                      <a:pt x="603" y="51"/>
                    </a:lnTo>
                    <a:lnTo>
                      <a:pt x="605" y="52"/>
                    </a:lnTo>
                    <a:lnTo>
                      <a:pt x="605" y="54"/>
                    </a:lnTo>
                    <a:lnTo>
                      <a:pt x="605" y="56"/>
                    </a:lnTo>
                    <a:lnTo>
                      <a:pt x="599" y="59"/>
                    </a:lnTo>
                    <a:lnTo>
                      <a:pt x="594" y="63"/>
                    </a:lnTo>
                    <a:lnTo>
                      <a:pt x="594" y="59"/>
                    </a:lnTo>
                    <a:lnTo>
                      <a:pt x="591" y="59"/>
                    </a:lnTo>
                    <a:lnTo>
                      <a:pt x="589" y="58"/>
                    </a:lnTo>
                    <a:lnTo>
                      <a:pt x="587" y="59"/>
                    </a:lnTo>
                    <a:lnTo>
                      <a:pt x="587" y="59"/>
                    </a:lnTo>
                    <a:lnTo>
                      <a:pt x="591" y="63"/>
                    </a:lnTo>
                    <a:lnTo>
                      <a:pt x="591" y="65"/>
                    </a:lnTo>
                    <a:lnTo>
                      <a:pt x="591" y="65"/>
                    </a:lnTo>
                    <a:lnTo>
                      <a:pt x="587" y="65"/>
                    </a:lnTo>
                    <a:lnTo>
                      <a:pt x="585" y="63"/>
                    </a:lnTo>
                    <a:lnTo>
                      <a:pt x="584" y="63"/>
                    </a:lnTo>
                    <a:lnTo>
                      <a:pt x="584" y="65"/>
                    </a:lnTo>
                    <a:lnTo>
                      <a:pt x="584" y="65"/>
                    </a:lnTo>
                    <a:lnTo>
                      <a:pt x="587" y="68"/>
                    </a:lnTo>
                    <a:lnTo>
                      <a:pt x="591" y="68"/>
                    </a:lnTo>
                    <a:lnTo>
                      <a:pt x="594" y="68"/>
                    </a:lnTo>
                    <a:lnTo>
                      <a:pt x="596" y="68"/>
                    </a:lnTo>
                    <a:lnTo>
                      <a:pt x="601" y="65"/>
                    </a:lnTo>
                    <a:lnTo>
                      <a:pt x="603" y="65"/>
                    </a:lnTo>
                    <a:lnTo>
                      <a:pt x="605" y="68"/>
                    </a:lnTo>
                    <a:lnTo>
                      <a:pt x="605" y="65"/>
                    </a:lnTo>
                    <a:lnTo>
                      <a:pt x="605" y="65"/>
                    </a:lnTo>
                    <a:lnTo>
                      <a:pt x="608" y="65"/>
                    </a:lnTo>
                    <a:lnTo>
                      <a:pt x="613" y="65"/>
                    </a:lnTo>
                    <a:lnTo>
                      <a:pt x="617" y="65"/>
                    </a:lnTo>
                    <a:lnTo>
                      <a:pt x="617" y="68"/>
                    </a:lnTo>
                    <a:lnTo>
                      <a:pt x="618" y="68"/>
                    </a:lnTo>
                    <a:lnTo>
                      <a:pt x="618" y="68"/>
                    </a:lnTo>
                    <a:lnTo>
                      <a:pt x="622" y="65"/>
                    </a:lnTo>
                    <a:lnTo>
                      <a:pt x="622" y="68"/>
                    </a:lnTo>
                    <a:lnTo>
                      <a:pt x="622" y="68"/>
                    </a:lnTo>
                    <a:lnTo>
                      <a:pt x="625" y="72"/>
                    </a:lnTo>
                    <a:lnTo>
                      <a:pt x="629" y="72"/>
                    </a:lnTo>
                    <a:lnTo>
                      <a:pt x="632" y="73"/>
                    </a:lnTo>
                    <a:lnTo>
                      <a:pt x="632" y="75"/>
                    </a:lnTo>
                    <a:lnTo>
                      <a:pt x="636" y="79"/>
                    </a:lnTo>
                    <a:lnTo>
                      <a:pt x="639" y="80"/>
                    </a:lnTo>
                    <a:lnTo>
                      <a:pt x="641" y="82"/>
                    </a:lnTo>
                    <a:lnTo>
                      <a:pt x="645" y="84"/>
                    </a:lnTo>
                    <a:lnTo>
                      <a:pt x="645" y="87"/>
                    </a:lnTo>
                    <a:lnTo>
                      <a:pt x="641" y="87"/>
                    </a:lnTo>
                    <a:lnTo>
                      <a:pt x="641" y="91"/>
                    </a:lnTo>
                    <a:lnTo>
                      <a:pt x="641" y="91"/>
                    </a:lnTo>
                    <a:lnTo>
                      <a:pt x="639" y="94"/>
                    </a:lnTo>
                    <a:lnTo>
                      <a:pt x="636" y="96"/>
                    </a:lnTo>
                    <a:lnTo>
                      <a:pt x="634" y="96"/>
                    </a:lnTo>
                    <a:lnTo>
                      <a:pt x="632" y="96"/>
                    </a:lnTo>
                    <a:lnTo>
                      <a:pt x="631" y="96"/>
                    </a:lnTo>
                    <a:lnTo>
                      <a:pt x="631" y="99"/>
                    </a:lnTo>
                    <a:lnTo>
                      <a:pt x="631" y="99"/>
                    </a:lnTo>
                    <a:lnTo>
                      <a:pt x="627" y="101"/>
                    </a:lnTo>
                    <a:lnTo>
                      <a:pt x="622" y="103"/>
                    </a:lnTo>
                    <a:lnTo>
                      <a:pt x="618" y="105"/>
                    </a:lnTo>
                    <a:lnTo>
                      <a:pt x="617" y="105"/>
                    </a:lnTo>
                    <a:lnTo>
                      <a:pt x="613" y="105"/>
                    </a:lnTo>
                    <a:lnTo>
                      <a:pt x="612" y="103"/>
                    </a:lnTo>
                    <a:lnTo>
                      <a:pt x="610" y="101"/>
                    </a:lnTo>
                    <a:lnTo>
                      <a:pt x="610" y="101"/>
                    </a:lnTo>
                    <a:lnTo>
                      <a:pt x="610" y="103"/>
                    </a:lnTo>
                    <a:lnTo>
                      <a:pt x="612" y="105"/>
                    </a:lnTo>
                    <a:lnTo>
                      <a:pt x="612" y="106"/>
                    </a:lnTo>
                    <a:lnTo>
                      <a:pt x="608" y="106"/>
                    </a:lnTo>
                    <a:lnTo>
                      <a:pt x="605" y="105"/>
                    </a:lnTo>
                    <a:lnTo>
                      <a:pt x="601" y="106"/>
                    </a:lnTo>
                    <a:lnTo>
                      <a:pt x="599" y="106"/>
                    </a:lnTo>
                    <a:lnTo>
                      <a:pt x="599" y="105"/>
                    </a:lnTo>
                    <a:lnTo>
                      <a:pt x="594" y="105"/>
                    </a:lnTo>
                    <a:lnTo>
                      <a:pt x="594" y="106"/>
                    </a:lnTo>
                    <a:lnTo>
                      <a:pt x="589" y="108"/>
                    </a:lnTo>
                    <a:lnTo>
                      <a:pt x="585" y="108"/>
                    </a:lnTo>
                    <a:lnTo>
                      <a:pt x="584" y="108"/>
                    </a:lnTo>
                    <a:lnTo>
                      <a:pt x="582" y="108"/>
                    </a:lnTo>
                    <a:lnTo>
                      <a:pt x="579" y="106"/>
                    </a:lnTo>
                    <a:lnTo>
                      <a:pt x="577" y="106"/>
                    </a:lnTo>
                    <a:lnTo>
                      <a:pt x="575" y="108"/>
                    </a:lnTo>
                    <a:lnTo>
                      <a:pt x="572" y="108"/>
                    </a:lnTo>
                    <a:lnTo>
                      <a:pt x="568" y="108"/>
                    </a:lnTo>
                    <a:lnTo>
                      <a:pt x="566" y="105"/>
                    </a:lnTo>
                    <a:lnTo>
                      <a:pt x="565" y="105"/>
                    </a:lnTo>
                    <a:lnTo>
                      <a:pt x="563" y="103"/>
                    </a:lnTo>
                    <a:lnTo>
                      <a:pt x="559" y="103"/>
                    </a:lnTo>
                    <a:lnTo>
                      <a:pt x="556" y="103"/>
                    </a:lnTo>
                    <a:lnTo>
                      <a:pt x="554" y="101"/>
                    </a:lnTo>
                    <a:lnTo>
                      <a:pt x="551" y="103"/>
                    </a:lnTo>
                    <a:lnTo>
                      <a:pt x="549" y="103"/>
                    </a:lnTo>
                    <a:lnTo>
                      <a:pt x="546" y="101"/>
                    </a:lnTo>
                    <a:lnTo>
                      <a:pt x="544" y="101"/>
                    </a:lnTo>
                    <a:lnTo>
                      <a:pt x="542" y="105"/>
                    </a:lnTo>
                    <a:lnTo>
                      <a:pt x="539" y="105"/>
                    </a:lnTo>
                    <a:lnTo>
                      <a:pt x="535" y="105"/>
                    </a:lnTo>
                    <a:lnTo>
                      <a:pt x="532" y="106"/>
                    </a:lnTo>
                    <a:lnTo>
                      <a:pt x="532" y="106"/>
                    </a:lnTo>
                    <a:lnTo>
                      <a:pt x="530" y="106"/>
                    </a:lnTo>
                    <a:lnTo>
                      <a:pt x="530" y="103"/>
                    </a:lnTo>
                    <a:lnTo>
                      <a:pt x="528" y="103"/>
                    </a:lnTo>
                    <a:lnTo>
                      <a:pt x="526" y="103"/>
                    </a:lnTo>
                    <a:lnTo>
                      <a:pt x="523" y="103"/>
                    </a:lnTo>
                    <a:lnTo>
                      <a:pt x="523" y="103"/>
                    </a:lnTo>
                    <a:lnTo>
                      <a:pt x="523" y="103"/>
                    </a:lnTo>
                    <a:lnTo>
                      <a:pt x="523" y="105"/>
                    </a:lnTo>
                    <a:lnTo>
                      <a:pt x="526" y="105"/>
                    </a:lnTo>
                    <a:lnTo>
                      <a:pt x="526" y="105"/>
                    </a:lnTo>
                    <a:lnTo>
                      <a:pt x="528" y="106"/>
                    </a:lnTo>
                    <a:lnTo>
                      <a:pt x="526" y="110"/>
                    </a:lnTo>
                    <a:lnTo>
                      <a:pt x="526" y="110"/>
                    </a:lnTo>
                    <a:lnTo>
                      <a:pt x="523" y="110"/>
                    </a:lnTo>
                    <a:lnTo>
                      <a:pt x="521" y="110"/>
                    </a:lnTo>
                    <a:lnTo>
                      <a:pt x="519" y="112"/>
                    </a:lnTo>
                    <a:lnTo>
                      <a:pt x="514" y="113"/>
                    </a:lnTo>
                    <a:lnTo>
                      <a:pt x="511" y="113"/>
                    </a:lnTo>
                    <a:lnTo>
                      <a:pt x="509" y="115"/>
                    </a:lnTo>
                    <a:lnTo>
                      <a:pt x="507" y="117"/>
                    </a:lnTo>
                    <a:lnTo>
                      <a:pt x="504" y="119"/>
                    </a:lnTo>
                    <a:lnTo>
                      <a:pt x="500" y="119"/>
                    </a:lnTo>
                    <a:lnTo>
                      <a:pt x="497" y="119"/>
                    </a:lnTo>
                    <a:lnTo>
                      <a:pt x="497" y="119"/>
                    </a:lnTo>
                    <a:lnTo>
                      <a:pt x="495" y="122"/>
                    </a:lnTo>
                    <a:lnTo>
                      <a:pt x="495" y="124"/>
                    </a:lnTo>
                    <a:lnTo>
                      <a:pt x="497" y="127"/>
                    </a:lnTo>
                    <a:lnTo>
                      <a:pt x="497" y="127"/>
                    </a:lnTo>
                    <a:lnTo>
                      <a:pt x="497" y="131"/>
                    </a:lnTo>
                    <a:lnTo>
                      <a:pt x="497" y="132"/>
                    </a:lnTo>
                    <a:lnTo>
                      <a:pt x="500" y="132"/>
                    </a:lnTo>
                    <a:lnTo>
                      <a:pt x="500" y="131"/>
                    </a:lnTo>
                    <a:lnTo>
                      <a:pt x="500" y="127"/>
                    </a:lnTo>
                    <a:lnTo>
                      <a:pt x="504" y="127"/>
                    </a:lnTo>
                    <a:lnTo>
                      <a:pt x="506" y="127"/>
                    </a:lnTo>
                    <a:lnTo>
                      <a:pt x="509" y="124"/>
                    </a:lnTo>
                    <a:lnTo>
                      <a:pt x="511" y="124"/>
                    </a:lnTo>
                    <a:lnTo>
                      <a:pt x="514" y="124"/>
                    </a:lnTo>
                    <a:lnTo>
                      <a:pt x="514" y="124"/>
                    </a:lnTo>
                    <a:lnTo>
                      <a:pt x="518" y="119"/>
                    </a:lnTo>
                    <a:lnTo>
                      <a:pt x="523" y="119"/>
                    </a:lnTo>
                    <a:lnTo>
                      <a:pt x="528" y="117"/>
                    </a:lnTo>
                    <a:lnTo>
                      <a:pt x="532" y="117"/>
                    </a:lnTo>
                    <a:lnTo>
                      <a:pt x="532" y="119"/>
                    </a:lnTo>
                    <a:lnTo>
                      <a:pt x="530" y="119"/>
                    </a:lnTo>
                    <a:lnTo>
                      <a:pt x="532" y="119"/>
                    </a:lnTo>
                    <a:lnTo>
                      <a:pt x="533" y="119"/>
                    </a:lnTo>
                    <a:lnTo>
                      <a:pt x="533" y="117"/>
                    </a:lnTo>
                    <a:lnTo>
                      <a:pt x="537" y="113"/>
                    </a:lnTo>
                    <a:lnTo>
                      <a:pt x="539" y="112"/>
                    </a:lnTo>
                    <a:lnTo>
                      <a:pt x="542" y="113"/>
                    </a:lnTo>
                    <a:lnTo>
                      <a:pt x="544" y="113"/>
                    </a:lnTo>
                    <a:lnTo>
                      <a:pt x="546" y="113"/>
                    </a:lnTo>
                    <a:lnTo>
                      <a:pt x="551" y="113"/>
                    </a:lnTo>
                    <a:lnTo>
                      <a:pt x="554" y="115"/>
                    </a:lnTo>
                    <a:lnTo>
                      <a:pt x="558" y="115"/>
                    </a:lnTo>
                    <a:lnTo>
                      <a:pt x="566" y="115"/>
                    </a:lnTo>
                    <a:lnTo>
                      <a:pt x="568" y="115"/>
                    </a:lnTo>
                    <a:lnTo>
                      <a:pt x="572" y="117"/>
                    </a:lnTo>
                    <a:lnTo>
                      <a:pt x="577" y="119"/>
                    </a:lnTo>
                    <a:lnTo>
                      <a:pt x="582" y="119"/>
                    </a:lnTo>
                    <a:lnTo>
                      <a:pt x="585" y="119"/>
                    </a:lnTo>
                    <a:lnTo>
                      <a:pt x="585" y="119"/>
                    </a:lnTo>
                    <a:lnTo>
                      <a:pt x="587" y="122"/>
                    </a:lnTo>
                    <a:lnTo>
                      <a:pt x="587" y="124"/>
                    </a:lnTo>
                    <a:lnTo>
                      <a:pt x="584" y="124"/>
                    </a:lnTo>
                    <a:lnTo>
                      <a:pt x="584" y="127"/>
                    </a:lnTo>
                    <a:lnTo>
                      <a:pt x="582" y="129"/>
                    </a:lnTo>
                    <a:lnTo>
                      <a:pt x="580" y="131"/>
                    </a:lnTo>
                    <a:lnTo>
                      <a:pt x="572" y="131"/>
                    </a:lnTo>
                    <a:lnTo>
                      <a:pt x="568" y="132"/>
                    </a:lnTo>
                    <a:lnTo>
                      <a:pt x="568" y="134"/>
                    </a:lnTo>
                    <a:lnTo>
                      <a:pt x="566" y="132"/>
                    </a:lnTo>
                    <a:lnTo>
                      <a:pt x="565" y="132"/>
                    </a:lnTo>
                    <a:lnTo>
                      <a:pt x="565" y="136"/>
                    </a:lnTo>
                    <a:lnTo>
                      <a:pt x="565" y="138"/>
                    </a:lnTo>
                    <a:lnTo>
                      <a:pt x="563" y="141"/>
                    </a:lnTo>
                    <a:lnTo>
                      <a:pt x="565" y="143"/>
                    </a:lnTo>
                    <a:lnTo>
                      <a:pt x="565" y="143"/>
                    </a:lnTo>
                    <a:lnTo>
                      <a:pt x="568" y="141"/>
                    </a:lnTo>
                    <a:lnTo>
                      <a:pt x="572" y="141"/>
                    </a:lnTo>
                    <a:lnTo>
                      <a:pt x="575" y="139"/>
                    </a:lnTo>
                    <a:lnTo>
                      <a:pt x="575" y="139"/>
                    </a:lnTo>
                    <a:lnTo>
                      <a:pt x="582" y="139"/>
                    </a:lnTo>
                    <a:lnTo>
                      <a:pt x="582" y="139"/>
                    </a:lnTo>
                    <a:lnTo>
                      <a:pt x="589" y="141"/>
                    </a:lnTo>
                    <a:lnTo>
                      <a:pt x="591" y="141"/>
                    </a:lnTo>
                    <a:lnTo>
                      <a:pt x="591" y="143"/>
                    </a:lnTo>
                    <a:lnTo>
                      <a:pt x="594" y="141"/>
                    </a:lnTo>
                    <a:lnTo>
                      <a:pt x="594" y="139"/>
                    </a:lnTo>
                    <a:lnTo>
                      <a:pt x="594" y="139"/>
                    </a:lnTo>
                    <a:lnTo>
                      <a:pt x="599" y="139"/>
                    </a:lnTo>
                    <a:lnTo>
                      <a:pt x="599" y="141"/>
                    </a:lnTo>
                    <a:lnTo>
                      <a:pt x="603" y="138"/>
                    </a:lnTo>
                    <a:lnTo>
                      <a:pt x="603" y="132"/>
                    </a:lnTo>
                    <a:lnTo>
                      <a:pt x="603" y="127"/>
                    </a:lnTo>
                    <a:lnTo>
                      <a:pt x="605" y="127"/>
                    </a:lnTo>
                    <a:lnTo>
                      <a:pt x="605" y="124"/>
                    </a:lnTo>
                    <a:lnTo>
                      <a:pt x="605" y="124"/>
                    </a:lnTo>
                    <a:lnTo>
                      <a:pt x="606" y="122"/>
                    </a:lnTo>
                    <a:lnTo>
                      <a:pt x="612" y="122"/>
                    </a:lnTo>
                    <a:lnTo>
                      <a:pt x="613" y="122"/>
                    </a:lnTo>
                    <a:lnTo>
                      <a:pt x="618" y="122"/>
                    </a:lnTo>
                    <a:lnTo>
                      <a:pt x="622" y="122"/>
                    </a:lnTo>
                    <a:lnTo>
                      <a:pt x="624" y="122"/>
                    </a:lnTo>
                    <a:lnTo>
                      <a:pt x="625" y="124"/>
                    </a:lnTo>
                    <a:lnTo>
                      <a:pt x="625" y="131"/>
                    </a:lnTo>
                    <a:lnTo>
                      <a:pt x="625" y="134"/>
                    </a:lnTo>
                    <a:lnTo>
                      <a:pt x="622" y="138"/>
                    </a:lnTo>
                    <a:lnTo>
                      <a:pt x="618" y="145"/>
                    </a:lnTo>
                    <a:lnTo>
                      <a:pt x="618" y="146"/>
                    </a:lnTo>
                    <a:lnTo>
                      <a:pt x="618" y="150"/>
                    </a:lnTo>
                    <a:lnTo>
                      <a:pt x="608" y="159"/>
                    </a:lnTo>
                    <a:lnTo>
                      <a:pt x="606" y="159"/>
                    </a:lnTo>
                    <a:lnTo>
                      <a:pt x="605" y="159"/>
                    </a:lnTo>
                    <a:lnTo>
                      <a:pt x="603" y="160"/>
                    </a:lnTo>
                    <a:lnTo>
                      <a:pt x="601" y="162"/>
                    </a:lnTo>
                    <a:lnTo>
                      <a:pt x="599" y="160"/>
                    </a:lnTo>
                    <a:lnTo>
                      <a:pt x="596" y="162"/>
                    </a:lnTo>
                    <a:lnTo>
                      <a:pt x="594" y="166"/>
                    </a:lnTo>
                    <a:lnTo>
                      <a:pt x="594" y="167"/>
                    </a:lnTo>
                    <a:lnTo>
                      <a:pt x="591" y="169"/>
                    </a:lnTo>
                    <a:lnTo>
                      <a:pt x="591" y="172"/>
                    </a:lnTo>
                    <a:lnTo>
                      <a:pt x="589" y="171"/>
                    </a:lnTo>
                    <a:lnTo>
                      <a:pt x="587" y="171"/>
                    </a:lnTo>
                    <a:lnTo>
                      <a:pt x="587" y="172"/>
                    </a:lnTo>
                    <a:lnTo>
                      <a:pt x="587" y="174"/>
                    </a:lnTo>
                    <a:lnTo>
                      <a:pt x="585" y="174"/>
                    </a:lnTo>
                    <a:lnTo>
                      <a:pt x="582" y="181"/>
                    </a:lnTo>
                    <a:lnTo>
                      <a:pt x="580" y="183"/>
                    </a:lnTo>
                    <a:lnTo>
                      <a:pt x="579" y="186"/>
                    </a:lnTo>
                    <a:lnTo>
                      <a:pt x="573" y="188"/>
                    </a:lnTo>
                    <a:lnTo>
                      <a:pt x="572" y="192"/>
                    </a:lnTo>
                    <a:lnTo>
                      <a:pt x="568" y="192"/>
                    </a:lnTo>
                    <a:lnTo>
                      <a:pt x="565" y="195"/>
                    </a:lnTo>
                    <a:lnTo>
                      <a:pt x="565" y="197"/>
                    </a:lnTo>
                    <a:lnTo>
                      <a:pt x="561" y="197"/>
                    </a:lnTo>
                    <a:lnTo>
                      <a:pt x="561" y="200"/>
                    </a:lnTo>
                    <a:lnTo>
                      <a:pt x="561" y="204"/>
                    </a:lnTo>
                    <a:lnTo>
                      <a:pt x="559" y="206"/>
                    </a:lnTo>
                    <a:lnTo>
                      <a:pt x="561" y="209"/>
                    </a:lnTo>
                    <a:lnTo>
                      <a:pt x="561" y="206"/>
                    </a:lnTo>
                    <a:lnTo>
                      <a:pt x="563" y="204"/>
                    </a:lnTo>
                    <a:lnTo>
                      <a:pt x="566" y="200"/>
                    </a:lnTo>
                    <a:lnTo>
                      <a:pt x="568" y="197"/>
                    </a:lnTo>
                    <a:lnTo>
                      <a:pt x="572" y="195"/>
                    </a:lnTo>
                    <a:lnTo>
                      <a:pt x="572" y="195"/>
                    </a:lnTo>
                    <a:lnTo>
                      <a:pt x="572" y="195"/>
                    </a:lnTo>
                    <a:lnTo>
                      <a:pt x="575" y="192"/>
                    </a:lnTo>
                    <a:lnTo>
                      <a:pt x="582" y="188"/>
                    </a:lnTo>
                    <a:lnTo>
                      <a:pt x="584" y="186"/>
                    </a:lnTo>
                    <a:lnTo>
                      <a:pt x="584" y="186"/>
                    </a:lnTo>
                    <a:lnTo>
                      <a:pt x="589" y="181"/>
                    </a:lnTo>
                    <a:lnTo>
                      <a:pt x="594" y="174"/>
                    </a:lnTo>
                    <a:lnTo>
                      <a:pt x="594" y="174"/>
                    </a:lnTo>
                    <a:lnTo>
                      <a:pt x="599" y="174"/>
                    </a:lnTo>
                    <a:lnTo>
                      <a:pt x="599" y="174"/>
                    </a:lnTo>
                    <a:lnTo>
                      <a:pt x="603" y="174"/>
                    </a:lnTo>
                    <a:lnTo>
                      <a:pt x="603" y="172"/>
                    </a:lnTo>
                    <a:lnTo>
                      <a:pt x="606" y="172"/>
                    </a:lnTo>
                    <a:lnTo>
                      <a:pt x="612" y="172"/>
                    </a:lnTo>
                    <a:lnTo>
                      <a:pt x="617" y="169"/>
                    </a:lnTo>
                    <a:lnTo>
                      <a:pt x="618" y="166"/>
                    </a:lnTo>
                    <a:lnTo>
                      <a:pt x="622" y="166"/>
                    </a:lnTo>
                    <a:lnTo>
                      <a:pt x="624" y="164"/>
                    </a:lnTo>
                    <a:lnTo>
                      <a:pt x="625" y="162"/>
                    </a:lnTo>
                    <a:lnTo>
                      <a:pt x="629" y="162"/>
                    </a:lnTo>
                    <a:lnTo>
                      <a:pt x="631" y="159"/>
                    </a:lnTo>
                    <a:lnTo>
                      <a:pt x="636" y="155"/>
                    </a:lnTo>
                    <a:lnTo>
                      <a:pt x="636" y="150"/>
                    </a:lnTo>
                    <a:lnTo>
                      <a:pt x="636" y="150"/>
                    </a:lnTo>
                    <a:lnTo>
                      <a:pt x="639" y="146"/>
                    </a:lnTo>
                    <a:lnTo>
                      <a:pt x="639" y="146"/>
                    </a:lnTo>
                    <a:lnTo>
                      <a:pt x="641" y="145"/>
                    </a:lnTo>
                    <a:lnTo>
                      <a:pt x="641" y="146"/>
                    </a:lnTo>
                    <a:lnTo>
                      <a:pt x="641" y="150"/>
                    </a:lnTo>
                    <a:lnTo>
                      <a:pt x="641" y="150"/>
                    </a:lnTo>
                    <a:lnTo>
                      <a:pt x="641" y="155"/>
                    </a:lnTo>
                    <a:lnTo>
                      <a:pt x="645" y="155"/>
                    </a:lnTo>
                    <a:lnTo>
                      <a:pt x="645" y="159"/>
                    </a:lnTo>
                    <a:lnTo>
                      <a:pt x="641" y="160"/>
                    </a:lnTo>
                    <a:lnTo>
                      <a:pt x="645" y="162"/>
                    </a:lnTo>
                    <a:lnTo>
                      <a:pt x="645" y="160"/>
                    </a:lnTo>
                    <a:lnTo>
                      <a:pt x="645" y="159"/>
                    </a:lnTo>
                    <a:lnTo>
                      <a:pt x="646" y="155"/>
                    </a:lnTo>
                    <a:lnTo>
                      <a:pt x="645" y="155"/>
                    </a:lnTo>
                    <a:lnTo>
                      <a:pt x="645" y="152"/>
                    </a:lnTo>
                    <a:lnTo>
                      <a:pt x="646" y="150"/>
                    </a:lnTo>
                    <a:lnTo>
                      <a:pt x="648" y="150"/>
                    </a:lnTo>
                    <a:lnTo>
                      <a:pt x="648" y="155"/>
                    </a:lnTo>
                    <a:lnTo>
                      <a:pt x="650" y="155"/>
                    </a:lnTo>
                    <a:lnTo>
                      <a:pt x="653" y="155"/>
                    </a:lnTo>
                    <a:lnTo>
                      <a:pt x="657" y="155"/>
                    </a:lnTo>
                    <a:lnTo>
                      <a:pt x="657" y="152"/>
                    </a:lnTo>
                    <a:lnTo>
                      <a:pt x="657" y="150"/>
                    </a:lnTo>
                    <a:lnTo>
                      <a:pt x="657" y="150"/>
                    </a:lnTo>
                    <a:lnTo>
                      <a:pt x="658" y="150"/>
                    </a:lnTo>
                    <a:lnTo>
                      <a:pt x="660" y="146"/>
                    </a:lnTo>
                    <a:lnTo>
                      <a:pt x="660" y="143"/>
                    </a:lnTo>
                    <a:lnTo>
                      <a:pt x="660" y="141"/>
                    </a:lnTo>
                    <a:lnTo>
                      <a:pt x="660" y="139"/>
                    </a:lnTo>
                    <a:lnTo>
                      <a:pt x="662" y="138"/>
                    </a:lnTo>
                    <a:lnTo>
                      <a:pt x="664" y="139"/>
                    </a:lnTo>
                    <a:lnTo>
                      <a:pt x="667" y="141"/>
                    </a:lnTo>
                    <a:lnTo>
                      <a:pt x="671" y="139"/>
                    </a:lnTo>
                    <a:lnTo>
                      <a:pt x="671" y="138"/>
                    </a:lnTo>
                    <a:lnTo>
                      <a:pt x="676" y="136"/>
                    </a:lnTo>
                    <a:lnTo>
                      <a:pt x="679" y="136"/>
                    </a:lnTo>
                    <a:lnTo>
                      <a:pt x="681" y="136"/>
                    </a:lnTo>
                    <a:lnTo>
                      <a:pt x="686" y="136"/>
                    </a:lnTo>
                    <a:lnTo>
                      <a:pt x="690" y="139"/>
                    </a:lnTo>
                    <a:lnTo>
                      <a:pt x="693" y="141"/>
                    </a:lnTo>
                    <a:lnTo>
                      <a:pt x="698" y="141"/>
                    </a:lnTo>
                    <a:lnTo>
                      <a:pt x="700" y="143"/>
                    </a:lnTo>
                    <a:lnTo>
                      <a:pt x="702" y="145"/>
                    </a:lnTo>
                    <a:lnTo>
                      <a:pt x="705" y="145"/>
                    </a:lnTo>
                    <a:lnTo>
                      <a:pt x="709" y="146"/>
                    </a:lnTo>
                    <a:lnTo>
                      <a:pt x="709" y="150"/>
                    </a:lnTo>
                    <a:lnTo>
                      <a:pt x="709" y="150"/>
                    </a:lnTo>
                    <a:lnTo>
                      <a:pt x="716" y="155"/>
                    </a:lnTo>
                    <a:lnTo>
                      <a:pt x="716" y="159"/>
                    </a:lnTo>
                    <a:lnTo>
                      <a:pt x="718" y="159"/>
                    </a:lnTo>
                    <a:lnTo>
                      <a:pt x="721" y="164"/>
                    </a:lnTo>
                    <a:lnTo>
                      <a:pt x="718" y="167"/>
                    </a:lnTo>
                    <a:lnTo>
                      <a:pt x="716" y="171"/>
                    </a:lnTo>
                    <a:lnTo>
                      <a:pt x="712" y="171"/>
                    </a:lnTo>
                    <a:lnTo>
                      <a:pt x="712" y="174"/>
                    </a:lnTo>
                    <a:lnTo>
                      <a:pt x="709" y="174"/>
                    </a:lnTo>
                    <a:lnTo>
                      <a:pt x="709" y="174"/>
                    </a:lnTo>
                    <a:lnTo>
                      <a:pt x="705" y="178"/>
                    </a:lnTo>
                    <a:lnTo>
                      <a:pt x="702" y="183"/>
                    </a:lnTo>
                    <a:lnTo>
                      <a:pt x="700" y="186"/>
                    </a:lnTo>
                    <a:lnTo>
                      <a:pt x="698" y="186"/>
                    </a:lnTo>
                    <a:lnTo>
                      <a:pt x="698" y="186"/>
                    </a:lnTo>
                    <a:lnTo>
                      <a:pt x="693" y="183"/>
                    </a:lnTo>
                    <a:lnTo>
                      <a:pt x="690" y="183"/>
                    </a:lnTo>
                    <a:lnTo>
                      <a:pt x="686" y="183"/>
                    </a:lnTo>
                    <a:lnTo>
                      <a:pt x="686" y="186"/>
                    </a:lnTo>
                    <a:lnTo>
                      <a:pt x="686" y="188"/>
                    </a:lnTo>
                    <a:lnTo>
                      <a:pt x="686" y="188"/>
                    </a:lnTo>
                    <a:lnTo>
                      <a:pt x="686" y="190"/>
                    </a:lnTo>
                    <a:lnTo>
                      <a:pt x="690" y="193"/>
                    </a:lnTo>
                    <a:lnTo>
                      <a:pt x="690" y="193"/>
                    </a:lnTo>
                    <a:lnTo>
                      <a:pt x="690" y="197"/>
                    </a:lnTo>
                    <a:lnTo>
                      <a:pt x="690" y="199"/>
                    </a:lnTo>
                    <a:lnTo>
                      <a:pt x="686" y="199"/>
                    </a:lnTo>
                    <a:lnTo>
                      <a:pt x="685" y="199"/>
                    </a:lnTo>
                    <a:lnTo>
                      <a:pt x="679" y="202"/>
                    </a:lnTo>
                    <a:lnTo>
                      <a:pt x="676" y="204"/>
                    </a:lnTo>
                    <a:lnTo>
                      <a:pt x="674" y="204"/>
                    </a:lnTo>
                    <a:lnTo>
                      <a:pt x="671" y="204"/>
                    </a:lnTo>
                    <a:lnTo>
                      <a:pt x="671" y="202"/>
                    </a:lnTo>
                    <a:lnTo>
                      <a:pt x="667" y="202"/>
                    </a:lnTo>
                    <a:lnTo>
                      <a:pt x="664" y="202"/>
                    </a:lnTo>
                    <a:lnTo>
                      <a:pt x="664" y="200"/>
                    </a:lnTo>
                    <a:lnTo>
                      <a:pt x="662" y="200"/>
                    </a:lnTo>
                    <a:lnTo>
                      <a:pt x="660" y="199"/>
                    </a:lnTo>
                    <a:lnTo>
                      <a:pt x="658" y="199"/>
                    </a:lnTo>
                    <a:lnTo>
                      <a:pt x="658" y="199"/>
                    </a:lnTo>
                    <a:lnTo>
                      <a:pt x="657" y="200"/>
                    </a:lnTo>
                    <a:lnTo>
                      <a:pt x="657" y="200"/>
                    </a:lnTo>
                    <a:lnTo>
                      <a:pt x="653" y="200"/>
                    </a:lnTo>
                    <a:lnTo>
                      <a:pt x="653" y="202"/>
                    </a:lnTo>
                    <a:lnTo>
                      <a:pt x="651" y="204"/>
                    </a:lnTo>
                    <a:lnTo>
                      <a:pt x="650" y="204"/>
                    </a:lnTo>
                    <a:lnTo>
                      <a:pt x="648" y="202"/>
                    </a:lnTo>
                    <a:lnTo>
                      <a:pt x="646" y="204"/>
                    </a:lnTo>
                    <a:lnTo>
                      <a:pt x="645" y="206"/>
                    </a:lnTo>
                    <a:lnTo>
                      <a:pt x="641" y="204"/>
                    </a:lnTo>
                    <a:lnTo>
                      <a:pt x="639" y="204"/>
                    </a:lnTo>
                    <a:lnTo>
                      <a:pt x="636" y="204"/>
                    </a:lnTo>
                    <a:lnTo>
                      <a:pt x="632" y="206"/>
                    </a:lnTo>
                    <a:lnTo>
                      <a:pt x="629" y="206"/>
                    </a:lnTo>
                    <a:lnTo>
                      <a:pt x="627" y="206"/>
                    </a:lnTo>
                    <a:lnTo>
                      <a:pt x="629" y="206"/>
                    </a:lnTo>
                    <a:lnTo>
                      <a:pt x="632" y="206"/>
                    </a:lnTo>
                    <a:lnTo>
                      <a:pt x="639" y="206"/>
                    </a:lnTo>
                    <a:lnTo>
                      <a:pt x="641" y="206"/>
                    </a:lnTo>
                    <a:lnTo>
                      <a:pt x="645" y="206"/>
                    </a:lnTo>
                    <a:lnTo>
                      <a:pt x="646" y="206"/>
                    </a:lnTo>
                    <a:lnTo>
                      <a:pt x="650" y="206"/>
                    </a:lnTo>
                    <a:lnTo>
                      <a:pt x="657" y="206"/>
                    </a:lnTo>
                    <a:lnTo>
                      <a:pt x="660" y="209"/>
                    </a:lnTo>
                    <a:lnTo>
                      <a:pt x="660" y="209"/>
                    </a:lnTo>
                    <a:lnTo>
                      <a:pt x="664" y="206"/>
                    </a:lnTo>
                    <a:lnTo>
                      <a:pt x="664" y="206"/>
                    </a:lnTo>
                    <a:lnTo>
                      <a:pt x="667" y="209"/>
                    </a:lnTo>
                    <a:lnTo>
                      <a:pt x="667" y="209"/>
                    </a:lnTo>
                    <a:lnTo>
                      <a:pt x="671" y="209"/>
                    </a:lnTo>
                    <a:lnTo>
                      <a:pt x="672" y="214"/>
                    </a:lnTo>
                    <a:lnTo>
                      <a:pt x="672" y="214"/>
                    </a:lnTo>
                    <a:lnTo>
                      <a:pt x="671" y="218"/>
                    </a:lnTo>
                    <a:lnTo>
                      <a:pt x="667" y="218"/>
                    </a:lnTo>
                    <a:lnTo>
                      <a:pt x="667" y="218"/>
                    </a:lnTo>
                    <a:lnTo>
                      <a:pt x="667" y="219"/>
                    </a:lnTo>
                    <a:lnTo>
                      <a:pt x="667" y="221"/>
                    </a:lnTo>
                    <a:lnTo>
                      <a:pt x="664" y="223"/>
                    </a:lnTo>
                    <a:lnTo>
                      <a:pt x="658" y="225"/>
                    </a:lnTo>
                    <a:lnTo>
                      <a:pt x="655" y="225"/>
                    </a:lnTo>
                    <a:lnTo>
                      <a:pt x="651" y="226"/>
                    </a:lnTo>
                    <a:lnTo>
                      <a:pt x="645" y="225"/>
                    </a:lnTo>
                    <a:lnTo>
                      <a:pt x="645" y="223"/>
                    </a:lnTo>
                    <a:lnTo>
                      <a:pt x="638" y="218"/>
                    </a:lnTo>
                    <a:lnTo>
                      <a:pt x="632" y="218"/>
                    </a:lnTo>
                    <a:lnTo>
                      <a:pt x="631" y="218"/>
                    </a:lnTo>
                    <a:lnTo>
                      <a:pt x="627" y="219"/>
                    </a:lnTo>
                    <a:lnTo>
                      <a:pt x="625" y="225"/>
                    </a:lnTo>
                    <a:lnTo>
                      <a:pt x="622" y="226"/>
                    </a:lnTo>
                    <a:lnTo>
                      <a:pt x="622" y="228"/>
                    </a:lnTo>
                    <a:lnTo>
                      <a:pt x="618" y="228"/>
                    </a:lnTo>
                    <a:lnTo>
                      <a:pt x="622" y="230"/>
                    </a:lnTo>
                    <a:lnTo>
                      <a:pt x="622" y="230"/>
                    </a:lnTo>
                    <a:lnTo>
                      <a:pt x="622" y="232"/>
                    </a:lnTo>
                    <a:lnTo>
                      <a:pt x="622" y="233"/>
                    </a:lnTo>
                    <a:lnTo>
                      <a:pt x="622" y="233"/>
                    </a:lnTo>
                    <a:lnTo>
                      <a:pt x="618" y="233"/>
                    </a:lnTo>
                    <a:lnTo>
                      <a:pt x="618" y="237"/>
                    </a:lnTo>
                    <a:lnTo>
                      <a:pt x="622" y="239"/>
                    </a:lnTo>
                    <a:lnTo>
                      <a:pt x="624" y="239"/>
                    </a:lnTo>
                    <a:lnTo>
                      <a:pt x="625" y="239"/>
                    </a:lnTo>
                    <a:lnTo>
                      <a:pt x="627" y="237"/>
                    </a:lnTo>
                    <a:lnTo>
                      <a:pt x="631" y="237"/>
                    </a:lnTo>
                    <a:lnTo>
                      <a:pt x="632" y="233"/>
                    </a:lnTo>
                    <a:lnTo>
                      <a:pt x="636" y="232"/>
                    </a:lnTo>
                    <a:lnTo>
                      <a:pt x="641" y="230"/>
                    </a:lnTo>
                    <a:lnTo>
                      <a:pt x="645" y="228"/>
                    </a:lnTo>
                    <a:lnTo>
                      <a:pt x="648" y="228"/>
                    </a:lnTo>
                    <a:lnTo>
                      <a:pt x="650" y="230"/>
                    </a:lnTo>
                    <a:lnTo>
                      <a:pt x="651" y="232"/>
                    </a:lnTo>
                    <a:lnTo>
                      <a:pt x="653" y="232"/>
                    </a:lnTo>
                    <a:lnTo>
                      <a:pt x="657" y="233"/>
                    </a:lnTo>
                    <a:lnTo>
                      <a:pt x="657" y="233"/>
                    </a:lnTo>
                    <a:lnTo>
                      <a:pt x="655" y="237"/>
                    </a:lnTo>
                    <a:lnTo>
                      <a:pt x="651" y="239"/>
                    </a:lnTo>
                    <a:lnTo>
                      <a:pt x="650" y="242"/>
                    </a:lnTo>
                    <a:lnTo>
                      <a:pt x="646" y="245"/>
                    </a:lnTo>
                    <a:lnTo>
                      <a:pt x="646" y="247"/>
                    </a:lnTo>
                    <a:lnTo>
                      <a:pt x="641" y="252"/>
                    </a:lnTo>
                    <a:lnTo>
                      <a:pt x="639" y="256"/>
                    </a:lnTo>
                    <a:lnTo>
                      <a:pt x="634" y="265"/>
                    </a:lnTo>
                    <a:lnTo>
                      <a:pt x="632" y="268"/>
                    </a:lnTo>
                    <a:lnTo>
                      <a:pt x="629" y="270"/>
                    </a:lnTo>
                    <a:lnTo>
                      <a:pt x="629" y="273"/>
                    </a:lnTo>
                    <a:lnTo>
                      <a:pt x="627" y="279"/>
                    </a:lnTo>
                    <a:lnTo>
                      <a:pt x="627" y="280"/>
                    </a:lnTo>
                    <a:lnTo>
                      <a:pt x="625" y="282"/>
                    </a:lnTo>
                    <a:lnTo>
                      <a:pt x="625" y="287"/>
                    </a:lnTo>
                    <a:lnTo>
                      <a:pt x="624" y="292"/>
                    </a:lnTo>
                    <a:lnTo>
                      <a:pt x="622" y="298"/>
                    </a:lnTo>
                    <a:lnTo>
                      <a:pt x="624" y="299"/>
                    </a:lnTo>
                    <a:lnTo>
                      <a:pt x="624" y="303"/>
                    </a:lnTo>
                    <a:lnTo>
                      <a:pt x="624" y="308"/>
                    </a:lnTo>
                    <a:lnTo>
                      <a:pt x="622" y="310"/>
                    </a:lnTo>
                    <a:lnTo>
                      <a:pt x="618" y="312"/>
                    </a:lnTo>
                    <a:lnTo>
                      <a:pt x="618" y="317"/>
                    </a:lnTo>
                    <a:lnTo>
                      <a:pt x="618" y="319"/>
                    </a:lnTo>
                    <a:lnTo>
                      <a:pt x="618" y="320"/>
                    </a:lnTo>
                    <a:lnTo>
                      <a:pt x="618" y="324"/>
                    </a:lnTo>
                    <a:lnTo>
                      <a:pt x="617" y="327"/>
                    </a:lnTo>
                    <a:lnTo>
                      <a:pt x="613" y="332"/>
                    </a:lnTo>
                    <a:lnTo>
                      <a:pt x="612" y="329"/>
                    </a:lnTo>
                    <a:lnTo>
                      <a:pt x="610" y="327"/>
                    </a:lnTo>
                    <a:lnTo>
                      <a:pt x="610" y="325"/>
                    </a:lnTo>
                    <a:lnTo>
                      <a:pt x="608" y="324"/>
                    </a:lnTo>
                    <a:lnTo>
                      <a:pt x="606" y="324"/>
                    </a:lnTo>
                    <a:lnTo>
                      <a:pt x="610" y="324"/>
                    </a:lnTo>
                    <a:lnTo>
                      <a:pt x="608" y="320"/>
                    </a:lnTo>
                    <a:lnTo>
                      <a:pt x="606" y="320"/>
                    </a:lnTo>
                    <a:lnTo>
                      <a:pt x="605" y="320"/>
                    </a:lnTo>
                    <a:lnTo>
                      <a:pt x="603" y="320"/>
                    </a:lnTo>
                    <a:lnTo>
                      <a:pt x="601" y="324"/>
                    </a:lnTo>
                    <a:lnTo>
                      <a:pt x="601" y="324"/>
                    </a:lnTo>
                    <a:lnTo>
                      <a:pt x="603" y="324"/>
                    </a:lnTo>
                    <a:lnTo>
                      <a:pt x="603" y="325"/>
                    </a:lnTo>
                    <a:lnTo>
                      <a:pt x="601" y="327"/>
                    </a:lnTo>
                    <a:lnTo>
                      <a:pt x="601" y="329"/>
                    </a:lnTo>
                    <a:lnTo>
                      <a:pt x="603" y="332"/>
                    </a:lnTo>
                    <a:lnTo>
                      <a:pt x="605" y="332"/>
                    </a:lnTo>
                    <a:lnTo>
                      <a:pt x="606" y="336"/>
                    </a:lnTo>
                    <a:lnTo>
                      <a:pt x="608" y="338"/>
                    </a:lnTo>
                    <a:lnTo>
                      <a:pt x="610" y="341"/>
                    </a:lnTo>
                    <a:lnTo>
                      <a:pt x="613" y="343"/>
                    </a:lnTo>
                    <a:lnTo>
                      <a:pt x="617" y="343"/>
                    </a:lnTo>
                    <a:lnTo>
                      <a:pt x="618" y="348"/>
                    </a:lnTo>
                    <a:lnTo>
                      <a:pt x="622" y="352"/>
                    </a:lnTo>
                    <a:lnTo>
                      <a:pt x="618" y="352"/>
                    </a:lnTo>
                    <a:lnTo>
                      <a:pt x="618" y="355"/>
                    </a:lnTo>
                    <a:lnTo>
                      <a:pt x="613" y="352"/>
                    </a:lnTo>
                    <a:lnTo>
                      <a:pt x="612" y="348"/>
                    </a:lnTo>
                    <a:lnTo>
                      <a:pt x="612" y="346"/>
                    </a:lnTo>
                    <a:lnTo>
                      <a:pt x="608" y="346"/>
                    </a:lnTo>
                    <a:lnTo>
                      <a:pt x="608" y="343"/>
                    </a:lnTo>
                    <a:lnTo>
                      <a:pt x="606" y="346"/>
                    </a:lnTo>
                    <a:lnTo>
                      <a:pt x="606" y="348"/>
                    </a:lnTo>
                    <a:lnTo>
                      <a:pt x="606" y="348"/>
                    </a:lnTo>
                    <a:lnTo>
                      <a:pt x="608" y="352"/>
                    </a:lnTo>
                    <a:lnTo>
                      <a:pt x="608" y="352"/>
                    </a:lnTo>
                    <a:lnTo>
                      <a:pt x="606" y="352"/>
                    </a:lnTo>
                    <a:lnTo>
                      <a:pt x="605" y="352"/>
                    </a:lnTo>
                    <a:lnTo>
                      <a:pt x="605" y="352"/>
                    </a:lnTo>
                    <a:lnTo>
                      <a:pt x="605" y="355"/>
                    </a:lnTo>
                    <a:lnTo>
                      <a:pt x="608" y="355"/>
                    </a:lnTo>
                    <a:lnTo>
                      <a:pt x="606" y="357"/>
                    </a:lnTo>
                    <a:lnTo>
                      <a:pt x="606" y="357"/>
                    </a:lnTo>
                    <a:lnTo>
                      <a:pt x="606" y="359"/>
                    </a:lnTo>
                    <a:lnTo>
                      <a:pt x="610" y="359"/>
                    </a:lnTo>
                    <a:lnTo>
                      <a:pt x="613" y="359"/>
                    </a:lnTo>
                    <a:lnTo>
                      <a:pt x="613" y="360"/>
                    </a:lnTo>
                    <a:lnTo>
                      <a:pt x="613" y="364"/>
                    </a:lnTo>
                    <a:lnTo>
                      <a:pt x="613" y="364"/>
                    </a:lnTo>
                    <a:lnTo>
                      <a:pt x="613" y="365"/>
                    </a:lnTo>
                    <a:lnTo>
                      <a:pt x="617" y="365"/>
                    </a:lnTo>
                    <a:lnTo>
                      <a:pt x="618" y="362"/>
                    </a:lnTo>
                    <a:lnTo>
                      <a:pt x="622" y="359"/>
                    </a:lnTo>
                    <a:lnTo>
                      <a:pt x="622" y="359"/>
                    </a:lnTo>
                    <a:lnTo>
                      <a:pt x="622" y="360"/>
                    </a:lnTo>
                    <a:lnTo>
                      <a:pt x="622" y="362"/>
                    </a:lnTo>
                    <a:lnTo>
                      <a:pt x="624" y="362"/>
                    </a:lnTo>
                    <a:lnTo>
                      <a:pt x="625" y="364"/>
                    </a:lnTo>
                    <a:lnTo>
                      <a:pt x="629" y="364"/>
                    </a:lnTo>
                    <a:lnTo>
                      <a:pt x="629" y="367"/>
                    </a:lnTo>
                    <a:lnTo>
                      <a:pt x="629" y="369"/>
                    </a:lnTo>
                    <a:lnTo>
                      <a:pt x="627" y="371"/>
                    </a:lnTo>
                    <a:lnTo>
                      <a:pt x="627" y="376"/>
                    </a:lnTo>
                    <a:lnTo>
                      <a:pt x="627" y="379"/>
                    </a:lnTo>
                    <a:lnTo>
                      <a:pt x="627" y="379"/>
                    </a:lnTo>
                    <a:lnTo>
                      <a:pt x="625" y="385"/>
                    </a:lnTo>
                    <a:lnTo>
                      <a:pt x="624" y="386"/>
                    </a:lnTo>
                    <a:lnTo>
                      <a:pt x="624" y="390"/>
                    </a:lnTo>
                    <a:lnTo>
                      <a:pt x="622" y="392"/>
                    </a:lnTo>
                    <a:lnTo>
                      <a:pt x="622" y="392"/>
                    </a:lnTo>
                    <a:lnTo>
                      <a:pt x="622" y="388"/>
                    </a:lnTo>
                    <a:lnTo>
                      <a:pt x="618" y="386"/>
                    </a:lnTo>
                    <a:lnTo>
                      <a:pt x="617" y="385"/>
                    </a:lnTo>
                    <a:lnTo>
                      <a:pt x="613" y="385"/>
                    </a:lnTo>
                    <a:lnTo>
                      <a:pt x="613" y="385"/>
                    </a:lnTo>
                    <a:lnTo>
                      <a:pt x="610" y="385"/>
                    </a:lnTo>
                    <a:lnTo>
                      <a:pt x="610" y="383"/>
                    </a:lnTo>
                    <a:lnTo>
                      <a:pt x="610" y="379"/>
                    </a:lnTo>
                    <a:lnTo>
                      <a:pt x="608" y="379"/>
                    </a:lnTo>
                    <a:lnTo>
                      <a:pt x="606" y="379"/>
                    </a:lnTo>
                    <a:lnTo>
                      <a:pt x="606" y="379"/>
                    </a:lnTo>
                    <a:lnTo>
                      <a:pt x="605" y="379"/>
                    </a:lnTo>
                    <a:lnTo>
                      <a:pt x="601" y="376"/>
                    </a:lnTo>
                    <a:lnTo>
                      <a:pt x="599" y="376"/>
                    </a:lnTo>
                    <a:lnTo>
                      <a:pt x="596" y="378"/>
                    </a:lnTo>
                    <a:lnTo>
                      <a:pt x="596" y="379"/>
                    </a:lnTo>
                    <a:lnTo>
                      <a:pt x="599" y="379"/>
                    </a:lnTo>
                    <a:lnTo>
                      <a:pt x="594" y="379"/>
                    </a:lnTo>
                    <a:lnTo>
                      <a:pt x="594" y="379"/>
                    </a:lnTo>
                    <a:lnTo>
                      <a:pt x="591" y="379"/>
                    </a:lnTo>
                    <a:lnTo>
                      <a:pt x="589" y="379"/>
                    </a:lnTo>
                    <a:lnTo>
                      <a:pt x="591" y="379"/>
                    </a:lnTo>
                    <a:lnTo>
                      <a:pt x="591" y="379"/>
                    </a:lnTo>
                    <a:lnTo>
                      <a:pt x="594" y="383"/>
                    </a:lnTo>
                    <a:lnTo>
                      <a:pt x="596" y="383"/>
                    </a:lnTo>
                    <a:lnTo>
                      <a:pt x="594" y="383"/>
                    </a:lnTo>
                    <a:lnTo>
                      <a:pt x="594" y="383"/>
                    </a:lnTo>
                    <a:lnTo>
                      <a:pt x="591" y="386"/>
                    </a:lnTo>
                    <a:lnTo>
                      <a:pt x="587" y="390"/>
                    </a:lnTo>
                    <a:lnTo>
                      <a:pt x="585" y="388"/>
                    </a:lnTo>
                    <a:lnTo>
                      <a:pt x="584" y="386"/>
                    </a:lnTo>
                    <a:lnTo>
                      <a:pt x="584" y="385"/>
                    </a:lnTo>
                    <a:lnTo>
                      <a:pt x="584" y="383"/>
                    </a:lnTo>
                    <a:lnTo>
                      <a:pt x="582" y="385"/>
                    </a:lnTo>
                    <a:lnTo>
                      <a:pt x="582" y="386"/>
                    </a:lnTo>
                    <a:lnTo>
                      <a:pt x="582" y="390"/>
                    </a:lnTo>
                    <a:lnTo>
                      <a:pt x="582" y="392"/>
                    </a:lnTo>
                    <a:lnTo>
                      <a:pt x="582" y="392"/>
                    </a:lnTo>
                    <a:lnTo>
                      <a:pt x="582" y="395"/>
                    </a:lnTo>
                    <a:lnTo>
                      <a:pt x="582" y="397"/>
                    </a:lnTo>
                    <a:lnTo>
                      <a:pt x="582" y="397"/>
                    </a:lnTo>
                    <a:lnTo>
                      <a:pt x="582" y="399"/>
                    </a:lnTo>
                    <a:lnTo>
                      <a:pt x="582" y="400"/>
                    </a:lnTo>
                    <a:lnTo>
                      <a:pt x="579" y="399"/>
                    </a:lnTo>
                    <a:lnTo>
                      <a:pt x="575" y="399"/>
                    </a:lnTo>
                    <a:lnTo>
                      <a:pt x="575" y="400"/>
                    </a:lnTo>
                    <a:lnTo>
                      <a:pt x="577" y="402"/>
                    </a:lnTo>
                    <a:lnTo>
                      <a:pt x="579" y="402"/>
                    </a:lnTo>
                    <a:lnTo>
                      <a:pt x="584" y="402"/>
                    </a:lnTo>
                    <a:lnTo>
                      <a:pt x="584" y="402"/>
                    </a:lnTo>
                    <a:lnTo>
                      <a:pt x="584" y="405"/>
                    </a:lnTo>
                    <a:lnTo>
                      <a:pt x="584" y="407"/>
                    </a:lnTo>
                    <a:lnTo>
                      <a:pt x="585" y="407"/>
                    </a:lnTo>
                    <a:lnTo>
                      <a:pt x="585" y="407"/>
                    </a:lnTo>
                    <a:lnTo>
                      <a:pt x="589" y="407"/>
                    </a:lnTo>
                    <a:lnTo>
                      <a:pt x="591" y="407"/>
                    </a:lnTo>
                    <a:lnTo>
                      <a:pt x="594" y="407"/>
                    </a:lnTo>
                    <a:lnTo>
                      <a:pt x="596" y="407"/>
                    </a:lnTo>
                    <a:lnTo>
                      <a:pt x="599" y="407"/>
                    </a:lnTo>
                    <a:lnTo>
                      <a:pt x="601" y="407"/>
                    </a:lnTo>
                    <a:lnTo>
                      <a:pt x="603" y="407"/>
                    </a:lnTo>
                    <a:lnTo>
                      <a:pt x="605" y="407"/>
                    </a:lnTo>
                    <a:lnTo>
                      <a:pt x="605" y="411"/>
                    </a:lnTo>
                    <a:lnTo>
                      <a:pt x="605" y="412"/>
                    </a:lnTo>
                    <a:lnTo>
                      <a:pt x="605" y="414"/>
                    </a:lnTo>
                    <a:lnTo>
                      <a:pt x="605" y="416"/>
                    </a:lnTo>
                    <a:lnTo>
                      <a:pt x="603" y="416"/>
                    </a:lnTo>
                    <a:lnTo>
                      <a:pt x="601" y="416"/>
                    </a:lnTo>
                    <a:lnTo>
                      <a:pt x="599" y="414"/>
                    </a:lnTo>
                    <a:lnTo>
                      <a:pt x="596" y="416"/>
                    </a:lnTo>
                    <a:lnTo>
                      <a:pt x="594" y="416"/>
                    </a:lnTo>
                    <a:lnTo>
                      <a:pt x="594" y="414"/>
                    </a:lnTo>
                    <a:lnTo>
                      <a:pt x="589" y="416"/>
                    </a:lnTo>
                    <a:lnTo>
                      <a:pt x="585" y="416"/>
                    </a:lnTo>
                    <a:lnTo>
                      <a:pt x="584" y="416"/>
                    </a:lnTo>
                    <a:lnTo>
                      <a:pt x="582" y="414"/>
                    </a:lnTo>
                    <a:lnTo>
                      <a:pt x="582" y="416"/>
                    </a:lnTo>
                    <a:lnTo>
                      <a:pt x="582" y="418"/>
                    </a:lnTo>
                    <a:lnTo>
                      <a:pt x="584" y="418"/>
                    </a:lnTo>
                    <a:lnTo>
                      <a:pt x="585" y="418"/>
                    </a:lnTo>
                    <a:lnTo>
                      <a:pt x="589" y="418"/>
                    </a:lnTo>
                    <a:lnTo>
                      <a:pt x="594" y="418"/>
                    </a:lnTo>
                    <a:lnTo>
                      <a:pt x="594" y="419"/>
                    </a:lnTo>
                    <a:lnTo>
                      <a:pt x="596" y="421"/>
                    </a:lnTo>
                    <a:lnTo>
                      <a:pt x="599" y="421"/>
                    </a:lnTo>
                    <a:lnTo>
                      <a:pt x="601" y="423"/>
                    </a:lnTo>
                    <a:lnTo>
                      <a:pt x="603" y="425"/>
                    </a:lnTo>
                    <a:lnTo>
                      <a:pt x="605" y="426"/>
                    </a:lnTo>
                    <a:lnTo>
                      <a:pt x="608" y="430"/>
                    </a:lnTo>
                    <a:lnTo>
                      <a:pt x="608" y="430"/>
                    </a:lnTo>
                    <a:lnTo>
                      <a:pt x="608" y="430"/>
                    </a:lnTo>
                    <a:lnTo>
                      <a:pt x="605" y="430"/>
                    </a:lnTo>
                    <a:lnTo>
                      <a:pt x="605" y="430"/>
                    </a:lnTo>
                    <a:lnTo>
                      <a:pt x="605" y="430"/>
                    </a:lnTo>
                    <a:lnTo>
                      <a:pt x="603" y="433"/>
                    </a:lnTo>
                    <a:lnTo>
                      <a:pt x="605" y="435"/>
                    </a:lnTo>
                    <a:lnTo>
                      <a:pt x="605" y="439"/>
                    </a:lnTo>
                    <a:lnTo>
                      <a:pt x="605" y="442"/>
                    </a:lnTo>
                    <a:lnTo>
                      <a:pt x="605" y="444"/>
                    </a:lnTo>
                    <a:lnTo>
                      <a:pt x="605" y="445"/>
                    </a:lnTo>
                    <a:lnTo>
                      <a:pt x="605" y="447"/>
                    </a:lnTo>
                    <a:lnTo>
                      <a:pt x="601" y="452"/>
                    </a:lnTo>
                    <a:lnTo>
                      <a:pt x="599" y="456"/>
                    </a:lnTo>
                    <a:lnTo>
                      <a:pt x="599" y="456"/>
                    </a:lnTo>
                    <a:lnTo>
                      <a:pt x="596" y="454"/>
                    </a:lnTo>
                    <a:lnTo>
                      <a:pt x="594" y="451"/>
                    </a:lnTo>
                    <a:lnTo>
                      <a:pt x="599" y="449"/>
                    </a:lnTo>
                    <a:lnTo>
                      <a:pt x="596" y="447"/>
                    </a:lnTo>
                    <a:lnTo>
                      <a:pt x="594" y="447"/>
                    </a:lnTo>
                    <a:lnTo>
                      <a:pt x="594" y="447"/>
                    </a:lnTo>
                    <a:lnTo>
                      <a:pt x="591" y="447"/>
                    </a:lnTo>
                    <a:lnTo>
                      <a:pt x="589" y="442"/>
                    </a:lnTo>
                    <a:lnTo>
                      <a:pt x="585" y="442"/>
                    </a:lnTo>
                    <a:lnTo>
                      <a:pt x="582" y="439"/>
                    </a:lnTo>
                    <a:lnTo>
                      <a:pt x="582" y="435"/>
                    </a:lnTo>
                    <a:lnTo>
                      <a:pt x="580" y="433"/>
                    </a:lnTo>
                    <a:lnTo>
                      <a:pt x="577" y="430"/>
                    </a:lnTo>
                    <a:lnTo>
                      <a:pt x="575" y="428"/>
                    </a:lnTo>
                    <a:lnTo>
                      <a:pt x="573" y="428"/>
                    </a:lnTo>
                    <a:lnTo>
                      <a:pt x="573" y="430"/>
                    </a:lnTo>
                    <a:lnTo>
                      <a:pt x="575" y="430"/>
                    </a:lnTo>
                    <a:lnTo>
                      <a:pt x="579" y="433"/>
                    </a:lnTo>
                    <a:lnTo>
                      <a:pt x="579" y="435"/>
                    </a:lnTo>
                    <a:lnTo>
                      <a:pt x="577" y="435"/>
                    </a:lnTo>
                    <a:lnTo>
                      <a:pt x="573" y="435"/>
                    </a:lnTo>
                    <a:lnTo>
                      <a:pt x="572" y="433"/>
                    </a:lnTo>
                    <a:lnTo>
                      <a:pt x="568" y="430"/>
                    </a:lnTo>
                    <a:lnTo>
                      <a:pt x="568" y="430"/>
                    </a:lnTo>
                    <a:lnTo>
                      <a:pt x="568" y="430"/>
                    </a:lnTo>
                    <a:lnTo>
                      <a:pt x="568" y="433"/>
                    </a:lnTo>
                    <a:lnTo>
                      <a:pt x="572" y="439"/>
                    </a:lnTo>
                    <a:lnTo>
                      <a:pt x="575" y="439"/>
                    </a:lnTo>
                    <a:lnTo>
                      <a:pt x="580" y="439"/>
                    </a:lnTo>
                    <a:lnTo>
                      <a:pt x="585" y="442"/>
                    </a:lnTo>
                    <a:lnTo>
                      <a:pt x="591" y="449"/>
                    </a:lnTo>
                    <a:lnTo>
                      <a:pt x="591" y="451"/>
                    </a:lnTo>
                    <a:lnTo>
                      <a:pt x="591" y="452"/>
                    </a:lnTo>
                    <a:lnTo>
                      <a:pt x="591" y="452"/>
                    </a:lnTo>
                    <a:lnTo>
                      <a:pt x="587" y="451"/>
                    </a:lnTo>
                    <a:lnTo>
                      <a:pt x="585" y="451"/>
                    </a:lnTo>
                    <a:lnTo>
                      <a:pt x="582" y="452"/>
                    </a:lnTo>
                    <a:lnTo>
                      <a:pt x="579" y="456"/>
                    </a:lnTo>
                    <a:lnTo>
                      <a:pt x="577" y="456"/>
                    </a:lnTo>
                    <a:lnTo>
                      <a:pt x="575" y="454"/>
                    </a:lnTo>
                    <a:lnTo>
                      <a:pt x="573" y="452"/>
                    </a:lnTo>
                    <a:lnTo>
                      <a:pt x="573" y="451"/>
                    </a:lnTo>
                    <a:lnTo>
                      <a:pt x="573" y="449"/>
                    </a:lnTo>
                    <a:lnTo>
                      <a:pt x="572" y="447"/>
                    </a:lnTo>
                    <a:lnTo>
                      <a:pt x="572" y="451"/>
                    </a:lnTo>
                    <a:lnTo>
                      <a:pt x="572" y="452"/>
                    </a:lnTo>
                    <a:lnTo>
                      <a:pt x="573" y="456"/>
                    </a:lnTo>
                    <a:lnTo>
                      <a:pt x="573" y="458"/>
                    </a:lnTo>
                    <a:lnTo>
                      <a:pt x="577" y="458"/>
                    </a:lnTo>
                    <a:lnTo>
                      <a:pt x="580" y="458"/>
                    </a:lnTo>
                    <a:lnTo>
                      <a:pt x="584" y="454"/>
                    </a:lnTo>
                    <a:lnTo>
                      <a:pt x="585" y="454"/>
                    </a:lnTo>
                    <a:lnTo>
                      <a:pt x="589" y="456"/>
                    </a:lnTo>
                    <a:lnTo>
                      <a:pt x="589" y="458"/>
                    </a:lnTo>
                    <a:lnTo>
                      <a:pt x="589" y="459"/>
                    </a:lnTo>
                    <a:lnTo>
                      <a:pt x="587" y="465"/>
                    </a:lnTo>
                    <a:lnTo>
                      <a:pt x="587" y="466"/>
                    </a:lnTo>
                    <a:lnTo>
                      <a:pt x="585" y="466"/>
                    </a:lnTo>
                    <a:lnTo>
                      <a:pt x="585" y="466"/>
                    </a:lnTo>
                    <a:lnTo>
                      <a:pt x="587" y="470"/>
                    </a:lnTo>
                    <a:lnTo>
                      <a:pt x="589" y="470"/>
                    </a:lnTo>
                    <a:lnTo>
                      <a:pt x="591" y="470"/>
                    </a:lnTo>
                    <a:lnTo>
                      <a:pt x="594" y="472"/>
                    </a:lnTo>
                    <a:lnTo>
                      <a:pt x="599" y="473"/>
                    </a:lnTo>
                    <a:lnTo>
                      <a:pt x="599" y="472"/>
                    </a:lnTo>
                    <a:lnTo>
                      <a:pt x="601" y="472"/>
                    </a:lnTo>
                    <a:lnTo>
                      <a:pt x="605" y="472"/>
                    </a:lnTo>
                    <a:lnTo>
                      <a:pt x="605" y="473"/>
                    </a:lnTo>
                    <a:lnTo>
                      <a:pt x="603" y="475"/>
                    </a:lnTo>
                    <a:lnTo>
                      <a:pt x="603" y="477"/>
                    </a:lnTo>
                    <a:lnTo>
                      <a:pt x="605" y="480"/>
                    </a:lnTo>
                    <a:lnTo>
                      <a:pt x="605" y="482"/>
                    </a:lnTo>
                    <a:lnTo>
                      <a:pt x="601" y="487"/>
                    </a:lnTo>
                    <a:lnTo>
                      <a:pt x="596" y="489"/>
                    </a:lnTo>
                    <a:lnTo>
                      <a:pt x="594" y="489"/>
                    </a:lnTo>
                    <a:lnTo>
                      <a:pt x="594" y="487"/>
                    </a:lnTo>
                    <a:lnTo>
                      <a:pt x="594" y="485"/>
                    </a:lnTo>
                    <a:lnTo>
                      <a:pt x="591" y="484"/>
                    </a:lnTo>
                    <a:lnTo>
                      <a:pt x="591" y="480"/>
                    </a:lnTo>
                    <a:lnTo>
                      <a:pt x="589" y="477"/>
                    </a:lnTo>
                    <a:lnTo>
                      <a:pt x="585" y="477"/>
                    </a:lnTo>
                    <a:lnTo>
                      <a:pt x="584" y="475"/>
                    </a:lnTo>
                    <a:lnTo>
                      <a:pt x="580" y="473"/>
                    </a:lnTo>
                    <a:lnTo>
                      <a:pt x="579" y="475"/>
                    </a:lnTo>
                    <a:lnTo>
                      <a:pt x="577" y="475"/>
                    </a:lnTo>
                    <a:lnTo>
                      <a:pt x="575" y="475"/>
                    </a:lnTo>
                    <a:lnTo>
                      <a:pt x="573" y="472"/>
                    </a:lnTo>
                    <a:lnTo>
                      <a:pt x="572" y="470"/>
                    </a:lnTo>
                    <a:lnTo>
                      <a:pt x="572" y="470"/>
                    </a:lnTo>
                    <a:lnTo>
                      <a:pt x="572" y="472"/>
                    </a:lnTo>
                    <a:lnTo>
                      <a:pt x="572" y="473"/>
                    </a:lnTo>
                    <a:lnTo>
                      <a:pt x="572" y="477"/>
                    </a:lnTo>
                    <a:lnTo>
                      <a:pt x="572" y="480"/>
                    </a:lnTo>
                    <a:lnTo>
                      <a:pt x="568" y="482"/>
                    </a:lnTo>
                    <a:lnTo>
                      <a:pt x="568" y="482"/>
                    </a:lnTo>
                    <a:lnTo>
                      <a:pt x="566" y="482"/>
                    </a:lnTo>
                    <a:lnTo>
                      <a:pt x="568" y="482"/>
                    </a:lnTo>
                    <a:lnTo>
                      <a:pt x="568" y="484"/>
                    </a:lnTo>
                    <a:lnTo>
                      <a:pt x="568" y="485"/>
                    </a:lnTo>
                    <a:lnTo>
                      <a:pt x="566" y="489"/>
                    </a:lnTo>
                    <a:lnTo>
                      <a:pt x="565" y="489"/>
                    </a:lnTo>
                    <a:lnTo>
                      <a:pt x="565" y="492"/>
                    </a:lnTo>
                    <a:lnTo>
                      <a:pt x="565" y="492"/>
                    </a:lnTo>
                    <a:lnTo>
                      <a:pt x="566" y="492"/>
                    </a:lnTo>
                    <a:lnTo>
                      <a:pt x="568" y="498"/>
                    </a:lnTo>
                    <a:lnTo>
                      <a:pt x="568" y="498"/>
                    </a:lnTo>
                    <a:lnTo>
                      <a:pt x="572" y="501"/>
                    </a:lnTo>
                    <a:lnTo>
                      <a:pt x="568" y="505"/>
                    </a:lnTo>
                    <a:lnTo>
                      <a:pt x="568" y="506"/>
                    </a:lnTo>
                    <a:lnTo>
                      <a:pt x="572" y="505"/>
                    </a:lnTo>
                    <a:lnTo>
                      <a:pt x="572" y="501"/>
                    </a:lnTo>
                    <a:lnTo>
                      <a:pt x="572" y="499"/>
                    </a:lnTo>
                    <a:lnTo>
                      <a:pt x="572" y="498"/>
                    </a:lnTo>
                    <a:lnTo>
                      <a:pt x="572" y="494"/>
                    </a:lnTo>
                    <a:lnTo>
                      <a:pt x="572" y="492"/>
                    </a:lnTo>
                    <a:lnTo>
                      <a:pt x="572" y="492"/>
                    </a:lnTo>
                    <a:lnTo>
                      <a:pt x="573" y="494"/>
                    </a:lnTo>
                    <a:lnTo>
                      <a:pt x="575" y="498"/>
                    </a:lnTo>
                    <a:lnTo>
                      <a:pt x="577" y="498"/>
                    </a:lnTo>
                    <a:lnTo>
                      <a:pt x="579" y="501"/>
                    </a:lnTo>
                    <a:lnTo>
                      <a:pt x="580" y="499"/>
                    </a:lnTo>
                    <a:lnTo>
                      <a:pt x="580" y="499"/>
                    </a:lnTo>
                    <a:lnTo>
                      <a:pt x="582" y="501"/>
                    </a:lnTo>
                    <a:lnTo>
                      <a:pt x="584" y="499"/>
                    </a:lnTo>
                    <a:lnTo>
                      <a:pt x="585" y="498"/>
                    </a:lnTo>
                    <a:lnTo>
                      <a:pt x="589" y="499"/>
                    </a:lnTo>
                    <a:lnTo>
                      <a:pt x="589" y="501"/>
                    </a:lnTo>
                    <a:lnTo>
                      <a:pt x="589" y="503"/>
                    </a:lnTo>
                    <a:lnTo>
                      <a:pt x="587" y="506"/>
                    </a:lnTo>
                    <a:lnTo>
                      <a:pt x="585" y="510"/>
                    </a:lnTo>
                    <a:lnTo>
                      <a:pt x="585" y="513"/>
                    </a:lnTo>
                    <a:lnTo>
                      <a:pt x="585" y="517"/>
                    </a:lnTo>
                    <a:lnTo>
                      <a:pt x="584" y="517"/>
                    </a:lnTo>
                    <a:lnTo>
                      <a:pt x="580" y="517"/>
                    </a:lnTo>
                    <a:lnTo>
                      <a:pt x="577" y="517"/>
                    </a:lnTo>
                    <a:lnTo>
                      <a:pt x="575" y="517"/>
                    </a:lnTo>
                    <a:lnTo>
                      <a:pt x="573" y="517"/>
                    </a:lnTo>
                    <a:lnTo>
                      <a:pt x="572" y="517"/>
                    </a:lnTo>
                    <a:lnTo>
                      <a:pt x="568" y="517"/>
                    </a:lnTo>
                    <a:lnTo>
                      <a:pt x="568" y="520"/>
                    </a:lnTo>
                    <a:lnTo>
                      <a:pt x="568" y="520"/>
                    </a:lnTo>
                    <a:lnTo>
                      <a:pt x="566" y="520"/>
                    </a:lnTo>
                    <a:lnTo>
                      <a:pt x="565" y="520"/>
                    </a:lnTo>
                    <a:lnTo>
                      <a:pt x="563" y="525"/>
                    </a:lnTo>
                    <a:lnTo>
                      <a:pt x="563" y="525"/>
                    </a:lnTo>
                    <a:lnTo>
                      <a:pt x="561" y="525"/>
                    </a:lnTo>
                    <a:lnTo>
                      <a:pt x="559" y="525"/>
                    </a:lnTo>
                    <a:lnTo>
                      <a:pt x="556" y="524"/>
                    </a:lnTo>
                    <a:lnTo>
                      <a:pt x="551" y="520"/>
                    </a:lnTo>
                    <a:lnTo>
                      <a:pt x="549" y="517"/>
                    </a:lnTo>
                    <a:lnTo>
                      <a:pt x="542" y="512"/>
                    </a:lnTo>
                    <a:lnTo>
                      <a:pt x="542" y="508"/>
                    </a:lnTo>
                    <a:lnTo>
                      <a:pt x="542" y="506"/>
                    </a:lnTo>
                    <a:lnTo>
                      <a:pt x="542" y="506"/>
                    </a:lnTo>
                    <a:lnTo>
                      <a:pt x="544" y="506"/>
                    </a:lnTo>
                    <a:lnTo>
                      <a:pt x="546" y="506"/>
                    </a:lnTo>
                    <a:lnTo>
                      <a:pt x="546" y="508"/>
                    </a:lnTo>
                    <a:lnTo>
                      <a:pt x="551" y="510"/>
                    </a:lnTo>
                    <a:lnTo>
                      <a:pt x="554" y="513"/>
                    </a:lnTo>
                    <a:lnTo>
                      <a:pt x="556" y="513"/>
                    </a:lnTo>
                    <a:lnTo>
                      <a:pt x="561" y="512"/>
                    </a:lnTo>
                    <a:lnTo>
                      <a:pt x="561" y="510"/>
                    </a:lnTo>
                    <a:lnTo>
                      <a:pt x="559" y="510"/>
                    </a:lnTo>
                    <a:lnTo>
                      <a:pt x="558" y="510"/>
                    </a:lnTo>
                    <a:lnTo>
                      <a:pt x="556" y="510"/>
                    </a:lnTo>
                    <a:lnTo>
                      <a:pt x="554" y="510"/>
                    </a:lnTo>
                    <a:lnTo>
                      <a:pt x="549" y="506"/>
                    </a:lnTo>
                    <a:lnTo>
                      <a:pt x="544" y="503"/>
                    </a:lnTo>
                    <a:lnTo>
                      <a:pt x="542" y="503"/>
                    </a:lnTo>
                    <a:lnTo>
                      <a:pt x="542" y="501"/>
                    </a:lnTo>
                    <a:lnTo>
                      <a:pt x="542" y="499"/>
                    </a:lnTo>
                    <a:lnTo>
                      <a:pt x="540" y="499"/>
                    </a:lnTo>
                    <a:lnTo>
                      <a:pt x="539" y="499"/>
                    </a:lnTo>
                    <a:lnTo>
                      <a:pt x="537" y="501"/>
                    </a:lnTo>
                    <a:lnTo>
                      <a:pt x="537" y="505"/>
                    </a:lnTo>
                    <a:lnTo>
                      <a:pt x="537" y="510"/>
                    </a:lnTo>
                    <a:lnTo>
                      <a:pt x="537" y="512"/>
                    </a:lnTo>
                    <a:lnTo>
                      <a:pt x="535" y="513"/>
                    </a:lnTo>
                    <a:lnTo>
                      <a:pt x="535" y="513"/>
                    </a:lnTo>
                    <a:lnTo>
                      <a:pt x="528" y="506"/>
                    </a:lnTo>
                    <a:lnTo>
                      <a:pt x="526" y="499"/>
                    </a:lnTo>
                    <a:lnTo>
                      <a:pt x="526" y="498"/>
                    </a:lnTo>
                    <a:lnTo>
                      <a:pt x="523" y="498"/>
                    </a:lnTo>
                    <a:lnTo>
                      <a:pt x="523" y="494"/>
                    </a:lnTo>
                    <a:lnTo>
                      <a:pt x="523" y="494"/>
                    </a:lnTo>
                    <a:lnTo>
                      <a:pt x="523" y="498"/>
                    </a:lnTo>
                    <a:lnTo>
                      <a:pt x="523" y="498"/>
                    </a:lnTo>
                    <a:lnTo>
                      <a:pt x="523" y="499"/>
                    </a:lnTo>
                    <a:lnTo>
                      <a:pt x="526" y="506"/>
                    </a:lnTo>
                    <a:lnTo>
                      <a:pt x="528" y="508"/>
                    </a:lnTo>
                    <a:lnTo>
                      <a:pt x="530" y="510"/>
                    </a:lnTo>
                    <a:lnTo>
                      <a:pt x="530" y="512"/>
                    </a:lnTo>
                    <a:lnTo>
                      <a:pt x="530" y="513"/>
                    </a:lnTo>
                    <a:lnTo>
                      <a:pt x="528" y="513"/>
                    </a:lnTo>
                    <a:lnTo>
                      <a:pt x="526" y="515"/>
                    </a:lnTo>
                    <a:lnTo>
                      <a:pt x="523" y="517"/>
                    </a:lnTo>
                    <a:lnTo>
                      <a:pt x="523" y="517"/>
                    </a:lnTo>
                    <a:lnTo>
                      <a:pt x="521" y="517"/>
                    </a:lnTo>
                    <a:lnTo>
                      <a:pt x="519" y="520"/>
                    </a:lnTo>
                    <a:lnTo>
                      <a:pt x="514" y="520"/>
                    </a:lnTo>
                    <a:lnTo>
                      <a:pt x="512" y="520"/>
                    </a:lnTo>
                    <a:lnTo>
                      <a:pt x="511" y="517"/>
                    </a:lnTo>
                    <a:lnTo>
                      <a:pt x="509" y="517"/>
                    </a:lnTo>
                    <a:lnTo>
                      <a:pt x="507" y="517"/>
                    </a:lnTo>
                    <a:lnTo>
                      <a:pt x="507" y="517"/>
                    </a:lnTo>
                    <a:lnTo>
                      <a:pt x="504" y="513"/>
                    </a:lnTo>
                    <a:lnTo>
                      <a:pt x="500" y="512"/>
                    </a:lnTo>
                    <a:lnTo>
                      <a:pt x="500" y="510"/>
                    </a:lnTo>
                    <a:lnTo>
                      <a:pt x="500" y="508"/>
                    </a:lnTo>
                    <a:lnTo>
                      <a:pt x="500" y="508"/>
                    </a:lnTo>
                    <a:lnTo>
                      <a:pt x="500" y="508"/>
                    </a:lnTo>
                    <a:lnTo>
                      <a:pt x="500" y="512"/>
                    </a:lnTo>
                    <a:lnTo>
                      <a:pt x="500" y="513"/>
                    </a:lnTo>
                    <a:lnTo>
                      <a:pt x="504" y="515"/>
                    </a:lnTo>
                    <a:lnTo>
                      <a:pt x="506" y="517"/>
                    </a:lnTo>
                    <a:lnTo>
                      <a:pt x="507" y="520"/>
                    </a:lnTo>
                    <a:lnTo>
                      <a:pt x="507" y="520"/>
                    </a:lnTo>
                    <a:lnTo>
                      <a:pt x="506" y="524"/>
                    </a:lnTo>
                    <a:lnTo>
                      <a:pt x="500" y="524"/>
                    </a:lnTo>
                    <a:lnTo>
                      <a:pt x="497" y="520"/>
                    </a:lnTo>
                    <a:lnTo>
                      <a:pt x="495" y="524"/>
                    </a:lnTo>
                    <a:lnTo>
                      <a:pt x="492" y="525"/>
                    </a:lnTo>
                    <a:lnTo>
                      <a:pt x="492" y="525"/>
                    </a:lnTo>
                    <a:lnTo>
                      <a:pt x="495" y="525"/>
                    </a:lnTo>
                    <a:lnTo>
                      <a:pt x="497" y="529"/>
                    </a:lnTo>
                    <a:lnTo>
                      <a:pt x="497" y="529"/>
                    </a:lnTo>
                    <a:lnTo>
                      <a:pt x="497" y="525"/>
                    </a:lnTo>
                    <a:lnTo>
                      <a:pt x="497" y="525"/>
                    </a:lnTo>
                    <a:lnTo>
                      <a:pt x="500" y="525"/>
                    </a:lnTo>
                    <a:lnTo>
                      <a:pt x="500" y="525"/>
                    </a:lnTo>
                    <a:lnTo>
                      <a:pt x="504" y="525"/>
                    </a:lnTo>
                    <a:lnTo>
                      <a:pt x="504" y="525"/>
                    </a:lnTo>
                    <a:lnTo>
                      <a:pt x="506" y="525"/>
                    </a:lnTo>
                    <a:lnTo>
                      <a:pt x="507" y="525"/>
                    </a:lnTo>
                    <a:lnTo>
                      <a:pt x="509" y="524"/>
                    </a:lnTo>
                    <a:lnTo>
                      <a:pt x="511" y="524"/>
                    </a:lnTo>
                    <a:lnTo>
                      <a:pt x="514" y="524"/>
                    </a:lnTo>
                    <a:lnTo>
                      <a:pt x="518" y="524"/>
                    </a:lnTo>
                    <a:lnTo>
                      <a:pt x="519" y="525"/>
                    </a:lnTo>
                    <a:lnTo>
                      <a:pt x="521" y="525"/>
                    </a:lnTo>
                    <a:lnTo>
                      <a:pt x="523" y="525"/>
                    </a:lnTo>
                    <a:lnTo>
                      <a:pt x="526" y="529"/>
                    </a:lnTo>
                    <a:lnTo>
                      <a:pt x="526" y="529"/>
                    </a:lnTo>
                    <a:lnTo>
                      <a:pt x="526" y="531"/>
                    </a:lnTo>
                    <a:lnTo>
                      <a:pt x="526" y="532"/>
                    </a:lnTo>
                    <a:lnTo>
                      <a:pt x="523" y="534"/>
                    </a:lnTo>
                    <a:lnTo>
                      <a:pt x="521" y="534"/>
                    </a:lnTo>
                    <a:lnTo>
                      <a:pt x="518" y="534"/>
                    </a:lnTo>
                    <a:lnTo>
                      <a:pt x="514" y="538"/>
                    </a:lnTo>
                    <a:lnTo>
                      <a:pt x="512" y="538"/>
                    </a:lnTo>
                    <a:lnTo>
                      <a:pt x="511" y="538"/>
                    </a:lnTo>
                    <a:lnTo>
                      <a:pt x="507" y="534"/>
                    </a:lnTo>
                    <a:lnTo>
                      <a:pt x="506" y="532"/>
                    </a:lnTo>
                    <a:lnTo>
                      <a:pt x="504" y="534"/>
                    </a:lnTo>
                    <a:lnTo>
                      <a:pt x="504" y="534"/>
                    </a:lnTo>
                    <a:lnTo>
                      <a:pt x="500" y="536"/>
                    </a:lnTo>
                    <a:lnTo>
                      <a:pt x="500" y="534"/>
                    </a:lnTo>
                    <a:lnTo>
                      <a:pt x="497" y="534"/>
                    </a:lnTo>
                    <a:lnTo>
                      <a:pt x="497" y="536"/>
                    </a:lnTo>
                    <a:lnTo>
                      <a:pt x="500" y="536"/>
                    </a:lnTo>
                    <a:lnTo>
                      <a:pt x="504" y="536"/>
                    </a:lnTo>
                    <a:lnTo>
                      <a:pt x="504" y="536"/>
                    </a:lnTo>
                    <a:lnTo>
                      <a:pt x="506" y="536"/>
                    </a:lnTo>
                    <a:lnTo>
                      <a:pt x="507" y="538"/>
                    </a:lnTo>
                    <a:lnTo>
                      <a:pt x="506" y="539"/>
                    </a:lnTo>
                    <a:lnTo>
                      <a:pt x="504" y="539"/>
                    </a:lnTo>
                    <a:lnTo>
                      <a:pt x="500" y="541"/>
                    </a:lnTo>
                    <a:lnTo>
                      <a:pt x="500" y="543"/>
                    </a:lnTo>
                    <a:lnTo>
                      <a:pt x="500" y="543"/>
                    </a:lnTo>
                    <a:lnTo>
                      <a:pt x="504" y="541"/>
                    </a:lnTo>
                    <a:lnTo>
                      <a:pt x="506" y="541"/>
                    </a:lnTo>
                    <a:lnTo>
                      <a:pt x="507" y="541"/>
                    </a:lnTo>
                    <a:lnTo>
                      <a:pt x="509" y="541"/>
                    </a:lnTo>
                    <a:lnTo>
                      <a:pt x="509" y="545"/>
                    </a:lnTo>
                    <a:lnTo>
                      <a:pt x="509" y="545"/>
                    </a:lnTo>
                    <a:lnTo>
                      <a:pt x="511" y="541"/>
                    </a:lnTo>
                    <a:lnTo>
                      <a:pt x="514" y="541"/>
                    </a:lnTo>
                    <a:lnTo>
                      <a:pt x="514" y="541"/>
                    </a:lnTo>
                    <a:lnTo>
                      <a:pt x="518" y="538"/>
                    </a:lnTo>
                    <a:lnTo>
                      <a:pt x="519" y="538"/>
                    </a:lnTo>
                    <a:lnTo>
                      <a:pt x="521" y="539"/>
                    </a:lnTo>
                    <a:lnTo>
                      <a:pt x="526" y="543"/>
                    </a:lnTo>
                    <a:lnTo>
                      <a:pt x="526" y="543"/>
                    </a:lnTo>
                    <a:lnTo>
                      <a:pt x="526" y="543"/>
                    </a:lnTo>
                    <a:lnTo>
                      <a:pt x="526" y="545"/>
                    </a:lnTo>
                    <a:lnTo>
                      <a:pt x="526" y="552"/>
                    </a:lnTo>
                    <a:lnTo>
                      <a:pt x="526" y="552"/>
                    </a:lnTo>
                    <a:lnTo>
                      <a:pt x="523" y="552"/>
                    </a:lnTo>
                    <a:lnTo>
                      <a:pt x="519" y="552"/>
                    </a:lnTo>
                    <a:lnTo>
                      <a:pt x="518" y="552"/>
                    </a:lnTo>
                    <a:lnTo>
                      <a:pt x="511" y="552"/>
                    </a:lnTo>
                    <a:lnTo>
                      <a:pt x="509" y="552"/>
                    </a:lnTo>
                    <a:lnTo>
                      <a:pt x="507" y="552"/>
                    </a:lnTo>
                    <a:lnTo>
                      <a:pt x="509" y="553"/>
                    </a:lnTo>
                    <a:lnTo>
                      <a:pt x="511" y="552"/>
                    </a:lnTo>
                    <a:lnTo>
                      <a:pt x="514" y="552"/>
                    </a:lnTo>
                    <a:lnTo>
                      <a:pt x="519" y="553"/>
                    </a:lnTo>
                    <a:lnTo>
                      <a:pt x="521" y="557"/>
                    </a:lnTo>
                    <a:lnTo>
                      <a:pt x="521" y="557"/>
                    </a:lnTo>
                    <a:lnTo>
                      <a:pt x="523" y="557"/>
                    </a:lnTo>
                    <a:lnTo>
                      <a:pt x="526" y="553"/>
                    </a:lnTo>
                    <a:lnTo>
                      <a:pt x="528" y="553"/>
                    </a:lnTo>
                    <a:lnTo>
                      <a:pt x="532" y="557"/>
                    </a:lnTo>
                    <a:lnTo>
                      <a:pt x="532" y="557"/>
                    </a:lnTo>
                    <a:lnTo>
                      <a:pt x="539" y="560"/>
                    </a:lnTo>
                    <a:lnTo>
                      <a:pt x="539" y="562"/>
                    </a:lnTo>
                    <a:lnTo>
                      <a:pt x="539" y="564"/>
                    </a:lnTo>
                    <a:lnTo>
                      <a:pt x="540" y="564"/>
                    </a:lnTo>
                    <a:lnTo>
                      <a:pt x="542" y="565"/>
                    </a:lnTo>
                    <a:lnTo>
                      <a:pt x="544" y="565"/>
                    </a:lnTo>
                    <a:lnTo>
                      <a:pt x="546" y="567"/>
                    </a:lnTo>
                    <a:lnTo>
                      <a:pt x="546" y="569"/>
                    </a:lnTo>
                    <a:lnTo>
                      <a:pt x="549" y="571"/>
                    </a:lnTo>
                    <a:lnTo>
                      <a:pt x="549" y="572"/>
                    </a:lnTo>
                    <a:lnTo>
                      <a:pt x="549" y="572"/>
                    </a:lnTo>
                    <a:lnTo>
                      <a:pt x="551" y="574"/>
                    </a:lnTo>
                    <a:lnTo>
                      <a:pt x="552" y="576"/>
                    </a:lnTo>
                    <a:lnTo>
                      <a:pt x="552" y="576"/>
                    </a:lnTo>
                    <a:lnTo>
                      <a:pt x="551" y="579"/>
                    </a:lnTo>
                    <a:lnTo>
                      <a:pt x="549" y="579"/>
                    </a:lnTo>
                    <a:lnTo>
                      <a:pt x="549" y="581"/>
                    </a:lnTo>
                    <a:lnTo>
                      <a:pt x="549" y="585"/>
                    </a:lnTo>
                    <a:lnTo>
                      <a:pt x="549" y="585"/>
                    </a:lnTo>
                    <a:lnTo>
                      <a:pt x="549" y="585"/>
                    </a:lnTo>
                    <a:lnTo>
                      <a:pt x="552" y="579"/>
                    </a:lnTo>
                    <a:lnTo>
                      <a:pt x="554" y="579"/>
                    </a:lnTo>
                    <a:lnTo>
                      <a:pt x="554" y="579"/>
                    </a:lnTo>
                    <a:lnTo>
                      <a:pt x="554" y="581"/>
                    </a:lnTo>
                    <a:lnTo>
                      <a:pt x="552" y="585"/>
                    </a:lnTo>
                    <a:lnTo>
                      <a:pt x="554" y="585"/>
                    </a:lnTo>
                    <a:lnTo>
                      <a:pt x="554" y="581"/>
                    </a:lnTo>
                    <a:lnTo>
                      <a:pt x="556" y="581"/>
                    </a:lnTo>
                    <a:lnTo>
                      <a:pt x="558" y="581"/>
                    </a:lnTo>
                    <a:lnTo>
                      <a:pt x="559" y="585"/>
                    </a:lnTo>
                    <a:lnTo>
                      <a:pt x="559" y="585"/>
                    </a:lnTo>
                    <a:lnTo>
                      <a:pt x="556" y="586"/>
                    </a:lnTo>
                    <a:lnTo>
                      <a:pt x="552" y="588"/>
                    </a:lnTo>
                    <a:lnTo>
                      <a:pt x="552" y="592"/>
                    </a:lnTo>
                    <a:lnTo>
                      <a:pt x="552" y="593"/>
                    </a:lnTo>
                    <a:lnTo>
                      <a:pt x="554" y="595"/>
                    </a:lnTo>
                    <a:lnTo>
                      <a:pt x="552" y="597"/>
                    </a:lnTo>
                    <a:lnTo>
                      <a:pt x="552" y="600"/>
                    </a:lnTo>
                    <a:lnTo>
                      <a:pt x="552" y="602"/>
                    </a:lnTo>
                    <a:lnTo>
                      <a:pt x="554" y="600"/>
                    </a:lnTo>
                    <a:lnTo>
                      <a:pt x="554" y="597"/>
                    </a:lnTo>
                    <a:lnTo>
                      <a:pt x="558" y="592"/>
                    </a:lnTo>
                    <a:lnTo>
                      <a:pt x="559" y="592"/>
                    </a:lnTo>
                    <a:lnTo>
                      <a:pt x="561" y="592"/>
                    </a:lnTo>
                    <a:lnTo>
                      <a:pt x="561" y="592"/>
                    </a:lnTo>
                    <a:lnTo>
                      <a:pt x="559" y="595"/>
                    </a:lnTo>
                    <a:lnTo>
                      <a:pt x="558" y="598"/>
                    </a:lnTo>
                    <a:lnTo>
                      <a:pt x="559" y="600"/>
                    </a:lnTo>
                    <a:lnTo>
                      <a:pt x="561" y="598"/>
                    </a:lnTo>
                    <a:lnTo>
                      <a:pt x="561" y="600"/>
                    </a:lnTo>
                    <a:lnTo>
                      <a:pt x="561" y="604"/>
                    </a:lnTo>
                    <a:lnTo>
                      <a:pt x="559" y="604"/>
                    </a:lnTo>
                    <a:lnTo>
                      <a:pt x="556" y="604"/>
                    </a:lnTo>
                    <a:lnTo>
                      <a:pt x="556" y="607"/>
                    </a:lnTo>
                    <a:lnTo>
                      <a:pt x="556" y="607"/>
                    </a:lnTo>
                    <a:lnTo>
                      <a:pt x="559" y="607"/>
                    </a:lnTo>
                    <a:lnTo>
                      <a:pt x="561" y="607"/>
                    </a:lnTo>
                    <a:lnTo>
                      <a:pt x="559" y="611"/>
                    </a:lnTo>
                    <a:lnTo>
                      <a:pt x="559" y="611"/>
                    </a:lnTo>
                    <a:lnTo>
                      <a:pt x="561" y="611"/>
                    </a:lnTo>
                    <a:lnTo>
                      <a:pt x="561" y="612"/>
                    </a:lnTo>
                    <a:lnTo>
                      <a:pt x="561" y="616"/>
                    </a:lnTo>
                    <a:lnTo>
                      <a:pt x="561" y="618"/>
                    </a:lnTo>
                    <a:lnTo>
                      <a:pt x="559" y="619"/>
                    </a:lnTo>
                    <a:lnTo>
                      <a:pt x="559" y="625"/>
                    </a:lnTo>
                    <a:lnTo>
                      <a:pt x="559" y="626"/>
                    </a:lnTo>
                    <a:lnTo>
                      <a:pt x="559" y="630"/>
                    </a:lnTo>
                    <a:lnTo>
                      <a:pt x="558" y="632"/>
                    </a:lnTo>
                    <a:lnTo>
                      <a:pt x="556" y="632"/>
                    </a:lnTo>
                    <a:lnTo>
                      <a:pt x="556" y="632"/>
                    </a:lnTo>
                    <a:lnTo>
                      <a:pt x="554" y="630"/>
                    </a:lnTo>
                    <a:lnTo>
                      <a:pt x="556" y="626"/>
                    </a:lnTo>
                    <a:lnTo>
                      <a:pt x="554" y="626"/>
                    </a:lnTo>
                    <a:lnTo>
                      <a:pt x="552" y="626"/>
                    </a:lnTo>
                    <a:lnTo>
                      <a:pt x="551" y="626"/>
                    </a:lnTo>
                    <a:lnTo>
                      <a:pt x="549" y="626"/>
                    </a:lnTo>
                    <a:lnTo>
                      <a:pt x="549" y="626"/>
                    </a:lnTo>
                    <a:lnTo>
                      <a:pt x="549" y="625"/>
                    </a:lnTo>
                    <a:lnTo>
                      <a:pt x="549" y="621"/>
                    </a:lnTo>
                    <a:lnTo>
                      <a:pt x="549" y="619"/>
                    </a:lnTo>
                    <a:lnTo>
                      <a:pt x="549" y="616"/>
                    </a:lnTo>
                    <a:lnTo>
                      <a:pt x="549" y="612"/>
                    </a:lnTo>
                    <a:lnTo>
                      <a:pt x="549" y="612"/>
                    </a:lnTo>
                    <a:lnTo>
                      <a:pt x="549" y="612"/>
                    </a:lnTo>
                    <a:lnTo>
                      <a:pt x="546" y="616"/>
                    </a:lnTo>
                    <a:lnTo>
                      <a:pt x="546" y="618"/>
                    </a:lnTo>
                    <a:lnTo>
                      <a:pt x="546" y="621"/>
                    </a:lnTo>
                    <a:lnTo>
                      <a:pt x="546" y="626"/>
                    </a:lnTo>
                    <a:lnTo>
                      <a:pt x="546" y="626"/>
                    </a:lnTo>
                    <a:lnTo>
                      <a:pt x="546" y="626"/>
                    </a:lnTo>
                    <a:lnTo>
                      <a:pt x="544" y="626"/>
                    </a:lnTo>
                    <a:lnTo>
                      <a:pt x="542" y="630"/>
                    </a:lnTo>
                    <a:lnTo>
                      <a:pt x="539" y="630"/>
                    </a:lnTo>
                    <a:lnTo>
                      <a:pt x="537" y="626"/>
                    </a:lnTo>
                    <a:lnTo>
                      <a:pt x="533" y="625"/>
                    </a:lnTo>
                    <a:lnTo>
                      <a:pt x="530" y="619"/>
                    </a:lnTo>
                    <a:lnTo>
                      <a:pt x="528" y="616"/>
                    </a:lnTo>
                    <a:lnTo>
                      <a:pt x="526" y="616"/>
                    </a:lnTo>
                    <a:lnTo>
                      <a:pt x="526" y="611"/>
                    </a:lnTo>
                    <a:lnTo>
                      <a:pt x="523" y="607"/>
                    </a:lnTo>
                    <a:lnTo>
                      <a:pt x="523" y="604"/>
                    </a:lnTo>
                    <a:lnTo>
                      <a:pt x="523" y="602"/>
                    </a:lnTo>
                    <a:lnTo>
                      <a:pt x="523" y="598"/>
                    </a:lnTo>
                    <a:lnTo>
                      <a:pt x="523" y="595"/>
                    </a:lnTo>
                    <a:lnTo>
                      <a:pt x="523" y="593"/>
                    </a:lnTo>
                    <a:lnTo>
                      <a:pt x="523" y="593"/>
                    </a:lnTo>
                    <a:lnTo>
                      <a:pt x="519" y="595"/>
                    </a:lnTo>
                    <a:lnTo>
                      <a:pt x="518" y="597"/>
                    </a:lnTo>
                    <a:lnTo>
                      <a:pt x="514" y="595"/>
                    </a:lnTo>
                    <a:lnTo>
                      <a:pt x="509" y="586"/>
                    </a:lnTo>
                    <a:lnTo>
                      <a:pt x="509" y="585"/>
                    </a:lnTo>
                    <a:lnTo>
                      <a:pt x="507" y="585"/>
                    </a:lnTo>
                    <a:lnTo>
                      <a:pt x="506" y="585"/>
                    </a:lnTo>
                    <a:lnTo>
                      <a:pt x="504" y="585"/>
                    </a:lnTo>
                    <a:lnTo>
                      <a:pt x="500" y="585"/>
                    </a:lnTo>
                    <a:lnTo>
                      <a:pt x="500" y="585"/>
                    </a:lnTo>
                    <a:lnTo>
                      <a:pt x="497" y="585"/>
                    </a:lnTo>
                    <a:lnTo>
                      <a:pt x="495" y="585"/>
                    </a:lnTo>
                    <a:lnTo>
                      <a:pt x="492" y="581"/>
                    </a:lnTo>
                    <a:lnTo>
                      <a:pt x="492" y="579"/>
                    </a:lnTo>
                    <a:lnTo>
                      <a:pt x="490" y="576"/>
                    </a:lnTo>
                    <a:lnTo>
                      <a:pt x="490" y="576"/>
                    </a:lnTo>
                    <a:lnTo>
                      <a:pt x="488" y="572"/>
                    </a:lnTo>
                    <a:lnTo>
                      <a:pt x="486" y="569"/>
                    </a:lnTo>
                    <a:lnTo>
                      <a:pt x="485" y="567"/>
                    </a:lnTo>
                    <a:lnTo>
                      <a:pt x="483" y="569"/>
                    </a:lnTo>
                    <a:lnTo>
                      <a:pt x="485" y="572"/>
                    </a:lnTo>
                    <a:lnTo>
                      <a:pt x="485" y="574"/>
                    </a:lnTo>
                    <a:lnTo>
                      <a:pt x="481" y="576"/>
                    </a:lnTo>
                    <a:lnTo>
                      <a:pt x="481" y="576"/>
                    </a:lnTo>
                    <a:lnTo>
                      <a:pt x="483" y="576"/>
                    </a:lnTo>
                    <a:lnTo>
                      <a:pt x="485" y="576"/>
                    </a:lnTo>
                    <a:lnTo>
                      <a:pt x="486" y="579"/>
                    </a:lnTo>
                    <a:lnTo>
                      <a:pt x="488" y="581"/>
                    </a:lnTo>
                    <a:lnTo>
                      <a:pt x="488" y="585"/>
                    </a:lnTo>
                    <a:lnTo>
                      <a:pt x="483" y="585"/>
                    </a:lnTo>
                    <a:lnTo>
                      <a:pt x="483" y="585"/>
                    </a:lnTo>
                    <a:lnTo>
                      <a:pt x="481" y="586"/>
                    </a:lnTo>
                    <a:lnTo>
                      <a:pt x="478" y="585"/>
                    </a:lnTo>
                    <a:lnTo>
                      <a:pt x="478" y="586"/>
                    </a:lnTo>
                    <a:lnTo>
                      <a:pt x="481" y="588"/>
                    </a:lnTo>
                    <a:lnTo>
                      <a:pt x="483" y="588"/>
                    </a:lnTo>
                    <a:lnTo>
                      <a:pt x="486" y="585"/>
                    </a:lnTo>
                    <a:lnTo>
                      <a:pt x="488" y="585"/>
                    </a:lnTo>
                    <a:lnTo>
                      <a:pt x="492" y="585"/>
                    </a:lnTo>
                    <a:lnTo>
                      <a:pt x="492" y="585"/>
                    </a:lnTo>
                    <a:lnTo>
                      <a:pt x="492" y="586"/>
                    </a:lnTo>
                    <a:lnTo>
                      <a:pt x="492" y="588"/>
                    </a:lnTo>
                    <a:lnTo>
                      <a:pt x="497" y="586"/>
                    </a:lnTo>
                    <a:lnTo>
                      <a:pt x="497" y="586"/>
                    </a:lnTo>
                    <a:lnTo>
                      <a:pt x="506" y="590"/>
                    </a:lnTo>
                    <a:lnTo>
                      <a:pt x="509" y="592"/>
                    </a:lnTo>
                    <a:lnTo>
                      <a:pt x="511" y="592"/>
                    </a:lnTo>
                    <a:lnTo>
                      <a:pt x="511" y="593"/>
                    </a:lnTo>
                    <a:lnTo>
                      <a:pt x="512" y="597"/>
                    </a:lnTo>
                    <a:lnTo>
                      <a:pt x="511" y="600"/>
                    </a:lnTo>
                    <a:lnTo>
                      <a:pt x="509" y="602"/>
                    </a:lnTo>
                    <a:lnTo>
                      <a:pt x="507" y="604"/>
                    </a:lnTo>
                    <a:lnTo>
                      <a:pt x="506" y="604"/>
                    </a:lnTo>
                    <a:lnTo>
                      <a:pt x="504" y="604"/>
                    </a:lnTo>
                    <a:lnTo>
                      <a:pt x="495" y="607"/>
                    </a:lnTo>
                    <a:lnTo>
                      <a:pt x="490" y="607"/>
                    </a:lnTo>
                    <a:lnTo>
                      <a:pt x="488" y="611"/>
                    </a:lnTo>
                    <a:lnTo>
                      <a:pt x="485" y="607"/>
                    </a:lnTo>
                    <a:lnTo>
                      <a:pt x="483" y="604"/>
                    </a:lnTo>
                    <a:lnTo>
                      <a:pt x="483" y="604"/>
                    </a:lnTo>
                    <a:lnTo>
                      <a:pt x="483" y="602"/>
                    </a:lnTo>
                    <a:lnTo>
                      <a:pt x="481" y="600"/>
                    </a:lnTo>
                    <a:lnTo>
                      <a:pt x="481" y="604"/>
                    </a:lnTo>
                    <a:lnTo>
                      <a:pt x="481" y="604"/>
                    </a:lnTo>
                    <a:lnTo>
                      <a:pt x="481" y="607"/>
                    </a:lnTo>
                    <a:lnTo>
                      <a:pt x="481" y="607"/>
                    </a:lnTo>
                    <a:lnTo>
                      <a:pt x="478" y="607"/>
                    </a:lnTo>
                    <a:lnTo>
                      <a:pt x="478" y="607"/>
                    </a:lnTo>
                    <a:lnTo>
                      <a:pt x="478" y="607"/>
                    </a:lnTo>
                    <a:lnTo>
                      <a:pt x="474" y="607"/>
                    </a:lnTo>
                    <a:lnTo>
                      <a:pt x="474" y="607"/>
                    </a:lnTo>
                    <a:lnTo>
                      <a:pt x="478" y="611"/>
                    </a:lnTo>
                    <a:lnTo>
                      <a:pt x="481" y="611"/>
                    </a:lnTo>
                    <a:lnTo>
                      <a:pt x="481" y="612"/>
                    </a:lnTo>
                    <a:lnTo>
                      <a:pt x="478" y="616"/>
                    </a:lnTo>
                    <a:lnTo>
                      <a:pt x="478" y="616"/>
                    </a:lnTo>
                    <a:lnTo>
                      <a:pt x="474" y="616"/>
                    </a:lnTo>
                    <a:lnTo>
                      <a:pt x="473" y="616"/>
                    </a:lnTo>
                    <a:lnTo>
                      <a:pt x="473" y="619"/>
                    </a:lnTo>
                    <a:lnTo>
                      <a:pt x="473" y="621"/>
                    </a:lnTo>
                    <a:lnTo>
                      <a:pt x="467" y="623"/>
                    </a:lnTo>
                    <a:lnTo>
                      <a:pt x="464" y="623"/>
                    </a:lnTo>
                    <a:lnTo>
                      <a:pt x="462" y="623"/>
                    </a:lnTo>
                    <a:lnTo>
                      <a:pt x="459" y="625"/>
                    </a:lnTo>
                    <a:lnTo>
                      <a:pt x="459" y="626"/>
                    </a:lnTo>
                    <a:lnTo>
                      <a:pt x="459" y="626"/>
                    </a:lnTo>
                    <a:lnTo>
                      <a:pt x="464" y="626"/>
                    </a:lnTo>
                    <a:lnTo>
                      <a:pt x="467" y="626"/>
                    </a:lnTo>
                    <a:lnTo>
                      <a:pt x="469" y="625"/>
                    </a:lnTo>
                    <a:lnTo>
                      <a:pt x="473" y="625"/>
                    </a:lnTo>
                    <a:lnTo>
                      <a:pt x="473" y="626"/>
                    </a:lnTo>
                    <a:lnTo>
                      <a:pt x="478" y="626"/>
                    </a:lnTo>
                    <a:lnTo>
                      <a:pt x="481" y="626"/>
                    </a:lnTo>
                    <a:lnTo>
                      <a:pt x="483" y="626"/>
                    </a:lnTo>
                    <a:lnTo>
                      <a:pt x="488" y="626"/>
                    </a:lnTo>
                    <a:lnTo>
                      <a:pt x="490" y="626"/>
                    </a:lnTo>
                    <a:lnTo>
                      <a:pt x="492" y="626"/>
                    </a:lnTo>
                    <a:lnTo>
                      <a:pt x="495" y="626"/>
                    </a:lnTo>
                    <a:lnTo>
                      <a:pt x="497" y="626"/>
                    </a:lnTo>
                    <a:lnTo>
                      <a:pt x="497" y="626"/>
                    </a:lnTo>
                    <a:lnTo>
                      <a:pt x="497" y="630"/>
                    </a:lnTo>
                    <a:lnTo>
                      <a:pt x="497" y="632"/>
                    </a:lnTo>
                    <a:lnTo>
                      <a:pt x="495" y="633"/>
                    </a:lnTo>
                    <a:lnTo>
                      <a:pt x="492" y="632"/>
                    </a:lnTo>
                    <a:lnTo>
                      <a:pt x="488" y="632"/>
                    </a:lnTo>
                    <a:lnTo>
                      <a:pt x="486" y="635"/>
                    </a:lnTo>
                    <a:lnTo>
                      <a:pt x="481" y="635"/>
                    </a:lnTo>
                    <a:lnTo>
                      <a:pt x="478" y="635"/>
                    </a:lnTo>
                    <a:lnTo>
                      <a:pt x="478" y="635"/>
                    </a:lnTo>
                    <a:lnTo>
                      <a:pt x="474" y="635"/>
                    </a:lnTo>
                    <a:lnTo>
                      <a:pt x="473" y="635"/>
                    </a:lnTo>
                    <a:lnTo>
                      <a:pt x="469" y="635"/>
                    </a:lnTo>
                    <a:lnTo>
                      <a:pt x="473" y="638"/>
                    </a:lnTo>
                    <a:lnTo>
                      <a:pt x="473" y="635"/>
                    </a:lnTo>
                    <a:lnTo>
                      <a:pt x="474" y="638"/>
                    </a:lnTo>
                    <a:lnTo>
                      <a:pt x="481" y="638"/>
                    </a:lnTo>
                    <a:lnTo>
                      <a:pt x="483" y="638"/>
                    </a:lnTo>
                    <a:lnTo>
                      <a:pt x="483" y="640"/>
                    </a:lnTo>
                    <a:lnTo>
                      <a:pt x="485" y="638"/>
                    </a:lnTo>
                    <a:lnTo>
                      <a:pt x="490" y="635"/>
                    </a:lnTo>
                    <a:lnTo>
                      <a:pt x="490" y="635"/>
                    </a:lnTo>
                    <a:lnTo>
                      <a:pt x="492" y="635"/>
                    </a:lnTo>
                    <a:lnTo>
                      <a:pt x="492" y="635"/>
                    </a:lnTo>
                    <a:lnTo>
                      <a:pt x="495" y="635"/>
                    </a:lnTo>
                    <a:lnTo>
                      <a:pt x="497" y="635"/>
                    </a:lnTo>
                    <a:lnTo>
                      <a:pt x="497" y="635"/>
                    </a:lnTo>
                    <a:lnTo>
                      <a:pt x="500" y="635"/>
                    </a:lnTo>
                    <a:lnTo>
                      <a:pt x="504" y="635"/>
                    </a:lnTo>
                    <a:lnTo>
                      <a:pt x="506" y="635"/>
                    </a:lnTo>
                    <a:lnTo>
                      <a:pt x="511" y="630"/>
                    </a:lnTo>
                    <a:lnTo>
                      <a:pt x="512" y="626"/>
                    </a:lnTo>
                    <a:lnTo>
                      <a:pt x="512" y="630"/>
                    </a:lnTo>
                    <a:lnTo>
                      <a:pt x="512" y="632"/>
                    </a:lnTo>
                    <a:lnTo>
                      <a:pt x="512" y="632"/>
                    </a:lnTo>
                    <a:lnTo>
                      <a:pt x="514" y="630"/>
                    </a:lnTo>
                    <a:lnTo>
                      <a:pt x="514" y="630"/>
                    </a:lnTo>
                    <a:lnTo>
                      <a:pt x="518" y="632"/>
                    </a:lnTo>
                    <a:lnTo>
                      <a:pt x="523" y="635"/>
                    </a:lnTo>
                    <a:lnTo>
                      <a:pt x="526" y="635"/>
                    </a:lnTo>
                    <a:lnTo>
                      <a:pt x="530" y="638"/>
                    </a:lnTo>
                    <a:lnTo>
                      <a:pt x="533" y="638"/>
                    </a:lnTo>
                    <a:lnTo>
                      <a:pt x="537" y="638"/>
                    </a:lnTo>
                    <a:lnTo>
                      <a:pt x="542" y="638"/>
                    </a:lnTo>
                    <a:lnTo>
                      <a:pt x="544" y="638"/>
                    </a:lnTo>
                    <a:lnTo>
                      <a:pt x="546" y="638"/>
                    </a:lnTo>
                    <a:lnTo>
                      <a:pt x="551" y="638"/>
                    </a:lnTo>
                    <a:lnTo>
                      <a:pt x="551" y="638"/>
                    </a:lnTo>
                    <a:lnTo>
                      <a:pt x="549" y="644"/>
                    </a:lnTo>
                    <a:lnTo>
                      <a:pt x="546" y="644"/>
                    </a:lnTo>
                    <a:lnTo>
                      <a:pt x="542" y="644"/>
                    </a:lnTo>
                    <a:lnTo>
                      <a:pt x="542" y="644"/>
                    </a:lnTo>
                    <a:lnTo>
                      <a:pt x="539" y="645"/>
                    </a:lnTo>
                    <a:lnTo>
                      <a:pt x="539" y="647"/>
                    </a:lnTo>
                    <a:lnTo>
                      <a:pt x="540" y="649"/>
                    </a:lnTo>
                    <a:lnTo>
                      <a:pt x="540" y="651"/>
                    </a:lnTo>
                    <a:lnTo>
                      <a:pt x="540" y="651"/>
                    </a:lnTo>
                    <a:lnTo>
                      <a:pt x="539" y="651"/>
                    </a:lnTo>
                    <a:lnTo>
                      <a:pt x="537" y="649"/>
                    </a:lnTo>
                    <a:lnTo>
                      <a:pt x="535" y="649"/>
                    </a:lnTo>
                    <a:lnTo>
                      <a:pt x="533" y="651"/>
                    </a:lnTo>
                    <a:lnTo>
                      <a:pt x="533" y="652"/>
                    </a:lnTo>
                    <a:lnTo>
                      <a:pt x="532" y="651"/>
                    </a:lnTo>
                    <a:lnTo>
                      <a:pt x="528" y="651"/>
                    </a:lnTo>
                    <a:lnTo>
                      <a:pt x="528" y="652"/>
                    </a:lnTo>
                    <a:lnTo>
                      <a:pt x="528" y="654"/>
                    </a:lnTo>
                    <a:lnTo>
                      <a:pt x="530" y="654"/>
                    </a:lnTo>
                    <a:lnTo>
                      <a:pt x="530" y="656"/>
                    </a:lnTo>
                    <a:lnTo>
                      <a:pt x="528" y="658"/>
                    </a:lnTo>
                    <a:lnTo>
                      <a:pt x="526" y="659"/>
                    </a:lnTo>
                    <a:lnTo>
                      <a:pt x="526" y="658"/>
                    </a:lnTo>
                    <a:lnTo>
                      <a:pt x="523" y="656"/>
                    </a:lnTo>
                    <a:lnTo>
                      <a:pt x="523" y="658"/>
                    </a:lnTo>
                    <a:lnTo>
                      <a:pt x="523" y="659"/>
                    </a:lnTo>
                    <a:lnTo>
                      <a:pt x="523" y="661"/>
                    </a:lnTo>
                    <a:lnTo>
                      <a:pt x="521" y="661"/>
                    </a:lnTo>
                    <a:lnTo>
                      <a:pt x="521" y="663"/>
                    </a:lnTo>
                    <a:lnTo>
                      <a:pt x="519" y="663"/>
                    </a:lnTo>
                    <a:lnTo>
                      <a:pt x="514" y="663"/>
                    </a:lnTo>
                    <a:lnTo>
                      <a:pt x="514" y="661"/>
                    </a:lnTo>
                    <a:lnTo>
                      <a:pt x="514" y="661"/>
                    </a:lnTo>
                    <a:lnTo>
                      <a:pt x="514" y="663"/>
                    </a:lnTo>
                    <a:lnTo>
                      <a:pt x="514" y="666"/>
                    </a:lnTo>
                    <a:lnTo>
                      <a:pt x="514" y="668"/>
                    </a:lnTo>
                    <a:lnTo>
                      <a:pt x="511" y="666"/>
                    </a:lnTo>
                    <a:lnTo>
                      <a:pt x="511" y="666"/>
                    </a:lnTo>
                    <a:lnTo>
                      <a:pt x="509" y="666"/>
                    </a:lnTo>
                    <a:lnTo>
                      <a:pt x="507" y="666"/>
                    </a:lnTo>
                    <a:lnTo>
                      <a:pt x="509" y="668"/>
                    </a:lnTo>
                    <a:lnTo>
                      <a:pt x="509" y="670"/>
                    </a:lnTo>
                    <a:lnTo>
                      <a:pt x="506" y="673"/>
                    </a:lnTo>
                    <a:lnTo>
                      <a:pt x="504" y="673"/>
                    </a:lnTo>
                    <a:lnTo>
                      <a:pt x="504" y="672"/>
                    </a:lnTo>
                    <a:lnTo>
                      <a:pt x="504" y="670"/>
                    </a:lnTo>
                    <a:lnTo>
                      <a:pt x="500" y="670"/>
                    </a:lnTo>
                    <a:lnTo>
                      <a:pt x="500" y="672"/>
                    </a:lnTo>
                    <a:lnTo>
                      <a:pt x="500" y="673"/>
                    </a:lnTo>
                    <a:lnTo>
                      <a:pt x="500" y="675"/>
                    </a:lnTo>
                    <a:lnTo>
                      <a:pt x="500" y="677"/>
                    </a:lnTo>
                    <a:lnTo>
                      <a:pt x="497" y="678"/>
                    </a:lnTo>
                    <a:lnTo>
                      <a:pt x="497" y="678"/>
                    </a:lnTo>
                    <a:lnTo>
                      <a:pt x="492" y="680"/>
                    </a:lnTo>
                    <a:lnTo>
                      <a:pt x="492" y="682"/>
                    </a:lnTo>
                    <a:lnTo>
                      <a:pt x="490" y="684"/>
                    </a:lnTo>
                    <a:lnTo>
                      <a:pt x="488" y="684"/>
                    </a:lnTo>
                    <a:lnTo>
                      <a:pt x="488" y="682"/>
                    </a:lnTo>
                    <a:lnTo>
                      <a:pt x="486" y="682"/>
                    </a:lnTo>
                    <a:lnTo>
                      <a:pt x="483" y="684"/>
                    </a:lnTo>
                    <a:lnTo>
                      <a:pt x="481" y="684"/>
                    </a:lnTo>
                    <a:lnTo>
                      <a:pt x="478" y="684"/>
                    </a:lnTo>
                    <a:lnTo>
                      <a:pt x="478" y="685"/>
                    </a:lnTo>
                    <a:lnTo>
                      <a:pt x="478" y="685"/>
                    </a:lnTo>
                    <a:lnTo>
                      <a:pt x="474" y="685"/>
                    </a:lnTo>
                    <a:lnTo>
                      <a:pt x="473" y="685"/>
                    </a:lnTo>
                    <a:lnTo>
                      <a:pt x="473" y="685"/>
                    </a:lnTo>
                    <a:lnTo>
                      <a:pt x="469" y="689"/>
                    </a:lnTo>
                    <a:lnTo>
                      <a:pt x="469" y="685"/>
                    </a:lnTo>
                    <a:lnTo>
                      <a:pt x="469" y="685"/>
                    </a:lnTo>
                    <a:lnTo>
                      <a:pt x="467" y="685"/>
                    </a:lnTo>
                    <a:lnTo>
                      <a:pt x="467" y="685"/>
                    </a:lnTo>
                    <a:lnTo>
                      <a:pt x="466" y="689"/>
                    </a:lnTo>
                    <a:lnTo>
                      <a:pt x="464" y="689"/>
                    </a:lnTo>
                    <a:lnTo>
                      <a:pt x="462" y="685"/>
                    </a:lnTo>
                    <a:lnTo>
                      <a:pt x="462" y="685"/>
                    </a:lnTo>
                    <a:lnTo>
                      <a:pt x="462" y="689"/>
                    </a:lnTo>
                    <a:lnTo>
                      <a:pt x="460" y="689"/>
                    </a:lnTo>
                    <a:lnTo>
                      <a:pt x="459" y="689"/>
                    </a:lnTo>
                    <a:lnTo>
                      <a:pt x="455" y="689"/>
                    </a:lnTo>
                    <a:lnTo>
                      <a:pt x="459" y="691"/>
                    </a:lnTo>
                    <a:lnTo>
                      <a:pt x="455" y="691"/>
                    </a:lnTo>
                    <a:lnTo>
                      <a:pt x="453" y="691"/>
                    </a:lnTo>
                    <a:lnTo>
                      <a:pt x="452" y="691"/>
                    </a:lnTo>
                    <a:lnTo>
                      <a:pt x="452" y="691"/>
                    </a:lnTo>
                    <a:lnTo>
                      <a:pt x="450" y="694"/>
                    </a:lnTo>
                    <a:lnTo>
                      <a:pt x="450" y="694"/>
                    </a:lnTo>
                    <a:lnTo>
                      <a:pt x="450" y="691"/>
                    </a:lnTo>
                    <a:lnTo>
                      <a:pt x="450" y="691"/>
                    </a:lnTo>
                    <a:lnTo>
                      <a:pt x="446" y="694"/>
                    </a:lnTo>
                    <a:lnTo>
                      <a:pt x="446" y="698"/>
                    </a:lnTo>
                    <a:lnTo>
                      <a:pt x="446" y="698"/>
                    </a:lnTo>
                    <a:lnTo>
                      <a:pt x="445" y="698"/>
                    </a:lnTo>
                    <a:lnTo>
                      <a:pt x="443" y="694"/>
                    </a:lnTo>
                    <a:lnTo>
                      <a:pt x="440" y="691"/>
                    </a:lnTo>
                    <a:lnTo>
                      <a:pt x="438" y="691"/>
                    </a:lnTo>
                    <a:lnTo>
                      <a:pt x="436" y="691"/>
                    </a:lnTo>
                    <a:lnTo>
                      <a:pt x="436" y="694"/>
                    </a:lnTo>
                    <a:lnTo>
                      <a:pt x="436" y="694"/>
                    </a:lnTo>
                    <a:lnTo>
                      <a:pt x="436" y="694"/>
                    </a:lnTo>
                    <a:lnTo>
                      <a:pt x="431" y="698"/>
                    </a:lnTo>
                    <a:lnTo>
                      <a:pt x="429" y="698"/>
                    </a:lnTo>
                    <a:lnTo>
                      <a:pt x="429" y="698"/>
                    </a:lnTo>
                    <a:lnTo>
                      <a:pt x="427" y="698"/>
                    </a:lnTo>
                    <a:lnTo>
                      <a:pt x="424" y="698"/>
                    </a:lnTo>
                    <a:lnTo>
                      <a:pt x="424" y="698"/>
                    </a:lnTo>
                    <a:lnTo>
                      <a:pt x="422" y="698"/>
                    </a:lnTo>
                    <a:lnTo>
                      <a:pt x="420" y="698"/>
                    </a:lnTo>
                    <a:lnTo>
                      <a:pt x="419" y="698"/>
                    </a:lnTo>
                    <a:lnTo>
                      <a:pt x="419" y="698"/>
                    </a:lnTo>
                    <a:lnTo>
                      <a:pt x="417" y="698"/>
                    </a:lnTo>
                    <a:lnTo>
                      <a:pt x="415" y="698"/>
                    </a:lnTo>
                    <a:lnTo>
                      <a:pt x="413" y="694"/>
                    </a:lnTo>
                    <a:lnTo>
                      <a:pt x="413" y="691"/>
                    </a:lnTo>
                    <a:lnTo>
                      <a:pt x="412" y="691"/>
                    </a:lnTo>
                    <a:lnTo>
                      <a:pt x="410" y="691"/>
                    </a:lnTo>
                    <a:lnTo>
                      <a:pt x="408" y="685"/>
                    </a:lnTo>
                    <a:lnTo>
                      <a:pt x="408" y="685"/>
                    </a:lnTo>
                    <a:lnTo>
                      <a:pt x="408" y="682"/>
                    </a:lnTo>
                    <a:lnTo>
                      <a:pt x="406" y="678"/>
                    </a:lnTo>
                    <a:lnTo>
                      <a:pt x="405" y="678"/>
                    </a:lnTo>
                    <a:lnTo>
                      <a:pt x="405" y="678"/>
                    </a:lnTo>
                    <a:lnTo>
                      <a:pt x="405" y="682"/>
                    </a:lnTo>
                    <a:lnTo>
                      <a:pt x="405" y="682"/>
                    </a:lnTo>
                    <a:lnTo>
                      <a:pt x="405" y="685"/>
                    </a:lnTo>
                    <a:lnTo>
                      <a:pt x="406" y="685"/>
                    </a:lnTo>
                    <a:lnTo>
                      <a:pt x="408" y="689"/>
                    </a:lnTo>
                    <a:lnTo>
                      <a:pt x="408" y="691"/>
                    </a:lnTo>
                    <a:lnTo>
                      <a:pt x="406" y="694"/>
                    </a:lnTo>
                    <a:lnTo>
                      <a:pt x="408" y="694"/>
                    </a:lnTo>
                    <a:lnTo>
                      <a:pt x="410" y="694"/>
                    </a:lnTo>
                    <a:lnTo>
                      <a:pt x="410" y="698"/>
                    </a:lnTo>
                    <a:lnTo>
                      <a:pt x="410" y="703"/>
                    </a:lnTo>
                    <a:lnTo>
                      <a:pt x="408" y="705"/>
                    </a:lnTo>
                    <a:lnTo>
                      <a:pt x="405" y="706"/>
                    </a:lnTo>
                    <a:lnTo>
                      <a:pt x="405" y="705"/>
                    </a:lnTo>
                    <a:lnTo>
                      <a:pt x="405" y="705"/>
                    </a:lnTo>
                    <a:lnTo>
                      <a:pt x="401" y="706"/>
                    </a:lnTo>
                    <a:lnTo>
                      <a:pt x="400" y="710"/>
                    </a:lnTo>
                    <a:lnTo>
                      <a:pt x="398" y="710"/>
                    </a:lnTo>
                    <a:lnTo>
                      <a:pt x="396" y="710"/>
                    </a:lnTo>
                    <a:lnTo>
                      <a:pt x="394" y="712"/>
                    </a:lnTo>
                    <a:lnTo>
                      <a:pt x="396" y="712"/>
                    </a:lnTo>
                    <a:lnTo>
                      <a:pt x="394" y="713"/>
                    </a:lnTo>
                    <a:lnTo>
                      <a:pt x="393" y="713"/>
                    </a:lnTo>
                    <a:lnTo>
                      <a:pt x="391" y="713"/>
                    </a:lnTo>
                    <a:lnTo>
                      <a:pt x="391" y="718"/>
                    </a:lnTo>
                    <a:lnTo>
                      <a:pt x="391" y="720"/>
                    </a:lnTo>
                    <a:lnTo>
                      <a:pt x="389" y="722"/>
                    </a:lnTo>
                    <a:lnTo>
                      <a:pt x="387" y="720"/>
                    </a:lnTo>
                    <a:lnTo>
                      <a:pt x="386" y="718"/>
                    </a:lnTo>
                    <a:lnTo>
                      <a:pt x="387" y="720"/>
                    </a:lnTo>
                    <a:lnTo>
                      <a:pt x="387" y="722"/>
                    </a:lnTo>
                    <a:lnTo>
                      <a:pt x="387" y="725"/>
                    </a:lnTo>
                    <a:lnTo>
                      <a:pt x="386" y="725"/>
                    </a:lnTo>
                    <a:lnTo>
                      <a:pt x="386" y="722"/>
                    </a:lnTo>
                    <a:lnTo>
                      <a:pt x="384" y="722"/>
                    </a:lnTo>
                    <a:lnTo>
                      <a:pt x="382" y="722"/>
                    </a:lnTo>
                    <a:lnTo>
                      <a:pt x="384" y="725"/>
                    </a:lnTo>
                    <a:lnTo>
                      <a:pt x="384" y="725"/>
                    </a:lnTo>
                    <a:lnTo>
                      <a:pt x="382" y="727"/>
                    </a:lnTo>
                    <a:lnTo>
                      <a:pt x="379" y="729"/>
                    </a:lnTo>
                    <a:lnTo>
                      <a:pt x="377" y="732"/>
                    </a:lnTo>
                    <a:lnTo>
                      <a:pt x="377" y="734"/>
                    </a:lnTo>
                    <a:lnTo>
                      <a:pt x="377" y="738"/>
                    </a:lnTo>
                    <a:lnTo>
                      <a:pt x="377" y="739"/>
                    </a:lnTo>
                    <a:lnTo>
                      <a:pt x="373" y="743"/>
                    </a:lnTo>
                    <a:lnTo>
                      <a:pt x="372" y="745"/>
                    </a:lnTo>
                    <a:lnTo>
                      <a:pt x="372" y="743"/>
                    </a:lnTo>
                    <a:lnTo>
                      <a:pt x="370" y="743"/>
                    </a:lnTo>
                    <a:lnTo>
                      <a:pt x="372" y="741"/>
                    </a:lnTo>
                    <a:lnTo>
                      <a:pt x="370" y="741"/>
                    </a:lnTo>
                    <a:lnTo>
                      <a:pt x="368" y="743"/>
                    </a:lnTo>
                    <a:lnTo>
                      <a:pt x="368" y="745"/>
                    </a:lnTo>
                    <a:lnTo>
                      <a:pt x="368" y="745"/>
                    </a:lnTo>
                    <a:lnTo>
                      <a:pt x="368" y="748"/>
                    </a:lnTo>
                    <a:lnTo>
                      <a:pt x="363" y="750"/>
                    </a:lnTo>
                    <a:lnTo>
                      <a:pt x="361" y="753"/>
                    </a:lnTo>
                    <a:lnTo>
                      <a:pt x="360" y="750"/>
                    </a:lnTo>
                    <a:lnTo>
                      <a:pt x="360" y="750"/>
                    </a:lnTo>
                    <a:lnTo>
                      <a:pt x="360" y="748"/>
                    </a:lnTo>
                    <a:lnTo>
                      <a:pt x="360" y="748"/>
                    </a:lnTo>
                    <a:lnTo>
                      <a:pt x="360" y="750"/>
                    </a:lnTo>
                    <a:lnTo>
                      <a:pt x="356" y="750"/>
                    </a:lnTo>
                    <a:lnTo>
                      <a:pt x="354" y="750"/>
                    </a:lnTo>
                    <a:lnTo>
                      <a:pt x="351" y="748"/>
                    </a:lnTo>
                    <a:lnTo>
                      <a:pt x="351" y="745"/>
                    </a:lnTo>
                    <a:lnTo>
                      <a:pt x="351" y="748"/>
                    </a:lnTo>
                    <a:lnTo>
                      <a:pt x="351" y="750"/>
                    </a:lnTo>
                    <a:lnTo>
                      <a:pt x="354" y="750"/>
                    </a:lnTo>
                    <a:lnTo>
                      <a:pt x="354" y="753"/>
                    </a:lnTo>
                    <a:lnTo>
                      <a:pt x="354" y="753"/>
                    </a:lnTo>
                    <a:lnTo>
                      <a:pt x="351" y="755"/>
                    </a:lnTo>
                    <a:lnTo>
                      <a:pt x="351" y="755"/>
                    </a:lnTo>
                    <a:lnTo>
                      <a:pt x="347" y="758"/>
                    </a:lnTo>
                    <a:lnTo>
                      <a:pt x="344" y="760"/>
                    </a:lnTo>
                    <a:lnTo>
                      <a:pt x="342" y="760"/>
                    </a:lnTo>
                    <a:lnTo>
                      <a:pt x="340" y="760"/>
                    </a:lnTo>
                    <a:lnTo>
                      <a:pt x="340" y="758"/>
                    </a:lnTo>
                    <a:lnTo>
                      <a:pt x="340" y="757"/>
                    </a:lnTo>
                    <a:lnTo>
                      <a:pt x="340" y="755"/>
                    </a:lnTo>
                    <a:lnTo>
                      <a:pt x="339" y="755"/>
                    </a:lnTo>
                    <a:lnTo>
                      <a:pt x="339" y="758"/>
                    </a:lnTo>
                    <a:lnTo>
                      <a:pt x="339" y="758"/>
                    </a:lnTo>
                    <a:lnTo>
                      <a:pt x="337" y="762"/>
                    </a:lnTo>
                    <a:lnTo>
                      <a:pt x="337" y="762"/>
                    </a:lnTo>
                    <a:lnTo>
                      <a:pt x="334" y="762"/>
                    </a:lnTo>
                    <a:lnTo>
                      <a:pt x="332" y="762"/>
                    </a:lnTo>
                    <a:lnTo>
                      <a:pt x="328" y="758"/>
                    </a:lnTo>
                    <a:lnTo>
                      <a:pt x="328" y="757"/>
                    </a:lnTo>
                    <a:lnTo>
                      <a:pt x="332" y="753"/>
                    </a:lnTo>
                    <a:lnTo>
                      <a:pt x="328" y="753"/>
                    </a:lnTo>
                    <a:lnTo>
                      <a:pt x="328" y="753"/>
                    </a:lnTo>
                    <a:lnTo>
                      <a:pt x="328" y="755"/>
                    </a:lnTo>
                    <a:lnTo>
                      <a:pt x="328" y="758"/>
                    </a:lnTo>
                    <a:lnTo>
                      <a:pt x="328" y="760"/>
                    </a:lnTo>
                    <a:lnTo>
                      <a:pt x="328" y="762"/>
                    </a:lnTo>
                    <a:lnTo>
                      <a:pt x="325" y="762"/>
                    </a:lnTo>
                    <a:lnTo>
                      <a:pt x="323" y="757"/>
                    </a:lnTo>
                    <a:lnTo>
                      <a:pt x="323" y="755"/>
                    </a:lnTo>
                    <a:lnTo>
                      <a:pt x="323" y="753"/>
                    </a:lnTo>
                    <a:lnTo>
                      <a:pt x="325" y="750"/>
                    </a:lnTo>
                    <a:lnTo>
                      <a:pt x="328" y="750"/>
                    </a:lnTo>
                    <a:lnTo>
                      <a:pt x="325" y="748"/>
                    </a:lnTo>
                    <a:lnTo>
                      <a:pt x="323" y="748"/>
                    </a:lnTo>
                    <a:lnTo>
                      <a:pt x="321" y="745"/>
                    </a:lnTo>
                    <a:lnTo>
                      <a:pt x="321" y="745"/>
                    </a:lnTo>
                    <a:lnTo>
                      <a:pt x="321" y="743"/>
                    </a:lnTo>
                    <a:lnTo>
                      <a:pt x="320" y="745"/>
                    </a:lnTo>
                    <a:lnTo>
                      <a:pt x="318" y="745"/>
                    </a:lnTo>
                    <a:lnTo>
                      <a:pt x="318" y="748"/>
                    </a:lnTo>
                    <a:lnTo>
                      <a:pt x="321" y="750"/>
                    </a:lnTo>
                    <a:lnTo>
                      <a:pt x="320" y="750"/>
                    </a:lnTo>
                    <a:lnTo>
                      <a:pt x="318" y="753"/>
                    </a:lnTo>
                    <a:lnTo>
                      <a:pt x="318" y="755"/>
                    </a:lnTo>
                    <a:lnTo>
                      <a:pt x="316" y="757"/>
                    </a:lnTo>
                    <a:lnTo>
                      <a:pt x="314" y="758"/>
                    </a:lnTo>
                    <a:lnTo>
                      <a:pt x="314" y="755"/>
                    </a:lnTo>
                    <a:lnTo>
                      <a:pt x="314" y="753"/>
                    </a:lnTo>
                    <a:lnTo>
                      <a:pt x="311" y="755"/>
                    </a:lnTo>
                    <a:lnTo>
                      <a:pt x="311" y="758"/>
                    </a:lnTo>
                    <a:lnTo>
                      <a:pt x="314" y="762"/>
                    </a:lnTo>
                    <a:lnTo>
                      <a:pt x="314" y="764"/>
                    </a:lnTo>
                    <a:lnTo>
                      <a:pt x="314" y="765"/>
                    </a:lnTo>
                    <a:lnTo>
                      <a:pt x="314" y="765"/>
                    </a:lnTo>
                    <a:lnTo>
                      <a:pt x="314" y="769"/>
                    </a:lnTo>
                    <a:lnTo>
                      <a:pt x="309" y="769"/>
                    </a:lnTo>
                    <a:lnTo>
                      <a:pt x="309" y="769"/>
                    </a:lnTo>
                    <a:lnTo>
                      <a:pt x="306" y="767"/>
                    </a:lnTo>
                    <a:lnTo>
                      <a:pt x="306" y="769"/>
                    </a:lnTo>
                    <a:lnTo>
                      <a:pt x="306" y="771"/>
                    </a:lnTo>
                    <a:lnTo>
                      <a:pt x="302" y="772"/>
                    </a:lnTo>
                    <a:lnTo>
                      <a:pt x="301" y="771"/>
                    </a:lnTo>
                    <a:lnTo>
                      <a:pt x="301" y="767"/>
                    </a:lnTo>
                    <a:lnTo>
                      <a:pt x="299" y="765"/>
                    </a:lnTo>
                    <a:lnTo>
                      <a:pt x="297" y="765"/>
                    </a:lnTo>
                    <a:lnTo>
                      <a:pt x="297" y="767"/>
                    </a:lnTo>
                    <a:lnTo>
                      <a:pt x="297" y="769"/>
                    </a:lnTo>
                    <a:lnTo>
                      <a:pt x="295" y="771"/>
                    </a:lnTo>
                    <a:lnTo>
                      <a:pt x="294" y="771"/>
                    </a:lnTo>
                    <a:lnTo>
                      <a:pt x="292" y="767"/>
                    </a:lnTo>
                    <a:lnTo>
                      <a:pt x="292" y="765"/>
                    </a:lnTo>
                    <a:lnTo>
                      <a:pt x="290" y="765"/>
                    </a:lnTo>
                    <a:lnTo>
                      <a:pt x="288" y="767"/>
                    </a:lnTo>
                    <a:lnTo>
                      <a:pt x="287" y="767"/>
                    </a:lnTo>
                    <a:lnTo>
                      <a:pt x="287" y="769"/>
                    </a:lnTo>
                    <a:lnTo>
                      <a:pt x="287" y="771"/>
                    </a:lnTo>
                    <a:lnTo>
                      <a:pt x="287" y="772"/>
                    </a:lnTo>
                    <a:lnTo>
                      <a:pt x="287" y="778"/>
                    </a:lnTo>
                    <a:lnTo>
                      <a:pt x="287" y="781"/>
                    </a:lnTo>
                    <a:lnTo>
                      <a:pt x="283" y="785"/>
                    </a:lnTo>
                    <a:lnTo>
                      <a:pt x="280" y="785"/>
                    </a:lnTo>
                    <a:lnTo>
                      <a:pt x="280" y="785"/>
                    </a:lnTo>
                    <a:lnTo>
                      <a:pt x="280" y="778"/>
                    </a:lnTo>
                    <a:lnTo>
                      <a:pt x="278" y="778"/>
                    </a:lnTo>
                    <a:lnTo>
                      <a:pt x="276" y="778"/>
                    </a:lnTo>
                    <a:lnTo>
                      <a:pt x="276" y="781"/>
                    </a:lnTo>
                    <a:lnTo>
                      <a:pt x="273" y="781"/>
                    </a:lnTo>
                    <a:lnTo>
                      <a:pt x="271" y="778"/>
                    </a:lnTo>
                    <a:lnTo>
                      <a:pt x="271" y="778"/>
                    </a:lnTo>
                    <a:lnTo>
                      <a:pt x="269" y="778"/>
                    </a:lnTo>
                    <a:lnTo>
                      <a:pt x="271" y="781"/>
                    </a:lnTo>
                    <a:lnTo>
                      <a:pt x="271" y="781"/>
                    </a:lnTo>
                    <a:lnTo>
                      <a:pt x="269" y="785"/>
                    </a:lnTo>
                    <a:lnTo>
                      <a:pt x="269" y="785"/>
                    </a:lnTo>
                    <a:lnTo>
                      <a:pt x="271" y="788"/>
                    </a:lnTo>
                    <a:lnTo>
                      <a:pt x="273" y="790"/>
                    </a:lnTo>
                    <a:lnTo>
                      <a:pt x="273" y="793"/>
                    </a:lnTo>
                    <a:lnTo>
                      <a:pt x="274" y="798"/>
                    </a:lnTo>
                    <a:lnTo>
                      <a:pt x="273" y="800"/>
                    </a:lnTo>
                    <a:lnTo>
                      <a:pt x="271" y="800"/>
                    </a:lnTo>
                    <a:lnTo>
                      <a:pt x="269" y="800"/>
                    </a:lnTo>
                    <a:lnTo>
                      <a:pt x="269" y="800"/>
                    </a:lnTo>
                    <a:lnTo>
                      <a:pt x="266" y="800"/>
                    </a:lnTo>
                    <a:lnTo>
                      <a:pt x="264" y="800"/>
                    </a:lnTo>
                    <a:lnTo>
                      <a:pt x="261" y="800"/>
                    </a:lnTo>
                    <a:lnTo>
                      <a:pt x="261" y="800"/>
                    </a:lnTo>
                    <a:lnTo>
                      <a:pt x="261" y="804"/>
                    </a:lnTo>
                    <a:lnTo>
                      <a:pt x="264" y="804"/>
                    </a:lnTo>
                    <a:lnTo>
                      <a:pt x="266" y="807"/>
                    </a:lnTo>
                    <a:lnTo>
                      <a:pt x="267" y="809"/>
                    </a:lnTo>
                    <a:lnTo>
                      <a:pt x="269" y="809"/>
                    </a:lnTo>
                    <a:lnTo>
                      <a:pt x="269" y="809"/>
                    </a:lnTo>
                    <a:lnTo>
                      <a:pt x="273" y="809"/>
                    </a:lnTo>
                    <a:lnTo>
                      <a:pt x="273" y="809"/>
                    </a:lnTo>
                    <a:lnTo>
                      <a:pt x="271" y="812"/>
                    </a:lnTo>
                    <a:lnTo>
                      <a:pt x="269" y="812"/>
                    </a:lnTo>
                    <a:lnTo>
                      <a:pt x="267" y="812"/>
                    </a:lnTo>
                    <a:lnTo>
                      <a:pt x="267" y="812"/>
                    </a:lnTo>
                    <a:lnTo>
                      <a:pt x="269" y="814"/>
                    </a:lnTo>
                    <a:lnTo>
                      <a:pt x="269" y="816"/>
                    </a:lnTo>
                    <a:lnTo>
                      <a:pt x="269" y="818"/>
                    </a:lnTo>
                    <a:lnTo>
                      <a:pt x="269" y="821"/>
                    </a:lnTo>
                    <a:lnTo>
                      <a:pt x="269" y="821"/>
                    </a:lnTo>
                    <a:lnTo>
                      <a:pt x="267" y="823"/>
                    </a:lnTo>
                    <a:lnTo>
                      <a:pt x="266" y="821"/>
                    </a:lnTo>
                    <a:lnTo>
                      <a:pt x="264" y="818"/>
                    </a:lnTo>
                    <a:lnTo>
                      <a:pt x="261" y="818"/>
                    </a:lnTo>
                    <a:lnTo>
                      <a:pt x="261" y="818"/>
                    </a:lnTo>
                    <a:lnTo>
                      <a:pt x="257" y="814"/>
                    </a:lnTo>
                    <a:lnTo>
                      <a:pt x="257" y="814"/>
                    </a:lnTo>
                    <a:lnTo>
                      <a:pt x="257" y="816"/>
                    </a:lnTo>
                    <a:lnTo>
                      <a:pt x="255" y="818"/>
                    </a:lnTo>
                    <a:lnTo>
                      <a:pt x="257" y="818"/>
                    </a:lnTo>
                    <a:lnTo>
                      <a:pt x="261" y="819"/>
                    </a:lnTo>
                    <a:lnTo>
                      <a:pt x="264" y="821"/>
                    </a:lnTo>
                    <a:lnTo>
                      <a:pt x="264" y="823"/>
                    </a:lnTo>
                    <a:lnTo>
                      <a:pt x="267" y="823"/>
                    </a:lnTo>
                    <a:lnTo>
                      <a:pt x="267" y="825"/>
                    </a:lnTo>
                    <a:lnTo>
                      <a:pt x="266" y="826"/>
                    </a:lnTo>
                    <a:lnTo>
                      <a:pt x="264" y="828"/>
                    </a:lnTo>
                    <a:lnTo>
                      <a:pt x="264" y="828"/>
                    </a:lnTo>
                    <a:lnTo>
                      <a:pt x="261" y="828"/>
                    </a:lnTo>
                    <a:lnTo>
                      <a:pt x="257" y="828"/>
                    </a:lnTo>
                    <a:lnTo>
                      <a:pt x="255" y="825"/>
                    </a:lnTo>
                    <a:lnTo>
                      <a:pt x="255" y="823"/>
                    </a:lnTo>
                    <a:lnTo>
                      <a:pt x="252" y="823"/>
                    </a:lnTo>
                    <a:lnTo>
                      <a:pt x="252" y="825"/>
                    </a:lnTo>
                    <a:lnTo>
                      <a:pt x="250" y="826"/>
                    </a:lnTo>
                    <a:lnTo>
                      <a:pt x="250" y="828"/>
                    </a:lnTo>
                    <a:lnTo>
                      <a:pt x="252" y="831"/>
                    </a:lnTo>
                    <a:lnTo>
                      <a:pt x="257" y="831"/>
                    </a:lnTo>
                    <a:lnTo>
                      <a:pt x="257" y="835"/>
                    </a:lnTo>
                    <a:lnTo>
                      <a:pt x="257" y="835"/>
                    </a:lnTo>
                    <a:lnTo>
                      <a:pt x="257" y="837"/>
                    </a:lnTo>
                    <a:lnTo>
                      <a:pt x="252" y="835"/>
                    </a:lnTo>
                    <a:lnTo>
                      <a:pt x="252" y="835"/>
                    </a:lnTo>
                    <a:lnTo>
                      <a:pt x="248" y="831"/>
                    </a:lnTo>
                    <a:lnTo>
                      <a:pt x="247" y="830"/>
                    </a:lnTo>
                    <a:lnTo>
                      <a:pt x="247" y="830"/>
                    </a:lnTo>
                    <a:lnTo>
                      <a:pt x="247" y="831"/>
                    </a:lnTo>
                    <a:lnTo>
                      <a:pt x="250" y="835"/>
                    </a:lnTo>
                    <a:lnTo>
                      <a:pt x="252" y="837"/>
                    </a:lnTo>
                    <a:lnTo>
                      <a:pt x="252" y="837"/>
                    </a:lnTo>
                    <a:lnTo>
                      <a:pt x="252" y="840"/>
                    </a:lnTo>
                    <a:lnTo>
                      <a:pt x="252" y="840"/>
                    </a:lnTo>
                    <a:lnTo>
                      <a:pt x="248" y="840"/>
                    </a:lnTo>
                    <a:lnTo>
                      <a:pt x="247" y="837"/>
                    </a:lnTo>
                    <a:lnTo>
                      <a:pt x="247" y="837"/>
                    </a:lnTo>
                    <a:lnTo>
                      <a:pt x="245" y="835"/>
                    </a:lnTo>
                    <a:lnTo>
                      <a:pt x="243" y="835"/>
                    </a:lnTo>
                    <a:lnTo>
                      <a:pt x="241" y="837"/>
                    </a:lnTo>
                    <a:lnTo>
                      <a:pt x="241" y="837"/>
                    </a:lnTo>
                    <a:lnTo>
                      <a:pt x="243" y="840"/>
                    </a:lnTo>
                    <a:lnTo>
                      <a:pt x="245" y="840"/>
                    </a:lnTo>
                    <a:lnTo>
                      <a:pt x="243" y="840"/>
                    </a:lnTo>
                    <a:lnTo>
                      <a:pt x="245" y="842"/>
                    </a:lnTo>
                    <a:lnTo>
                      <a:pt x="250" y="842"/>
                    </a:lnTo>
                    <a:lnTo>
                      <a:pt x="252" y="842"/>
                    </a:lnTo>
                    <a:lnTo>
                      <a:pt x="252" y="845"/>
                    </a:lnTo>
                    <a:lnTo>
                      <a:pt x="252" y="845"/>
                    </a:lnTo>
                    <a:lnTo>
                      <a:pt x="250" y="847"/>
                    </a:lnTo>
                    <a:lnTo>
                      <a:pt x="250" y="849"/>
                    </a:lnTo>
                    <a:lnTo>
                      <a:pt x="247" y="849"/>
                    </a:lnTo>
                    <a:lnTo>
                      <a:pt x="245" y="847"/>
                    </a:lnTo>
                    <a:lnTo>
                      <a:pt x="243" y="847"/>
                    </a:lnTo>
                    <a:lnTo>
                      <a:pt x="240" y="845"/>
                    </a:lnTo>
                    <a:lnTo>
                      <a:pt x="240" y="844"/>
                    </a:lnTo>
                    <a:lnTo>
                      <a:pt x="240" y="844"/>
                    </a:lnTo>
                    <a:lnTo>
                      <a:pt x="238" y="842"/>
                    </a:lnTo>
                    <a:lnTo>
                      <a:pt x="238" y="842"/>
                    </a:lnTo>
                    <a:lnTo>
                      <a:pt x="238" y="845"/>
                    </a:lnTo>
                    <a:lnTo>
                      <a:pt x="238" y="847"/>
                    </a:lnTo>
                    <a:lnTo>
                      <a:pt x="234" y="849"/>
                    </a:lnTo>
                    <a:lnTo>
                      <a:pt x="234" y="849"/>
                    </a:lnTo>
                    <a:lnTo>
                      <a:pt x="233" y="847"/>
                    </a:lnTo>
                    <a:lnTo>
                      <a:pt x="229" y="847"/>
                    </a:lnTo>
                    <a:lnTo>
                      <a:pt x="229" y="847"/>
                    </a:lnTo>
                    <a:lnTo>
                      <a:pt x="229" y="849"/>
                    </a:lnTo>
                    <a:lnTo>
                      <a:pt x="229" y="851"/>
                    </a:lnTo>
                    <a:lnTo>
                      <a:pt x="234" y="852"/>
                    </a:lnTo>
                    <a:lnTo>
                      <a:pt x="238" y="854"/>
                    </a:lnTo>
                    <a:lnTo>
                      <a:pt x="240" y="856"/>
                    </a:lnTo>
                    <a:lnTo>
                      <a:pt x="241" y="859"/>
                    </a:lnTo>
                    <a:lnTo>
                      <a:pt x="240" y="859"/>
                    </a:lnTo>
                    <a:lnTo>
                      <a:pt x="238" y="859"/>
                    </a:lnTo>
                    <a:lnTo>
                      <a:pt x="234" y="859"/>
                    </a:lnTo>
                    <a:lnTo>
                      <a:pt x="233" y="856"/>
                    </a:lnTo>
                    <a:lnTo>
                      <a:pt x="229" y="854"/>
                    </a:lnTo>
                    <a:lnTo>
                      <a:pt x="229" y="854"/>
                    </a:lnTo>
                    <a:lnTo>
                      <a:pt x="229" y="856"/>
                    </a:lnTo>
                    <a:lnTo>
                      <a:pt x="229" y="858"/>
                    </a:lnTo>
                    <a:lnTo>
                      <a:pt x="233" y="858"/>
                    </a:lnTo>
                    <a:lnTo>
                      <a:pt x="238" y="859"/>
                    </a:lnTo>
                    <a:lnTo>
                      <a:pt x="238" y="863"/>
                    </a:lnTo>
                    <a:lnTo>
                      <a:pt x="238" y="865"/>
                    </a:lnTo>
                    <a:lnTo>
                      <a:pt x="238" y="868"/>
                    </a:lnTo>
                    <a:lnTo>
                      <a:pt x="238" y="871"/>
                    </a:lnTo>
                    <a:lnTo>
                      <a:pt x="238" y="871"/>
                    </a:lnTo>
                    <a:lnTo>
                      <a:pt x="238" y="871"/>
                    </a:lnTo>
                    <a:lnTo>
                      <a:pt x="238" y="873"/>
                    </a:lnTo>
                    <a:lnTo>
                      <a:pt x="234" y="877"/>
                    </a:lnTo>
                    <a:lnTo>
                      <a:pt x="234" y="877"/>
                    </a:lnTo>
                    <a:lnTo>
                      <a:pt x="233" y="875"/>
                    </a:lnTo>
                    <a:lnTo>
                      <a:pt x="229" y="875"/>
                    </a:lnTo>
                    <a:lnTo>
                      <a:pt x="228" y="873"/>
                    </a:lnTo>
                    <a:lnTo>
                      <a:pt x="226" y="873"/>
                    </a:lnTo>
                    <a:lnTo>
                      <a:pt x="226" y="875"/>
                    </a:lnTo>
                    <a:lnTo>
                      <a:pt x="229" y="877"/>
                    </a:lnTo>
                    <a:lnTo>
                      <a:pt x="233" y="877"/>
                    </a:lnTo>
                    <a:lnTo>
                      <a:pt x="233" y="878"/>
                    </a:lnTo>
                    <a:lnTo>
                      <a:pt x="229" y="880"/>
                    </a:lnTo>
                    <a:lnTo>
                      <a:pt x="229" y="880"/>
                    </a:lnTo>
                    <a:lnTo>
                      <a:pt x="228" y="878"/>
                    </a:lnTo>
                    <a:lnTo>
                      <a:pt x="226" y="880"/>
                    </a:lnTo>
                    <a:lnTo>
                      <a:pt x="226" y="880"/>
                    </a:lnTo>
                    <a:lnTo>
                      <a:pt x="229" y="882"/>
                    </a:lnTo>
                    <a:lnTo>
                      <a:pt x="229" y="882"/>
                    </a:lnTo>
                    <a:lnTo>
                      <a:pt x="229" y="884"/>
                    </a:lnTo>
                    <a:lnTo>
                      <a:pt x="228" y="885"/>
                    </a:lnTo>
                    <a:lnTo>
                      <a:pt x="226" y="887"/>
                    </a:lnTo>
                    <a:lnTo>
                      <a:pt x="224" y="885"/>
                    </a:lnTo>
                    <a:lnTo>
                      <a:pt x="222" y="885"/>
                    </a:lnTo>
                    <a:lnTo>
                      <a:pt x="221" y="885"/>
                    </a:lnTo>
                    <a:lnTo>
                      <a:pt x="222" y="887"/>
                    </a:lnTo>
                    <a:lnTo>
                      <a:pt x="224" y="887"/>
                    </a:lnTo>
                    <a:lnTo>
                      <a:pt x="226" y="887"/>
                    </a:lnTo>
                    <a:lnTo>
                      <a:pt x="226" y="891"/>
                    </a:lnTo>
                    <a:lnTo>
                      <a:pt x="224" y="891"/>
                    </a:lnTo>
                    <a:lnTo>
                      <a:pt x="219" y="891"/>
                    </a:lnTo>
                    <a:lnTo>
                      <a:pt x="217" y="891"/>
                    </a:lnTo>
                    <a:lnTo>
                      <a:pt x="215" y="891"/>
                    </a:lnTo>
                    <a:lnTo>
                      <a:pt x="215" y="891"/>
                    </a:lnTo>
                    <a:lnTo>
                      <a:pt x="219" y="894"/>
                    </a:lnTo>
                    <a:lnTo>
                      <a:pt x="224" y="894"/>
                    </a:lnTo>
                    <a:lnTo>
                      <a:pt x="228" y="896"/>
                    </a:lnTo>
                    <a:lnTo>
                      <a:pt x="228" y="896"/>
                    </a:lnTo>
                    <a:lnTo>
                      <a:pt x="228" y="896"/>
                    </a:lnTo>
                    <a:lnTo>
                      <a:pt x="224" y="899"/>
                    </a:lnTo>
                    <a:lnTo>
                      <a:pt x="221" y="899"/>
                    </a:lnTo>
                    <a:lnTo>
                      <a:pt x="217" y="899"/>
                    </a:lnTo>
                    <a:lnTo>
                      <a:pt x="215" y="896"/>
                    </a:lnTo>
                    <a:lnTo>
                      <a:pt x="215" y="899"/>
                    </a:lnTo>
                    <a:lnTo>
                      <a:pt x="215" y="899"/>
                    </a:lnTo>
                    <a:lnTo>
                      <a:pt x="219" y="899"/>
                    </a:lnTo>
                    <a:lnTo>
                      <a:pt x="219" y="901"/>
                    </a:lnTo>
                    <a:lnTo>
                      <a:pt x="219" y="901"/>
                    </a:lnTo>
                    <a:lnTo>
                      <a:pt x="217" y="903"/>
                    </a:lnTo>
                    <a:lnTo>
                      <a:pt x="217" y="903"/>
                    </a:lnTo>
                    <a:lnTo>
                      <a:pt x="219" y="903"/>
                    </a:lnTo>
                    <a:lnTo>
                      <a:pt x="222" y="905"/>
                    </a:lnTo>
                    <a:lnTo>
                      <a:pt x="222" y="906"/>
                    </a:lnTo>
                    <a:lnTo>
                      <a:pt x="221" y="906"/>
                    </a:lnTo>
                    <a:lnTo>
                      <a:pt x="217" y="906"/>
                    </a:lnTo>
                    <a:lnTo>
                      <a:pt x="217" y="906"/>
                    </a:lnTo>
                    <a:lnTo>
                      <a:pt x="215" y="908"/>
                    </a:lnTo>
                    <a:lnTo>
                      <a:pt x="217" y="910"/>
                    </a:lnTo>
                    <a:lnTo>
                      <a:pt x="221" y="908"/>
                    </a:lnTo>
                    <a:lnTo>
                      <a:pt x="224" y="910"/>
                    </a:lnTo>
                    <a:lnTo>
                      <a:pt x="222" y="910"/>
                    </a:lnTo>
                    <a:lnTo>
                      <a:pt x="221" y="911"/>
                    </a:lnTo>
                    <a:lnTo>
                      <a:pt x="217" y="913"/>
                    </a:lnTo>
                    <a:lnTo>
                      <a:pt x="215" y="913"/>
                    </a:lnTo>
                    <a:lnTo>
                      <a:pt x="215" y="911"/>
                    </a:lnTo>
                    <a:lnTo>
                      <a:pt x="210" y="910"/>
                    </a:lnTo>
                    <a:lnTo>
                      <a:pt x="210" y="908"/>
                    </a:lnTo>
                    <a:lnTo>
                      <a:pt x="210" y="908"/>
                    </a:lnTo>
                    <a:lnTo>
                      <a:pt x="207" y="908"/>
                    </a:lnTo>
                    <a:lnTo>
                      <a:pt x="207" y="908"/>
                    </a:lnTo>
                    <a:lnTo>
                      <a:pt x="205" y="908"/>
                    </a:lnTo>
                    <a:lnTo>
                      <a:pt x="207" y="910"/>
                    </a:lnTo>
                    <a:lnTo>
                      <a:pt x="210" y="911"/>
                    </a:lnTo>
                    <a:lnTo>
                      <a:pt x="215" y="915"/>
                    </a:lnTo>
                    <a:lnTo>
                      <a:pt x="215" y="915"/>
                    </a:lnTo>
                    <a:lnTo>
                      <a:pt x="212" y="917"/>
                    </a:lnTo>
                    <a:lnTo>
                      <a:pt x="212" y="918"/>
                    </a:lnTo>
                    <a:lnTo>
                      <a:pt x="215" y="918"/>
                    </a:lnTo>
                    <a:lnTo>
                      <a:pt x="215" y="918"/>
                    </a:lnTo>
                    <a:lnTo>
                      <a:pt x="217" y="918"/>
                    </a:lnTo>
                    <a:lnTo>
                      <a:pt x="219" y="918"/>
                    </a:lnTo>
                    <a:lnTo>
                      <a:pt x="219" y="918"/>
                    </a:lnTo>
                    <a:lnTo>
                      <a:pt x="217" y="922"/>
                    </a:lnTo>
                    <a:lnTo>
                      <a:pt x="215" y="922"/>
                    </a:lnTo>
                    <a:lnTo>
                      <a:pt x="215" y="922"/>
                    </a:lnTo>
                    <a:lnTo>
                      <a:pt x="215" y="922"/>
                    </a:lnTo>
                    <a:lnTo>
                      <a:pt x="215" y="922"/>
                    </a:lnTo>
                    <a:lnTo>
                      <a:pt x="215" y="922"/>
                    </a:lnTo>
                    <a:lnTo>
                      <a:pt x="215" y="922"/>
                    </a:lnTo>
                    <a:close/>
                    <a:moveTo>
                      <a:pt x="210" y="924"/>
                    </a:moveTo>
                    <a:lnTo>
                      <a:pt x="205" y="922"/>
                    </a:lnTo>
                    <a:lnTo>
                      <a:pt x="203" y="922"/>
                    </a:lnTo>
                    <a:lnTo>
                      <a:pt x="203" y="922"/>
                    </a:lnTo>
                    <a:lnTo>
                      <a:pt x="207" y="924"/>
                    </a:lnTo>
                    <a:lnTo>
                      <a:pt x="207" y="927"/>
                    </a:lnTo>
                    <a:lnTo>
                      <a:pt x="210" y="924"/>
                    </a:lnTo>
                    <a:lnTo>
                      <a:pt x="210" y="924"/>
                    </a:lnTo>
                    <a:lnTo>
                      <a:pt x="210" y="924"/>
                    </a:lnTo>
                    <a:lnTo>
                      <a:pt x="210" y="924"/>
                    </a:lnTo>
                    <a:close/>
                    <a:moveTo>
                      <a:pt x="474" y="625"/>
                    </a:moveTo>
                    <a:lnTo>
                      <a:pt x="478" y="626"/>
                    </a:lnTo>
                    <a:lnTo>
                      <a:pt x="481" y="625"/>
                    </a:lnTo>
                    <a:lnTo>
                      <a:pt x="488" y="623"/>
                    </a:lnTo>
                    <a:lnTo>
                      <a:pt x="495" y="625"/>
                    </a:lnTo>
                    <a:lnTo>
                      <a:pt x="497" y="623"/>
                    </a:lnTo>
                    <a:lnTo>
                      <a:pt x="500" y="621"/>
                    </a:lnTo>
                    <a:lnTo>
                      <a:pt x="504" y="625"/>
                    </a:lnTo>
                    <a:lnTo>
                      <a:pt x="507" y="623"/>
                    </a:lnTo>
                    <a:lnTo>
                      <a:pt x="509" y="623"/>
                    </a:lnTo>
                    <a:lnTo>
                      <a:pt x="514" y="619"/>
                    </a:lnTo>
                    <a:lnTo>
                      <a:pt x="514" y="611"/>
                    </a:lnTo>
                    <a:lnTo>
                      <a:pt x="512" y="607"/>
                    </a:lnTo>
                    <a:lnTo>
                      <a:pt x="511" y="604"/>
                    </a:lnTo>
                    <a:lnTo>
                      <a:pt x="507" y="604"/>
                    </a:lnTo>
                    <a:lnTo>
                      <a:pt x="497" y="611"/>
                    </a:lnTo>
                    <a:lnTo>
                      <a:pt x="488" y="611"/>
                    </a:lnTo>
                    <a:lnTo>
                      <a:pt x="486" y="612"/>
                    </a:lnTo>
                    <a:lnTo>
                      <a:pt x="483" y="616"/>
                    </a:lnTo>
                    <a:lnTo>
                      <a:pt x="481" y="618"/>
                    </a:lnTo>
                    <a:lnTo>
                      <a:pt x="478" y="619"/>
                    </a:lnTo>
                    <a:lnTo>
                      <a:pt x="478" y="621"/>
                    </a:lnTo>
                    <a:lnTo>
                      <a:pt x="474" y="625"/>
                    </a:lnTo>
                    <a:lnTo>
                      <a:pt x="474" y="625"/>
                    </a:lnTo>
                    <a:lnTo>
                      <a:pt x="474" y="625"/>
                    </a:lnTo>
                    <a:lnTo>
                      <a:pt x="474" y="625"/>
                    </a:lnTo>
                    <a:close/>
                    <a:moveTo>
                      <a:pt x="222" y="901"/>
                    </a:moveTo>
                    <a:lnTo>
                      <a:pt x="224" y="903"/>
                    </a:lnTo>
                    <a:lnTo>
                      <a:pt x="226" y="901"/>
                    </a:lnTo>
                    <a:lnTo>
                      <a:pt x="226" y="899"/>
                    </a:lnTo>
                    <a:lnTo>
                      <a:pt x="224" y="899"/>
                    </a:lnTo>
                    <a:lnTo>
                      <a:pt x="222" y="901"/>
                    </a:lnTo>
                    <a:lnTo>
                      <a:pt x="222" y="901"/>
                    </a:lnTo>
                    <a:lnTo>
                      <a:pt x="222" y="901"/>
                    </a:lnTo>
                    <a:lnTo>
                      <a:pt x="222" y="901"/>
                    </a:lnTo>
                    <a:close/>
                    <a:moveTo>
                      <a:pt x="238" y="868"/>
                    </a:moveTo>
                    <a:lnTo>
                      <a:pt x="240" y="868"/>
                    </a:lnTo>
                    <a:lnTo>
                      <a:pt x="240" y="868"/>
                    </a:lnTo>
                    <a:lnTo>
                      <a:pt x="238" y="868"/>
                    </a:lnTo>
                    <a:lnTo>
                      <a:pt x="238" y="868"/>
                    </a:lnTo>
                    <a:lnTo>
                      <a:pt x="238" y="868"/>
                    </a:lnTo>
                    <a:lnTo>
                      <a:pt x="238" y="868"/>
                    </a:lnTo>
                    <a:close/>
                    <a:moveTo>
                      <a:pt x="240" y="863"/>
                    </a:moveTo>
                    <a:lnTo>
                      <a:pt x="240" y="863"/>
                    </a:lnTo>
                    <a:lnTo>
                      <a:pt x="241" y="863"/>
                    </a:lnTo>
                    <a:lnTo>
                      <a:pt x="241" y="863"/>
                    </a:lnTo>
                    <a:lnTo>
                      <a:pt x="240" y="863"/>
                    </a:lnTo>
                    <a:lnTo>
                      <a:pt x="240" y="863"/>
                    </a:lnTo>
                    <a:lnTo>
                      <a:pt x="240" y="863"/>
                    </a:lnTo>
                    <a:lnTo>
                      <a:pt x="240" y="863"/>
                    </a:lnTo>
                    <a:close/>
                    <a:moveTo>
                      <a:pt x="241" y="858"/>
                    </a:moveTo>
                    <a:lnTo>
                      <a:pt x="243" y="858"/>
                    </a:lnTo>
                    <a:lnTo>
                      <a:pt x="243" y="858"/>
                    </a:lnTo>
                    <a:lnTo>
                      <a:pt x="243" y="856"/>
                    </a:lnTo>
                    <a:lnTo>
                      <a:pt x="243" y="856"/>
                    </a:lnTo>
                    <a:lnTo>
                      <a:pt x="241" y="858"/>
                    </a:lnTo>
                    <a:lnTo>
                      <a:pt x="241" y="858"/>
                    </a:lnTo>
                    <a:lnTo>
                      <a:pt x="241" y="858"/>
                    </a:lnTo>
                    <a:lnTo>
                      <a:pt x="241" y="858"/>
                    </a:lnTo>
                    <a:close/>
                    <a:moveTo>
                      <a:pt x="240" y="849"/>
                    </a:moveTo>
                    <a:lnTo>
                      <a:pt x="240" y="851"/>
                    </a:lnTo>
                    <a:lnTo>
                      <a:pt x="241" y="852"/>
                    </a:lnTo>
                    <a:lnTo>
                      <a:pt x="243" y="852"/>
                    </a:lnTo>
                    <a:lnTo>
                      <a:pt x="247" y="852"/>
                    </a:lnTo>
                    <a:lnTo>
                      <a:pt x="247" y="852"/>
                    </a:lnTo>
                    <a:lnTo>
                      <a:pt x="245" y="851"/>
                    </a:lnTo>
                    <a:lnTo>
                      <a:pt x="241" y="851"/>
                    </a:lnTo>
                    <a:lnTo>
                      <a:pt x="240" y="849"/>
                    </a:lnTo>
                    <a:lnTo>
                      <a:pt x="240" y="849"/>
                    </a:lnTo>
                    <a:lnTo>
                      <a:pt x="240" y="849"/>
                    </a:lnTo>
                    <a:lnTo>
                      <a:pt x="240" y="849"/>
                    </a:lnTo>
                    <a:lnTo>
                      <a:pt x="240" y="849"/>
                    </a:lnTo>
                    <a:close/>
                    <a:moveTo>
                      <a:pt x="252" y="847"/>
                    </a:moveTo>
                    <a:lnTo>
                      <a:pt x="255" y="845"/>
                    </a:lnTo>
                    <a:lnTo>
                      <a:pt x="255" y="844"/>
                    </a:lnTo>
                    <a:lnTo>
                      <a:pt x="252" y="844"/>
                    </a:lnTo>
                    <a:lnTo>
                      <a:pt x="252" y="847"/>
                    </a:lnTo>
                    <a:lnTo>
                      <a:pt x="252" y="847"/>
                    </a:lnTo>
                    <a:lnTo>
                      <a:pt x="252" y="847"/>
                    </a:lnTo>
                    <a:lnTo>
                      <a:pt x="252" y="847"/>
                    </a:lnTo>
                    <a:close/>
                    <a:moveTo>
                      <a:pt x="252" y="826"/>
                    </a:moveTo>
                    <a:lnTo>
                      <a:pt x="252" y="828"/>
                    </a:lnTo>
                    <a:lnTo>
                      <a:pt x="255" y="830"/>
                    </a:lnTo>
                    <a:lnTo>
                      <a:pt x="257" y="831"/>
                    </a:lnTo>
                    <a:lnTo>
                      <a:pt x="257" y="831"/>
                    </a:lnTo>
                    <a:lnTo>
                      <a:pt x="261" y="831"/>
                    </a:lnTo>
                    <a:lnTo>
                      <a:pt x="257" y="830"/>
                    </a:lnTo>
                    <a:lnTo>
                      <a:pt x="255" y="828"/>
                    </a:lnTo>
                    <a:lnTo>
                      <a:pt x="252" y="826"/>
                    </a:lnTo>
                    <a:lnTo>
                      <a:pt x="252" y="826"/>
                    </a:lnTo>
                    <a:lnTo>
                      <a:pt x="252" y="826"/>
                    </a:lnTo>
                    <a:lnTo>
                      <a:pt x="252" y="826"/>
                    </a:lnTo>
                    <a:lnTo>
                      <a:pt x="252" y="826"/>
                    </a:lnTo>
                    <a:close/>
                    <a:moveTo>
                      <a:pt x="274" y="786"/>
                    </a:moveTo>
                    <a:lnTo>
                      <a:pt x="274" y="790"/>
                    </a:lnTo>
                    <a:lnTo>
                      <a:pt x="276" y="791"/>
                    </a:lnTo>
                    <a:lnTo>
                      <a:pt x="276" y="797"/>
                    </a:lnTo>
                    <a:lnTo>
                      <a:pt x="278" y="798"/>
                    </a:lnTo>
                    <a:lnTo>
                      <a:pt x="280" y="800"/>
                    </a:lnTo>
                    <a:lnTo>
                      <a:pt x="278" y="795"/>
                    </a:lnTo>
                    <a:lnTo>
                      <a:pt x="280" y="791"/>
                    </a:lnTo>
                    <a:lnTo>
                      <a:pt x="278" y="790"/>
                    </a:lnTo>
                    <a:lnTo>
                      <a:pt x="276" y="786"/>
                    </a:lnTo>
                    <a:lnTo>
                      <a:pt x="274" y="785"/>
                    </a:lnTo>
                    <a:lnTo>
                      <a:pt x="274" y="786"/>
                    </a:lnTo>
                    <a:lnTo>
                      <a:pt x="274" y="786"/>
                    </a:lnTo>
                    <a:lnTo>
                      <a:pt x="274" y="786"/>
                    </a:lnTo>
                    <a:lnTo>
                      <a:pt x="274" y="786"/>
                    </a:lnTo>
                    <a:close/>
                    <a:moveTo>
                      <a:pt x="290" y="778"/>
                    </a:moveTo>
                    <a:lnTo>
                      <a:pt x="290" y="778"/>
                    </a:lnTo>
                    <a:lnTo>
                      <a:pt x="292" y="778"/>
                    </a:lnTo>
                    <a:lnTo>
                      <a:pt x="292" y="778"/>
                    </a:lnTo>
                    <a:lnTo>
                      <a:pt x="290" y="778"/>
                    </a:lnTo>
                    <a:lnTo>
                      <a:pt x="290" y="778"/>
                    </a:lnTo>
                    <a:lnTo>
                      <a:pt x="290" y="778"/>
                    </a:lnTo>
                    <a:lnTo>
                      <a:pt x="290" y="778"/>
                    </a:lnTo>
                    <a:lnTo>
                      <a:pt x="290" y="778"/>
                    </a:lnTo>
                    <a:close/>
                    <a:moveTo>
                      <a:pt x="295" y="772"/>
                    </a:moveTo>
                    <a:lnTo>
                      <a:pt x="295" y="772"/>
                    </a:lnTo>
                    <a:lnTo>
                      <a:pt x="295" y="772"/>
                    </a:lnTo>
                    <a:lnTo>
                      <a:pt x="295" y="772"/>
                    </a:lnTo>
                    <a:lnTo>
                      <a:pt x="295" y="772"/>
                    </a:lnTo>
                    <a:lnTo>
                      <a:pt x="295" y="772"/>
                    </a:lnTo>
                    <a:lnTo>
                      <a:pt x="295" y="772"/>
                    </a:lnTo>
                    <a:lnTo>
                      <a:pt x="295" y="772"/>
                    </a:lnTo>
                    <a:close/>
                    <a:moveTo>
                      <a:pt x="321" y="771"/>
                    </a:moveTo>
                    <a:lnTo>
                      <a:pt x="323" y="769"/>
                    </a:lnTo>
                    <a:lnTo>
                      <a:pt x="325" y="769"/>
                    </a:lnTo>
                    <a:lnTo>
                      <a:pt x="325" y="767"/>
                    </a:lnTo>
                    <a:lnTo>
                      <a:pt x="325" y="764"/>
                    </a:lnTo>
                    <a:lnTo>
                      <a:pt x="323" y="762"/>
                    </a:lnTo>
                    <a:lnTo>
                      <a:pt x="323" y="760"/>
                    </a:lnTo>
                    <a:lnTo>
                      <a:pt x="321" y="760"/>
                    </a:lnTo>
                    <a:lnTo>
                      <a:pt x="318" y="764"/>
                    </a:lnTo>
                    <a:lnTo>
                      <a:pt x="318" y="765"/>
                    </a:lnTo>
                    <a:lnTo>
                      <a:pt x="318" y="767"/>
                    </a:lnTo>
                    <a:lnTo>
                      <a:pt x="320" y="769"/>
                    </a:lnTo>
                    <a:lnTo>
                      <a:pt x="320" y="771"/>
                    </a:lnTo>
                    <a:lnTo>
                      <a:pt x="321" y="771"/>
                    </a:lnTo>
                    <a:lnTo>
                      <a:pt x="321" y="771"/>
                    </a:lnTo>
                    <a:lnTo>
                      <a:pt x="321" y="771"/>
                    </a:lnTo>
                    <a:lnTo>
                      <a:pt x="321" y="771"/>
                    </a:lnTo>
                    <a:close/>
                    <a:moveTo>
                      <a:pt x="332" y="769"/>
                    </a:moveTo>
                    <a:lnTo>
                      <a:pt x="332" y="767"/>
                    </a:lnTo>
                    <a:lnTo>
                      <a:pt x="332" y="765"/>
                    </a:lnTo>
                    <a:lnTo>
                      <a:pt x="332" y="767"/>
                    </a:lnTo>
                    <a:lnTo>
                      <a:pt x="332" y="769"/>
                    </a:lnTo>
                    <a:lnTo>
                      <a:pt x="332" y="769"/>
                    </a:lnTo>
                    <a:lnTo>
                      <a:pt x="332" y="769"/>
                    </a:lnTo>
                    <a:lnTo>
                      <a:pt x="332" y="769"/>
                    </a:lnTo>
                    <a:lnTo>
                      <a:pt x="332" y="769"/>
                    </a:lnTo>
                    <a:lnTo>
                      <a:pt x="332" y="769"/>
                    </a:lnTo>
                    <a:close/>
                    <a:moveTo>
                      <a:pt x="533" y="656"/>
                    </a:moveTo>
                    <a:lnTo>
                      <a:pt x="533" y="656"/>
                    </a:lnTo>
                    <a:lnTo>
                      <a:pt x="535" y="654"/>
                    </a:lnTo>
                    <a:lnTo>
                      <a:pt x="535" y="652"/>
                    </a:lnTo>
                    <a:lnTo>
                      <a:pt x="533" y="654"/>
                    </a:lnTo>
                    <a:lnTo>
                      <a:pt x="533" y="656"/>
                    </a:lnTo>
                    <a:lnTo>
                      <a:pt x="533" y="656"/>
                    </a:lnTo>
                    <a:lnTo>
                      <a:pt x="533" y="656"/>
                    </a:lnTo>
                    <a:lnTo>
                      <a:pt x="533" y="656"/>
                    </a:lnTo>
                    <a:close/>
                    <a:moveTo>
                      <a:pt x="497" y="626"/>
                    </a:moveTo>
                    <a:lnTo>
                      <a:pt x="500" y="626"/>
                    </a:lnTo>
                    <a:lnTo>
                      <a:pt x="500" y="626"/>
                    </a:lnTo>
                    <a:lnTo>
                      <a:pt x="500" y="625"/>
                    </a:lnTo>
                    <a:lnTo>
                      <a:pt x="497" y="625"/>
                    </a:lnTo>
                    <a:lnTo>
                      <a:pt x="497" y="625"/>
                    </a:lnTo>
                    <a:lnTo>
                      <a:pt x="497" y="626"/>
                    </a:lnTo>
                    <a:lnTo>
                      <a:pt x="497" y="626"/>
                    </a:lnTo>
                    <a:lnTo>
                      <a:pt x="497" y="626"/>
                    </a:lnTo>
                    <a:lnTo>
                      <a:pt x="497" y="626"/>
                    </a:lnTo>
                    <a:close/>
                    <a:moveTo>
                      <a:pt x="481" y="611"/>
                    </a:moveTo>
                    <a:lnTo>
                      <a:pt x="483" y="612"/>
                    </a:lnTo>
                    <a:lnTo>
                      <a:pt x="485" y="611"/>
                    </a:lnTo>
                    <a:lnTo>
                      <a:pt x="486" y="611"/>
                    </a:lnTo>
                    <a:lnTo>
                      <a:pt x="483" y="611"/>
                    </a:lnTo>
                    <a:lnTo>
                      <a:pt x="481" y="611"/>
                    </a:lnTo>
                    <a:lnTo>
                      <a:pt x="481" y="611"/>
                    </a:lnTo>
                    <a:lnTo>
                      <a:pt x="481" y="611"/>
                    </a:lnTo>
                    <a:lnTo>
                      <a:pt x="481" y="611"/>
                    </a:lnTo>
                    <a:close/>
                    <a:moveTo>
                      <a:pt x="512" y="604"/>
                    </a:moveTo>
                    <a:lnTo>
                      <a:pt x="512" y="604"/>
                    </a:lnTo>
                    <a:lnTo>
                      <a:pt x="514" y="607"/>
                    </a:lnTo>
                    <a:lnTo>
                      <a:pt x="514" y="604"/>
                    </a:lnTo>
                    <a:lnTo>
                      <a:pt x="514" y="604"/>
                    </a:lnTo>
                    <a:lnTo>
                      <a:pt x="512" y="602"/>
                    </a:lnTo>
                    <a:lnTo>
                      <a:pt x="512" y="604"/>
                    </a:lnTo>
                    <a:lnTo>
                      <a:pt x="512" y="604"/>
                    </a:lnTo>
                    <a:lnTo>
                      <a:pt x="512" y="604"/>
                    </a:lnTo>
                    <a:lnTo>
                      <a:pt x="512" y="604"/>
                    </a:lnTo>
                    <a:close/>
                    <a:moveTo>
                      <a:pt x="533" y="538"/>
                    </a:moveTo>
                    <a:lnTo>
                      <a:pt x="533" y="541"/>
                    </a:lnTo>
                    <a:lnTo>
                      <a:pt x="533" y="541"/>
                    </a:lnTo>
                    <a:lnTo>
                      <a:pt x="533" y="545"/>
                    </a:lnTo>
                    <a:lnTo>
                      <a:pt x="537" y="548"/>
                    </a:lnTo>
                    <a:lnTo>
                      <a:pt x="537" y="552"/>
                    </a:lnTo>
                    <a:lnTo>
                      <a:pt x="542" y="553"/>
                    </a:lnTo>
                    <a:lnTo>
                      <a:pt x="546" y="557"/>
                    </a:lnTo>
                    <a:lnTo>
                      <a:pt x="549" y="560"/>
                    </a:lnTo>
                    <a:lnTo>
                      <a:pt x="551" y="562"/>
                    </a:lnTo>
                    <a:lnTo>
                      <a:pt x="552" y="562"/>
                    </a:lnTo>
                    <a:lnTo>
                      <a:pt x="554" y="564"/>
                    </a:lnTo>
                    <a:lnTo>
                      <a:pt x="558" y="565"/>
                    </a:lnTo>
                    <a:lnTo>
                      <a:pt x="558" y="564"/>
                    </a:lnTo>
                    <a:lnTo>
                      <a:pt x="558" y="562"/>
                    </a:lnTo>
                    <a:lnTo>
                      <a:pt x="559" y="560"/>
                    </a:lnTo>
                    <a:lnTo>
                      <a:pt x="558" y="557"/>
                    </a:lnTo>
                    <a:lnTo>
                      <a:pt x="554" y="557"/>
                    </a:lnTo>
                    <a:lnTo>
                      <a:pt x="552" y="557"/>
                    </a:lnTo>
                    <a:lnTo>
                      <a:pt x="551" y="553"/>
                    </a:lnTo>
                    <a:lnTo>
                      <a:pt x="552" y="552"/>
                    </a:lnTo>
                    <a:lnTo>
                      <a:pt x="552" y="552"/>
                    </a:lnTo>
                    <a:lnTo>
                      <a:pt x="554" y="552"/>
                    </a:lnTo>
                    <a:lnTo>
                      <a:pt x="558" y="553"/>
                    </a:lnTo>
                    <a:lnTo>
                      <a:pt x="561" y="553"/>
                    </a:lnTo>
                    <a:lnTo>
                      <a:pt x="563" y="557"/>
                    </a:lnTo>
                    <a:lnTo>
                      <a:pt x="563" y="553"/>
                    </a:lnTo>
                    <a:lnTo>
                      <a:pt x="561" y="552"/>
                    </a:lnTo>
                    <a:lnTo>
                      <a:pt x="552" y="548"/>
                    </a:lnTo>
                    <a:lnTo>
                      <a:pt x="551" y="543"/>
                    </a:lnTo>
                    <a:lnTo>
                      <a:pt x="549" y="541"/>
                    </a:lnTo>
                    <a:lnTo>
                      <a:pt x="546" y="541"/>
                    </a:lnTo>
                    <a:lnTo>
                      <a:pt x="542" y="538"/>
                    </a:lnTo>
                    <a:lnTo>
                      <a:pt x="540" y="538"/>
                    </a:lnTo>
                    <a:lnTo>
                      <a:pt x="539" y="538"/>
                    </a:lnTo>
                    <a:lnTo>
                      <a:pt x="535" y="538"/>
                    </a:lnTo>
                    <a:lnTo>
                      <a:pt x="533" y="538"/>
                    </a:lnTo>
                    <a:lnTo>
                      <a:pt x="533" y="538"/>
                    </a:lnTo>
                    <a:lnTo>
                      <a:pt x="533" y="538"/>
                    </a:lnTo>
                    <a:lnTo>
                      <a:pt x="533" y="538"/>
                    </a:lnTo>
                    <a:close/>
                    <a:moveTo>
                      <a:pt x="526" y="539"/>
                    </a:moveTo>
                    <a:lnTo>
                      <a:pt x="526" y="539"/>
                    </a:lnTo>
                    <a:lnTo>
                      <a:pt x="526" y="538"/>
                    </a:lnTo>
                    <a:lnTo>
                      <a:pt x="528" y="534"/>
                    </a:lnTo>
                    <a:lnTo>
                      <a:pt x="523" y="536"/>
                    </a:lnTo>
                    <a:lnTo>
                      <a:pt x="523" y="539"/>
                    </a:lnTo>
                    <a:lnTo>
                      <a:pt x="526" y="539"/>
                    </a:lnTo>
                    <a:lnTo>
                      <a:pt x="526" y="539"/>
                    </a:lnTo>
                    <a:lnTo>
                      <a:pt x="526" y="539"/>
                    </a:lnTo>
                    <a:lnTo>
                      <a:pt x="526" y="539"/>
                    </a:lnTo>
                    <a:close/>
                    <a:moveTo>
                      <a:pt x="533" y="534"/>
                    </a:moveTo>
                    <a:lnTo>
                      <a:pt x="535" y="536"/>
                    </a:lnTo>
                    <a:lnTo>
                      <a:pt x="540" y="536"/>
                    </a:lnTo>
                    <a:lnTo>
                      <a:pt x="544" y="538"/>
                    </a:lnTo>
                    <a:lnTo>
                      <a:pt x="549" y="538"/>
                    </a:lnTo>
                    <a:lnTo>
                      <a:pt x="551" y="541"/>
                    </a:lnTo>
                    <a:lnTo>
                      <a:pt x="554" y="539"/>
                    </a:lnTo>
                    <a:lnTo>
                      <a:pt x="556" y="541"/>
                    </a:lnTo>
                    <a:lnTo>
                      <a:pt x="556" y="543"/>
                    </a:lnTo>
                    <a:lnTo>
                      <a:pt x="558" y="545"/>
                    </a:lnTo>
                    <a:lnTo>
                      <a:pt x="561" y="545"/>
                    </a:lnTo>
                    <a:lnTo>
                      <a:pt x="563" y="545"/>
                    </a:lnTo>
                    <a:lnTo>
                      <a:pt x="565" y="545"/>
                    </a:lnTo>
                    <a:lnTo>
                      <a:pt x="565" y="543"/>
                    </a:lnTo>
                    <a:lnTo>
                      <a:pt x="565" y="541"/>
                    </a:lnTo>
                    <a:lnTo>
                      <a:pt x="565" y="538"/>
                    </a:lnTo>
                    <a:lnTo>
                      <a:pt x="566" y="538"/>
                    </a:lnTo>
                    <a:lnTo>
                      <a:pt x="563" y="534"/>
                    </a:lnTo>
                    <a:lnTo>
                      <a:pt x="559" y="534"/>
                    </a:lnTo>
                    <a:lnTo>
                      <a:pt x="554" y="531"/>
                    </a:lnTo>
                    <a:lnTo>
                      <a:pt x="551" y="531"/>
                    </a:lnTo>
                    <a:lnTo>
                      <a:pt x="546" y="532"/>
                    </a:lnTo>
                    <a:lnTo>
                      <a:pt x="542" y="531"/>
                    </a:lnTo>
                    <a:lnTo>
                      <a:pt x="537" y="532"/>
                    </a:lnTo>
                    <a:lnTo>
                      <a:pt x="533" y="532"/>
                    </a:lnTo>
                    <a:lnTo>
                      <a:pt x="533" y="532"/>
                    </a:lnTo>
                    <a:lnTo>
                      <a:pt x="533" y="534"/>
                    </a:lnTo>
                    <a:lnTo>
                      <a:pt x="533" y="534"/>
                    </a:lnTo>
                    <a:lnTo>
                      <a:pt x="533" y="534"/>
                    </a:lnTo>
                    <a:lnTo>
                      <a:pt x="533" y="534"/>
                    </a:lnTo>
                    <a:close/>
                    <a:moveTo>
                      <a:pt x="519" y="520"/>
                    </a:moveTo>
                    <a:lnTo>
                      <a:pt x="523" y="525"/>
                    </a:lnTo>
                    <a:lnTo>
                      <a:pt x="526" y="525"/>
                    </a:lnTo>
                    <a:lnTo>
                      <a:pt x="530" y="529"/>
                    </a:lnTo>
                    <a:lnTo>
                      <a:pt x="535" y="531"/>
                    </a:lnTo>
                    <a:lnTo>
                      <a:pt x="542" y="529"/>
                    </a:lnTo>
                    <a:lnTo>
                      <a:pt x="551" y="531"/>
                    </a:lnTo>
                    <a:lnTo>
                      <a:pt x="554" y="529"/>
                    </a:lnTo>
                    <a:lnTo>
                      <a:pt x="554" y="529"/>
                    </a:lnTo>
                    <a:lnTo>
                      <a:pt x="551" y="529"/>
                    </a:lnTo>
                    <a:lnTo>
                      <a:pt x="544" y="529"/>
                    </a:lnTo>
                    <a:lnTo>
                      <a:pt x="540" y="525"/>
                    </a:lnTo>
                    <a:lnTo>
                      <a:pt x="535" y="525"/>
                    </a:lnTo>
                    <a:lnTo>
                      <a:pt x="532" y="524"/>
                    </a:lnTo>
                    <a:lnTo>
                      <a:pt x="530" y="520"/>
                    </a:lnTo>
                    <a:lnTo>
                      <a:pt x="532" y="520"/>
                    </a:lnTo>
                    <a:lnTo>
                      <a:pt x="533" y="520"/>
                    </a:lnTo>
                    <a:lnTo>
                      <a:pt x="540" y="525"/>
                    </a:lnTo>
                    <a:lnTo>
                      <a:pt x="546" y="525"/>
                    </a:lnTo>
                    <a:lnTo>
                      <a:pt x="549" y="525"/>
                    </a:lnTo>
                    <a:lnTo>
                      <a:pt x="546" y="524"/>
                    </a:lnTo>
                    <a:lnTo>
                      <a:pt x="539" y="517"/>
                    </a:lnTo>
                    <a:lnTo>
                      <a:pt x="528" y="517"/>
                    </a:lnTo>
                    <a:lnTo>
                      <a:pt x="526" y="517"/>
                    </a:lnTo>
                    <a:lnTo>
                      <a:pt x="526" y="517"/>
                    </a:lnTo>
                    <a:lnTo>
                      <a:pt x="521" y="520"/>
                    </a:lnTo>
                    <a:lnTo>
                      <a:pt x="519" y="520"/>
                    </a:lnTo>
                    <a:lnTo>
                      <a:pt x="519" y="520"/>
                    </a:lnTo>
                    <a:lnTo>
                      <a:pt x="519" y="520"/>
                    </a:lnTo>
                    <a:lnTo>
                      <a:pt x="519" y="520"/>
                    </a:lnTo>
                    <a:close/>
                    <a:moveTo>
                      <a:pt x="572" y="531"/>
                    </a:moveTo>
                    <a:lnTo>
                      <a:pt x="572" y="531"/>
                    </a:lnTo>
                    <a:lnTo>
                      <a:pt x="573" y="531"/>
                    </a:lnTo>
                    <a:lnTo>
                      <a:pt x="573" y="529"/>
                    </a:lnTo>
                    <a:lnTo>
                      <a:pt x="572" y="529"/>
                    </a:lnTo>
                    <a:lnTo>
                      <a:pt x="572" y="531"/>
                    </a:lnTo>
                    <a:lnTo>
                      <a:pt x="572" y="531"/>
                    </a:lnTo>
                    <a:lnTo>
                      <a:pt x="572" y="531"/>
                    </a:lnTo>
                    <a:lnTo>
                      <a:pt x="572" y="531"/>
                    </a:lnTo>
                    <a:close/>
                    <a:moveTo>
                      <a:pt x="573" y="478"/>
                    </a:moveTo>
                    <a:lnTo>
                      <a:pt x="572" y="484"/>
                    </a:lnTo>
                    <a:lnTo>
                      <a:pt x="572" y="487"/>
                    </a:lnTo>
                    <a:lnTo>
                      <a:pt x="573" y="489"/>
                    </a:lnTo>
                    <a:lnTo>
                      <a:pt x="577" y="489"/>
                    </a:lnTo>
                    <a:lnTo>
                      <a:pt x="580" y="492"/>
                    </a:lnTo>
                    <a:lnTo>
                      <a:pt x="582" y="492"/>
                    </a:lnTo>
                    <a:lnTo>
                      <a:pt x="585" y="492"/>
                    </a:lnTo>
                    <a:lnTo>
                      <a:pt x="589" y="492"/>
                    </a:lnTo>
                    <a:lnTo>
                      <a:pt x="589" y="489"/>
                    </a:lnTo>
                    <a:lnTo>
                      <a:pt x="591" y="485"/>
                    </a:lnTo>
                    <a:lnTo>
                      <a:pt x="591" y="482"/>
                    </a:lnTo>
                    <a:lnTo>
                      <a:pt x="584" y="477"/>
                    </a:lnTo>
                    <a:lnTo>
                      <a:pt x="579" y="478"/>
                    </a:lnTo>
                    <a:lnTo>
                      <a:pt x="573" y="478"/>
                    </a:lnTo>
                    <a:lnTo>
                      <a:pt x="573" y="478"/>
                    </a:lnTo>
                    <a:lnTo>
                      <a:pt x="573" y="478"/>
                    </a:lnTo>
                    <a:lnTo>
                      <a:pt x="573" y="478"/>
                    </a:lnTo>
                    <a:close/>
                    <a:moveTo>
                      <a:pt x="606" y="477"/>
                    </a:moveTo>
                    <a:lnTo>
                      <a:pt x="608" y="477"/>
                    </a:lnTo>
                    <a:lnTo>
                      <a:pt x="610" y="473"/>
                    </a:lnTo>
                    <a:lnTo>
                      <a:pt x="610" y="472"/>
                    </a:lnTo>
                    <a:lnTo>
                      <a:pt x="608" y="472"/>
                    </a:lnTo>
                    <a:lnTo>
                      <a:pt x="606" y="473"/>
                    </a:lnTo>
                    <a:lnTo>
                      <a:pt x="606" y="477"/>
                    </a:lnTo>
                    <a:lnTo>
                      <a:pt x="606" y="477"/>
                    </a:lnTo>
                    <a:lnTo>
                      <a:pt x="606" y="477"/>
                    </a:lnTo>
                    <a:lnTo>
                      <a:pt x="606" y="477"/>
                    </a:lnTo>
                    <a:close/>
                    <a:moveTo>
                      <a:pt x="591" y="458"/>
                    </a:moveTo>
                    <a:lnTo>
                      <a:pt x="591" y="459"/>
                    </a:lnTo>
                    <a:lnTo>
                      <a:pt x="591" y="465"/>
                    </a:lnTo>
                    <a:lnTo>
                      <a:pt x="591" y="466"/>
                    </a:lnTo>
                    <a:lnTo>
                      <a:pt x="594" y="470"/>
                    </a:lnTo>
                    <a:lnTo>
                      <a:pt x="596" y="466"/>
                    </a:lnTo>
                    <a:lnTo>
                      <a:pt x="596" y="465"/>
                    </a:lnTo>
                    <a:lnTo>
                      <a:pt x="599" y="461"/>
                    </a:lnTo>
                    <a:lnTo>
                      <a:pt x="599" y="461"/>
                    </a:lnTo>
                    <a:lnTo>
                      <a:pt x="594" y="458"/>
                    </a:lnTo>
                    <a:lnTo>
                      <a:pt x="591" y="458"/>
                    </a:lnTo>
                    <a:lnTo>
                      <a:pt x="591" y="458"/>
                    </a:lnTo>
                    <a:lnTo>
                      <a:pt x="591" y="458"/>
                    </a:lnTo>
                    <a:lnTo>
                      <a:pt x="591" y="458"/>
                    </a:lnTo>
                    <a:close/>
                    <a:moveTo>
                      <a:pt x="613" y="444"/>
                    </a:moveTo>
                    <a:lnTo>
                      <a:pt x="613" y="451"/>
                    </a:lnTo>
                    <a:lnTo>
                      <a:pt x="612" y="456"/>
                    </a:lnTo>
                    <a:lnTo>
                      <a:pt x="613" y="458"/>
                    </a:lnTo>
                    <a:lnTo>
                      <a:pt x="617" y="461"/>
                    </a:lnTo>
                    <a:lnTo>
                      <a:pt x="618" y="459"/>
                    </a:lnTo>
                    <a:lnTo>
                      <a:pt x="622" y="459"/>
                    </a:lnTo>
                    <a:lnTo>
                      <a:pt x="624" y="459"/>
                    </a:lnTo>
                    <a:lnTo>
                      <a:pt x="624" y="461"/>
                    </a:lnTo>
                    <a:lnTo>
                      <a:pt x="627" y="461"/>
                    </a:lnTo>
                    <a:lnTo>
                      <a:pt x="629" y="459"/>
                    </a:lnTo>
                    <a:lnTo>
                      <a:pt x="631" y="458"/>
                    </a:lnTo>
                    <a:lnTo>
                      <a:pt x="631" y="452"/>
                    </a:lnTo>
                    <a:lnTo>
                      <a:pt x="627" y="451"/>
                    </a:lnTo>
                    <a:lnTo>
                      <a:pt x="627" y="454"/>
                    </a:lnTo>
                    <a:lnTo>
                      <a:pt x="627" y="456"/>
                    </a:lnTo>
                    <a:lnTo>
                      <a:pt x="625" y="454"/>
                    </a:lnTo>
                    <a:lnTo>
                      <a:pt x="622" y="451"/>
                    </a:lnTo>
                    <a:lnTo>
                      <a:pt x="622" y="449"/>
                    </a:lnTo>
                    <a:lnTo>
                      <a:pt x="622" y="445"/>
                    </a:lnTo>
                    <a:lnTo>
                      <a:pt x="622" y="444"/>
                    </a:lnTo>
                    <a:lnTo>
                      <a:pt x="624" y="444"/>
                    </a:lnTo>
                    <a:lnTo>
                      <a:pt x="624" y="442"/>
                    </a:lnTo>
                    <a:lnTo>
                      <a:pt x="622" y="442"/>
                    </a:lnTo>
                    <a:lnTo>
                      <a:pt x="618" y="444"/>
                    </a:lnTo>
                    <a:lnTo>
                      <a:pt x="617" y="442"/>
                    </a:lnTo>
                    <a:lnTo>
                      <a:pt x="617" y="444"/>
                    </a:lnTo>
                    <a:lnTo>
                      <a:pt x="613" y="444"/>
                    </a:lnTo>
                    <a:lnTo>
                      <a:pt x="613" y="444"/>
                    </a:lnTo>
                    <a:lnTo>
                      <a:pt x="613" y="444"/>
                    </a:lnTo>
                    <a:lnTo>
                      <a:pt x="613" y="444"/>
                    </a:lnTo>
                    <a:close/>
                    <a:moveTo>
                      <a:pt x="618" y="390"/>
                    </a:moveTo>
                    <a:lnTo>
                      <a:pt x="613" y="392"/>
                    </a:lnTo>
                    <a:lnTo>
                      <a:pt x="613" y="393"/>
                    </a:lnTo>
                    <a:lnTo>
                      <a:pt x="617" y="395"/>
                    </a:lnTo>
                    <a:lnTo>
                      <a:pt x="618" y="397"/>
                    </a:lnTo>
                    <a:lnTo>
                      <a:pt x="617" y="399"/>
                    </a:lnTo>
                    <a:lnTo>
                      <a:pt x="617" y="402"/>
                    </a:lnTo>
                    <a:lnTo>
                      <a:pt x="618" y="407"/>
                    </a:lnTo>
                    <a:lnTo>
                      <a:pt x="618" y="411"/>
                    </a:lnTo>
                    <a:lnTo>
                      <a:pt x="617" y="416"/>
                    </a:lnTo>
                    <a:lnTo>
                      <a:pt x="617" y="419"/>
                    </a:lnTo>
                    <a:lnTo>
                      <a:pt x="618" y="421"/>
                    </a:lnTo>
                    <a:lnTo>
                      <a:pt x="618" y="419"/>
                    </a:lnTo>
                    <a:lnTo>
                      <a:pt x="618" y="414"/>
                    </a:lnTo>
                    <a:lnTo>
                      <a:pt x="622" y="412"/>
                    </a:lnTo>
                    <a:lnTo>
                      <a:pt x="622" y="407"/>
                    </a:lnTo>
                    <a:lnTo>
                      <a:pt x="618" y="405"/>
                    </a:lnTo>
                    <a:lnTo>
                      <a:pt x="618" y="399"/>
                    </a:lnTo>
                    <a:lnTo>
                      <a:pt x="618" y="393"/>
                    </a:lnTo>
                    <a:lnTo>
                      <a:pt x="618" y="392"/>
                    </a:lnTo>
                    <a:lnTo>
                      <a:pt x="618" y="390"/>
                    </a:lnTo>
                    <a:lnTo>
                      <a:pt x="618" y="390"/>
                    </a:lnTo>
                    <a:lnTo>
                      <a:pt x="618" y="390"/>
                    </a:lnTo>
                    <a:lnTo>
                      <a:pt x="618" y="390"/>
                    </a:lnTo>
                    <a:close/>
                    <a:moveTo>
                      <a:pt x="591" y="399"/>
                    </a:moveTo>
                    <a:lnTo>
                      <a:pt x="591" y="400"/>
                    </a:lnTo>
                    <a:lnTo>
                      <a:pt x="591" y="402"/>
                    </a:lnTo>
                    <a:lnTo>
                      <a:pt x="594" y="402"/>
                    </a:lnTo>
                    <a:lnTo>
                      <a:pt x="596" y="400"/>
                    </a:lnTo>
                    <a:lnTo>
                      <a:pt x="594" y="397"/>
                    </a:lnTo>
                    <a:lnTo>
                      <a:pt x="594" y="397"/>
                    </a:lnTo>
                    <a:lnTo>
                      <a:pt x="591" y="399"/>
                    </a:lnTo>
                    <a:lnTo>
                      <a:pt x="591" y="399"/>
                    </a:lnTo>
                    <a:lnTo>
                      <a:pt x="591" y="399"/>
                    </a:lnTo>
                    <a:lnTo>
                      <a:pt x="591" y="399"/>
                    </a:lnTo>
                    <a:close/>
                    <a:moveTo>
                      <a:pt x="587" y="392"/>
                    </a:moveTo>
                    <a:lnTo>
                      <a:pt x="589" y="395"/>
                    </a:lnTo>
                    <a:lnTo>
                      <a:pt x="591" y="393"/>
                    </a:lnTo>
                    <a:lnTo>
                      <a:pt x="591" y="392"/>
                    </a:lnTo>
                    <a:lnTo>
                      <a:pt x="589" y="392"/>
                    </a:lnTo>
                    <a:lnTo>
                      <a:pt x="587" y="392"/>
                    </a:lnTo>
                    <a:lnTo>
                      <a:pt x="587" y="392"/>
                    </a:lnTo>
                    <a:lnTo>
                      <a:pt x="587" y="392"/>
                    </a:lnTo>
                    <a:lnTo>
                      <a:pt x="587" y="392"/>
                    </a:lnTo>
                    <a:close/>
                    <a:moveTo>
                      <a:pt x="610" y="336"/>
                    </a:moveTo>
                    <a:lnTo>
                      <a:pt x="612" y="339"/>
                    </a:lnTo>
                    <a:lnTo>
                      <a:pt x="613" y="341"/>
                    </a:lnTo>
                    <a:lnTo>
                      <a:pt x="617" y="341"/>
                    </a:lnTo>
                    <a:lnTo>
                      <a:pt x="617" y="339"/>
                    </a:lnTo>
                    <a:lnTo>
                      <a:pt x="613" y="338"/>
                    </a:lnTo>
                    <a:lnTo>
                      <a:pt x="612" y="334"/>
                    </a:lnTo>
                    <a:lnTo>
                      <a:pt x="610" y="334"/>
                    </a:lnTo>
                    <a:lnTo>
                      <a:pt x="610" y="336"/>
                    </a:lnTo>
                    <a:lnTo>
                      <a:pt x="610" y="336"/>
                    </a:lnTo>
                    <a:lnTo>
                      <a:pt x="610" y="336"/>
                    </a:lnTo>
                    <a:lnTo>
                      <a:pt x="610" y="336"/>
                    </a:lnTo>
                    <a:close/>
                    <a:moveTo>
                      <a:pt x="631" y="348"/>
                    </a:moveTo>
                    <a:lnTo>
                      <a:pt x="631" y="348"/>
                    </a:lnTo>
                    <a:lnTo>
                      <a:pt x="632" y="352"/>
                    </a:lnTo>
                    <a:lnTo>
                      <a:pt x="634" y="352"/>
                    </a:lnTo>
                    <a:lnTo>
                      <a:pt x="636" y="348"/>
                    </a:lnTo>
                    <a:lnTo>
                      <a:pt x="636" y="348"/>
                    </a:lnTo>
                    <a:lnTo>
                      <a:pt x="636" y="343"/>
                    </a:lnTo>
                    <a:lnTo>
                      <a:pt x="638" y="343"/>
                    </a:lnTo>
                    <a:lnTo>
                      <a:pt x="638" y="338"/>
                    </a:lnTo>
                    <a:lnTo>
                      <a:pt x="632" y="343"/>
                    </a:lnTo>
                    <a:lnTo>
                      <a:pt x="632" y="346"/>
                    </a:lnTo>
                    <a:lnTo>
                      <a:pt x="631" y="348"/>
                    </a:lnTo>
                    <a:lnTo>
                      <a:pt x="631" y="348"/>
                    </a:lnTo>
                    <a:lnTo>
                      <a:pt x="631" y="348"/>
                    </a:lnTo>
                    <a:lnTo>
                      <a:pt x="631" y="348"/>
                    </a:lnTo>
                    <a:close/>
                    <a:moveTo>
                      <a:pt x="622" y="329"/>
                    </a:moveTo>
                    <a:lnTo>
                      <a:pt x="622" y="329"/>
                    </a:lnTo>
                    <a:lnTo>
                      <a:pt x="624" y="329"/>
                    </a:lnTo>
                    <a:lnTo>
                      <a:pt x="624" y="325"/>
                    </a:lnTo>
                    <a:lnTo>
                      <a:pt x="624" y="324"/>
                    </a:lnTo>
                    <a:lnTo>
                      <a:pt x="622" y="324"/>
                    </a:lnTo>
                    <a:lnTo>
                      <a:pt x="622" y="329"/>
                    </a:lnTo>
                    <a:lnTo>
                      <a:pt x="622" y="329"/>
                    </a:lnTo>
                    <a:lnTo>
                      <a:pt x="622" y="329"/>
                    </a:lnTo>
                    <a:lnTo>
                      <a:pt x="622" y="329"/>
                    </a:lnTo>
                    <a:close/>
                    <a:moveTo>
                      <a:pt x="622" y="317"/>
                    </a:moveTo>
                    <a:lnTo>
                      <a:pt x="622" y="319"/>
                    </a:lnTo>
                    <a:lnTo>
                      <a:pt x="624" y="320"/>
                    </a:lnTo>
                    <a:lnTo>
                      <a:pt x="624" y="319"/>
                    </a:lnTo>
                    <a:lnTo>
                      <a:pt x="624" y="317"/>
                    </a:lnTo>
                    <a:lnTo>
                      <a:pt x="622" y="317"/>
                    </a:lnTo>
                    <a:lnTo>
                      <a:pt x="622" y="317"/>
                    </a:lnTo>
                    <a:lnTo>
                      <a:pt x="622" y="317"/>
                    </a:lnTo>
                    <a:lnTo>
                      <a:pt x="622" y="317"/>
                    </a:lnTo>
                    <a:close/>
                    <a:moveTo>
                      <a:pt x="639" y="280"/>
                    </a:moveTo>
                    <a:lnTo>
                      <a:pt x="641" y="284"/>
                    </a:lnTo>
                    <a:lnTo>
                      <a:pt x="641" y="285"/>
                    </a:lnTo>
                    <a:lnTo>
                      <a:pt x="645" y="282"/>
                    </a:lnTo>
                    <a:lnTo>
                      <a:pt x="645" y="279"/>
                    </a:lnTo>
                    <a:lnTo>
                      <a:pt x="645" y="275"/>
                    </a:lnTo>
                    <a:lnTo>
                      <a:pt x="645" y="273"/>
                    </a:lnTo>
                    <a:lnTo>
                      <a:pt x="645" y="270"/>
                    </a:lnTo>
                    <a:lnTo>
                      <a:pt x="641" y="273"/>
                    </a:lnTo>
                    <a:lnTo>
                      <a:pt x="641" y="275"/>
                    </a:lnTo>
                    <a:lnTo>
                      <a:pt x="639" y="280"/>
                    </a:lnTo>
                    <a:lnTo>
                      <a:pt x="639" y="280"/>
                    </a:lnTo>
                    <a:lnTo>
                      <a:pt x="639" y="280"/>
                    </a:lnTo>
                    <a:lnTo>
                      <a:pt x="639" y="280"/>
                    </a:lnTo>
                    <a:close/>
                    <a:moveTo>
                      <a:pt x="629" y="230"/>
                    </a:moveTo>
                    <a:lnTo>
                      <a:pt x="629" y="230"/>
                    </a:lnTo>
                    <a:lnTo>
                      <a:pt x="631" y="228"/>
                    </a:lnTo>
                    <a:lnTo>
                      <a:pt x="636" y="230"/>
                    </a:lnTo>
                    <a:lnTo>
                      <a:pt x="638" y="226"/>
                    </a:lnTo>
                    <a:lnTo>
                      <a:pt x="638" y="223"/>
                    </a:lnTo>
                    <a:lnTo>
                      <a:pt x="636" y="219"/>
                    </a:lnTo>
                    <a:lnTo>
                      <a:pt x="629" y="223"/>
                    </a:lnTo>
                    <a:lnTo>
                      <a:pt x="627" y="228"/>
                    </a:lnTo>
                    <a:lnTo>
                      <a:pt x="629" y="230"/>
                    </a:lnTo>
                    <a:lnTo>
                      <a:pt x="629" y="230"/>
                    </a:lnTo>
                    <a:lnTo>
                      <a:pt x="629" y="230"/>
                    </a:lnTo>
                    <a:lnTo>
                      <a:pt x="629" y="230"/>
                    </a:lnTo>
                    <a:close/>
                    <a:moveTo>
                      <a:pt x="664" y="136"/>
                    </a:moveTo>
                    <a:lnTo>
                      <a:pt x="664" y="134"/>
                    </a:lnTo>
                    <a:lnTo>
                      <a:pt x="664" y="131"/>
                    </a:lnTo>
                    <a:lnTo>
                      <a:pt x="664" y="124"/>
                    </a:lnTo>
                    <a:lnTo>
                      <a:pt x="664" y="124"/>
                    </a:lnTo>
                    <a:lnTo>
                      <a:pt x="664" y="119"/>
                    </a:lnTo>
                    <a:lnTo>
                      <a:pt x="662" y="122"/>
                    </a:lnTo>
                    <a:lnTo>
                      <a:pt x="662" y="124"/>
                    </a:lnTo>
                    <a:lnTo>
                      <a:pt x="664" y="124"/>
                    </a:lnTo>
                    <a:lnTo>
                      <a:pt x="664" y="127"/>
                    </a:lnTo>
                    <a:lnTo>
                      <a:pt x="662" y="131"/>
                    </a:lnTo>
                    <a:lnTo>
                      <a:pt x="664" y="136"/>
                    </a:lnTo>
                    <a:lnTo>
                      <a:pt x="664" y="136"/>
                    </a:lnTo>
                    <a:lnTo>
                      <a:pt x="664" y="136"/>
                    </a:lnTo>
                    <a:lnTo>
                      <a:pt x="664" y="136"/>
                    </a:lnTo>
                    <a:close/>
                    <a:moveTo>
                      <a:pt x="653" y="146"/>
                    </a:moveTo>
                    <a:lnTo>
                      <a:pt x="653" y="146"/>
                    </a:lnTo>
                    <a:lnTo>
                      <a:pt x="655" y="146"/>
                    </a:lnTo>
                    <a:lnTo>
                      <a:pt x="655" y="145"/>
                    </a:lnTo>
                    <a:lnTo>
                      <a:pt x="655" y="139"/>
                    </a:lnTo>
                    <a:lnTo>
                      <a:pt x="653" y="138"/>
                    </a:lnTo>
                    <a:lnTo>
                      <a:pt x="651" y="139"/>
                    </a:lnTo>
                    <a:lnTo>
                      <a:pt x="651" y="143"/>
                    </a:lnTo>
                    <a:lnTo>
                      <a:pt x="653" y="146"/>
                    </a:lnTo>
                    <a:lnTo>
                      <a:pt x="653" y="146"/>
                    </a:lnTo>
                    <a:lnTo>
                      <a:pt x="653" y="146"/>
                    </a:lnTo>
                    <a:lnTo>
                      <a:pt x="653" y="146"/>
                    </a:lnTo>
                    <a:close/>
                    <a:moveTo>
                      <a:pt x="646" y="136"/>
                    </a:moveTo>
                    <a:lnTo>
                      <a:pt x="648" y="138"/>
                    </a:lnTo>
                    <a:lnTo>
                      <a:pt x="650" y="136"/>
                    </a:lnTo>
                    <a:lnTo>
                      <a:pt x="651" y="131"/>
                    </a:lnTo>
                    <a:lnTo>
                      <a:pt x="651" y="129"/>
                    </a:lnTo>
                    <a:lnTo>
                      <a:pt x="651" y="127"/>
                    </a:lnTo>
                    <a:lnTo>
                      <a:pt x="650" y="127"/>
                    </a:lnTo>
                    <a:lnTo>
                      <a:pt x="648" y="127"/>
                    </a:lnTo>
                    <a:lnTo>
                      <a:pt x="646" y="129"/>
                    </a:lnTo>
                    <a:lnTo>
                      <a:pt x="646" y="132"/>
                    </a:lnTo>
                    <a:lnTo>
                      <a:pt x="646" y="136"/>
                    </a:lnTo>
                    <a:lnTo>
                      <a:pt x="646" y="136"/>
                    </a:lnTo>
                    <a:lnTo>
                      <a:pt x="646" y="136"/>
                    </a:lnTo>
                    <a:lnTo>
                      <a:pt x="646" y="136"/>
                    </a:lnTo>
                    <a:close/>
                    <a:moveTo>
                      <a:pt x="469" y="9"/>
                    </a:moveTo>
                    <a:lnTo>
                      <a:pt x="469" y="9"/>
                    </a:lnTo>
                    <a:lnTo>
                      <a:pt x="469" y="9"/>
                    </a:lnTo>
                    <a:lnTo>
                      <a:pt x="473" y="7"/>
                    </a:lnTo>
                    <a:lnTo>
                      <a:pt x="469" y="6"/>
                    </a:lnTo>
                    <a:lnTo>
                      <a:pt x="469" y="6"/>
                    </a:lnTo>
                    <a:lnTo>
                      <a:pt x="467" y="7"/>
                    </a:lnTo>
                    <a:lnTo>
                      <a:pt x="469" y="9"/>
                    </a:lnTo>
                    <a:lnTo>
                      <a:pt x="469" y="9"/>
                    </a:lnTo>
                    <a:lnTo>
                      <a:pt x="469" y="9"/>
                    </a:lnTo>
                    <a:lnTo>
                      <a:pt x="469" y="9"/>
                    </a:lnTo>
                    <a:close/>
                    <a:moveTo>
                      <a:pt x="469" y="16"/>
                    </a:moveTo>
                    <a:lnTo>
                      <a:pt x="469" y="18"/>
                    </a:lnTo>
                    <a:lnTo>
                      <a:pt x="473" y="18"/>
                    </a:lnTo>
                    <a:lnTo>
                      <a:pt x="473" y="14"/>
                    </a:lnTo>
                    <a:lnTo>
                      <a:pt x="473" y="12"/>
                    </a:lnTo>
                    <a:lnTo>
                      <a:pt x="473" y="12"/>
                    </a:lnTo>
                    <a:lnTo>
                      <a:pt x="469" y="14"/>
                    </a:lnTo>
                    <a:lnTo>
                      <a:pt x="469" y="16"/>
                    </a:lnTo>
                    <a:lnTo>
                      <a:pt x="469" y="16"/>
                    </a:lnTo>
                    <a:lnTo>
                      <a:pt x="469" y="16"/>
                    </a:lnTo>
                    <a:lnTo>
                      <a:pt x="469" y="16"/>
                    </a:lnTo>
                    <a:close/>
                    <a:moveTo>
                      <a:pt x="455" y="16"/>
                    </a:moveTo>
                    <a:lnTo>
                      <a:pt x="459" y="19"/>
                    </a:lnTo>
                    <a:lnTo>
                      <a:pt x="459" y="23"/>
                    </a:lnTo>
                    <a:lnTo>
                      <a:pt x="460" y="23"/>
                    </a:lnTo>
                    <a:lnTo>
                      <a:pt x="462" y="19"/>
                    </a:lnTo>
                    <a:lnTo>
                      <a:pt x="464" y="19"/>
                    </a:lnTo>
                    <a:lnTo>
                      <a:pt x="459" y="14"/>
                    </a:lnTo>
                    <a:lnTo>
                      <a:pt x="459" y="12"/>
                    </a:lnTo>
                    <a:lnTo>
                      <a:pt x="459" y="9"/>
                    </a:lnTo>
                    <a:lnTo>
                      <a:pt x="455" y="12"/>
                    </a:lnTo>
                    <a:lnTo>
                      <a:pt x="455" y="14"/>
                    </a:lnTo>
                    <a:lnTo>
                      <a:pt x="453" y="14"/>
                    </a:lnTo>
                    <a:lnTo>
                      <a:pt x="455" y="16"/>
                    </a:lnTo>
                    <a:lnTo>
                      <a:pt x="455" y="16"/>
                    </a:lnTo>
                    <a:lnTo>
                      <a:pt x="455" y="16"/>
                    </a:lnTo>
                    <a:lnTo>
                      <a:pt x="455" y="16"/>
                    </a:lnTo>
                    <a:close/>
                    <a:moveTo>
                      <a:pt x="446" y="19"/>
                    </a:moveTo>
                    <a:lnTo>
                      <a:pt x="446" y="23"/>
                    </a:lnTo>
                    <a:lnTo>
                      <a:pt x="446" y="23"/>
                    </a:lnTo>
                    <a:lnTo>
                      <a:pt x="450" y="23"/>
                    </a:lnTo>
                    <a:lnTo>
                      <a:pt x="450" y="21"/>
                    </a:lnTo>
                    <a:lnTo>
                      <a:pt x="446" y="19"/>
                    </a:lnTo>
                    <a:lnTo>
                      <a:pt x="446" y="19"/>
                    </a:lnTo>
                    <a:lnTo>
                      <a:pt x="446" y="19"/>
                    </a:lnTo>
                    <a:lnTo>
                      <a:pt x="446" y="19"/>
                    </a:lnTo>
                    <a:lnTo>
                      <a:pt x="446" y="19"/>
                    </a:lnTo>
                    <a:close/>
                    <a:moveTo>
                      <a:pt x="396" y="35"/>
                    </a:moveTo>
                    <a:lnTo>
                      <a:pt x="398" y="37"/>
                    </a:lnTo>
                    <a:lnTo>
                      <a:pt x="400" y="37"/>
                    </a:lnTo>
                    <a:lnTo>
                      <a:pt x="405" y="42"/>
                    </a:lnTo>
                    <a:lnTo>
                      <a:pt x="405" y="42"/>
                    </a:lnTo>
                    <a:lnTo>
                      <a:pt x="406" y="40"/>
                    </a:lnTo>
                    <a:lnTo>
                      <a:pt x="406" y="37"/>
                    </a:lnTo>
                    <a:lnTo>
                      <a:pt x="408" y="35"/>
                    </a:lnTo>
                    <a:lnTo>
                      <a:pt x="408" y="32"/>
                    </a:lnTo>
                    <a:lnTo>
                      <a:pt x="405" y="32"/>
                    </a:lnTo>
                    <a:lnTo>
                      <a:pt x="405" y="28"/>
                    </a:lnTo>
                    <a:lnTo>
                      <a:pt x="401" y="28"/>
                    </a:lnTo>
                    <a:lnTo>
                      <a:pt x="400" y="30"/>
                    </a:lnTo>
                    <a:lnTo>
                      <a:pt x="401" y="32"/>
                    </a:lnTo>
                    <a:lnTo>
                      <a:pt x="401" y="35"/>
                    </a:lnTo>
                    <a:lnTo>
                      <a:pt x="400" y="37"/>
                    </a:lnTo>
                    <a:lnTo>
                      <a:pt x="398" y="32"/>
                    </a:lnTo>
                    <a:lnTo>
                      <a:pt x="396" y="35"/>
                    </a:lnTo>
                    <a:lnTo>
                      <a:pt x="396" y="35"/>
                    </a:lnTo>
                    <a:lnTo>
                      <a:pt x="396" y="35"/>
                    </a:lnTo>
                    <a:lnTo>
                      <a:pt x="396" y="35"/>
                    </a:lnTo>
                    <a:close/>
                    <a:moveTo>
                      <a:pt x="393" y="37"/>
                    </a:moveTo>
                    <a:lnTo>
                      <a:pt x="394" y="40"/>
                    </a:lnTo>
                    <a:lnTo>
                      <a:pt x="396" y="42"/>
                    </a:lnTo>
                    <a:lnTo>
                      <a:pt x="396" y="37"/>
                    </a:lnTo>
                    <a:lnTo>
                      <a:pt x="394" y="37"/>
                    </a:lnTo>
                    <a:lnTo>
                      <a:pt x="393" y="37"/>
                    </a:lnTo>
                    <a:lnTo>
                      <a:pt x="393" y="37"/>
                    </a:lnTo>
                    <a:lnTo>
                      <a:pt x="393" y="37"/>
                    </a:lnTo>
                    <a:lnTo>
                      <a:pt x="393" y="37"/>
                    </a:lnTo>
                    <a:close/>
                    <a:moveTo>
                      <a:pt x="377" y="37"/>
                    </a:moveTo>
                    <a:lnTo>
                      <a:pt x="377" y="37"/>
                    </a:lnTo>
                    <a:lnTo>
                      <a:pt x="382" y="40"/>
                    </a:lnTo>
                    <a:lnTo>
                      <a:pt x="382" y="40"/>
                    </a:lnTo>
                    <a:lnTo>
                      <a:pt x="384" y="40"/>
                    </a:lnTo>
                    <a:lnTo>
                      <a:pt x="384" y="37"/>
                    </a:lnTo>
                    <a:lnTo>
                      <a:pt x="382" y="37"/>
                    </a:lnTo>
                    <a:lnTo>
                      <a:pt x="382" y="37"/>
                    </a:lnTo>
                    <a:lnTo>
                      <a:pt x="382" y="32"/>
                    </a:lnTo>
                    <a:lnTo>
                      <a:pt x="379" y="32"/>
                    </a:lnTo>
                    <a:lnTo>
                      <a:pt x="377" y="35"/>
                    </a:lnTo>
                    <a:lnTo>
                      <a:pt x="377" y="37"/>
                    </a:lnTo>
                    <a:lnTo>
                      <a:pt x="377" y="37"/>
                    </a:lnTo>
                    <a:lnTo>
                      <a:pt x="377" y="37"/>
                    </a:lnTo>
                    <a:lnTo>
                      <a:pt x="377" y="37"/>
                    </a:lnTo>
                    <a:close/>
                    <a:moveTo>
                      <a:pt x="367" y="68"/>
                    </a:moveTo>
                    <a:lnTo>
                      <a:pt x="367" y="68"/>
                    </a:lnTo>
                    <a:lnTo>
                      <a:pt x="370" y="68"/>
                    </a:lnTo>
                    <a:lnTo>
                      <a:pt x="370" y="65"/>
                    </a:lnTo>
                    <a:lnTo>
                      <a:pt x="368" y="63"/>
                    </a:lnTo>
                    <a:lnTo>
                      <a:pt x="367" y="59"/>
                    </a:lnTo>
                    <a:lnTo>
                      <a:pt x="365" y="56"/>
                    </a:lnTo>
                    <a:lnTo>
                      <a:pt x="363" y="56"/>
                    </a:lnTo>
                    <a:lnTo>
                      <a:pt x="363" y="59"/>
                    </a:lnTo>
                    <a:lnTo>
                      <a:pt x="365" y="63"/>
                    </a:lnTo>
                    <a:lnTo>
                      <a:pt x="365" y="65"/>
                    </a:lnTo>
                    <a:lnTo>
                      <a:pt x="367" y="68"/>
                    </a:lnTo>
                    <a:lnTo>
                      <a:pt x="367" y="68"/>
                    </a:lnTo>
                    <a:lnTo>
                      <a:pt x="367" y="68"/>
                    </a:lnTo>
                    <a:lnTo>
                      <a:pt x="367" y="68"/>
                    </a:lnTo>
                    <a:close/>
                    <a:moveTo>
                      <a:pt x="370" y="99"/>
                    </a:moveTo>
                    <a:lnTo>
                      <a:pt x="375" y="99"/>
                    </a:lnTo>
                    <a:lnTo>
                      <a:pt x="377" y="99"/>
                    </a:lnTo>
                    <a:lnTo>
                      <a:pt x="377" y="96"/>
                    </a:lnTo>
                    <a:lnTo>
                      <a:pt x="373" y="94"/>
                    </a:lnTo>
                    <a:lnTo>
                      <a:pt x="373" y="91"/>
                    </a:lnTo>
                    <a:lnTo>
                      <a:pt x="372" y="91"/>
                    </a:lnTo>
                    <a:lnTo>
                      <a:pt x="368" y="91"/>
                    </a:lnTo>
                    <a:lnTo>
                      <a:pt x="367" y="96"/>
                    </a:lnTo>
                    <a:lnTo>
                      <a:pt x="367" y="96"/>
                    </a:lnTo>
                    <a:lnTo>
                      <a:pt x="370" y="99"/>
                    </a:lnTo>
                    <a:lnTo>
                      <a:pt x="370" y="99"/>
                    </a:lnTo>
                    <a:lnTo>
                      <a:pt x="370" y="99"/>
                    </a:lnTo>
                    <a:lnTo>
                      <a:pt x="370" y="99"/>
                    </a:lnTo>
                    <a:lnTo>
                      <a:pt x="370" y="99"/>
                    </a:lnTo>
                    <a:close/>
                    <a:moveTo>
                      <a:pt x="370" y="105"/>
                    </a:moveTo>
                    <a:lnTo>
                      <a:pt x="370" y="108"/>
                    </a:lnTo>
                    <a:lnTo>
                      <a:pt x="372" y="110"/>
                    </a:lnTo>
                    <a:lnTo>
                      <a:pt x="370" y="113"/>
                    </a:lnTo>
                    <a:lnTo>
                      <a:pt x="375" y="117"/>
                    </a:lnTo>
                    <a:lnTo>
                      <a:pt x="379" y="115"/>
                    </a:lnTo>
                    <a:lnTo>
                      <a:pt x="377" y="106"/>
                    </a:lnTo>
                    <a:lnTo>
                      <a:pt x="375" y="105"/>
                    </a:lnTo>
                    <a:lnTo>
                      <a:pt x="373" y="103"/>
                    </a:lnTo>
                    <a:lnTo>
                      <a:pt x="370" y="105"/>
                    </a:lnTo>
                    <a:lnTo>
                      <a:pt x="370" y="105"/>
                    </a:lnTo>
                    <a:lnTo>
                      <a:pt x="370" y="105"/>
                    </a:lnTo>
                    <a:lnTo>
                      <a:pt x="370" y="105"/>
                    </a:lnTo>
                    <a:close/>
                    <a:moveTo>
                      <a:pt x="323" y="72"/>
                    </a:moveTo>
                    <a:lnTo>
                      <a:pt x="325" y="72"/>
                    </a:lnTo>
                    <a:lnTo>
                      <a:pt x="323" y="68"/>
                    </a:lnTo>
                    <a:lnTo>
                      <a:pt x="323" y="68"/>
                    </a:lnTo>
                    <a:lnTo>
                      <a:pt x="323" y="65"/>
                    </a:lnTo>
                    <a:lnTo>
                      <a:pt x="321" y="65"/>
                    </a:lnTo>
                    <a:lnTo>
                      <a:pt x="321" y="68"/>
                    </a:lnTo>
                    <a:lnTo>
                      <a:pt x="323" y="72"/>
                    </a:lnTo>
                    <a:lnTo>
                      <a:pt x="323" y="72"/>
                    </a:lnTo>
                    <a:lnTo>
                      <a:pt x="323" y="72"/>
                    </a:lnTo>
                    <a:lnTo>
                      <a:pt x="323" y="72"/>
                    </a:lnTo>
                    <a:close/>
                    <a:moveTo>
                      <a:pt x="316" y="94"/>
                    </a:moveTo>
                    <a:lnTo>
                      <a:pt x="318" y="96"/>
                    </a:lnTo>
                    <a:lnTo>
                      <a:pt x="320" y="91"/>
                    </a:lnTo>
                    <a:lnTo>
                      <a:pt x="318" y="87"/>
                    </a:lnTo>
                    <a:lnTo>
                      <a:pt x="314" y="82"/>
                    </a:lnTo>
                    <a:lnTo>
                      <a:pt x="314" y="77"/>
                    </a:lnTo>
                    <a:lnTo>
                      <a:pt x="316" y="72"/>
                    </a:lnTo>
                    <a:lnTo>
                      <a:pt x="316" y="68"/>
                    </a:lnTo>
                    <a:lnTo>
                      <a:pt x="314" y="65"/>
                    </a:lnTo>
                    <a:lnTo>
                      <a:pt x="314" y="58"/>
                    </a:lnTo>
                    <a:lnTo>
                      <a:pt x="314" y="56"/>
                    </a:lnTo>
                    <a:lnTo>
                      <a:pt x="309" y="59"/>
                    </a:lnTo>
                    <a:lnTo>
                      <a:pt x="309" y="68"/>
                    </a:lnTo>
                    <a:lnTo>
                      <a:pt x="309" y="72"/>
                    </a:lnTo>
                    <a:lnTo>
                      <a:pt x="309" y="75"/>
                    </a:lnTo>
                    <a:lnTo>
                      <a:pt x="314" y="82"/>
                    </a:lnTo>
                    <a:lnTo>
                      <a:pt x="314" y="87"/>
                    </a:lnTo>
                    <a:lnTo>
                      <a:pt x="316" y="94"/>
                    </a:lnTo>
                    <a:lnTo>
                      <a:pt x="316" y="94"/>
                    </a:lnTo>
                    <a:lnTo>
                      <a:pt x="316" y="94"/>
                    </a:lnTo>
                    <a:lnTo>
                      <a:pt x="316" y="94"/>
                    </a:lnTo>
                    <a:close/>
                    <a:moveTo>
                      <a:pt x="134" y="122"/>
                    </a:moveTo>
                    <a:lnTo>
                      <a:pt x="135" y="124"/>
                    </a:lnTo>
                    <a:lnTo>
                      <a:pt x="135" y="124"/>
                    </a:lnTo>
                    <a:lnTo>
                      <a:pt x="139" y="127"/>
                    </a:lnTo>
                    <a:lnTo>
                      <a:pt x="139" y="124"/>
                    </a:lnTo>
                    <a:lnTo>
                      <a:pt x="137" y="122"/>
                    </a:lnTo>
                    <a:lnTo>
                      <a:pt x="134" y="122"/>
                    </a:lnTo>
                    <a:lnTo>
                      <a:pt x="134" y="122"/>
                    </a:lnTo>
                    <a:lnTo>
                      <a:pt x="134" y="122"/>
                    </a:lnTo>
                    <a:lnTo>
                      <a:pt x="134" y="122"/>
                    </a:lnTo>
                    <a:close/>
                    <a:moveTo>
                      <a:pt x="17" y="270"/>
                    </a:moveTo>
                    <a:lnTo>
                      <a:pt x="21" y="273"/>
                    </a:lnTo>
                    <a:lnTo>
                      <a:pt x="24" y="273"/>
                    </a:lnTo>
                    <a:lnTo>
                      <a:pt x="26" y="275"/>
                    </a:lnTo>
                    <a:lnTo>
                      <a:pt x="29" y="275"/>
                    </a:lnTo>
                    <a:lnTo>
                      <a:pt x="28" y="273"/>
                    </a:lnTo>
                    <a:lnTo>
                      <a:pt x="26" y="273"/>
                    </a:lnTo>
                    <a:lnTo>
                      <a:pt x="22" y="268"/>
                    </a:lnTo>
                    <a:lnTo>
                      <a:pt x="21" y="268"/>
                    </a:lnTo>
                    <a:lnTo>
                      <a:pt x="17" y="268"/>
                    </a:lnTo>
                    <a:lnTo>
                      <a:pt x="17" y="270"/>
                    </a:lnTo>
                    <a:lnTo>
                      <a:pt x="17" y="270"/>
                    </a:lnTo>
                    <a:lnTo>
                      <a:pt x="17" y="270"/>
                    </a:lnTo>
                    <a:lnTo>
                      <a:pt x="17" y="270"/>
                    </a:lnTo>
                    <a:close/>
                    <a:moveTo>
                      <a:pt x="0" y="270"/>
                    </a:moveTo>
                    <a:lnTo>
                      <a:pt x="3" y="275"/>
                    </a:lnTo>
                    <a:lnTo>
                      <a:pt x="9" y="275"/>
                    </a:lnTo>
                    <a:lnTo>
                      <a:pt x="12" y="277"/>
                    </a:lnTo>
                    <a:lnTo>
                      <a:pt x="16" y="273"/>
                    </a:lnTo>
                    <a:lnTo>
                      <a:pt x="12" y="270"/>
                    </a:lnTo>
                    <a:lnTo>
                      <a:pt x="7" y="268"/>
                    </a:lnTo>
                    <a:lnTo>
                      <a:pt x="2" y="268"/>
                    </a:lnTo>
                    <a:lnTo>
                      <a:pt x="0" y="270"/>
                    </a:lnTo>
                    <a:lnTo>
                      <a:pt x="0" y="270"/>
                    </a:lnTo>
                    <a:lnTo>
                      <a:pt x="0" y="270"/>
                    </a:lnTo>
                    <a:lnTo>
                      <a:pt x="0" y="270"/>
                    </a:lnTo>
                    <a:close/>
                    <a:moveTo>
                      <a:pt x="130" y="412"/>
                    </a:moveTo>
                    <a:lnTo>
                      <a:pt x="130" y="414"/>
                    </a:lnTo>
                    <a:lnTo>
                      <a:pt x="130" y="416"/>
                    </a:lnTo>
                    <a:lnTo>
                      <a:pt x="134" y="414"/>
                    </a:lnTo>
                    <a:lnTo>
                      <a:pt x="130" y="412"/>
                    </a:lnTo>
                    <a:lnTo>
                      <a:pt x="130" y="412"/>
                    </a:lnTo>
                    <a:lnTo>
                      <a:pt x="130" y="412"/>
                    </a:lnTo>
                    <a:lnTo>
                      <a:pt x="130" y="412"/>
                    </a:lnTo>
                    <a:lnTo>
                      <a:pt x="130" y="412"/>
                    </a:lnTo>
                    <a:close/>
                    <a:moveTo>
                      <a:pt x="130" y="428"/>
                    </a:moveTo>
                    <a:lnTo>
                      <a:pt x="134" y="430"/>
                    </a:lnTo>
                    <a:lnTo>
                      <a:pt x="135" y="430"/>
                    </a:lnTo>
                    <a:lnTo>
                      <a:pt x="142" y="430"/>
                    </a:lnTo>
                    <a:lnTo>
                      <a:pt x="142" y="430"/>
                    </a:lnTo>
                    <a:lnTo>
                      <a:pt x="144" y="430"/>
                    </a:lnTo>
                    <a:lnTo>
                      <a:pt x="144" y="430"/>
                    </a:lnTo>
                    <a:lnTo>
                      <a:pt x="142" y="428"/>
                    </a:lnTo>
                    <a:lnTo>
                      <a:pt x="139" y="426"/>
                    </a:lnTo>
                    <a:lnTo>
                      <a:pt x="137" y="428"/>
                    </a:lnTo>
                    <a:lnTo>
                      <a:pt x="135" y="425"/>
                    </a:lnTo>
                    <a:lnTo>
                      <a:pt x="130" y="425"/>
                    </a:lnTo>
                    <a:lnTo>
                      <a:pt x="130" y="426"/>
                    </a:lnTo>
                    <a:lnTo>
                      <a:pt x="130" y="428"/>
                    </a:lnTo>
                    <a:lnTo>
                      <a:pt x="130" y="428"/>
                    </a:lnTo>
                    <a:lnTo>
                      <a:pt x="130" y="428"/>
                    </a:lnTo>
                    <a:lnTo>
                      <a:pt x="130" y="428"/>
                    </a:lnTo>
                    <a:close/>
                    <a:moveTo>
                      <a:pt x="135" y="433"/>
                    </a:moveTo>
                    <a:lnTo>
                      <a:pt x="137" y="433"/>
                    </a:lnTo>
                    <a:lnTo>
                      <a:pt x="139" y="433"/>
                    </a:lnTo>
                    <a:lnTo>
                      <a:pt x="137" y="433"/>
                    </a:lnTo>
                    <a:lnTo>
                      <a:pt x="135" y="433"/>
                    </a:lnTo>
                    <a:lnTo>
                      <a:pt x="135" y="433"/>
                    </a:lnTo>
                    <a:lnTo>
                      <a:pt x="135" y="433"/>
                    </a:lnTo>
                    <a:lnTo>
                      <a:pt x="135" y="433"/>
                    </a:lnTo>
                    <a:close/>
                    <a:moveTo>
                      <a:pt x="137" y="456"/>
                    </a:moveTo>
                    <a:lnTo>
                      <a:pt x="139" y="458"/>
                    </a:lnTo>
                    <a:lnTo>
                      <a:pt x="139" y="458"/>
                    </a:lnTo>
                    <a:lnTo>
                      <a:pt x="142" y="459"/>
                    </a:lnTo>
                    <a:lnTo>
                      <a:pt x="142" y="458"/>
                    </a:lnTo>
                    <a:lnTo>
                      <a:pt x="142" y="456"/>
                    </a:lnTo>
                    <a:lnTo>
                      <a:pt x="139" y="454"/>
                    </a:lnTo>
                    <a:lnTo>
                      <a:pt x="137" y="454"/>
                    </a:lnTo>
                    <a:lnTo>
                      <a:pt x="137" y="456"/>
                    </a:lnTo>
                    <a:lnTo>
                      <a:pt x="137" y="456"/>
                    </a:lnTo>
                    <a:lnTo>
                      <a:pt x="137" y="456"/>
                    </a:lnTo>
                    <a:lnTo>
                      <a:pt x="137" y="456"/>
                    </a:lnTo>
                    <a:close/>
                    <a:moveTo>
                      <a:pt x="134" y="465"/>
                    </a:moveTo>
                    <a:lnTo>
                      <a:pt x="134" y="466"/>
                    </a:lnTo>
                    <a:lnTo>
                      <a:pt x="137" y="466"/>
                    </a:lnTo>
                    <a:lnTo>
                      <a:pt x="139" y="465"/>
                    </a:lnTo>
                    <a:lnTo>
                      <a:pt x="135" y="461"/>
                    </a:lnTo>
                    <a:lnTo>
                      <a:pt x="134" y="461"/>
                    </a:lnTo>
                    <a:lnTo>
                      <a:pt x="134" y="465"/>
                    </a:lnTo>
                    <a:lnTo>
                      <a:pt x="134" y="465"/>
                    </a:lnTo>
                    <a:lnTo>
                      <a:pt x="134" y="465"/>
                    </a:lnTo>
                    <a:lnTo>
                      <a:pt x="134" y="465"/>
                    </a:lnTo>
                    <a:close/>
                    <a:moveTo>
                      <a:pt x="139" y="477"/>
                    </a:moveTo>
                    <a:lnTo>
                      <a:pt x="139" y="477"/>
                    </a:lnTo>
                    <a:lnTo>
                      <a:pt x="139" y="475"/>
                    </a:lnTo>
                    <a:lnTo>
                      <a:pt x="139" y="473"/>
                    </a:lnTo>
                    <a:lnTo>
                      <a:pt x="139" y="472"/>
                    </a:lnTo>
                    <a:lnTo>
                      <a:pt x="139" y="473"/>
                    </a:lnTo>
                    <a:lnTo>
                      <a:pt x="139" y="477"/>
                    </a:lnTo>
                    <a:lnTo>
                      <a:pt x="139" y="477"/>
                    </a:lnTo>
                    <a:lnTo>
                      <a:pt x="139" y="477"/>
                    </a:lnTo>
                    <a:lnTo>
                      <a:pt x="139" y="477"/>
                    </a:lnTo>
                    <a:close/>
                    <a:moveTo>
                      <a:pt x="142" y="480"/>
                    </a:moveTo>
                    <a:lnTo>
                      <a:pt x="142" y="482"/>
                    </a:lnTo>
                    <a:lnTo>
                      <a:pt x="142" y="482"/>
                    </a:lnTo>
                    <a:lnTo>
                      <a:pt x="142" y="480"/>
                    </a:lnTo>
                    <a:lnTo>
                      <a:pt x="142" y="480"/>
                    </a:lnTo>
                    <a:lnTo>
                      <a:pt x="142" y="480"/>
                    </a:lnTo>
                    <a:lnTo>
                      <a:pt x="142" y="480"/>
                    </a:lnTo>
                    <a:lnTo>
                      <a:pt x="142" y="480"/>
                    </a:lnTo>
                    <a:close/>
                    <a:moveTo>
                      <a:pt x="130" y="484"/>
                    </a:moveTo>
                    <a:lnTo>
                      <a:pt x="134" y="482"/>
                    </a:lnTo>
                    <a:lnTo>
                      <a:pt x="134" y="480"/>
                    </a:lnTo>
                    <a:lnTo>
                      <a:pt x="130" y="482"/>
                    </a:lnTo>
                    <a:lnTo>
                      <a:pt x="130" y="484"/>
                    </a:lnTo>
                    <a:lnTo>
                      <a:pt x="130" y="484"/>
                    </a:lnTo>
                    <a:lnTo>
                      <a:pt x="130" y="484"/>
                    </a:lnTo>
                    <a:lnTo>
                      <a:pt x="130" y="484"/>
                    </a:lnTo>
                    <a:close/>
                    <a:moveTo>
                      <a:pt x="137" y="482"/>
                    </a:moveTo>
                    <a:lnTo>
                      <a:pt x="139" y="482"/>
                    </a:lnTo>
                    <a:lnTo>
                      <a:pt x="139" y="482"/>
                    </a:lnTo>
                    <a:lnTo>
                      <a:pt x="139" y="480"/>
                    </a:lnTo>
                    <a:lnTo>
                      <a:pt x="137" y="482"/>
                    </a:lnTo>
                    <a:lnTo>
                      <a:pt x="137" y="482"/>
                    </a:lnTo>
                    <a:lnTo>
                      <a:pt x="137" y="482"/>
                    </a:lnTo>
                    <a:lnTo>
                      <a:pt x="137" y="482"/>
                    </a:lnTo>
                    <a:close/>
                    <a:moveTo>
                      <a:pt x="135" y="487"/>
                    </a:moveTo>
                    <a:lnTo>
                      <a:pt x="137" y="485"/>
                    </a:lnTo>
                    <a:lnTo>
                      <a:pt x="139" y="485"/>
                    </a:lnTo>
                    <a:lnTo>
                      <a:pt x="137" y="485"/>
                    </a:lnTo>
                    <a:lnTo>
                      <a:pt x="135" y="487"/>
                    </a:lnTo>
                    <a:lnTo>
                      <a:pt x="135" y="487"/>
                    </a:lnTo>
                    <a:lnTo>
                      <a:pt x="135" y="487"/>
                    </a:lnTo>
                    <a:lnTo>
                      <a:pt x="135" y="487"/>
                    </a:lnTo>
                    <a:close/>
                    <a:moveTo>
                      <a:pt x="139" y="492"/>
                    </a:moveTo>
                    <a:lnTo>
                      <a:pt x="139" y="492"/>
                    </a:lnTo>
                    <a:lnTo>
                      <a:pt x="137" y="492"/>
                    </a:lnTo>
                    <a:lnTo>
                      <a:pt x="135" y="489"/>
                    </a:lnTo>
                    <a:lnTo>
                      <a:pt x="135" y="492"/>
                    </a:lnTo>
                    <a:lnTo>
                      <a:pt x="139" y="492"/>
                    </a:lnTo>
                    <a:lnTo>
                      <a:pt x="139" y="492"/>
                    </a:lnTo>
                    <a:lnTo>
                      <a:pt x="139" y="492"/>
                    </a:lnTo>
                    <a:lnTo>
                      <a:pt x="139" y="492"/>
                    </a:lnTo>
                    <a:close/>
                    <a:moveTo>
                      <a:pt x="139" y="494"/>
                    </a:moveTo>
                    <a:lnTo>
                      <a:pt x="142" y="494"/>
                    </a:lnTo>
                    <a:lnTo>
                      <a:pt x="142" y="492"/>
                    </a:lnTo>
                    <a:lnTo>
                      <a:pt x="142" y="492"/>
                    </a:lnTo>
                    <a:lnTo>
                      <a:pt x="139" y="492"/>
                    </a:lnTo>
                    <a:lnTo>
                      <a:pt x="139" y="492"/>
                    </a:lnTo>
                    <a:lnTo>
                      <a:pt x="139" y="494"/>
                    </a:lnTo>
                    <a:lnTo>
                      <a:pt x="139" y="494"/>
                    </a:lnTo>
                    <a:lnTo>
                      <a:pt x="139" y="494"/>
                    </a:lnTo>
                    <a:lnTo>
                      <a:pt x="139" y="494"/>
                    </a:lnTo>
                    <a:close/>
                    <a:moveTo>
                      <a:pt x="130" y="503"/>
                    </a:moveTo>
                    <a:lnTo>
                      <a:pt x="134" y="501"/>
                    </a:lnTo>
                    <a:lnTo>
                      <a:pt x="134" y="501"/>
                    </a:lnTo>
                    <a:lnTo>
                      <a:pt x="134" y="501"/>
                    </a:lnTo>
                    <a:lnTo>
                      <a:pt x="130" y="501"/>
                    </a:lnTo>
                    <a:lnTo>
                      <a:pt x="128" y="503"/>
                    </a:lnTo>
                    <a:lnTo>
                      <a:pt x="130" y="503"/>
                    </a:lnTo>
                    <a:lnTo>
                      <a:pt x="130" y="503"/>
                    </a:lnTo>
                    <a:lnTo>
                      <a:pt x="130" y="503"/>
                    </a:lnTo>
                    <a:lnTo>
                      <a:pt x="130" y="503"/>
                    </a:lnTo>
                    <a:close/>
                    <a:moveTo>
                      <a:pt x="135" y="510"/>
                    </a:moveTo>
                    <a:lnTo>
                      <a:pt x="142" y="505"/>
                    </a:lnTo>
                    <a:lnTo>
                      <a:pt x="142" y="501"/>
                    </a:lnTo>
                    <a:lnTo>
                      <a:pt x="142" y="499"/>
                    </a:lnTo>
                    <a:lnTo>
                      <a:pt x="142" y="499"/>
                    </a:lnTo>
                    <a:lnTo>
                      <a:pt x="139" y="503"/>
                    </a:lnTo>
                    <a:lnTo>
                      <a:pt x="135" y="503"/>
                    </a:lnTo>
                    <a:lnTo>
                      <a:pt x="135" y="505"/>
                    </a:lnTo>
                    <a:lnTo>
                      <a:pt x="134" y="506"/>
                    </a:lnTo>
                    <a:lnTo>
                      <a:pt x="134" y="508"/>
                    </a:lnTo>
                    <a:lnTo>
                      <a:pt x="134" y="510"/>
                    </a:lnTo>
                    <a:lnTo>
                      <a:pt x="135" y="510"/>
                    </a:lnTo>
                    <a:lnTo>
                      <a:pt x="135" y="510"/>
                    </a:lnTo>
                    <a:lnTo>
                      <a:pt x="135" y="510"/>
                    </a:lnTo>
                    <a:lnTo>
                      <a:pt x="135" y="510"/>
                    </a:lnTo>
                    <a:lnTo>
                      <a:pt x="135" y="510"/>
                    </a:lnTo>
                    <a:close/>
                    <a:moveTo>
                      <a:pt x="142" y="508"/>
                    </a:moveTo>
                    <a:lnTo>
                      <a:pt x="142" y="508"/>
                    </a:lnTo>
                    <a:lnTo>
                      <a:pt x="142" y="506"/>
                    </a:lnTo>
                    <a:lnTo>
                      <a:pt x="142" y="506"/>
                    </a:lnTo>
                    <a:lnTo>
                      <a:pt x="142" y="508"/>
                    </a:lnTo>
                    <a:lnTo>
                      <a:pt x="142" y="508"/>
                    </a:lnTo>
                    <a:lnTo>
                      <a:pt x="142" y="508"/>
                    </a:lnTo>
                    <a:lnTo>
                      <a:pt x="142" y="508"/>
                    </a:lnTo>
                    <a:close/>
                    <a:moveTo>
                      <a:pt x="139" y="512"/>
                    </a:moveTo>
                    <a:lnTo>
                      <a:pt x="139" y="512"/>
                    </a:lnTo>
                    <a:lnTo>
                      <a:pt x="139" y="510"/>
                    </a:lnTo>
                    <a:lnTo>
                      <a:pt x="139" y="510"/>
                    </a:lnTo>
                    <a:lnTo>
                      <a:pt x="139" y="512"/>
                    </a:lnTo>
                    <a:lnTo>
                      <a:pt x="139" y="512"/>
                    </a:lnTo>
                    <a:lnTo>
                      <a:pt x="139" y="512"/>
                    </a:lnTo>
                    <a:lnTo>
                      <a:pt x="139" y="512"/>
                    </a:lnTo>
                    <a:close/>
                    <a:moveTo>
                      <a:pt x="134" y="513"/>
                    </a:moveTo>
                    <a:lnTo>
                      <a:pt x="135" y="512"/>
                    </a:lnTo>
                    <a:lnTo>
                      <a:pt x="134" y="512"/>
                    </a:lnTo>
                    <a:lnTo>
                      <a:pt x="134" y="512"/>
                    </a:lnTo>
                    <a:lnTo>
                      <a:pt x="134" y="513"/>
                    </a:lnTo>
                    <a:lnTo>
                      <a:pt x="134" y="513"/>
                    </a:lnTo>
                    <a:lnTo>
                      <a:pt x="134" y="513"/>
                    </a:lnTo>
                    <a:lnTo>
                      <a:pt x="134" y="513"/>
                    </a:lnTo>
                    <a:lnTo>
                      <a:pt x="134" y="513"/>
                    </a:lnTo>
                    <a:close/>
                    <a:moveTo>
                      <a:pt x="128" y="525"/>
                    </a:moveTo>
                    <a:lnTo>
                      <a:pt x="128" y="529"/>
                    </a:lnTo>
                    <a:lnTo>
                      <a:pt x="130" y="529"/>
                    </a:lnTo>
                    <a:lnTo>
                      <a:pt x="134" y="525"/>
                    </a:lnTo>
                    <a:lnTo>
                      <a:pt x="137" y="524"/>
                    </a:lnTo>
                    <a:lnTo>
                      <a:pt x="137" y="520"/>
                    </a:lnTo>
                    <a:lnTo>
                      <a:pt x="135" y="520"/>
                    </a:lnTo>
                    <a:lnTo>
                      <a:pt x="134" y="520"/>
                    </a:lnTo>
                    <a:lnTo>
                      <a:pt x="130" y="520"/>
                    </a:lnTo>
                    <a:lnTo>
                      <a:pt x="130" y="525"/>
                    </a:lnTo>
                    <a:lnTo>
                      <a:pt x="130" y="525"/>
                    </a:lnTo>
                    <a:lnTo>
                      <a:pt x="128" y="525"/>
                    </a:lnTo>
                    <a:lnTo>
                      <a:pt x="128" y="525"/>
                    </a:lnTo>
                    <a:lnTo>
                      <a:pt x="128" y="525"/>
                    </a:lnTo>
                    <a:lnTo>
                      <a:pt x="128" y="525"/>
                    </a:lnTo>
                    <a:close/>
                    <a:moveTo>
                      <a:pt x="125" y="534"/>
                    </a:moveTo>
                    <a:lnTo>
                      <a:pt x="127" y="538"/>
                    </a:lnTo>
                    <a:lnTo>
                      <a:pt x="128" y="538"/>
                    </a:lnTo>
                    <a:lnTo>
                      <a:pt x="130" y="536"/>
                    </a:lnTo>
                    <a:lnTo>
                      <a:pt x="127" y="534"/>
                    </a:lnTo>
                    <a:lnTo>
                      <a:pt x="125" y="534"/>
                    </a:lnTo>
                    <a:lnTo>
                      <a:pt x="125" y="534"/>
                    </a:lnTo>
                    <a:lnTo>
                      <a:pt x="125" y="534"/>
                    </a:lnTo>
                    <a:lnTo>
                      <a:pt x="125" y="534"/>
                    </a:lnTo>
                    <a:close/>
                    <a:moveTo>
                      <a:pt x="200" y="931"/>
                    </a:moveTo>
                    <a:lnTo>
                      <a:pt x="203" y="929"/>
                    </a:lnTo>
                    <a:lnTo>
                      <a:pt x="205" y="927"/>
                    </a:lnTo>
                    <a:lnTo>
                      <a:pt x="207" y="929"/>
                    </a:lnTo>
                    <a:lnTo>
                      <a:pt x="205" y="931"/>
                    </a:lnTo>
                    <a:lnTo>
                      <a:pt x="203" y="931"/>
                    </a:lnTo>
                    <a:lnTo>
                      <a:pt x="201" y="932"/>
                    </a:lnTo>
                    <a:lnTo>
                      <a:pt x="200" y="931"/>
                    </a:lnTo>
                    <a:lnTo>
                      <a:pt x="200" y="931"/>
                    </a:lnTo>
                    <a:lnTo>
                      <a:pt x="200" y="931"/>
                    </a:lnTo>
                    <a:lnTo>
                      <a:pt x="200" y="931"/>
                    </a:lnTo>
                    <a:close/>
                    <a:moveTo>
                      <a:pt x="182" y="922"/>
                    </a:moveTo>
                    <a:lnTo>
                      <a:pt x="184" y="922"/>
                    </a:lnTo>
                    <a:lnTo>
                      <a:pt x="184" y="918"/>
                    </a:lnTo>
                    <a:lnTo>
                      <a:pt x="184" y="918"/>
                    </a:lnTo>
                    <a:lnTo>
                      <a:pt x="184" y="915"/>
                    </a:lnTo>
                    <a:lnTo>
                      <a:pt x="184" y="915"/>
                    </a:lnTo>
                    <a:lnTo>
                      <a:pt x="184" y="917"/>
                    </a:lnTo>
                    <a:lnTo>
                      <a:pt x="182" y="918"/>
                    </a:lnTo>
                    <a:lnTo>
                      <a:pt x="182" y="922"/>
                    </a:lnTo>
                    <a:lnTo>
                      <a:pt x="182" y="922"/>
                    </a:lnTo>
                    <a:lnTo>
                      <a:pt x="182" y="922"/>
                    </a:lnTo>
                    <a:lnTo>
                      <a:pt x="182" y="922"/>
                    </a:lnTo>
                    <a:close/>
                    <a:moveTo>
                      <a:pt x="168" y="899"/>
                    </a:moveTo>
                    <a:lnTo>
                      <a:pt x="170" y="899"/>
                    </a:lnTo>
                    <a:lnTo>
                      <a:pt x="172" y="899"/>
                    </a:lnTo>
                    <a:lnTo>
                      <a:pt x="174" y="899"/>
                    </a:lnTo>
                    <a:lnTo>
                      <a:pt x="174" y="896"/>
                    </a:lnTo>
                    <a:lnTo>
                      <a:pt x="172" y="896"/>
                    </a:lnTo>
                    <a:lnTo>
                      <a:pt x="168" y="899"/>
                    </a:lnTo>
                    <a:lnTo>
                      <a:pt x="168" y="899"/>
                    </a:lnTo>
                    <a:lnTo>
                      <a:pt x="168" y="899"/>
                    </a:lnTo>
                    <a:lnTo>
                      <a:pt x="168" y="899"/>
                    </a:lnTo>
                    <a:close/>
                    <a:moveTo>
                      <a:pt x="161" y="899"/>
                    </a:moveTo>
                    <a:lnTo>
                      <a:pt x="165" y="899"/>
                    </a:lnTo>
                    <a:lnTo>
                      <a:pt x="165" y="899"/>
                    </a:lnTo>
                    <a:lnTo>
                      <a:pt x="165" y="899"/>
                    </a:lnTo>
                    <a:lnTo>
                      <a:pt x="165" y="896"/>
                    </a:lnTo>
                    <a:lnTo>
                      <a:pt x="161" y="899"/>
                    </a:lnTo>
                    <a:lnTo>
                      <a:pt x="161" y="899"/>
                    </a:lnTo>
                    <a:lnTo>
                      <a:pt x="161" y="899"/>
                    </a:lnTo>
                    <a:lnTo>
                      <a:pt x="161" y="899"/>
                    </a:lnTo>
                    <a:close/>
                    <a:moveTo>
                      <a:pt x="144" y="899"/>
                    </a:moveTo>
                    <a:lnTo>
                      <a:pt x="144" y="899"/>
                    </a:lnTo>
                    <a:lnTo>
                      <a:pt x="146" y="901"/>
                    </a:lnTo>
                    <a:lnTo>
                      <a:pt x="148" y="903"/>
                    </a:lnTo>
                    <a:lnTo>
                      <a:pt x="149" y="901"/>
                    </a:lnTo>
                    <a:lnTo>
                      <a:pt x="148" y="899"/>
                    </a:lnTo>
                    <a:lnTo>
                      <a:pt x="146" y="899"/>
                    </a:lnTo>
                    <a:lnTo>
                      <a:pt x="144" y="899"/>
                    </a:lnTo>
                    <a:lnTo>
                      <a:pt x="144" y="899"/>
                    </a:lnTo>
                    <a:lnTo>
                      <a:pt x="144" y="899"/>
                    </a:lnTo>
                    <a:lnTo>
                      <a:pt x="144" y="899"/>
                    </a:lnTo>
                    <a:close/>
                    <a:moveTo>
                      <a:pt x="122" y="795"/>
                    </a:moveTo>
                    <a:lnTo>
                      <a:pt x="122" y="795"/>
                    </a:lnTo>
                    <a:lnTo>
                      <a:pt x="125" y="791"/>
                    </a:lnTo>
                    <a:lnTo>
                      <a:pt x="128" y="788"/>
                    </a:lnTo>
                    <a:lnTo>
                      <a:pt x="127" y="788"/>
                    </a:lnTo>
                    <a:lnTo>
                      <a:pt x="125" y="791"/>
                    </a:lnTo>
                    <a:lnTo>
                      <a:pt x="122" y="795"/>
                    </a:lnTo>
                    <a:lnTo>
                      <a:pt x="122" y="795"/>
                    </a:lnTo>
                    <a:lnTo>
                      <a:pt x="122" y="795"/>
                    </a:lnTo>
                    <a:lnTo>
                      <a:pt x="122" y="795"/>
                    </a:lnTo>
                    <a:close/>
                    <a:moveTo>
                      <a:pt x="122" y="790"/>
                    </a:moveTo>
                    <a:lnTo>
                      <a:pt x="122" y="790"/>
                    </a:lnTo>
                    <a:lnTo>
                      <a:pt x="122" y="791"/>
                    </a:lnTo>
                    <a:lnTo>
                      <a:pt x="122" y="791"/>
                    </a:lnTo>
                    <a:lnTo>
                      <a:pt x="123" y="790"/>
                    </a:lnTo>
                    <a:lnTo>
                      <a:pt x="125" y="788"/>
                    </a:lnTo>
                    <a:lnTo>
                      <a:pt x="123" y="788"/>
                    </a:lnTo>
                    <a:lnTo>
                      <a:pt x="122" y="790"/>
                    </a:lnTo>
                    <a:lnTo>
                      <a:pt x="122" y="790"/>
                    </a:lnTo>
                    <a:lnTo>
                      <a:pt x="122" y="790"/>
                    </a:lnTo>
                    <a:lnTo>
                      <a:pt x="122" y="790"/>
                    </a:lnTo>
                    <a:close/>
                    <a:moveTo>
                      <a:pt x="108" y="755"/>
                    </a:moveTo>
                    <a:lnTo>
                      <a:pt x="106" y="757"/>
                    </a:lnTo>
                    <a:lnTo>
                      <a:pt x="108" y="757"/>
                    </a:lnTo>
                    <a:lnTo>
                      <a:pt x="108" y="757"/>
                    </a:lnTo>
                    <a:lnTo>
                      <a:pt x="108" y="755"/>
                    </a:lnTo>
                    <a:lnTo>
                      <a:pt x="108" y="755"/>
                    </a:lnTo>
                    <a:lnTo>
                      <a:pt x="108" y="755"/>
                    </a:lnTo>
                    <a:lnTo>
                      <a:pt x="108" y="755"/>
                    </a:lnTo>
                    <a:lnTo>
                      <a:pt x="108" y="755"/>
                    </a:lnTo>
                    <a:lnTo>
                      <a:pt x="108" y="755"/>
                    </a:lnTo>
                    <a:close/>
                    <a:moveTo>
                      <a:pt x="106" y="750"/>
                    </a:moveTo>
                    <a:lnTo>
                      <a:pt x="106" y="753"/>
                    </a:lnTo>
                    <a:lnTo>
                      <a:pt x="108" y="753"/>
                    </a:lnTo>
                    <a:lnTo>
                      <a:pt x="108" y="750"/>
                    </a:lnTo>
                    <a:lnTo>
                      <a:pt x="108" y="750"/>
                    </a:lnTo>
                    <a:lnTo>
                      <a:pt x="106" y="750"/>
                    </a:lnTo>
                    <a:lnTo>
                      <a:pt x="106" y="750"/>
                    </a:lnTo>
                    <a:lnTo>
                      <a:pt x="106" y="750"/>
                    </a:lnTo>
                    <a:lnTo>
                      <a:pt x="106" y="750"/>
                    </a:lnTo>
                    <a:close/>
                    <a:moveTo>
                      <a:pt x="108" y="718"/>
                    </a:moveTo>
                    <a:lnTo>
                      <a:pt x="111" y="720"/>
                    </a:lnTo>
                    <a:lnTo>
                      <a:pt x="113" y="718"/>
                    </a:lnTo>
                    <a:lnTo>
                      <a:pt x="111" y="717"/>
                    </a:lnTo>
                    <a:lnTo>
                      <a:pt x="108" y="718"/>
                    </a:lnTo>
                    <a:lnTo>
                      <a:pt x="108" y="718"/>
                    </a:lnTo>
                    <a:lnTo>
                      <a:pt x="108" y="718"/>
                    </a:lnTo>
                    <a:lnTo>
                      <a:pt x="108" y="718"/>
                    </a:lnTo>
                    <a:close/>
                    <a:moveTo>
                      <a:pt x="108" y="713"/>
                    </a:moveTo>
                    <a:lnTo>
                      <a:pt x="111" y="713"/>
                    </a:lnTo>
                    <a:lnTo>
                      <a:pt x="113" y="713"/>
                    </a:lnTo>
                    <a:lnTo>
                      <a:pt x="116" y="713"/>
                    </a:lnTo>
                    <a:lnTo>
                      <a:pt x="113" y="713"/>
                    </a:lnTo>
                    <a:lnTo>
                      <a:pt x="108" y="713"/>
                    </a:lnTo>
                    <a:lnTo>
                      <a:pt x="108" y="713"/>
                    </a:lnTo>
                    <a:lnTo>
                      <a:pt x="108" y="713"/>
                    </a:lnTo>
                    <a:lnTo>
                      <a:pt x="108" y="713"/>
                    </a:lnTo>
                    <a:lnTo>
                      <a:pt x="108" y="713"/>
                    </a:lnTo>
                    <a:close/>
                    <a:moveTo>
                      <a:pt x="102" y="713"/>
                    </a:moveTo>
                    <a:lnTo>
                      <a:pt x="104" y="713"/>
                    </a:lnTo>
                    <a:lnTo>
                      <a:pt x="106" y="713"/>
                    </a:lnTo>
                    <a:lnTo>
                      <a:pt x="104" y="713"/>
                    </a:lnTo>
                    <a:lnTo>
                      <a:pt x="104" y="713"/>
                    </a:lnTo>
                    <a:lnTo>
                      <a:pt x="102" y="713"/>
                    </a:lnTo>
                    <a:lnTo>
                      <a:pt x="102" y="713"/>
                    </a:lnTo>
                    <a:lnTo>
                      <a:pt x="102" y="713"/>
                    </a:lnTo>
                    <a:lnTo>
                      <a:pt x="102" y="713"/>
                    </a:lnTo>
                    <a:close/>
                    <a:moveTo>
                      <a:pt x="113" y="684"/>
                    </a:moveTo>
                    <a:lnTo>
                      <a:pt x="111" y="685"/>
                    </a:lnTo>
                    <a:lnTo>
                      <a:pt x="113" y="685"/>
                    </a:lnTo>
                    <a:lnTo>
                      <a:pt x="115" y="685"/>
                    </a:lnTo>
                    <a:lnTo>
                      <a:pt x="116" y="684"/>
                    </a:lnTo>
                    <a:lnTo>
                      <a:pt x="116" y="682"/>
                    </a:lnTo>
                    <a:lnTo>
                      <a:pt x="115" y="682"/>
                    </a:lnTo>
                    <a:lnTo>
                      <a:pt x="113" y="684"/>
                    </a:lnTo>
                    <a:lnTo>
                      <a:pt x="113" y="684"/>
                    </a:lnTo>
                    <a:lnTo>
                      <a:pt x="113" y="684"/>
                    </a:lnTo>
                    <a:lnTo>
                      <a:pt x="113" y="684"/>
                    </a:lnTo>
                    <a:close/>
                    <a:moveTo>
                      <a:pt x="139" y="672"/>
                    </a:moveTo>
                    <a:lnTo>
                      <a:pt x="142" y="673"/>
                    </a:lnTo>
                    <a:lnTo>
                      <a:pt x="146" y="672"/>
                    </a:lnTo>
                    <a:lnTo>
                      <a:pt x="144" y="670"/>
                    </a:lnTo>
                    <a:lnTo>
                      <a:pt x="142" y="670"/>
                    </a:lnTo>
                    <a:lnTo>
                      <a:pt x="139" y="670"/>
                    </a:lnTo>
                    <a:lnTo>
                      <a:pt x="139" y="672"/>
                    </a:lnTo>
                    <a:lnTo>
                      <a:pt x="139" y="672"/>
                    </a:lnTo>
                    <a:lnTo>
                      <a:pt x="139" y="672"/>
                    </a:lnTo>
                    <a:lnTo>
                      <a:pt x="139" y="672"/>
                    </a:lnTo>
                    <a:close/>
                    <a:moveTo>
                      <a:pt x="128" y="656"/>
                    </a:moveTo>
                    <a:lnTo>
                      <a:pt x="128" y="658"/>
                    </a:lnTo>
                    <a:lnTo>
                      <a:pt x="128" y="659"/>
                    </a:lnTo>
                    <a:lnTo>
                      <a:pt x="134" y="658"/>
                    </a:lnTo>
                    <a:lnTo>
                      <a:pt x="134" y="656"/>
                    </a:lnTo>
                    <a:lnTo>
                      <a:pt x="130" y="656"/>
                    </a:lnTo>
                    <a:lnTo>
                      <a:pt x="128" y="656"/>
                    </a:lnTo>
                    <a:lnTo>
                      <a:pt x="128" y="656"/>
                    </a:lnTo>
                    <a:lnTo>
                      <a:pt x="128" y="656"/>
                    </a:lnTo>
                    <a:lnTo>
                      <a:pt x="128" y="656"/>
                    </a:lnTo>
                    <a:close/>
                    <a:moveTo>
                      <a:pt x="142" y="656"/>
                    </a:moveTo>
                    <a:lnTo>
                      <a:pt x="142" y="658"/>
                    </a:lnTo>
                    <a:lnTo>
                      <a:pt x="144" y="658"/>
                    </a:lnTo>
                    <a:lnTo>
                      <a:pt x="146" y="656"/>
                    </a:lnTo>
                    <a:lnTo>
                      <a:pt x="144" y="654"/>
                    </a:lnTo>
                    <a:lnTo>
                      <a:pt x="142" y="656"/>
                    </a:lnTo>
                    <a:lnTo>
                      <a:pt x="142" y="656"/>
                    </a:lnTo>
                    <a:lnTo>
                      <a:pt x="142" y="656"/>
                    </a:lnTo>
                    <a:lnTo>
                      <a:pt x="142" y="656"/>
                    </a:lnTo>
                    <a:close/>
                    <a:moveTo>
                      <a:pt x="134" y="652"/>
                    </a:moveTo>
                    <a:lnTo>
                      <a:pt x="139" y="654"/>
                    </a:lnTo>
                    <a:lnTo>
                      <a:pt x="139" y="654"/>
                    </a:lnTo>
                    <a:lnTo>
                      <a:pt x="142" y="652"/>
                    </a:lnTo>
                    <a:lnTo>
                      <a:pt x="139" y="652"/>
                    </a:lnTo>
                    <a:lnTo>
                      <a:pt x="137" y="651"/>
                    </a:lnTo>
                    <a:lnTo>
                      <a:pt x="134" y="652"/>
                    </a:lnTo>
                    <a:lnTo>
                      <a:pt x="134" y="652"/>
                    </a:lnTo>
                    <a:lnTo>
                      <a:pt x="134" y="652"/>
                    </a:lnTo>
                    <a:lnTo>
                      <a:pt x="134" y="652"/>
                    </a:lnTo>
                    <a:lnTo>
                      <a:pt x="134" y="652"/>
                    </a:lnTo>
                    <a:close/>
                    <a:moveTo>
                      <a:pt x="165" y="586"/>
                    </a:moveTo>
                    <a:lnTo>
                      <a:pt x="165" y="588"/>
                    </a:lnTo>
                    <a:lnTo>
                      <a:pt x="165" y="590"/>
                    </a:lnTo>
                    <a:lnTo>
                      <a:pt x="167" y="588"/>
                    </a:lnTo>
                    <a:lnTo>
                      <a:pt x="165" y="586"/>
                    </a:lnTo>
                    <a:lnTo>
                      <a:pt x="165" y="586"/>
                    </a:lnTo>
                    <a:lnTo>
                      <a:pt x="165" y="586"/>
                    </a:lnTo>
                    <a:lnTo>
                      <a:pt x="165" y="586"/>
                    </a:lnTo>
                    <a:lnTo>
                      <a:pt x="165" y="586"/>
                    </a:lnTo>
                    <a:close/>
                    <a:moveTo>
                      <a:pt x="161" y="579"/>
                    </a:moveTo>
                    <a:lnTo>
                      <a:pt x="161" y="579"/>
                    </a:lnTo>
                    <a:lnTo>
                      <a:pt x="165" y="581"/>
                    </a:lnTo>
                    <a:lnTo>
                      <a:pt x="165" y="581"/>
                    </a:lnTo>
                    <a:lnTo>
                      <a:pt x="165" y="579"/>
                    </a:lnTo>
                    <a:lnTo>
                      <a:pt x="165" y="579"/>
                    </a:lnTo>
                    <a:lnTo>
                      <a:pt x="161" y="579"/>
                    </a:lnTo>
                    <a:lnTo>
                      <a:pt x="161" y="579"/>
                    </a:lnTo>
                    <a:lnTo>
                      <a:pt x="161" y="579"/>
                    </a:lnTo>
                    <a:lnTo>
                      <a:pt x="161" y="579"/>
                    </a:lnTo>
                    <a:close/>
                    <a:moveTo>
                      <a:pt x="153" y="557"/>
                    </a:moveTo>
                    <a:lnTo>
                      <a:pt x="155" y="557"/>
                    </a:lnTo>
                    <a:lnTo>
                      <a:pt x="158" y="552"/>
                    </a:lnTo>
                    <a:lnTo>
                      <a:pt x="160" y="552"/>
                    </a:lnTo>
                    <a:lnTo>
                      <a:pt x="160" y="552"/>
                    </a:lnTo>
                    <a:lnTo>
                      <a:pt x="156" y="552"/>
                    </a:lnTo>
                    <a:lnTo>
                      <a:pt x="155" y="548"/>
                    </a:lnTo>
                    <a:lnTo>
                      <a:pt x="153" y="552"/>
                    </a:lnTo>
                    <a:lnTo>
                      <a:pt x="151" y="552"/>
                    </a:lnTo>
                    <a:lnTo>
                      <a:pt x="153" y="557"/>
                    </a:lnTo>
                    <a:lnTo>
                      <a:pt x="153" y="557"/>
                    </a:lnTo>
                    <a:lnTo>
                      <a:pt x="153" y="557"/>
                    </a:lnTo>
                    <a:lnTo>
                      <a:pt x="153" y="557"/>
                    </a:lnTo>
                    <a:close/>
                    <a:moveTo>
                      <a:pt x="153" y="569"/>
                    </a:moveTo>
                    <a:lnTo>
                      <a:pt x="155" y="569"/>
                    </a:lnTo>
                    <a:lnTo>
                      <a:pt x="156" y="569"/>
                    </a:lnTo>
                    <a:lnTo>
                      <a:pt x="160" y="565"/>
                    </a:lnTo>
                    <a:lnTo>
                      <a:pt x="160" y="562"/>
                    </a:lnTo>
                    <a:lnTo>
                      <a:pt x="156" y="560"/>
                    </a:lnTo>
                    <a:lnTo>
                      <a:pt x="153" y="562"/>
                    </a:lnTo>
                    <a:lnTo>
                      <a:pt x="153" y="569"/>
                    </a:lnTo>
                    <a:lnTo>
                      <a:pt x="153" y="569"/>
                    </a:lnTo>
                    <a:lnTo>
                      <a:pt x="153" y="569"/>
                    </a:lnTo>
                    <a:lnTo>
                      <a:pt x="153" y="569"/>
                    </a:lnTo>
                    <a:close/>
                    <a:moveTo>
                      <a:pt x="142" y="569"/>
                    </a:moveTo>
                    <a:lnTo>
                      <a:pt x="144" y="571"/>
                    </a:lnTo>
                    <a:lnTo>
                      <a:pt x="146" y="567"/>
                    </a:lnTo>
                    <a:lnTo>
                      <a:pt x="146" y="565"/>
                    </a:lnTo>
                    <a:lnTo>
                      <a:pt x="148" y="560"/>
                    </a:lnTo>
                    <a:lnTo>
                      <a:pt x="142" y="564"/>
                    </a:lnTo>
                    <a:lnTo>
                      <a:pt x="142" y="565"/>
                    </a:lnTo>
                    <a:lnTo>
                      <a:pt x="142" y="569"/>
                    </a:lnTo>
                    <a:lnTo>
                      <a:pt x="142" y="569"/>
                    </a:lnTo>
                    <a:lnTo>
                      <a:pt x="142" y="569"/>
                    </a:lnTo>
                    <a:lnTo>
                      <a:pt x="142" y="569"/>
                    </a:lnTo>
                    <a:close/>
                    <a:moveTo>
                      <a:pt x="122" y="585"/>
                    </a:moveTo>
                    <a:lnTo>
                      <a:pt x="120" y="586"/>
                    </a:lnTo>
                    <a:lnTo>
                      <a:pt x="122" y="590"/>
                    </a:lnTo>
                    <a:lnTo>
                      <a:pt x="123" y="590"/>
                    </a:lnTo>
                    <a:lnTo>
                      <a:pt x="125" y="588"/>
                    </a:lnTo>
                    <a:lnTo>
                      <a:pt x="123" y="585"/>
                    </a:lnTo>
                    <a:lnTo>
                      <a:pt x="122" y="585"/>
                    </a:lnTo>
                    <a:lnTo>
                      <a:pt x="122" y="585"/>
                    </a:lnTo>
                    <a:lnTo>
                      <a:pt x="122" y="585"/>
                    </a:lnTo>
                    <a:lnTo>
                      <a:pt x="122" y="585"/>
                    </a:lnTo>
                    <a:close/>
                    <a:moveTo>
                      <a:pt x="161" y="618"/>
                    </a:moveTo>
                    <a:lnTo>
                      <a:pt x="161" y="619"/>
                    </a:lnTo>
                    <a:lnTo>
                      <a:pt x="161" y="618"/>
                    </a:lnTo>
                    <a:lnTo>
                      <a:pt x="161" y="621"/>
                    </a:lnTo>
                    <a:lnTo>
                      <a:pt x="161" y="625"/>
                    </a:lnTo>
                    <a:lnTo>
                      <a:pt x="165" y="626"/>
                    </a:lnTo>
                    <a:lnTo>
                      <a:pt x="165" y="625"/>
                    </a:lnTo>
                    <a:lnTo>
                      <a:pt x="167" y="619"/>
                    </a:lnTo>
                    <a:lnTo>
                      <a:pt x="168" y="616"/>
                    </a:lnTo>
                    <a:lnTo>
                      <a:pt x="168" y="616"/>
                    </a:lnTo>
                    <a:lnTo>
                      <a:pt x="167" y="616"/>
                    </a:lnTo>
                    <a:lnTo>
                      <a:pt x="165" y="616"/>
                    </a:lnTo>
                    <a:lnTo>
                      <a:pt x="161" y="618"/>
                    </a:lnTo>
                    <a:lnTo>
                      <a:pt x="161" y="618"/>
                    </a:lnTo>
                    <a:lnTo>
                      <a:pt x="161" y="618"/>
                    </a:lnTo>
                    <a:lnTo>
                      <a:pt x="161" y="618"/>
                    </a:lnTo>
                    <a:close/>
                    <a:moveTo>
                      <a:pt x="120" y="630"/>
                    </a:moveTo>
                    <a:lnTo>
                      <a:pt x="123" y="632"/>
                    </a:lnTo>
                    <a:lnTo>
                      <a:pt x="128" y="632"/>
                    </a:lnTo>
                    <a:lnTo>
                      <a:pt x="128" y="633"/>
                    </a:lnTo>
                    <a:lnTo>
                      <a:pt x="130" y="635"/>
                    </a:lnTo>
                    <a:lnTo>
                      <a:pt x="134" y="633"/>
                    </a:lnTo>
                    <a:lnTo>
                      <a:pt x="142" y="632"/>
                    </a:lnTo>
                    <a:lnTo>
                      <a:pt x="148" y="632"/>
                    </a:lnTo>
                    <a:lnTo>
                      <a:pt x="155" y="626"/>
                    </a:lnTo>
                    <a:lnTo>
                      <a:pt x="153" y="621"/>
                    </a:lnTo>
                    <a:lnTo>
                      <a:pt x="151" y="616"/>
                    </a:lnTo>
                    <a:lnTo>
                      <a:pt x="148" y="616"/>
                    </a:lnTo>
                    <a:lnTo>
                      <a:pt x="144" y="616"/>
                    </a:lnTo>
                    <a:lnTo>
                      <a:pt x="142" y="607"/>
                    </a:lnTo>
                    <a:lnTo>
                      <a:pt x="139" y="602"/>
                    </a:lnTo>
                    <a:lnTo>
                      <a:pt x="134" y="600"/>
                    </a:lnTo>
                    <a:lnTo>
                      <a:pt x="130" y="597"/>
                    </a:lnTo>
                    <a:lnTo>
                      <a:pt x="125" y="595"/>
                    </a:lnTo>
                    <a:lnTo>
                      <a:pt x="122" y="593"/>
                    </a:lnTo>
                    <a:lnTo>
                      <a:pt x="122" y="597"/>
                    </a:lnTo>
                    <a:lnTo>
                      <a:pt x="116" y="600"/>
                    </a:lnTo>
                    <a:lnTo>
                      <a:pt x="116" y="604"/>
                    </a:lnTo>
                    <a:lnTo>
                      <a:pt x="122" y="607"/>
                    </a:lnTo>
                    <a:lnTo>
                      <a:pt x="123" y="611"/>
                    </a:lnTo>
                    <a:lnTo>
                      <a:pt x="120" y="607"/>
                    </a:lnTo>
                    <a:lnTo>
                      <a:pt x="116" y="607"/>
                    </a:lnTo>
                    <a:lnTo>
                      <a:pt x="116" y="611"/>
                    </a:lnTo>
                    <a:lnTo>
                      <a:pt x="116" y="612"/>
                    </a:lnTo>
                    <a:lnTo>
                      <a:pt x="120" y="616"/>
                    </a:lnTo>
                    <a:lnTo>
                      <a:pt x="116" y="618"/>
                    </a:lnTo>
                    <a:lnTo>
                      <a:pt x="116" y="618"/>
                    </a:lnTo>
                    <a:lnTo>
                      <a:pt x="116" y="621"/>
                    </a:lnTo>
                    <a:lnTo>
                      <a:pt x="125" y="623"/>
                    </a:lnTo>
                    <a:lnTo>
                      <a:pt x="127" y="625"/>
                    </a:lnTo>
                    <a:lnTo>
                      <a:pt x="128" y="626"/>
                    </a:lnTo>
                    <a:lnTo>
                      <a:pt x="135" y="623"/>
                    </a:lnTo>
                    <a:lnTo>
                      <a:pt x="130" y="626"/>
                    </a:lnTo>
                    <a:lnTo>
                      <a:pt x="128" y="626"/>
                    </a:lnTo>
                    <a:lnTo>
                      <a:pt x="123" y="626"/>
                    </a:lnTo>
                    <a:lnTo>
                      <a:pt x="122" y="626"/>
                    </a:lnTo>
                    <a:lnTo>
                      <a:pt x="120" y="630"/>
                    </a:lnTo>
                    <a:lnTo>
                      <a:pt x="120" y="630"/>
                    </a:lnTo>
                    <a:lnTo>
                      <a:pt x="120" y="63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5" name="Freeform 158"/>
              <p:cNvSpPr>
                <a:spLocks noEditPoints="1"/>
              </p:cNvSpPr>
              <p:nvPr/>
            </p:nvSpPr>
            <p:spPr bwMode="auto">
              <a:xfrm>
                <a:off x="2540000" y="3708401"/>
                <a:ext cx="107950" cy="69850"/>
              </a:xfrm>
              <a:custGeom>
                <a:avLst/>
                <a:gdLst/>
                <a:ahLst/>
                <a:cxnLst>
                  <a:cxn ang="0">
                    <a:pos x="61" y="33"/>
                  </a:cxn>
                  <a:cxn ang="0">
                    <a:pos x="63" y="33"/>
                  </a:cxn>
                  <a:cxn ang="0">
                    <a:pos x="59" y="30"/>
                  </a:cxn>
                  <a:cxn ang="0">
                    <a:pos x="59" y="30"/>
                  </a:cxn>
                  <a:cxn ang="0">
                    <a:pos x="59" y="30"/>
                  </a:cxn>
                  <a:cxn ang="0">
                    <a:pos x="9" y="6"/>
                  </a:cxn>
                  <a:cxn ang="0">
                    <a:pos x="9" y="11"/>
                  </a:cxn>
                  <a:cxn ang="0">
                    <a:pos x="4" y="16"/>
                  </a:cxn>
                  <a:cxn ang="0">
                    <a:pos x="5" y="21"/>
                  </a:cxn>
                  <a:cxn ang="0">
                    <a:pos x="5" y="25"/>
                  </a:cxn>
                  <a:cxn ang="0">
                    <a:pos x="0" y="33"/>
                  </a:cxn>
                  <a:cxn ang="0">
                    <a:pos x="5" y="39"/>
                  </a:cxn>
                  <a:cxn ang="0">
                    <a:pos x="7" y="42"/>
                  </a:cxn>
                  <a:cxn ang="0">
                    <a:pos x="9" y="44"/>
                  </a:cxn>
                  <a:cxn ang="0">
                    <a:pos x="18" y="33"/>
                  </a:cxn>
                  <a:cxn ang="0">
                    <a:pos x="18" y="30"/>
                  </a:cxn>
                  <a:cxn ang="0">
                    <a:pos x="21" y="30"/>
                  </a:cxn>
                  <a:cxn ang="0">
                    <a:pos x="26" y="30"/>
                  </a:cxn>
                  <a:cxn ang="0">
                    <a:pos x="28" y="33"/>
                  </a:cxn>
                  <a:cxn ang="0">
                    <a:pos x="37" y="28"/>
                  </a:cxn>
                  <a:cxn ang="0">
                    <a:pos x="49" y="28"/>
                  </a:cxn>
                  <a:cxn ang="0">
                    <a:pos x="54" y="28"/>
                  </a:cxn>
                  <a:cxn ang="0">
                    <a:pos x="63" y="30"/>
                  </a:cxn>
                  <a:cxn ang="0">
                    <a:pos x="66" y="28"/>
                  </a:cxn>
                  <a:cxn ang="0">
                    <a:pos x="66" y="21"/>
                  </a:cxn>
                  <a:cxn ang="0">
                    <a:pos x="56" y="18"/>
                  </a:cxn>
                  <a:cxn ang="0">
                    <a:pos x="49" y="16"/>
                  </a:cxn>
                  <a:cxn ang="0">
                    <a:pos x="40" y="11"/>
                  </a:cxn>
                  <a:cxn ang="0">
                    <a:pos x="37" y="11"/>
                  </a:cxn>
                  <a:cxn ang="0">
                    <a:pos x="51" y="13"/>
                  </a:cxn>
                  <a:cxn ang="0">
                    <a:pos x="51" y="9"/>
                  </a:cxn>
                  <a:cxn ang="0">
                    <a:pos x="45" y="9"/>
                  </a:cxn>
                  <a:cxn ang="0">
                    <a:pos x="37" y="2"/>
                  </a:cxn>
                  <a:cxn ang="0">
                    <a:pos x="35" y="2"/>
                  </a:cxn>
                  <a:cxn ang="0">
                    <a:pos x="18" y="0"/>
                  </a:cxn>
                  <a:cxn ang="0">
                    <a:pos x="9" y="0"/>
                  </a:cxn>
                  <a:cxn ang="0">
                    <a:pos x="7" y="6"/>
                  </a:cxn>
                </a:cxnLst>
                <a:rect l="0" t="0" r="r" b="b"/>
                <a:pathLst>
                  <a:path w="68" h="44">
                    <a:moveTo>
                      <a:pt x="59" y="30"/>
                    </a:moveTo>
                    <a:lnTo>
                      <a:pt x="61" y="33"/>
                    </a:lnTo>
                    <a:lnTo>
                      <a:pt x="65" y="33"/>
                    </a:lnTo>
                    <a:lnTo>
                      <a:pt x="63" y="33"/>
                    </a:lnTo>
                    <a:lnTo>
                      <a:pt x="59" y="33"/>
                    </a:lnTo>
                    <a:lnTo>
                      <a:pt x="59" y="30"/>
                    </a:lnTo>
                    <a:lnTo>
                      <a:pt x="59" y="30"/>
                    </a:lnTo>
                    <a:lnTo>
                      <a:pt x="59" y="30"/>
                    </a:lnTo>
                    <a:lnTo>
                      <a:pt x="59" y="30"/>
                    </a:lnTo>
                    <a:lnTo>
                      <a:pt x="59" y="30"/>
                    </a:lnTo>
                    <a:close/>
                    <a:moveTo>
                      <a:pt x="7" y="6"/>
                    </a:moveTo>
                    <a:lnTo>
                      <a:pt x="9" y="6"/>
                    </a:lnTo>
                    <a:lnTo>
                      <a:pt x="7" y="9"/>
                    </a:lnTo>
                    <a:lnTo>
                      <a:pt x="9" y="11"/>
                    </a:lnTo>
                    <a:lnTo>
                      <a:pt x="7" y="16"/>
                    </a:lnTo>
                    <a:lnTo>
                      <a:pt x="4" y="16"/>
                    </a:lnTo>
                    <a:lnTo>
                      <a:pt x="4" y="18"/>
                    </a:lnTo>
                    <a:lnTo>
                      <a:pt x="5" y="21"/>
                    </a:lnTo>
                    <a:lnTo>
                      <a:pt x="5" y="25"/>
                    </a:lnTo>
                    <a:lnTo>
                      <a:pt x="5" y="25"/>
                    </a:lnTo>
                    <a:lnTo>
                      <a:pt x="0" y="30"/>
                    </a:lnTo>
                    <a:lnTo>
                      <a:pt x="0" y="33"/>
                    </a:lnTo>
                    <a:lnTo>
                      <a:pt x="2" y="33"/>
                    </a:lnTo>
                    <a:lnTo>
                      <a:pt x="5" y="39"/>
                    </a:lnTo>
                    <a:lnTo>
                      <a:pt x="4" y="39"/>
                    </a:lnTo>
                    <a:lnTo>
                      <a:pt x="7" y="42"/>
                    </a:lnTo>
                    <a:lnTo>
                      <a:pt x="7" y="42"/>
                    </a:lnTo>
                    <a:lnTo>
                      <a:pt x="9" y="44"/>
                    </a:lnTo>
                    <a:lnTo>
                      <a:pt x="12" y="39"/>
                    </a:lnTo>
                    <a:lnTo>
                      <a:pt x="18" y="33"/>
                    </a:lnTo>
                    <a:lnTo>
                      <a:pt x="14" y="30"/>
                    </a:lnTo>
                    <a:lnTo>
                      <a:pt x="18" y="30"/>
                    </a:lnTo>
                    <a:lnTo>
                      <a:pt x="18" y="30"/>
                    </a:lnTo>
                    <a:lnTo>
                      <a:pt x="21" y="30"/>
                    </a:lnTo>
                    <a:lnTo>
                      <a:pt x="23" y="28"/>
                    </a:lnTo>
                    <a:lnTo>
                      <a:pt x="26" y="30"/>
                    </a:lnTo>
                    <a:lnTo>
                      <a:pt x="26" y="33"/>
                    </a:lnTo>
                    <a:lnTo>
                      <a:pt x="28" y="33"/>
                    </a:lnTo>
                    <a:lnTo>
                      <a:pt x="33" y="33"/>
                    </a:lnTo>
                    <a:lnTo>
                      <a:pt x="37" y="28"/>
                    </a:lnTo>
                    <a:lnTo>
                      <a:pt x="42" y="25"/>
                    </a:lnTo>
                    <a:lnTo>
                      <a:pt x="49" y="28"/>
                    </a:lnTo>
                    <a:lnTo>
                      <a:pt x="51" y="25"/>
                    </a:lnTo>
                    <a:lnTo>
                      <a:pt x="54" y="28"/>
                    </a:lnTo>
                    <a:lnTo>
                      <a:pt x="58" y="30"/>
                    </a:lnTo>
                    <a:lnTo>
                      <a:pt x="63" y="30"/>
                    </a:lnTo>
                    <a:lnTo>
                      <a:pt x="63" y="28"/>
                    </a:lnTo>
                    <a:lnTo>
                      <a:pt x="66" y="28"/>
                    </a:lnTo>
                    <a:lnTo>
                      <a:pt x="68" y="25"/>
                    </a:lnTo>
                    <a:lnTo>
                      <a:pt x="66" y="21"/>
                    </a:lnTo>
                    <a:lnTo>
                      <a:pt x="58" y="18"/>
                    </a:lnTo>
                    <a:lnTo>
                      <a:pt x="56" y="18"/>
                    </a:lnTo>
                    <a:lnTo>
                      <a:pt x="51" y="16"/>
                    </a:lnTo>
                    <a:lnTo>
                      <a:pt x="49" y="16"/>
                    </a:lnTo>
                    <a:lnTo>
                      <a:pt x="45" y="14"/>
                    </a:lnTo>
                    <a:lnTo>
                      <a:pt x="40" y="11"/>
                    </a:lnTo>
                    <a:lnTo>
                      <a:pt x="37" y="11"/>
                    </a:lnTo>
                    <a:lnTo>
                      <a:pt x="37" y="11"/>
                    </a:lnTo>
                    <a:lnTo>
                      <a:pt x="42" y="11"/>
                    </a:lnTo>
                    <a:lnTo>
                      <a:pt x="51" y="13"/>
                    </a:lnTo>
                    <a:lnTo>
                      <a:pt x="54" y="11"/>
                    </a:lnTo>
                    <a:lnTo>
                      <a:pt x="51" y="9"/>
                    </a:lnTo>
                    <a:lnTo>
                      <a:pt x="49" y="9"/>
                    </a:lnTo>
                    <a:lnTo>
                      <a:pt x="45" y="9"/>
                    </a:lnTo>
                    <a:lnTo>
                      <a:pt x="42" y="2"/>
                    </a:lnTo>
                    <a:lnTo>
                      <a:pt x="37" y="2"/>
                    </a:lnTo>
                    <a:lnTo>
                      <a:pt x="37" y="6"/>
                    </a:lnTo>
                    <a:lnTo>
                      <a:pt x="35" y="2"/>
                    </a:lnTo>
                    <a:lnTo>
                      <a:pt x="19" y="0"/>
                    </a:lnTo>
                    <a:lnTo>
                      <a:pt x="18" y="0"/>
                    </a:lnTo>
                    <a:lnTo>
                      <a:pt x="14" y="0"/>
                    </a:lnTo>
                    <a:lnTo>
                      <a:pt x="9" y="0"/>
                    </a:lnTo>
                    <a:lnTo>
                      <a:pt x="7" y="6"/>
                    </a:lnTo>
                    <a:lnTo>
                      <a:pt x="7" y="6"/>
                    </a:lnTo>
                    <a:lnTo>
                      <a:pt x="7" y="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6" name="Freeform 159"/>
              <p:cNvSpPr>
                <a:spLocks/>
              </p:cNvSpPr>
              <p:nvPr/>
            </p:nvSpPr>
            <p:spPr bwMode="auto">
              <a:xfrm>
                <a:off x="2368550" y="3748088"/>
                <a:ext cx="61913" cy="22225"/>
              </a:xfrm>
              <a:custGeom>
                <a:avLst/>
                <a:gdLst/>
                <a:ahLst/>
                <a:cxnLst>
                  <a:cxn ang="0">
                    <a:pos x="6" y="0"/>
                  </a:cxn>
                  <a:cxn ang="0">
                    <a:pos x="9" y="1"/>
                  </a:cxn>
                  <a:cxn ang="0">
                    <a:pos x="16" y="0"/>
                  </a:cxn>
                  <a:cxn ang="0">
                    <a:pos x="28" y="0"/>
                  </a:cxn>
                  <a:cxn ang="0">
                    <a:pos x="32" y="3"/>
                  </a:cxn>
                  <a:cxn ang="0">
                    <a:pos x="35" y="7"/>
                  </a:cxn>
                  <a:cxn ang="0">
                    <a:pos x="39" y="8"/>
                  </a:cxn>
                  <a:cxn ang="0">
                    <a:pos x="39" y="10"/>
                  </a:cxn>
                  <a:cxn ang="0">
                    <a:pos x="34" y="10"/>
                  </a:cxn>
                  <a:cxn ang="0">
                    <a:pos x="30" y="8"/>
                  </a:cxn>
                  <a:cxn ang="0">
                    <a:pos x="30" y="12"/>
                  </a:cxn>
                  <a:cxn ang="0">
                    <a:pos x="28" y="12"/>
                  </a:cxn>
                  <a:cxn ang="0">
                    <a:pos x="27" y="10"/>
                  </a:cxn>
                  <a:cxn ang="0">
                    <a:pos x="25" y="10"/>
                  </a:cxn>
                  <a:cxn ang="0">
                    <a:pos x="25" y="14"/>
                  </a:cxn>
                  <a:cxn ang="0">
                    <a:pos x="18" y="14"/>
                  </a:cxn>
                  <a:cxn ang="0">
                    <a:pos x="18" y="12"/>
                  </a:cxn>
                  <a:cxn ang="0">
                    <a:pos x="13" y="12"/>
                  </a:cxn>
                  <a:cxn ang="0">
                    <a:pos x="11" y="10"/>
                  </a:cxn>
                  <a:cxn ang="0">
                    <a:pos x="9" y="7"/>
                  </a:cxn>
                  <a:cxn ang="0">
                    <a:pos x="6" y="7"/>
                  </a:cxn>
                  <a:cxn ang="0">
                    <a:pos x="4" y="7"/>
                  </a:cxn>
                  <a:cxn ang="0">
                    <a:pos x="0" y="3"/>
                  </a:cxn>
                  <a:cxn ang="0">
                    <a:pos x="2" y="1"/>
                  </a:cxn>
                  <a:cxn ang="0">
                    <a:pos x="6" y="0"/>
                  </a:cxn>
                  <a:cxn ang="0">
                    <a:pos x="6" y="0"/>
                  </a:cxn>
                  <a:cxn ang="0">
                    <a:pos x="6" y="0"/>
                  </a:cxn>
                </a:cxnLst>
                <a:rect l="0" t="0" r="r" b="b"/>
                <a:pathLst>
                  <a:path w="39" h="14">
                    <a:moveTo>
                      <a:pt x="6" y="0"/>
                    </a:moveTo>
                    <a:lnTo>
                      <a:pt x="9" y="1"/>
                    </a:lnTo>
                    <a:lnTo>
                      <a:pt x="16" y="0"/>
                    </a:lnTo>
                    <a:lnTo>
                      <a:pt x="28" y="0"/>
                    </a:lnTo>
                    <a:lnTo>
                      <a:pt x="32" y="3"/>
                    </a:lnTo>
                    <a:lnTo>
                      <a:pt x="35" y="7"/>
                    </a:lnTo>
                    <a:lnTo>
                      <a:pt x="39" y="8"/>
                    </a:lnTo>
                    <a:lnTo>
                      <a:pt x="39" y="10"/>
                    </a:lnTo>
                    <a:lnTo>
                      <a:pt x="34" y="10"/>
                    </a:lnTo>
                    <a:lnTo>
                      <a:pt x="30" y="8"/>
                    </a:lnTo>
                    <a:lnTo>
                      <a:pt x="30" y="12"/>
                    </a:lnTo>
                    <a:lnTo>
                      <a:pt x="28" y="12"/>
                    </a:lnTo>
                    <a:lnTo>
                      <a:pt x="27" y="10"/>
                    </a:lnTo>
                    <a:lnTo>
                      <a:pt x="25" y="10"/>
                    </a:lnTo>
                    <a:lnTo>
                      <a:pt x="25" y="14"/>
                    </a:lnTo>
                    <a:lnTo>
                      <a:pt x="18" y="14"/>
                    </a:lnTo>
                    <a:lnTo>
                      <a:pt x="18" y="12"/>
                    </a:lnTo>
                    <a:lnTo>
                      <a:pt x="13" y="12"/>
                    </a:lnTo>
                    <a:lnTo>
                      <a:pt x="11" y="10"/>
                    </a:lnTo>
                    <a:lnTo>
                      <a:pt x="9" y="7"/>
                    </a:lnTo>
                    <a:lnTo>
                      <a:pt x="6" y="7"/>
                    </a:lnTo>
                    <a:lnTo>
                      <a:pt x="4" y="7"/>
                    </a:lnTo>
                    <a:lnTo>
                      <a:pt x="0" y="3"/>
                    </a:lnTo>
                    <a:lnTo>
                      <a:pt x="2" y="1"/>
                    </a:lnTo>
                    <a:lnTo>
                      <a:pt x="6" y="0"/>
                    </a:lnTo>
                    <a:lnTo>
                      <a:pt x="6" y="0"/>
                    </a:lnTo>
                    <a:lnTo>
                      <a:pt x="6"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7" name="Freeform 160"/>
              <p:cNvSpPr>
                <a:spLocks noEditPoints="1"/>
              </p:cNvSpPr>
              <p:nvPr/>
            </p:nvSpPr>
            <p:spPr bwMode="auto">
              <a:xfrm>
                <a:off x="2471738" y="3700463"/>
                <a:ext cx="82550"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8" name="Freeform 161"/>
              <p:cNvSpPr>
                <a:spLocks noEditPoints="1"/>
              </p:cNvSpPr>
              <p:nvPr/>
            </p:nvSpPr>
            <p:spPr bwMode="auto">
              <a:xfrm>
                <a:off x="2471738" y="3700463"/>
                <a:ext cx="82550" cy="60325"/>
              </a:xfrm>
              <a:custGeom>
                <a:avLst/>
                <a:gdLst/>
                <a:ahLst/>
                <a:cxnLst>
                  <a:cxn ang="0">
                    <a:pos x="43" y="35"/>
                  </a:cxn>
                  <a:cxn ang="0">
                    <a:pos x="48" y="30"/>
                  </a:cxn>
                  <a:cxn ang="0">
                    <a:pos x="47" y="23"/>
                  </a:cxn>
                  <a:cxn ang="0">
                    <a:pos x="52" y="21"/>
                  </a:cxn>
                  <a:cxn ang="0">
                    <a:pos x="52" y="16"/>
                  </a:cxn>
                  <a:cxn ang="0">
                    <a:pos x="52" y="11"/>
                  </a:cxn>
                  <a:cxn ang="0">
                    <a:pos x="48" y="9"/>
                  </a:cxn>
                  <a:cxn ang="0">
                    <a:pos x="41" y="7"/>
                  </a:cxn>
                  <a:cxn ang="0">
                    <a:pos x="31" y="7"/>
                  </a:cxn>
                  <a:cxn ang="0">
                    <a:pos x="21" y="5"/>
                  </a:cxn>
                  <a:cxn ang="0">
                    <a:pos x="21" y="9"/>
                  </a:cxn>
                  <a:cxn ang="0">
                    <a:pos x="35" y="12"/>
                  </a:cxn>
                  <a:cxn ang="0">
                    <a:pos x="35" y="16"/>
                  </a:cxn>
                  <a:cxn ang="0">
                    <a:pos x="35" y="25"/>
                  </a:cxn>
                  <a:cxn ang="0">
                    <a:pos x="41" y="28"/>
                  </a:cxn>
                  <a:cxn ang="0">
                    <a:pos x="33" y="31"/>
                  </a:cxn>
                  <a:cxn ang="0">
                    <a:pos x="29" y="31"/>
                  </a:cxn>
                  <a:cxn ang="0">
                    <a:pos x="21" y="30"/>
                  </a:cxn>
                  <a:cxn ang="0">
                    <a:pos x="15" y="30"/>
                  </a:cxn>
                  <a:cxn ang="0">
                    <a:pos x="8" y="30"/>
                  </a:cxn>
                  <a:cxn ang="0">
                    <a:pos x="2" y="30"/>
                  </a:cxn>
                  <a:cxn ang="0">
                    <a:pos x="2" y="35"/>
                  </a:cxn>
                  <a:cxn ang="0">
                    <a:pos x="10" y="38"/>
                  </a:cxn>
                  <a:cxn ang="0">
                    <a:pos x="14" y="38"/>
                  </a:cxn>
                  <a:cxn ang="0">
                    <a:pos x="22" y="35"/>
                  </a:cxn>
                  <a:cxn ang="0">
                    <a:pos x="36" y="38"/>
                  </a:cxn>
                  <a:cxn ang="0">
                    <a:pos x="41" y="38"/>
                  </a:cxn>
                  <a:cxn ang="0">
                    <a:pos x="43" y="38"/>
                  </a:cxn>
                  <a:cxn ang="0">
                    <a:pos x="43" y="38"/>
                  </a:cxn>
                  <a:cxn ang="0">
                    <a:pos x="33" y="0"/>
                  </a:cxn>
                  <a:cxn ang="0">
                    <a:pos x="33" y="4"/>
                  </a:cxn>
                  <a:cxn ang="0">
                    <a:pos x="29" y="2"/>
                  </a:cxn>
                  <a:cxn ang="0">
                    <a:pos x="29" y="2"/>
                  </a:cxn>
                  <a:cxn ang="0">
                    <a:pos x="26" y="21"/>
                  </a:cxn>
                  <a:cxn ang="0">
                    <a:pos x="31" y="26"/>
                  </a:cxn>
                  <a:cxn ang="0">
                    <a:pos x="22" y="23"/>
                  </a:cxn>
                  <a:cxn ang="0">
                    <a:pos x="22" y="23"/>
                  </a:cxn>
                </a:cxnLst>
                <a:rect l="0" t="0" r="r" b="b"/>
                <a:pathLst>
                  <a:path w="52" h="38">
                    <a:moveTo>
                      <a:pt x="43" y="38"/>
                    </a:moveTo>
                    <a:lnTo>
                      <a:pt x="43" y="35"/>
                    </a:lnTo>
                    <a:lnTo>
                      <a:pt x="48" y="31"/>
                    </a:lnTo>
                    <a:lnTo>
                      <a:pt x="48" y="30"/>
                    </a:lnTo>
                    <a:lnTo>
                      <a:pt x="48" y="26"/>
                    </a:lnTo>
                    <a:lnTo>
                      <a:pt x="47" y="23"/>
                    </a:lnTo>
                    <a:lnTo>
                      <a:pt x="47" y="21"/>
                    </a:lnTo>
                    <a:lnTo>
                      <a:pt x="52" y="21"/>
                    </a:lnTo>
                    <a:lnTo>
                      <a:pt x="52" y="16"/>
                    </a:lnTo>
                    <a:lnTo>
                      <a:pt x="52" y="16"/>
                    </a:lnTo>
                    <a:lnTo>
                      <a:pt x="52" y="12"/>
                    </a:lnTo>
                    <a:lnTo>
                      <a:pt x="52" y="11"/>
                    </a:lnTo>
                    <a:lnTo>
                      <a:pt x="52" y="11"/>
                    </a:lnTo>
                    <a:lnTo>
                      <a:pt x="48" y="9"/>
                    </a:lnTo>
                    <a:lnTo>
                      <a:pt x="47" y="11"/>
                    </a:lnTo>
                    <a:lnTo>
                      <a:pt x="41" y="7"/>
                    </a:lnTo>
                    <a:lnTo>
                      <a:pt x="33" y="5"/>
                    </a:lnTo>
                    <a:lnTo>
                      <a:pt x="31" y="7"/>
                    </a:lnTo>
                    <a:lnTo>
                      <a:pt x="28" y="5"/>
                    </a:lnTo>
                    <a:lnTo>
                      <a:pt x="21" y="5"/>
                    </a:lnTo>
                    <a:lnTo>
                      <a:pt x="21" y="9"/>
                    </a:lnTo>
                    <a:lnTo>
                      <a:pt x="21" y="9"/>
                    </a:lnTo>
                    <a:lnTo>
                      <a:pt x="24" y="11"/>
                    </a:lnTo>
                    <a:lnTo>
                      <a:pt x="35" y="12"/>
                    </a:lnTo>
                    <a:lnTo>
                      <a:pt x="33" y="16"/>
                    </a:lnTo>
                    <a:lnTo>
                      <a:pt x="35" y="16"/>
                    </a:lnTo>
                    <a:lnTo>
                      <a:pt x="33" y="21"/>
                    </a:lnTo>
                    <a:lnTo>
                      <a:pt x="35" y="25"/>
                    </a:lnTo>
                    <a:lnTo>
                      <a:pt x="38" y="25"/>
                    </a:lnTo>
                    <a:lnTo>
                      <a:pt x="41" y="28"/>
                    </a:lnTo>
                    <a:lnTo>
                      <a:pt x="41" y="31"/>
                    </a:lnTo>
                    <a:lnTo>
                      <a:pt x="33" y="31"/>
                    </a:lnTo>
                    <a:lnTo>
                      <a:pt x="31" y="31"/>
                    </a:lnTo>
                    <a:lnTo>
                      <a:pt x="29" y="31"/>
                    </a:lnTo>
                    <a:lnTo>
                      <a:pt x="24" y="31"/>
                    </a:lnTo>
                    <a:lnTo>
                      <a:pt x="21" y="30"/>
                    </a:lnTo>
                    <a:lnTo>
                      <a:pt x="15" y="31"/>
                    </a:lnTo>
                    <a:lnTo>
                      <a:pt x="15" y="30"/>
                    </a:lnTo>
                    <a:lnTo>
                      <a:pt x="14" y="30"/>
                    </a:lnTo>
                    <a:lnTo>
                      <a:pt x="8" y="30"/>
                    </a:lnTo>
                    <a:lnTo>
                      <a:pt x="5" y="28"/>
                    </a:lnTo>
                    <a:lnTo>
                      <a:pt x="2" y="30"/>
                    </a:lnTo>
                    <a:lnTo>
                      <a:pt x="0" y="31"/>
                    </a:lnTo>
                    <a:lnTo>
                      <a:pt x="2" y="35"/>
                    </a:lnTo>
                    <a:lnTo>
                      <a:pt x="7" y="35"/>
                    </a:lnTo>
                    <a:lnTo>
                      <a:pt x="10" y="38"/>
                    </a:lnTo>
                    <a:lnTo>
                      <a:pt x="12" y="38"/>
                    </a:lnTo>
                    <a:lnTo>
                      <a:pt x="14" y="38"/>
                    </a:lnTo>
                    <a:lnTo>
                      <a:pt x="15" y="35"/>
                    </a:lnTo>
                    <a:lnTo>
                      <a:pt x="22" y="35"/>
                    </a:lnTo>
                    <a:lnTo>
                      <a:pt x="26" y="38"/>
                    </a:lnTo>
                    <a:lnTo>
                      <a:pt x="36" y="38"/>
                    </a:lnTo>
                    <a:lnTo>
                      <a:pt x="38" y="35"/>
                    </a:lnTo>
                    <a:lnTo>
                      <a:pt x="41" y="38"/>
                    </a:lnTo>
                    <a:lnTo>
                      <a:pt x="43" y="38"/>
                    </a:lnTo>
                    <a:lnTo>
                      <a:pt x="43" y="38"/>
                    </a:lnTo>
                    <a:lnTo>
                      <a:pt x="43" y="38"/>
                    </a:lnTo>
                    <a:lnTo>
                      <a:pt x="43" y="38"/>
                    </a:lnTo>
                    <a:close/>
                    <a:moveTo>
                      <a:pt x="29" y="2"/>
                    </a:moveTo>
                    <a:lnTo>
                      <a:pt x="33" y="0"/>
                    </a:lnTo>
                    <a:lnTo>
                      <a:pt x="40" y="4"/>
                    </a:lnTo>
                    <a:lnTo>
                      <a:pt x="33" y="4"/>
                    </a:lnTo>
                    <a:lnTo>
                      <a:pt x="29" y="2"/>
                    </a:lnTo>
                    <a:lnTo>
                      <a:pt x="29" y="2"/>
                    </a:lnTo>
                    <a:lnTo>
                      <a:pt x="29" y="2"/>
                    </a:lnTo>
                    <a:lnTo>
                      <a:pt x="29" y="2"/>
                    </a:lnTo>
                    <a:close/>
                    <a:moveTo>
                      <a:pt x="22" y="23"/>
                    </a:moveTo>
                    <a:lnTo>
                      <a:pt x="26" y="21"/>
                    </a:lnTo>
                    <a:lnTo>
                      <a:pt x="29" y="25"/>
                    </a:lnTo>
                    <a:lnTo>
                      <a:pt x="31" y="26"/>
                    </a:lnTo>
                    <a:lnTo>
                      <a:pt x="26" y="25"/>
                    </a:lnTo>
                    <a:lnTo>
                      <a:pt x="22" y="23"/>
                    </a:lnTo>
                    <a:lnTo>
                      <a:pt x="22" y="23"/>
                    </a:lnTo>
                    <a:lnTo>
                      <a:pt x="22" y="2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9" name="Freeform 162"/>
              <p:cNvSpPr>
                <a:spLocks noEditPoints="1"/>
              </p:cNvSpPr>
              <p:nvPr/>
            </p:nvSpPr>
            <p:spPr bwMode="auto">
              <a:xfrm>
                <a:off x="2198688" y="3606801"/>
                <a:ext cx="285750" cy="101600"/>
              </a:xfrm>
              <a:custGeom>
                <a:avLst/>
                <a:gdLst/>
                <a:ahLst/>
                <a:cxnLst>
                  <a:cxn ang="0">
                    <a:pos x="38" y="24"/>
                  </a:cxn>
                  <a:cxn ang="0">
                    <a:pos x="36" y="31"/>
                  </a:cxn>
                  <a:cxn ang="0">
                    <a:pos x="33" y="31"/>
                  </a:cxn>
                  <a:cxn ang="0">
                    <a:pos x="35" y="28"/>
                  </a:cxn>
                  <a:cxn ang="0">
                    <a:pos x="35" y="26"/>
                  </a:cxn>
                  <a:cxn ang="0">
                    <a:pos x="12" y="21"/>
                  </a:cxn>
                  <a:cxn ang="0">
                    <a:pos x="2" y="24"/>
                  </a:cxn>
                  <a:cxn ang="0">
                    <a:pos x="5" y="28"/>
                  </a:cxn>
                  <a:cxn ang="0">
                    <a:pos x="8" y="28"/>
                  </a:cxn>
                  <a:cxn ang="0">
                    <a:pos x="19" y="19"/>
                  </a:cxn>
                  <a:cxn ang="0">
                    <a:pos x="28" y="19"/>
                  </a:cxn>
                  <a:cxn ang="0">
                    <a:pos x="38" y="14"/>
                  </a:cxn>
                  <a:cxn ang="0">
                    <a:pos x="50" y="11"/>
                  </a:cxn>
                  <a:cxn ang="0">
                    <a:pos x="55" y="14"/>
                  </a:cxn>
                  <a:cxn ang="0">
                    <a:pos x="52" y="19"/>
                  </a:cxn>
                  <a:cxn ang="0">
                    <a:pos x="68" y="19"/>
                  </a:cxn>
                  <a:cxn ang="0">
                    <a:pos x="76" y="23"/>
                  </a:cxn>
                  <a:cxn ang="0">
                    <a:pos x="80" y="24"/>
                  </a:cxn>
                  <a:cxn ang="0">
                    <a:pos x="92" y="28"/>
                  </a:cxn>
                  <a:cxn ang="0">
                    <a:pos x="101" y="31"/>
                  </a:cxn>
                  <a:cxn ang="0">
                    <a:pos x="111" y="40"/>
                  </a:cxn>
                  <a:cxn ang="0">
                    <a:pos x="120" y="45"/>
                  </a:cxn>
                  <a:cxn ang="0">
                    <a:pos x="130" y="50"/>
                  </a:cxn>
                  <a:cxn ang="0">
                    <a:pos x="128" y="54"/>
                  </a:cxn>
                  <a:cxn ang="0">
                    <a:pos x="128" y="64"/>
                  </a:cxn>
                  <a:cxn ang="0">
                    <a:pos x="146" y="61"/>
                  </a:cxn>
                  <a:cxn ang="0">
                    <a:pos x="163" y="63"/>
                  </a:cxn>
                  <a:cxn ang="0">
                    <a:pos x="168" y="57"/>
                  </a:cxn>
                  <a:cxn ang="0">
                    <a:pos x="180" y="54"/>
                  </a:cxn>
                  <a:cxn ang="0">
                    <a:pos x="174" y="49"/>
                  </a:cxn>
                  <a:cxn ang="0">
                    <a:pos x="156" y="45"/>
                  </a:cxn>
                  <a:cxn ang="0">
                    <a:pos x="156" y="40"/>
                  </a:cxn>
                  <a:cxn ang="0">
                    <a:pos x="146" y="33"/>
                  </a:cxn>
                  <a:cxn ang="0">
                    <a:pos x="135" y="31"/>
                  </a:cxn>
                  <a:cxn ang="0">
                    <a:pos x="132" y="28"/>
                  </a:cxn>
                  <a:cxn ang="0">
                    <a:pos x="127" y="28"/>
                  </a:cxn>
                  <a:cxn ang="0">
                    <a:pos x="113" y="21"/>
                  </a:cxn>
                  <a:cxn ang="0">
                    <a:pos x="95" y="14"/>
                  </a:cxn>
                  <a:cxn ang="0">
                    <a:pos x="88" y="9"/>
                  </a:cxn>
                  <a:cxn ang="0">
                    <a:pos x="69" y="7"/>
                  </a:cxn>
                  <a:cxn ang="0">
                    <a:pos x="52" y="0"/>
                  </a:cxn>
                  <a:cxn ang="0">
                    <a:pos x="33" y="4"/>
                  </a:cxn>
                  <a:cxn ang="0">
                    <a:pos x="15" y="11"/>
                  </a:cxn>
                  <a:cxn ang="0">
                    <a:pos x="10" y="17"/>
                  </a:cxn>
                </a:cxnLst>
                <a:rect l="0" t="0" r="r" b="b"/>
                <a:pathLst>
                  <a:path w="180" h="64">
                    <a:moveTo>
                      <a:pt x="35" y="26"/>
                    </a:moveTo>
                    <a:lnTo>
                      <a:pt x="36" y="24"/>
                    </a:lnTo>
                    <a:lnTo>
                      <a:pt x="38" y="24"/>
                    </a:lnTo>
                    <a:lnTo>
                      <a:pt x="41" y="28"/>
                    </a:lnTo>
                    <a:lnTo>
                      <a:pt x="41" y="31"/>
                    </a:lnTo>
                    <a:lnTo>
                      <a:pt x="36" y="31"/>
                    </a:lnTo>
                    <a:lnTo>
                      <a:pt x="33" y="31"/>
                    </a:lnTo>
                    <a:lnTo>
                      <a:pt x="31" y="28"/>
                    </a:lnTo>
                    <a:lnTo>
                      <a:pt x="33" y="31"/>
                    </a:lnTo>
                    <a:lnTo>
                      <a:pt x="35" y="31"/>
                    </a:lnTo>
                    <a:lnTo>
                      <a:pt x="36" y="28"/>
                    </a:lnTo>
                    <a:lnTo>
                      <a:pt x="35" y="28"/>
                    </a:lnTo>
                    <a:lnTo>
                      <a:pt x="35" y="26"/>
                    </a:lnTo>
                    <a:lnTo>
                      <a:pt x="35" y="26"/>
                    </a:lnTo>
                    <a:lnTo>
                      <a:pt x="35" y="26"/>
                    </a:lnTo>
                    <a:lnTo>
                      <a:pt x="35" y="26"/>
                    </a:lnTo>
                    <a:close/>
                    <a:moveTo>
                      <a:pt x="10" y="17"/>
                    </a:moveTo>
                    <a:lnTo>
                      <a:pt x="12" y="21"/>
                    </a:lnTo>
                    <a:lnTo>
                      <a:pt x="12" y="23"/>
                    </a:lnTo>
                    <a:lnTo>
                      <a:pt x="8" y="21"/>
                    </a:lnTo>
                    <a:lnTo>
                      <a:pt x="2" y="24"/>
                    </a:lnTo>
                    <a:lnTo>
                      <a:pt x="0" y="23"/>
                    </a:lnTo>
                    <a:lnTo>
                      <a:pt x="0" y="26"/>
                    </a:lnTo>
                    <a:lnTo>
                      <a:pt x="5" y="28"/>
                    </a:lnTo>
                    <a:lnTo>
                      <a:pt x="7" y="23"/>
                    </a:lnTo>
                    <a:lnTo>
                      <a:pt x="8" y="24"/>
                    </a:lnTo>
                    <a:lnTo>
                      <a:pt x="8" y="28"/>
                    </a:lnTo>
                    <a:lnTo>
                      <a:pt x="12" y="24"/>
                    </a:lnTo>
                    <a:lnTo>
                      <a:pt x="15" y="24"/>
                    </a:lnTo>
                    <a:lnTo>
                      <a:pt x="19" y="19"/>
                    </a:lnTo>
                    <a:lnTo>
                      <a:pt x="24" y="19"/>
                    </a:lnTo>
                    <a:lnTo>
                      <a:pt x="24" y="17"/>
                    </a:lnTo>
                    <a:lnTo>
                      <a:pt x="28" y="19"/>
                    </a:lnTo>
                    <a:lnTo>
                      <a:pt x="29" y="19"/>
                    </a:lnTo>
                    <a:lnTo>
                      <a:pt x="36" y="14"/>
                    </a:lnTo>
                    <a:lnTo>
                      <a:pt x="38" y="14"/>
                    </a:lnTo>
                    <a:lnTo>
                      <a:pt x="41" y="11"/>
                    </a:lnTo>
                    <a:lnTo>
                      <a:pt x="47" y="11"/>
                    </a:lnTo>
                    <a:lnTo>
                      <a:pt x="50" y="11"/>
                    </a:lnTo>
                    <a:lnTo>
                      <a:pt x="55" y="11"/>
                    </a:lnTo>
                    <a:lnTo>
                      <a:pt x="57" y="14"/>
                    </a:lnTo>
                    <a:lnTo>
                      <a:pt x="55" y="14"/>
                    </a:lnTo>
                    <a:lnTo>
                      <a:pt x="52" y="14"/>
                    </a:lnTo>
                    <a:lnTo>
                      <a:pt x="50" y="16"/>
                    </a:lnTo>
                    <a:lnTo>
                      <a:pt x="52" y="19"/>
                    </a:lnTo>
                    <a:lnTo>
                      <a:pt x="61" y="21"/>
                    </a:lnTo>
                    <a:lnTo>
                      <a:pt x="64" y="19"/>
                    </a:lnTo>
                    <a:lnTo>
                      <a:pt x="68" y="19"/>
                    </a:lnTo>
                    <a:lnTo>
                      <a:pt x="69" y="21"/>
                    </a:lnTo>
                    <a:lnTo>
                      <a:pt x="74" y="23"/>
                    </a:lnTo>
                    <a:lnTo>
                      <a:pt x="76" y="23"/>
                    </a:lnTo>
                    <a:lnTo>
                      <a:pt x="78" y="21"/>
                    </a:lnTo>
                    <a:lnTo>
                      <a:pt x="80" y="23"/>
                    </a:lnTo>
                    <a:lnTo>
                      <a:pt x="80" y="24"/>
                    </a:lnTo>
                    <a:lnTo>
                      <a:pt x="87" y="28"/>
                    </a:lnTo>
                    <a:lnTo>
                      <a:pt x="92" y="28"/>
                    </a:lnTo>
                    <a:lnTo>
                      <a:pt x="92" y="28"/>
                    </a:lnTo>
                    <a:lnTo>
                      <a:pt x="95" y="31"/>
                    </a:lnTo>
                    <a:lnTo>
                      <a:pt x="97" y="28"/>
                    </a:lnTo>
                    <a:lnTo>
                      <a:pt x="101" y="31"/>
                    </a:lnTo>
                    <a:lnTo>
                      <a:pt x="106" y="28"/>
                    </a:lnTo>
                    <a:lnTo>
                      <a:pt x="107" y="28"/>
                    </a:lnTo>
                    <a:lnTo>
                      <a:pt x="111" y="40"/>
                    </a:lnTo>
                    <a:lnTo>
                      <a:pt x="114" y="47"/>
                    </a:lnTo>
                    <a:lnTo>
                      <a:pt x="118" y="47"/>
                    </a:lnTo>
                    <a:lnTo>
                      <a:pt x="120" y="45"/>
                    </a:lnTo>
                    <a:lnTo>
                      <a:pt x="123" y="49"/>
                    </a:lnTo>
                    <a:lnTo>
                      <a:pt x="130" y="49"/>
                    </a:lnTo>
                    <a:lnTo>
                      <a:pt x="130" y="50"/>
                    </a:lnTo>
                    <a:lnTo>
                      <a:pt x="134" y="50"/>
                    </a:lnTo>
                    <a:lnTo>
                      <a:pt x="134" y="54"/>
                    </a:lnTo>
                    <a:lnTo>
                      <a:pt x="128" y="54"/>
                    </a:lnTo>
                    <a:lnTo>
                      <a:pt x="123" y="59"/>
                    </a:lnTo>
                    <a:lnTo>
                      <a:pt x="123" y="63"/>
                    </a:lnTo>
                    <a:lnTo>
                      <a:pt x="128" y="64"/>
                    </a:lnTo>
                    <a:lnTo>
                      <a:pt x="134" y="61"/>
                    </a:lnTo>
                    <a:lnTo>
                      <a:pt x="137" y="63"/>
                    </a:lnTo>
                    <a:lnTo>
                      <a:pt x="146" y="61"/>
                    </a:lnTo>
                    <a:lnTo>
                      <a:pt x="147" y="61"/>
                    </a:lnTo>
                    <a:lnTo>
                      <a:pt x="154" y="64"/>
                    </a:lnTo>
                    <a:lnTo>
                      <a:pt x="163" y="63"/>
                    </a:lnTo>
                    <a:lnTo>
                      <a:pt x="163" y="59"/>
                    </a:lnTo>
                    <a:lnTo>
                      <a:pt x="165" y="61"/>
                    </a:lnTo>
                    <a:lnTo>
                      <a:pt x="168" y="57"/>
                    </a:lnTo>
                    <a:lnTo>
                      <a:pt x="175" y="59"/>
                    </a:lnTo>
                    <a:lnTo>
                      <a:pt x="179" y="57"/>
                    </a:lnTo>
                    <a:lnTo>
                      <a:pt x="180" y="54"/>
                    </a:lnTo>
                    <a:lnTo>
                      <a:pt x="179" y="54"/>
                    </a:lnTo>
                    <a:lnTo>
                      <a:pt x="177" y="54"/>
                    </a:lnTo>
                    <a:lnTo>
                      <a:pt x="174" y="49"/>
                    </a:lnTo>
                    <a:lnTo>
                      <a:pt x="168" y="45"/>
                    </a:lnTo>
                    <a:lnTo>
                      <a:pt x="158" y="45"/>
                    </a:lnTo>
                    <a:lnTo>
                      <a:pt x="156" y="45"/>
                    </a:lnTo>
                    <a:lnTo>
                      <a:pt x="158" y="44"/>
                    </a:lnTo>
                    <a:lnTo>
                      <a:pt x="160" y="40"/>
                    </a:lnTo>
                    <a:lnTo>
                      <a:pt x="156" y="40"/>
                    </a:lnTo>
                    <a:lnTo>
                      <a:pt x="154" y="40"/>
                    </a:lnTo>
                    <a:lnTo>
                      <a:pt x="151" y="40"/>
                    </a:lnTo>
                    <a:lnTo>
                      <a:pt x="146" y="33"/>
                    </a:lnTo>
                    <a:lnTo>
                      <a:pt x="142" y="37"/>
                    </a:lnTo>
                    <a:lnTo>
                      <a:pt x="141" y="33"/>
                    </a:lnTo>
                    <a:lnTo>
                      <a:pt x="135" y="31"/>
                    </a:lnTo>
                    <a:lnTo>
                      <a:pt x="134" y="31"/>
                    </a:lnTo>
                    <a:lnTo>
                      <a:pt x="132" y="31"/>
                    </a:lnTo>
                    <a:lnTo>
                      <a:pt x="132" y="28"/>
                    </a:lnTo>
                    <a:lnTo>
                      <a:pt x="130" y="28"/>
                    </a:lnTo>
                    <a:lnTo>
                      <a:pt x="130" y="31"/>
                    </a:lnTo>
                    <a:lnTo>
                      <a:pt x="127" y="28"/>
                    </a:lnTo>
                    <a:lnTo>
                      <a:pt x="120" y="28"/>
                    </a:lnTo>
                    <a:lnTo>
                      <a:pt x="118" y="23"/>
                    </a:lnTo>
                    <a:lnTo>
                      <a:pt x="113" y="21"/>
                    </a:lnTo>
                    <a:lnTo>
                      <a:pt x="109" y="17"/>
                    </a:lnTo>
                    <a:lnTo>
                      <a:pt x="99" y="16"/>
                    </a:lnTo>
                    <a:lnTo>
                      <a:pt x="95" y="14"/>
                    </a:lnTo>
                    <a:lnTo>
                      <a:pt x="95" y="11"/>
                    </a:lnTo>
                    <a:lnTo>
                      <a:pt x="92" y="9"/>
                    </a:lnTo>
                    <a:lnTo>
                      <a:pt x="88" y="9"/>
                    </a:lnTo>
                    <a:lnTo>
                      <a:pt x="87" y="7"/>
                    </a:lnTo>
                    <a:lnTo>
                      <a:pt x="73" y="5"/>
                    </a:lnTo>
                    <a:lnTo>
                      <a:pt x="69" y="7"/>
                    </a:lnTo>
                    <a:lnTo>
                      <a:pt x="64" y="5"/>
                    </a:lnTo>
                    <a:lnTo>
                      <a:pt x="61" y="2"/>
                    </a:lnTo>
                    <a:lnTo>
                      <a:pt x="52" y="0"/>
                    </a:lnTo>
                    <a:lnTo>
                      <a:pt x="47" y="0"/>
                    </a:lnTo>
                    <a:lnTo>
                      <a:pt x="41" y="4"/>
                    </a:lnTo>
                    <a:lnTo>
                      <a:pt x="33" y="4"/>
                    </a:lnTo>
                    <a:lnTo>
                      <a:pt x="28" y="5"/>
                    </a:lnTo>
                    <a:lnTo>
                      <a:pt x="24" y="9"/>
                    </a:lnTo>
                    <a:lnTo>
                      <a:pt x="15" y="11"/>
                    </a:lnTo>
                    <a:lnTo>
                      <a:pt x="14" y="14"/>
                    </a:lnTo>
                    <a:lnTo>
                      <a:pt x="10" y="14"/>
                    </a:lnTo>
                    <a:lnTo>
                      <a:pt x="10" y="17"/>
                    </a:lnTo>
                    <a:lnTo>
                      <a:pt x="10" y="17"/>
                    </a:lnTo>
                    <a:lnTo>
                      <a:pt x="10"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0" name="Freeform 163"/>
              <p:cNvSpPr>
                <a:spLocks/>
              </p:cNvSpPr>
              <p:nvPr/>
            </p:nvSpPr>
            <p:spPr bwMode="auto">
              <a:xfrm>
                <a:off x="2254250" y="4002088"/>
                <a:ext cx="131763" cy="63500"/>
              </a:xfrm>
              <a:custGeom>
                <a:avLst/>
                <a:gdLst/>
                <a:ahLst/>
                <a:cxnLst>
                  <a:cxn ang="0">
                    <a:pos x="71" y="34"/>
                  </a:cxn>
                  <a:cxn ang="0">
                    <a:pos x="66" y="28"/>
                  </a:cxn>
                  <a:cxn ang="0">
                    <a:pos x="69" y="21"/>
                  </a:cxn>
                  <a:cxn ang="0">
                    <a:pos x="72" y="21"/>
                  </a:cxn>
                  <a:cxn ang="0">
                    <a:pos x="71" y="19"/>
                  </a:cxn>
                  <a:cxn ang="0">
                    <a:pos x="69" y="21"/>
                  </a:cxn>
                  <a:cxn ang="0">
                    <a:pos x="66" y="17"/>
                  </a:cxn>
                  <a:cxn ang="0">
                    <a:pos x="60" y="12"/>
                  </a:cxn>
                  <a:cxn ang="0">
                    <a:pos x="55" y="8"/>
                  </a:cxn>
                  <a:cxn ang="0">
                    <a:pos x="48" y="12"/>
                  </a:cxn>
                  <a:cxn ang="0">
                    <a:pos x="48" y="15"/>
                  </a:cxn>
                  <a:cxn ang="0">
                    <a:pos x="45" y="21"/>
                  </a:cxn>
                  <a:cxn ang="0">
                    <a:pos x="38" y="24"/>
                  </a:cxn>
                  <a:cxn ang="0">
                    <a:pos x="38" y="28"/>
                  </a:cxn>
                  <a:cxn ang="0">
                    <a:pos x="43" y="33"/>
                  </a:cxn>
                  <a:cxn ang="0">
                    <a:pos x="41" y="34"/>
                  </a:cxn>
                  <a:cxn ang="0">
                    <a:pos x="38" y="36"/>
                  </a:cxn>
                  <a:cxn ang="0">
                    <a:pos x="31" y="40"/>
                  </a:cxn>
                  <a:cxn ang="0">
                    <a:pos x="31" y="34"/>
                  </a:cxn>
                  <a:cxn ang="0">
                    <a:pos x="31" y="29"/>
                  </a:cxn>
                  <a:cxn ang="0">
                    <a:pos x="26" y="29"/>
                  </a:cxn>
                  <a:cxn ang="0">
                    <a:pos x="26" y="33"/>
                  </a:cxn>
                  <a:cxn ang="0">
                    <a:pos x="24" y="33"/>
                  </a:cxn>
                  <a:cxn ang="0">
                    <a:pos x="19" y="29"/>
                  </a:cxn>
                  <a:cxn ang="0">
                    <a:pos x="12" y="24"/>
                  </a:cxn>
                  <a:cxn ang="0">
                    <a:pos x="12" y="21"/>
                  </a:cxn>
                  <a:cxn ang="0">
                    <a:pos x="10" y="21"/>
                  </a:cxn>
                  <a:cxn ang="0">
                    <a:pos x="3" y="21"/>
                  </a:cxn>
                  <a:cxn ang="0">
                    <a:pos x="0" y="21"/>
                  </a:cxn>
                  <a:cxn ang="0">
                    <a:pos x="1" y="15"/>
                  </a:cxn>
                  <a:cxn ang="0">
                    <a:pos x="1" y="12"/>
                  </a:cxn>
                  <a:cxn ang="0">
                    <a:pos x="0" y="8"/>
                  </a:cxn>
                  <a:cxn ang="0">
                    <a:pos x="1" y="3"/>
                  </a:cxn>
                  <a:cxn ang="0">
                    <a:pos x="6" y="1"/>
                  </a:cxn>
                  <a:cxn ang="0">
                    <a:pos x="8" y="5"/>
                  </a:cxn>
                  <a:cxn ang="0">
                    <a:pos x="12" y="7"/>
                  </a:cxn>
                  <a:cxn ang="0">
                    <a:pos x="12" y="8"/>
                  </a:cxn>
                  <a:cxn ang="0">
                    <a:pos x="12" y="10"/>
                  </a:cxn>
                  <a:cxn ang="0">
                    <a:pos x="15" y="10"/>
                  </a:cxn>
                  <a:cxn ang="0">
                    <a:pos x="15" y="8"/>
                  </a:cxn>
                  <a:cxn ang="0">
                    <a:pos x="19" y="8"/>
                  </a:cxn>
                  <a:cxn ang="0">
                    <a:pos x="29" y="14"/>
                  </a:cxn>
                  <a:cxn ang="0">
                    <a:pos x="34" y="10"/>
                  </a:cxn>
                  <a:cxn ang="0">
                    <a:pos x="48" y="3"/>
                  </a:cxn>
                  <a:cxn ang="0">
                    <a:pos x="55" y="0"/>
                  </a:cxn>
                  <a:cxn ang="0">
                    <a:pos x="57" y="3"/>
                  </a:cxn>
                  <a:cxn ang="0">
                    <a:pos x="66" y="3"/>
                  </a:cxn>
                  <a:cxn ang="0">
                    <a:pos x="74" y="8"/>
                  </a:cxn>
                  <a:cxn ang="0">
                    <a:pos x="78" y="14"/>
                  </a:cxn>
                  <a:cxn ang="0">
                    <a:pos x="81" y="15"/>
                  </a:cxn>
                  <a:cxn ang="0">
                    <a:pos x="81" y="21"/>
                  </a:cxn>
                  <a:cxn ang="0">
                    <a:pos x="81" y="29"/>
                  </a:cxn>
                  <a:cxn ang="0">
                    <a:pos x="78" y="33"/>
                  </a:cxn>
                  <a:cxn ang="0">
                    <a:pos x="74" y="38"/>
                  </a:cxn>
                  <a:cxn ang="0">
                    <a:pos x="74" y="38"/>
                  </a:cxn>
                </a:cxnLst>
                <a:rect l="0" t="0" r="r" b="b"/>
                <a:pathLst>
                  <a:path w="83" h="40">
                    <a:moveTo>
                      <a:pt x="74" y="38"/>
                    </a:moveTo>
                    <a:lnTo>
                      <a:pt x="71" y="34"/>
                    </a:lnTo>
                    <a:lnTo>
                      <a:pt x="69" y="29"/>
                    </a:lnTo>
                    <a:lnTo>
                      <a:pt x="66" y="28"/>
                    </a:lnTo>
                    <a:lnTo>
                      <a:pt x="69" y="24"/>
                    </a:lnTo>
                    <a:lnTo>
                      <a:pt x="69" y="21"/>
                    </a:lnTo>
                    <a:lnTo>
                      <a:pt x="71" y="21"/>
                    </a:lnTo>
                    <a:lnTo>
                      <a:pt x="72" y="21"/>
                    </a:lnTo>
                    <a:lnTo>
                      <a:pt x="72" y="17"/>
                    </a:lnTo>
                    <a:lnTo>
                      <a:pt x="71" y="19"/>
                    </a:lnTo>
                    <a:lnTo>
                      <a:pt x="69" y="21"/>
                    </a:lnTo>
                    <a:lnTo>
                      <a:pt x="69" y="21"/>
                    </a:lnTo>
                    <a:lnTo>
                      <a:pt x="66" y="21"/>
                    </a:lnTo>
                    <a:lnTo>
                      <a:pt x="66" y="17"/>
                    </a:lnTo>
                    <a:lnTo>
                      <a:pt x="62" y="14"/>
                    </a:lnTo>
                    <a:lnTo>
                      <a:pt x="60" y="12"/>
                    </a:lnTo>
                    <a:lnTo>
                      <a:pt x="59" y="10"/>
                    </a:lnTo>
                    <a:lnTo>
                      <a:pt x="55" y="8"/>
                    </a:lnTo>
                    <a:lnTo>
                      <a:pt x="52" y="8"/>
                    </a:lnTo>
                    <a:lnTo>
                      <a:pt x="48" y="12"/>
                    </a:lnTo>
                    <a:lnTo>
                      <a:pt x="48" y="15"/>
                    </a:lnTo>
                    <a:lnTo>
                      <a:pt x="48" y="15"/>
                    </a:lnTo>
                    <a:lnTo>
                      <a:pt x="48" y="17"/>
                    </a:lnTo>
                    <a:lnTo>
                      <a:pt x="45" y="21"/>
                    </a:lnTo>
                    <a:lnTo>
                      <a:pt x="39" y="21"/>
                    </a:lnTo>
                    <a:lnTo>
                      <a:pt x="38" y="24"/>
                    </a:lnTo>
                    <a:lnTo>
                      <a:pt x="38" y="24"/>
                    </a:lnTo>
                    <a:lnTo>
                      <a:pt x="38" y="28"/>
                    </a:lnTo>
                    <a:lnTo>
                      <a:pt x="39" y="29"/>
                    </a:lnTo>
                    <a:lnTo>
                      <a:pt x="43" y="33"/>
                    </a:lnTo>
                    <a:lnTo>
                      <a:pt x="43" y="34"/>
                    </a:lnTo>
                    <a:lnTo>
                      <a:pt x="41" y="34"/>
                    </a:lnTo>
                    <a:lnTo>
                      <a:pt x="38" y="34"/>
                    </a:lnTo>
                    <a:lnTo>
                      <a:pt x="38" y="36"/>
                    </a:lnTo>
                    <a:lnTo>
                      <a:pt x="34" y="40"/>
                    </a:lnTo>
                    <a:lnTo>
                      <a:pt x="31" y="40"/>
                    </a:lnTo>
                    <a:lnTo>
                      <a:pt x="29" y="36"/>
                    </a:lnTo>
                    <a:lnTo>
                      <a:pt x="31" y="34"/>
                    </a:lnTo>
                    <a:lnTo>
                      <a:pt x="29" y="33"/>
                    </a:lnTo>
                    <a:lnTo>
                      <a:pt x="31" y="29"/>
                    </a:lnTo>
                    <a:lnTo>
                      <a:pt x="29" y="29"/>
                    </a:lnTo>
                    <a:lnTo>
                      <a:pt x="26" y="29"/>
                    </a:lnTo>
                    <a:lnTo>
                      <a:pt x="26" y="29"/>
                    </a:lnTo>
                    <a:lnTo>
                      <a:pt x="26" y="33"/>
                    </a:lnTo>
                    <a:lnTo>
                      <a:pt x="26" y="33"/>
                    </a:lnTo>
                    <a:lnTo>
                      <a:pt x="24" y="33"/>
                    </a:lnTo>
                    <a:lnTo>
                      <a:pt x="20" y="33"/>
                    </a:lnTo>
                    <a:lnTo>
                      <a:pt x="19" y="29"/>
                    </a:lnTo>
                    <a:lnTo>
                      <a:pt x="19" y="24"/>
                    </a:lnTo>
                    <a:lnTo>
                      <a:pt x="12" y="24"/>
                    </a:lnTo>
                    <a:lnTo>
                      <a:pt x="12" y="24"/>
                    </a:lnTo>
                    <a:lnTo>
                      <a:pt x="12" y="21"/>
                    </a:lnTo>
                    <a:lnTo>
                      <a:pt x="10" y="21"/>
                    </a:lnTo>
                    <a:lnTo>
                      <a:pt x="10" y="21"/>
                    </a:lnTo>
                    <a:lnTo>
                      <a:pt x="6" y="21"/>
                    </a:lnTo>
                    <a:lnTo>
                      <a:pt x="3" y="21"/>
                    </a:lnTo>
                    <a:lnTo>
                      <a:pt x="1" y="21"/>
                    </a:lnTo>
                    <a:lnTo>
                      <a:pt x="0" y="21"/>
                    </a:lnTo>
                    <a:lnTo>
                      <a:pt x="0" y="19"/>
                    </a:lnTo>
                    <a:lnTo>
                      <a:pt x="1" y="15"/>
                    </a:lnTo>
                    <a:lnTo>
                      <a:pt x="3" y="14"/>
                    </a:lnTo>
                    <a:lnTo>
                      <a:pt x="1" y="12"/>
                    </a:lnTo>
                    <a:lnTo>
                      <a:pt x="0" y="10"/>
                    </a:lnTo>
                    <a:lnTo>
                      <a:pt x="0" y="8"/>
                    </a:lnTo>
                    <a:lnTo>
                      <a:pt x="1" y="7"/>
                    </a:lnTo>
                    <a:lnTo>
                      <a:pt x="1" y="3"/>
                    </a:lnTo>
                    <a:lnTo>
                      <a:pt x="3" y="1"/>
                    </a:lnTo>
                    <a:lnTo>
                      <a:pt x="6" y="1"/>
                    </a:lnTo>
                    <a:lnTo>
                      <a:pt x="6" y="3"/>
                    </a:lnTo>
                    <a:lnTo>
                      <a:pt x="8" y="5"/>
                    </a:lnTo>
                    <a:lnTo>
                      <a:pt x="10" y="7"/>
                    </a:lnTo>
                    <a:lnTo>
                      <a:pt x="12" y="7"/>
                    </a:lnTo>
                    <a:lnTo>
                      <a:pt x="12" y="7"/>
                    </a:lnTo>
                    <a:lnTo>
                      <a:pt x="12" y="8"/>
                    </a:lnTo>
                    <a:lnTo>
                      <a:pt x="12" y="8"/>
                    </a:lnTo>
                    <a:lnTo>
                      <a:pt x="12" y="10"/>
                    </a:lnTo>
                    <a:lnTo>
                      <a:pt x="15" y="12"/>
                    </a:lnTo>
                    <a:lnTo>
                      <a:pt x="15" y="10"/>
                    </a:lnTo>
                    <a:lnTo>
                      <a:pt x="15" y="8"/>
                    </a:lnTo>
                    <a:lnTo>
                      <a:pt x="15" y="8"/>
                    </a:lnTo>
                    <a:lnTo>
                      <a:pt x="15" y="7"/>
                    </a:lnTo>
                    <a:lnTo>
                      <a:pt x="19" y="8"/>
                    </a:lnTo>
                    <a:lnTo>
                      <a:pt x="24" y="12"/>
                    </a:lnTo>
                    <a:lnTo>
                      <a:pt x="29" y="14"/>
                    </a:lnTo>
                    <a:lnTo>
                      <a:pt x="33" y="12"/>
                    </a:lnTo>
                    <a:lnTo>
                      <a:pt x="34" y="10"/>
                    </a:lnTo>
                    <a:lnTo>
                      <a:pt x="43" y="5"/>
                    </a:lnTo>
                    <a:lnTo>
                      <a:pt x="48" y="3"/>
                    </a:lnTo>
                    <a:lnTo>
                      <a:pt x="52" y="0"/>
                    </a:lnTo>
                    <a:lnTo>
                      <a:pt x="55" y="0"/>
                    </a:lnTo>
                    <a:lnTo>
                      <a:pt x="55" y="1"/>
                    </a:lnTo>
                    <a:lnTo>
                      <a:pt x="57" y="3"/>
                    </a:lnTo>
                    <a:lnTo>
                      <a:pt x="59" y="3"/>
                    </a:lnTo>
                    <a:lnTo>
                      <a:pt x="66" y="3"/>
                    </a:lnTo>
                    <a:lnTo>
                      <a:pt x="69" y="3"/>
                    </a:lnTo>
                    <a:lnTo>
                      <a:pt x="74" y="8"/>
                    </a:lnTo>
                    <a:lnTo>
                      <a:pt x="78" y="12"/>
                    </a:lnTo>
                    <a:lnTo>
                      <a:pt x="78" y="14"/>
                    </a:lnTo>
                    <a:lnTo>
                      <a:pt x="81" y="14"/>
                    </a:lnTo>
                    <a:lnTo>
                      <a:pt x="81" y="15"/>
                    </a:lnTo>
                    <a:lnTo>
                      <a:pt x="81" y="19"/>
                    </a:lnTo>
                    <a:lnTo>
                      <a:pt x="81" y="21"/>
                    </a:lnTo>
                    <a:lnTo>
                      <a:pt x="83" y="24"/>
                    </a:lnTo>
                    <a:lnTo>
                      <a:pt x="81" y="29"/>
                    </a:lnTo>
                    <a:lnTo>
                      <a:pt x="79" y="33"/>
                    </a:lnTo>
                    <a:lnTo>
                      <a:pt x="78" y="33"/>
                    </a:lnTo>
                    <a:lnTo>
                      <a:pt x="76" y="33"/>
                    </a:lnTo>
                    <a:lnTo>
                      <a:pt x="74" y="38"/>
                    </a:lnTo>
                    <a:lnTo>
                      <a:pt x="74" y="38"/>
                    </a:lnTo>
                    <a:lnTo>
                      <a:pt x="74" y="3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1" name="Freeform 164"/>
              <p:cNvSpPr>
                <a:spLocks/>
              </p:cNvSpPr>
              <p:nvPr/>
            </p:nvSpPr>
            <p:spPr bwMode="auto">
              <a:xfrm>
                <a:off x="2154238" y="3957638"/>
                <a:ext cx="90488" cy="82550"/>
              </a:xfrm>
              <a:custGeom>
                <a:avLst/>
                <a:gdLst/>
                <a:ahLst/>
                <a:cxnLst>
                  <a:cxn ang="0">
                    <a:pos x="50" y="49"/>
                  </a:cxn>
                  <a:cxn ang="0">
                    <a:pos x="52" y="49"/>
                  </a:cxn>
                  <a:cxn ang="0">
                    <a:pos x="52" y="52"/>
                  </a:cxn>
                  <a:cxn ang="0">
                    <a:pos x="49" y="50"/>
                  </a:cxn>
                  <a:cxn ang="0">
                    <a:pos x="45" y="49"/>
                  </a:cxn>
                  <a:cxn ang="0">
                    <a:pos x="45" y="43"/>
                  </a:cxn>
                  <a:cxn ang="0">
                    <a:pos x="40" y="43"/>
                  </a:cxn>
                  <a:cxn ang="0">
                    <a:pos x="42" y="45"/>
                  </a:cxn>
                  <a:cxn ang="0">
                    <a:pos x="45" y="49"/>
                  </a:cxn>
                  <a:cxn ang="0">
                    <a:pos x="40" y="49"/>
                  </a:cxn>
                  <a:cxn ang="0">
                    <a:pos x="35" y="45"/>
                  </a:cxn>
                  <a:cxn ang="0">
                    <a:pos x="36" y="40"/>
                  </a:cxn>
                  <a:cxn ang="0">
                    <a:pos x="33" y="33"/>
                  </a:cxn>
                  <a:cxn ang="0">
                    <a:pos x="28" y="31"/>
                  </a:cxn>
                  <a:cxn ang="0">
                    <a:pos x="23" y="24"/>
                  </a:cxn>
                  <a:cxn ang="0">
                    <a:pos x="19" y="19"/>
                  </a:cxn>
                  <a:cxn ang="0">
                    <a:pos x="12" y="17"/>
                  </a:cxn>
                  <a:cxn ang="0">
                    <a:pos x="12" y="19"/>
                  </a:cxn>
                  <a:cxn ang="0">
                    <a:pos x="17" y="26"/>
                  </a:cxn>
                  <a:cxn ang="0">
                    <a:pos x="14" y="28"/>
                  </a:cxn>
                  <a:cxn ang="0">
                    <a:pos x="9" y="24"/>
                  </a:cxn>
                  <a:cxn ang="0">
                    <a:pos x="0" y="19"/>
                  </a:cxn>
                  <a:cxn ang="0">
                    <a:pos x="0" y="14"/>
                  </a:cxn>
                  <a:cxn ang="0">
                    <a:pos x="3" y="9"/>
                  </a:cxn>
                  <a:cxn ang="0">
                    <a:pos x="0" y="7"/>
                  </a:cxn>
                  <a:cxn ang="0">
                    <a:pos x="3" y="2"/>
                  </a:cxn>
                  <a:cxn ang="0">
                    <a:pos x="3" y="0"/>
                  </a:cxn>
                  <a:cxn ang="0">
                    <a:pos x="9" y="0"/>
                  </a:cxn>
                  <a:cxn ang="0">
                    <a:pos x="21" y="2"/>
                  </a:cxn>
                  <a:cxn ang="0">
                    <a:pos x="28" y="3"/>
                  </a:cxn>
                  <a:cxn ang="0">
                    <a:pos x="30" y="5"/>
                  </a:cxn>
                  <a:cxn ang="0">
                    <a:pos x="36" y="9"/>
                  </a:cxn>
                  <a:cxn ang="0">
                    <a:pos x="36" y="10"/>
                  </a:cxn>
                  <a:cxn ang="0">
                    <a:pos x="40" y="9"/>
                  </a:cxn>
                  <a:cxn ang="0">
                    <a:pos x="45" y="10"/>
                  </a:cxn>
                  <a:cxn ang="0">
                    <a:pos x="45" y="17"/>
                  </a:cxn>
                  <a:cxn ang="0">
                    <a:pos x="50" y="23"/>
                  </a:cxn>
                  <a:cxn ang="0">
                    <a:pos x="56" y="26"/>
                  </a:cxn>
                  <a:cxn ang="0">
                    <a:pos x="57" y="28"/>
                  </a:cxn>
                  <a:cxn ang="0">
                    <a:pos x="54" y="28"/>
                  </a:cxn>
                  <a:cxn ang="0">
                    <a:pos x="50" y="35"/>
                  </a:cxn>
                  <a:cxn ang="0">
                    <a:pos x="52" y="38"/>
                  </a:cxn>
                  <a:cxn ang="0">
                    <a:pos x="52" y="43"/>
                  </a:cxn>
                  <a:cxn ang="0">
                    <a:pos x="50" y="49"/>
                  </a:cxn>
                  <a:cxn ang="0">
                    <a:pos x="50" y="49"/>
                  </a:cxn>
                  <a:cxn ang="0">
                    <a:pos x="50" y="49"/>
                  </a:cxn>
                </a:cxnLst>
                <a:rect l="0" t="0" r="r" b="b"/>
                <a:pathLst>
                  <a:path w="57" h="52">
                    <a:moveTo>
                      <a:pt x="50" y="49"/>
                    </a:moveTo>
                    <a:lnTo>
                      <a:pt x="50" y="49"/>
                    </a:lnTo>
                    <a:lnTo>
                      <a:pt x="52" y="49"/>
                    </a:lnTo>
                    <a:lnTo>
                      <a:pt x="52" y="49"/>
                    </a:lnTo>
                    <a:lnTo>
                      <a:pt x="52" y="50"/>
                    </a:lnTo>
                    <a:lnTo>
                      <a:pt x="52" y="52"/>
                    </a:lnTo>
                    <a:lnTo>
                      <a:pt x="49" y="52"/>
                    </a:lnTo>
                    <a:lnTo>
                      <a:pt x="49" y="50"/>
                    </a:lnTo>
                    <a:lnTo>
                      <a:pt x="47" y="50"/>
                    </a:lnTo>
                    <a:lnTo>
                      <a:pt x="45" y="49"/>
                    </a:lnTo>
                    <a:lnTo>
                      <a:pt x="45" y="45"/>
                    </a:lnTo>
                    <a:lnTo>
                      <a:pt x="45" y="43"/>
                    </a:lnTo>
                    <a:lnTo>
                      <a:pt x="40" y="42"/>
                    </a:lnTo>
                    <a:lnTo>
                      <a:pt x="40" y="43"/>
                    </a:lnTo>
                    <a:lnTo>
                      <a:pt x="40" y="43"/>
                    </a:lnTo>
                    <a:lnTo>
                      <a:pt x="42" y="45"/>
                    </a:lnTo>
                    <a:lnTo>
                      <a:pt x="45" y="45"/>
                    </a:lnTo>
                    <a:lnTo>
                      <a:pt x="45" y="49"/>
                    </a:lnTo>
                    <a:lnTo>
                      <a:pt x="42" y="50"/>
                    </a:lnTo>
                    <a:lnTo>
                      <a:pt x="40" y="49"/>
                    </a:lnTo>
                    <a:lnTo>
                      <a:pt x="36" y="49"/>
                    </a:lnTo>
                    <a:lnTo>
                      <a:pt x="35" y="45"/>
                    </a:lnTo>
                    <a:lnTo>
                      <a:pt x="35" y="43"/>
                    </a:lnTo>
                    <a:lnTo>
                      <a:pt x="36" y="40"/>
                    </a:lnTo>
                    <a:lnTo>
                      <a:pt x="36" y="38"/>
                    </a:lnTo>
                    <a:lnTo>
                      <a:pt x="33" y="33"/>
                    </a:lnTo>
                    <a:lnTo>
                      <a:pt x="31" y="33"/>
                    </a:lnTo>
                    <a:lnTo>
                      <a:pt x="28" y="31"/>
                    </a:lnTo>
                    <a:lnTo>
                      <a:pt x="23" y="28"/>
                    </a:lnTo>
                    <a:lnTo>
                      <a:pt x="23" y="24"/>
                    </a:lnTo>
                    <a:lnTo>
                      <a:pt x="19" y="23"/>
                    </a:lnTo>
                    <a:lnTo>
                      <a:pt x="19" y="19"/>
                    </a:lnTo>
                    <a:lnTo>
                      <a:pt x="16" y="17"/>
                    </a:lnTo>
                    <a:lnTo>
                      <a:pt x="12" y="17"/>
                    </a:lnTo>
                    <a:lnTo>
                      <a:pt x="12" y="17"/>
                    </a:lnTo>
                    <a:lnTo>
                      <a:pt x="12" y="19"/>
                    </a:lnTo>
                    <a:lnTo>
                      <a:pt x="16" y="23"/>
                    </a:lnTo>
                    <a:lnTo>
                      <a:pt x="17" y="26"/>
                    </a:lnTo>
                    <a:lnTo>
                      <a:pt x="16" y="28"/>
                    </a:lnTo>
                    <a:lnTo>
                      <a:pt x="14" y="28"/>
                    </a:lnTo>
                    <a:lnTo>
                      <a:pt x="12" y="26"/>
                    </a:lnTo>
                    <a:lnTo>
                      <a:pt x="9" y="24"/>
                    </a:lnTo>
                    <a:lnTo>
                      <a:pt x="3" y="24"/>
                    </a:lnTo>
                    <a:lnTo>
                      <a:pt x="0" y="19"/>
                    </a:lnTo>
                    <a:lnTo>
                      <a:pt x="0" y="17"/>
                    </a:lnTo>
                    <a:lnTo>
                      <a:pt x="0" y="14"/>
                    </a:lnTo>
                    <a:lnTo>
                      <a:pt x="3" y="10"/>
                    </a:lnTo>
                    <a:lnTo>
                      <a:pt x="3" y="9"/>
                    </a:lnTo>
                    <a:lnTo>
                      <a:pt x="0" y="7"/>
                    </a:lnTo>
                    <a:lnTo>
                      <a:pt x="0" y="7"/>
                    </a:lnTo>
                    <a:lnTo>
                      <a:pt x="0" y="5"/>
                    </a:lnTo>
                    <a:lnTo>
                      <a:pt x="3" y="2"/>
                    </a:lnTo>
                    <a:lnTo>
                      <a:pt x="0" y="2"/>
                    </a:lnTo>
                    <a:lnTo>
                      <a:pt x="3" y="0"/>
                    </a:lnTo>
                    <a:lnTo>
                      <a:pt x="3" y="0"/>
                    </a:lnTo>
                    <a:lnTo>
                      <a:pt x="9" y="0"/>
                    </a:lnTo>
                    <a:lnTo>
                      <a:pt x="17" y="2"/>
                    </a:lnTo>
                    <a:lnTo>
                      <a:pt x="21" y="2"/>
                    </a:lnTo>
                    <a:lnTo>
                      <a:pt x="26" y="2"/>
                    </a:lnTo>
                    <a:lnTo>
                      <a:pt x="28" y="3"/>
                    </a:lnTo>
                    <a:lnTo>
                      <a:pt x="30" y="5"/>
                    </a:lnTo>
                    <a:lnTo>
                      <a:pt x="30" y="5"/>
                    </a:lnTo>
                    <a:lnTo>
                      <a:pt x="35" y="9"/>
                    </a:lnTo>
                    <a:lnTo>
                      <a:pt x="36" y="9"/>
                    </a:lnTo>
                    <a:lnTo>
                      <a:pt x="36" y="9"/>
                    </a:lnTo>
                    <a:lnTo>
                      <a:pt x="36" y="10"/>
                    </a:lnTo>
                    <a:lnTo>
                      <a:pt x="40" y="10"/>
                    </a:lnTo>
                    <a:lnTo>
                      <a:pt x="40" y="9"/>
                    </a:lnTo>
                    <a:lnTo>
                      <a:pt x="42" y="7"/>
                    </a:lnTo>
                    <a:lnTo>
                      <a:pt x="45" y="10"/>
                    </a:lnTo>
                    <a:lnTo>
                      <a:pt x="45" y="14"/>
                    </a:lnTo>
                    <a:lnTo>
                      <a:pt x="45" y="17"/>
                    </a:lnTo>
                    <a:lnTo>
                      <a:pt x="49" y="21"/>
                    </a:lnTo>
                    <a:lnTo>
                      <a:pt x="50" y="23"/>
                    </a:lnTo>
                    <a:lnTo>
                      <a:pt x="52" y="26"/>
                    </a:lnTo>
                    <a:lnTo>
                      <a:pt x="56" y="26"/>
                    </a:lnTo>
                    <a:lnTo>
                      <a:pt x="57" y="28"/>
                    </a:lnTo>
                    <a:lnTo>
                      <a:pt x="57" y="28"/>
                    </a:lnTo>
                    <a:lnTo>
                      <a:pt x="56" y="28"/>
                    </a:lnTo>
                    <a:lnTo>
                      <a:pt x="54" y="28"/>
                    </a:lnTo>
                    <a:lnTo>
                      <a:pt x="54" y="31"/>
                    </a:lnTo>
                    <a:lnTo>
                      <a:pt x="50" y="35"/>
                    </a:lnTo>
                    <a:lnTo>
                      <a:pt x="50" y="36"/>
                    </a:lnTo>
                    <a:lnTo>
                      <a:pt x="52" y="38"/>
                    </a:lnTo>
                    <a:lnTo>
                      <a:pt x="56" y="42"/>
                    </a:lnTo>
                    <a:lnTo>
                      <a:pt x="52" y="43"/>
                    </a:lnTo>
                    <a:lnTo>
                      <a:pt x="50" y="45"/>
                    </a:lnTo>
                    <a:lnTo>
                      <a:pt x="50" y="49"/>
                    </a:lnTo>
                    <a:lnTo>
                      <a:pt x="50" y="49"/>
                    </a:lnTo>
                    <a:lnTo>
                      <a:pt x="50" y="49"/>
                    </a:lnTo>
                    <a:lnTo>
                      <a:pt x="50" y="49"/>
                    </a:lnTo>
                    <a:lnTo>
                      <a:pt x="50" y="4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2" name="Freeform 165"/>
              <p:cNvSpPr>
                <a:spLocks/>
              </p:cNvSpPr>
              <p:nvPr/>
            </p:nvSpPr>
            <p:spPr bwMode="auto">
              <a:xfrm>
                <a:off x="2116138" y="3846513"/>
                <a:ext cx="120650" cy="125413"/>
              </a:xfrm>
              <a:custGeom>
                <a:avLst/>
                <a:gdLst/>
                <a:ahLst/>
                <a:cxnLst>
                  <a:cxn ang="0">
                    <a:pos x="31" y="70"/>
                  </a:cxn>
                  <a:cxn ang="0">
                    <a:pos x="36" y="70"/>
                  </a:cxn>
                  <a:cxn ang="0">
                    <a:pos x="48" y="72"/>
                  </a:cxn>
                  <a:cxn ang="0">
                    <a:pos x="54" y="73"/>
                  </a:cxn>
                  <a:cxn ang="0">
                    <a:pos x="57" y="75"/>
                  </a:cxn>
                  <a:cxn ang="0">
                    <a:pos x="62" y="79"/>
                  </a:cxn>
                  <a:cxn ang="0">
                    <a:pos x="64" y="79"/>
                  </a:cxn>
                  <a:cxn ang="0">
                    <a:pos x="66" y="73"/>
                  </a:cxn>
                  <a:cxn ang="0">
                    <a:pos x="62" y="70"/>
                  </a:cxn>
                  <a:cxn ang="0">
                    <a:pos x="66" y="61"/>
                  </a:cxn>
                  <a:cxn ang="0">
                    <a:pos x="64" y="61"/>
                  </a:cxn>
                  <a:cxn ang="0">
                    <a:pos x="62" y="61"/>
                  </a:cxn>
                  <a:cxn ang="0">
                    <a:pos x="64" y="58"/>
                  </a:cxn>
                  <a:cxn ang="0">
                    <a:pos x="64" y="53"/>
                  </a:cxn>
                  <a:cxn ang="0">
                    <a:pos x="67" y="44"/>
                  </a:cxn>
                  <a:cxn ang="0">
                    <a:pos x="67" y="46"/>
                  </a:cxn>
                  <a:cxn ang="0">
                    <a:pos x="67" y="49"/>
                  </a:cxn>
                  <a:cxn ang="0">
                    <a:pos x="67" y="53"/>
                  </a:cxn>
                  <a:cxn ang="0">
                    <a:pos x="69" y="51"/>
                  </a:cxn>
                  <a:cxn ang="0">
                    <a:pos x="71" y="35"/>
                  </a:cxn>
                  <a:cxn ang="0">
                    <a:pos x="69" y="30"/>
                  </a:cxn>
                  <a:cxn ang="0">
                    <a:pos x="69" y="28"/>
                  </a:cxn>
                  <a:cxn ang="0">
                    <a:pos x="71" y="28"/>
                  </a:cxn>
                  <a:cxn ang="0">
                    <a:pos x="73" y="25"/>
                  </a:cxn>
                  <a:cxn ang="0">
                    <a:pos x="76" y="19"/>
                  </a:cxn>
                  <a:cxn ang="0">
                    <a:pos x="76" y="16"/>
                  </a:cxn>
                  <a:cxn ang="0">
                    <a:pos x="76" y="13"/>
                  </a:cxn>
                  <a:cxn ang="0">
                    <a:pos x="76" y="4"/>
                  </a:cxn>
                  <a:cxn ang="0">
                    <a:pos x="76" y="0"/>
                  </a:cxn>
                  <a:cxn ang="0">
                    <a:pos x="73" y="2"/>
                  </a:cxn>
                  <a:cxn ang="0">
                    <a:pos x="71" y="0"/>
                  </a:cxn>
                  <a:cxn ang="0">
                    <a:pos x="69" y="4"/>
                  </a:cxn>
                  <a:cxn ang="0">
                    <a:pos x="64" y="7"/>
                  </a:cxn>
                  <a:cxn ang="0">
                    <a:pos x="59" y="9"/>
                  </a:cxn>
                  <a:cxn ang="0">
                    <a:pos x="54" y="9"/>
                  </a:cxn>
                  <a:cxn ang="0">
                    <a:pos x="50" y="6"/>
                  </a:cxn>
                  <a:cxn ang="0">
                    <a:pos x="50" y="9"/>
                  </a:cxn>
                  <a:cxn ang="0">
                    <a:pos x="43" y="14"/>
                  </a:cxn>
                  <a:cxn ang="0">
                    <a:pos x="41" y="16"/>
                  </a:cxn>
                  <a:cxn ang="0">
                    <a:pos x="34" y="21"/>
                  </a:cxn>
                  <a:cxn ang="0">
                    <a:pos x="31" y="23"/>
                  </a:cxn>
                  <a:cxn ang="0">
                    <a:pos x="27" y="21"/>
                  </a:cxn>
                  <a:cxn ang="0">
                    <a:pos x="19" y="25"/>
                  </a:cxn>
                  <a:cxn ang="0">
                    <a:pos x="14" y="28"/>
                  </a:cxn>
                  <a:cxn ang="0">
                    <a:pos x="12" y="33"/>
                  </a:cxn>
                  <a:cxn ang="0">
                    <a:pos x="7" y="37"/>
                  </a:cxn>
                  <a:cxn ang="0">
                    <a:pos x="3" y="39"/>
                  </a:cxn>
                  <a:cxn ang="0">
                    <a:pos x="0" y="39"/>
                  </a:cxn>
                  <a:cxn ang="0">
                    <a:pos x="5" y="47"/>
                  </a:cxn>
                  <a:cxn ang="0">
                    <a:pos x="8" y="53"/>
                  </a:cxn>
                  <a:cxn ang="0">
                    <a:pos x="17" y="61"/>
                  </a:cxn>
                  <a:cxn ang="0">
                    <a:pos x="27" y="70"/>
                  </a:cxn>
                  <a:cxn ang="0">
                    <a:pos x="27" y="72"/>
                  </a:cxn>
                </a:cxnLst>
                <a:rect l="0" t="0" r="r" b="b"/>
                <a:pathLst>
                  <a:path w="76" h="79">
                    <a:moveTo>
                      <a:pt x="27" y="72"/>
                    </a:moveTo>
                    <a:lnTo>
                      <a:pt x="31" y="70"/>
                    </a:lnTo>
                    <a:lnTo>
                      <a:pt x="31" y="70"/>
                    </a:lnTo>
                    <a:lnTo>
                      <a:pt x="36" y="70"/>
                    </a:lnTo>
                    <a:lnTo>
                      <a:pt x="45" y="72"/>
                    </a:lnTo>
                    <a:lnTo>
                      <a:pt x="48" y="72"/>
                    </a:lnTo>
                    <a:lnTo>
                      <a:pt x="54" y="72"/>
                    </a:lnTo>
                    <a:lnTo>
                      <a:pt x="54" y="73"/>
                    </a:lnTo>
                    <a:lnTo>
                      <a:pt x="57" y="75"/>
                    </a:lnTo>
                    <a:lnTo>
                      <a:pt x="57" y="75"/>
                    </a:lnTo>
                    <a:lnTo>
                      <a:pt x="62" y="79"/>
                    </a:lnTo>
                    <a:lnTo>
                      <a:pt x="62" y="79"/>
                    </a:lnTo>
                    <a:lnTo>
                      <a:pt x="64" y="79"/>
                    </a:lnTo>
                    <a:lnTo>
                      <a:pt x="64" y="79"/>
                    </a:lnTo>
                    <a:lnTo>
                      <a:pt x="66" y="77"/>
                    </a:lnTo>
                    <a:lnTo>
                      <a:pt x="66" y="73"/>
                    </a:lnTo>
                    <a:lnTo>
                      <a:pt x="62" y="72"/>
                    </a:lnTo>
                    <a:lnTo>
                      <a:pt x="62" y="70"/>
                    </a:lnTo>
                    <a:lnTo>
                      <a:pt x="64" y="65"/>
                    </a:lnTo>
                    <a:lnTo>
                      <a:pt x="66" y="61"/>
                    </a:lnTo>
                    <a:lnTo>
                      <a:pt x="66" y="58"/>
                    </a:lnTo>
                    <a:lnTo>
                      <a:pt x="64" y="61"/>
                    </a:lnTo>
                    <a:lnTo>
                      <a:pt x="64" y="61"/>
                    </a:lnTo>
                    <a:lnTo>
                      <a:pt x="62" y="61"/>
                    </a:lnTo>
                    <a:lnTo>
                      <a:pt x="62" y="61"/>
                    </a:lnTo>
                    <a:lnTo>
                      <a:pt x="64" y="58"/>
                    </a:lnTo>
                    <a:lnTo>
                      <a:pt x="66" y="53"/>
                    </a:lnTo>
                    <a:lnTo>
                      <a:pt x="64" y="53"/>
                    </a:lnTo>
                    <a:lnTo>
                      <a:pt x="64" y="49"/>
                    </a:lnTo>
                    <a:lnTo>
                      <a:pt x="67" y="44"/>
                    </a:lnTo>
                    <a:lnTo>
                      <a:pt x="67" y="44"/>
                    </a:lnTo>
                    <a:lnTo>
                      <a:pt x="67" y="46"/>
                    </a:lnTo>
                    <a:lnTo>
                      <a:pt x="67" y="46"/>
                    </a:lnTo>
                    <a:lnTo>
                      <a:pt x="67" y="49"/>
                    </a:lnTo>
                    <a:lnTo>
                      <a:pt x="67" y="49"/>
                    </a:lnTo>
                    <a:lnTo>
                      <a:pt x="67" y="53"/>
                    </a:lnTo>
                    <a:lnTo>
                      <a:pt x="69" y="53"/>
                    </a:lnTo>
                    <a:lnTo>
                      <a:pt x="69" y="51"/>
                    </a:lnTo>
                    <a:lnTo>
                      <a:pt x="71" y="44"/>
                    </a:lnTo>
                    <a:lnTo>
                      <a:pt x="71" y="35"/>
                    </a:lnTo>
                    <a:lnTo>
                      <a:pt x="71" y="33"/>
                    </a:lnTo>
                    <a:lnTo>
                      <a:pt x="69" y="30"/>
                    </a:lnTo>
                    <a:lnTo>
                      <a:pt x="69" y="30"/>
                    </a:lnTo>
                    <a:lnTo>
                      <a:pt x="69" y="28"/>
                    </a:lnTo>
                    <a:lnTo>
                      <a:pt x="69" y="28"/>
                    </a:lnTo>
                    <a:lnTo>
                      <a:pt x="71" y="28"/>
                    </a:lnTo>
                    <a:lnTo>
                      <a:pt x="73" y="28"/>
                    </a:lnTo>
                    <a:lnTo>
                      <a:pt x="73" y="25"/>
                    </a:lnTo>
                    <a:lnTo>
                      <a:pt x="76" y="21"/>
                    </a:lnTo>
                    <a:lnTo>
                      <a:pt x="76" y="19"/>
                    </a:lnTo>
                    <a:lnTo>
                      <a:pt x="76" y="16"/>
                    </a:lnTo>
                    <a:lnTo>
                      <a:pt x="76" y="16"/>
                    </a:lnTo>
                    <a:lnTo>
                      <a:pt x="76" y="14"/>
                    </a:lnTo>
                    <a:lnTo>
                      <a:pt x="76" y="13"/>
                    </a:lnTo>
                    <a:lnTo>
                      <a:pt x="76" y="9"/>
                    </a:lnTo>
                    <a:lnTo>
                      <a:pt x="76" y="4"/>
                    </a:lnTo>
                    <a:lnTo>
                      <a:pt x="76" y="2"/>
                    </a:lnTo>
                    <a:lnTo>
                      <a:pt x="76" y="0"/>
                    </a:lnTo>
                    <a:lnTo>
                      <a:pt x="76" y="2"/>
                    </a:lnTo>
                    <a:lnTo>
                      <a:pt x="73" y="2"/>
                    </a:lnTo>
                    <a:lnTo>
                      <a:pt x="73" y="0"/>
                    </a:lnTo>
                    <a:lnTo>
                      <a:pt x="71" y="0"/>
                    </a:lnTo>
                    <a:lnTo>
                      <a:pt x="69" y="2"/>
                    </a:lnTo>
                    <a:lnTo>
                      <a:pt x="69" y="4"/>
                    </a:lnTo>
                    <a:lnTo>
                      <a:pt x="66" y="6"/>
                    </a:lnTo>
                    <a:lnTo>
                      <a:pt x="64" y="7"/>
                    </a:lnTo>
                    <a:lnTo>
                      <a:pt x="62" y="7"/>
                    </a:lnTo>
                    <a:lnTo>
                      <a:pt x="59" y="9"/>
                    </a:lnTo>
                    <a:lnTo>
                      <a:pt x="57" y="9"/>
                    </a:lnTo>
                    <a:lnTo>
                      <a:pt x="54" y="9"/>
                    </a:lnTo>
                    <a:lnTo>
                      <a:pt x="54" y="7"/>
                    </a:lnTo>
                    <a:lnTo>
                      <a:pt x="50" y="6"/>
                    </a:lnTo>
                    <a:lnTo>
                      <a:pt x="50" y="6"/>
                    </a:lnTo>
                    <a:lnTo>
                      <a:pt x="50" y="9"/>
                    </a:lnTo>
                    <a:lnTo>
                      <a:pt x="47" y="9"/>
                    </a:lnTo>
                    <a:lnTo>
                      <a:pt x="43" y="14"/>
                    </a:lnTo>
                    <a:lnTo>
                      <a:pt x="43" y="16"/>
                    </a:lnTo>
                    <a:lnTo>
                      <a:pt x="41" y="16"/>
                    </a:lnTo>
                    <a:lnTo>
                      <a:pt x="38" y="19"/>
                    </a:lnTo>
                    <a:lnTo>
                      <a:pt x="34" y="21"/>
                    </a:lnTo>
                    <a:lnTo>
                      <a:pt x="34" y="23"/>
                    </a:lnTo>
                    <a:lnTo>
                      <a:pt x="31" y="23"/>
                    </a:lnTo>
                    <a:lnTo>
                      <a:pt x="31" y="23"/>
                    </a:lnTo>
                    <a:lnTo>
                      <a:pt x="27" y="21"/>
                    </a:lnTo>
                    <a:lnTo>
                      <a:pt x="22" y="21"/>
                    </a:lnTo>
                    <a:lnTo>
                      <a:pt x="19" y="25"/>
                    </a:lnTo>
                    <a:lnTo>
                      <a:pt x="14" y="25"/>
                    </a:lnTo>
                    <a:lnTo>
                      <a:pt x="14" y="28"/>
                    </a:lnTo>
                    <a:lnTo>
                      <a:pt x="14" y="28"/>
                    </a:lnTo>
                    <a:lnTo>
                      <a:pt x="12" y="33"/>
                    </a:lnTo>
                    <a:lnTo>
                      <a:pt x="12" y="37"/>
                    </a:lnTo>
                    <a:lnTo>
                      <a:pt x="7" y="37"/>
                    </a:lnTo>
                    <a:lnTo>
                      <a:pt x="3" y="37"/>
                    </a:lnTo>
                    <a:lnTo>
                      <a:pt x="3" y="39"/>
                    </a:lnTo>
                    <a:lnTo>
                      <a:pt x="3" y="39"/>
                    </a:lnTo>
                    <a:lnTo>
                      <a:pt x="0" y="39"/>
                    </a:lnTo>
                    <a:lnTo>
                      <a:pt x="0" y="39"/>
                    </a:lnTo>
                    <a:lnTo>
                      <a:pt x="5" y="47"/>
                    </a:lnTo>
                    <a:lnTo>
                      <a:pt x="8" y="49"/>
                    </a:lnTo>
                    <a:lnTo>
                      <a:pt x="8" y="53"/>
                    </a:lnTo>
                    <a:lnTo>
                      <a:pt x="14" y="56"/>
                    </a:lnTo>
                    <a:lnTo>
                      <a:pt x="17" y="61"/>
                    </a:lnTo>
                    <a:lnTo>
                      <a:pt x="26" y="70"/>
                    </a:lnTo>
                    <a:lnTo>
                      <a:pt x="27" y="70"/>
                    </a:lnTo>
                    <a:lnTo>
                      <a:pt x="27" y="72"/>
                    </a:lnTo>
                    <a:lnTo>
                      <a:pt x="27" y="72"/>
                    </a:lnTo>
                    <a:lnTo>
                      <a:pt x="27" y="7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3" name="Freeform 166"/>
              <p:cNvSpPr>
                <a:spLocks/>
              </p:cNvSpPr>
              <p:nvPr/>
            </p:nvSpPr>
            <p:spPr bwMode="auto">
              <a:xfrm>
                <a:off x="2060575" y="3816351"/>
                <a:ext cx="176213" cy="85725"/>
              </a:xfrm>
              <a:custGeom>
                <a:avLst/>
                <a:gdLst/>
                <a:ahLst/>
                <a:cxnLst>
                  <a:cxn ang="0">
                    <a:pos x="42" y="54"/>
                  </a:cxn>
                  <a:cxn ang="0">
                    <a:pos x="47" y="51"/>
                  </a:cxn>
                  <a:cxn ang="0">
                    <a:pos x="49" y="45"/>
                  </a:cxn>
                  <a:cxn ang="0">
                    <a:pos x="52" y="42"/>
                  </a:cxn>
                  <a:cxn ang="0">
                    <a:pos x="62" y="38"/>
                  </a:cxn>
                  <a:cxn ang="0">
                    <a:pos x="66" y="40"/>
                  </a:cxn>
                  <a:cxn ang="0">
                    <a:pos x="69" y="38"/>
                  </a:cxn>
                  <a:cxn ang="0">
                    <a:pos x="75" y="33"/>
                  </a:cxn>
                  <a:cxn ang="0">
                    <a:pos x="76" y="32"/>
                  </a:cxn>
                  <a:cxn ang="0">
                    <a:pos x="83" y="26"/>
                  </a:cxn>
                  <a:cxn ang="0">
                    <a:pos x="83" y="23"/>
                  </a:cxn>
                  <a:cxn ang="0">
                    <a:pos x="87" y="26"/>
                  </a:cxn>
                  <a:cxn ang="0">
                    <a:pos x="92" y="26"/>
                  </a:cxn>
                  <a:cxn ang="0">
                    <a:pos x="97" y="25"/>
                  </a:cxn>
                  <a:cxn ang="0">
                    <a:pos x="101" y="23"/>
                  </a:cxn>
                  <a:cxn ang="0">
                    <a:pos x="104" y="19"/>
                  </a:cxn>
                  <a:cxn ang="0">
                    <a:pos x="106" y="19"/>
                  </a:cxn>
                  <a:cxn ang="0">
                    <a:pos x="109" y="19"/>
                  </a:cxn>
                  <a:cxn ang="0">
                    <a:pos x="109" y="18"/>
                  </a:cxn>
                  <a:cxn ang="0">
                    <a:pos x="104" y="12"/>
                  </a:cxn>
                  <a:cxn ang="0">
                    <a:pos x="104" y="16"/>
                  </a:cxn>
                  <a:cxn ang="0">
                    <a:pos x="97" y="16"/>
                  </a:cxn>
                  <a:cxn ang="0">
                    <a:pos x="92" y="12"/>
                  </a:cxn>
                  <a:cxn ang="0">
                    <a:pos x="90" y="12"/>
                  </a:cxn>
                  <a:cxn ang="0">
                    <a:pos x="90" y="9"/>
                  </a:cxn>
                  <a:cxn ang="0">
                    <a:pos x="95" y="9"/>
                  </a:cxn>
                  <a:cxn ang="0">
                    <a:pos x="101" y="11"/>
                  </a:cxn>
                  <a:cxn ang="0">
                    <a:pos x="94" y="5"/>
                  </a:cxn>
                  <a:cxn ang="0">
                    <a:pos x="87" y="5"/>
                  </a:cxn>
                  <a:cxn ang="0">
                    <a:pos x="87" y="7"/>
                  </a:cxn>
                  <a:cxn ang="0">
                    <a:pos x="76" y="5"/>
                  </a:cxn>
                  <a:cxn ang="0">
                    <a:pos x="66" y="2"/>
                  </a:cxn>
                  <a:cxn ang="0">
                    <a:pos x="61" y="2"/>
                  </a:cxn>
                  <a:cxn ang="0">
                    <a:pos x="59" y="5"/>
                  </a:cxn>
                  <a:cxn ang="0">
                    <a:pos x="55" y="5"/>
                  </a:cxn>
                  <a:cxn ang="0">
                    <a:pos x="43" y="5"/>
                  </a:cxn>
                  <a:cxn ang="0">
                    <a:pos x="29" y="7"/>
                  </a:cxn>
                  <a:cxn ang="0">
                    <a:pos x="26" y="7"/>
                  </a:cxn>
                  <a:cxn ang="0">
                    <a:pos x="22" y="12"/>
                  </a:cxn>
                  <a:cxn ang="0">
                    <a:pos x="16" y="14"/>
                  </a:cxn>
                  <a:cxn ang="0">
                    <a:pos x="9" y="23"/>
                  </a:cxn>
                  <a:cxn ang="0">
                    <a:pos x="7" y="30"/>
                  </a:cxn>
                  <a:cxn ang="0">
                    <a:pos x="3" y="33"/>
                  </a:cxn>
                  <a:cxn ang="0">
                    <a:pos x="2" y="35"/>
                  </a:cxn>
                  <a:cxn ang="0">
                    <a:pos x="3" y="47"/>
                  </a:cxn>
                  <a:cxn ang="0">
                    <a:pos x="10" y="49"/>
                  </a:cxn>
                  <a:cxn ang="0">
                    <a:pos x="16" y="51"/>
                  </a:cxn>
                  <a:cxn ang="0">
                    <a:pos x="16" y="49"/>
                  </a:cxn>
                  <a:cxn ang="0">
                    <a:pos x="21" y="52"/>
                  </a:cxn>
                  <a:cxn ang="0">
                    <a:pos x="29" y="54"/>
                  </a:cxn>
                  <a:cxn ang="0">
                    <a:pos x="29" y="49"/>
                  </a:cxn>
                  <a:cxn ang="0">
                    <a:pos x="35" y="49"/>
                  </a:cxn>
                  <a:cxn ang="0">
                    <a:pos x="38" y="51"/>
                  </a:cxn>
                  <a:cxn ang="0">
                    <a:pos x="38" y="51"/>
                  </a:cxn>
                  <a:cxn ang="0">
                    <a:pos x="38" y="54"/>
                  </a:cxn>
                  <a:cxn ang="0">
                    <a:pos x="38" y="54"/>
                  </a:cxn>
                </a:cxnLst>
                <a:rect l="0" t="0" r="r" b="b"/>
                <a:pathLst>
                  <a:path w="111" h="54">
                    <a:moveTo>
                      <a:pt x="38" y="54"/>
                    </a:moveTo>
                    <a:lnTo>
                      <a:pt x="42" y="54"/>
                    </a:lnTo>
                    <a:lnTo>
                      <a:pt x="47" y="54"/>
                    </a:lnTo>
                    <a:lnTo>
                      <a:pt x="47" y="51"/>
                    </a:lnTo>
                    <a:lnTo>
                      <a:pt x="49" y="45"/>
                    </a:lnTo>
                    <a:lnTo>
                      <a:pt x="49" y="45"/>
                    </a:lnTo>
                    <a:lnTo>
                      <a:pt x="49" y="42"/>
                    </a:lnTo>
                    <a:lnTo>
                      <a:pt x="52" y="42"/>
                    </a:lnTo>
                    <a:lnTo>
                      <a:pt x="57" y="38"/>
                    </a:lnTo>
                    <a:lnTo>
                      <a:pt x="62" y="38"/>
                    </a:lnTo>
                    <a:lnTo>
                      <a:pt x="64" y="40"/>
                    </a:lnTo>
                    <a:lnTo>
                      <a:pt x="66" y="40"/>
                    </a:lnTo>
                    <a:lnTo>
                      <a:pt x="68" y="40"/>
                    </a:lnTo>
                    <a:lnTo>
                      <a:pt x="69" y="38"/>
                    </a:lnTo>
                    <a:lnTo>
                      <a:pt x="73" y="37"/>
                    </a:lnTo>
                    <a:lnTo>
                      <a:pt x="75" y="33"/>
                    </a:lnTo>
                    <a:lnTo>
                      <a:pt x="76" y="33"/>
                    </a:lnTo>
                    <a:lnTo>
                      <a:pt x="76" y="32"/>
                    </a:lnTo>
                    <a:lnTo>
                      <a:pt x="80" y="26"/>
                    </a:lnTo>
                    <a:lnTo>
                      <a:pt x="83" y="26"/>
                    </a:lnTo>
                    <a:lnTo>
                      <a:pt x="83" y="23"/>
                    </a:lnTo>
                    <a:lnTo>
                      <a:pt x="83" y="23"/>
                    </a:lnTo>
                    <a:lnTo>
                      <a:pt x="87" y="25"/>
                    </a:lnTo>
                    <a:lnTo>
                      <a:pt x="87" y="26"/>
                    </a:lnTo>
                    <a:lnTo>
                      <a:pt x="90" y="26"/>
                    </a:lnTo>
                    <a:lnTo>
                      <a:pt x="92" y="26"/>
                    </a:lnTo>
                    <a:lnTo>
                      <a:pt x="94" y="25"/>
                    </a:lnTo>
                    <a:lnTo>
                      <a:pt x="97" y="25"/>
                    </a:lnTo>
                    <a:lnTo>
                      <a:pt x="99" y="23"/>
                    </a:lnTo>
                    <a:lnTo>
                      <a:pt x="101" y="23"/>
                    </a:lnTo>
                    <a:lnTo>
                      <a:pt x="101" y="19"/>
                    </a:lnTo>
                    <a:lnTo>
                      <a:pt x="104" y="19"/>
                    </a:lnTo>
                    <a:lnTo>
                      <a:pt x="104" y="19"/>
                    </a:lnTo>
                    <a:lnTo>
                      <a:pt x="106" y="19"/>
                    </a:lnTo>
                    <a:lnTo>
                      <a:pt x="108" y="19"/>
                    </a:lnTo>
                    <a:lnTo>
                      <a:pt x="109" y="19"/>
                    </a:lnTo>
                    <a:lnTo>
                      <a:pt x="111" y="19"/>
                    </a:lnTo>
                    <a:lnTo>
                      <a:pt x="109" y="18"/>
                    </a:lnTo>
                    <a:lnTo>
                      <a:pt x="106" y="14"/>
                    </a:lnTo>
                    <a:lnTo>
                      <a:pt x="104" y="12"/>
                    </a:lnTo>
                    <a:lnTo>
                      <a:pt x="104" y="12"/>
                    </a:lnTo>
                    <a:lnTo>
                      <a:pt x="104" y="16"/>
                    </a:lnTo>
                    <a:lnTo>
                      <a:pt x="101" y="16"/>
                    </a:lnTo>
                    <a:lnTo>
                      <a:pt x="97" y="16"/>
                    </a:lnTo>
                    <a:lnTo>
                      <a:pt x="95" y="14"/>
                    </a:lnTo>
                    <a:lnTo>
                      <a:pt x="92" y="12"/>
                    </a:lnTo>
                    <a:lnTo>
                      <a:pt x="90" y="12"/>
                    </a:lnTo>
                    <a:lnTo>
                      <a:pt x="90" y="12"/>
                    </a:lnTo>
                    <a:lnTo>
                      <a:pt x="92" y="11"/>
                    </a:lnTo>
                    <a:lnTo>
                      <a:pt x="90" y="9"/>
                    </a:lnTo>
                    <a:lnTo>
                      <a:pt x="92" y="9"/>
                    </a:lnTo>
                    <a:lnTo>
                      <a:pt x="95" y="9"/>
                    </a:lnTo>
                    <a:lnTo>
                      <a:pt x="101" y="11"/>
                    </a:lnTo>
                    <a:lnTo>
                      <a:pt x="101" y="11"/>
                    </a:lnTo>
                    <a:lnTo>
                      <a:pt x="97" y="7"/>
                    </a:lnTo>
                    <a:lnTo>
                      <a:pt x="94" y="5"/>
                    </a:lnTo>
                    <a:lnTo>
                      <a:pt x="90" y="5"/>
                    </a:lnTo>
                    <a:lnTo>
                      <a:pt x="87" y="5"/>
                    </a:lnTo>
                    <a:lnTo>
                      <a:pt x="87" y="5"/>
                    </a:lnTo>
                    <a:lnTo>
                      <a:pt x="87" y="7"/>
                    </a:lnTo>
                    <a:lnTo>
                      <a:pt x="83" y="5"/>
                    </a:lnTo>
                    <a:lnTo>
                      <a:pt x="76" y="5"/>
                    </a:lnTo>
                    <a:lnTo>
                      <a:pt x="69" y="5"/>
                    </a:lnTo>
                    <a:lnTo>
                      <a:pt x="66" y="2"/>
                    </a:lnTo>
                    <a:lnTo>
                      <a:pt x="62" y="0"/>
                    </a:lnTo>
                    <a:lnTo>
                      <a:pt x="61" y="2"/>
                    </a:lnTo>
                    <a:lnTo>
                      <a:pt x="62" y="2"/>
                    </a:lnTo>
                    <a:lnTo>
                      <a:pt x="59" y="5"/>
                    </a:lnTo>
                    <a:lnTo>
                      <a:pt x="57" y="5"/>
                    </a:lnTo>
                    <a:lnTo>
                      <a:pt x="55" y="5"/>
                    </a:lnTo>
                    <a:lnTo>
                      <a:pt x="50" y="5"/>
                    </a:lnTo>
                    <a:lnTo>
                      <a:pt x="43" y="5"/>
                    </a:lnTo>
                    <a:lnTo>
                      <a:pt x="33" y="5"/>
                    </a:lnTo>
                    <a:lnTo>
                      <a:pt x="29" y="7"/>
                    </a:lnTo>
                    <a:lnTo>
                      <a:pt x="26" y="5"/>
                    </a:lnTo>
                    <a:lnTo>
                      <a:pt x="26" y="7"/>
                    </a:lnTo>
                    <a:lnTo>
                      <a:pt x="24" y="9"/>
                    </a:lnTo>
                    <a:lnTo>
                      <a:pt x="22" y="12"/>
                    </a:lnTo>
                    <a:lnTo>
                      <a:pt x="17" y="16"/>
                    </a:lnTo>
                    <a:lnTo>
                      <a:pt x="16" y="14"/>
                    </a:lnTo>
                    <a:lnTo>
                      <a:pt x="12" y="19"/>
                    </a:lnTo>
                    <a:lnTo>
                      <a:pt x="9" y="23"/>
                    </a:lnTo>
                    <a:lnTo>
                      <a:pt x="10" y="25"/>
                    </a:lnTo>
                    <a:lnTo>
                      <a:pt x="7" y="30"/>
                    </a:lnTo>
                    <a:lnTo>
                      <a:pt x="3" y="33"/>
                    </a:lnTo>
                    <a:lnTo>
                      <a:pt x="3" y="33"/>
                    </a:lnTo>
                    <a:lnTo>
                      <a:pt x="3" y="35"/>
                    </a:lnTo>
                    <a:lnTo>
                      <a:pt x="2" y="35"/>
                    </a:lnTo>
                    <a:lnTo>
                      <a:pt x="0" y="42"/>
                    </a:lnTo>
                    <a:lnTo>
                      <a:pt x="3" y="47"/>
                    </a:lnTo>
                    <a:lnTo>
                      <a:pt x="5" y="47"/>
                    </a:lnTo>
                    <a:lnTo>
                      <a:pt x="10" y="49"/>
                    </a:lnTo>
                    <a:lnTo>
                      <a:pt x="16" y="52"/>
                    </a:lnTo>
                    <a:lnTo>
                      <a:pt x="16" y="51"/>
                    </a:lnTo>
                    <a:lnTo>
                      <a:pt x="12" y="49"/>
                    </a:lnTo>
                    <a:lnTo>
                      <a:pt x="16" y="49"/>
                    </a:lnTo>
                    <a:lnTo>
                      <a:pt x="17" y="49"/>
                    </a:lnTo>
                    <a:lnTo>
                      <a:pt x="21" y="52"/>
                    </a:lnTo>
                    <a:lnTo>
                      <a:pt x="22" y="54"/>
                    </a:lnTo>
                    <a:lnTo>
                      <a:pt x="29" y="54"/>
                    </a:lnTo>
                    <a:lnTo>
                      <a:pt x="33" y="51"/>
                    </a:lnTo>
                    <a:lnTo>
                      <a:pt x="29" y="49"/>
                    </a:lnTo>
                    <a:lnTo>
                      <a:pt x="33" y="49"/>
                    </a:lnTo>
                    <a:lnTo>
                      <a:pt x="35" y="49"/>
                    </a:lnTo>
                    <a:lnTo>
                      <a:pt x="35" y="51"/>
                    </a:lnTo>
                    <a:lnTo>
                      <a:pt x="38" y="51"/>
                    </a:lnTo>
                    <a:lnTo>
                      <a:pt x="38" y="49"/>
                    </a:lnTo>
                    <a:lnTo>
                      <a:pt x="38" y="51"/>
                    </a:lnTo>
                    <a:lnTo>
                      <a:pt x="38" y="52"/>
                    </a:lnTo>
                    <a:lnTo>
                      <a:pt x="38" y="54"/>
                    </a:lnTo>
                    <a:lnTo>
                      <a:pt x="38" y="54"/>
                    </a:lnTo>
                    <a:lnTo>
                      <a:pt x="38" y="54"/>
                    </a:lnTo>
                    <a:lnTo>
                      <a:pt x="38" y="5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4" name="Freeform 167"/>
              <p:cNvSpPr>
                <a:spLocks/>
              </p:cNvSpPr>
              <p:nvPr/>
            </p:nvSpPr>
            <p:spPr bwMode="auto">
              <a:xfrm>
                <a:off x="2076450" y="3756026"/>
                <a:ext cx="30163" cy="60325"/>
              </a:xfrm>
              <a:custGeom>
                <a:avLst/>
                <a:gdLst/>
                <a:ahLst/>
                <a:cxnLst>
                  <a:cxn ang="0">
                    <a:pos x="0" y="9"/>
                  </a:cxn>
                  <a:cxn ang="0">
                    <a:pos x="0" y="9"/>
                  </a:cxn>
                  <a:cxn ang="0">
                    <a:pos x="0" y="9"/>
                  </a:cxn>
                  <a:cxn ang="0">
                    <a:pos x="2" y="5"/>
                  </a:cxn>
                  <a:cxn ang="0">
                    <a:pos x="4" y="5"/>
                  </a:cxn>
                  <a:cxn ang="0">
                    <a:pos x="4" y="9"/>
                  </a:cxn>
                  <a:cxn ang="0">
                    <a:pos x="6" y="9"/>
                  </a:cxn>
                  <a:cxn ang="0">
                    <a:pos x="6" y="9"/>
                  </a:cxn>
                  <a:cxn ang="0">
                    <a:pos x="7" y="9"/>
                  </a:cxn>
                  <a:cxn ang="0">
                    <a:pos x="7" y="5"/>
                  </a:cxn>
                  <a:cxn ang="0">
                    <a:pos x="9" y="3"/>
                  </a:cxn>
                  <a:cxn ang="0">
                    <a:pos x="11" y="2"/>
                  </a:cxn>
                  <a:cxn ang="0">
                    <a:pos x="11" y="0"/>
                  </a:cxn>
                  <a:cxn ang="0">
                    <a:pos x="12" y="0"/>
                  </a:cxn>
                  <a:cxn ang="0">
                    <a:pos x="14" y="0"/>
                  </a:cxn>
                  <a:cxn ang="0">
                    <a:pos x="16" y="0"/>
                  </a:cxn>
                  <a:cxn ang="0">
                    <a:pos x="18" y="0"/>
                  </a:cxn>
                  <a:cxn ang="0">
                    <a:pos x="19" y="0"/>
                  </a:cxn>
                  <a:cxn ang="0">
                    <a:pos x="19" y="2"/>
                  </a:cxn>
                  <a:cxn ang="0">
                    <a:pos x="19" y="3"/>
                  </a:cxn>
                  <a:cxn ang="0">
                    <a:pos x="19" y="10"/>
                  </a:cxn>
                  <a:cxn ang="0">
                    <a:pos x="18" y="14"/>
                  </a:cxn>
                  <a:cxn ang="0">
                    <a:pos x="16" y="17"/>
                  </a:cxn>
                  <a:cxn ang="0">
                    <a:pos x="18" y="19"/>
                  </a:cxn>
                  <a:cxn ang="0">
                    <a:pos x="18" y="24"/>
                  </a:cxn>
                  <a:cxn ang="0">
                    <a:pos x="16" y="28"/>
                  </a:cxn>
                  <a:cxn ang="0">
                    <a:pos x="11" y="35"/>
                  </a:cxn>
                  <a:cxn ang="0">
                    <a:pos x="9" y="33"/>
                  </a:cxn>
                  <a:cxn ang="0">
                    <a:pos x="6" y="36"/>
                  </a:cxn>
                  <a:cxn ang="0">
                    <a:pos x="4" y="38"/>
                  </a:cxn>
                  <a:cxn ang="0">
                    <a:pos x="4" y="38"/>
                  </a:cxn>
                  <a:cxn ang="0">
                    <a:pos x="2" y="38"/>
                  </a:cxn>
                  <a:cxn ang="0">
                    <a:pos x="2" y="38"/>
                  </a:cxn>
                  <a:cxn ang="0">
                    <a:pos x="0" y="38"/>
                  </a:cxn>
                  <a:cxn ang="0">
                    <a:pos x="0" y="9"/>
                  </a:cxn>
                  <a:cxn ang="0">
                    <a:pos x="0" y="9"/>
                  </a:cxn>
                  <a:cxn ang="0">
                    <a:pos x="0" y="9"/>
                  </a:cxn>
                  <a:cxn ang="0">
                    <a:pos x="0" y="9"/>
                  </a:cxn>
                </a:cxnLst>
                <a:rect l="0" t="0" r="r" b="b"/>
                <a:pathLst>
                  <a:path w="19" h="38">
                    <a:moveTo>
                      <a:pt x="0" y="9"/>
                    </a:moveTo>
                    <a:lnTo>
                      <a:pt x="0" y="9"/>
                    </a:lnTo>
                    <a:lnTo>
                      <a:pt x="0" y="9"/>
                    </a:lnTo>
                    <a:lnTo>
                      <a:pt x="2" y="5"/>
                    </a:lnTo>
                    <a:lnTo>
                      <a:pt x="4" y="5"/>
                    </a:lnTo>
                    <a:lnTo>
                      <a:pt x="4" y="9"/>
                    </a:lnTo>
                    <a:lnTo>
                      <a:pt x="6" y="9"/>
                    </a:lnTo>
                    <a:lnTo>
                      <a:pt x="6" y="9"/>
                    </a:lnTo>
                    <a:lnTo>
                      <a:pt x="7" y="9"/>
                    </a:lnTo>
                    <a:lnTo>
                      <a:pt x="7" y="5"/>
                    </a:lnTo>
                    <a:lnTo>
                      <a:pt x="9" y="3"/>
                    </a:lnTo>
                    <a:lnTo>
                      <a:pt x="11" y="2"/>
                    </a:lnTo>
                    <a:lnTo>
                      <a:pt x="11" y="0"/>
                    </a:lnTo>
                    <a:lnTo>
                      <a:pt x="12" y="0"/>
                    </a:lnTo>
                    <a:lnTo>
                      <a:pt x="14" y="0"/>
                    </a:lnTo>
                    <a:lnTo>
                      <a:pt x="16" y="0"/>
                    </a:lnTo>
                    <a:lnTo>
                      <a:pt x="18" y="0"/>
                    </a:lnTo>
                    <a:lnTo>
                      <a:pt x="19" y="0"/>
                    </a:lnTo>
                    <a:lnTo>
                      <a:pt x="19" y="2"/>
                    </a:lnTo>
                    <a:lnTo>
                      <a:pt x="19" y="3"/>
                    </a:lnTo>
                    <a:lnTo>
                      <a:pt x="19" y="10"/>
                    </a:lnTo>
                    <a:lnTo>
                      <a:pt x="18" y="14"/>
                    </a:lnTo>
                    <a:lnTo>
                      <a:pt x="16" y="17"/>
                    </a:lnTo>
                    <a:lnTo>
                      <a:pt x="18" y="19"/>
                    </a:lnTo>
                    <a:lnTo>
                      <a:pt x="18" y="24"/>
                    </a:lnTo>
                    <a:lnTo>
                      <a:pt x="16" y="28"/>
                    </a:lnTo>
                    <a:lnTo>
                      <a:pt x="11" y="35"/>
                    </a:lnTo>
                    <a:lnTo>
                      <a:pt x="9" y="33"/>
                    </a:lnTo>
                    <a:lnTo>
                      <a:pt x="6" y="36"/>
                    </a:lnTo>
                    <a:lnTo>
                      <a:pt x="4" y="38"/>
                    </a:lnTo>
                    <a:lnTo>
                      <a:pt x="4" y="38"/>
                    </a:lnTo>
                    <a:lnTo>
                      <a:pt x="2" y="38"/>
                    </a:lnTo>
                    <a:lnTo>
                      <a:pt x="2" y="38"/>
                    </a:lnTo>
                    <a:lnTo>
                      <a:pt x="0" y="38"/>
                    </a:lnTo>
                    <a:lnTo>
                      <a:pt x="0" y="9"/>
                    </a:lnTo>
                    <a:lnTo>
                      <a:pt x="0" y="9"/>
                    </a:lnTo>
                    <a:lnTo>
                      <a:pt x="0" y="9"/>
                    </a:lnTo>
                    <a:lnTo>
                      <a:pt x="0" y="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5" name="Freeform 168"/>
              <p:cNvSpPr>
                <a:spLocks/>
              </p:cNvSpPr>
              <p:nvPr/>
            </p:nvSpPr>
            <p:spPr bwMode="auto">
              <a:xfrm>
                <a:off x="3003550" y="4111626"/>
                <a:ext cx="77788" cy="107950"/>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6" name="Freeform 169"/>
              <p:cNvSpPr>
                <a:spLocks/>
              </p:cNvSpPr>
              <p:nvPr/>
            </p:nvSpPr>
            <p:spPr bwMode="auto">
              <a:xfrm>
                <a:off x="3003550" y="4111626"/>
                <a:ext cx="77788" cy="107950"/>
              </a:xfrm>
              <a:custGeom>
                <a:avLst/>
                <a:gdLst/>
                <a:ahLst/>
                <a:cxnLst>
                  <a:cxn ang="0">
                    <a:pos x="0" y="52"/>
                  </a:cxn>
                  <a:cxn ang="0">
                    <a:pos x="0" y="56"/>
                  </a:cxn>
                  <a:cxn ang="0">
                    <a:pos x="0" y="58"/>
                  </a:cxn>
                  <a:cxn ang="0">
                    <a:pos x="4" y="58"/>
                  </a:cxn>
                  <a:cxn ang="0">
                    <a:pos x="4" y="59"/>
                  </a:cxn>
                  <a:cxn ang="0">
                    <a:pos x="5" y="63"/>
                  </a:cxn>
                  <a:cxn ang="0">
                    <a:pos x="9" y="63"/>
                  </a:cxn>
                  <a:cxn ang="0">
                    <a:pos x="11" y="61"/>
                  </a:cxn>
                  <a:cxn ang="0">
                    <a:pos x="12" y="59"/>
                  </a:cxn>
                  <a:cxn ang="0">
                    <a:pos x="14" y="59"/>
                  </a:cxn>
                  <a:cxn ang="0">
                    <a:pos x="14" y="61"/>
                  </a:cxn>
                  <a:cxn ang="0">
                    <a:pos x="18" y="63"/>
                  </a:cxn>
                  <a:cxn ang="0">
                    <a:pos x="18" y="66"/>
                  </a:cxn>
                  <a:cxn ang="0">
                    <a:pos x="19" y="68"/>
                  </a:cxn>
                  <a:cxn ang="0">
                    <a:pos x="23" y="65"/>
                  </a:cxn>
                  <a:cxn ang="0">
                    <a:pos x="23" y="63"/>
                  </a:cxn>
                  <a:cxn ang="0">
                    <a:pos x="23" y="61"/>
                  </a:cxn>
                  <a:cxn ang="0">
                    <a:pos x="28" y="61"/>
                  </a:cxn>
                  <a:cxn ang="0">
                    <a:pos x="28" y="56"/>
                  </a:cxn>
                  <a:cxn ang="0">
                    <a:pos x="31" y="52"/>
                  </a:cxn>
                  <a:cxn ang="0">
                    <a:pos x="37" y="45"/>
                  </a:cxn>
                  <a:cxn ang="0">
                    <a:pos x="37" y="42"/>
                  </a:cxn>
                  <a:cxn ang="0">
                    <a:pos x="40" y="39"/>
                  </a:cxn>
                  <a:cxn ang="0">
                    <a:pos x="44" y="32"/>
                  </a:cxn>
                  <a:cxn ang="0">
                    <a:pos x="45" y="30"/>
                  </a:cxn>
                  <a:cxn ang="0">
                    <a:pos x="45" y="30"/>
                  </a:cxn>
                  <a:cxn ang="0">
                    <a:pos x="49" y="26"/>
                  </a:cxn>
                  <a:cxn ang="0">
                    <a:pos x="49" y="21"/>
                  </a:cxn>
                  <a:cxn ang="0">
                    <a:pos x="45" y="18"/>
                  </a:cxn>
                  <a:cxn ang="0">
                    <a:pos x="44" y="21"/>
                  </a:cxn>
                  <a:cxn ang="0">
                    <a:pos x="42" y="18"/>
                  </a:cxn>
                  <a:cxn ang="0">
                    <a:pos x="42" y="16"/>
                  </a:cxn>
                  <a:cxn ang="0">
                    <a:pos x="37" y="9"/>
                  </a:cxn>
                  <a:cxn ang="0">
                    <a:pos x="33" y="9"/>
                  </a:cxn>
                  <a:cxn ang="0">
                    <a:pos x="31" y="7"/>
                  </a:cxn>
                  <a:cxn ang="0">
                    <a:pos x="19" y="4"/>
                  </a:cxn>
                  <a:cxn ang="0">
                    <a:pos x="14" y="0"/>
                  </a:cxn>
                  <a:cxn ang="0">
                    <a:pos x="11" y="0"/>
                  </a:cxn>
                  <a:cxn ang="0">
                    <a:pos x="7" y="4"/>
                  </a:cxn>
                  <a:cxn ang="0">
                    <a:pos x="4" y="4"/>
                  </a:cxn>
                  <a:cxn ang="0">
                    <a:pos x="4" y="4"/>
                  </a:cxn>
                  <a:cxn ang="0">
                    <a:pos x="4" y="4"/>
                  </a:cxn>
                  <a:cxn ang="0">
                    <a:pos x="0" y="7"/>
                  </a:cxn>
                  <a:cxn ang="0">
                    <a:pos x="0" y="9"/>
                  </a:cxn>
                  <a:cxn ang="0">
                    <a:pos x="0" y="14"/>
                  </a:cxn>
                  <a:cxn ang="0">
                    <a:pos x="0" y="18"/>
                  </a:cxn>
                  <a:cxn ang="0">
                    <a:pos x="0" y="21"/>
                  </a:cxn>
                  <a:cxn ang="0">
                    <a:pos x="0" y="23"/>
                  </a:cxn>
                  <a:cxn ang="0">
                    <a:pos x="4" y="25"/>
                  </a:cxn>
                  <a:cxn ang="0">
                    <a:pos x="5" y="28"/>
                  </a:cxn>
                  <a:cxn ang="0">
                    <a:pos x="7" y="32"/>
                  </a:cxn>
                  <a:cxn ang="0">
                    <a:pos x="9" y="35"/>
                  </a:cxn>
                  <a:cxn ang="0">
                    <a:pos x="9" y="35"/>
                  </a:cxn>
                  <a:cxn ang="0">
                    <a:pos x="9" y="39"/>
                  </a:cxn>
                  <a:cxn ang="0">
                    <a:pos x="5" y="40"/>
                  </a:cxn>
                  <a:cxn ang="0">
                    <a:pos x="5" y="45"/>
                  </a:cxn>
                  <a:cxn ang="0">
                    <a:pos x="7" y="47"/>
                  </a:cxn>
                  <a:cxn ang="0">
                    <a:pos x="5" y="51"/>
                  </a:cxn>
                  <a:cxn ang="0">
                    <a:pos x="0" y="52"/>
                  </a:cxn>
                  <a:cxn ang="0">
                    <a:pos x="0" y="52"/>
                  </a:cxn>
                  <a:cxn ang="0">
                    <a:pos x="0" y="52"/>
                  </a:cxn>
                  <a:cxn ang="0">
                    <a:pos x="0" y="52"/>
                  </a:cxn>
                </a:cxnLst>
                <a:rect l="0" t="0" r="r" b="b"/>
                <a:pathLst>
                  <a:path w="49" h="68">
                    <a:moveTo>
                      <a:pt x="0" y="52"/>
                    </a:moveTo>
                    <a:lnTo>
                      <a:pt x="0" y="56"/>
                    </a:lnTo>
                    <a:lnTo>
                      <a:pt x="0" y="58"/>
                    </a:lnTo>
                    <a:lnTo>
                      <a:pt x="4" y="58"/>
                    </a:lnTo>
                    <a:lnTo>
                      <a:pt x="4" y="59"/>
                    </a:lnTo>
                    <a:lnTo>
                      <a:pt x="5" y="63"/>
                    </a:lnTo>
                    <a:lnTo>
                      <a:pt x="9" y="63"/>
                    </a:lnTo>
                    <a:lnTo>
                      <a:pt x="11" y="61"/>
                    </a:lnTo>
                    <a:lnTo>
                      <a:pt x="12" y="59"/>
                    </a:lnTo>
                    <a:lnTo>
                      <a:pt x="14" y="59"/>
                    </a:lnTo>
                    <a:lnTo>
                      <a:pt x="14" y="61"/>
                    </a:lnTo>
                    <a:lnTo>
                      <a:pt x="18" y="63"/>
                    </a:lnTo>
                    <a:lnTo>
                      <a:pt x="18" y="66"/>
                    </a:lnTo>
                    <a:lnTo>
                      <a:pt x="19" y="68"/>
                    </a:lnTo>
                    <a:lnTo>
                      <a:pt x="23" y="65"/>
                    </a:lnTo>
                    <a:lnTo>
                      <a:pt x="23" y="63"/>
                    </a:lnTo>
                    <a:lnTo>
                      <a:pt x="23" y="61"/>
                    </a:lnTo>
                    <a:lnTo>
                      <a:pt x="28" y="61"/>
                    </a:lnTo>
                    <a:lnTo>
                      <a:pt x="28" y="56"/>
                    </a:lnTo>
                    <a:lnTo>
                      <a:pt x="31" y="52"/>
                    </a:lnTo>
                    <a:lnTo>
                      <a:pt x="37" y="45"/>
                    </a:lnTo>
                    <a:lnTo>
                      <a:pt x="37" y="42"/>
                    </a:lnTo>
                    <a:lnTo>
                      <a:pt x="40" y="39"/>
                    </a:lnTo>
                    <a:lnTo>
                      <a:pt x="44" y="32"/>
                    </a:lnTo>
                    <a:lnTo>
                      <a:pt x="45" y="30"/>
                    </a:lnTo>
                    <a:lnTo>
                      <a:pt x="45" y="30"/>
                    </a:lnTo>
                    <a:lnTo>
                      <a:pt x="49" y="26"/>
                    </a:lnTo>
                    <a:lnTo>
                      <a:pt x="49" y="21"/>
                    </a:lnTo>
                    <a:lnTo>
                      <a:pt x="45" y="18"/>
                    </a:lnTo>
                    <a:lnTo>
                      <a:pt x="44" y="21"/>
                    </a:lnTo>
                    <a:lnTo>
                      <a:pt x="42" y="18"/>
                    </a:lnTo>
                    <a:lnTo>
                      <a:pt x="42" y="16"/>
                    </a:lnTo>
                    <a:lnTo>
                      <a:pt x="37" y="9"/>
                    </a:lnTo>
                    <a:lnTo>
                      <a:pt x="33" y="9"/>
                    </a:lnTo>
                    <a:lnTo>
                      <a:pt x="31" y="7"/>
                    </a:lnTo>
                    <a:lnTo>
                      <a:pt x="19" y="4"/>
                    </a:lnTo>
                    <a:lnTo>
                      <a:pt x="14" y="0"/>
                    </a:lnTo>
                    <a:lnTo>
                      <a:pt x="11" y="0"/>
                    </a:lnTo>
                    <a:lnTo>
                      <a:pt x="7" y="4"/>
                    </a:lnTo>
                    <a:lnTo>
                      <a:pt x="4" y="4"/>
                    </a:lnTo>
                    <a:lnTo>
                      <a:pt x="4" y="4"/>
                    </a:lnTo>
                    <a:lnTo>
                      <a:pt x="4" y="4"/>
                    </a:lnTo>
                    <a:lnTo>
                      <a:pt x="0" y="7"/>
                    </a:lnTo>
                    <a:lnTo>
                      <a:pt x="0" y="9"/>
                    </a:lnTo>
                    <a:lnTo>
                      <a:pt x="0" y="14"/>
                    </a:lnTo>
                    <a:lnTo>
                      <a:pt x="0" y="18"/>
                    </a:lnTo>
                    <a:lnTo>
                      <a:pt x="0" y="21"/>
                    </a:lnTo>
                    <a:lnTo>
                      <a:pt x="0" y="23"/>
                    </a:lnTo>
                    <a:lnTo>
                      <a:pt x="4" y="25"/>
                    </a:lnTo>
                    <a:lnTo>
                      <a:pt x="5" y="28"/>
                    </a:lnTo>
                    <a:lnTo>
                      <a:pt x="7" y="32"/>
                    </a:lnTo>
                    <a:lnTo>
                      <a:pt x="9" y="35"/>
                    </a:lnTo>
                    <a:lnTo>
                      <a:pt x="9" y="35"/>
                    </a:lnTo>
                    <a:lnTo>
                      <a:pt x="9" y="39"/>
                    </a:lnTo>
                    <a:lnTo>
                      <a:pt x="5" y="40"/>
                    </a:lnTo>
                    <a:lnTo>
                      <a:pt x="5" y="45"/>
                    </a:lnTo>
                    <a:lnTo>
                      <a:pt x="7" y="47"/>
                    </a:lnTo>
                    <a:lnTo>
                      <a:pt x="5" y="51"/>
                    </a:lnTo>
                    <a:lnTo>
                      <a:pt x="0" y="52"/>
                    </a:lnTo>
                    <a:lnTo>
                      <a:pt x="0" y="52"/>
                    </a:lnTo>
                    <a:lnTo>
                      <a:pt x="0" y="52"/>
                    </a:lnTo>
                    <a:lnTo>
                      <a:pt x="0" y="5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7" name="Freeform 170"/>
              <p:cNvSpPr>
                <a:spLocks/>
              </p:cNvSpPr>
              <p:nvPr/>
            </p:nvSpPr>
            <p:spPr bwMode="auto">
              <a:xfrm>
                <a:off x="2909888" y="4095751"/>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8" name="Freeform 171"/>
              <p:cNvSpPr>
                <a:spLocks/>
              </p:cNvSpPr>
              <p:nvPr/>
            </p:nvSpPr>
            <p:spPr bwMode="auto">
              <a:xfrm>
                <a:off x="2909888" y="4095751"/>
                <a:ext cx="107950" cy="123825"/>
              </a:xfrm>
              <a:custGeom>
                <a:avLst/>
                <a:gdLst/>
                <a:ahLst/>
                <a:cxnLst>
                  <a:cxn ang="0">
                    <a:pos x="28" y="75"/>
                  </a:cxn>
                  <a:cxn ang="0">
                    <a:pos x="30" y="76"/>
                  </a:cxn>
                  <a:cxn ang="0">
                    <a:pos x="37" y="78"/>
                  </a:cxn>
                  <a:cxn ang="0">
                    <a:pos x="37" y="73"/>
                  </a:cxn>
                  <a:cxn ang="0">
                    <a:pos x="33" y="68"/>
                  </a:cxn>
                  <a:cxn ang="0">
                    <a:pos x="37" y="62"/>
                  </a:cxn>
                  <a:cxn ang="0">
                    <a:pos x="47" y="64"/>
                  </a:cxn>
                  <a:cxn ang="0">
                    <a:pos x="56" y="62"/>
                  </a:cxn>
                  <a:cxn ang="0">
                    <a:pos x="61" y="64"/>
                  </a:cxn>
                  <a:cxn ang="0">
                    <a:pos x="68" y="59"/>
                  </a:cxn>
                  <a:cxn ang="0">
                    <a:pos x="64" y="52"/>
                  </a:cxn>
                  <a:cxn ang="0">
                    <a:pos x="68" y="47"/>
                  </a:cxn>
                  <a:cxn ang="0">
                    <a:pos x="68" y="42"/>
                  </a:cxn>
                  <a:cxn ang="0">
                    <a:pos x="64" y="35"/>
                  </a:cxn>
                  <a:cxn ang="0">
                    <a:pos x="61" y="31"/>
                  </a:cxn>
                  <a:cxn ang="0">
                    <a:pos x="61" y="22"/>
                  </a:cxn>
                  <a:cxn ang="0">
                    <a:pos x="61" y="15"/>
                  </a:cxn>
                  <a:cxn ang="0">
                    <a:pos x="64" y="14"/>
                  </a:cxn>
                  <a:cxn ang="0">
                    <a:pos x="68" y="7"/>
                  </a:cxn>
                  <a:cxn ang="0">
                    <a:pos x="56" y="3"/>
                  </a:cxn>
                  <a:cxn ang="0">
                    <a:pos x="49" y="3"/>
                  </a:cxn>
                  <a:cxn ang="0">
                    <a:pos x="42" y="3"/>
                  </a:cxn>
                  <a:cxn ang="0">
                    <a:pos x="28" y="3"/>
                  </a:cxn>
                  <a:cxn ang="0">
                    <a:pos x="16" y="3"/>
                  </a:cxn>
                  <a:cxn ang="0">
                    <a:pos x="16" y="9"/>
                  </a:cxn>
                  <a:cxn ang="0">
                    <a:pos x="14" y="14"/>
                  </a:cxn>
                  <a:cxn ang="0">
                    <a:pos x="10" y="19"/>
                  </a:cxn>
                  <a:cxn ang="0">
                    <a:pos x="4" y="22"/>
                  </a:cxn>
                  <a:cxn ang="0">
                    <a:pos x="0" y="33"/>
                  </a:cxn>
                  <a:cxn ang="0">
                    <a:pos x="4" y="40"/>
                  </a:cxn>
                  <a:cxn ang="0">
                    <a:pos x="7" y="42"/>
                  </a:cxn>
                  <a:cxn ang="0">
                    <a:pos x="9" y="47"/>
                  </a:cxn>
                  <a:cxn ang="0">
                    <a:pos x="10" y="49"/>
                  </a:cxn>
                  <a:cxn ang="0">
                    <a:pos x="14" y="52"/>
                  </a:cxn>
                  <a:cxn ang="0">
                    <a:pos x="14" y="62"/>
                  </a:cxn>
                  <a:cxn ang="0">
                    <a:pos x="19" y="64"/>
                  </a:cxn>
                  <a:cxn ang="0">
                    <a:pos x="24" y="69"/>
                  </a:cxn>
                  <a:cxn ang="0">
                    <a:pos x="24" y="73"/>
                  </a:cxn>
                  <a:cxn ang="0">
                    <a:pos x="28" y="75"/>
                  </a:cxn>
                </a:cxnLst>
                <a:rect l="0" t="0" r="r" b="b"/>
                <a:pathLst>
                  <a:path w="68" h="78">
                    <a:moveTo>
                      <a:pt x="28" y="75"/>
                    </a:moveTo>
                    <a:lnTo>
                      <a:pt x="28" y="75"/>
                    </a:lnTo>
                    <a:lnTo>
                      <a:pt x="30" y="75"/>
                    </a:lnTo>
                    <a:lnTo>
                      <a:pt x="30" y="76"/>
                    </a:lnTo>
                    <a:lnTo>
                      <a:pt x="33" y="78"/>
                    </a:lnTo>
                    <a:lnTo>
                      <a:pt x="37" y="78"/>
                    </a:lnTo>
                    <a:lnTo>
                      <a:pt x="37" y="76"/>
                    </a:lnTo>
                    <a:lnTo>
                      <a:pt x="37" y="73"/>
                    </a:lnTo>
                    <a:lnTo>
                      <a:pt x="37" y="69"/>
                    </a:lnTo>
                    <a:lnTo>
                      <a:pt x="33" y="68"/>
                    </a:lnTo>
                    <a:lnTo>
                      <a:pt x="33" y="64"/>
                    </a:lnTo>
                    <a:lnTo>
                      <a:pt x="37" y="62"/>
                    </a:lnTo>
                    <a:lnTo>
                      <a:pt x="38" y="64"/>
                    </a:lnTo>
                    <a:lnTo>
                      <a:pt x="47" y="64"/>
                    </a:lnTo>
                    <a:lnTo>
                      <a:pt x="50" y="62"/>
                    </a:lnTo>
                    <a:lnTo>
                      <a:pt x="56" y="62"/>
                    </a:lnTo>
                    <a:lnTo>
                      <a:pt x="59" y="64"/>
                    </a:lnTo>
                    <a:lnTo>
                      <a:pt x="61" y="64"/>
                    </a:lnTo>
                    <a:lnTo>
                      <a:pt x="64" y="62"/>
                    </a:lnTo>
                    <a:lnTo>
                      <a:pt x="68" y="59"/>
                    </a:lnTo>
                    <a:lnTo>
                      <a:pt x="64" y="57"/>
                    </a:lnTo>
                    <a:lnTo>
                      <a:pt x="64" y="52"/>
                    </a:lnTo>
                    <a:lnTo>
                      <a:pt x="68" y="49"/>
                    </a:lnTo>
                    <a:lnTo>
                      <a:pt x="68" y="47"/>
                    </a:lnTo>
                    <a:lnTo>
                      <a:pt x="68" y="45"/>
                    </a:lnTo>
                    <a:lnTo>
                      <a:pt x="68" y="42"/>
                    </a:lnTo>
                    <a:lnTo>
                      <a:pt x="64" y="40"/>
                    </a:lnTo>
                    <a:lnTo>
                      <a:pt x="64" y="35"/>
                    </a:lnTo>
                    <a:lnTo>
                      <a:pt x="61" y="33"/>
                    </a:lnTo>
                    <a:lnTo>
                      <a:pt x="61" y="31"/>
                    </a:lnTo>
                    <a:lnTo>
                      <a:pt x="61" y="28"/>
                    </a:lnTo>
                    <a:lnTo>
                      <a:pt x="61" y="22"/>
                    </a:lnTo>
                    <a:lnTo>
                      <a:pt x="61" y="19"/>
                    </a:lnTo>
                    <a:lnTo>
                      <a:pt x="61" y="15"/>
                    </a:lnTo>
                    <a:lnTo>
                      <a:pt x="64" y="14"/>
                    </a:lnTo>
                    <a:lnTo>
                      <a:pt x="64" y="14"/>
                    </a:lnTo>
                    <a:lnTo>
                      <a:pt x="68" y="9"/>
                    </a:lnTo>
                    <a:lnTo>
                      <a:pt x="68" y="7"/>
                    </a:lnTo>
                    <a:lnTo>
                      <a:pt x="64" y="5"/>
                    </a:lnTo>
                    <a:lnTo>
                      <a:pt x="56" y="3"/>
                    </a:lnTo>
                    <a:lnTo>
                      <a:pt x="50" y="0"/>
                    </a:lnTo>
                    <a:lnTo>
                      <a:pt x="49" y="3"/>
                    </a:lnTo>
                    <a:lnTo>
                      <a:pt x="45" y="3"/>
                    </a:lnTo>
                    <a:lnTo>
                      <a:pt x="42" y="3"/>
                    </a:lnTo>
                    <a:lnTo>
                      <a:pt x="33" y="3"/>
                    </a:lnTo>
                    <a:lnTo>
                      <a:pt x="28" y="3"/>
                    </a:lnTo>
                    <a:lnTo>
                      <a:pt x="21" y="3"/>
                    </a:lnTo>
                    <a:lnTo>
                      <a:pt x="16" y="3"/>
                    </a:lnTo>
                    <a:lnTo>
                      <a:pt x="16" y="7"/>
                    </a:lnTo>
                    <a:lnTo>
                      <a:pt x="16" y="9"/>
                    </a:lnTo>
                    <a:lnTo>
                      <a:pt x="14" y="12"/>
                    </a:lnTo>
                    <a:lnTo>
                      <a:pt x="14" y="14"/>
                    </a:lnTo>
                    <a:lnTo>
                      <a:pt x="14" y="17"/>
                    </a:lnTo>
                    <a:lnTo>
                      <a:pt x="10" y="19"/>
                    </a:lnTo>
                    <a:lnTo>
                      <a:pt x="5" y="19"/>
                    </a:lnTo>
                    <a:lnTo>
                      <a:pt x="4" y="22"/>
                    </a:lnTo>
                    <a:lnTo>
                      <a:pt x="4" y="28"/>
                    </a:lnTo>
                    <a:lnTo>
                      <a:pt x="0" y="33"/>
                    </a:lnTo>
                    <a:lnTo>
                      <a:pt x="0" y="36"/>
                    </a:lnTo>
                    <a:lnTo>
                      <a:pt x="4" y="40"/>
                    </a:lnTo>
                    <a:lnTo>
                      <a:pt x="5" y="40"/>
                    </a:lnTo>
                    <a:lnTo>
                      <a:pt x="7" y="42"/>
                    </a:lnTo>
                    <a:lnTo>
                      <a:pt x="9" y="45"/>
                    </a:lnTo>
                    <a:lnTo>
                      <a:pt x="9" y="47"/>
                    </a:lnTo>
                    <a:lnTo>
                      <a:pt x="10" y="49"/>
                    </a:lnTo>
                    <a:lnTo>
                      <a:pt x="10" y="49"/>
                    </a:lnTo>
                    <a:lnTo>
                      <a:pt x="14" y="50"/>
                    </a:lnTo>
                    <a:lnTo>
                      <a:pt x="14" y="52"/>
                    </a:lnTo>
                    <a:lnTo>
                      <a:pt x="14" y="59"/>
                    </a:lnTo>
                    <a:lnTo>
                      <a:pt x="14" y="62"/>
                    </a:lnTo>
                    <a:lnTo>
                      <a:pt x="16" y="62"/>
                    </a:lnTo>
                    <a:lnTo>
                      <a:pt x="19" y="64"/>
                    </a:lnTo>
                    <a:lnTo>
                      <a:pt x="19" y="68"/>
                    </a:lnTo>
                    <a:lnTo>
                      <a:pt x="24" y="69"/>
                    </a:lnTo>
                    <a:lnTo>
                      <a:pt x="24" y="73"/>
                    </a:lnTo>
                    <a:lnTo>
                      <a:pt x="24" y="73"/>
                    </a:lnTo>
                    <a:lnTo>
                      <a:pt x="28" y="75"/>
                    </a:lnTo>
                    <a:lnTo>
                      <a:pt x="28" y="75"/>
                    </a:lnTo>
                    <a:lnTo>
                      <a:pt x="28" y="7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09" name="Freeform 172"/>
              <p:cNvSpPr>
                <a:spLocks/>
              </p:cNvSpPr>
              <p:nvPr/>
            </p:nvSpPr>
            <p:spPr bwMode="auto">
              <a:xfrm>
                <a:off x="2819400" y="4035426"/>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0" name="Freeform 173"/>
              <p:cNvSpPr>
                <a:spLocks/>
              </p:cNvSpPr>
              <p:nvPr/>
            </p:nvSpPr>
            <p:spPr bwMode="auto">
              <a:xfrm>
                <a:off x="2819400" y="4035426"/>
                <a:ext cx="138113" cy="201613"/>
              </a:xfrm>
              <a:custGeom>
                <a:avLst/>
                <a:gdLst/>
                <a:ahLst/>
                <a:cxnLst>
                  <a:cxn ang="0">
                    <a:pos x="14" y="55"/>
                  </a:cxn>
                  <a:cxn ang="0">
                    <a:pos x="17" y="55"/>
                  </a:cxn>
                  <a:cxn ang="0">
                    <a:pos x="24" y="59"/>
                  </a:cxn>
                  <a:cxn ang="0">
                    <a:pos x="21" y="66"/>
                  </a:cxn>
                  <a:cxn ang="0">
                    <a:pos x="22" y="69"/>
                  </a:cxn>
                  <a:cxn ang="0">
                    <a:pos x="28" y="73"/>
                  </a:cxn>
                  <a:cxn ang="0">
                    <a:pos x="31" y="74"/>
                  </a:cxn>
                  <a:cxn ang="0">
                    <a:pos x="28" y="80"/>
                  </a:cxn>
                  <a:cxn ang="0">
                    <a:pos x="26" y="90"/>
                  </a:cxn>
                  <a:cxn ang="0">
                    <a:pos x="24" y="97"/>
                  </a:cxn>
                  <a:cxn ang="0">
                    <a:pos x="24" y="100"/>
                  </a:cxn>
                  <a:cxn ang="0">
                    <a:pos x="24" y="106"/>
                  </a:cxn>
                  <a:cxn ang="0">
                    <a:pos x="31" y="113"/>
                  </a:cxn>
                  <a:cxn ang="0">
                    <a:pos x="33" y="120"/>
                  </a:cxn>
                  <a:cxn ang="0">
                    <a:pos x="41" y="127"/>
                  </a:cxn>
                  <a:cxn ang="0">
                    <a:pos x="47" y="123"/>
                  </a:cxn>
                  <a:cxn ang="0">
                    <a:pos x="52" y="123"/>
                  </a:cxn>
                  <a:cxn ang="0">
                    <a:pos x="55" y="120"/>
                  </a:cxn>
                  <a:cxn ang="0">
                    <a:pos x="64" y="118"/>
                  </a:cxn>
                  <a:cxn ang="0">
                    <a:pos x="73" y="111"/>
                  </a:cxn>
                  <a:cxn ang="0">
                    <a:pos x="76" y="113"/>
                  </a:cxn>
                  <a:cxn ang="0">
                    <a:pos x="87" y="111"/>
                  </a:cxn>
                  <a:cxn ang="0">
                    <a:pos x="83" y="109"/>
                  </a:cxn>
                  <a:cxn ang="0">
                    <a:pos x="78" y="106"/>
                  </a:cxn>
                  <a:cxn ang="0">
                    <a:pos x="74" y="99"/>
                  </a:cxn>
                  <a:cxn ang="0">
                    <a:pos x="73" y="95"/>
                  </a:cxn>
                  <a:cxn ang="0">
                    <a:pos x="73" y="87"/>
                  </a:cxn>
                  <a:cxn ang="0">
                    <a:pos x="67" y="87"/>
                  </a:cxn>
                  <a:cxn ang="0">
                    <a:pos x="67" y="83"/>
                  </a:cxn>
                  <a:cxn ang="0">
                    <a:pos x="64" y="78"/>
                  </a:cxn>
                  <a:cxn ang="0">
                    <a:pos x="59" y="74"/>
                  </a:cxn>
                  <a:cxn ang="0">
                    <a:pos x="62" y="66"/>
                  </a:cxn>
                  <a:cxn ang="0">
                    <a:pos x="64" y="57"/>
                  </a:cxn>
                  <a:cxn ang="0">
                    <a:pos x="73" y="55"/>
                  </a:cxn>
                  <a:cxn ang="0">
                    <a:pos x="73" y="50"/>
                  </a:cxn>
                  <a:cxn ang="0">
                    <a:pos x="74" y="47"/>
                  </a:cxn>
                  <a:cxn ang="0">
                    <a:pos x="73" y="43"/>
                  </a:cxn>
                  <a:cxn ang="0">
                    <a:pos x="73" y="36"/>
                  </a:cxn>
                  <a:cxn ang="0">
                    <a:pos x="61" y="29"/>
                  </a:cxn>
                  <a:cxn ang="0">
                    <a:pos x="55" y="29"/>
                  </a:cxn>
                  <a:cxn ang="0">
                    <a:pos x="48" y="33"/>
                  </a:cxn>
                  <a:cxn ang="0">
                    <a:pos x="47" y="33"/>
                  </a:cxn>
                  <a:cxn ang="0">
                    <a:pos x="48" y="22"/>
                  </a:cxn>
                  <a:cxn ang="0">
                    <a:pos x="45" y="15"/>
                  </a:cxn>
                  <a:cxn ang="0">
                    <a:pos x="33" y="7"/>
                  </a:cxn>
                  <a:cxn ang="0">
                    <a:pos x="31" y="1"/>
                  </a:cxn>
                  <a:cxn ang="0">
                    <a:pos x="26" y="0"/>
                  </a:cxn>
                  <a:cxn ang="0">
                    <a:pos x="21" y="7"/>
                  </a:cxn>
                  <a:cxn ang="0">
                    <a:pos x="14" y="10"/>
                  </a:cxn>
                  <a:cxn ang="0">
                    <a:pos x="10" y="17"/>
                  </a:cxn>
                  <a:cxn ang="0">
                    <a:pos x="15" y="20"/>
                  </a:cxn>
                  <a:cxn ang="0">
                    <a:pos x="19" y="26"/>
                  </a:cxn>
                  <a:cxn ang="0">
                    <a:pos x="10" y="29"/>
                  </a:cxn>
                  <a:cxn ang="0">
                    <a:pos x="5" y="29"/>
                  </a:cxn>
                  <a:cxn ang="0">
                    <a:pos x="3" y="36"/>
                  </a:cxn>
                  <a:cxn ang="0">
                    <a:pos x="0" y="43"/>
                  </a:cxn>
                  <a:cxn ang="0">
                    <a:pos x="12" y="53"/>
                  </a:cxn>
                  <a:cxn ang="0">
                    <a:pos x="12" y="55"/>
                  </a:cxn>
                </a:cxnLst>
                <a:rect l="0" t="0" r="r" b="b"/>
                <a:pathLst>
                  <a:path w="87" h="127">
                    <a:moveTo>
                      <a:pt x="12" y="55"/>
                    </a:moveTo>
                    <a:lnTo>
                      <a:pt x="14" y="55"/>
                    </a:lnTo>
                    <a:lnTo>
                      <a:pt x="14" y="57"/>
                    </a:lnTo>
                    <a:lnTo>
                      <a:pt x="17" y="55"/>
                    </a:lnTo>
                    <a:lnTo>
                      <a:pt x="21" y="55"/>
                    </a:lnTo>
                    <a:lnTo>
                      <a:pt x="24" y="59"/>
                    </a:lnTo>
                    <a:lnTo>
                      <a:pt x="24" y="64"/>
                    </a:lnTo>
                    <a:lnTo>
                      <a:pt x="21" y="66"/>
                    </a:lnTo>
                    <a:lnTo>
                      <a:pt x="19" y="69"/>
                    </a:lnTo>
                    <a:lnTo>
                      <a:pt x="22" y="69"/>
                    </a:lnTo>
                    <a:lnTo>
                      <a:pt x="26" y="69"/>
                    </a:lnTo>
                    <a:lnTo>
                      <a:pt x="28" y="73"/>
                    </a:lnTo>
                    <a:lnTo>
                      <a:pt x="28" y="74"/>
                    </a:lnTo>
                    <a:lnTo>
                      <a:pt x="31" y="74"/>
                    </a:lnTo>
                    <a:lnTo>
                      <a:pt x="31" y="76"/>
                    </a:lnTo>
                    <a:lnTo>
                      <a:pt x="28" y="80"/>
                    </a:lnTo>
                    <a:lnTo>
                      <a:pt x="28" y="83"/>
                    </a:lnTo>
                    <a:lnTo>
                      <a:pt x="26" y="90"/>
                    </a:lnTo>
                    <a:lnTo>
                      <a:pt x="26" y="93"/>
                    </a:lnTo>
                    <a:lnTo>
                      <a:pt x="24" y="97"/>
                    </a:lnTo>
                    <a:lnTo>
                      <a:pt x="24" y="100"/>
                    </a:lnTo>
                    <a:lnTo>
                      <a:pt x="24" y="100"/>
                    </a:lnTo>
                    <a:lnTo>
                      <a:pt x="24" y="104"/>
                    </a:lnTo>
                    <a:lnTo>
                      <a:pt x="24" y="106"/>
                    </a:lnTo>
                    <a:lnTo>
                      <a:pt x="28" y="109"/>
                    </a:lnTo>
                    <a:lnTo>
                      <a:pt x="31" y="113"/>
                    </a:lnTo>
                    <a:lnTo>
                      <a:pt x="31" y="116"/>
                    </a:lnTo>
                    <a:lnTo>
                      <a:pt x="33" y="120"/>
                    </a:lnTo>
                    <a:lnTo>
                      <a:pt x="40" y="123"/>
                    </a:lnTo>
                    <a:lnTo>
                      <a:pt x="41" y="127"/>
                    </a:lnTo>
                    <a:lnTo>
                      <a:pt x="45" y="123"/>
                    </a:lnTo>
                    <a:lnTo>
                      <a:pt x="47" y="123"/>
                    </a:lnTo>
                    <a:lnTo>
                      <a:pt x="47" y="123"/>
                    </a:lnTo>
                    <a:lnTo>
                      <a:pt x="52" y="123"/>
                    </a:lnTo>
                    <a:lnTo>
                      <a:pt x="54" y="121"/>
                    </a:lnTo>
                    <a:lnTo>
                      <a:pt x="55" y="120"/>
                    </a:lnTo>
                    <a:lnTo>
                      <a:pt x="59" y="118"/>
                    </a:lnTo>
                    <a:lnTo>
                      <a:pt x="64" y="118"/>
                    </a:lnTo>
                    <a:lnTo>
                      <a:pt x="67" y="113"/>
                    </a:lnTo>
                    <a:lnTo>
                      <a:pt x="73" y="111"/>
                    </a:lnTo>
                    <a:lnTo>
                      <a:pt x="76" y="111"/>
                    </a:lnTo>
                    <a:lnTo>
                      <a:pt x="76" y="113"/>
                    </a:lnTo>
                    <a:lnTo>
                      <a:pt x="80" y="111"/>
                    </a:lnTo>
                    <a:lnTo>
                      <a:pt x="87" y="111"/>
                    </a:lnTo>
                    <a:lnTo>
                      <a:pt x="83" y="109"/>
                    </a:lnTo>
                    <a:lnTo>
                      <a:pt x="83" y="109"/>
                    </a:lnTo>
                    <a:lnTo>
                      <a:pt x="83" y="106"/>
                    </a:lnTo>
                    <a:lnTo>
                      <a:pt x="78" y="106"/>
                    </a:lnTo>
                    <a:lnTo>
                      <a:pt x="78" y="100"/>
                    </a:lnTo>
                    <a:lnTo>
                      <a:pt x="74" y="99"/>
                    </a:lnTo>
                    <a:lnTo>
                      <a:pt x="73" y="99"/>
                    </a:lnTo>
                    <a:lnTo>
                      <a:pt x="73" y="95"/>
                    </a:lnTo>
                    <a:lnTo>
                      <a:pt x="73" y="88"/>
                    </a:lnTo>
                    <a:lnTo>
                      <a:pt x="73" y="87"/>
                    </a:lnTo>
                    <a:lnTo>
                      <a:pt x="69" y="87"/>
                    </a:lnTo>
                    <a:lnTo>
                      <a:pt x="67" y="87"/>
                    </a:lnTo>
                    <a:lnTo>
                      <a:pt x="67" y="83"/>
                    </a:lnTo>
                    <a:lnTo>
                      <a:pt x="67" y="83"/>
                    </a:lnTo>
                    <a:lnTo>
                      <a:pt x="64" y="80"/>
                    </a:lnTo>
                    <a:lnTo>
                      <a:pt x="64" y="78"/>
                    </a:lnTo>
                    <a:lnTo>
                      <a:pt x="62" y="76"/>
                    </a:lnTo>
                    <a:lnTo>
                      <a:pt x="59" y="74"/>
                    </a:lnTo>
                    <a:lnTo>
                      <a:pt x="59" y="71"/>
                    </a:lnTo>
                    <a:lnTo>
                      <a:pt x="62" y="66"/>
                    </a:lnTo>
                    <a:lnTo>
                      <a:pt x="62" y="60"/>
                    </a:lnTo>
                    <a:lnTo>
                      <a:pt x="64" y="57"/>
                    </a:lnTo>
                    <a:lnTo>
                      <a:pt x="67" y="57"/>
                    </a:lnTo>
                    <a:lnTo>
                      <a:pt x="73" y="55"/>
                    </a:lnTo>
                    <a:lnTo>
                      <a:pt x="73" y="52"/>
                    </a:lnTo>
                    <a:lnTo>
                      <a:pt x="73" y="50"/>
                    </a:lnTo>
                    <a:lnTo>
                      <a:pt x="74" y="47"/>
                    </a:lnTo>
                    <a:lnTo>
                      <a:pt x="74" y="47"/>
                    </a:lnTo>
                    <a:lnTo>
                      <a:pt x="73" y="47"/>
                    </a:lnTo>
                    <a:lnTo>
                      <a:pt x="73" y="43"/>
                    </a:lnTo>
                    <a:lnTo>
                      <a:pt x="73" y="40"/>
                    </a:lnTo>
                    <a:lnTo>
                      <a:pt x="73" y="36"/>
                    </a:lnTo>
                    <a:lnTo>
                      <a:pt x="64" y="34"/>
                    </a:lnTo>
                    <a:lnTo>
                      <a:pt x="61" y="29"/>
                    </a:lnTo>
                    <a:lnTo>
                      <a:pt x="55" y="26"/>
                    </a:lnTo>
                    <a:lnTo>
                      <a:pt x="55" y="29"/>
                    </a:lnTo>
                    <a:lnTo>
                      <a:pt x="52" y="29"/>
                    </a:lnTo>
                    <a:lnTo>
                      <a:pt x="48" y="33"/>
                    </a:lnTo>
                    <a:lnTo>
                      <a:pt x="48" y="34"/>
                    </a:lnTo>
                    <a:lnTo>
                      <a:pt x="47" y="33"/>
                    </a:lnTo>
                    <a:lnTo>
                      <a:pt x="48" y="26"/>
                    </a:lnTo>
                    <a:lnTo>
                      <a:pt x="48" y="22"/>
                    </a:lnTo>
                    <a:lnTo>
                      <a:pt x="47" y="17"/>
                    </a:lnTo>
                    <a:lnTo>
                      <a:pt x="45" y="15"/>
                    </a:lnTo>
                    <a:lnTo>
                      <a:pt x="38" y="10"/>
                    </a:lnTo>
                    <a:lnTo>
                      <a:pt x="33" y="7"/>
                    </a:lnTo>
                    <a:lnTo>
                      <a:pt x="33" y="3"/>
                    </a:lnTo>
                    <a:lnTo>
                      <a:pt x="31" y="1"/>
                    </a:lnTo>
                    <a:lnTo>
                      <a:pt x="28" y="0"/>
                    </a:lnTo>
                    <a:lnTo>
                      <a:pt x="26" y="0"/>
                    </a:lnTo>
                    <a:lnTo>
                      <a:pt x="26" y="1"/>
                    </a:lnTo>
                    <a:lnTo>
                      <a:pt x="21" y="7"/>
                    </a:lnTo>
                    <a:lnTo>
                      <a:pt x="17" y="10"/>
                    </a:lnTo>
                    <a:lnTo>
                      <a:pt x="14" y="10"/>
                    </a:lnTo>
                    <a:lnTo>
                      <a:pt x="8" y="13"/>
                    </a:lnTo>
                    <a:lnTo>
                      <a:pt x="10" y="17"/>
                    </a:lnTo>
                    <a:lnTo>
                      <a:pt x="12" y="20"/>
                    </a:lnTo>
                    <a:lnTo>
                      <a:pt x="15" y="20"/>
                    </a:lnTo>
                    <a:lnTo>
                      <a:pt x="19" y="24"/>
                    </a:lnTo>
                    <a:lnTo>
                      <a:pt x="19" y="26"/>
                    </a:lnTo>
                    <a:lnTo>
                      <a:pt x="14" y="29"/>
                    </a:lnTo>
                    <a:lnTo>
                      <a:pt x="10" y="29"/>
                    </a:lnTo>
                    <a:lnTo>
                      <a:pt x="8" y="29"/>
                    </a:lnTo>
                    <a:lnTo>
                      <a:pt x="5" y="29"/>
                    </a:lnTo>
                    <a:lnTo>
                      <a:pt x="3" y="33"/>
                    </a:lnTo>
                    <a:lnTo>
                      <a:pt x="3" y="36"/>
                    </a:lnTo>
                    <a:lnTo>
                      <a:pt x="0" y="40"/>
                    </a:lnTo>
                    <a:lnTo>
                      <a:pt x="0" y="43"/>
                    </a:lnTo>
                    <a:lnTo>
                      <a:pt x="5" y="48"/>
                    </a:lnTo>
                    <a:lnTo>
                      <a:pt x="12" y="53"/>
                    </a:lnTo>
                    <a:lnTo>
                      <a:pt x="12" y="55"/>
                    </a:lnTo>
                    <a:lnTo>
                      <a:pt x="12" y="55"/>
                    </a:lnTo>
                    <a:lnTo>
                      <a:pt x="12" y="5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1" name="Freeform 174"/>
              <p:cNvSpPr>
                <a:spLocks noEditPoints="1"/>
              </p:cNvSpPr>
              <p:nvPr/>
            </p:nvSpPr>
            <p:spPr bwMode="auto">
              <a:xfrm>
                <a:off x="2493963" y="3919538"/>
                <a:ext cx="363538" cy="330200"/>
              </a:xfrm>
              <a:custGeom>
                <a:avLst/>
                <a:gdLst/>
                <a:ahLst/>
                <a:cxnLst>
                  <a:cxn ang="0">
                    <a:pos x="128" y="208"/>
                  </a:cxn>
                  <a:cxn ang="0">
                    <a:pos x="153" y="187"/>
                  </a:cxn>
                  <a:cxn ang="0">
                    <a:pos x="161" y="179"/>
                  </a:cxn>
                  <a:cxn ang="0">
                    <a:pos x="153" y="158"/>
                  </a:cxn>
                  <a:cxn ang="0">
                    <a:pos x="147" y="147"/>
                  </a:cxn>
                  <a:cxn ang="0">
                    <a:pos x="172" y="151"/>
                  </a:cxn>
                  <a:cxn ang="0">
                    <a:pos x="198" y="142"/>
                  </a:cxn>
                  <a:cxn ang="0">
                    <a:pos x="208" y="121"/>
                  </a:cxn>
                  <a:cxn ang="0">
                    <a:pos x="208" y="100"/>
                  </a:cxn>
                  <a:cxn ang="0">
                    <a:pos x="220" y="95"/>
                  </a:cxn>
                  <a:cxn ang="0">
                    <a:pos x="217" y="81"/>
                  </a:cxn>
                  <a:cxn ang="0">
                    <a:pos x="229" y="69"/>
                  </a:cxn>
                  <a:cxn ang="0">
                    <a:pos x="210" y="67"/>
                  </a:cxn>
                  <a:cxn ang="0">
                    <a:pos x="201" y="67"/>
                  </a:cxn>
                  <a:cxn ang="0">
                    <a:pos x="210" y="59"/>
                  </a:cxn>
                  <a:cxn ang="0">
                    <a:pos x="198" y="50"/>
                  </a:cxn>
                  <a:cxn ang="0">
                    <a:pos x="186" y="43"/>
                  </a:cxn>
                  <a:cxn ang="0">
                    <a:pos x="175" y="38"/>
                  </a:cxn>
                  <a:cxn ang="0">
                    <a:pos x="193" y="33"/>
                  </a:cxn>
                  <a:cxn ang="0">
                    <a:pos x="172" y="29"/>
                  </a:cxn>
                  <a:cxn ang="0">
                    <a:pos x="149" y="36"/>
                  </a:cxn>
                  <a:cxn ang="0">
                    <a:pos x="135" y="41"/>
                  </a:cxn>
                  <a:cxn ang="0">
                    <a:pos x="99" y="36"/>
                  </a:cxn>
                  <a:cxn ang="0">
                    <a:pos x="90" y="29"/>
                  </a:cxn>
                  <a:cxn ang="0">
                    <a:pos x="71" y="19"/>
                  </a:cxn>
                  <a:cxn ang="0">
                    <a:pos x="62" y="5"/>
                  </a:cxn>
                  <a:cxn ang="0">
                    <a:pos x="52" y="17"/>
                  </a:cxn>
                  <a:cxn ang="0">
                    <a:pos x="59" y="22"/>
                  </a:cxn>
                  <a:cxn ang="0">
                    <a:pos x="48" y="24"/>
                  </a:cxn>
                  <a:cxn ang="0">
                    <a:pos x="33" y="36"/>
                  </a:cxn>
                  <a:cxn ang="0">
                    <a:pos x="27" y="60"/>
                  </a:cxn>
                  <a:cxn ang="0">
                    <a:pos x="22" y="47"/>
                  </a:cxn>
                  <a:cxn ang="0">
                    <a:pos x="27" y="27"/>
                  </a:cxn>
                  <a:cxn ang="0">
                    <a:pos x="27" y="15"/>
                  </a:cxn>
                  <a:cxn ang="0">
                    <a:pos x="24" y="15"/>
                  </a:cxn>
                  <a:cxn ang="0">
                    <a:pos x="10" y="31"/>
                  </a:cxn>
                  <a:cxn ang="0">
                    <a:pos x="1" y="55"/>
                  </a:cxn>
                  <a:cxn ang="0">
                    <a:pos x="17" y="76"/>
                  </a:cxn>
                  <a:cxn ang="0">
                    <a:pos x="15" y="88"/>
                  </a:cxn>
                  <a:cxn ang="0">
                    <a:pos x="33" y="95"/>
                  </a:cxn>
                  <a:cxn ang="0">
                    <a:pos x="52" y="95"/>
                  </a:cxn>
                  <a:cxn ang="0">
                    <a:pos x="74" y="111"/>
                  </a:cxn>
                  <a:cxn ang="0">
                    <a:pos x="94" y="111"/>
                  </a:cxn>
                  <a:cxn ang="0">
                    <a:pos x="99" y="120"/>
                  </a:cxn>
                  <a:cxn ang="0">
                    <a:pos x="94" y="135"/>
                  </a:cxn>
                  <a:cxn ang="0">
                    <a:pos x="94" y="151"/>
                  </a:cxn>
                  <a:cxn ang="0">
                    <a:pos x="97" y="173"/>
                  </a:cxn>
                  <a:cxn ang="0">
                    <a:pos x="99" y="184"/>
                  </a:cxn>
                  <a:cxn ang="0">
                    <a:pos x="106" y="200"/>
                  </a:cxn>
                  <a:cxn ang="0">
                    <a:pos x="90" y="7"/>
                  </a:cxn>
                  <a:cxn ang="0">
                    <a:pos x="83" y="3"/>
                  </a:cxn>
                  <a:cxn ang="0">
                    <a:pos x="78" y="5"/>
                  </a:cxn>
                  <a:cxn ang="0">
                    <a:pos x="71" y="1"/>
                  </a:cxn>
                  <a:cxn ang="0">
                    <a:pos x="61" y="0"/>
                  </a:cxn>
                  <a:cxn ang="0">
                    <a:pos x="55" y="0"/>
                  </a:cxn>
                  <a:cxn ang="0">
                    <a:pos x="163" y="24"/>
                  </a:cxn>
                  <a:cxn ang="0">
                    <a:pos x="151" y="27"/>
                  </a:cxn>
                </a:cxnLst>
                <a:rect l="0" t="0" r="r" b="b"/>
                <a:pathLst>
                  <a:path w="229" h="208">
                    <a:moveTo>
                      <a:pt x="106" y="200"/>
                    </a:moveTo>
                    <a:lnTo>
                      <a:pt x="113" y="203"/>
                    </a:lnTo>
                    <a:lnTo>
                      <a:pt x="120" y="208"/>
                    </a:lnTo>
                    <a:lnTo>
                      <a:pt x="121" y="208"/>
                    </a:lnTo>
                    <a:lnTo>
                      <a:pt x="128" y="208"/>
                    </a:lnTo>
                    <a:lnTo>
                      <a:pt x="133" y="203"/>
                    </a:lnTo>
                    <a:lnTo>
                      <a:pt x="140" y="201"/>
                    </a:lnTo>
                    <a:lnTo>
                      <a:pt x="142" y="198"/>
                    </a:lnTo>
                    <a:lnTo>
                      <a:pt x="151" y="193"/>
                    </a:lnTo>
                    <a:lnTo>
                      <a:pt x="153" y="187"/>
                    </a:lnTo>
                    <a:lnTo>
                      <a:pt x="154" y="184"/>
                    </a:lnTo>
                    <a:lnTo>
                      <a:pt x="163" y="184"/>
                    </a:lnTo>
                    <a:lnTo>
                      <a:pt x="166" y="180"/>
                    </a:lnTo>
                    <a:lnTo>
                      <a:pt x="166" y="179"/>
                    </a:lnTo>
                    <a:lnTo>
                      <a:pt x="161" y="179"/>
                    </a:lnTo>
                    <a:lnTo>
                      <a:pt x="156" y="179"/>
                    </a:lnTo>
                    <a:lnTo>
                      <a:pt x="147" y="175"/>
                    </a:lnTo>
                    <a:lnTo>
                      <a:pt x="149" y="170"/>
                    </a:lnTo>
                    <a:lnTo>
                      <a:pt x="147" y="166"/>
                    </a:lnTo>
                    <a:lnTo>
                      <a:pt x="153" y="158"/>
                    </a:lnTo>
                    <a:lnTo>
                      <a:pt x="151" y="156"/>
                    </a:lnTo>
                    <a:lnTo>
                      <a:pt x="147" y="151"/>
                    </a:lnTo>
                    <a:lnTo>
                      <a:pt x="144" y="151"/>
                    </a:lnTo>
                    <a:lnTo>
                      <a:pt x="142" y="147"/>
                    </a:lnTo>
                    <a:lnTo>
                      <a:pt x="147" y="147"/>
                    </a:lnTo>
                    <a:lnTo>
                      <a:pt x="151" y="147"/>
                    </a:lnTo>
                    <a:lnTo>
                      <a:pt x="156" y="151"/>
                    </a:lnTo>
                    <a:lnTo>
                      <a:pt x="163" y="151"/>
                    </a:lnTo>
                    <a:lnTo>
                      <a:pt x="170" y="151"/>
                    </a:lnTo>
                    <a:lnTo>
                      <a:pt x="172" y="151"/>
                    </a:lnTo>
                    <a:lnTo>
                      <a:pt x="179" y="151"/>
                    </a:lnTo>
                    <a:lnTo>
                      <a:pt x="184" y="144"/>
                    </a:lnTo>
                    <a:lnTo>
                      <a:pt x="189" y="144"/>
                    </a:lnTo>
                    <a:lnTo>
                      <a:pt x="189" y="144"/>
                    </a:lnTo>
                    <a:lnTo>
                      <a:pt x="198" y="142"/>
                    </a:lnTo>
                    <a:lnTo>
                      <a:pt x="203" y="142"/>
                    </a:lnTo>
                    <a:lnTo>
                      <a:pt x="213" y="135"/>
                    </a:lnTo>
                    <a:lnTo>
                      <a:pt x="215" y="132"/>
                    </a:lnTo>
                    <a:lnTo>
                      <a:pt x="215" y="128"/>
                    </a:lnTo>
                    <a:lnTo>
                      <a:pt x="208" y="121"/>
                    </a:lnTo>
                    <a:lnTo>
                      <a:pt x="203" y="116"/>
                    </a:lnTo>
                    <a:lnTo>
                      <a:pt x="201" y="111"/>
                    </a:lnTo>
                    <a:lnTo>
                      <a:pt x="205" y="109"/>
                    </a:lnTo>
                    <a:lnTo>
                      <a:pt x="205" y="104"/>
                    </a:lnTo>
                    <a:lnTo>
                      <a:pt x="208" y="100"/>
                    </a:lnTo>
                    <a:lnTo>
                      <a:pt x="212" y="102"/>
                    </a:lnTo>
                    <a:lnTo>
                      <a:pt x="213" y="100"/>
                    </a:lnTo>
                    <a:lnTo>
                      <a:pt x="217" y="102"/>
                    </a:lnTo>
                    <a:lnTo>
                      <a:pt x="220" y="99"/>
                    </a:lnTo>
                    <a:lnTo>
                      <a:pt x="220" y="95"/>
                    </a:lnTo>
                    <a:lnTo>
                      <a:pt x="217" y="92"/>
                    </a:lnTo>
                    <a:lnTo>
                      <a:pt x="215" y="92"/>
                    </a:lnTo>
                    <a:lnTo>
                      <a:pt x="213" y="88"/>
                    </a:lnTo>
                    <a:lnTo>
                      <a:pt x="212" y="86"/>
                    </a:lnTo>
                    <a:lnTo>
                      <a:pt x="217" y="81"/>
                    </a:lnTo>
                    <a:lnTo>
                      <a:pt x="220" y="81"/>
                    </a:lnTo>
                    <a:lnTo>
                      <a:pt x="224" y="78"/>
                    </a:lnTo>
                    <a:lnTo>
                      <a:pt x="229" y="73"/>
                    </a:lnTo>
                    <a:lnTo>
                      <a:pt x="229" y="71"/>
                    </a:lnTo>
                    <a:lnTo>
                      <a:pt x="229" y="69"/>
                    </a:lnTo>
                    <a:lnTo>
                      <a:pt x="220" y="67"/>
                    </a:lnTo>
                    <a:lnTo>
                      <a:pt x="217" y="67"/>
                    </a:lnTo>
                    <a:lnTo>
                      <a:pt x="217" y="67"/>
                    </a:lnTo>
                    <a:lnTo>
                      <a:pt x="213" y="67"/>
                    </a:lnTo>
                    <a:lnTo>
                      <a:pt x="210" y="67"/>
                    </a:lnTo>
                    <a:lnTo>
                      <a:pt x="208" y="67"/>
                    </a:lnTo>
                    <a:lnTo>
                      <a:pt x="201" y="69"/>
                    </a:lnTo>
                    <a:lnTo>
                      <a:pt x="198" y="69"/>
                    </a:lnTo>
                    <a:lnTo>
                      <a:pt x="198" y="69"/>
                    </a:lnTo>
                    <a:lnTo>
                      <a:pt x="201" y="67"/>
                    </a:lnTo>
                    <a:lnTo>
                      <a:pt x="201" y="67"/>
                    </a:lnTo>
                    <a:lnTo>
                      <a:pt x="205" y="66"/>
                    </a:lnTo>
                    <a:lnTo>
                      <a:pt x="206" y="64"/>
                    </a:lnTo>
                    <a:lnTo>
                      <a:pt x="210" y="60"/>
                    </a:lnTo>
                    <a:lnTo>
                      <a:pt x="210" y="59"/>
                    </a:lnTo>
                    <a:lnTo>
                      <a:pt x="208" y="57"/>
                    </a:lnTo>
                    <a:lnTo>
                      <a:pt x="208" y="55"/>
                    </a:lnTo>
                    <a:lnTo>
                      <a:pt x="206" y="55"/>
                    </a:lnTo>
                    <a:lnTo>
                      <a:pt x="201" y="52"/>
                    </a:lnTo>
                    <a:lnTo>
                      <a:pt x="198" y="50"/>
                    </a:lnTo>
                    <a:lnTo>
                      <a:pt x="194" y="47"/>
                    </a:lnTo>
                    <a:lnTo>
                      <a:pt x="194" y="47"/>
                    </a:lnTo>
                    <a:lnTo>
                      <a:pt x="189" y="47"/>
                    </a:lnTo>
                    <a:lnTo>
                      <a:pt x="189" y="45"/>
                    </a:lnTo>
                    <a:lnTo>
                      <a:pt x="186" y="43"/>
                    </a:lnTo>
                    <a:lnTo>
                      <a:pt x="184" y="43"/>
                    </a:lnTo>
                    <a:lnTo>
                      <a:pt x="184" y="47"/>
                    </a:lnTo>
                    <a:lnTo>
                      <a:pt x="180" y="43"/>
                    </a:lnTo>
                    <a:lnTo>
                      <a:pt x="180" y="40"/>
                    </a:lnTo>
                    <a:lnTo>
                      <a:pt x="175" y="38"/>
                    </a:lnTo>
                    <a:lnTo>
                      <a:pt x="175" y="36"/>
                    </a:lnTo>
                    <a:lnTo>
                      <a:pt x="179" y="34"/>
                    </a:lnTo>
                    <a:lnTo>
                      <a:pt x="186" y="34"/>
                    </a:lnTo>
                    <a:lnTo>
                      <a:pt x="187" y="33"/>
                    </a:lnTo>
                    <a:lnTo>
                      <a:pt x="193" y="33"/>
                    </a:lnTo>
                    <a:lnTo>
                      <a:pt x="194" y="29"/>
                    </a:lnTo>
                    <a:lnTo>
                      <a:pt x="189" y="31"/>
                    </a:lnTo>
                    <a:lnTo>
                      <a:pt x="180" y="29"/>
                    </a:lnTo>
                    <a:lnTo>
                      <a:pt x="175" y="29"/>
                    </a:lnTo>
                    <a:lnTo>
                      <a:pt x="172" y="29"/>
                    </a:lnTo>
                    <a:lnTo>
                      <a:pt x="165" y="33"/>
                    </a:lnTo>
                    <a:lnTo>
                      <a:pt x="161" y="31"/>
                    </a:lnTo>
                    <a:lnTo>
                      <a:pt x="158" y="31"/>
                    </a:lnTo>
                    <a:lnTo>
                      <a:pt x="153" y="36"/>
                    </a:lnTo>
                    <a:lnTo>
                      <a:pt x="149" y="36"/>
                    </a:lnTo>
                    <a:lnTo>
                      <a:pt x="144" y="40"/>
                    </a:lnTo>
                    <a:lnTo>
                      <a:pt x="144" y="41"/>
                    </a:lnTo>
                    <a:lnTo>
                      <a:pt x="139" y="41"/>
                    </a:lnTo>
                    <a:lnTo>
                      <a:pt x="137" y="43"/>
                    </a:lnTo>
                    <a:lnTo>
                      <a:pt x="135" y="41"/>
                    </a:lnTo>
                    <a:lnTo>
                      <a:pt x="127" y="36"/>
                    </a:lnTo>
                    <a:lnTo>
                      <a:pt x="125" y="33"/>
                    </a:lnTo>
                    <a:lnTo>
                      <a:pt x="125" y="33"/>
                    </a:lnTo>
                    <a:lnTo>
                      <a:pt x="116" y="33"/>
                    </a:lnTo>
                    <a:lnTo>
                      <a:pt x="99" y="36"/>
                    </a:lnTo>
                    <a:lnTo>
                      <a:pt x="92" y="36"/>
                    </a:lnTo>
                    <a:lnTo>
                      <a:pt x="88" y="34"/>
                    </a:lnTo>
                    <a:lnTo>
                      <a:pt x="87" y="33"/>
                    </a:lnTo>
                    <a:lnTo>
                      <a:pt x="87" y="29"/>
                    </a:lnTo>
                    <a:lnTo>
                      <a:pt x="90" y="29"/>
                    </a:lnTo>
                    <a:lnTo>
                      <a:pt x="88" y="27"/>
                    </a:lnTo>
                    <a:lnTo>
                      <a:pt x="85" y="22"/>
                    </a:lnTo>
                    <a:lnTo>
                      <a:pt x="81" y="19"/>
                    </a:lnTo>
                    <a:lnTo>
                      <a:pt x="74" y="22"/>
                    </a:lnTo>
                    <a:lnTo>
                      <a:pt x="71" y="19"/>
                    </a:lnTo>
                    <a:lnTo>
                      <a:pt x="67" y="19"/>
                    </a:lnTo>
                    <a:lnTo>
                      <a:pt x="66" y="19"/>
                    </a:lnTo>
                    <a:lnTo>
                      <a:pt x="62" y="15"/>
                    </a:lnTo>
                    <a:lnTo>
                      <a:pt x="62" y="10"/>
                    </a:lnTo>
                    <a:lnTo>
                      <a:pt x="62" y="5"/>
                    </a:lnTo>
                    <a:lnTo>
                      <a:pt x="61" y="3"/>
                    </a:lnTo>
                    <a:lnTo>
                      <a:pt x="55" y="5"/>
                    </a:lnTo>
                    <a:lnTo>
                      <a:pt x="52" y="12"/>
                    </a:lnTo>
                    <a:lnTo>
                      <a:pt x="52" y="15"/>
                    </a:lnTo>
                    <a:lnTo>
                      <a:pt x="52" y="17"/>
                    </a:lnTo>
                    <a:lnTo>
                      <a:pt x="55" y="15"/>
                    </a:lnTo>
                    <a:lnTo>
                      <a:pt x="59" y="15"/>
                    </a:lnTo>
                    <a:lnTo>
                      <a:pt x="62" y="19"/>
                    </a:lnTo>
                    <a:lnTo>
                      <a:pt x="62" y="19"/>
                    </a:lnTo>
                    <a:lnTo>
                      <a:pt x="59" y="22"/>
                    </a:lnTo>
                    <a:lnTo>
                      <a:pt x="55" y="19"/>
                    </a:lnTo>
                    <a:lnTo>
                      <a:pt x="54" y="19"/>
                    </a:lnTo>
                    <a:lnTo>
                      <a:pt x="52" y="19"/>
                    </a:lnTo>
                    <a:lnTo>
                      <a:pt x="52" y="22"/>
                    </a:lnTo>
                    <a:lnTo>
                      <a:pt x="48" y="24"/>
                    </a:lnTo>
                    <a:lnTo>
                      <a:pt x="40" y="24"/>
                    </a:lnTo>
                    <a:lnTo>
                      <a:pt x="34" y="27"/>
                    </a:lnTo>
                    <a:lnTo>
                      <a:pt x="31" y="29"/>
                    </a:lnTo>
                    <a:lnTo>
                      <a:pt x="31" y="33"/>
                    </a:lnTo>
                    <a:lnTo>
                      <a:pt x="33" y="36"/>
                    </a:lnTo>
                    <a:lnTo>
                      <a:pt x="33" y="45"/>
                    </a:lnTo>
                    <a:lnTo>
                      <a:pt x="34" y="47"/>
                    </a:lnTo>
                    <a:lnTo>
                      <a:pt x="36" y="52"/>
                    </a:lnTo>
                    <a:lnTo>
                      <a:pt x="33" y="57"/>
                    </a:lnTo>
                    <a:lnTo>
                      <a:pt x="27" y="60"/>
                    </a:lnTo>
                    <a:lnTo>
                      <a:pt x="24" y="60"/>
                    </a:lnTo>
                    <a:lnTo>
                      <a:pt x="24" y="55"/>
                    </a:lnTo>
                    <a:lnTo>
                      <a:pt x="21" y="52"/>
                    </a:lnTo>
                    <a:lnTo>
                      <a:pt x="21" y="47"/>
                    </a:lnTo>
                    <a:lnTo>
                      <a:pt x="22" y="47"/>
                    </a:lnTo>
                    <a:lnTo>
                      <a:pt x="22" y="43"/>
                    </a:lnTo>
                    <a:lnTo>
                      <a:pt x="29" y="36"/>
                    </a:lnTo>
                    <a:lnTo>
                      <a:pt x="29" y="31"/>
                    </a:lnTo>
                    <a:lnTo>
                      <a:pt x="27" y="27"/>
                    </a:lnTo>
                    <a:lnTo>
                      <a:pt x="27" y="27"/>
                    </a:lnTo>
                    <a:lnTo>
                      <a:pt x="27" y="24"/>
                    </a:lnTo>
                    <a:lnTo>
                      <a:pt x="24" y="24"/>
                    </a:lnTo>
                    <a:lnTo>
                      <a:pt x="22" y="19"/>
                    </a:lnTo>
                    <a:lnTo>
                      <a:pt x="24" y="17"/>
                    </a:lnTo>
                    <a:lnTo>
                      <a:pt x="27" y="15"/>
                    </a:lnTo>
                    <a:lnTo>
                      <a:pt x="33" y="15"/>
                    </a:lnTo>
                    <a:lnTo>
                      <a:pt x="36" y="10"/>
                    </a:lnTo>
                    <a:lnTo>
                      <a:pt x="34" y="10"/>
                    </a:lnTo>
                    <a:lnTo>
                      <a:pt x="33" y="12"/>
                    </a:lnTo>
                    <a:lnTo>
                      <a:pt x="24" y="15"/>
                    </a:lnTo>
                    <a:lnTo>
                      <a:pt x="21" y="22"/>
                    </a:lnTo>
                    <a:lnTo>
                      <a:pt x="17" y="24"/>
                    </a:lnTo>
                    <a:lnTo>
                      <a:pt x="15" y="24"/>
                    </a:lnTo>
                    <a:lnTo>
                      <a:pt x="12" y="29"/>
                    </a:lnTo>
                    <a:lnTo>
                      <a:pt x="10" y="31"/>
                    </a:lnTo>
                    <a:lnTo>
                      <a:pt x="5" y="40"/>
                    </a:lnTo>
                    <a:lnTo>
                      <a:pt x="3" y="43"/>
                    </a:lnTo>
                    <a:lnTo>
                      <a:pt x="5" y="47"/>
                    </a:lnTo>
                    <a:lnTo>
                      <a:pt x="3" y="52"/>
                    </a:lnTo>
                    <a:lnTo>
                      <a:pt x="1" y="55"/>
                    </a:lnTo>
                    <a:lnTo>
                      <a:pt x="0" y="59"/>
                    </a:lnTo>
                    <a:lnTo>
                      <a:pt x="3" y="57"/>
                    </a:lnTo>
                    <a:lnTo>
                      <a:pt x="7" y="57"/>
                    </a:lnTo>
                    <a:lnTo>
                      <a:pt x="12" y="71"/>
                    </a:lnTo>
                    <a:lnTo>
                      <a:pt x="17" y="76"/>
                    </a:lnTo>
                    <a:lnTo>
                      <a:pt x="17" y="80"/>
                    </a:lnTo>
                    <a:lnTo>
                      <a:pt x="15" y="83"/>
                    </a:lnTo>
                    <a:lnTo>
                      <a:pt x="15" y="86"/>
                    </a:lnTo>
                    <a:lnTo>
                      <a:pt x="15" y="86"/>
                    </a:lnTo>
                    <a:lnTo>
                      <a:pt x="15" y="88"/>
                    </a:lnTo>
                    <a:lnTo>
                      <a:pt x="17" y="92"/>
                    </a:lnTo>
                    <a:lnTo>
                      <a:pt x="22" y="93"/>
                    </a:lnTo>
                    <a:lnTo>
                      <a:pt x="26" y="95"/>
                    </a:lnTo>
                    <a:lnTo>
                      <a:pt x="29" y="97"/>
                    </a:lnTo>
                    <a:lnTo>
                      <a:pt x="33" y="95"/>
                    </a:lnTo>
                    <a:lnTo>
                      <a:pt x="36" y="95"/>
                    </a:lnTo>
                    <a:lnTo>
                      <a:pt x="40" y="97"/>
                    </a:lnTo>
                    <a:lnTo>
                      <a:pt x="43" y="95"/>
                    </a:lnTo>
                    <a:lnTo>
                      <a:pt x="47" y="95"/>
                    </a:lnTo>
                    <a:lnTo>
                      <a:pt x="52" y="95"/>
                    </a:lnTo>
                    <a:lnTo>
                      <a:pt x="55" y="97"/>
                    </a:lnTo>
                    <a:lnTo>
                      <a:pt x="67" y="111"/>
                    </a:lnTo>
                    <a:lnTo>
                      <a:pt x="74" y="109"/>
                    </a:lnTo>
                    <a:lnTo>
                      <a:pt x="74" y="111"/>
                    </a:lnTo>
                    <a:lnTo>
                      <a:pt x="74" y="111"/>
                    </a:lnTo>
                    <a:lnTo>
                      <a:pt x="78" y="111"/>
                    </a:lnTo>
                    <a:lnTo>
                      <a:pt x="81" y="111"/>
                    </a:lnTo>
                    <a:lnTo>
                      <a:pt x="85" y="111"/>
                    </a:lnTo>
                    <a:lnTo>
                      <a:pt x="88" y="111"/>
                    </a:lnTo>
                    <a:lnTo>
                      <a:pt x="94" y="111"/>
                    </a:lnTo>
                    <a:lnTo>
                      <a:pt x="94" y="109"/>
                    </a:lnTo>
                    <a:lnTo>
                      <a:pt x="97" y="109"/>
                    </a:lnTo>
                    <a:lnTo>
                      <a:pt x="99" y="111"/>
                    </a:lnTo>
                    <a:lnTo>
                      <a:pt x="99" y="116"/>
                    </a:lnTo>
                    <a:lnTo>
                      <a:pt x="99" y="120"/>
                    </a:lnTo>
                    <a:lnTo>
                      <a:pt x="99" y="123"/>
                    </a:lnTo>
                    <a:lnTo>
                      <a:pt x="97" y="125"/>
                    </a:lnTo>
                    <a:lnTo>
                      <a:pt x="94" y="128"/>
                    </a:lnTo>
                    <a:lnTo>
                      <a:pt x="92" y="128"/>
                    </a:lnTo>
                    <a:lnTo>
                      <a:pt x="94" y="135"/>
                    </a:lnTo>
                    <a:lnTo>
                      <a:pt x="94" y="137"/>
                    </a:lnTo>
                    <a:lnTo>
                      <a:pt x="92" y="142"/>
                    </a:lnTo>
                    <a:lnTo>
                      <a:pt x="92" y="147"/>
                    </a:lnTo>
                    <a:lnTo>
                      <a:pt x="94" y="151"/>
                    </a:lnTo>
                    <a:lnTo>
                      <a:pt x="94" y="151"/>
                    </a:lnTo>
                    <a:lnTo>
                      <a:pt x="97" y="161"/>
                    </a:lnTo>
                    <a:lnTo>
                      <a:pt x="92" y="172"/>
                    </a:lnTo>
                    <a:lnTo>
                      <a:pt x="94" y="175"/>
                    </a:lnTo>
                    <a:lnTo>
                      <a:pt x="94" y="175"/>
                    </a:lnTo>
                    <a:lnTo>
                      <a:pt x="97" y="173"/>
                    </a:lnTo>
                    <a:lnTo>
                      <a:pt x="97" y="175"/>
                    </a:lnTo>
                    <a:lnTo>
                      <a:pt x="97" y="175"/>
                    </a:lnTo>
                    <a:lnTo>
                      <a:pt x="99" y="179"/>
                    </a:lnTo>
                    <a:lnTo>
                      <a:pt x="100" y="180"/>
                    </a:lnTo>
                    <a:lnTo>
                      <a:pt x="99" y="184"/>
                    </a:lnTo>
                    <a:lnTo>
                      <a:pt x="100" y="187"/>
                    </a:lnTo>
                    <a:lnTo>
                      <a:pt x="106" y="196"/>
                    </a:lnTo>
                    <a:lnTo>
                      <a:pt x="106" y="200"/>
                    </a:lnTo>
                    <a:lnTo>
                      <a:pt x="106" y="200"/>
                    </a:lnTo>
                    <a:lnTo>
                      <a:pt x="106" y="200"/>
                    </a:lnTo>
                    <a:lnTo>
                      <a:pt x="106" y="200"/>
                    </a:lnTo>
                    <a:lnTo>
                      <a:pt x="106" y="200"/>
                    </a:lnTo>
                    <a:close/>
                    <a:moveTo>
                      <a:pt x="83" y="3"/>
                    </a:moveTo>
                    <a:lnTo>
                      <a:pt x="87" y="3"/>
                    </a:lnTo>
                    <a:lnTo>
                      <a:pt x="90" y="7"/>
                    </a:lnTo>
                    <a:lnTo>
                      <a:pt x="88" y="8"/>
                    </a:lnTo>
                    <a:lnTo>
                      <a:pt x="87" y="7"/>
                    </a:lnTo>
                    <a:lnTo>
                      <a:pt x="85" y="5"/>
                    </a:lnTo>
                    <a:lnTo>
                      <a:pt x="83" y="3"/>
                    </a:lnTo>
                    <a:lnTo>
                      <a:pt x="83" y="3"/>
                    </a:lnTo>
                    <a:lnTo>
                      <a:pt x="83" y="3"/>
                    </a:lnTo>
                    <a:lnTo>
                      <a:pt x="83" y="3"/>
                    </a:lnTo>
                    <a:close/>
                    <a:moveTo>
                      <a:pt x="71" y="1"/>
                    </a:moveTo>
                    <a:lnTo>
                      <a:pt x="74" y="5"/>
                    </a:lnTo>
                    <a:lnTo>
                      <a:pt x="78" y="5"/>
                    </a:lnTo>
                    <a:lnTo>
                      <a:pt x="76" y="7"/>
                    </a:lnTo>
                    <a:lnTo>
                      <a:pt x="71" y="7"/>
                    </a:lnTo>
                    <a:lnTo>
                      <a:pt x="71" y="3"/>
                    </a:lnTo>
                    <a:lnTo>
                      <a:pt x="71" y="1"/>
                    </a:lnTo>
                    <a:lnTo>
                      <a:pt x="71" y="1"/>
                    </a:lnTo>
                    <a:lnTo>
                      <a:pt x="71" y="1"/>
                    </a:lnTo>
                    <a:lnTo>
                      <a:pt x="71" y="1"/>
                    </a:lnTo>
                    <a:close/>
                    <a:moveTo>
                      <a:pt x="55" y="0"/>
                    </a:moveTo>
                    <a:lnTo>
                      <a:pt x="57" y="0"/>
                    </a:lnTo>
                    <a:lnTo>
                      <a:pt x="61" y="0"/>
                    </a:lnTo>
                    <a:lnTo>
                      <a:pt x="57" y="0"/>
                    </a:lnTo>
                    <a:lnTo>
                      <a:pt x="55" y="0"/>
                    </a:lnTo>
                    <a:lnTo>
                      <a:pt x="55" y="0"/>
                    </a:lnTo>
                    <a:lnTo>
                      <a:pt x="55" y="0"/>
                    </a:lnTo>
                    <a:lnTo>
                      <a:pt x="55" y="0"/>
                    </a:lnTo>
                    <a:close/>
                    <a:moveTo>
                      <a:pt x="151" y="27"/>
                    </a:moveTo>
                    <a:lnTo>
                      <a:pt x="154" y="24"/>
                    </a:lnTo>
                    <a:lnTo>
                      <a:pt x="156" y="27"/>
                    </a:lnTo>
                    <a:lnTo>
                      <a:pt x="161" y="24"/>
                    </a:lnTo>
                    <a:lnTo>
                      <a:pt x="163" y="24"/>
                    </a:lnTo>
                    <a:lnTo>
                      <a:pt x="160" y="27"/>
                    </a:lnTo>
                    <a:lnTo>
                      <a:pt x="156" y="27"/>
                    </a:lnTo>
                    <a:lnTo>
                      <a:pt x="153" y="27"/>
                    </a:lnTo>
                    <a:lnTo>
                      <a:pt x="153" y="27"/>
                    </a:lnTo>
                    <a:lnTo>
                      <a:pt x="151" y="27"/>
                    </a:lnTo>
                    <a:lnTo>
                      <a:pt x="151" y="27"/>
                    </a:lnTo>
                    <a:lnTo>
                      <a:pt x="151" y="27"/>
                    </a:lnTo>
                    <a:lnTo>
                      <a:pt x="151" y="2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2" name="Freeform 175"/>
              <p:cNvSpPr>
                <a:spLocks noEditPoints="1"/>
              </p:cNvSpPr>
              <p:nvPr/>
            </p:nvSpPr>
            <p:spPr bwMode="auto">
              <a:xfrm>
                <a:off x="2284413" y="4227513"/>
                <a:ext cx="161925" cy="177800"/>
              </a:xfrm>
              <a:custGeom>
                <a:avLst/>
                <a:gdLst/>
                <a:ahLst/>
                <a:cxnLst>
                  <a:cxn ang="0">
                    <a:pos x="97" y="26"/>
                  </a:cxn>
                  <a:cxn ang="0">
                    <a:pos x="93" y="23"/>
                  </a:cxn>
                  <a:cxn ang="0">
                    <a:pos x="88" y="19"/>
                  </a:cxn>
                  <a:cxn ang="0">
                    <a:pos x="83" y="21"/>
                  </a:cxn>
                  <a:cxn ang="0">
                    <a:pos x="80" y="26"/>
                  </a:cxn>
                  <a:cxn ang="0">
                    <a:pos x="73" y="23"/>
                  </a:cxn>
                  <a:cxn ang="0">
                    <a:pos x="62" y="19"/>
                  </a:cxn>
                  <a:cxn ang="0">
                    <a:pos x="62" y="14"/>
                  </a:cxn>
                  <a:cxn ang="0">
                    <a:pos x="53" y="11"/>
                  </a:cxn>
                  <a:cxn ang="0">
                    <a:pos x="41" y="2"/>
                  </a:cxn>
                  <a:cxn ang="0">
                    <a:pos x="36" y="6"/>
                  </a:cxn>
                  <a:cxn ang="0">
                    <a:pos x="24" y="9"/>
                  </a:cxn>
                  <a:cxn ang="0">
                    <a:pos x="14" y="12"/>
                  </a:cxn>
                  <a:cxn ang="0">
                    <a:pos x="15" y="19"/>
                  </a:cxn>
                  <a:cxn ang="0">
                    <a:pos x="15" y="26"/>
                  </a:cxn>
                  <a:cxn ang="0">
                    <a:pos x="10" y="35"/>
                  </a:cxn>
                  <a:cxn ang="0">
                    <a:pos x="7" y="42"/>
                  </a:cxn>
                  <a:cxn ang="0">
                    <a:pos x="1" y="47"/>
                  </a:cxn>
                  <a:cxn ang="0">
                    <a:pos x="3" y="54"/>
                  </a:cxn>
                  <a:cxn ang="0">
                    <a:pos x="3" y="63"/>
                  </a:cxn>
                  <a:cxn ang="0">
                    <a:pos x="0" y="66"/>
                  </a:cxn>
                  <a:cxn ang="0">
                    <a:pos x="7" y="72"/>
                  </a:cxn>
                  <a:cxn ang="0">
                    <a:pos x="12" y="75"/>
                  </a:cxn>
                  <a:cxn ang="0">
                    <a:pos x="15" y="72"/>
                  </a:cxn>
                  <a:cxn ang="0">
                    <a:pos x="19" y="66"/>
                  </a:cxn>
                  <a:cxn ang="0">
                    <a:pos x="19" y="72"/>
                  </a:cxn>
                  <a:cxn ang="0">
                    <a:pos x="19" y="66"/>
                  </a:cxn>
                  <a:cxn ang="0">
                    <a:pos x="20" y="72"/>
                  </a:cxn>
                  <a:cxn ang="0">
                    <a:pos x="20" y="80"/>
                  </a:cxn>
                  <a:cxn ang="0">
                    <a:pos x="15" y="89"/>
                  </a:cxn>
                  <a:cxn ang="0">
                    <a:pos x="19" y="94"/>
                  </a:cxn>
                  <a:cxn ang="0">
                    <a:pos x="12" y="99"/>
                  </a:cxn>
                  <a:cxn ang="0">
                    <a:pos x="15" y="103"/>
                  </a:cxn>
                  <a:cxn ang="0">
                    <a:pos x="20" y="105"/>
                  </a:cxn>
                  <a:cxn ang="0">
                    <a:pos x="29" y="106"/>
                  </a:cxn>
                  <a:cxn ang="0">
                    <a:pos x="36" y="112"/>
                  </a:cxn>
                  <a:cxn ang="0">
                    <a:pos x="52" y="84"/>
                  </a:cxn>
                  <a:cxn ang="0">
                    <a:pos x="74" y="75"/>
                  </a:cxn>
                  <a:cxn ang="0">
                    <a:pos x="92" y="58"/>
                  </a:cxn>
                  <a:cxn ang="0">
                    <a:pos x="100" y="47"/>
                  </a:cxn>
                  <a:cxn ang="0">
                    <a:pos x="102" y="42"/>
                  </a:cxn>
                  <a:cxn ang="0">
                    <a:pos x="99" y="30"/>
                  </a:cxn>
                  <a:cxn ang="0">
                    <a:pos x="97" y="26"/>
                  </a:cxn>
                  <a:cxn ang="0">
                    <a:pos x="97" y="26"/>
                  </a:cxn>
                  <a:cxn ang="0">
                    <a:pos x="97" y="26"/>
                  </a:cxn>
                  <a:cxn ang="0">
                    <a:pos x="12" y="80"/>
                  </a:cxn>
                  <a:cxn ang="0">
                    <a:pos x="15" y="75"/>
                  </a:cxn>
                  <a:cxn ang="0">
                    <a:pos x="15" y="77"/>
                  </a:cxn>
                  <a:cxn ang="0">
                    <a:pos x="15" y="84"/>
                  </a:cxn>
                  <a:cxn ang="0">
                    <a:pos x="14" y="84"/>
                  </a:cxn>
                  <a:cxn ang="0">
                    <a:pos x="14" y="84"/>
                  </a:cxn>
                </a:cxnLst>
                <a:rect l="0" t="0" r="r" b="b"/>
                <a:pathLst>
                  <a:path w="102" h="112">
                    <a:moveTo>
                      <a:pt x="97" y="26"/>
                    </a:moveTo>
                    <a:lnTo>
                      <a:pt x="97" y="26"/>
                    </a:lnTo>
                    <a:lnTo>
                      <a:pt x="95" y="25"/>
                    </a:lnTo>
                    <a:lnTo>
                      <a:pt x="93" y="23"/>
                    </a:lnTo>
                    <a:lnTo>
                      <a:pt x="92" y="21"/>
                    </a:lnTo>
                    <a:lnTo>
                      <a:pt x="88" y="19"/>
                    </a:lnTo>
                    <a:lnTo>
                      <a:pt x="85" y="18"/>
                    </a:lnTo>
                    <a:lnTo>
                      <a:pt x="83" y="21"/>
                    </a:lnTo>
                    <a:lnTo>
                      <a:pt x="83" y="25"/>
                    </a:lnTo>
                    <a:lnTo>
                      <a:pt x="80" y="26"/>
                    </a:lnTo>
                    <a:lnTo>
                      <a:pt x="76" y="25"/>
                    </a:lnTo>
                    <a:lnTo>
                      <a:pt x="73" y="23"/>
                    </a:lnTo>
                    <a:lnTo>
                      <a:pt x="67" y="21"/>
                    </a:lnTo>
                    <a:lnTo>
                      <a:pt x="62" y="19"/>
                    </a:lnTo>
                    <a:lnTo>
                      <a:pt x="60" y="18"/>
                    </a:lnTo>
                    <a:lnTo>
                      <a:pt x="62" y="14"/>
                    </a:lnTo>
                    <a:lnTo>
                      <a:pt x="57" y="11"/>
                    </a:lnTo>
                    <a:lnTo>
                      <a:pt x="53" y="11"/>
                    </a:lnTo>
                    <a:lnTo>
                      <a:pt x="48" y="6"/>
                    </a:lnTo>
                    <a:lnTo>
                      <a:pt x="41" y="2"/>
                    </a:lnTo>
                    <a:lnTo>
                      <a:pt x="36" y="0"/>
                    </a:lnTo>
                    <a:lnTo>
                      <a:pt x="36" y="6"/>
                    </a:lnTo>
                    <a:lnTo>
                      <a:pt x="29" y="6"/>
                    </a:lnTo>
                    <a:lnTo>
                      <a:pt x="24" y="9"/>
                    </a:lnTo>
                    <a:lnTo>
                      <a:pt x="19" y="9"/>
                    </a:lnTo>
                    <a:lnTo>
                      <a:pt x="14" y="12"/>
                    </a:lnTo>
                    <a:lnTo>
                      <a:pt x="15" y="16"/>
                    </a:lnTo>
                    <a:lnTo>
                      <a:pt x="15" y="19"/>
                    </a:lnTo>
                    <a:lnTo>
                      <a:pt x="19" y="21"/>
                    </a:lnTo>
                    <a:lnTo>
                      <a:pt x="15" y="26"/>
                    </a:lnTo>
                    <a:lnTo>
                      <a:pt x="10" y="33"/>
                    </a:lnTo>
                    <a:lnTo>
                      <a:pt x="10" y="35"/>
                    </a:lnTo>
                    <a:lnTo>
                      <a:pt x="12" y="39"/>
                    </a:lnTo>
                    <a:lnTo>
                      <a:pt x="7" y="42"/>
                    </a:lnTo>
                    <a:lnTo>
                      <a:pt x="3" y="44"/>
                    </a:lnTo>
                    <a:lnTo>
                      <a:pt x="1" y="47"/>
                    </a:lnTo>
                    <a:lnTo>
                      <a:pt x="1" y="51"/>
                    </a:lnTo>
                    <a:lnTo>
                      <a:pt x="3" y="54"/>
                    </a:lnTo>
                    <a:lnTo>
                      <a:pt x="3" y="58"/>
                    </a:lnTo>
                    <a:lnTo>
                      <a:pt x="3" y="63"/>
                    </a:lnTo>
                    <a:lnTo>
                      <a:pt x="1" y="66"/>
                    </a:lnTo>
                    <a:lnTo>
                      <a:pt x="0" y="66"/>
                    </a:lnTo>
                    <a:lnTo>
                      <a:pt x="1" y="70"/>
                    </a:lnTo>
                    <a:lnTo>
                      <a:pt x="7" y="72"/>
                    </a:lnTo>
                    <a:lnTo>
                      <a:pt x="10" y="75"/>
                    </a:lnTo>
                    <a:lnTo>
                      <a:pt x="12" y="75"/>
                    </a:lnTo>
                    <a:lnTo>
                      <a:pt x="14" y="75"/>
                    </a:lnTo>
                    <a:lnTo>
                      <a:pt x="15" y="72"/>
                    </a:lnTo>
                    <a:lnTo>
                      <a:pt x="15" y="70"/>
                    </a:lnTo>
                    <a:lnTo>
                      <a:pt x="19" y="66"/>
                    </a:lnTo>
                    <a:lnTo>
                      <a:pt x="19" y="70"/>
                    </a:lnTo>
                    <a:lnTo>
                      <a:pt x="19" y="72"/>
                    </a:lnTo>
                    <a:lnTo>
                      <a:pt x="19" y="72"/>
                    </a:lnTo>
                    <a:lnTo>
                      <a:pt x="19" y="66"/>
                    </a:lnTo>
                    <a:lnTo>
                      <a:pt x="20" y="66"/>
                    </a:lnTo>
                    <a:lnTo>
                      <a:pt x="20" y="72"/>
                    </a:lnTo>
                    <a:lnTo>
                      <a:pt x="20" y="77"/>
                    </a:lnTo>
                    <a:lnTo>
                      <a:pt x="20" y="80"/>
                    </a:lnTo>
                    <a:lnTo>
                      <a:pt x="19" y="84"/>
                    </a:lnTo>
                    <a:lnTo>
                      <a:pt x="15" y="89"/>
                    </a:lnTo>
                    <a:lnTo>
                      <a:pt x="15" y="89"/>
                    </a:lnTo>
                    <a:lnTo>
                      <a:pt x="19" y="94"/>
                    </a:lnTo>
                    <a:lnTo>
                      <a:pt x="15" y="96"/>
                    </a:lnTo>
                    <a:lnTo>
                      <a:pt x="12" y="99"/>
                    </a:lnTo>
                    <a:lnTo>
                      <a:pt x="14" y="103"/>
                    </a:lnTo>
                    <a:lnTo>
                      <a:pt x="15" y="103"/>
                    </a:lnTo>
                    <a:lnTo>
                      <a:pt x="19" y="99"/>
                    </a:lnTo>
                    <a:lnTo>
                      <a:pt x="20" y="105"/>
                    </a:lnTo>
                    <a:lnTo>
                      <a:pt x="26" y="105"/>
                    </a:lnTo>
                    <a:lnTo>
                      <a:pt x="29" y="106"/>
                    </a:lnTo>
                    <a:lnTo>
                      <a:pt x="34" y="112"/>
                    </a:lnTo>
                    <a:lnTo>
                      <a:pt x="36" y="112"/>
                    </a:lnTo>
                    <a:lnTo>
                      <a:pt x="40" y="108"/>
                    </a:lnTo>
                    <a:lnTo>
                      <a:pt x="52" y="84"/>
                    </a:lnTo>
                    <a:lnTo>
                      <a:pt x="55" y="79"/>
                    </a:lnTo>
                    <a:lnTo>
                      <a:pt x="74" y="75"/>
                    </a:lnTo>
                    <a:lnTo>
                      <a:pt x="80" y="66"/>
                    </a:lnTo>
                    <a:lnTo>
                      <a:pt x="92" y="58"/>
                    </a:lnTo>
                    <a:lnTo>
                      <a:pt x="97" y="47"/>
                    </a:lnTo>
                    <a:lnTo>
                      <a:pt x="100" y="47"/>
                    </a:lnTo>
                    <a:lnTo>
                      <a:pt x="102" y="44"/>
                    </a:lnTo>
                    <a:lnTo>
                      <a:pt x="102" y="42"/>
                    </a:lnTo>
                    <a:lnTo>
                      <a:pt x="102" y="39"/>
                    </a:lnTo>
                    <a:lnTo>
                      <a:pt x="99" y="30"/>
                    </a:lnTo>
                    <a:lnTo>
                      <a:pt x="99" y="28"/>
                    </a:lnTo>
                    <a:lnTo>
                      <a:pt x="97" y="26"/>
                    </a:lnTo>
                    <a:lnTo>
                      <a:pt x="97" y="26"/>
                    </a:lnTo>
                    <a:lnTo>
                      <a:pt x="97" y="26"/>
                    </a:lnTo>
                    <a:lnTo>
                      <a:pt x="97" y="26"/>
                    </a:lnTo>
                    <a:lnTo>
                      <a:pt x="97" y="26"/>
                    </a:lnTo>
                    <a:close/>
                    <a:moveTo>
                      <a:pt x="14" y="84"/>
                    </a:moveTo>
                    <a:lnTo>
                      <a:pt x="12" y="80"/>
                    </a:lnTo>
                    <a:lnTo>
                      <a:pt x="15" y="77"/>
                    </a:lnTo>
                    <a:lnTo>
                      <a:pt x="15" y="75"/>
                    </a:lnTo>
                    <a:lnTo>
                      <a:pt x="19" y="75"/>
                    </a:lnTo>
                    <a:lnTo>
                      <a:pt x="15" y="77"/>
                    </a:lnTo>
                    <a:lnTo>
                      <a:pt x="15" y="80"/>
                    </a:lnTo>
                    <a:lnTo>
                      <a:pt x="15" y="84"/>
                    </a:lnTo>
                    <a:lnTo>
                      <a:pt x="14" y="84"/>
                    </a:lnTo>
                    <a:lnTo>
                      <a:pt x="14" y="84"/>
                    </a:lnTo>
                    <a:lnTo>
                      <a:pt x="14" y="84"/>
                    </a:lnTo>
                    <a:lnTo>
                      <a:pt x="14" y="8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3" name="Freeform 176"/>
              <p:cNvSpPr>
                <a:spLocks/>
              </p:cNvSpPr>
              <p:nvPr/>
            </p:nvSpPr>
            <p:spPr bwMode="auto">
              <a:xfrm>
                <a:off x="2274888" y="4267201"/>
                <a:ext cx="350838" cy="519113"/>
              </a:xfrm>
              <a:custGeom>
                <a:avLst/>
                <a:gdLst/>
                <a:ahLst/>
                <a:cxnLst>
                  <a:cxn ang="0">
                    <a:pos x="202" y="191"/>
                  </a:cxn>
                  <a:cxn ang="0">
                    <a:pos x="188" y="191"/>
                  </a:cxn>
                  <a:cxn ang="0">
                    <a:pos x="190" y="170"/>
                  </a:cxn>
                  <a:cxn ang="0">
                    <a:pos x="174" y="174"/>
                  </a:cxn>
                  <a:cxn ang="0">
                    <a:pos x="153" y="163"/>
                  </a:cxn>
                  <a:cxn ang="0">
                    <a:pos x="134" y="144"/>
                  </a:cxn>
                  <a:cxn ang="0">
                    <a:pos x="131" y="132"/>
                  </a:cxn>
                  <a:cxn ang="0">
                    <a:pos x="132" y="120"/>
                  </a:cxn>
                  <a:cxn ang="0">
                    <a:pos x="139" y="111"/>
                  </a:cxn>
                  <a:cxn ang="0">
                    <a:pos x="143" y="95"/>
                  </a:cxn>
                  <a:cxn ang="0">
                    <a:pos x="155" y="83"/>
                  </a:cxn>
                  <a:cxn ang="0">
                    <a:pos x="179" y="76"/>
                  </a:cxn>
                  <a:cxn ang="0">
                    <a:pos x="186" y="73"/>
                  </a:cxn>
                  <a:cxn ang="0">
                    <a:pos x="193" y="73"/>
                  </a:cxn>
                  <a:cxn ang="0">
                    <a:pos x="183" y="67"/>
                  </a:cxn>
                  <a:cxn ang="0">
                    <a:pos x="190" y="45"/>
                  </a:cxn>
                  <a:cxn ang="0">
                    <a:pos x="181" y="40"/>
                  </a:cxn>
                  <a:cxn ang="0">
                    <a:pos x="162" y="38"/>
                  </a:cxn>
                  <a:cxn ang="0">
                    <a:pos x="148" y="41"/>
                  </a:cxn>
                  <a:cxn ang="0">
                    <a:pos x="143" y="38"/>
                  </a:cxn>
                  <a:cxn ang="0">
                    <a:pos x="138" y="26"/>
                  </a:cxn>
                  <a:cxn ang="0">
                    <a:pos x="120" y="14"/>
                  </a:cxn>
                  <a:cxn ang="0">
                    <a:pos x="112" y="3"/>
                  </a:cxn>
                  <a:cxn ang="0">
                    <a:pos x="103" y="1"/>
                  </a:cxn>
                  <a:cxn ang="0">
                    <a:pos x="106" y="17"/>
                  </a:cxn>
                  <a:cxn ang="0">
                    <a:pos x="86" y="41"/>
                  </a:cxn>
                  <a:cxn ang="0">
                    <a:pos x="44" y="81"/>
                  </a:cxn>
                  <a:cxn ang="0">
                    <a:pos x="32" y="76"/>
                  </a:cxn>
                  <a:cxn ang="0">
                    <a:pos x="20" y="76"/>
                  </a:cxn>
                  <a:cxn ang="0">
                    <a:pos x="21" y="62"/>
                  </a:cxn>
                  <a:cxn ang="0">
                    <a:pos x="9" y="67"/>
                  </a:cxn>
                  <a:cxn ang="0">
                    <a:pos x="0" y="83"/>
                  </a:cxn>
                  <a:cxn ang="0">
                    <a:pos x="2" y="92"/>
                  </a:cxn>
                  <a:cxn ang="0">
                    <a:pos x="6" y="104"/>
                  </a:cxn>
                  <a:cxn ang="0">
                    <a:pos x="7" y="111"/>
                  </a:cxn>
                  <a:cxn ang="0">
                    <a:pos x="28" y="121"/>
                  </a:cxn>
                  <a:cxn ang="0">
                    <a:pos x="35" y="137"/>
                  </a:cxn>
                  <a:cxn ang="0">
                    <a:pos x="47" y="154"/>
                  </a:cxn>
                  <a:cxn ang="0">
                    <a:pos x="56" y="170"/>
                  </a:cxn>
                  <a:cxn ang="0">
                    <a:pos x="65" y="191"/>
                  </a:cxn>
                  <a:cxn ang="0">
                    <a:pos x="66" y="198"/>
                  </a:cxn>
                  <a:cxn ang="0">
                    <a:pos x="77" y="214"/>
                  </a:cxn>
                  <a:cxn ang="0">
                    <a:pos x="89" y="231"/>
                  </a:cxn>
                  <a:cxn ang="0">
                    <a:pos x="93" y="241"/>
                  </a:cxn>
                  <a:cxn ang="0">
                    <a:pos x="94" y="250"/>
                  </a:cxn>
                  <a:cxn ang="0">
                    <a:pos x="101" y="259"/>
                  </a:cxn>
                  <a:cxn ang="0">
                    <a:pos x="113" y="267"/>
                  </a:cxn>
                  <a:cxn ang="0">
                    <a:pos x="122" y="273"/>
                  </a:cxn>
                  <a:cxn ang="0">
                    <a:pos x="132" y="281"/>
                  </a:cxn>
                  <a:cxn ang="0">
                    <a:pos x="143" y="288"/>
                  </a:cxn>
                  <a:cxn ang="0">
                    <a:pos x="157" y="294"/>
                  </a:cxn>
                  <a:cxn ang="0">
                    <a:pos x="167" y="300"/>
                  </a:cxn>
                  <a:cxn ang="0">
                    <a:pos x="176" y="309"/>
                  </a:cxn>
                  <a:cxn ang="0">
                    <a:pos x="185" y="316"/>
                  </a:cxn>
                  <a:cxn ang="0">
                    <a:pos x="197" y="327"/>
                  </a:cxn>
                  <a:cxn ang="0">
                    <a:pos x="211" y="320"/>
                  </a:cxn>
                  <a:cxn ang="0">
                    <a:pos x="212" y="309"/>
                  </a:cxn>
                  <a:cxn ang="0">
                    <a:pos x="211" y="306"/>
                  </a:cxn>
                  <a:cxn ang="0">
                    <a:pos x="221" y="288"/>
                  </a:cxn>
                  <a:cxn ang="0">
                    <a:pos x="216" y="267"/>
                  </a:cxn>
                  <a:cxn ang="0">
                    <a:pos x="216" y="245"/>
                  </a:cxn>
                  <a:cxn ang="0">
                    <a:pos x="221" y="219"/>
                  </a:cxn>
                  <a:cxn ang="0">
                    <a:pos x="205" y="194"/>
                  </a:cxn>
                </a:cxnLst>
                <a:rect l="0" t="0" r="r" b="b"/>
                <a:pathLst>
                  <a:path w="221" h="327">
                    <a:moveTo>
                      <a:pt x="205" y="194"/>
                    </a:moveTo>
                    <a:lnTo>
                      <a:pt x="204" y="191"/>
                    </a:lnTo>
                    <a:lnTo>
                      <a:pt x="202" y="191"/>
                    </a:lnTo>
                    <a:lnTo>
                      <a:pt x="202" y="191"/>
                    </a:lnTo>
                    <a:lnTo>
                      <a:pt x="197" y="191"/>
                    </a:lnTo>
                    <a:lnTo>
                      <a:pt x="193" y="194"/>
                    </a:lnTo>
                    <a:lnTo>
                      <a:pt x="192" y="194"/>
                    </a:lnTo>
                    <a:lnTo>
                      <a:pt x="188" y="191"/>
                    </a:lnTo>
                    <a:lnTo>
                      <a:pt x="188" y="186"/>
                    </a:lnTo>
                    <a:lnTo>
                      <a:pt x="188" y="177"/>
                    </a:lnTo>
                    <a:lnTo>
                      <a:pt x="188" y="172"/>
                    </a:lnTo>
                    <a:lnTo>
                      <a:pt x="190" y="170"/>
                    </a:lnTo>
                    <a:lnTo>
                      <a:pt x="190" y="167"/>
                    </a:lnTo>
                    <a:lnTo>
                      <a:pt x="188" y="163"/>
                    </a:lnTo>
                    <a:lnTo>
                      <a:pt x="181" y="167"/>
                    </a:lnTo>
                    <a:lnTo>
                      <a:pt x="174" y="174"/>
                    </a:lnTo>
                    <a:lnTo>
                      <a:pt x="167" y="174"/>
                    </a:lnTo>
                    <a:lnTo>
                      <a:pt x="159" y="174"/>
                    </a:lnTo>
                    <a:lnTo>
                      <a:pt x="157" y="168"/>
                    </a:lnTo>
                    <a:lnTo>
                      <a:pt x="153" y="163"/>
                    </a:lnTo>
                    <a:lnTo>
                      <a:pt x="148" y="163"/>
                    </a:lnTo>
                    <a:lnTo>
                      <a:pt x="139" y="163"/>
                    </a:lnTo>
                    <a:lnTo>
                      <a:pt x="143" y="158"/>
                    </a:lnTo>
                    <a:lnTo>
                      <a:pt x="134" y="144"/>
                    </a:lnTo>
                    <a:lnTo>
                      <a:pt x="129" y="139"/>
                    </a:lnTo>
                    <a:lnTo>
                      <a:pt x="131" y="137"/>
                    </a:lnTo>
                    <a:lnTo>
                      <a:pt x="129" y="135"/>
                    </a:lnTo>
                    <a:lnTo>
                      <a:pt x="131" y="132"/>
                    </a:lnTo>
                    <a:lnTo>
                      <a:pt x="131" y="127"/>
                    </a:lnTo>
                    <a:lnTo>
                      <a:pt x="129" y="125"/>
                    </a:lnTo>
                    <a:lnTo>
                      <a:pt x="132" y="123"/>
                    </a:lnTo>
                    <a:lnTo>
                      <a:pt x="132" y="120"/>
                    </a:lnTo>
                    <a:lnTo>
                      <a:pt x="138" y="116"/>
                    </a:lnTo>
                    <a:lnTo>
                      <a:pt x="139" y="116"/>
                    </a:lnTo>
                    <a:lnTo>
                      <a:pt x="143" y="114"/>
                    </a:lnTo>
                    <a:lnTo>
                      <a:pt x="139" y="111"/>
                    </a:lnTo>
                    <a:lnTo>
                      <a:pt x="139" y="104"/>
                    </a:lnTo>
                    <a:lnTo>
                      <a:pt x="143" y="101"/>
                    </a:lnTo>
                    <a:lnTo>
                      <a:pt x="143" y="99"/>
                    </a:lnTo>
                    <a:lnTo>
                      <a:pt x="143" y="95"/>
                    </a:lnTo>
                    <a:lnTo>
                      <a:pt x="143" y="90"/>
                    </a:lnTo>
                    <a:lnTo>
                      <a:pt x="148" y="88"/>
                    </a:lnTo>
                    <a:lnTo>
                      <a:pt x="152" y="87"/>
                    </a:lnTo>
                    <a:lnTo>
                      <a:pt x="155" y="83"/>
                    </a:lnTo>
                    <a:lnTo>
                      <a:pt x="157" y="81"/>
                    </a:lnTo>
                    <a:lnTo>
                      <a:pt x="159" y="80"/>
                    </a:lnTo>
                    <a:lnTo>
                      <a:pt x="169" y="80"/>
                    </a:lnTo>
                    <a:lnTo>
                      <a:pt x="179" y="76"/>
                    </a:lnTo>
                    <a:lnTo>
                      <a:pt x="179" y="73"/>
                    </a:lnTo>
                    <a:lnTo>
                      <a:pt x="181" y="73"/>
                    </a:lnTo>
                    <a:lnTo>
                      <a:pt x="185" y="73"/>
                    </a:lnTo>
                    <a:lnTo>
                      <a:pt x="186" y="73"/>
                    </a:lnTo>
                    <a:lnTo>
                      <a:pt x="192" y="76"/>
                    </a:lnTo>
                    <a:lnTo>
                      <a:pt x="190" y="76"/>
                    </a:lnTo>
                    <a:lnTo>
                      <a:pt x="193" y="76"/>
                    </a:lnTo>
                    <a:lnTo>
                      <a:pt x="193" y="73"/>
                    </a:lnTo>
                    <a:lnTo>
                      <a:pt x="193" y="67"/>
                    </a:lnTo>
                    <a:lnTo>
                      <a:pt x="192" y="66"/>
                    </a:lnTo>
                    <a:lnTo>
                      <a:pt x="188" y="67"/>
                    </a:lnTo>
                    <a:lnTo>
                      <a:pt x="183" y="67"/>
                    </a:lnTo>
                    <a:lnTo>
                      <a:pt x="183" y="66"/>
                    </a:lnTo>
                    <a:lnTo>
                      <a:pt x="193" y="45"/>
                    </a:lnTo>
                    <a:lnTo>
                      <a:pt x="193" y="45"/>
                    </a:lnTo>
                    <a:lnTo>
                      <a:pt x="190" y="45"/>
                    </a:lnTo>
                    <a:lnTo>
                      <a:pt x="188" y="43"/>
                    </a:lnTo>
                    <a:lnTo>
                      <a:pt x="185" y="41"/>
                    </a:lnTo>
                    <a:lnTo>
                      <a:pt x="183" y="41"/>
                    </a:lnTo>
                    <a:lnTo>
                      <a:pt x="181" y="40"/>
                    </a:lnTo>
                    <a:lnTo>
                      <a:pt x="178" y="40"/>
                    </a:lnTo>
                    <a:lnTo>
                      <a:pt x="171" y="41"/>
                    </a:lnTo>
                    <a:lnTo>
                      <a:pt x="169" y="40"/>
                    </a:lnTo>
                    <a:lnTo>
                      <a:pt x="162" y="38"/>
                    </a:lnTo>
                    <a:lnTo>
                      <a:pt x="159" y="41"/>
                    </a:lnTo>
                    <a:lnTo>
                      <a:pt x="157" y="43"/>
                    </a:lnTo>
                    <a:lnTo>
                      <a:pt x="152" y="43"/>
                    </a:lnTo>
                    <a:lnTo>
                      <a:pt x="148" y="41"/>
                    </a:lnTo>
                    <a:lnTo>
                      <a:pt x="146" y="43"/>
                    </a:lnTo>
                    <a:lnTo>
                      <a:pt x="143" y="41"/>
                    </a:lnTo>
                    <a:lnTo>
                      <a:pt x="143" y="40"/>
                    </a:lnTo>
                    <a:lnTo>
                      <a:pt x="143" y="38"/>
                    </a:lnTo>
                    <a:lnTo>
                      <a:pt x="139" y="33"/>
                    </a:lnTo>
                    <a:lnTo>
                      <a:pt x="139" y="31"/>
                    </a:lnTo>
                    <a:lnTo>
                      <a:pt x="138" y="31"/>
                    </a:lnTo>
                    <a:lnTo>
                      <a:pt x="138" y="26"/>
                    </a:lnTo>
                    <a:lnTo>
                      <a:pt x="134" y="21"/>
                    </a:lnTo>
                    <a:lnTo>
                      <a:pt x="126" y="21"/>
                    </a:lnTo>
                    <a:lnTo>
                      <a:pt x="124" y="21"/>
                    </a:lnTo>
                    <a:lnTo>
                      <a:pt x="120" y="14"/>
                    </a:lnTo>
                    <a:lnTo>
                      <a:pt x="120" y="8"/>
                    </a:lnTo>
                    <a:lnTo>
                      <a:pt x="117" y="7"/>
                    </a:lnTo>
                    <a:lnTo>
                      <a:pt x="115" y="3"/>
                    </a:lnTo>
                    <a:lnTo>
                      <a:pt x="112" y="3"/>
                    </a:lnTo>
                    <a:lnTo>
                      <a:pt x="105" y="1"/>
                    </a:lnTo>
                    <a:lnTo>
                      <a:pt x="103" y="0"/>
                    </a:lnTo>
                    <a:lnTo>
                      <a:pt x="101" y="0"/>
                    </a:lnTo>
                    <a:lnTo>
                      <a:pt x="103" y="1"/>
                    </a:lnTo>
                    <a:lnTo>
                      <a:pt x="103" y="3"/>
                    </a:lnTo>
                    <a:lnTo>
                      <a:pt x="106" y="12"/>
                    </a:lnTo>
                    <a:lnTo>
                      <a:pt x="106" y="15"/>
                    </a:lnTo>
                    <a:lnTo>
                      <a:pt x="106" y="17"/>
                    </a:lnTo>
                    <a:lnTo>
                      <a:pt x="105" y="21"/>
                    </a:lnTo>
                    <a:lnTo>
                      <a:pt x="101" y="21"/>
                    </a:lnTo>
                    <a:lnTo>
                      <a:pt x="98" y="31"/>
                    </a:lnTo>
                    <a:lnTo>
                      <a:pt x="86" y="41"/>
                    </a:lnTo>
                    <a:lnTo>
                      <a:pt x="79" y="48"/>
                    </a:lnTo>
                    <a:lnTo>
                      <a:pt x="61" y="52"/>
                    </a:lnTo>
                    <a:lnTo>
                      <a:pt x="58" y="57"/>
                    </a:lnTo>
                    <a:lnTo>
                      <a:pt x="44" y="81"/>
                    </a:lnTo>
                    <a:lnTo>
                      <a:pt x="42" y="85"/>
                    </a:lnTo>
                    <a:lnTo>
                      <a:pt x="40" y="85"/>
                    </a:lnTo>
                    <a:lnTo>
                      <a:pt x="35" y="80"/>
                    </a:lnTo>
                    <a:lnTo>
                      <a:pt x="32" y="76"/>
                    </a:lnTo>
                    <a:lnTo>
                      <a:pt x="26" y="76"/>
                    </a:lnTo>
                    <a:lnTo>
                      <a:pt x="25" y="73"/>
                    </a:lnTo>
                    <a:lnTo>
                      <a:pt x="21" y="76"/>
                    </a:lnTo>
                    <a:lnTo>
                      <a:pt x="20" y="76"/>
                    </a:lnTo>
                    <a:lnTo>
                      <a:pt x="16" y="73"/>
                    </a:lnTo>
                    <a:lnTo>
                      <a:pt x="20" y="67"/>
                    </a:lnTo>
                    <a:lnTo>
                      <a:pt x="25" y="67"/>
                    </a:lnTo>
                    <a:lnTo>
                      <a:pt x="21" y="62"/>
                    </a:lnTo>
                    <a:lnTo>
                      <a:pt x="20" y="62"/>
                    </a:lnTo>
                    <a:lnTo>
                      <a:pt x="20" y="62"/>
                    </a:lnTo>
                    <a:lnTo>
                      <a:pt x="13" y="66"/>
                    </a:lnTo>
                    <a:lnTo>
                      <a:pt x="9" y="67"/>
                    </a:lnTo>
                    <a:lnTo>
                      <a:pt x="4" y="73"/>
                    </a:lnTo>
                    <a:lnTo>
                      <a:pt x="2" y="80"/>
                    </a:lnTo>
                    <a:lnTo>
                      <a:pt x="0" y="81"/>
                    </a:lnTo>
                    <a:lnTo>
                      <a:pt x="0" y="83"/>
                    </a:lnTo>
                    <a:lnTo>
                      <a:pt x="4" y="85"/>
                    </a:lnTo>
                    <a:lnTo>
                      <a:pt x="4" y="88"/>
                    </a:lnTo>
                    <a:lnTo>
                      <a:pt x="2" y="90"/>
                    </a:lnTo>
                    <a:lnTo>
                      <a:pt x="2" y="92"/>
                    </a:lnTo>
                    <a:lnTo>
                      <a:pt x="6" y="95"/>
                    </a:lnTo>
                    <a:lnTo>
                      <a:pt x="7" y="101"/>
                    </a:lnTo>
                    <a:lnTo>
                      <a:pt x="7" y="104"/>
                    </a:lnTo>
                    <a:lnTo>
                      <a:pt x="6" y="104"/>
                    </a:lnTo>
                    <a:lnTo>
                      <a:pt x="2" y="104"/>
                    </a:lnTo>
                    <a:lnTo>
                      <a:pt x="0" y="107"/>
                    </a:lnTo>
                    <a:lnTo>
                      <a:pt x="4" y="109"/>
                    </a:lnTo>
                    <a:lnTo>
                      <a:pt x="7" y="111"/>
                    </a:lnTo>
                    <a:lnTo>
                      <a:pt x="13" y="114"/>
                    </a:lnTo>
                    <a:lnTo>
                      <a:pt x="16" y="116"/>
                    </a:lnTo>
                    <a:lnTo>
                      <a:pt x="25" y="120"/>
                    </a:lnTo>
                    <a:lnTo>
                      <a:pt x="28" y="121"/>
                    </a:lnTo>
                    <a:lnTo>
                      <a:pt x="28" y="125"/>
                    </a:lnTo>
                    <a:lnTo>
                      <a:pt x="32" y="130"/>
                    </a:lnTo>
                    <a:lnTo>
                      <a:pt x="33" y="135"/>
                    </a:lnTo>
                    <a:lnTo>
                      <a:pt x="35" y="137"/>
                    </a:lnTo>
                    <a:lnTo>
                      <a:pt x="42" y="140"/>
                    </a:lnTo>
                    <a:lnTo>
                      <a:pt x="44" y="146"/>
                    </a:lnTo>
                    <a:lnTo>
                      <a:pt x="47" y="151"/>
                    </a:lnTo>
                    <a:lnTo>
                      <a:pt x="47" y="154"/>
                    </a:lnTo>
                    <a:lnTo>
                      <a:pt x="47" y="160"/>
                    </a:lnTo>
                    <a:lnTo>
                      <a:pt x="51" y="163"/>
                    </a:lnTo>
                    <a:lnTo>
                      <a:pt x="53" y="167"/>
                    </a:lnTo>
                    <a:lnTo>
                      <a:pt x="56" y="170"/>
                    </a:lnTo>
                    <a:lnTo>
                      <a:pt x="58" y="175"/>
                    </a:lnTo>
                    <a:lnTo>
                      <a:pt x="56" y="177"/>
                    </a:lnTo>
                    <a:lnTo>
                      <a:pt x="59" y="182"/>
                    </a:lnTo>
                    <a:lnTo>
                      <a:pt x="65" y="191"/>
                    </a:lnTo>
                    <a:lnTo>
                      <a:pt x="66" y="194"/>
                    </a:lnTo>
                    <a:lnTo>
                      <a:pt x="66" y="194"/>
                    </a:lnTo>
                    <a:lnTo>
                      <a:pt x="66" y="198"/>
                    </a:lnTo>
                    <a:lnTo>
                      <a:pt x="66" y="198"/>
                    </a:lnTo>
                    <a:lnTo>
                      <a:pt x="73" y="205"/>
                    </a:lnTo>
                    <a:lnTo>
                      <a:pt x="75" y="207"/>
                    </a:lnTo>
                    <a:lnTo>
                      <a:pt x="75" y="212"/>
                    </a:lnTo>
                    <a:lnTo>
                      <a:pt x="77" y="214"/>
                    </a:lnTo>
                    <a:lnTo>
                      <a:pt x="82" y="217"/>
                    </a:lnTo>
                    <a:lnTo>
                      <a:pt x="82" y="219"/>
                    </a:lnTo>
                    <a:lnTo>
                      <a:pt x="87" y="227"/>
                    </a:lnTo>
                    <a:lnTo>
                      <a:pt x="89" y="231"/>
                    </a:lnTo>
                    <a:lnTo>
                      <a:pt x="94" y="240"/>
                    </a:lnTo>
                    <a:lnTo>
                      <a:pt x="94" y="241"/>
                    </a:lnTo>
                    <a:lnTo>
                      <a:pt x="94" y="245"/>
                    </a:lnTo>
                    <a:lnTo>
                      <a:pt x="93" y="241"/>
                    </a:lnTo>
                    <a:lnTo>
                      <a:pt x="93" y="245"/>
                    </a:lnTo>
                    <a:lnTo>
                      <a:pt x="93" y="247"/>
                    </a:lnTo>
                    <a:lnTo>
                      <a:pt x="93" y="250"/>
                    </a:lnTo>
                    <a:lnTo>
                      <a:pt x="94" y="250"/>
                    </a:lnTo>
                    <a:lnTo>
                      <a:pt x="98" y="250"/>
                    </a:lnTo>
                    <a:lnTo>
                      <a:pt x="98" y="254"/>
                    </a:lnTo>
                    <a:lnTo>
                      <a:pt x="98" y="254"/>
                    </a:lnTo>
                    <a:lnTo>
                      <a:pt x="101" y="259"/>
                    </a:lnTo>
                    <a:lnTo>
                      <a:pt x="106" y="260"/>
                    </a:lnTo>
                    <a:lnTo>
                      <a:pt x="108" y="264"/>
                    </a:lnTo>
                    <a:lnTo>
                      <a:pt x="110" y="267"/>
                    </a:lnTo>
                    <a:lnTo>
                      <a:pt x="113" y="267"/>
                    </a:lnTo>
                    <a:lnTo>
                      <a:pt x="115" y="269"/>
                    </a:lnTo>
                    <a:lnTo>
                      <a:pt x="117" y="273"/>
                    </a:lnTo>
                    <a:lnTo>
                      <a:pt x="117" y="273"/>
                    </a:lnTo>
                    <a:lnTo>
                      <a:pt x="122" y="273"/>
                    </a:lnTo>
                    <a:lnTo>
                      <a:pt x="124" y="271"/>
                    </a:lnTo>
                    <a:lnTo>
                      <a:pt x="124" y="273"/>
                    </a:lnTo>
                    <a:lnTo>
                      <a:pt x="126" y="278"/>
                    </a:lnTo>
                    <a:lnTo>
                      <a:pt x="132" y="281"/>
                    </a:lnTo>
                    <a:lnTo>
                      <a:pt x="134" y="281"/>
                    </a:lnTo>
                    <a:lnTo>
                      <a:pt x="134" y="285"/>
                    </a:lnTo>
                    <a:lnTo>
                      <a:pt x="138" y="287"/>
                    </a:lnTo>
                    <a:lnTo>
                      <a:pt x="143" y="288"/>
                    </a:lnTo>
                    <a:lnTo>
                      <a:pt x="143" y="287"/>
                    </a:lnTo>
                    <a:lnTo>
                      <a:pt x="146" y="288"/>
                    </a:lnTo>
                    <a:lnTo>
                      <a:pt x="152" y="292"/>
                    </a:lnTo>
                    <a:lnTo>
                      <a:pt x="157" y="294"/>
                    </a:lnTo>
                    <a:lnTo>
                      <a:pt x="160" y="295"/>
                    </a:lnTo>
                    <a:lnTo>
                      <a:pt x="162" y="295"/>
                    </a:lnTo>
                    <a:lnTo>
                      <a:pt x="162" y="297"/>
                    </a:lnTo>
                    <a:lnTo>
                      <a:pt x="167" y="300"/>
                    </a:lnTo>
                    <a:lnTo>
                      <a:pt x="171" y="304"/>
                    </a:lnTo>
                    <a:lnTo>
                      <a:pt x="174" y="306"/>
                    </a:lnTo>
                    <a:lnTo>
                      <a:pt x="176" y="306"/>
                    </a:lnTo>
                    <a:lnTo>
                      <a:pt x="176" y="309"/>
                    </a:lnTo>
                    <a:lnTo>
                      <a:pt x="176" y="311"/>
                    </a:lnTo>
                    <a:lnTo>
                      <a:pt x="176" y="313"/>
                    </a:lnTo>
                    <a:lnTo>
                      <a:pt x="181" y="314"/>
                    </a:lnTo>
                    <a:lnTo>
                      <a:pt x="185" y="316"/>
                    </a:lnTo>
                    <a:lnTo>
                      <a:pt x="190" y="321"/>
                    </a:lnTo>
                    <a:lnTo>
                      <a:pt x="193" y="325"/>
                    </a:lnTo>
                    <a:lnTo>
                      <a:pt x="197" y="327"/>
                    </a:lnTo>
                    <a:lnTo>
                      <a:pt x="197" y="327"/>
                    </a:lnTo>
                    <a:lnTo>
                      <a:pt x="202" y="325"/>
                    </a:lnTo>
                    <a:lnTo>
                      <a:pt x="205" y="321"/>
                    </a:lnTo>
                    <a:lnTo>
                      <a:pt x="207" y="323"/>
                    </a:lnTo>
                    <a:lnTo>
                      <a:pt x="211" y="320"/>
                    </a:lnTo>
                    <a:lnTo>
                      <a:pt x="212" y="318"/>
                    </a:lnTo>
                    <a:lnTo>
                      <a:pt x="209" y="314"/>
                    </a:lnTo>
                    <a:lnTo>
                      <a:pt x="211" y="311"/>
                    </a:lnTo>
                    <a:lnTo>
                      <a:pt x="212" y="309"/>
                    </a:lnTo>
                    <a:lnTo>
                      <a:pt x="214" y="309"/>
                    </a:lnTo>
                    <a:lnTo>
                      <a:pt x="214" y="306"/>
                    </a:lnTo>
                    <a:lnTo>
                      <a:pt x="212" y="306"/>
                    </a:lnTo>
                    <a:lnTo>
                      <a:pt x="211" y="306"/>
                    </a:lnTo>
                    <a:lnTo>
                      <a:pt x="212" y="300"/>
                    </a:lnTo>
                    <a:lnTo>
                      <a:pt x="216" y="297"/>
                    </a:lnTo>
                    <a:lnTo>
                      <a:pt x="221" y="292"/>
                    </a:lnTo>
                    <a:lnTo>
                      <a:pt x="221" y="288"/>
                    </a:lnTo>
                    <a:lnTo>
                      <a:pt x="216" y="278"/>
                    </a:lnTo>
                    <a:lnTo>
                      <a:pt x="216" y="273"/>
                    </a:lnTo>
                    <a:lnTo>
                      <a:pt x="216" y="269"/>
                    </a:lnTo>
                    <a:lnTo>
                      <a:pt x="216" y="267"/>
                    </a:lnTo>
                    <a:lnTo>
                      <a:pt x="216" y="264"/>
                    </a:lnTo>
                    <a:lnTo>
                      <a:pt x="216" y="262"/>
                    </a:lnTo>
                    <a:lnTo>
                      <a:pt x="219" y="255"/>
                    </a:lnTo>
                    <a:lnTo>
                      <a:pt x="216" y="245"/>
                    </a:lnTo>
                    <a:lnTo>
                      <a:pt x="216" y="240"/>
                    </a:lnTo>
                    <a:lnTo>
                      <a:pt x="219" y="234"/>
                    </a:lnTo>
                    <a:lnTo>
                      <a:pt x="219" y="222"/>
                    </a:lnTo>
                    <a:lnTo>
                      <a:pt x="221" y="219"/>
                    </a:lnTo>
                    <a:lnTo>
                      <a:pt x="221" y="214"/>
                    </a:lnTo>
                    <a:lnTo>
                      <a:pt x="205" y="194"/>
                    </a:lnTo>
                    <a:lnTo>
                      <a:pt x="205" y="194"/>
                    </a:lnTo>
                    <a:lnTo>
                      <a:pt x="205" y="194"/>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4" name="Freeform 177"/>
              <p:cNvSpPr>
                <a:spLocks/>
              </p:cNvSpPr>
              <p:nvPr/>
            </p:nvSpPr>
            <p:spPr bwMode="auto">
              <a:xfrm>
                <a:off x="2600325" y="4537076"/>
                <a:ext cx="334963" cy="381000"/>
              </a:xfrm>
              <a:custGeom>
                <a:avLst/>
                <a:gdLst/>
                <a:ahLst/>
                <a:cxnLst>
                  <a:cxn ang="0">
                    <a:pos x="202" y="176"/>
                  </a:cxn>
                  <a:cxn ang="0">
                    <a:pos x="200" y="136"/>
                  </a:cxn>
                  <a:cxn ang="0">
                    <a:pos x="192" y="115"/>
                  </a:cxn>
                  <a:cxn ang="0">
                    <a:pos x="155" y="96"/>
                  </a:cxn>
                  <a:cxn ang="0">
                    <a:pos x="157" y="77"/>
                  </a:cxn>
                  <a:cxn ang="0">
                    <a:pos x="139" y="71"/>
                  </a:cxn>
                  <a:cxn ang="0">
                    <a:pos x="131" y="63"/>
                  </a:cxn>
                  <a:cxn ang="0">
                    <a:pos x="115" y="59"/>
                  </a:cxn>
                  <a:cxn ang="0">
                    <a:pos x="99" y="49"/>
                  </a:cxn>
                  <a:cxn ang="0">
                    <a:pos x="87" y="49"/>
                  </a:cxn>
                  <a:cxn ang="0">
                    <a:pos x="77" y="37"/>
                  </a:cxn>
                  <a:cxn ang="0">
                    <a:pos x="72" y="26"/>
                  </a:cxn>
                  <a:cxn ang="0">
                    <a:pos x="70" y="7"/>
                  </a:cxn>
                  <a:cxn ang="0">
                    <a:pos x="65" y="4"/>
                  </a:cxn>
                  <a:cxn ang="0">
                    <a:pos x="53" y="4"/>
                  </a:cxn>
                  <a:cxn ang="0">
                    <a:pos x="37" y="17"/>
                  </a:cxn>
                  <a:cxn ang="0">
                    <a:pos x="23" y="23"/>
                  </a:cxn>
                  <a:cxn ang="0">
                    <a:pos x="11" y="23"/>
                  </a:cxn>
                  <a:cxn ang="0">
                    <a:pos x="14" y="50"/>
                  </a:cxn>
                  <a:cxn ang="0">
                    <a:pos x="11" y="71"/>
                  </a:cxn>
                  <a:cxn ang="0">
                    <a:pos x="11" y="94"/>
                  </a:cxn>
                  <a:cxn ang="0">
                    <a:pos x="11" y="101"/>
                  </a:cxn>
                  <a:cxn ang="0">
                    <a:pos x="14" y="120"/>
                  </a:cxn>
                  <a:cxn ang="0">
                    <a:pos x="7" y="132"/>
                  </a:cxn>
                  <a:cxn ang="0">
                    <a:pos x="9" y="137"/>
                  </a:cxn>
                  <a:cxn ang="0">
                    <a:pos x="11" y="144"/>
                  </a:cxn>
                  <a:cxn ang="0">
                    <a:pos x="14" y="153"/>
                  </a:cxn>
                  <a:cxn ang="0">
                    <a:pos x="16" y="164"/>
                  </a:cxn>
                  <a:cxn ang="0">
                    <a:pos x="28" y="177"/>
                  </a:cxn>
                  <a:cxn ang="0">
                    <a:pos x="23" y="193"/>
                  </a:cxn>
                  <a:cxn ang="0">
                    <a:pos x="46" y="240"/>
                  </a:cxn>
                  <a:cxn ang="0">
                    <a:pos x="54" y="237"/>
                  </a:cxn>
                  <a:cxn ang="0">
                    <a:pos x="60" y="228"/>
                  </a:cxn>
                  <a:cxn ang="0">
                    <a:pos x="75" y="223"/>
                  </a:cxn>
                  <a:cxn ang="0">
                    <a:pos x="86" y="223"/>
                  </a:cxn>
                  <a:cxn ang="0">
                    <a:pos x="96" y="226"/>
                  </a:cxn>
                  <a:cxn ang="0">
                    <a:pos x="101" y="235"/>
                  </a:cxn>
                  <a:cxn ang="0">
                    <a:pos x="101" y="224"/>
                  </a:cxn>
                  <a:cxn ang="0">
                    <a:pos x="124" y="219"/>
                  </a:cxn>
                  <a:cxn ang="0">
                    <a:pos x="133" y="209"/>
                  </a:cxn>
                  <a:cxn ang="0">
                    <a:pos x="131" y="197"/>
                  </a:cxn>
                  <a:cxn ang="0">
                    <a:pos x="138" y="177"/>
                  </a:cxn>
                  <a:cxn ang="0">
                    <a:pos x="185" y="170"/>
                  </a:cxn>
                  <a:cxn ang="0">
                    <a:pos x="200" y="183"/>
                  </a:cxn>
                </a:cxnLst>
                <a:rect l="0" t="0" r="r" b="b"/>
                <a:pathLst>
                  <a:path w="211" h="240">
                    <a:moveTo>
                      <a:pt x="200" y="183"/>
                    </a:moveTo>
                    <a:lnTo>
                      <a:pt x="202" y="177"/>
                    </a:lnTo>
                    <a:lnTo>
                      <a:pt x="202" y="176"/>
                    </a:lnTo>
                    <a:lnTo>
                      <a:pt x="211" y="158"/>
                    </a:lnTo>
                    <a:lnTo>
                      <a:pt x="211" y="151"/>
                    </a:lnTo>
                    <a:lnTo>
                      <a:pt x="200" y="136"/>
                    </a:lnTo>
                    <a:lnTo>
                      <a:pt x="192" y="132"/>
                    </a:lnTo>
                    <a:lnTo>
                      <a:pt x="192" y="127"/>
                    </a:lnTo>
                    <a:lnTo>
                      <a:pt x="192" y="115"/>
                    </a:lnTo>
                    <a:lnTo>
                      <a:pt x="162" y="115"/>
                    </a:lnTo>
                    <a:lnTo>
                      <a:pt x="162" y="108"/>
                    </a:lnTo>
                    <a:lnTo>
                      <a:pt x="155" y="96"/>
                    </a:lnTo>
                    <a:lnTo>
                      <a:pt x="157" y="92"/>
                    </a:lnTo>
                    <a:lnTo>
                      <a:pt x="157" y="85"/>
                    </a:lnTo>
                    <a:lnTo>
                      <a:pt x="157" y="77"/>
                    </a:lnTo>
                    <a:lnTo>
                      <a:pt x="155" y="73"/>
                    </a:lnTo>
                    <a:lnTo>
                      <a:pt x="150" y="71"/>
                    </a:lnTo>
                    <a:lnTo>
                      <a:pt x="139" y="71"/>
                    </a:lnTo>
                    <a:lnTo>
                      <a:pt x="134" y="70"/>
                    </a:lnTo>
                    <a:lnTo>
                      <a:pt x="131" y="68"/>
                    </a:lnTo>
                    <a:lnTo>
                      <a:pt x="131" y="63"/>
                    </a:lnTo>
                    <a:lnTo>
                      <a:pt x="127" y="61"/>
                    </a:lnTo>
                    <a:lnTo>
                      <a:pt x="119" y="59"/>
                    </a:lnTo>
                    <a:lnTo>
                      <a:pt x="115" y="59"/>
                    </a:lnTo>
                    <a:lnTo>
                      <a:pt x="110" y="54"/>
                    </a:lnTo>
                    <a:lnTo>
                      <a:pt x="105" y="54"/>
                    </a:lnTo>
                    <a:lnTo>
                      <a:pt x="99" y="49"/>
                    </a:lnTo>
                    <a:lnTo>
                      <a:pt x="93" y="50"/>
                    </a:lnTo>
                    <a:lnTo>
                      <a:pt x="91" y="50"/>
                    </a:lnTo>
                    <a:lnTo>
                      <a:pt x="87" y="49"/>
                    </a:lnTo>
                    <a:lnTo>
                      <a:pt x="82" y="45"/>
                    </a:lnTo>
                    <a:lnTo>
                      <a:pt x="79" y="44"/>
                    </a:lnTo>
                    <a:lnTo>
                      <a:pt x="77" y="37"/>
                    </a:lnTo>
                    <a:lnTo>
                      <a:pt x="73" y="35"/>
                    </a:lnTo>
                    <a:lnTo>
                      <a:pt x="70" y="28"/>
                    </a:lnTo>
                    <a:lnTo>
                      <a:pt x="72" y="26"/>
                    </a:lnTo>
                    <a:lnTo>
                      <a:pt x="70" y="17"/>
                    </a:lnTo>
                    <a:lnTo>
                      <a:pt x="72" y="12"/>
                    </a:lnTo>
                    <a:lnTo>
                      <a:pt x="70" y="7"/>
                    </a:lnTo>
                    <a:lnTo>
                      <a:pt x="70" y="4"/>
                    </a:lnTo>
                    <a:lnTo>
                      <a:pt x="68" y="0"/>
                    </a:lnTo>
                    <a:lnTo>
                      <a:pt x="65" y="4"/>
                    </a:lnTo>
                    <a:lnTo>
                      <a:pt x="61" y="0"/>
                    </a:lnTo>
                    <a:lnTo>
                      <a:pt x="56" y="0"/>
                    </a:lnTo>
                    <a:lnTo>
                      <a:pt x="53" y="4"/>
                    </a:lnTo>
                    <a:lnTo>
                      <a:pt x="47" y="4"/>
                    </a:lnTo>
                    <a:lnTo>
                      <a:pt x="39" y="10"/>
                    </a:lnTo>
                    <a:lnTo>
                      <a:pt x="37" y="17"/>
                    </a:lnTo>
                    <a:lnTo>
                      <a:pt x="32" y="19"/>
                    </a:lnTo>
                    <a:lnTo>
                      <a:pt x="27" y="19"/>
                    </a:lnTo>
                    <a:lnTo>
                      <a:pt x="23" y="23"/>
                    </a:lnTo>
                    <a:lnTo>
                      <a:pt x="20" y="23"/>
                    </a:lnTo>
                    <a:lnTo>
                      <a:pt x="14" y="26"/>
                    </a:lnTo>
                    <a:lnTo>
                      <a:pt x="11" y="23"/>
                    </a:lnTo>
                    <a:lnTo>
                      <a:pt x="0" y="26"/>
                    </a:lnTo>
                    <a:lnTo>
                      <a:pt x="14" y="45"/>
                    </a:lnTo>
                    <a:lnTo>
                      <a:pt x="14" y="50"/>
                    </a:lnTo>
                    <a:lnTo>
                      <a:pt x="14" y="54"/>
                    </a:lnTo>
                    <a:lnTo>
                      <a:pt x="14" y="66"/>
                    </a:lnTo>
                    <a:lnTo>
                      <a:pt x="11" y="71"/>
                    </a:lnTo>
                    <a:lnTo>
                      <a:pt x="11" y="77"/>
                    </a:lnTo>
                    <a:lnTo>
                      <a:pt x="14" y="87"/>
                    </a:lnTo>
                    <a:lnTo>
                      <a:pt x="11" y="94"/>
                    </a:lnTo>
                    <a:lnTo>
                      <a:pt x="11" y="96"/>
                    </a:lnTo>
                    <a:lnTo>
                      <a:pt x="11" y="99"/>
                    </a:lnTo>
                    <a:lnTo>
                      <a:pt x="11" y="101"/>
                    </a:lnTo>
                    <a:lnTo>
                      <a:pt x="11" y="104"/>
                    </a:lnTo>
                    <a:lnTo>
                      <a:pt x="11" y="108"/>
                    </a:lnTo>
                    <a:lnTo>
                      <a:pt x="14" y="120"/>
                    </a:lnTo>
                    <a:lnTo>
                      <a:pt x="14" y="124"/>
                    </a:lnTo>
                    <a:lnTo>
                      <a:pt x="11" y="127"/>
                    </a:lnTo>
                    <a:lnTo>
                      <a:pt x="7" y="132"/>
                    </a:lnTo>
                    <a:lnTo>
                      <a:pt x="6" y="136"/>
                    </a:lnTo>
                    <a:lnTo>
                      <a:pt x="7" y="137"/>
                    </a:lnTo>
                    <a:lnTo>
                      <a:pt x="9" y="137"/>
                    </a:lnTo>
                    <a:lnTo>
                      <a:pt x="9" y="141"/>
                    </a:lnTo>
                    <a:lnTo>
                      <a:pt x="11" y="141"/>
                    </a:lnTo>
                    <a:lnTo>
                      <a:pt x="11" y="144"/>
                    </a:lnTo>
                    <a:lnTo>
                      <a:pt x="14" y="148"/>
                    </a:lnTo>
                    <a:lnTo>
                      <a:pt x="14" y="150"/>
                    </a:lnTo>
                    <a:lnTo>
                      <a:pt x="14" y="153"/>
                    </a:lnTo>
                    <a:lnTo>
                      <a:pt x="14" y="155"/>
                    </a:lnTo>
                    <a:lnTo>
                      <a:pt x="14" y="158"/>
                    </a:lnTo>
                    <a:lnTo>
                      <a:pt x="16" y="164"/>
                    </a:lnTo>
                    <a:lnTo>
                      <a:pt x="18" y="167"/>
                    </a:lnTo>
                    <a:lnTo>
                      <a:pt x="27" y="174"/>
                    </a:lnTo>
                    <a:lnTo>
                      <a:pt x="28" y="177"/>
                    </a:lnTo>
                    <a:lnTo>
                      <a:pt x="25" y="183"/>
                    </a:lnTo>
                    <a:lnTo>
                      <a:pt x="27" y="186"/>
                    </a:lnTo>
                    <a:lnTo>
                      <a:pt x="23" y="193"/>
                    </a:lnTo>
                    <a:lnTo>
                      <a:pt x="25" y="198"/>
                    </a:lnTo>
                    <a:lnTo>
                      <a:pt x="33" y="205"/>
                    </a:lnTo>
                    <a:lnTo>
                      <a:pt x="46" y="240"/>
                    </a:lnTo>
                    <a:lnTo>
                      <a:pt x="51" y="240"/>
                    </a:lnTo>
                    <a:lnTo>
                      <a:pt x="53" y="237"/>
                    </a:lnTo>
                    <a:lnTo>
                      <a:pt x="54" y="237"/>
                    </a:lnTo>
                    <a:lnTo>
                      <a:pt x="54" y="237"/>
                    </a:lnTo>
                    <a:lnTo>
                      <a:pt x="56" y="235"/>
                    </a:lnTo>
                    <a:lnTo>
                      <a:pt x="60" y="228"/>
                    </a:lnTo>
                    <a:lnTo>
                      <a:pt x="65" y="221"/>
                    </a:lnTo>
                    <a:lnTo>
                      <a:pt x="70" y="219"/>
                    </a:lnTo>
                    <a:lnTo>
                      <a:pt x="75" y="223"/>
                    </a:lnTo>
                    <a:lnTo>
                      <a:pt x="79" y="223"/>
                    </a:lnTo>
                    <a:lnTo>
                      <a:pt x="82" y="221"/>
                    </a:lnTo>
                    <a:lnTo>
                      <a:pt x="86" y="223"/>
                    </a:lnTo>
                    <a:lnTo>
                      <a:pt x="93" y="221"/>
                    </a:lnTo>
                    <a:lnTo>
                      <a:pt x="96" y="221"/>
                    </a:lnTo>
                    <a:lnTo>
                      <a:pt x="96" y="226"/>
                    </a:lnTo>
                    <a:lnTo>
                      <a:pt x="99" y="235"/>
                    </a:lnTo>
                    <a:lnTo>
                      <a:pt x="99" y="237"/>
                    </a:lnTo>
                    <a:lnTo>
                      <a:pt x="101" y="235"/>
                    </a:lnTo>
                    <a:lnTo>
                      <a:pt x="101" y="231"/>
                    </a:lnTo>
                    <a:lnTo>
                      <a:pt x="101" y="228"/>
                    </a:lnTo>
                    <a:lnTo>
                      <a:pt x="101" y="224"/>
                    </a:lnTo>
                    <a:lnTo>
                      <a:pt x="105" y="219"/>
                    </a:lnTo>
                    <a:lnTo>
                      <a:pt x="115" y="219"/>
                    </a:lnTo>
                    <a:lnTo>
                      <a:pt x="124" y="219"/>
                    </a:lnTo>
                    <a:lnTo>
                      <a:pt x="127" y="223"/>
                    </a:lnTo>
                    <a:lnTo>
                      <a:pt x="127" y="217"/>
                    </a:lnTo>
                    <a:lnTo>
                      <a:pt x="133" y="209"/>
                    </a:lnTo>
                    <a:lnTo>
                      <a:pt x="133" y="203"/>
                    </a:lnTo>
                    <a:lnTo>
                      <a:pt x="133" y="198"/>
                    </a:lnTo>
                    <a:lnTo>
                      <a:pt x="131" y="197"/>
                    </a:lnTo>
                    <a:lnTo>
                      <a:pt x="136" y="190"/>
                    </a:lnTo>
                    <a:lnTo>
                      <a:pt x="138" y="183"/>
                    </a:lnTo>
                    <a:lnTo>
                      <a:pt x="138" y="177"/>
                    </a:lnTo>
                    <a:lnTo>
                      <a:pt x="143" y="177"/>
                    </a:lnTo>
                    <a:lnTo>
                      <a:pt x="166" y="170"/>
                    </a:lnTo>
                    <a:lnTo>
                      <a:pt x="185" y="170"/>
                    </a:lnTo>
                    <a:lnTo>
                      <a:pt x="195" y="177"/>
                    </a:lnTo>
                    <a:lnTo>
                      <a:pt x="199" y="177"/>
                    </a:lnTo>
                    <a:lnTo>
                      <a:pt x="200" y="183"/>
                    </a:lnTo>
                    <a:lnTo>
                      <a:pt x="200" y="183"/>
                    </a:lnTo>
                    <a:lnTo>
                      <a:pt x="200" y="18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5" name="Freeform 178"/>
              <p:cNvSpPr>
                <a:spLocks/>
              </p:cNvSpPr>
              <p:nvPr/>
            </p:nvSpPr>
            <p:spPr bwMode="auto">
              <a:xfrm>
                <a:off x="2801938" y="4806951"/>
                <a:ext cx="231775" cy="241300"/>
              </a:xfrm>
              <a:custGeom>
                <a:avLst/>
                <a:gdLst/>
                <a:ahLst/>
                <a:cxnLst>
                  <a:cxn ang="0">
                    <a:pos x="2" y="47"/>
                  </a:cxn>
                  <a:cxn ang="0">
                    <a:pos x="6" y="33"/>
                  </a:cxn>
                  <a:cxn ang="0">
                    <a:pos x="6" y="27"/>
                  </a:cxn>
                  <a:cxn ang="0">
                    <a:pos x="11" y="13"/>
                  </a:cxn>
                  <a:cxn ang="0">
                    <a:pos x="16" y="7"/>
                  </a:cxn>
                  <a:cxn ang="0">
                    <a:pos x="59" y="0"/>
                  </a:cxn>
                  <a:cxn ang="0">
                    <a:pos x="73" y="9"/>
                  </a:cxn>
                  <a:cxn ang="0">
                    <a:pos x="75" y="16"/>
                  </a:cxn>
                  <a:cxn ang="0">
                    <a:pos x="78" y="25"/>
                  </a:cxn>
                  <a:cxn ang="0">
                    <a:pos x="82" y="42"/>
                  </a:cxn>
                  <a:cxn ang="0">
                    <a:pos x="82" y="47"/>
                  </a:cxn>
                  <a:cxn ang="0">
                    <a:pos x="87" y="51"/>
                  </a:cxn>
                  <a:cxn ang="0">
                    <a:pos x="99" y="53"/>
                  </a:cxn>
                  <a:cxn ang="0">
                    <a:pos x="112" y="51"/>
                  </a:cxn>
                  <a:cxn ang="0">
                    <a:pos x="118" y="54"/>
                  </a:cxn>
                  <a:cxn ang="0">
                    <a:pos x="125" y="77"/>
                  </a:cxn>
                  <a:cxn ang="0">
                    <a:pos x="129" y="84"/>
                  </a:cxn>
                  <a:cxn ang="0">
                    <a:pos x="141" y="82"/>
                  </a:cxn>
                  <a:cxn ang="0">
                    <a:pos x="146" y="84"/>
                  </a:cxn>
                  <a:cxn ang="0">
                    <a:pos x="145" y="105"/>
                  </a:cxn>
                  <a:cxn ang="0">
                    <a:pos x="143" y="107"/>
                  </a:cxn>
                  <a:cxn ang="0">
                    <a:pos x="143" y="110"/>
                  </a:cxn>
                  <a:cxn ang="0">
                    <a:pos x="141" y="112"/>
                  </a:cxn>
                  <a:cxn ang="0">
                    <a:pos x="141" y="119"/>
                  </a:cxn>
                  <a:cxn ang="0">
                    <a:pos x="138" y="129"/>
                  </a:cxn>
                  <a:cxn ang="0">
                    <a:pos x="136" y="134"/>
                  </a:cxn>
                  <a:cxn ang="0">
                    <a:pos x="125" y="145"/>
                  </a:cxn>
                  <a:cxn ang="0">
                    <a:pos x="118" y="148"/>
                  </a:cxn>
                  <a:cxn ang="0">
                    <a:pos x="113" y="152"/>
                  </a:cxn>
                  <a:cxn ang="0">
                    <a:pos x="110" y="152"/>
                  </a:cxn>
                  <a:cxn ang="0">
                    <a:pos x="99" y="150"/>
                  </a:cxn>
                  <a:cxn ang="0">
                    <a:pos x="77" y="148"/>
                  </a:cxn>
                  <a:cxn ang="0">
                    <a:pos x="75" y="145"/>
                  </a:cxn>
                  <a:cxn ang="0">
                    <a:pos x="82" y="133"/>
                  </a:cxn>
                  <a:cxn ang="0">
                    <a:pos x="82" y="126"/>
                  </a:cxn>
                  <a:cxn ang="0">
                    <a:pos x="89" y="119"/>
                  </a:cxn>
                  <a:cxn ang="0">
                    <a:pos x="87" y="112"/>
                  </a:cxn>
                  <a:cxn ang="0">
                    <a:pos x="78" y="103"/>
                  </a:cxn>
                  <a:cxn ang="0">
                    <a:pos x="61" y="98"/>
                  </a:cxn>
                  <a:cxn ang="0">
                    <a:pos x="51" y="93"/>
                  </a:cxn>
                  <a:cxn ang="0">
                    <a:pos x="33" y="84"/>
                  </a:cxn>
                  <a:cxn ang="0">
                    <a:pos x="28" y="77"/>
                  </a:cxn>
                  <a:cxn ang="0">
                    <a:pos x="11" y="65"/>
                  </a:cxn>
                  <a:cxn ang="0">
                    <a:pos x="6" y="58"/>
                  </a:cxn>
                  <a:cxn ang="0">
                    <a:pos x="0" y="53"/>
                  </a:cxn>
                  <a:cxn ang="0">
                    <a:pos x="0" y="53"/>
                  </a:cxn>
                </a:cxnLst>
                <a:rect l="0" t="0" r="r" b="b"/>
                <a:pathLst>
                  <a:path w="146" h="152">
                    <a:moveTo>
                      <a:pt x="0" y="53"/>
                    </a:moveTo>
                    <a:lnTo>
                      <a:pt x="2" y="47"/>
                    </a:lnTo>
                    <a:lnTo>
                      <a:pt x="6" y="39"/>
                    </a:lnTo>
                    <a:lnTo>
                      <a:pt x="6" y="33"/>
                    </a:lnTo>
                    <a:lnTo>
                      <a:pt x="6" y="28"/>
                    </a:lnTo>
                    <a:lnTo>
                      <a:pt x="6" y="27"/>
                    </a:lnTo>
                    <a:lnTo>
                      <a:pt x="9" y="20"/>
                    </a:lnTo>
                    <a:lnTo>
                      <a:pt x="11" y="13"/>
                    </a:lnTo>
                    <a:lnTo>
                      <a:pt x="11" y="9"/>
                    </a:lnTo>
                    <a:lnTo>
                      <a:pt x="16" y="7"/>
                    </a:lnTo>
                    <a:lnTo>
                      <a:pt x="39" y="0"/>
                    </a:lnTo>
                    <a:lnTo>
                      <a:pt x="59" y="0"/>
                    </a:lnTo>
                    <a:lnTo>
                      <a:pt x="70" y="9"/>
                    </a:lnTo>
                    <a:lnTo>
                      <a:pt x="73" y="9"/>
                    </a:lnTo>
                    <a:lnTo>
                      <a:pt x="77" y="13"/>
                    </a:lnTo>
                    <a:lnTo>
                      <a:pt x="75" y="16"/>
                    </a:lnTo>
                    <a:lnTo>
                      <a:pt x="78" y="20"/>
                    </a:lnTo>
                    <a:lnTo>
                      <a:pt x="78" y="25"/>
                    </a:lnTo>
                    <a:lnTo>
                      <a:pt x="82" y="30"/>
                    </a:lnTo>
                    <a:lnTo>
                      <a:pt x="82" y="42"/>
                    </a:lnTo>
                    <a:lnTo>
                      <a:pt x="82" y="44"/>
                    </a:lnTo>
                    <a:lnTo>
                      <a:pt x="82" y="47"/>
                    </a:lnTo>
                    <a:lnTo>
                      <a:pt x="82" y="53"/>
                    </a:lnTo>
                    <a:lnTo>
                      <a:pt x="87" y="51"/>
                    </a:lnTo>
                    <a:lnTo>
                      <a:pt x="91" y="53"/>
                    </a:lnTo>
                    <a:lnTo>
                      <a:pt x="99" y="53"/>
                    </a:lnTo>
                    <a:lnTo>
                      <a:pt x="105" y="54"/>
                    </a:lnTo>
                    <a:lnTo>
                      <a:pt x="112" y="51"/>
                    </a:lnTo>
                    <a:lnTo>
                      <a:pt x="115" y="54"/>
                    </a:lnTo>
                    <a:lnTo>
                      <a:pt x="118" y="54"/>
                    </a:lnTo>
                    <a:lnTo>
                      <a:pt x="120" y="58"/>
                    </a:lnTo>
                    <a:lnTo>
                      <a:pt x="125" y="77"/>
                    </a:lnTo>
                    <a:lnTo>
                      <a:pt x="129" y="84"/>
                    </a:lnTo>
                    <a:lnTo>
                      <a:pt x="129" y="84"/>
                    </a:lnTo>
                    <a:lnTo>
                      <a:pt x="138" y="80"/>
                    </a:lnTo>
                    <a:lnTo>
                      <a:pt x="141" y="82"/>
                    </a:lnTo>
                    <a:lnTo>
                      <a:pt x="145" y="84"/>
                    </a:lnTo>
                    <a:lnTo>
                      <a:pt x="146" y="84"/>
                    </a:lnTo>
                    <a:lnTo>
                      <a:pt x="145" y="87"/>
                    </a:lnTo>
                    <a:lnTo>
                      <a:pt x="145" y="105"/>
                    </a:lnTo>
                    <a:lnTo>
                      <a:pt x="143" y="107"/>
                    </a:lnTo>
                    <a:lnTo>
                      <a:pt x="143" y="107"/>
                    </a:lnTo>
                    <a:lnTo>
                      <a:pt x="143" y="107"/>
                    </a:lnTo>
                    <a:lnTo>
                      <a:pt x="143" y="110"/>
                    </a:lnTo>
                    <a:lnTo>
                      <a:pt x="143" y="112"/>
                    </a:lnTo>
                    <a:lnTo>
                      <a:pt x="141" y="112"/>
                    </a:lnTo>
                    <a:lnTo>
                      <a:pt x="141" y="117"/>
                    </a:lnTo>
                    <a:lnTo>
                      <a:pt x="141" y="119"/>
                    </a:lnTo>
                    <a:lnTo>
                      <a:pt x="141" y="126"/>
                    </a:lnTo>
                    <a:lnTo>
                      <a:pt x="138" y="129"/>
                    </a:lnTo>
                    <a:lnTo>
                      <a:pt x="136" y="133"/>
                    </a:lnTo>
                    <a:lnTo>
                      <a:pt x="136" y="134"/>
                    </a:lnTo>
                    <a:lnTo>
                      <a:pt x="127" y="141"/>
                    </a:lnTo>
                    <a:lnTo>
                      <a:pt x="125" y="145"/>
                    </a:lnTo>
                    <a:lnTo>
                      <a:pt x="124" y="150"/>
                    </a:lnTo>
                    <a:lnTo>
                      <a:pt x="118" y="148"/>
                    </a:lnTo>
                    <a:lnTo>
                      <a:pt x="117" y="150"/>
                    </a:lnTo>
                    <a:lnTo>
                      <a:pt x="113" y="152"/>
                    </a:lnTo>
                    <a:lnTo>
                      <a:pt x="112" y="152"/>
                    </a:lnTo>
                    <a:lnTo>
                      <a:pt x="110" y="152"/>
                    </a:lnTo>
                    <a:lnTo>
                      <a:pt x="106" y="152"/>
                    </a:lnTo>
                    <a:lnTo>
                      <a:pt x="99" y="150"/>
                    </a:lnTo>
                    <a:lnTo>
                      <a:pt x="89" y="147"/>
                    </a:lnTo>
                    <a:lnTo>
                      <a:pt x="77" y="148"/>
                    </a:lnTo>
                    <a:lnTo>
                      <a:pt x="75" y="148"/>
                    </a:lnTo>
                    <a:lnTo>
                      <a:pt x="75" y="145"/>
                    </a:lnTo>
                    <a:lnTo>
                      <a:pt x="78" y="138"/>
                    </a:lnTo>
                    <a:lnTo>
                      <a:pt x="82" y="133"/>
                    </a:lnTo>
                    <a:lnTo>
                      <a:pt x="82" y="129"/>
                    </a:lnTo>
                    <a:lnTo>
                      <a:pt x="82" y="126"/>
                    </a:lnTo>
                    <a:lnTo>
                      <a:pt x="87" y="124"/>
                    </a:lnTo>
                    <a:lnTo>
                      <a:pt x="89" y="119"/>
                    </a:lnTo>
                    <a:lnTo>
                      <a:pt x="89" y="115"/>
                    </a:lnTo>
                    <a:lnTo>
                      <a:pt x="87" y="112"/>
                    </a:lnTo>
                    <a:lnTo>
                      <a:pt x="82" y="107"/>
                    </a:lnTo>
                    <a:lnTo>
                      <a:pt x="78" y="103"/>
                    </a:lnTo>
                    <a:lnTo>
                      <a:pt x="68" y="101"/>
                    </a:lnTo>
                    <a:lnTo>
                      <a:pt x="61" y="98"/>
                    </a:lnTo>
                    <a:lnTo>
                      <a:pt x="54" y="93"/>
                    </a:lnTo>
                    <a:lnTo>
                      <a:pt x="51" y="93"/>
                    </a:lnTo>
                    <a:lnTo>
                      <a:pt x="44" y="87"/>
                    </a:lnTo>
                    <a:lnTo>
                      <a:pt x="33" y="84"/>
                    </a:lnTo>
                    <a:lnTo>
                      <a:pt x="32" y="80"/>
                    </a:lnTo>
                    <a:lnTo>
                      <a:pt x="28" y="77"/>
                    </a:lnTo>
                    <a:lnTo>
                      <a:pt x="23" y="77"/>
                    </a:lnTo>
                    <a:lnTo>
                      <a:pt x="11" y="65"/>
                    </a:lnTo>
                    <a:lnTo>
                      <a:pt x="9" y="58"/>
                    </a:lnTo>
                    <a:lnTo>
                      <a:pt x="6" y="58"/>
                    </a:lnTo>
                    <a:lnTo>
                      <a:pt x="2" y="54"/>
                    </a:lnTo>
                    <a:lnTo>
                      <a:pt x="0" y="53"/>
                    </a:lnTo>
                    <a:lnTo>
                      <a:pt x="0" y="53"/>
                    </a:lnTo>
                    <a:lnTo>
                      <a:pt x="0" y="5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6" name="Freeform 179"/>
              <p:cNvSpPr>
                <a:spLocks/>
              </p:cNvSpPr>
              <p:nvPr/>
            </p:nvSpPr>
            <p:spPr bwMode="auto">
              <a:xfrm>
                <a:off x="2940050" y="5119688"/>
                <a:ext cx="141288" cy="163513"/>
              </a:xfrm>
              <a:custGeom>
                <a:avLst/>
                <a:gdLst/>
                <a:ahLst/>
                <a:cxnLst>
                  <a:cxn ang="0">
                    <a:pos x="12" y="2"/>
                  </a:cxn>
                  <a:cxn ang="0">
                    <a:pos x="25" y="0"/>
                  </a:cxn>
                  <a:cxn ang="0">
                    <a:pos x="31" y="9"/>
                  </a:cxn>
                  <a:cxn ang="0">
                    <a:pos x="37" y="16"/>
                  </a:cxn>
                  <a:cxn ang="0">
                    <a:pos x="42" y="23"/>
                  </a:cxn>
                  <a:cxn ang="0">
                    <a:pos x="49" y="19"/>
                  </a:cxn>
                  <a:cxn ang="0">
                    <a:pos x="58" y="28"/>
                  </a:cxn>
                  <a:cxn ang="0">
                    <a:pos x="64" y="31"/>
                  </a:cxn>
                  <a:cxn ang="0">
                    <a:pos x="70" y="36"/>
                  </a:cxn>
                  <a:cxn ang="0">
                    <a:pos x="78" y="45"/>
                  </a:cxn>
                  <a:cxn ang="0">
                    <a:pos x="87" y="54"/>
                  </a:cxn>
                  <a:cxn ang="0">
                    <a:pos x="84" y="63"/>
                  </a:cxn>
                  <a:cxn ang="0">
                    <a:pos x="85" y="70"/>
                  </a:cxn>
                  <a:cxn ang="0">
                    <a:pos x="89" y="73"/>
                  </a:cxn>
                  <a:cxn ang="0">
                    <a:pos x="87" y="76"/>
                  </a:cxn>
                  <a:cxn ang="0">
                    <a:pos x="85" y="83"/>
                  </a:cxn>
                  <a:cxn ang="0">
                    <a:pos x="82" y="90"/>
                  </a:cxn>
                  <a:cxn ang="0">
                    <a:pos x="78" y="92"/>
                  </a:cxn>
                  <a:cxn ang="0">
                    <a:pos x="70" y="99"/>
                  </a:cxn>
                  <a:cxn ang="0">
                    <a:pos x="64" y="99"/>
                  </a:cxn>
                  <a:cxn ang="0">
                    <a:pos x="64" y="103"/>
                  </a:cxn>
                  <a:cxn ang="0">
                    <a:pos x="59" y="103"/>
                  </a:cxn>
                  <a:cxn ang="0">
                    <a:pos x="56" y="99"/>
                  </a:cxn>
                  <a:cxn ang="0">
                    <a:pos x="49" y="99"/>
                  </a:cxn>
                  <a:cxn ang="0">
                    <a:pos x="40" y="103"/>
                  </a:cxn>
                  <a:cxn ang="0">
                    <a:pos x="40" y="99"/>
                  </a:cxn>
                  <a:cxn ang="0">
                    <a:pos x="37" y="99"/>
                  </a:cxn>
                  <a:cxn ang="0">
                    <a:pos x="30" y="94"/>
                  </a:cxn>
                  <a:cxn ang="0">
                    <a:pos x="18" y="94"/>
                  </a:cxn>
                  <a:cxn ang="0">
                    <a:pos x="12" y="90"/>
                  </a:cxn>
                  <a:cxn ang="0">
                    <a:pos x="4" y="82"/>
                  </a:cxn>
                  <a:cxn ang="0">
                    <a:pos x="0" y="68"/>
                  </a:cxn>
                  <a:cxn ang="0">
                    <a:pos x="0" y="66"/>
                  </a:cxn>
                  <a:cxn ang="0">
                    <a:pos x="7" y="61"/>
                  </a:cxn>
                  <a:cxn ang="0">
                    <a:pos x="4" y="47"/>
                  </a:cxn>
                  <a:cxn ang="0">
                    <a:pos x="4" y="40"/>
                  </a:cxn>
                  <a:cxn ang="0">
                    <a:pos x="4" y="31"/>
                  </a:cxn>
                  <a:cxn ang="0">
                    <a:pos x="7" y="23"/>
                  </a:cxn>
                  <a:cxn ang="0">
                    <a:pos x="7" y="17"/>
                  </a:cxn>
                  <a:cxn ang="0">
                    <a:pos x="9" y="7"/>
                  </a:cxn>
                  <a:cxn ang="0">
                    <a:pos x="12" y="2"/>
                  </a:cxn>
                  <a:cxn ang="0">
                    <a:pos x="12" y="2"/>
                  </a:cxn>
                </a:cxnLst>
                <a:rect l="0" t="0" r="r" b="b"/>
                <a:pathLst>
                  <a:path w="89" h="103">
                    <a:moveTo>
                      <a:pt x="12" y="2"/>
                    </a:moveTo>
                    <a:lnTo>
                      <a:pt x="12" y="2"/>
                    </a:lnTo>
                    <a:lnTo>
                      <a:pt x="14" y="3"/>
                    </a:lnTo>
                    <a:lnTo>
                      <a:pt x="25" y="0"/>
                    </a:lnTo>
                    <a:lnTo>
                      <a:pt x="28" y="3"/>
                    </a:lnTo>
                    <a:lnTo>
                      <a:pt x="31" y="9"/>
                    </a:lnTo>
                    <a:lnTo>
                      <a:pt x="35" y="9"/>
                    </a:lnTo>
                    <a:lnTo>
                      <a:pt x="37" y="16"/>
                    </a:lnTo>
                    <a:lnTo>
                      <a:pt x="40" y="23"/>
                    </a:lnTo>
                    <a:lnTo>
                      <a:pt x="42" y="23"/>
                    </a:lnTo>
                    <a:lnTo>
                      <a:pt x="45" y="19"/>
                    </a:lnTo>
                    <a:lnTo>
                      <a:pt x="49" y="19"/>
                    </a:lnTo>
                    <a:lnTo>
                      <a:pt x="52" y="26"/>
                    </a:lnTo>
                    <a:lnTo>
                      <a:pt x="58" y="28"/>
                    </a:lnTo>
                    <a:lnTo>
                      <a:pt x="61" y="28"/>
                    </a:lnTo>
                    <a:lnTo>
                      <a:pt x="64" y="31"/>
                    </a:lnTo>
                    <a:lnTo>
                      <a:pt x="64" y="36"/>
                    </a:lnTo>
                    <a:lnTo>
                      <a:pt x="70" y="36"/>
                    </a:lnTo>
                    <a:lnTo>
                      <a:pt x="77" y="40"/>
                    </a:lnTo>
                    <a:lnTo>
                      <a:pt x="78" y="45"/>
                    </a:lnTo>
                    <a:lnTo>
                      <a:pt x="84" y="50"/>
                    </a:lnTo>
                    <a:lnTo>
                      <a:pt x="87" y="54"/>
                    </a:lnTo>
                    <a:lnTo>
                      <a:pt x="87" y="59"/>
                    </a:lnTo>
                    <a:lnTo>
                      <a:pt x="84" y="63"/>
                    </a:lnTo>
                    <a:lnTo>
                      <a:pt x="85" y="68"/>
                    </a:lnTo>
                    <a:lnTo>
                      <a:pt x="85" y="70"/>
                    </a:lnTo>
                    <a:lnTo>
                      <a:pt x="85" y="71"/>
                    </a:lnTo>
                    <a:lnTo>
                      <a:pt x="89" y="73"/>
                    </a:lnTo>
                    <a:lnTo>
                      <a:pt x="89" y="75"/>
                    </a:lnTo>
                    <a:lnTo>
                      <a:pt x="87" y="76"/>
                    </a:lnTo>
                    <a:lnTo>
                      <a:pt x="85" y="80"/>
                    </a:lnTo>
                    <a:lnTo>
                      <a:pt x="85" y="83"/>
                    </a:lnTo>
                    <a:lnTo>
                      <a:pt x="82" y="87"/>
                    </a:lnTo>
                    <a:lnTo>
                      <a:pt x="82" y="90"/>
                    </a:lnTo>
                    <a:lnTo>
                      <a:pt x="82" y="90"/>
                    </a:lnTo>
                    <a:lnTo>
                      <a:pt x="78" y="92"/>
                    </a:lnTo>
                    <a:lnTo>
                      <a:pt x="77" y="97"/>
                    </a:lnTo>
                    <a:lnTo>
                      <a:pt x="70" y="99"/>
                    </a:lnTo>
                    <a:lnTo>
                      <a:pt x="68" y="99"/>
                    </a:lnTo>
                    <a:lnTo>
                      <a:pt x="64" y="99"/>
                    </a:lnTo>
                    <a:lnTo>
                      <a:pt x="64" y="103"/>
                    </a:lnTo>
                    <a:lnTo>
                      <a:pt x="64" y="103"/>
                    </a:lnTo>
                    <a:lnTo>
                      <a:pt x="63" y="103"/>
                    </a:lnTo>
                    <a:lnTo>
                      <a:pt x="59" y="103"/>
                    </a:lnTo>
                    <a:lnTo>
                      <a:pt x="58" y="103"/>
                    </a:lnTo>
                    <a:lnTo>
                      <a:pt x="56" y="99"/>
                    </a:lnTo>
                    <a:lnTo>
                      <a:pt x="52" y="99"/>
                    </a:lnTo>
                    <a:lnTo>
                      <a:pt x="49" y="99"/>
                    </a:lnTo>
                    <a:lnTo>
                      <a:pt x="42" y="103"/>
                    </a:lnTo>
                    <a:lnTo>
                      <a:pt x="40" y="103"/>
                    </a:lnTo>
                    <a:lnTo>
                      <a:pt x="40" y="99"/>
                    </a:lnTo>
                    <a:lnTo>
                      <a:pt x="40" y="99"/>
                    </a:lnTo>
                    <a:lnTo>
                      <a:pt x="40" y="99"/>
                    </a:lnTo>
                    <a:lnTo>
                      <a:pt x="37" y="99"/>
                    </a:lnTo>
                    <a:lnTo>
                      <a:pt x="35" y="97"/>
                    </a:lnTo>
                    <a:lnTo>
                      <a:pt x="30" y="94"/>
                    </a:lnTo>
                    <a:lnTo>
                      <a:pt x="26" y="94"/>
                    </a:lnTo>
                    <a:lnTo>
                      <a:pt x="18" y="94"/>
                    </a:lnTo>
                    <a:lnTo>
                      <a:pt x="14" y="94"/>
                    </a:lnTo>
                    <a:lnTo>
                      <a:pt x="12" y="90"/>
                    </a:lnTo>
                    <a:lnTo>
                      <a:pt x="9" y="89"/>
                    </a:lnTo>
                    <a:lnTo>
                      <a:pt x="4" y="82"/>
                    </a:lnTo>
                    <a:lnTo>
                      <a:pt x="0" y="75"/>
                    </a:lnTo>
                    <a:lnTo>
                      <a:pt x="0" y="68"/>
                    </a:lnTo>
                    <a:lnTo>
                      <a:pt x="0" y="68"/>
                    </a:lnTo>
                    <a:lnTo>
                      <a:pt x="0" y="66"/>
                    </a:lnTo>
                    <a:lnTo>
                      <a:pt x="4" y="63"/>
                    </a:lnTo>
                    <a:lnTo>
                      <a:pt x="7" y="61"/>
                    </a:lnTo>
                    <a:lnTo>
                      <a:pt x="4" y="56"/>
                    </a:lnTo>
                    <a:lnTo>
                      <a:pt x="4" y="47"/>
                    </a:lnTo>
                    <a:lnTo>
                      <a:pt x="4" y="45"/>
                    </a:lnTo>
                    <a:lnTo>
                      <a:pt x="4" y="40"/>
                    </a:lnTo>
                    <a:lnTo>
                      <a:pt x="4" y="36"/>
                    </a:lnTo>
                    <a:lnTo>
                      <a:pt x="4" y="31"/>
                    </a:lnTo>
                    <a:lnTo>
                      <a:pt x="7" y="31"/>
                    </a:lnTo>
                    <a:lnTo>
                      <a:pt x="7" y="23"/>
                    </a:lnTo>
                    <a:lnTo>
                      <a:pt x="4" y="19"/>
                    </a:lnTo>
                    <a:lnTo>
                      <a:pt x="7" y="17"/>
                    </a:lnTo>
                    <a:lnTo>
                      <a:pt x="7" y="9"/>
                    </a:lnTo>
                    <a:lnTo>
                      <a:pt x="9" y="7"/>
                    </a:lnTo>
                    <a:lnTo>
                      <a:pt x="9" y="3"/>
                    </a:lnTo>
                    <a:lnTo>
                      <a:pt x="12" y="2"/>
                    </a:lnTo>
                    <a:lnTo>
                      <a:pt x="12" y="2"/>
                    </a:lnTo>
                    <a:lnTo>
                      <a:pt x="12" y="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7" name="Freeform 180"/>
              <p:cNvSpPr>
                <a:spLocks noEditPoints="1"/>
              </p:cNvSpPr>
              <p:nvPr/>
            </p:nvSpPr>
            <p:spPr bwMode="auto">
              <a:xfrm>
                <a:off x="7748588" y="3041651"/>
                <a:ext cx="115888" cy="201613"/>
              </a:xfrm>
              <a:custGeom>
                <a:avLst/>
                <a:gdLst/>
                <a:ahLst/>
                <a:cxnLst>
                  <a:cxn ang="0">
                    <a:pos x="47" y="92"/>
                  </a:cxn>
                  <a:cxn ang="0">
                    <a:pos x="45" y="90"/>
                  </a:cxn>
                  <a:cxn ang="0">
                    <a:pos x="21" y="104"/>
                  </a:cxn>
                  <a:cxn ang="0">
                    <a:pos x="21" y="100"/>
                  </a:cxn>
                  <a:cxn ang="0">
                    <a:pos x="22" y="102"/>
                  </a:cxn>
                  <a:cxn ang="0">
                    <a:pos x="21" y="104"/>
                  </a:cxn>
                  <a:cxn ang="0">
                    <a:pos x="59" y="85"/>
                  </a:cxn>
                  <a:cxn ang="0">
                    <a:pos x="57" y="92"/>
                  </a:cxn>
                  <a:cxn ang="0">
                    <a:pos x="59" y="85"/>
                  </a:cxn>
                  <a:cxn ang="0">
                    <a:pos x="59" y="85"/>
                  </a:cxn>
                  <a:cxn ang="0">
                    <a:pos x="68" y="106"/>
                  </a:cxn>
                  <a:cxn ang="0">
                    <a:pos x="71" y="106"/>
                  </a:cxn>
                  <a:cxn ang="0">
                    <a:pos x="69" y="107"/>
                  </a:cxn>
                  <a:cxn ang="0">
                    <a:pos x="71" y="100"/>
                  </a:cxn>
                  <a:cxn ang="0">
                    <a:pos x="69" y="97"/>
                  </a:cxn>
                  <a:cxn ang="0">
                    <a:pos x="73" y="97"/>
                  </a:cxn>
                  <a:cxn ang="0">
                    <a:pos x="71" y="100"/>
                  </a:cxn>
                  <a:cxn ang="0">
                    <a:pos x="24" y="127"/>
                  </a:cxn>
                  <a:cxn ang="0">
                    <a:pos x="33" y="120"/>
                  </a:cxn>
                  <a:cxn ang="0">
                    <a:pos x="33" y="127"/>
                  </a:cxn>
                  <a:cxn ang="0">
                    <a:pos x="24" y="127"/>
                  </a:cxn>
                  <a:cxn ang="0">
                    <a:pos x="0" y="22"/>
                  </a:cxn>
                  <a:cxn ang="0">
                    <a:pos x="7" y="20"/>
                  </a:cxn>
                  <a:cxn ang="0">
                    <a:pos x="15" y="33"/>
                  </a:cxn>
                  <a:cxn ang="0">
                    <a:pos x="19" y="41"/>
                  </a:cxn>
                  <a:cxn ang="0">
                    <a:pos x="14" y="38"/>
                  </a:cxn>
                  <a:cxn ang="0">
                    <a:pos x="7" y="47"/>
                  </a:cxn>
                  <a:cxn ang="0">
                    <a:pos x="15" y="54"/>
                  </a:cxn>
                  <a:cxn ang="0">
                    <a:pos x="21" y="60"/>
                  </a:cxn>
                  <a:cxn ang="0">
                    <a:pos x="19" y="73"/>
                  </a:cxn>
                  <a:cxn ang="0">
                    <a:pos x="19" y="80"/>
                  </a:cxn>
                  <a:cxn ang="0">
                    <a:pos x="19" y="85"/>
                  </a:cxn>
                  <a:cxn ang="0">
                    <a:pos x="24" y="99"/>
                  </a:cxn>
                  <a:cxn ang="0">
                    <a:pos x="29" y="100"/>
                  </a:cxn>
                  <a:cxn ang="0">
                    <a:pos x="33" y="94"/>
                  </a:cxn>
                  <a:cxn ang="0">
                    <a:pos x="43" y="88"/>
                  </a:cxn>
                  <a:cxn ang="0">
                    <a:pos x="50" y="88"/>
                  </a:cxn>
                  <a:cxn ang="0">
                    <a:pos x="54" y="88"/>
                  </a:cxn>
                  <a:cxn ang="0">
                    <a:pos x="62" y="83"/>
                  </a:cxn>
                  <a:cxn ang="0">
                    <a:pos x="66" y="74"/>
                  </a:cxn>
                  <a:cxn ang="0">
                    <a:pos x="62" y="62"/>
                  </a:cxn>
                  <a:cxn ang="0">
                    <a:pos x="59" y="41"/>
                  </a:cxn>
                  <a:cxn ang="0">
                    <a:pos x="40" y="12"/>
                  </a:cxn>
                  <a:cxn ang="0">
                    <a:pos x="15" y="5"/>
                  </a:cxn>
                  <a:cxn ang="0">
                    <a:pos x="0" y="19"/>
                  </a:cxn>
                  <a:cxn ang="0">
                    <a:pos x="0" y="22"/>
                  </a:cxn>
                </a:cxnLst>
                <a:rect l="0" t="0" r="r" b="b"/>
                <a:pathLst>
                  <a:path w="73" h="127">
                    <a:moveTo>
                      <a:pt x="45" y="90"/>
                    </a:moveTo>
                    <a:lnTo>
                      <a:pt x="47" y="90"/>
                    </a:lnTo>
                    <a:lnTo>
                      <a:pt x="47" y="92"/>
                    </a:lnTo>
                    <a:lnTo>
                      <a:pt x="45" y="92"/>
                    </a:lnTo>
                    <a:lnTo>
                      <a:pt x="45" y="90"/>
                    </a:lnTo>
                    <a:lnTo>
                      <a:pt x="45" y="90"/>
                    </a:lnTo>
                    <a:lnTo>
                      <a:pt x="45" y="90"/>
                    </a:lnTo>
                    <a:lnTo>
                      <a:pt x="45" y="90"/>
                    </a:lnTo>
                    <a:close/>
                    <a:moveTo>
                      <a:pt x="21" y="104"/>
                    </a:moveTo>
                    <a:lnTo>
                      <a:pt x="19" y="100"/>
                    </a:lnTo>
                    <a:lnTo>
                      <a:pt x="19" y="100"/>
                    </a:lnTo>
                    <a:lnTo>
                      <a:pt x="21" y="100"/>
                    </a:lnTo>
                    <a:lnTo>
                      <a:pt x="22" y="97"/>
                    </a:lnTo>
                    <a:lnTo>
                      <a:pt x="22" y="100"/>
                    </a:lnTo>
                    <a:lnTo>
                      <a:pt x="22" y="102"/>
                    </a:lnTo>
                    <a:lnTo>
                      <a:pt x="22" y="102"/>
                    </a:lnTo>
                    <a:lnTo>
                      <a:pt x="21" y="104"/>
                    </a:lnTo>
                    <a:lnTo>
                      <a:pt x="21" y="104"/>
                    </a:lnTo>
                    <a:lnTo>
                      <a:pt x="21" y="104"/>
                    </a:lnTo>
                    <a:lnTo>
                      <a:pt x="21" y="104"/>
                    </a:lnTo>
                    <a:close/>
                    <a:moveTo>
                      <a:pt x="59" y="85"/>
                    </a:moveTo>
                    <a:lnTo>
                      <a:pt x="55" y="88"/>
                    </a:lnTo>
                    <a:lnTo>
                      <a:pt x="55" y="88"/>
                    </a:lnTo>
                    <a:lnTo>
                      <a:pt x="57" y="92"/>
                    </a:lnTo>
                    <a:lnTo>
                      <a:pt x="59" y="90"/>
                    </a:lnTo>
                    <a:lnTo>
                      <a:pt x="59" y="88"/>
                    </a:lnTo>
                    <a:lnTo>
                      <a:pt x="59" y="85"/>
                    </a:lnTo>
                    <a:lnTo>
                      <a:pt x="59" y="85"/>
                    </a:lnTo>
                    <a:lnTo>
                      <a:pt x="59" y="85"/>
                    </a:lnTo>
                    <a:lnTo>
                      <a:pt x="59" y="85"/>
                    </a:lnTo>
                    <a:lnTo>
                      <a:pt x="59" y="85"/>
                    </a:lnTo>
                    <a:close/>
                    <a:moveTo>
                      <a:pt x="69" y="107"/>
                    </a:moveTo>
                    <a:lnTo>
                      <a:pt x="68" y="106"/>
                    </a:lnTo>
                    <a:lnTo>
                      <a:pt x="69" y="104"/>
                    </a:lnTo>
                    <a:lnTo>
                      <a:pt x="73" y="104"/>
                    </a:lnTo>
                    <a:lnTo>
                      <a:pt x="71" y="106"/>
                    </a:lnTo>
                    <a:lnTo>
                      <a:pt x="69" y="107"/>
                    </a:lnTo>
                    <a:lnTo>
                      <a:pt x="69" y="107"/>
                    </a:lnTo>
                    <a:lnTo>
                      <a:pt x="69" y="107"/>
                    </a:lnTo>
                    <a:lnTo>
                      <a:pt x="69" y="107"/>
                    </a:lnTo>
                    <a:lnTo>
                      <a:pt x="69" y="107"/>
                    </a:lnTo>
                    <a:close/>
                    <a:moveTo>
                      <a:pt x="71" y="100"/>
                    </a:moveTo>
                    <a:lnTo>
                      <a:pt x="69" y="102"/>
                    </a:lnTo>
                    <a:lnTo>
                      <a:pt x="69" y="99"/>
                    </a:lnTo>
                    <a:lnTo>
                      <a:pt x="69" y="97"/>
                    </a:lnTo>
                    <a:lnTo>
                      <a:pt x="71" y="94"/>
                    </a:lnTo>
                    <a:lnTo>
                      <a:pt x="73" y="94"/>
                    </a:lnTo>
                    <a:lnTo>
                      <a:pt x="73" y="97"/>
                    </a:lnTo>
                    <a:lnTo>
                      <a:pt x="73" y="97"/>
                    </a:lnTo>
                    <a:lnTo>
                      <a:pt x="71" y="100"/>
                    </a:lnTo>
                    <a:lnTo>
                      <a:pt x="71" y="100"/>
                    </a:lnTo>
                    <a:lnTo>
                      <a:pt x="71" y="100"/>
                    </a:lnTo>
                    <a:lnTo>
                      <a:pt x="71" y="100"/>
                    </a:lnTo>
                    <a:close/>
                    <a:moveTo>
                      <a:pt x="24" y="127"/>
                    </a:moveTo>
                    <a:lnTo>
                      <a:pt x="24" y="125"/>
                    </a:lnTo>
                    <a:lnTo>
                      <a:pt x="26" y="121"/>
                    </a:lnTo>
                    <a:lnTo>
                      <a:pt x="33" y="120"/>
                    </a:lnTo>
                    <a:lnTo>
                      <a:pt x="36" y="121"/>
                    </a:lnTo>
                    <a:lnTo>
                      <a:pt x="36" y="121"/>
                    </a:lnTo>
                    <a:lnTo>
                      <a:pt x="33" y="127"/>
                    </a:lnTo>
                    <a:lnTo>
                      <a:pt x="29" y="127"/>
                    </a:lnTo>
                    <a:lnTo>
                      <a:pt x="24" y="127"/>
                    </a:lnTo>
                    <a:lnTo>
                      <a:pt x="24" y="127"/>
                    </a:lnTo>
                    <a:lnTo>
                      <a:pt x="24" y="127"/>
                    </a:lnTo>
                    <a:lnTo>
                      <a:pt x="24" y="127"/>
                    </a:lnTo>
                    <a:close/>
                    <a:moveTo>
                      <a:pt x="0" y="22"/>
                    </a:moveTo>
                    <a:lnTo>
                      <a:pt x="0" y="22"/>
                    </a:lnTo>
                    <a:lnTo>
                      <a:pt x="3" y="20"/>
                    </a:lnTo>
                    <a:lnTo>
                      <a:pt x="7" y="20"/>
                    </a:lnTo>
                    <a:lnTo>
                      <a:pt x="3" y="22"/>
                    </a:lnTo>
                    <a:lnTo>
                      <a:pt x="10" y="27"/>
                    </a:lnTo>
                    <a:lnTo>
                      <a:pt x="15" y="33"/>
                    </a:lnTo>
                    <a:lnTo>
                      <a:pt x="19" y="36"/>
                    </a:lnTo>
                    <a:lnTo>
                      <a:pt x="15" y="38"/>
                    </a:lnTo>
                    <a:lnTo>
                      <a:pt x="19" y="41"/>
                    </a:lnTo>
                    <a:lnTo>
                      <a:pt x="19" y="43"/>
                    </a:lnTo>
                    <a:lnTo>
                      <a:pt x="15" y="41"/>
                    </a:lnTo>
                    <a:lnTo>
                      <a:pt x="14" y="38"/>
                    </a:lnTo>
                    <a:lnTo>
                      <a:pt x="12" y="41"/>
                    </a:lnTo>
                    <a:lnTo>
                      <a:pt x="10" y="41"/>
                    </a:lnTo>
                    <a:lnTo>
                      <a:pt x="7" y="47"/>
                    </a:lnTo>
                    <a:lnTo>
                      <a:pt x="14" y="50"/>
                    </a:lnTo>
                    <a:lnTo>
                      <a:pt x="15" y="50"/>
                    </a:lnTo>
                    <a:lnTo>
                      <a:pt x="15" y="54"/>
                    </a:lnTo>
                    <a:lnTo>
                      <a:pt x="19" y="60"/>
                    </a:lnTo>
                    <a:lnTo>
                      <a:pt x="19" y="62"/>
                    </a:lnTo>
                    <a:lnTo>
                      <a:pt x="21" y="60"/>
                    </a:lnTo>
                    <a:lnTo>
                      <a:pt x="22" y="67"/>
                    </a:lnTo>
                    <a:lnTo>
                      <a:pt x="19" y="71"/>
                    </a:lnTo>
                    <a:lnTo>
                      <a:pt x="19" y="73"/>
                    </a:lnTo>
                    <a:lnTo>
                      <a:pt x="19" y="76"/>
                    </a:lnTo>
                    <a:lnTo>
                      <a:pt x="19" y="78"/>
                    </a:lnTo>
                    <a:lnTo>
                      <a:pt x="19" y="80"/>
                    </a:lnTo>
                    <a:lnTo>
                      <a:pt x="19" y="83"/>
                    </a:lnTo>
                    <a:lnTo>
                      <a:pt x="19" y="85"/>
                    </a:lnTo>
                    <a:lnTo>
                      <a:pt x="19" y="85"/>
                    </a:lnTo>
                    <a:lnTo>
                      <a:pt x="21" y="94"/>
                    </a:lnTo>
                    <a:lnTo>
                      <a:pt x="24" y="94"/>
                    </a:lnTo>
                    <a:lnTo>
                      <a:pt x="24" y="99"/>
                    </a:lnTo>
                    <a:lnTo>
                      <a:pt x="26" y="99"/>
                    </a:lnTo>
                    <a:lnTo>
                      <a:pt x="26" y="102"/>
                    </a:lnTo>
                    <a:lnTo>
                      <a:pt x="29" y="100"/>
                    </a:lnTo>
                    <a:lnTo>
                      <a:pt x="29" y="97"/>
                    </a:lnTo>
                    <a:lnTo>
                      <a:pt x="31" y="97"/>
                    </a:lnTo>
                    <a:lnTo>
                      <a:pt x="33" y="94"/>
                    </a:lnTo>
                    <a:lnTo>
                      <a:pt x="40" y="88"/>
                    </a:lnTo>
                    <a:lnTo>
                      <a:pt x="43" y="88"/>
                    </a:lnTo>
                    <a:lnTo>
                      <a:pt x="43" y="88"/>
                    </a:lnTo>
                    <a:lnTo>
                      <a:pt x="47" y="85"/>
                    </a:lnTo>
                    <a:lnTo>
                      <a:pt x="47" y="85"/>
                    </a:lnTo>
                    <a:lnTo>
                      <a:pt x="50" y="88"/>
                    </a:lnTo>
                    <a:lnTo>
                      <a:pt x="52" y="88"/>
                    </a:lnTo>
                    <a:lnTo>
                      <a:pt x="52" y="90"/>
                    </a:lnTo>
                    <a:lnTo>
                      <a:pt x="54" y="88"/>
                    </a:lnTo>
                    <a:lnTo>
                      <a:pt x="54" y="85"/>
                    </a:lnTo>
                    <a:lnTo>
                      <a:pt x="57" y="83"/>
                    </a:lnTo>
                    <a:lnTo>
                      <a:pt x="62" y="83"/>
                    </a:lnTo>
                    <a:lnTo>
                      <a:pt x="64" y="78"/>
                    </a:lnTo>
                    <a:lnTo>
                      <a:pt x="64" y="76"/>
                    </a:lnTo>
                    <a:lnTo>
                      <a:pt x="66" y="74"/>
                    </a:lnTo>
                    <a:lnTo>
                      <a:pt x="66" y="60"/>
                    </a:lnTo>
                    <a:lnTo>
                      <a:pt x="64" y="60"/>
                    </a:lnTo>
                    <a:lnTo>
                      <a:pt x="62" y="62"/>
                    </a:lnTo>
                    <a:lnTo>
                      <a:pt x="62" y="57"/>
                    </a:lnTo>
                    <a:lnTo>
                      <a:pt x="62" y="47"/>
                    </a:lnTo>
                    <a:lnTo>
                      <a:pt x="59" y="41"/>
                    </a:lnTo>
                    <a:lnTo>
                      <a:pt x="59" y="36"/>
                    </a:lnTo>
                    <a:lnTo>
                      <a:pt x="50" y="22"/>
                    </a:lnTo>
                    <a:lnTo>
                      <a:pt x="40" y="12"/>
                    </a:lnTo>
                    <a:lnTo>
                      <a:pt x="33" y="0"/>
                    </a:lnTo>
                    <a:lnTo>
                      <a:pt x="28" y="5"/>
                    </a:lnTo>
                    <a:lnTo>
                      <a:pt x="15" y="5"/>
                    </a:lnTo>
                    <a:lnTo>
                      <a:pt x="10" y="12"/>
                    </a:lnTo>
                    <a:lnTo>
                      <a:pt x="7" y="12"/>
                    </a:lnTo>
                    <a:lnTo>
                      <a:pt x="0" y="19"/>
                    </a:lnTo>
                    <a:lnTo>
                      <a:pt x="0" y="22"/>
                    </a:lnTo>
                    <a:lnTo>
                      <a:pt x="0" y="22"/>
                    </a:lnTo>
                    <a:lnTo>
                      <a:pt x="0" y="2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8" name="Freeform 181"/>
              <p:cNvSpPr>
                <a:spLocks/>
              </p:cNvSpPr>
              <p:nvPr/>
            </p:nvSpPr>
            <p:spPr bwMode="auto">
              <a:xfrm>
                <a:off x="7685088" y="2863851"/>
                <a:ext cx="131763" cy="223838"/>
              </a:xfrm>
              <a:custGeom>
                <a:avLst/>
                <a:gdLst/>
                <a:ahLst/>
                <a:cxnLst>
                  <a:cxn ang="0">
                    <a:pos x="0" y="79"/>
                  </a:cxn>
                  <a:cxn ang="0">
                    <a:pos x="7" y="70"/>
                  </a:cxn>
                  <a:cxn ang="0">
                    <a:pos x="12" y="65"/>
                  </a:cxn>
                  <a:cxn ang="0">
                    <a:pos x="19" y="58"/>
                  </a:cxn>
                  <a:cxn ang="0">
                    <a:pos x="22" y="46"/>
                  </a:cxn>
                  <a:cxn ang="0">
                    <a:pos x="22" y="37"/>
                  </a:cxn>
                  <a:cxn ang="0">
                    <a:pos x="29" y="40"/>
                  </a:cxn>
                  <a:cxn ang="0">
                    <a:pos x="35" y="42"/>
                  </a:cxn>
                  <a:cxn ang="0">
                    <a:pos x="41" y="42"/>
                  </a:cxn>
                  <a:cxn ang="0">
                    <a:pos x="52" y="42"/>
                  </a:cxn>
                  <a:cxn ang="0">
                    <a:pos x="55" y="37"/>
                  </a:cxn>
                  <a:cxn ang="0">
                    <a:pos x="48" y="28"/>
                  </a:cxn>
                  <a:cxn ang="0">
                    <a:pos x="54" y="28"/>
                  </a:cxn>
                  <a:cxn ang="0">
                    <a:pos x="61" y="18"/>
                  </a:cxn>
                  <a:cxn ang="0">
                    <a:pos x="68" y="14"/>
                  </a:cxn>
                  <a:cxn ang="0">
                    <a:pos x="68" y="9"/>
                  </a:cxn>
                  <a:cxn ang="0">
                    <a:pos x="68" y="0"/>
                  </a:cxn>
                  <a:cxn ang="0">
                    <a:pos x="73" y="4"/>
                  </a:cxn>
                  <a:cxn ang="0">
                    <a:pos x="73" y="9"/>
                  </a:cxn>
                  <a:cxn ang="0">
                    <a:pos x="83" y="14"/>
                  </a:cxn>
                  <a:cxn ang="0">
                    <a:pos x="76" y="21"/>
                  </a:cxn>
                  <a:cxn ang="0">
                    <a:pos x="76" y="25"/>
                  </a:cxn>
                  <a:cxn ang="0">
                    <a:pos x="73" y="37"/>
                  </a:cxn>
                  <a:cxn ang="0">
                    <a:pos x="76" y="49"/>
                  </a:cxn>
                  <a:cxn ang="0">
                    <a:pos x="78" y="56"/>
                  </a:cxn>
                  <a:cxn ang="0">
                    <a:pos x="76" y="61"/>
                  </a:cxn>
                  <a:cxn ang="0">
                    <a:pos x="68" y="72"/>
                  </a:cxn>
                  <a:cxn ang="0">
                    <a:pos x="64" y="77"/>
                  </a:cxn>
                  <a:cxn ang="0">
                    <a:pos x="57" y="79"/>
                  </a:cxn>
                  <a:cxn ang="0">
                    <a:pos x="50" y="86"/>
                  </a:cxn>
                  <a:cxn ang="0">
                    <a:pos x="52" y="92"/>
                  </a:cxn>
                  <a:cxn ang="0">
                    <a:pos x="52" y="99"/>
                  </a:cxn>
                  <a:cxn ang="0">
                    <a:pos x="59" y="105"/>
                  </a:cxn>
                  <a:cxn ang="0">
                    <a:pos x="73" y="115"/>
                  </a:cxn>
                  <a:cxn ang="0">
                    <a:pos x="55" y="120"/>
                  </a:cxn>
                  <a:cxn ang="0">
                    <a:pos x="43" y="127"/>
                  </a:cxn>
                  <a:cxn ang="0">
                    <a:pos x="36" y="136"/>
                  </a:cxn>
                  <a:cxn ang="0">
                    <a:pos x="31" y="132"/>
                  </a:cxn>
                  <a:cxn ang="0">
                    <a:pos x="29" y="139"/>
                  </a:cxn>
                  <a:cxn ang="0">
                    <a:pos x="22" y="141"/>
                  </a:cxn>
                  <a:cxn ang="0">
                    <a:pos x="24" y="132"/>
                  </a:cxn>
                  <a:cxn ang="0">
                    <a:pos x="17" y="134"/>
                  </a:cxn>
                  <a:cxn ang="0">
                    <a:pos x="17" y="129"/>
                  </a:cxn>
                  <a:cxn ang="0">
                    <a:pos x="21" y="119"/>
                  </a:cxn>
                  <a:cxn ang="0">
                    <a:pos x="28" y="115"/>
                  </a:cxn>
                  <a:cxn ang="0">
                    <a:pos x="19" y="117"/>
                  </a:cxn>
                  <a:cxn ang="0">
                    <a:pos x="17" y="106"/>
                  </a:cxn>
                  <a:cxn ang="0">
                    <a:pos x="19" y="96"/>
                  </a:cxn>
                  <a:cxn ang="0">
                    <a:pos x="22" y="92"/>
                  </a:cxn>
                  <a:cxn ang="0">
                    <a:pos x="17" y="96"/>
                  </a:cxn>
                  <a:cxn ang="0">
                    <a:pos x="12" y="92"/>
                  </a:cxn>
                  <a:cxn ang="0">
                    <a:pos x="7" y="92"/>
                  </a:cxn>
                  <a:cxn ang="0">
                    <a:pos x="3" y="89"/>
                  </a:cxn>
                  <a:cxn ang="0">
                    <a:pos x="0" y="89"/>
                  </a:cxn>
                  <a:cxn ang="0">
                    <a:pos x="0" y="89"/>
                  </a:cxn>
                </a:cxnLst>
                <a:rect l="0" t="0" r="r" b="b"/>
                <a:pathLst>
                  <a:path w="83" h="141">
                    <a:moveTo>
                      <a:pt x="0" y="89"/>
                    </a:moveTo>
                    <a:lnTo>
                      <a:pt x="0" y="79"/>
                    </a:lnTo>
                    <a:lnTo>
                      <a:pt x="7" y="75"/>
                    </a:lnTo>
                    <a:lnTo>
                      <a:pt x="7" y="70"/>
                    </a:lnTo>
                    <a:lnTo>
                      <a:pt x="7" y="68"/>
                    </a:lnTo>
                    <a:lnTo>
                      <a:pt x="12" y="65"/>
                    </a:lnTo>
                    <a:lnTo>
                      <a:pt x="15" y="59"/>
                    </a:lnTo>
                    <a:lnTo>
                      <a:pt x="19" y="58"/>
                    </a:lnTo>
                    <a:lnTo>
                      <a:pt x="21" y="49"/>
                    </a:lnTo>
                    <a:lnTo>
                      <a:pt x="22" y="46"/>
                    </a:lnTo>
                    <a:lnTo>
                      <a:pt x="22" y="44"/>
                    </a:lnTo>
                    <a:lnTo>
                      <a:pt x="22" y="37"/>
                    </a:lnTo>
                    <a:lnTo>
                      <a:pt x="26" y="35"/>
                    </a:lnTo>
                    <a:lnTo>
                      <a:pt x="29" y="40"/>
                    </a:lnTo>
                    <a:lnTo>
                      <a:pt x="31" y="40"/>
                    </a:lnTo>
                    <a:lnTo>
                      <a:pt x="35" y="42"/>
                    </a:lnTo>
                    <a:lnTo>
                      <a:pt x="36" y="42"/>
                    </a:lnTo>
                    <a:lnTo>
                      <a:pt x="41" y="42"/>
                    </a:lnTo>
                    <a:lnTo>
                      <a:pt x="48" y="42"/>
                    </a:lnTo>
                    <a:lnTo>
                      <a:pt x="52" y="42"/>
                    </a:lnTo>
                    <a:lnTo>
                      <a:pt x="55" y="40"/>
                    </a:lnTo>
                    <a:lnTo>
                      <a:pt x="55" y="37"/>
                    </a:lnTo>
                    <a:lnTo>
                      <a:pt x="50" y="32"/>
                    </a:lnTo>
                    <a:lnTo>
                      <a:pt x="48" y="28"/>
                    </a:lnTo>
                    <a:lnTo>
                      <a:pt x="50" y="28"/>
                    </a:lnTo>
                    <a:lnTo>
                      <a:pt x="54" y="28"/>
                    </a:lnTo>
                    <a:lnTo>
                      <a:pt x="61" y="21"/>
                    </a:lnTo>
                    <a:lnTo>
                      <a:pt x="61" y="18"/>
                    </a:lnTo>
                    <a:lnTo>
                      <a:pt x="64" y="14"/>
                    </a:lnTo>
                    <a:lnTo>
                      <a:pt x="68" y="14"/>
                    </a:lnTo>
                    <a:lnTo>
                      <a:pt x="68" y="12"/>
                    </a:lnTo>
                    <a:lnTo>
                      <a:pt x="68" y="9"/>
                    </a:lnTo>
                    <a:lnTo>
                      <a:pt x="68" y="4"/>
                    </a:lnTo>
                    <a:lnTo>
                      <a:pt x="68" y="0"/>
                    </a:lnTo>
                    <a:lnTo>
                      <a:pt x="71" y="0"/>
                    </a:lnTo>
                    <a:lnTo>
                      <a:pt x="73" y="4"/>
                    </a:lnTo>
                    <a:lnTo>
                      <a:pt x="73" y="6"/>
                    </a:lnTo>
                    <a:lnTo>
                      <a:pt x="73" y="9"/>
                    </a:lnTo>
                    <a:lnTo>
                      <a:pt x="80" y="9"/>
                    </a:lnTo>
                    <a:lnTo>
                      <a:pt x="83" y="14"/>
                    </a:lnTo>
                    <a:lnTo>
                      <a:pt x="83" y="14"/>
                    </a:lnTo>
                    <a:lnTo>
                      <a:pt x="76" y="21"/>
                    </a:lnTo>
                    <a:lnTo>
                      <a:pt x="76" y="19"/>
                    </a:lnTo>
                    <a:lnTo>
                      <a:pt x="76" y="25"/>
                    </a:lnTo>
                    <a:lnTo>
                      <a:pt x="73" y="32"/>
                    </a:lnTo>
                    <a:lnTo>
                      <a:pt x="73" y="37"/>
                    </a:lnTo>
                    <a:lnTo>
                      <a:pt x="76" y="40"/>
                    </a:lnTo>
                    <a:lnTo>
                      <a:pt x="76" y="49"/>
                    </a:lnTo>
                    <a:lnTo>
                      <a:pt x="80" y="52"/>
                    </a:lnTo>
                    <a:lnTo>
                      <a:pt x="78" y="56"/>
                    </a:lnTo>
                    <a:lnTo>
                      <a:pt x="73" y="59"/>
                    </a:lnTo>
                    <a:lnTo>
                      <a:pt x="76" y="61"/>
                    </a:lnTo>
                    <a:lnTo>
                      <a:pt x="64" y="70"/>
                    </a:lnTo>
                    <a:lnTo>
                      <a:pt x="68" y="72"/>
                    </a:lnTo>
                    <a:lnTo>
                      <a:pt x="64" y="75"/>
                    </a:lnTo>
                    <a:lnTo>
                      <a:pt x="64" y="77"/>
                    </a:lnTo>
                    <a:lnTo>
                      <a:pt x="61" y="77"/>
                    </a:lnTo>
                    <a:lnTo>
                      <a:pt x="57" y="79"/>
                    </a:lnTo>
                    <a:lnTo>
                      <a:pt x="55" y="82"/>
                    </a:lnTo>
                    <a:lnTo>
                      <a:pt x="50" y="86"/>
                    </a:lnTo>
                    <a:lnTo>
                      <a:pt x="50" y="91"/>
                    </a:lnTo>
                    <a:lnTo>
                      <a:pt x="52" y="92"/>
                    </a:lnTo>
                    <a:lnTo>
                      <a:pt x="50" y="96"/>
                    </a:lnTo>
                    <a:lnTo>
                      <a:pt x="52" y="99"/>
                    </a:lnTo>
                    <a:lnTo>
                      <a:pt x="57" y="101"/>
                    </a:lnTo>
                    <a:lnTo>
                      <a:pt x="59" y="105"/>
                    </a:lnTo>
                    <a:lnTo>
                      <a:pt x="73" y="112"/>
                    </a:lnTo>
                    <a:lnTo>
                      <a:pt x="73" y="115"/>
                    </a:lnTo>
                    <a:lnTo>
                      <a:pt x="68" y="120"/>
                    </a:lnTo>
                    <a:lnTo>
                      <a:pt x="55" y="120"/>
                    </a:lnTo>
                    <a:lnTo>
                      <a:pt x="48" y="127"/>
                    </a:lnTo>
                    <a:lnTo>
                      <a:pt x="43" y="127"/>
                    </a:lnTo>
                    <a:lnTo>
                      <a:pt x="36" y="132"/>
                    </a:lnTo>
                    <a:lnTo>
                      <a:pt x="36" y="136"/>
                    </a:lnTo>
                    <a:lnTo>
                      <a:pt x="31" y="132"/>
                    </a:lnTo>
                    <a:lnTo>
                      <a:pt x="31" y="132"/>
                    </a:lnTo>
                    <a:lnTo>
                      <a:pt x="31" y="134"/>
                    </a:lnTo>
                    <a:lnTo>
                      <a:pt x="29" y="139"/>
                    </a:lnTo>
                    <a:lnTo>
                      <a:pt x="26" y="138"/>
                    </a:lnTo>
                    <a:lnTo>
                      <a:pt x="22" y="141"/>
                    </a:lnTo>
                    <a:lnTo>
                      <a:pt x="21" y="138"/>
                    </a:lnTo>
                    <a:lnTo>
                      <a:pt x="24" y="132"/>
                    </a:lnTo>
                    <a:lnTo>
                      <a:pt x="21" y="132"/>
                    </a:lnTo>
                    <a:lnTo>
                      <a:pt x="17" y="134"/>
                    </a:lnTo>
                    <a:lnTo>
                      <a:pt x="15" y="132"/>
                    </a:lnTo>
                    <a:lnTo>
                      <a:pt x="17" y="129"/>
                    </a:lnTo>
                    <a:lnTo>
                      <a:pt x="17" y="124"/>
                    </a:lnTo>
                    <a:lnTo>
                      <a:pt x="21" y="119"/>
                    </a:lnTo>
                    <a:lnTo>
                      <a:pt x="24" y="119"/>
                    </a:lnTo>
                    <a:lnTo>
                      <a:pt x="28" y="115"/>
                    </a:lnTo>
                    <a:lnTo>
                      <a:pt x="24" y="117"/>
                    </a:lnTo>
                    <a:lnTo>
                      <a:pt x="19" y="117"/>
                    </a:lnTo>
                    <a:lnTo>
                      <a:pt x="17" y="115"/>
                    </a:lnTo>
                    <a:lnTo>
                      <a:pt x="17" y="106"/>
                    </a:lnTo>
                    <a:lnTo>
                      <a:pt x="21" y="99"/>
                    </a:lnTo>
                    <a:lnTo>
                      <a:pt x="19" y="96"/>
                    </a:lnTo>
                    <a:lnTo>
                      <a:pt x="21" y="96"/>
                    </a:lnTo>
                    <a:lnTo>
                      <a:pt x="22" y="92"/>
                    </a:lnTo>
                    <a:lnTo>
                      <a:pt x="19" y="92"/>
                    </a:lnTo>
                    <a:lnTo>
                      <a:pt x="17" y="96"/>
                    </a:lnTo>
                    <a:lnTo>
                      <a:pt x="12" y="96"/>
                    </a:lnTo>
                    <a:lnTo>
                      <a:pt x="12" y="92"/>
                    </a:lnTo>
                    <a:lnTo>
                      <a:pt x="7" y="91"/>
                    </a:lnTo>
                    <a:lnTo>
                      <a:pt x="7" y="92"/>
                    </a:lnTo>
                    <a:lnTo>
                      <a:pt x="3" y="96"/>
                    </a:lnTo>
                    <a:lnTo>
                      <a:pt x="3" y="89"/>
                    </a:lnTo>
                    <a:lnTo>
                      <a:pt x="3" y="91"/>
                    </a:lnTo>
                    <a:lnTo>
                      <a:pt x="0" y="89"/>
                    </a:lnTo>
                    <a:lnTo>
                      <a:pt x="0" y="89"/>
                    </a:lnTo>
                    <a:lnTo>
                      <a:pt x="0" y="8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9" name="Freeform 182"/>
              <p:cNvSpPr>
                <a:spLocks noEditPoints="1"/>
              </p:cNvSpPr>
              <p:nvPr/>
            </p:nvSpPr>
            <p:spPr bwMode="auto">
              <a:xfrm>
                <a:off x="7824788" y="4514851"/>
                <a:ext cx="84138" cy="22225"/>
              </a:xfrm>
              <a:custGeom>
                <a:avLst/>
                <a:gdLst/>
                <a:ahLst/>
                <a:cxnLst>
                  <a:cxn ang="0">
                    <a:pos x="0" y="11"/>
                  </a:cxn>
                  <a:cxn ang="0">
                    <a:pos x="4" y="14"/>
                  </a:cxn>
                  <a:cxn ang="0">
                    <a:pos x="7" y="12"/>
                  </a:cxn>
                  <a:cxn ang="0">
                    <a:pos x="9" y="12"/>
                  </a:cxn>
                  <a:cxn ang="0">
                    <a:pos x="9" y="9"/>
                  </a:cxn>
                  <a:cxn ang="0">
                    <a:pos x="7" y="9"/>
                  </a:cxn>
                  <a:cxn ang="0">
                    <a:pos x="4" y="11"/>
                  </a:cxn>
                  <a:cxn ang="0">
                    <a:pos x="0" y="11"/>
                  </a:cxn>
                  <a:cxn ang="0">
                    <a:pos x="0" y="11"/>
                  </a:cxn>
                  <a:cxn ang="0">
                    <a:pos x="0" y="11"/>
                  </a:cxn>
                  <a:cxn ang="0">
                    <a:pos x="0" y="11"/>
                  </a:cxn>
                  <a:cxn ang="0">
                    <a:pos x="14" y="7"/>
                  </a:cxn>
                  <a:cxn ang="0">
                    <a:pos x="18" y="11"/>
                  </a:cxn>
                  <a:cxn ang="0">
                    <a:pos x="21" y="14"/>
                  </a:cxn>
                  <a:cxn ang="0">
                    <a:pos x="21" y="14"/>
                  </a:cxn>
                  <a:cxn ang="0">
                    <a:pos x="25" y="11"/>
                  </a:cxn>
                  <a:cxn ang="0">
                    <a:pos x="28" y="11"/>
                  </a:cxn>
                  <a:cxn ang="0">
                    <a:pos x="30" y="11"/>
                  </a:cxn>
                  <a:cxn ang="0">
                    <a:pos x="39" y="11"/>
                  </a:cxn>
                  <a:cxn ang="0">
                    <a:pos x="42" y="7"/>
                  </a:cxn>
                  <a:cxn ang="0">
                    <a:pos x="47" y="5"/>
                  </a:cxn>
                  <a:cxn ang="0">
                    <a:pos x="49" y="5"/>
                  </a:cxn>
                  <a:cxn ang="0">
                    <a:pos x="51" y="5"/>
                  </a:cxn>
                  <a:cxn ang="0">
                    <a:pos x="53" y="2"/>
                  </a:cxn>
                  <a:cxn ang="0">
                    <a:pos x="53" y="0"/>
                  </a:cxn>
                  <a:cxn ang="0">
                    <a:pos x="53" y="0"/>
                  </a:cxn>
                  <a:cxn ang="0">
                    <a:pos x="46" y="0"/>
                  </a:cxn>
                  <a:cxn ang="0">
                    <a:pos x="40" y="0"/>
                  </a:cxn>
                  <a:cxn ang="0">
                    <a:pos x="39" y="2"/>
                  </a:cxn>
                  <a:cxn ang="0">
                    <a:pos x="35" y="2"/>
                  </a:cxn>
                  <a:cxn ang="0">
                    <a:pos x="30" y="2"/>
                  </a:cxn>
                  <a:cxn ang="0">
                    <a:pos x="23" y="2"/>
                  </a:cxn>
                  <a:cxn ang="0">
                    <a:pos x="18" y="5"/>
                  </a:cxn>
                  <a:cxn ang="0">
                    <a:pos x="14" y="7"/>
                  </a:cxn>
                  <a:cxn ang="0">
                    <a:pos x="14" y="7"/>
                  </a:cxn>
                  <a:cxn ang="0">
                    <a:pos x="14" y="7"/>
                  </a:cxn>
                </a:cxnLst>
                <a:rect l="0" t="0" r="r" b="b"/>
                <a:pathLst>
                  <a:path w="53" h="14">
                    <a:moveTo>
                      <a:pt x="0" y="11"/>
                    </a:moveTo>
                    <a:lnTo>
                      <a:pt x="4" y="14"/>
                    </a:lnTo>
                    <a:lnTo>
                      <a:pt x="7" y="12"/>
                    </a:lnTo>
                    <a:lnTo>
                      <a:pt x="9" y="12"/>
                    </a:lnTo>
                    <a:lnTo>
                      <a:pt x="9" y="9"/>
                    </a:lnTo>
                    <a:lnTo>
                      <a:pt x="7" y="9"/>
                    </a:lnTo>
                    <a:lnTo>
                      <a:pt x="4" y="11"/>
                    </a:lnTo>
                    <a:lnTo>
                      <a:pt x="0" y="11"/>
                    </a:lnTo>
                    <a:lnTo>
                      <a:pt x="0" y="11"/>
                    </a:lnTo>
                    <a:lnTo>
                      <a:pt x="0" y="11"/>
                    </a:lnTo>
                    <a:lnTo>
                      <a:pt x="0" y="11"/>
                    </a:lnTo>
                    <a:close/>
                    <a:moveTo>
                      <a:pt x="14" y="7"/>
                    </a:moveTo>
                    <a:lnTo>
                      <a:pt x="18" y="11"/>
                    </a:lnTo>
                    <a:lnTo>
                      <a:pt x="21" y="14"/>
                    </a:lnTo>
                    <a:lnTo>
                      <a:pt x="21" y="14"/>
                    </a:lnTo>
                    <a:lnTo>
                      <a:pt x="25" y="11"/>
                    </a:lnTo>
                    <a:lnTo>
                      <a:pt x="28" y="11"/>
                    </a:lnTo>
                    <a:lnTo>
                      <a:pt x="30" y="11"/>
                    </a:lnTo>
                    <a:lnTo>
                      <a:pt x="39" y="11"/>
                    </a:lnTo>
                    <a:lnTo>
                      <a:pt x="42" y="7"/>
                    </a:lnTo>
                    <a:lnTo>
                      <a:pt x="47" y="5"/>
                    </a:lnTo>
                    <a:lnTo>
                      <a:pt x="49" y="5"/>
                    </a:lnTo>
                    <a:lnTo>
                      <a:pt x="51" y="5"/>
                    </a:lnTo>
                    <a:lnTo>
                      <a:pt x="53" y="2"/>
                    </a:lnTo>
                    <a:lnTo>
                      <a:pt x="53" y="0"/>
                    </a:lnTo>
                    <a:lnTo>
                      <a:pt x="53" y="0"/>
                    </a:lnTo>
                    <a:lnTo>
                      <a:pt x="46" y="0"/>
                    </a:lnTo>
                    <a:lnTo>
                      <a:pt x="40" y="0"/>
                    </a:lnTo>
                    <a:lnTo>
                      <a:pt x="39" y="2"/>
                    </a:lnTo>
                    <a:lnTo>
                      <a:pt x="35" y="2"/>
                    </a:lnTo>
                    <a:lnTo>
                      <a:pt x="30" y="2"/>
                    </a:lnTo>
                    <a:lnTo>
                      <a:pt x="23" y="2"/>
                    </a:lnTo>
                    <a:lnTo>
                      <a:pt x="18" y="5"/>
                    </a:lnTo>
                    <a:lnTo>
                      <a:pt x="14" y="7"/>
                    </a:lnTo>
                    <a:lnTo>
                      <a:pt x="14" y="7"/>
                    </a:lnTo>
                    <a:lnTo>
                      <a:pt x="14"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0" name="Freeform 183"/>
              <p:cNvSpPr>
                <a:spLocks noEditPoints="1"/>
              </p:cNvSpPr>
              <p:nvPr/>
            </p:nvSpPr>
            <p:spPr bwMode="auto">
              <a:xfrm>
                <a:off x="7561263" y="4125913"/>
                <a:ext cx="31750" cy="25400"/>
              </a:xfrm>
              <a:custGeom>
                <a:avLst/>
                <a:gdLst/>
                <a:ahLst/>
                <a:cxnLst>
                  <a:cxn ang="0">
                    <a:pos x="0" y="7"/>
                  </a:cxn>
                  <a:cxn ang="0">
                    <a:pos x="5" y="10"/>
                  </a:cxn>
                  <a:cxn ang="0">
                    <a:pos x="5" y="10"/>
                  </a:cxn>
                  <a:cxn ang="0">
                    <a:pos x="8" y="14"/>
                  </a:cxn>
                  <a:cxn ang="0">
                    <a:pos x="12" y="16"/>
                  </a:cxn>
                  <a:cxn ang="0">
                    <a:pos x="14" y="16"/>
                  </a:cxn>
                  <a:cxn ang="0">
                    <a:pos x="12" y="7"/>
                  </a:cxn>
                  <a:cxn ang="0">
                    <a:pos x="14" y="5"/>
                  </a:cxn>
                  <a:cxn ang="0">
                    <a:pos x="15" y="5"/>
                  </a:cxn>
                  <a:cxn ang="0">
                    <a:pos x="15" y="5"/>
                  </a:cxn>
                  <a:cxn ang="0">
                    <a:pos x="15" y="0"/>
                  </a:cxn>
                  <a:cxn ang="0">
                    <a:pos x="12" y="2"/>
                  </a:cxn>
                  <a:cxn ang="0">
                    <a:pos x="7" y="5"/>
                  </a:cxn>
                  <a:cxn ang="0">
                    <a:pos x="1" y="7"/>
                  </a:cxn>
                  <a:cxn ang="0">
                    <a:pos x="0" y="7"/>
                  </a:cxn>
                  <a:cxn ang="0">
                    <a:pos x="0" y="7"/>
                  </a:cxn>
                  <a:cxn ang="0">
                    <a:pos x="0" y="7"/>
                  </a:cxn>
                  <a:cxn ang="0">
                    <a:pos x="0" y="7"/>
                  </a:cxn>
                  <a:cxn ang="0">
                    <a:pos x="15" y="7"/>
                  </a:cxn>
                  <a:cxn ang="0">
                    <a:pos x="17" y="10"/>
                  </a:cxn>
                  <a:cxn ang="0">
                    <a:pos x="17" y="12"/>
                  </a:cxn>
                  <a:cxn ang="0">
                    <a:pos x="19" y="14"/>
                  </a:cxn>
                  <a:cxn ang="0">
                    <a:pos x="20" y="10"/>
                  </a:cxn>
                  <a:cxn ang="0">
                    <a:pos x="19" y="7"/>
                  </a:cxn>
                  <a:cxn ang="0">
                    <a:pos x="19" y="5"/>
                  </a:cxn>
                  <a:cxn ang="0">
                    <a:pos x="17" y="5"/>
                  </a:cxn>
                  <a:cxn ang="0">
                    <a:pos x="15" y="7"/>
                  </a:cxn>
                  <a:cxn ang="0">
                    <a:pos x="15" y="7"/>
                  </a:cxn>
                  <a:cxn ang="0">
                    <a:pos x="15" y="7"/>
                  </a:cxn>
                </a:cxnLst>
                <a:rect l="0" t="0" r="r" b="b"/>
                <a:pathLst>
                  <a:path w="20" h="16">
                    <a:moveTo>
                      <a:pt x="0" y="7"/>
                    </a:moveTo>
                    <a:lnTo>
                      <a:pt x="5" y="10"/>
                    </a:lnTo>
                    <a:lnTo>
                      <a:pt x="5" y="10"/>
                    </a:lnTo>
                    <a:lnTo>
                      <a:pt x="8" y="14"/>
                    </a:lnTo>
                    <a:lnTo>
                      <a:pt x="12" y="16"/>
                    </a:lnTo>
                    <a:lnTo>
                      <a:pt x="14" y="16"/>
                    </a:lnTo>
                    <a:lnTo>
                      <a:pt x="12" y="7"/>
                    </a:lnTo>
                    <a:lnTo>
                      <a:pt x="14" y="5"/>
                    </a:lnTo>
                    <a:lnTo>
                      <a:pt x="15" y="5"/>
                    </a:lnTo>
                    <a:lnTo>
                      <a:pt x="15" y="5"/>
                    </a:lnTo>
                    <a:lnTo>
                      <a:pt x="15" y="0"/>
                    </a:lnTo>
                    <a:lnTo>
                      <a:pt x="12" y="2"/>
                    </a:lnTo>
                    <a:lnTo>
                      <a:pt x="7" y="5"/>
                    </a:lnTo>
                    <a:lnTo>
                      <a:pt x="1" y="7"/>
                    </a:lnTo>
                    <a:lnTo>
                      <a:pt x="0" y="7"/>
                    </a:lnTo>
                    <a:lnTo>
                      <a:pt x="0" y="7"/>
                    </a:lnTo>
                    <a:lnTo>
                      <a:pt x="0" y="7"/>
                    </a:lnTo>
                    <a:lnTo>
                      <a:pt x="0" y="7"/>
                    </a:lnTo>
                    <a:close/>
                    <a:moveTo>
                      <a:pt x="15" y="7"/>
                    </a:moveTo>
                    <a:lnTo>
                      <a:pt x="17" y="10"/>
                    </a:lnTo>
                    <a:lnTo>
                      <a:pt x="17" y="12"/>
                    </a:lnTo>
                    <a:lnTo>
                      <a:pt x="19" y="14"/>
                    </a:lnTo>
                    <a:lnTo>
                      <a:pt x="20" y="10"/>
                    </a:lnTo>
                    <a:lnTo>
                      <a:pt x="19" y="7"/>
                    </a:lnTo>
                    <a:lnTo>
                      <a:pt x="19" y="5"/>
                    </a:lnTo>
                    <a:lnTo>
                      <a:pt x="17" y="5"/>
                    </a:lnTo>
                    <a:lnTo>
                      <a:pt x="15" y="7"/>
                    </a:lnTo>
                    <a:lnTo>
                      <a:pt x="15" y="7"/>
                    </a:lnTo>
                    <a:lnTo>
                      <a:pt x="15"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1" name="Freeform 184"/>
              <p:cNvSpPr>
                <a:spLocks/>
              </p:cNvSpPr>
              <p:nvPr/>
            </p:nvSpPr>
            <p:spPr bwMode="auto">
              <a:xfrm>
                <a:off x="7229475" y="3856038"/>
                <a:ext cx="146050" cy="115888"/>
              </a:xfrm>
              <a:custGeom>
                <a:avLst/>
                <a:gdLst/>
                <a:ahLst/>
                <a:cxnLst>
                  <a:cxn ang="0">
                    <a:pos x="44" y="71"/>
                  </a:cxn>
                  <a:cxn ang="0">
                    <a:pos x="50" y="64"/>
                  </a:cxn>
                  <a:cxn ang="0">
                    <a:pos x="56" y="66"/>
                  </a:cxn>
                  <a:cxn ang="0">
                    <a:pos x="66" y="66"/>
                  </a:cxn>
                  <a:cxn ang="0">
                    <a:pos x="75" y="67"/>
                  </a:cxn>
                  <a:cxn ang="0">
                    <a:pos x="71" y="62"/>
                  </a:cxn>
                  <a:cxn ang="0">
                    <a:pos x="66" y="59"/>
                  </a:cxn>
                  <a:cxn ang="0">
                    <a:pos x="70" y="50"/>
                  </a:cxn>
                  <a:cxn ang="0">
                    <a:pos x="77" y="47"/>
                  </a:cxn>
                  <a:cxn ang="0">
                    <a:pos x="85" y="41"/>
                  </a:cxn>
                  <a:cxn ang="0">
                    <a:pos x="90" y="40"/>
                  </a:cxn>
                  <a:cxn ang="0">
                    <a:pos x="92" y="31"/>
                  </a:cxn>
                  <a:cxn ang="0">
                    <a:pos x="92" y="22"/>
                  </a:cxn>
                  <a:cxn ang="0">
                    <a:pos x="89" y="10"/>
                  </a:cxn>
                  <a:cxn ang="0">
                    <a:pos x="83" y="5"/>
                  </a:cxn>
                  <a:cxn ang="0">
                    <a:pos x="77" y="1"/>
                  </a:cxn>
                  <a:cxn ang="0">
                    <a:pos x="75" y="0"/>
                  </a:cxn>
                  <a:cxn ang="0">
                    <a:pos x="66" y="1"/>
                  </a:cxn>
                  <a:cxn ang="0">
                    <a:pos x="66" y="8"/>
                  </a:cxn>
                  <a:cxn ang="0">
                    <a:pos x="70" y="15"/>
                  </a:cxn>
                  <a:cxn ang="0">
                    <a:pos x="61" y="8"/>
                  </a:cxn>
                  <a:cxn ang="0">
                    <a:pos x="52" y="5"/>
                  </a:cxn>
                  <a:cxn ang="0">
                    <a:pos x="47" y="5"/>
                  </a:cxn>
                  <a:cxn ang="0">
                    <a:pos x="38" y="1"/>
                  </a:cxn>
                  <a:cxn ang="0">
                    <a:pos x="31" y="1"/>
                  </a:cxn>
                  <a:cxn ang="0">
                    <a:pos x="24" y="1"/>
                  </a:cxn>
                  <a:cxn ang="0">
                    <a:pos x="12" y="5"/>
                  </a:cxn>
                  <a:cxn ang="0">
                    <a:pos x="5" y="8"/>
                  </a:cxn>
                  <a:cxn ang="0">
                    <a:pos x="0" y="17"/>
                  </a:cxn>
                  <a:cxn ang="0">
                    <a:pos x="2" y="31"/>
                  </a:cxn>
                  <a:cxn ang="0">
                    <a:pos x="7" y="36"/>
                  </a:cxn>
                  <a:cxn ang="0">
                    <a:pos x="5" y="43"/>
                  </a:cxn>
                  <a:cxn ang="0">
                    <a:pos x="9" y="47"/>
                  </a:cxn>
                  <a:cxn ang="0">
                    <a:pos x="11" y="52"/>
                  </a:cxn>
                  <a:cxn ang="0">
                    <a:pos x="14" y="59"/>
                  </a:cxn>
                  <a:cxn ang="0">
                    <a:pos x="17" y="59"/>
                  </a:cxn>
                  <a:cxn ang="0">
                    <a:pos x="17" y="64"/>
                  </a:cxn>
                  <a:cxn ang="0">
                    <a:pos x="19" y="67"/>
                  </a:cxn>
                  <a:cxn ang="0">
                    <a:pos x="23" y="64"/>
                  </a:cxn>
                  <a:cxn ang="0">
                    <a:pos x="24" y="62"/>
                  </a:cxn>
                  <a:cxn ang="0">
                    <a:pos x="28" y="66"/>
                  </a:cxn>
                  <a:cxn ang="0">
                    <a:pos x="24" y="71"/>
                  </a:cxn>
                  <a:cxn ang="0">
                    <a:pos x="28" y="73"/>
                  </a:cxn>
                  <a:cxn ang="0">
                    <a:pos x="30" y="71"/>
                  </a:cxn>
                  <a:cxn ang="0">
                    <a:pos x="33" y="73"/>
                  </a:cxn>
                  <a:cxn ang="0">
                    <a:pos x="37" y="73"/>
                  </a:cxn>
                  <a:cxn ang="0">
                    <a:pos x="40" y="73"/>
                  </a:cxn>
                </a:cxnLst>
                <a:rect l="0" t="0" r="r" b="b"/>
                <a:pathLst>
                  <a:path w="92" h="73">
                    <a:moveTo>
                      <a:pt x="40" y="73"/>
                    </a:moveTo>
                    <a:lnTo>
                      <a:pt x="44" y="71"/>
                    </a:lnTo>
                    <a:lnTo>
                      <a:pt x="49" y="69"/>
                    </a:lnTo>
                    <a:lnTo>
                      <a:pt x="50" y="64"/>
                    </a:lnTo>
                    <a:lnTo>
                      <a:pt x="52" y="64"/>
                    </a:lnTo>
                    <a:lnTo>
                      <a:pt x="56" y="66"/>
                    </a:lnTo>
                    <a:lnTo>
                      <a:pt x="64" y="64"/>
                    </a:lnTo>
                    <a:lnTo>
                      <a:pt x="66" y="66"/>
                    </a:lnTo>
                    <a:lnTo>
                      <a:pt x="70" y="69"/>
                    </a:lnTo>
                    <a:lnTo>
                      <a:pt x="75" y="67"/>
                    </a:lnTo>
                    <a:lnTo>
                      <a:pt x="71" y="64"/>
                    </a:lnTo>
                    <a:lnTo>
                      <a:pt x="71" y="62"/>
                    </a:lnTo>
                    <a:lnTo>
                      <a:pt x="70" y="59"/>
                    </a:lnTo>
                    <a:lnTo>
                      <a:pt x="66" y="59"/>
                    </a:lnTo>
                    <a:lnTo>
                      <a:pt x="66" y="52"/>
                    </a:lnTo>
                    <a:lnTo>
                      <a:pt x="70" y="50"/>
                    </a:lnTo>
                    <a:lnTo>
                      <a:pt x="75" y="50"/>
                    </a:lnTo>
                    <a:lnTo>
                      <a:pt x="77" y="47"/>
                    </a:lnTo>
                    <a:lnTo>
                      <a:pt x="83" y="43"/>
                    </a:lnTo>
                    <a:lnTo>
                      <a:pt x="85" y="41"/>
                    </a:lnTo>
                    <a:lnTo>
                      <a:pt x="87" y="40"/>
                    </a:lnTo>
                    <a:lnTo>
                      <a:pt x="90" y="40"/>
                    </a:lnTo>
                    <a:lnTo>
                      <a:pt x="92" y="34"/>
                    </a:lnTo>
                    <a:lnTo>
                      <a:pt x="92" y="31"/>
                    </a:lnTo>
                    <a:lnTo>
                      <a:pt x="92" y="26"/>
                    </a:lnTo>
                    <a:lnTo>
                      <a:pt x="92" y="22"/>
                    </a:lnTo>
                    <a:lnTo>
                      <a:pt x="92" y="19"/>
                    </a:lnTo>
                    <a:lnTo>
                      <a:pt x="89" y="10"/>
                    </a:lnTo>
                    <a:lnTo>
                      <a:pt x="85" y="8"/>
                    </a:lnTo>
                    <a:lnTo>
                      <a:pt x="83" y="5"/>
                    </a:lnTo>
                    <a:lnTo>
                      <a:pt x="83" y="5"/>
                    </a:lnTo>
                    <a:lnTo>
                      <a:pt x="77" y="1"/>
                    </a:lnTo>
                    <a:lnTo>
                      <a:pt x="75" y="1"/>
                    </a:lnTo>
                    <a:lnTo>
                      <a:pt x="75" y="0"/>
                    </a:lnTo>
                    <a:lnTo>
                      <a:pt x="66" y="1"/>
                    </a:lnTo>
                    <a:lnTo>
                      <a:pt x="66" y="1"/>
                    </a:lnTo>
                    <a:lnTo>
                      <a:pt x="70" y="7"/>
                    </a:lnTo>
                    <a:lnTo>
                      <a:pt x="66" y="8"/>
                    </a:lnTo>
                    <a:lnTo>
                      <a:pt x="70" y="12"/>
                    </a:lnTo>
                    <a:lnTo>
                      <a:pt x="70" y="15"/>
                    </a:lnTo>
                    <a:lnTo>
                      <a:pt x="64" y="13"/>
                    </a:lnTo>
                    <a:lnTo>
                      <a:pt x="61" y="8"/>
                    </a:lnTo>
                    <a:lnTo>
                      <a:pt x="56" y="7"/>
                    </a:lnTo>
                    <a:lnTo>
                      <a:pt x="52" y="5"/>
                    </a:lnTo>
                    <a:lnTo>
                      <a:pt x="49" y="1"/>
                    </a:lnTo>
                    <a:lnTo>
                      <a:pt x="47" y="5"/>
                    </a:lnTo>
                    <a:lnTo>
                      <a:pt x="44" y="1"/>
                    </a:lnTo>
                    <a:lnTo>
                      <a:pt x="38" y="1"/>
                    </a:lnTo>
                    <a:lnTo>
                      <a:pt x="37" y="1"/>
                    </a:lnTo>
                    <a:lnTo>
                      <a:pt x="31" y="1"/>
                    </a:lnTo>
                    <a:lnTo>
                      <a:pt x="28" y="1"/>
                    </a:lnTo>
                    <a:lnTo>
                      <a:pt x="24" y="1"/>
                    </a:lnTo>
                    <a:lnTo>
                      <a:pt x="19" y="1"/>
                    </a:lnTo>
                    <a:lnTo>
                      <a:pt x="12" y="5"/>
                    </a:lnTo>
                    <a:lnTo>
                      <a:pt x="9" y="5"/>
                    </a:lnTo>
                    <a:lnTo>
                      <a:pt x="5" y="8"/>
                    </a:lnTo>
                    <a:lnTo>
                      <a:pt x="4" y="13"/>
                    </a:lnTo>
                    <a:lnTo>
                      <a:pt x="0" y="17"/>
                    </a:lnTo>
                    <a:lnTo>
                      <a:pt x="0" y="24"/>
                    </a:lnTo>
                    <a:lnTo>
                      <a:pt x="2" y="31"/>
                    </a:lnTo>
                    <a:lnTo>
                      <a:pt x="5" y="33"/>
                    </a:lnTo>
                    <a:lnTo>
                      <a:pt x="7" y="36"/>
                    </a:lnTo>
                    <a:lnTo>
                      <a:pt x="7" y="41"/>
                    </a:lnTo>
                    <a:lnTo>
                      <a:pt x="5" y="43"/>
                    </a:lnTo>
                    <a:lnTo>
                      <a:pt x="5" y="43"/>
                    </a:lnTo>
                    <a:lnTo>
                      <a:pt x="9" y="47"/>
                    </a:lnTo>
                    <a:lnTo>
                      <a:pt x="9" y="50"/>
                    </a:lnTo>
                    <a:lnTo>
                      <a:pt x="11" y="52"/>
                    </a:lnTo>
                    <a:lnTo>
                      <a:pt x="11" y="55"/>
                    </a:lnTo>
                    <a:lnTo>
                      <a:pt x="14" y="59"/>
                    </a:lnTo>
                    <a:lnTo>
                      <a:pt x="14" y="59"/>
                    </a:lnTo>
                    <a:lnTo>
                      <a:pt x="17" y="59"/>
                    </a:lnTo>
                    <a:lnTo>
                      <a:pt x="14" y="62"/>
                    </a:lnTo>
                    <a:lnTo>
                      <a:pt x="17" y="64"/>
                    </a:lnTo>
                    <a:lnTo>
                      <a:pt x="17" y="67"/>
                    </a:lnTo>
                    <a:lnTo>
                      <a:pt x="19" y="67"/>
                    </a:lnTo>
                    <a:lnTo>
                      <a:pt x="23" y="67"/>
                    </a:lnTo>
                    <a:lnTo>
                      <a:pt x="23" y="64"/>
                    </a:lnTo>
                    <a:lnTo>
                      <a:pt x="24" y="62"/>
                    </a:lnTo>
                    <a:lnTo>
                      <a:pt x="24" y="62"/>
                    </a:lnTo>
                    <a:lnTo>
                      <a:pt x="24" y="64"/>
                    </a:lnTo>
                    <a:lnTo>
                      <a:pt x="28" y="66"/>
                    </a:lnTo>
                    <a:lnTo>
                      <a:pt x="28" y="69"/>
                    </a:lnTo>
                    <a:lnTo>
                      <a:pt x="24" y="71"/>
                    </a:lnTo>
                    <a:lnTo>
                      <a:pt x="24" y="73"/>
                    </a:lnTo>
                    <a:lnTo>
                      <a:pt x="28" y="73"/>
                    </a:lnTo>
                    <a:lnTo>
                      <a:pt x="28" y="73"/>
                    </a:lnTo>
                    <a:lnTo>
                      <a:pt x="30" y="71"/>
                    </a:lnTo>
                    <a:lnTo>
                      <a:pt x="31" y="71"/>
                    </a:lnTo>
                    <a:lnTo>
                      <a:pt x="33" y="73"/>
                    </a:lnTo>
                    <a:lnTo>
                      <a:pt x="37" y="73"/>
                    </a:lnTo>
                    <a:lnTo>
                      <a:pt x="37" y="73"/>
                    </a:lnTo>
                    <a:lnTo>
                      <a:pt x="40" y="73"/>
                    </a:lnTo>
                    <a:lnTo>
                      <a:pt x="40" y="73"/>
                    </a:lnTo>
                    <a:lnTo>
                      <a:pt x="40" y="73"/>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2" name="Freeform 185"/>
              <p:cNvSpPr>
                <a:spLocks/>
              </p:cNvSpPr>
              <p:nvPr/>
            </p:nvSpPr>
            <p:spPr bwMode="auto">
              <a:xfrm>
                <a:off x="7151688" y="3624263"/>
                <a:ext cx="215900" cy="255588"/>
              </a:xfrm>
              <a:custGeom>
                <a:avLst/>
                <a:gdLst/>
                <a:ahLst/>
                <a:cxnLst>
                  <a:cxn ang="0">
                    <a:pos x="20" y="22"/>
                  </a:cxn>
                  <a:cxn ang="0">
                    <a:pos x="25" y="17"/>
                  </a:cxn>
                  <a:cxn ang="0">
                    <a:pos x="23" y="5"/>
                  </a:cxn>
                  <a:cxn ang="0">
                    <a:pos x="32" y="0"/>
                  </a:cxn>
                  <a:cxn ang="0">
                    <a:pos x="42" y="8"/>
                  </a:cxn>
                  <a:cxn ang="0">
                    <a:pos x="44" y="17"/>
                  </a:cxn>
                  <a:cxn ang="0">
                    <a:pos x="61" y="27"/>
                  </a:cxn>
                  <a:cxn ang="0">
                    <a:pos x="73" y="27"/>
                  </a:cxn>
                  <a:cxn ang="0">
                    <a:pos x="80" y="36"/>
                  </a:cxn>
                  <a:cxn ang="0">
                    <a:pos x="86" y="41"/>
                  </a:cxn>
                  <a:cxn ang="0">
                    <a:pos x="79" y="52"/>
                  </a:cxn>
                  <a:cxn ang="0">
                    <a:pos x="68" y="53"/>
                  </a:cxn>
                  <a:cxn ang="0">
                    <a:pos x="70" y="64"/>
                  </a:cxn>
                  <a:cxn ang="0">
                    <a:pos x="77" y="69"/>
                  </a:cxn>
                  <a:cxn ang="0">
                    <a:pos x="89" y="74"/>
                  </a:cxn>
                  <a:cxn ang="0">
                    <a:pos x="101" y="86"/>
                  </a:cxn>
                  <a:cxn ang="0">
                    <a:pos x="108" y="99"/>
                  </a:cxn>
                  <a:cxn ang="0">
                    <a:pos x="117" y="104"/>
                  </a:cxn>
                  <a:cxn ang="0">
                    <a:pos x="122" y="109"/>
                  </a:cxn>
                  <a:cxn ang="0">
                    <a:pos x="124" y="114"/>
                  </a:cxn>
                  <a:cxn ang="0">
                    <a:pos x="132" y="118"/>
                  </a:cxn>
                  <a:cxn ang="0">
                    <a:pos x="134" y="121"/>
                  </a:cxn>
                  <a:cxn ang="0">
                    <a:pos x="136" y="128"/>
                  </a:cxn>
                  <a:cxn ang="0">
                    <a:pos x="132" y="140"/>
                  </a:cxn>
                  <a:cxn ang="0">
                    <a:pos x="131" y="149"/>
                  </a:cxn>
                  <a:cxn ang="0">
                    <a:pos x="122" y="146"/>
                  </a:cxn>
                  <a:cxn ang="0">
                    <a:pos x="113" y="147"/>
                  </a:cxn>
                  <a:cxn ang="0">
                    <a:pos x="117" y="156"/>
                  </a:cxn>
                  <a:cxn ang="0">
                    <a:pos x="108" y="154"/>
                  </a:cxn>
                  <a:cxn ang="0">
                    <a:pos x="96" y="147"/>
                  </a:cxn>
                  <a:cxn ang="0">
                    <a:pos x="101" y="137"/>
                  </a:cxn>
                  <a:cxn ang="0">
                    <a:pos x="101" y="130"/>
                  </a:cxn>
                  <a:cxn ang="0">
                    <a:pos x="99" y="121"/>
                  </a:cxn>
                  <a:cxn ang="0">
                    <a:pos x="91" y="118"/>
                  </a:cxn>
                  <a:cxn ang="0">
                    <a:pos x="87" y="109"/>
                  </a:cxn>
                  <a:cxn ang="0">
                    <a:pos x="87" y="99"/>
                  </a:cxn>
                  <a:cxn ang="0">
                    <a:pos x="80" y="88"/>
                  </a:cxn>
                  <a:cxn ang="0">
                    <a:pos x="65" y="76"/>
                  </a:cxn>
                  <a:cxn ang="0">
                    <a:pos x="49" y="86"/>
                  </a:cxn>
                  <a:cxn ang="0">
                    <a:pos x="35" y="78"/>
                  </a:cxn>
                  <a:cxn ang="0">
                    <a:pos x="27" y="86"/>
                  </a:cxn>
                  <a:cxn ang="0">
                    <a:pos x="21" y="74"/>
                  </a:cxn>
                  <a:cxn ang="0">
                    <a:pos x="21" y="64"/>
                  </a:cxn>
                  <a:cxn ang="0">
                    <a:pos x="21" y="55"/>
                  </a:cxn>
                  <a:cxn ang="0">
                    <a:pos x="9" y="55"/>
                  </a:cxn>
                  <a:cxn ang="0">
                    <a:pos x="9" y="43"/>
                  </a:cxn>
                  <a:cxn ang="0">
                    <a:pos x="0" y="36"/>
                  </a:cxn>
                  <a:cxn ang="0">
                    <a:pos x="6" y="31"/>
                  </a:cxn>
                  <a:cxn ang="0">
                    <a:pos x="6" y="22"/>
                  </a:cxn>
                  <a:cxn ang="0">
                    <a:pos x="14" y="17"/>
                  </a:cxn>
                </a:cxnLst>
                <a:rect l="0" t="0" r="r" b="b"/>
                <a:pathLst>
                  <a:path w="136" h="161">
                    <a:moveTo>
                      <a:pt x="14" y="17"/>
                    </a:moveTo>
                    <a:lnTo>
                      <a:pt x="18" y="19"/>
                    </a:lnTo>
                    <a:lnTo>
                      <a:pt x="20" y="22"/>
                    </a:lnTo>
                    <a:lnTo>
                      <a:pt x="23" y="20"/>
                    </a:lnTo>
                    <a:lnTo>
                      <a:pt x="27" y="22"/>
                    </a:lnTo>
                    <a:lnTo>
                      <a:pt x="25" y="17"/>
                    </a:lnTo>
                    <a:lnTo>
                      <a:pt x="25" y="13"/>
                    </a:lnTo>
                    <a:lnTo>
                      <a:pt x="25" y="8"/>
                    </a:lnTo>
                    <a:lnTo>
                      <a:pt x="23" y="5"/>
                    </a:lnTo>
                    <a:lnTo>
                      <a:pt x="27" y="1"/>
                    </a:lnTo>
                    <a:lnTo>
                      <a:pt x="27" y="0"/>
                    </a:lnTo>
                    <a:lnTo>
                      <a:pt x="32" y="0"/>
                    </a:lnTo>
                    <a:lnTo>
                      <a:pt x="33" y="1"/>
                    </a:lnTo>
                    <a:lnTo>
                      <a:pt x="39" y="5"/>
                    </a:lnTo>
                    <a:lnTo>
                      <a:pt x="42" y="8"/>
                    </a:lnTo>
                    <a:lnTo>
                      <a:pt x="46" y="10"/>
                    </a:lnTo>
                    <a:lnTo>
                      <a:pt x="46" y="15"/>
                    </a:lnTo>
                    <a:lnTo>
                      <a:pt x="44" y="17"/>
                    </a:lnTo>
                    <a:lnTo>
                      <a:pt x="51" y="24"/>
                    </a:lnTo>
                    <a:lnTo>
                      <a:pt x="54" y="27"/>
                    </a:lnTo>
                    <a:lnTo>
                      <a:pt x="61" y="27"/>
                    </a:lnTo>
                    <a:lnTo>
                      <a:pt x="65" y="31"/>
                    </a:lnTo>
                    <a:lnTo>
                      <a:pt x="68" y="27"/>
                    </a:lnTo>
                    <a:lnTo>
                      <a:pt x="73" y="27"/>
                    </a:lnTo>
                    <a:lnTo>
                      <a:pt x="77" y="33"/>
                    </a:lnTo>
                    <a:lnTo>
                      <a:pt x="80" y="33"/>
                    </a:lnTo>
                    <a:lnTo>
                      <a:pt x="80" y="36"/>
                    </a:lnTo>
                    <a:lnTo>
                      <a:pt x="80" y="38"/>
                    </a:lnTo>
                    <a:lnTo>
                      <a:pt x="86" y="39"/>
                    </a:lnTo>
                    <a:lnTo>
                      <a:pt x="86" y="41"/>
                    </a:lnTo>
                    <a:lnTo>
                      <a:pt x="82" y="43"/>
                    </a:lnTo>
                    <a:lnTo>
                      <a:pt x="80" y="50"/>
                    </a:lnTo>
                    <a:lnTo>
                      <a:pt x="79" y="52"/>
                    </a:lnTo>
                    <a:lnTo>
                      <a:pt x="77" y="52"/>
                    </a:lnTo>
                    <a:lnTo>
                      <a:pt x="72" y="53"/>
                    </a:lnTo>
                    <a:lnTo>
                      <a:pt x="68" y="53"/>
                    </a:lnTo>
                    <a:lnTo>
                      <a:pt x="70" y="55"/>
                    </a:lnTo>
                    <a:lnTo>
                      <a:pt x="73" y="60"/>
                    </a:lnTo>
                    <a:lnTo>
                      <a:pt x="70" y="64"/>
                    </a:lnTo>
                    <a:lnTo>
                      <a:pt x="72" y="66"/>
                    </a:lnTo>
                    <a:lnTo>
                      <a:pt x="73" y="66"/>
                    </a:lnTo>
                    <a:lnTo>
                      <a:pt x="77" y="69"/>
                    </a:lnTo>
                    <a:lnTo>
                      <a:pt x="80" y="71"/>
                    </a:lnTo>
                    <a:lnTo>
                      <a:pt x="86" y="73"/>
                    </a:lnTo>
                    <a:lnTo>
                      <a:pt x="89" y="74"/>
                    </a:lnTo>
                    <a:lnTo>
                      <a:pt x="94" y="78"/>
                    </a:lnTo>
                    <a:lnTo>
                      <a:pt x="99" y="83"/>
                    </a:lnTo>
                    <a:lnTo>
                      <a:pt x="101" y="86"/>
                    </a:lnTo>
                    <a:lnTo>
                      <a:pt x="101" y="88"/>
                    </a:lnTo>
                    <a:lnTo>
                      <a:pt x="106" y="95"/>
                    </a:lnTo>
                    <a:lnTo>
                      <a:pt x="108" y="99"/>
                    </a:lnTo>
                    <a:lnTo>
                      <a:pt x="112" y="100"/>
                    </a:lnTo>
                    <a:lnTo>
                      <a:pt x="113" y="100"/>
                    </a:lnTo>
                    <a:lnTo>
                      <a:pt x="117" y="104"/>
                    </a:lnTo>
                    <a:lnTo>
                      <a:pt x="117" y="106"/>
                    </a:lnTo>
                    <a:lnTo>
                      <a:pt x="119" y="109"/>
                    </a:lnTo>
                    <a:lnTo>
                      <a:pt x="122" y="109"/>
                    </a:lnTo>
                    <a:lnTo>
                      <a:pt x="122" y="109"/>
                    </a:lnTo>
                    <a:lnTo>
                      <a:pt x="122" y="111"/>
                    </a:lnTo>
                    <a:lnTo>
                      <a:pt x="124" y="114"/>
                    </a:lnTo>
                    <a:lnTo>
                      <a:pt x="127" y="114"/>
                    </a:lnTo>
                    <a:lnTo>
                      <a:pt x="129" y="118"/>
                    </a:lnTo>
                    <a:lnTo>
                      <a:pt x="132" y="118"/>
                    </a:lnTo>
                    <a:lnTo>
                      <a:pt x="136" y="118"/>
                    </a:lnTo>
                    <a:lnTo>
                      <a:pt x="136" y="118"/>
                    </a:lnTo>
                    <a:lnTo>
                      <a:pt x="134" y="121"/>
                    </a:lnTo>
                    <a:lnTo>
                      <a:pt x="132" y="125"/>
                    </a:lnTo>
                    <a:lnTo>
                      <a:pt x="134" y="128"/>
                    </a:lnTo>
                    <a:lnTo>
                      <a:pt x="136" y="128"/>
                    </a:lnTo>
                    <a:lnTo>
                      <a:pt x="136" y="132"/>
                    </a:lnTo>
                    <a:lnTo>
                      <a:pt x="132" y="137"/>
                    </a:lnTo>
                    <a:lnTo>
                      <a:pt x="132" y="140"/>
                    </a:lnTo>
                    <a:lnTo>
                      <a:pt x="134" y="142"/>
                    </a:lnTo>
                    <a:lnTo>
                      <a:pt x="134" y="147"/>
                    </a:lnTo>
                    <a:lnTo>
                      <a:pt x="131" y="149"/>
                    </a:lnTo>
                    <a:lnTo>
                      <a:pt x="129" y="149"/>
                    </a:lnTo>
                    <a:lnTo>
                      <a:pt x="124" y="147"/>
                    </a:lnTo>
                    <a:lnTo>
                      <a:pt x="122" y="146"/>
                    </a:lnTo>
                    <a:lnTo>
                      <a:pt x="122" y="146"/>
                    </a:lnTo>
                    <a:lnTo>
                      <a:pt x="113" y="146"/>
                    </a:lnTo>
                    <a:lnTo>
                      <a:pt x="113" y="147"/>
                    </a:lnTo>
                    <a:lnTo>
                      <a:pt x="117" y="153"/>
                    </a:lnTo>
                    <a:lnTo>
                      <a:pt x="113" y="154"/>
                    </a:lnTo>
                    <a:lnTo>
                      <a:pt x="117" y="156"/>
                    </a:lnTo>
                    <a:lnTo>
                      <a:pt x="117" y="161"/>
                    </a:lnTo>
                    <a:lnTo>
                      <a:pt x="112" y="159"/>
                    </a:lnTo>
                    <a:lnTo>
                      <a:pt x="108" y="154"/>
                    </a:lnTo>
                    <a:lnTo>
                      <a:pt x="103" y="153"/>
                    </a:lnTo>
                    <a:lnTo>
                      <a:pt x="101" y="151"/>
                    </a:lnTo>
                    <a:lnTo>
                      <a:pt x="96" y="147"/>
                    </a:lnTo>
                    <a:lnTo>
                      <a:pt x="99" y="147"/>
                    </a:lnTo>
                    <a:lnTo>
                      <a:pt x="101" y="146"/>
                    </a:lnTo>
                    <a:lnTo>
                      <a:pt x="101" y="137"/>
                    </a:lnTo>
                    <a:lnTo>
                      <a:pt x="99" y="137"/>
                    </a:lnTo>
                    <a:lnTo>
                      <a:pt x="101" y="133"/>
                    </a:lnTo>
                    <a:lnTo>
                      <a:pt x="101" y="130"/>
                    </a:lnTo>
                    <a:lnTo>
                      <a:pt x="103" y="126"/>
                    </a:lnTo>
                    <a:lnTo>
                      <a:pt x="101" y="125"/>
                    </a:lnTo>
                    <a:lnTo>
                      <a:pt x="99" y="121"/>
                    </a:lnTo>
                    <a:lnTo>
                      <a:pt x="99" y="119"/>
                    </a:lnTo>
                    <a:lnTo>
                      <a:pt x="96" y="118"/>
                    </a:lnTo>
                    <a:lnTo>
                      <a:pt x="91" y="118"/>
                    </a:lnTo>
                    <a:lnTo>
                      <a:pt x="89" y="114"/>
                    </a:lnTo>
                    <a:lnTo>
                      <a:pt x="86" y="111"/>
                    </a:lnTo>
                    <a:lnTo>
                      <a:pt x="87" y="109"/>
                    </a:lnTo>
                    <a:lnTo>
                      <a:pt x="87" y="106"/>
                    </a:lnTo>
                    <a:lnTo>
                      <a:pt x="86" y="100"/>
                    </a:lnTo>
                    <a:lnTo>
                      <a:pt x="87" y="99"/>
                    </a:lnTo>
                    <a:lnTo>
                      <a:pt x="87" y="95"/>
                    </a:lnTo>
                    <a:lnTo>
                      <a:pt x="86" y="92"/>
                    </a:lnTo>
                    <a:lnTo>
                      <a:pt x="80" y="88"/>
                    </a:lnTo>
                    <a:lnTo>
                      <a:pt x="73" y="83"/>
                    </a:lnTo>
                    <a:lnTo>
                      <a:pt x="72" y="78"/>
                    </a:lnTo>
                    <a:lnTo>
                      <a:pt x="65" y="76"/>
                    </a:lnTo>
                    <a:lnTo>
                      <a:pt x="58" y="78"/>
                    </a:lnTo>
                    <a:lnTo>
                      <a:pt x="54" y="86"/>
                    </a:lnTo>
                    <a:lnTo>
                      <a:pt x="49" y="86"/>
                    </a:lnTo>
                    <a:lnTo>
                      <a:pt x="46" y="83"/>
                    </a:lnTo>
                    <a:lnTo>
                      <a:pt x="42" y="83"/>
                    </a:lnTo>
                    <a:lnTo>
                      <a:pt x="35" y="78"/>
                    </a:lnTo>
                    <a:lnTo>
                      <a:pt x="32" y="83"/>
                    </a:lnTo>
                    <a:lnTo>
                      <a:pt x="32" y="86"/>
                    </a:lnTo>
                    <a:lnTo>
                      <a:pt x="27" y="86"/>
                    </a:lnTo>
                    <a:lnTo>
                      <a:pt x="21" y="88"/>
                    </a:lnTo>
                    <a:lnTo>
                      <a:pt x="21" y="81"/>
                    </a:lnTo>
                    <a:lnTo>
                      <a:pt x="21" y="74"/>
                    </a:lnTo>
                    <a:lnTo>
                      <a:pt x="20" y="69"/>
                    </a:lnTo>
                    <a:lnTo>
                      <a:pt x="21" y="67"/>
                    </a:lnTo>
                    <a:lnTo>
                      <a:pt x="21" y="64"/>
                    </a:lnTo>
                    <a:lnTo>
                      <a:pt x="20" y="60"/>
                    </a:lnTo>
                    <a:lnTo>
                      <a:pt x="21" y="59"/>
                    </a:lnTo>
                    <a:lnTo>
                      <a:pt x="21" y="55"/>
                    </a:lnTo>
                    <a:lnTo>
                      <a:pt x="14" y="55"/>
                    </a:lnTo>
                    <a:lnTo>
                      <a:pt x="13" y="55"/>
                    </a:lnTo>
                    <a:lnTo>
                      <a:pt x="9" y="55"/>
                    </a:lnTo>
                    <a:lnTo>
                      <a:pt x="6" y="52"/>
                    </a:lnTo>
                    <a:lnTo>
                      <a:pt x="9" y="50"/>
                    </a:lnTo>
                    <a:lnTo>
                      <a:pt x="9" y="43"/>
                    </a:lnTo>
                    <a:lnTo>
                      <a:pt x="6" y="39"/>
                    </a:lnTo>
                    <a:lnTo>
                      <a:pt x="2" y="41"/>
                    </a:lnTo>
                    <a:lnTo>
                      <a:pt x="0" y="36"/>
                    </a:lnTo>
                    <a:lnTo>
                      <a:pt x="2" y="33"/>
                    </a:lnTo>
                    <a:lnTo>
                      <a:pt x="4" y="33"/>
                    </a:lnTo>
                    <a:lnTo>
                      <a:pt x="6" y="31"/>
                    </a:lnTo>
                    <a:lnTo>
                      <a:pt x="6" y="27"/>
                    </a:lnTo>
                    <a:lnTo>
                      <a:pt x="6" y="24"/>
                    </a:lnTo>
                    <a:lnTo>
                      <a:pt x="6" y="22"/>
                    </a:lnTo>
                    <a:lnTo>
                      <a:pt x="11" y="20"/>
                    </a:lnTo>
                    <a:lnTo>
                      <a:pt x="14" y="17"/>
                    </a:lnTo>
                    <a:lnTo>
                      <a:pt x="14" y="17"/>
                    </a:lnTo>
                    <a:lnTo>
                      <a:pt x="14" y="1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3" name="Freeform 186"/>
              <p:cNvSpPr>
                <a:spLocks noEditPoints="1"/>
              </p:cNvSpPr>
              <p:nvPr/>
            </p:nvSpPr>
            <p:spPr bwMode="auto">
              <a:xfrm>
                <a:off x="7083425" y="3678238"/>
                <a:ext cx="231775" cy="433388"/>
              </a:xfrm>
              <a:custGeom>
                <a:avLst/>
                <a:gdLst/>
                <a:ahLst/>
                <a:cxnLst>
                  <a:cxn ang="0">
                    <a:pos x="47" y="14"/>
                  </a:cxn>
                  <a:cxn ang="0">
                    <a:pos x="61" y="25"/>
                  </a:cxn>
                  <a:cxn ang="0">
                    <a:pos x="63" y="52"/>
                  </a:cxn>
                  <a:cxn ang="0">
                    <a:pos x="87" y="45"/>
                  </a:cxn>
                  <a:cxn ang="0">
                    <a:pos x="116" y="47"/>
                  </a:cxn>
                  <a:cxn ang="0">
                    <a:pos x="129" y="70"/>
                  </a:cxn>
                  <a:cxn ang="0">
                    <a:pos x="141" y="84"/>
                  </a:cxn>
                  <a:cxn ang="0">
                    <a:pos x="142" y="101"/>
                  </a:cxn>
                  <a:cxn ang="0">
                    <a:pos x="129" y="112"/>
                  </a:cxn>
                  <a:cxn ang="0">
                    <a:pos x="104" y="113"/>
                  </a:cxn>
                  <a:cxn ang="0">
                    <a:pos x="92" y="143"/>
                  </a:cxn>
                  <a:cxn ang="0">
                    <a:pos x="96" y="157"/>
                  </a:cxn>
                  <a:cxn ang="0">
                    <a:pos x="87" y="152"/>
                  </a:cxn>
                  <a:cxn ang="0">
                    <a:pos x="78" y="148"/>
                  </a:cxn>
                  <a:cxn ang="0">
                    <a:pos x="68" y="143"/>
                  </a:cxn>
                  <a:cxn ang="0">
                    <a:pos x="63" y="132"/>
                  </a:cxn>
                  <a:cxn ang="0">
                    <a:pos x="52" y="134"/>
                  </a:cxn>
                  <a:cxn ang="0">
                    <a:pos x="52" y="139"/>
                  </a:cxn>
                  <a:cxn ang="0">
                    <a:pos x="50" y="159"/>
                  </a:cxn>
                  <a:cxn ang="0">
                    <a:pos x="40" y="192"/>
                  </a:cxn>
                  <a:cxn ang="0">
                    <a:pos x="42" y="202"/>
                  </a:cxn>
                  <a:cxn ang="0">
                    <a:pos x="47" y="207"/>
                  </a:cxn>
                  <a:cxn ang="0">
                    <a:pos x="54" y="221"/>
                  </a:cxn>
                  <a:cxn ang="0">
                    <a:pos x="61" y="223"/>
                  </a:cxn>
                  <a:cxn ang="0">
                    <a:pos x="64" y="240"/>
                  </a:cxn>
                  <a:cxn ang="0">
                    <a:pos x="68" y="244"/>
                  </a:cxn>
                  <a:cxn ang="0">
                    <a:pos x="82" y="254"/>
                  </a:cxn>
                  <a:cxn ang="0">
                    <a:pos x="92" y="266"/>
                  </a:cxn>
                  <a:cxn ang="0">
                    <a:pos x="75" y="272"/>
                  </a:cxn>
                  <a:cxn ang="0">
                    <a:pos x="70" y="258"/>
                  </a:cxn>
                  <a:cxn ang="0">
                    <a:pos x="50" y="254"/>
                  </a:cxn>
                  <a:cxn ang="0">
                    <a:pos x="47" y="245"/>
                  </a:cxn>
                  <a:cxn ang="0">
                    <a:pos x="35" y="226"/>
                  </a:cxn>
                  <a:cxn ang="0">
                    <a:pos x="28" y="226"/>
                  </a:cxn>
                  <a:cxn ang="0">
                    <a:pos x="30" y="207"/>
                  </a:cxn>
                  <a:cxn ang="0">
                    <a:pos x="30" y="195"/>
                  </a:cxn>
                  <a:cxn ang="0">
                    <a:pos x="42" y="165"/>
                  </a:cxn>
                  <a:cxn ang="0">
                    <a:pos x="40" y="143"/>
                  </a:cxn>
                  <a:cxn ang="0">
                    <a:pos x="31" y="117"/>
                  </a:cxn>
                  <a:cxn ang="0">
                    <a:pos x="24" y="94"/>
                  </a:cxn>
                  <a:cxn ang="0">
                    <a:pos x="23" y="73"/>
                  </a:cxn>
                  <a:cxn ang="0">
                    <a:pos x="5" y="49"/>
                  </a:cxn>
                  <a:cxn ang="0">
                    <a:pos x="5" y="32"/>
                  </a:cxn>
                  <a:cxn ang="0">
                    <a:pos x="19" y="16"/>
                  </a:cxn>
                  <a:cxn ang="0">
                    <a:pos x="33" y="5"/>
                  </a:cxn>
                  <a:cxn ang="0">
                    <a:pos x="42" y="0"/>
                  </a:cxn>
                  <a:cxn ang="0">
                    <a:pos x="52" y="258"/>
                  </a:cxn>
                  <a:cxn ang="0">
                    <a:pos x="40" y="238"/>
                  </a:cxn>
                  <a:cxn ang="0">
                    <a:pos x="40" y="238"/>
                  </a:cxn>
                  <a:cxn ang="0">
                    <a:pos x="30" y="235"/>
                  </a:cxn>
                  <a:cxn ang="0">
                    <a:pos x="28" y="230"/>
                  </a:cxn>
                  <a:cxn ang="0">
                    <a:pos x="89" y="155"/>
                  </a:cxn>
                  <a:cxn ang="0">
                    <a:pos x="56" y="199"/>
                  </a:cxn>
                  <a:cxn ang="0">
                    <a:pos x="54" y="204"/>
                  </a:cxn>
                </a:cxnLst>
                <a:rect l="0" t="0" r="r" b="b"/>
                <a:pathLst>
                  <a:path w="146" h="273">
                    <a:moveTo>
                      <a:pt x="42" y="0"/>
                    </a:moveTo>
                    <a:lnTo>
                      <a:pt x="43" y="4"/>
                    </a:lnTo>
                    <a:lnTo>
                      <a:pt x="47" y="4"/>
                    </a:lnTo>
                    <a:lnTo>
                      <a:pt x="50" y="5"/>
                    </a:lnTo>
                    <a:lnTo>
                      <a:pt x="50" y="12"/>
                    </a:lnTo>
                    <a:lnTo>
                      <a:pt x="47" y="14"/>
                    </a:lnTo>
                    <a:lnTo>
                      <a:pt x="50" y="19"/>
                    </a:lnTo>
                    <a:lnTo>
                      <a:pt x="54" y="19"/>
                    </a:lnTo>
                    <a:lnTo>
                      <a:pt x="56" y="18"/>
                    </a:lnTo>
                    <a:lnTo>
                      <a:pt x="63" y="18"/>
                    </a:lnTo>
                    <a:lnTo>
                      <a:pt x="63" y="21"/>
                    </a:lnTo>
                    <a:lnTo>
                      <a:pt x="61" y="25"/>
                    </a:lnTo>
                    <a:lnTo>
                      <a:pt x="63" y="28"/>
                    </a:lnTo>
                    <a:lnTo>
                      <a:pt x="63" y="32"/>
                    </a:lnTo>
                    <a:lnTo>
                      <a:pt x="61" y="32"/>
                    </a:lnTo>
                    <a:lnTo>
                      <a:pt x="63" y="37"/>
                    </a:lnTo>
                    <a:lnTo>
                      <a:pt x="63" y="44"/>
                    </a:lnTo>
                    <a:lnTo>
                      <a:pt x="63" y="52"/>
                    </a:lnTo>
                    <a:lnTo>
                      <a:pt x="68" y="51"/>
                    </a:lnTo>
                    <a:lnTo>
                      <a:pt x="73" y="49"/>
                    </a:lnTo>
                    <a:lnTo>
                      <a:pt x="73" y="45"/>
                    </a:lnTo>
                    <a:lnTo>
                      <a:pt x="78" y="42"/>
                    </a:lnTo>
                    <a:lnTo>
                      <a:pt x="83" y="45"/>
                    </a:lnTo>
                    <a:lnTo>
                      <a:pt x="87" y="45"/>
                    </a:lnTo>
                    <a:lnTo>
                      <a:pt x="90" y="49"/>
                    </a:lnTo>
                    <a:lnTo>
                      <a:pt x="97" y="49"/>
                    </a:lnTo>
                    <a:lnTo>
                      <a:pt x="101" y="40"/>
                    </a:lnTo>
                    <a:lnTo>
                      <a:pt x="106" y="40"/>
                    </a:lnTo>
                    <a:lnTo>
                      <a:pt x="113" y="42"/>
                    </a:lnTo>
                    <a:lnTo>
                      <a:pt x="116" y="47"/>
                    </a:lnTo>
                    <a:lnTo>
                      <a:pt x="123" y="52"/>
                    </a:lnTo>
                    <a:lnTo>
                      <a:pt x="127" y="56"/>
                    </a:lnTo>
                    <a:lnTo>
                      <a:pt x="129" y="59"/>
                    </a:lnTo>
                    <a:lnTo>
                      <a:pt x="129" y="63"/>
                    </a:lnTo>
                    <a:lnTo>
                      <a:pt x="127" y="65"/>
                    </a:lnTo>
                    <a:lnTo>
                      <a:pt x="129" y="70"/>
                    </a:lnTo>
                    <a:lnTo>
                      <a:pt x="129" y="73"/>
                    </a:lnTo>
                    <a:lnTo>
                      <a:pt x="127" y="75"/>
                    </a:lnTo>
                    <a:lnTo>
                      <a:pt x="132" y="79"/>
                    </a:lnTo>
                    <a:lnTo>
                      <a:pt x="134" y="82"/>
                    </a:lnTo>
                    <a:lnTo>
                      <a:pt x="137" y="82"/>
                    </a:lnTo>
                    <a:lnTo>
                      <a:pt x="141" y="84"/>
                    </a:lnTo>
                    <a:lnTo>
                      <a:pt x="141" y="85"/>
                    </a:lnTo>
                    <a:lnTo>
                      <a:pt x="142" y="89"/>
                    </a:lnTo>
                    <a:lnTo>
                      <a:pt x="146" y="91"/>
                    </a:lnTo>
                    <a:lnTo>
                      <a:pt x="142" y="94"/>
                    </a:lnTo>
                    <a:lnTo>
                      <a:pt x="142" y="98"/>
                    </a:lnTo>
                    <a:lnTo>
                      <a:pt x="142" y="101"/>
                    </a:lnTo>
                    <a:lnTo>
                      <a:pt x="142" y="101"/>
                    </a:lnTo>
                    <a:lnTo>
                      <a:pt x="142" y="110"/>
                    </a:lnTo>
                    <a:lnTo>
                      <a:pt x="142" y="112"/>
                    </a:lnTo>
                    <a:lnTo>
                      <a:pt x="137" y="113"/>
                    </a:lnTo>
                    <a:lnTo>
                      <a:pt x="134" y="110"/>
                    </a:lnTo>
                    <a:lnTo>
                      <a:pt x="129" y="112"/>
                    </a:lnTo>
                    <a:lnTo>
                      <a:pt x="127" y="110"/>
                    </a:lnTo>
                    <a:lnTo>
                      <a:pt x="123" y="110"/>
                    </a:lnTo>
                    <a:lnTo>
                      <a:pt x="118" y="112"/>
                    </a:lnTo>
                    <a:lnTo>
                      <a:pt x="116" y="110"/>
                    </a:lnTo>
                    <a:lnTo>
                      <a:pt x="111" y="110"/>
                    </a:lnTo>
                    <a:lnTo>
                      <a:pt x="104" y="113"/>
                    </a:lnTo>
                    <a:lnTo>
                      <a:pt x="101" y="113"/>
                    </a:lnTo>
                    <a:lnTo>
                      <a:pt x="97" y="119"/>
                    </a:lnTo>
                    <a:lnTo>
                      <a:pt x="96" y="124"/>
                    </a:lnTo>
                    <a:lnTo>
                      <a:pt x="92" y="127"/>
                    </a:lnTo>
                    <a:lnTo>
                      <a:pt x="92" y="134"/>
                    </a:lnTo>
                    <a:lnTo>
                      <a:pt x="92" y="143"/>
                    </a:lnTo>
                    <a:lnTo>
                      <a:pt x="97" y="143"/>
                    </a:lnTo>
                    <a:lnTo>
                      <a:pt x="97" y="146"/>
                    </a:lnTo>
                    <a:lnTo>
                      <a:pt x="97" y="153"/>
                    </a:lnTo>
                    <a:lnTo>
                      <a:pt x="97" y="155"/>
                    </a:lnTo>
                    <a:lnTo>
                      <a:pt x="97" y="155"/>
                    </a:lnTo>
                    <a:lnTo>
                      <a:pt x="96" y="157"/>
                    </a:lnTo>
                    <a:lnTo>
                      <a:pt x="96" y="159"/>
                    </a:lnTo>
                    <a:lnTo>
                      <a:pt x="96" y="157"/>
                    </a:lnTo>
                    <a:lnTo>
                      <a:pt x="92" y="153"/>
                    </a:lnTo>
                    <a:lnTo>
                      <a:pt x="90" y="153"/>
                    </a:lnTo>
                    <a:lnTo>
                      <a:pt x="90" y="152"/>
                    </a:lnTo>
                    <a:lnTo>
                      <a:pt x="87" y="152"/>
                    </a:lnTo>
                    <a:lnTo>
                      <a:pt x="83" y="146"/>
                    </a:lnTo>
                    <a:lnTo>
                      <a:pt x="80" y="146"/>
                    </a:lnTo>
                    <a:lnTo>
                      <a:pt x="78" y="146"/>
                    </a:lnTo>
                    <a:lnTo>
                      <a:pt x="78" y="148"/>
                    </a:lnTo>
                    <a:lnTo>
                      <a:pt x="78" y="148"/>
                    </a:lnTo>
                    <a:lnTo>
                      <a:pt x="78" y="148"/>
                    </a:lnTo>
                    <a:lnTo>
                      <a:pt x="73" y="146"/>
                    </a:lnTo>
                    <a:lnTo>
                      <a:pt x="70" y="148"/>
                    </a:lnTo>
                    <a:lnTo>
                      <a:pt x="68" y="146"/>
                    </a:lnTo>
                    <a:lnTo>
                      <a:pt x="66" y="146"/>
                    </a:lnTo>
                    <a:lnTo>
                      <a:pt x="66" y="146"/>
                    </a:lnTo>
                    <a:lnTo>
                      <a:pt x="68" y="143"/>
                    </a:lnTo>
                    <a:lnTo>
                      <a:pt x="66" y="139"/>
                    </a:lnTo>
                    <a:lnTo>
                      <a:pt x="66" y="134"/>
                    </a:lnTo>
                    <a:lnTo>
                      <a:pt x="68" y="134"/>
                    </a:lnTo>
                    <a:lnTo>
                      <a:pt x="66" y="132"/>
                    </a:lnTo>
                    <a:lnTo>
                      <a:pt x="63" y="132"/>
                    </a:lnTo>
                    <a:lnTo>
                      <a:pt x="63" y="132"/>
                    </a:lnTo>
                    <a:lnTo>
                      <a:pt x="61" y="132"/>
                    </a:lnTo>
                    <a:lnTo>
                      <a:pt x="61" y="131"/>
                    </a:lnTo>
                    <a:lnTo>
                      <a:pt x="57" y="132"/>
                    </a:lnTo>
                    <a:lnTo>
                      <a:pt x="56" y="132"/>
                    </a:lnTo>
                    <a:lnTo>
                      <a:pt x="54" y="132"/>
                    </a:lnTo>
                    <a:lnTo>
                      <a:pt x="52" y="134"/>
                    </a:lnTo>
                    <a:lnTo>
                      <a:pt x="50" y="134"/>
                    </a:lnTo>
                    <a:lnTo>
                      <a:pt x="50" y="132"/>
                    </a:lnTo>
                    <a:lnTo>
                      <a:pt x="50" y="134"/>
                    </a:lnTo>
                    <a:lnTo>
                      <a:pt x="50" y="134"/>
                    </a:lnTo>
                    <a:lnTo>
                      <a:pt x="52" y="138"/>
                    </a:lnTo>
                    <a:lnTo>
                      <a:pt x="52" y="139"/>
                    </a:lnTo>
                    <a:lnTo>
                      <a:pt x="50" y="143"/>
                    </a:lnTo>
                    <a:lnTo>
                      <a:pt x="50" y="146"/>
                    </a:lnTo>
                    <a:lnTo>
                      <a:pt x="50" y="148"/>
                    </a:lnTo>
                    <a:lnTo>
                      <a:pt x="50" y="152"/>
                    </a:lnTo>
                    <a:lnTo>
                      <a:pt x="50" y="155"/>
                    </a:lnTo>
                    <a:lnTo>
                      <a:pt x="50" y="159"/>
                    </a:lnTo>
                    <a:lnTo>
                      <a:pt x="47" y="162"/>
                    </a:lnTo>
                    <a:lnTo>
                      <a:pt x="47" y="165"/>
                    </a:lnTo>
                    <a:lnTo>
                      <a:pt x="45" y="179"/>
                    </a:lnTo>
                    <a:lnTo>
                      <a:pt x="42" y="185"/>
                    </a:lnTo>
                    <a:lnTo>
                      <a:pt x="42" y="186"/>
                    </a:lnTo>
                    <a:lnTo>
                      <a:pt x="40" y="192"/>
                    </a:lnTo>
                    <a:lnTo>
                      <a:pt x="42" y="192"/>
                    </a:lnTo>
                    <a:lnTo>
                      <a:pt x="42" y="192"/>
                    </a:lnTo>
                    <a:lnTo>
                      <a:pt x="40" y="195"/>
                    </a:lnTo>
                    <a:lnTo>
                      <a:pt x="40" y="195"/>
                    </a:lnTo>
                    <a:lnTo>
                      <a:pt x="42" y="200"/>
                    </a:lnTo>
                    <a:lnTo>
                      <a:pt x="42" y="202"/>
                    </a:lnTo>
                    <a:lnTo>
                      <a:pt x="45" y="207"/>
                    </a:lnTo>
                    <a:lnTo>
                      <a:pt x="43" y="209"/>
                    </a:lnTo>
                    <a:lnTo>
                      <a:pt x="45" y="212"/>
                    </a:lnTo>
                    <a:lnTo>
                      <a:pt x="47" y="212"/>
                    </a:lnTo>
                    <a:lnTo>
                      <a:pt x="47" y="209"/>
                    </a:lnTo>
                    <a:lnTo>
                      <a:pt x="47" y="207"/>
                    </a:lnTo>
                    <a:lnTo>
                      <a:pt x="47" y="209"/>
                    </a:lnTo>
                    <a:lnTo>
                      <a:pt x="50" y="209"/>
                    </a:lnTo>
                    <a:lnTo>
                      <a:pt x="52" y="209"/>
                    </a:lnTo>
                    <a:lnTo>
                      <a:pt x="52" y="212"/>
                    </a:lnTo>
                    <a:lnTo>
                      <a:pt x="54" y="216"/>
                    </a:lnTo>
                    <a:lnTo>
                      <a:pt x="54" y="221"/>
                    </a:lnTo>
                    <a:lnTo>
                      <a:pt x="56" y="221"/>
                    </a:lnTo>
                    <a:lnTo>
                      <a:pt x="57" y="223"/>
                    </a:lnTo>
                    <a:lnTo>
                      <a:pt x="59" y="223"/>
                    </a:lnTo>
                    <a:lnTo>
                      <a:pt x="59" y="221"/>
                    </a:lnTo>
                    <a:lnTo>
                      <a:pt x="59" y="221"/>
                    </a:lnTo>
                    <a:lnTo>
                      <a:pt x="61" y="223"/>
                    </a:lnTo>
                    <a:lnTo>
                      <a:pt x="63" y="226"/>
                    </a:lnTo>
                    <a:lnTo>
                      <a:pt x="63" y="228"/>
                    </a:lnTo>
                    <a:lnTo>
                      <a:pt x="64" y="230"/>
                    </a:lnTo>
                    <a:lnTo>
                      <a:pt x="66" y="237"/>
                    </a:lnTo>
                    <a:lnTo>
                      <a:pt x="66" y="238"/>
                    </a:lnTo>
                    <a:lnTo>
                      <a:pt x="64" y="240"/>
                    </a:lnTo>
                    <a:lnTo>
                      <a:pt x="64" y="238"/>
                    </a:lnTo>
                    <a:lnTo>
                      <a:pt x="61" y="240"/>
                    </a:lnTo>
                    <a:lnTo>
                      <a:pt x="61" y="244"/>
                    </a:lnTo>
                    <a:lnTo>
                      <a:pt x="66" y="245"/>
                    </a:lnTo>
                    <a:lnTo>
                      <a:pt x="66" y="240"/>
                    </a:lnTo>
                    <a:lnTo>
                      <a:pt x="68" y="244"/>
                    </a:lnTo>
                    <a:lnTo>
                      <a:pt x="68" y="245"/>
                    </a:lnTo>
                    <a:lnTo>
                      <a:pt x="70" y="249"/>
                    </a:lnTo>
                    <a:lnTo>
                      <a:pt x="73" y="254"/>
                    </a:lnTo>
                    <a:lnTo>
                      <a:pt x="78" y="254"/>
                    </a:lnTo>
                    <a:lnTo>
                      <a:pt x="78" y="254"/>
                    </a:lnTo>
                    <a:lnTo>
                      <a:pt x="82" y="254"/>
                    </a:lnTo>
                    <a:lnTo>
                      <a:pt x="85" y="254"/>
                    </a:lnTo>
                    <a:lnTo>
                      <a:pt x="87" y="259"/>
                    </a:lnTo>
                    <a:lnTo>
                      <a:pt x="89" y="261"/>
                    </a:lnTo>
                    <a:lnTo>
                      <a:pt x="92" y="265"/>
                    </a:lnTo>
                    <a:lnTo>
                      <a:pt x="92" y="266"/>
                    </a:lnTo>
                    <a:lnTo>
                      <a:pt x="92" y="266"/>
                    </a:lnTo>
                    <a:lnTo>
                      <a:pt x="92" y="270"/>
                    </a:lnTo>
                    <a:lnTo>
                      <a:pt x="89" y="272"/>
                    </a:lnTo>
                    <a:lnTo>
                      <a:pt x="87" y="270"/>
                    </a:lnTo>
                    <a:lnTo>
                      <a:pt x="83" y="270"/>
                    </a:lnTo>
                    <a:lnTo>
                      <a:pt x="80" y="273"/>
                    </a:lnTo>
                    <a:lnTo>
                      <a:pt x="75" y="272"/>
                    </a:lnTo>
                    <a:lnTo>
                      <a:pt x="75" y="270"/>
                    </a:lnTo>
                    <a:lnTo>
                      <a:pt x="78" y="266"/>
                    </a:lnTo>
                    <a:lnTo>
                      <a:pt x="78" y="261"/>
                    </a:lnTo>
                    <a:lnTo>
                      <a:pt x="75" y="259"/>
                    </a:lnTo>
                    <a:lnTo>
                      <a:pt x="73" y="259"/>
                    </a:lnTo>
                    <a:lnTo>
                      <a:pt x="70" y="258"/>
                    </a:lnTo>
                    <a:lnTo>
                      <a:pt x="66" y="258"/>
                    </a:lnTo>
                    <a:lnTo>
                      <a:pt x="63" y="254"/>
                    </a:lnTo>
                    <a:lnTo>
                      <a:pt x="61" y="258"/>
                    </a:lnTo>
                    <a:lnTo>
                      <a:pt x="59" y="259"/>
                    </a:lnTo>
                    <a:lnTo>
                      <a:pt x="59" y="258"/>
                    </a:lnTo>
                    <a:lnTo>
                      <a:pt x="50" y="254"/>
                    </a:lnTo>
                    <a:lnTo>
                      <a:pt x="50" y="251"/>
                    </a:lnTo>
                    <a:lnTo>
                      <a:pt x="52" y="249"/>
                    </a:lnTo>
                    <a:lnTo>
                      <a:pt x="52" y="249"/>
                    </a:lnTo>
                    <a:lnTo>
                      <a:pt x="50" y="249"/>
                    </a:lnTo>
                    <a:lnTo>
                      <a:pt x="50" y="245"/>
                    </a:lnTo>
                    <a:lnTo>
                      <a:pt x="47" y="245"/>
                    </a:lnTo>
                    <a:lnTo>
                      <a:pt x="47" y="240"/>
                    </a:lnTo>
                    <a:lnTo>
                      <a:pt x="43" y="237"/>
                    </a:lnTo>
                    <a:lnTo>
                      <a:pt x="40" y="237"/>
                    </a:lnTo>
                    <a:lnTo>
                      <a:pt x="38" y="230"/>
                    </a:lnTo>
                    <a:lnTo>
                      <a:pt x="35" y="230"/>
                    </a:lnTo>
                    <a:lnTo>
                      <a:pt x="35" y="226"/>
                    </a:lnTo>
                    <a:lnTo>
                      <a:pt x="33" y="225"/>
                    </a:lnTo>
                    <a:lnTo>
                      <a:pt x="33" y="223"/>
                    </a:lnTo>
                    <a:lnTo>
                      <a:pt x="30" y="225"/>
                    </a:lnTo>
                    <a:lnTo>
                      <a:pt x="30" y="228"/>
                    </a:lnTo>
                    <a:lnTo>
                      <a:pt x="28" y="228"/>
                    </a:lnTo>
                    <a:lnTo>
                      <a:pt x="28" y="226"/>
                    </a:lnTo>
                    <a:lnTo>
                      <a:pt x="24" y="221"/>
                    </a:lnTo>
                    <a:lnTo>
                      <a:pt x="28" y="218"/>
                    </a:lnTo>
                    <a:lnTo>
                      <a:pt x="24" y="212"/>
                    </a:lnTo>
                    <a:lnTo>
                      <a:pt x="28" y="212"/>
                    </a:lnTo>
                    <a:lnTo>
                      <a:pt x="28" y="207"/>
                    </a:lnTo>
                    <a:lnTo>
                      <a:pt x="30" y="207"/>
                    </a:lnTo>
                    <a:lnTo>
                      <a:pt x="30" y="204"/>
                    </a:lnTo>
                    <a:lnTo>
                      <a:pt x="28" y="204"/>
                    </a:lnTo>
                    <a:lnTo>
                      <a:pt x="31" y="200"/>
                    </a:lnTo>
                    <a:lnTo>
                      <a:pt x="30" y="199"/>
                    </a:lnTo>
                    <a:lnTo>
                      <a:pt x="33" y="195"/>
                    </a:lnTo>
                    <a:lnTo>
                      <a:pt x="30" y="195"/>
                    </a:lnTo>
                    <a:lnTo>
                      <a:pt x="31" y="188"/>
                    </a:lnTo>
                    <a:lnTo>
                      <a:pt x="31" y="186"/>
                    </a:lnTo>
                    <a:lnTo>
                      <a:pt x="33" y="185"/>
                    </a:lnTo>
                    <a:lnTo>
                      <a:pt x="35" y="179"/>
                    </a:lnTo>
                    <a:lnTo>
                      <a:pt x="38" y="176"/>
                    </a:lnTo>
                    <a:lnTo>
                      <a:pt x="42" y="165"/>
                    </a:lnTo>
                    <a:lnTo>
                      <a:pt x="45" y="164"/>
                    </a:lnTo>
                    <a:lnTo>
                      <a:pt x="45" y="159"/>
                    </a:lnTo>
                    <a:lnTo>
                      <a:pt x="42" y="155"/>
                    </a:lnTo>
                    <a:lnTo>
                      <a:pt x="43" y="152"/>
                    </a:lnTo>
                    <a:lnTo>
                      <a:pt x="42" y="146"/>
                    </a:lnTo>
                    <a:lnTo>
                      <a:pt x="40" y="143"/>
                    </a:lnTo>
                    <a:lnTo>
                      <a:pt x="38" y="139"/>
                    </a:lnTo>
                    <a:lnTo>
                      <a:pt x="38" y="134"/>
                    </a:lnTo>
                    <a:lnTo>
                      <a:pt x="38" y="132"/>
                    </a:lnTo>
                    <a:lnTo>
                      <a:pt x="40" y="129"/>
                    </a:lnTo>
                    <a:lnTo>
                      <a:pt x="36" y="122"/>
                    </a:lnTo>
                    <a:lnTo>
                      <a:pt x="31" y="117"/>
                    </a:lnTo>
                    <a:lnTo>
                      <a:pt x="28" y="113"/>
                    </a:lnTo>
                    <a:lnTo>
                      <a:pt x="23" y="106"/>
                    </a:lnTo>
                    <a:lnTo>
                      <a:pt x="23" y="105"/>
                    </a:lnTo>
                    <a:lnTo>
                      <a:pt x="19" y="98"/>
                    </a:lnTo>
                    <a:lnTo>
                      <a:pt x="24" y="96"/>
                    </a:lnTo>
                    <a:lnTo>
                      <a:pt x="24" y="94"/>
                    </a:lnTo>
                    <a:lnTo>
                      <a:pt x="23" y="85"/>
                    </a:lnTo>
                    <a:lnTo>
                      <a:pt x="24" y="82"/>
                    </a:lnTo>
                    <a:lnTo>
                      <a:pt x="28" y="82"/>
                    </a:lnTo>
                    <a:lnTo>
                      <a:pt x="28" y="77"/>
                    </a:lnTo>
                    <a:lnTo>
                      <a:pt x="24" y="75"/>
                    </a:lnTo>
                    <a:lnTo>
                      <a:pt x="23" y="73"/>
                    </a:lnTo>
                    <a:lnTo>
                      <a:pt x="19" y="68"/>
                    </a:lnTo>
                    <a:lnTo>
                      <a:pt x="17" y="65"/>
                    </a:lnTo>
                    <a:lnTo>
                      <a:pt x="14" y="58"/>
                    </a:lnTo>
                    <a:lnTo>
                      <a:pt x="9" y="54"/>
                    </a:lnTo>
                    <a:lnTo>
                      <a:pt x="9" y="51"/>
                    </a:lnTo>
                    <a:lnTo>
                      <a:pt x="5" y="49"/>
                    </a:lnTo>
                    <a:lnTo>
                      <a:pt x="2" y="44"/>
                    </a:lnTo>
                    <a:lnTo>
                      <a:pt x="0" y="42"/>
                    </a:lnTo>
                    <a:lnTo>
                      <a:pt x="0" y="40"/>
                    </a:lnTo>
                    <a:lnTo>
                      <a:pt x="3" y="40"/>
                    </a:lnTo>
                    <a:lnTo>
                      <a:pt x="7" y="37"/>
                    </a:lnTo>
                    <a:lnTo>
                      <a:pt x="5" y="32"/>
                    </a:lnTo>
                    <a:lnTo>
                      <a:pt x="5" y="28"/>
                    </a:lnTo>
                    <a:lnTo>
                      <a:pt x="9" y="26"/>
                    </a:lnTo>
                    <a:lnTo>
                      <a:pt x="7" y="19"/>
                    </a:lnTo>
                    <a:lnTo>
                      <a:pt x="10" y="16"/>
                    </a:lnTo>
                    <a:lnTo>
                      <a:pt x="17" y="19"/>
                    </a:lnTo>
                    <a:lnTo>
                      <a:pt x="19" y="16"/>
                    </a:lnTo>
                    <a:lnTo>
                      <a:pt x="24" y="16"/>
                    </a:lnTo>
                    <a:lnTo>
                      <a:pt x="24" y="14"/>
                    </a:lnTo>
                    <a:lnTo>
                      <a:pt x="24" y="9"/>
                    </a:lnTo>
                    <a:lnTo>
                      <a:pt x="28" y="7"/>
                    </a:lnTo>
                    <a:lnTo>
                      <a:pt x="31" y="7"/>
                    </a:lnTo>
                    <a:lnTo>
                      <a:pt x="33" y="5"/>
                    </a:lnTo>
                    <a:lnTo>
                      <a:pt x="31" y="4"/>
                    </a:lnTo>
                    <a:lnTo>
                      <a:pt x="31" y="0"/>
                    </a:lnTo>
                    <a:lnTo>
                      <a:pt x="35" y="0"/>
                    </a:lnTo>
                    <a:lnTo>
                      <a:pt x="40" y="0"/>
                    </a:lnTo>
                    <a:lnTo>
                      <a:pt x="42" y="0"/>
                    </a:lnTo>
                    <a:lnTo>
                      <a:pt x="42" y="0"/>
                    </a:lnTo>
                    <a:lnTo>
                      <a:pt x="42" y="0"/>
                    </a:lnTo>
                    <a:lnTo>
                      <a:pt x="42" y="0"/>
                    </a:lnTo>
                    <a:close/>
                    <a:moveTo>
                      <a:pt x="50" y="254"/>
                    </a:moveTo>
                    <a:lnTo>
                      <a:pt x="50" y="258"/>
                    </a:lnTo>
                    <a:lnTo>
                      <a:pt x="52" y="258"/>
                    </a:lnTo>
                    <a:lnTo>
                      <a:pt x="52" y="258"/>
                    </a:lnTo>
                    <a:lnTo>
                      <a:pt x="50" y="254"/>
                    </a:lnTo>
                    <a:lnTo>
                      <a:pt x="50" y="254"/>
                    </a:lnTo>
                    <a:lnTo>
                      <a:pt x="50" y="254"/>
                    </a:lnTo>
                    <a:lnTo>
                      <a:pt x="50" y="254"/>
                    </a:lnTo>
                    <a:lnTo>
                      <a:pt x="50" y="254"/>
                    </a:lnTo>
                    <a:close/>
                    <a:moveTo>
                      <a:pt x="40" y="238"/>
                    </a:moveTo>
                    <a:lnTo>
                      <a:pt x="40" y="240"/>
                    </a:lnTo>
                    <a:lnTo>
                      <a:pt x="40" y="240"/>
                    </a:lnTo>
                    <a:lnTo>
                      <a:pt x="40" y="238"/>
                    </a:lnTo>
                    <a:lnTo>
                      <a:pt x="40" y="238"/>
                    </a:lnTo>
                    <a:lnTo>
                      <a:pt x="40" y="238"/>
                    </a:lnTo>
                    <a:lnTo>
                      <a:pt x="40" y="238"/>
                    </a:lnTo>
                    <a:lnTo>
                      <a:pt x="40" y="238"/>
                    </a:lnTo>
                    <a:close/>
                    <a:moveTo>
                      <a:pt x="28" y="230"/>
                    </a:moveTo>
                    <a:lnTo>
                      <a:pt x="28" y="232"/>
                    </a:lnTo>
                    <a:lnTo>
                      <a:pt x="28" y="233"/>
                    </a:lnTo>
                    <a:lnTo>
                      <a:pt x="28" y="237"/>
                    </a:lnTo>
                    <a:lnTo>
                      <a:pt x="30" y="235"/>
                    </a:lnTo>
                    <a:lnTo>
                      <a:pt x="30" y="230"/>
                    </a:lnTo>
                    <a:lnTo>
                      <a:pt x="30" y="230"/>
                    </a:lnTo>
                    <a:lnTo>
                      <a:pt x="28" y="230"/>
                    </a:lnTo>
                    <a:lnTo>
                      <a:pt x="28" y="230"/>
                    </a:lnTo>
                    <a:lnTo>
                      <a:pt x="28" y="230"/>
                    </a:lnTo>
                    <a:lnTo>
                      <a:pt x="28" y="230"/>
                    </a:lnTo>
                    <a:close/>
                    <a:moveTo>
                      <a:pt x="89" y="155"/>
                    </a:moveTo>
                    <a:lnTo>
                      <a:pt x="90" y="159"/>
                    </a:lnTo>
                    <a:lnTo>
                      <a:pt x="92" y="160"/>
                    </a:lnTo>
                    <a:lnTo>
                      <a:pt x="92" y="160"/>
                    </a:lnTo>
                    <a:lnTo>
                      <a:pt x="89" y="155"/>
                    </a:lnTo>
                    <a:lnTo>
                      <a:pt x="89" y="155"/>
                    </a:lnTo>
                    <a:lnTo>
                      <a:pt x="89" y="155"/>
                    </a:lnTo>
                    <a:lnTo>
                      <a:pt x="89" y="155"/>
                    </a:lnTo>
                    <a:close/>
                    <a:moveTo>
                      <a:pt x="56" y="199"/>
                    </a:moveTo>
                    <a:lnTo>
                      <a:pt x="52" y="199"/>
                    </a:lnTo>
                    <a:lnTo>
                      <a:pt x="54" y="200"/>
                    </a:lnTo>
                    <a:lnTo>
                      <a:pt x="56" y="199"/>
                    </a:lnTo>
                    <a:lnTo>
                      <a:pt x="56" y="199"/>
                    </a:lnTo>
                    <a:lnTo>
                      <a:pt x="56" y="199"/>
                    </a:lnTo>
                    <a:lnTo>
                      <a:pt x="56" y="199"/>
                    </a:lnTo>
                    <a:close/>
                    <a:moveTo>
                      <a:pt x="56" y="202"/>
                    </a:moveTo>
                    <a:lnTo>
                      <a:pt x="54" y="204"/>
                    </a:lnTo>
                    <a:lnTo>
                      <a:pt x="54" y="204"/>
                    </a:lnTo>
                    <a:lnTo>
                      <a:pt x="56" y="209"/>
                    </a:lnTo>
                    <a:lnTo>
                      <a:pt x="57" y="204"/>
                    </a:lnTo>
                    <a:lnTo>
                      <a:pt x="56" y="202"/>
                    </a:lnTo>
                    <a:lnTo>
                      <a:pt x="56" y="202"/>
                    </a:lnTo>
                    <a:lnTo>
                      <a:pt x="56" y="202"/>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4" name="Freeform 187"/>
              <p:cNvSpPr>
                <a:spLocks noEditPoints="1"/>
              </p:cNvSpPr>
              <p:nvPr/>
            </p:nvSpPr>
            <p:spPr bwMode="auto">
              <a:xfrm>
                <a:off x="6937375" y="3443288"/>
                <a:ext cx="236538" cy="544513"/>
              </a:xfrm>
              <a:custGeom>
                <a:avLst/>
                <a:gdLst/>
                <a:ahLst/>
                <a:cxnLst>
                  <a:cxn ang="0">
                    <a:pos x="83" y="6"/>
                  </a:cxn>
                  <a:cxn ang="0">
                    <a:pos x="97" y="27"/>
                  </a:cxn>
                  <a:cxn ang="0">
                    <a:pos x="92" y="49"/>
                  </a:cxn>
                  <a:cxn ang="0">
                    <a:pos x="83" y="60"/>
                  </a:cxn>
                  <a:cxn ang="0">
                    <a:pos x="87" y="74"/>
                  </a:cxn>
                  <a:cxn ang="0">
                    <a:pos x="102" y="82"/>
                  </a:cxn>
                  <a:cxn ang="0">
                    <a:pos x="111" y="94"/>
                  </a:cxn>
                  <a:cxn ang="0">
                    <a:pos x="125" y="98"/>
                  </a:cxn>
                  <a:cxn ang="0">
                    <a:pos x="116" y="117"/>
                  </a:cxn>
                  <a:cxn ang="0">
                    <a:pos x="130" y="124"/>
                  </a:cxn>
                  <a:cxn ang="0">
                    <a:pos x="149" y="126"/>
                  </a:cxn>
                  <a:cxn ang="0">
                    <a:pos x="141" y="141"/>
                  </a:cxn>
                  <a:cxn ang="0">
                    <a:pos x="125" y="152"/>
                  </a:cxn>
                  <a:cxn ang="0">
                    <a:pos x="118" y="164"/>
                  </a:cxn>
                  <a:cxn ang="0">
                    <a:pos x="99" y="176"/>
                  </a:cxn>
                  <a:cxn ang="0">
                    <a:pos x="95" y="192"/>
                  </a:cxn>
                  <a:cxn ang="0">
                    <a:pos x="113" y="214"/>
                  </a:cxn>
                  <a:cxn ang="0">
                    <a:pos x="115" y="233"/>
                  </a:cxn>
                  <a:cxn ang="0">
                    <a:pos x="120" y="261"/>
                  </a:cxn>
                  <a:cxn ang="0">
                    <a:pos x="130" y="286"/>
                  </a:cxn>
                  <a:cxn ang="0">
                    <a:pos x="137" y="308"/>
                  </a:cxn>
                  <a:cxn ang="0">
                    <a:pos x="125" y="334"/>
                  </a:cxn>
                  <a:cxn ang="0">
                    <a:pos x="120" y="331"/>
                  </a:cxn>
                  <a:cxn ang="0">
                    <a:pos x="123" y="320"/>
                  </a:cxn>
                  <a:cxn ang="0">
                    <a:pos x="125" y="305"/>
                  </a:cxn>
                  <a:cxn ang="0">
                    <a:pos x="120" y="282"/>
                  </a:cxn>
                  <a:cxn ang="0">
                    <a:pos x="111" y="275"/>
                  </a:cxn>
                  <a:cxn ang="0">
                    <a:pos x="104" y="254"/>
                  </a:cxn>
                  <a:cxn ang="0">
                    <a:pos x="102" y="230"/>
                  </a:cxn>
                  <a:cxn ang="0">
                    <a:pos x="97" y="223"/>
                  </a:cxn>
                  <a:cxn ang="0">
                    <a:pos x="85" y="207"/>
                  </a:cxn>
                  <a:cxn ang="0">
                    <a:pos x="85" y="211"/>
                  </a:cxn>
                  <a:cxn ang="0">
                    <a:pos x="76" y="220"/>
                  </a:cxn>
                  <a:cxn ang="0">
                    <a:pos x="71" y="227"/>
                  </a:cxn>
                  <a:cxn ang="0">
                    <a:pos x="57" y="233"/>
                  </a:cxn>
                  <a:cxn ang="0">
                    <a:pos x="47" y="239"/>
                  </a:cxn>
                  <a:cxn ang="0">
                    <a:pos x="45" y="230"/>
                  </a:cxn>
                  <a:cxn ang="0">
                    <a:pos x="49" y="207"/>
                  </a:cxn>
                  <a:cxn ang="0">
                    <a:pos x="42" y="190"/>
                  </a:cxn>
                  <a:cxn ang="0">
                    <a:pos x="29" y="173"/>
                  </a:cxn>
                  <a:cxn ang="0">
                    <a:pos x="19" y="171"/>
                  </a:cxn>
                  <a:cxn ang="0">
                    <a:pos x="26" y="171"/>
                  </a:cxn>
                  <a:cxn ang="0">
                    <a:pos x="26" y="160"/>
                  </a:cxn>
                  <a:cxn ang="0">
                    <a:pos x="12" y="157"/>
                  </a:cxn>
                  <a:cxn ang="0">
                    <a:pos x="10" y="157"/>
                  </a:cxn>
                  <a:cxn ang="0">
                    <a:pos x="0" y="136"/>
                  </a:cxn>
                  <a:cxn ang="0">
                    <a:pos x="9" y="120"/>
                  </a:cxn>
                  <a:cxn ang="0">
                    <a:pos x="16" y="101"/>
                  </a:cxn>
                  <a:cxn ang="0">
                    <a:pos x="26" y="84"/>
                  </a:cxn>
                  <a:cxn ang="0">
                    <a:pos x="35" y="49"/>
                  </a:cxn>
                  <a:cxn ang="0">
                    <a:pos x="49" y="21"/>
                  </a:cxn>
                  <a:cxn ang="0">
                    <a:pos x="66" y="13"/>
                  </a:cxn>
                  <a:cxn ang="0">
                    <a:pos x="68" y="2"/>
                  </a:cxn>
                  <a:cxn ang="0">
                    <a:pos x="24" y="180"/>
                  </a:cxn>
                </a:cxnLst>
                <a:rect l="0" t="0" r="r" b="b"/>
                <a:pathLst>
                  <a:path w="149" h="343">
                    <a:moveTo>
                      <a:pt x="68" y="2"/>
                    </a:moveTo>
                    <a:lnTo>
                      <a:pt x="71" y="0"/>
                    </a:lnTo>
                    <a:lnTo>
                      <a:pt x="75" y="2"/>
                    </a:lnTo>
                    <a:lnTo>
                      <a:pt x="76" y="0"/>
                    </a:lnTo>
                    <a:lnTo>
                      <a:pt x="80" y="0"/>
                    </a:lnTo>
                    <a:lnTo>
                      <a:pt x="83" y="6"/>
                    </a:lnTo>
                    <a:lnTo>
                      <a:pt x="87" y="7"/>
                    </a:lnTo>
                    <a:lnTo>
                      <a:pt x="87" y="14"/>
                    </a:lnTo>
                    <a:lnTo>
                      <a:pt x="90" y="14"/>
                    </a:lnTo>
                    <a:lnTo>
                      <a:pt x="94" y="16"/>
                    </a:lnTo>
                    <a:lnTo>
                      <a:pt x="94" y="21"/>
                    </a:lnTo>
                    <a:lnTo>
                      <a:pt x="97" y="27"/>
                    </a:lnTo>
                    <a:lnTo>
                      <a:pt x="97" y="34"/>
                    </a:lnTo>
                    <a:lnTo>
                      <a:pt x="95" y="39"/>
                    </a:lnTo>
                    <a:lnTo>
                      <a:pt x="95" y="44"/>
                    </a:lnTo>
                    <a:lnTo>
                      <a:pt x="95" y="44"/>
                    </a:lnTo>
                    <a:lnTo>
                      <a:pt x="92" y="47"/>
                    </a:lnTo>
                    <a:lnTo>
                      <a:pt x="92" y="49"/>
                    </a:lnTo>
                    <a:lnTo>
                      <a:pt x="90" y="51"/>
                    </a:lnTo>
                    <a:lnTo>
                      <a:pt x="89" y="53"/>
                    </a:lnTo>
                    <a:lnTo>
                      <a:pt x="90" y="56"/>
                    </a:lnTo>
                    <a:lnTo>
                      <a:pt x="89" y="58"/>
                    </a:lnTo>
                    <a:lnTo>
                      <a:pt x="87" y="58"/>
                    </a:lnTo>
                    <a:lnTo>
                      <a:pt x="83" y="60"/>
                    </a:lnTo>
                    <a:lnTo>
                      <a:pt x="83" y="63"/>
                    </a:lnTo>
                    <a:lnTo>
                      <a:pt x="85" y="65"/>
                    </a:lnTo>
                    <a:lnTo>
                      <a:pt x="83" y="67"/>
                    </a:lnTo>
                    <a:lnTo>
                      <a:pt x="83" y="70"/>
                    </a:lnTo>
                    <a:lnTo>
                      <a:pt x="85" y="70"/>
                    </a:lnTo>
                    <a:lnTo>
                      <a:pt x="87" y="74"/>
                    </a:lnTo>
                    <a:lnTo>
                      <a:pt x="90" y="75"/>
                    </a:lnTo>
                    <a:lnTo>
                      <a:pt x="89" y="80"/>
                    </a:lnTo>
                    <a:lnTo>
                      <a:pt x="90" y="84"/>
                    </a:lnTo>
                    <a:lnTo>
                      <a:pt x="95" y="80"/>
                    </a:lnTo>
                    <a:lnTo>
                      <a:pt x="102" y="79"/>
                    </a:lnTo>
                    <a:lnTo>
                      <a:pt x="102" y="82"/>
                    </a:lnTo>
                    <a:lnTo>
                      <a:pt x="102" y="84"/>
                    </a:lnTo>
                    <a:lnTo>
                      <a:pt x="104" y="86"/>
                    </a:lnTo>
                    <a:lnTo>
                      <a:pt x="108" y="86"/>
                    </a:lnTo>
                    <a:lnTo>
                      <a:pt x="111" y="87"/>
                    </a:lnTo>
                    <a:lnTo>
                      <a:pt x="108" y="89"/>
                    </a:lnTo>
                    <a:lnTo>
                      <a:pt x="111" y="94"/>
                    </a:lnTo>
                    <a:lnTo>
                      <a:pt x="115" y="94"/>
                    </a:lnTo>
                    <a:lnTo>
                      <a:pt x="115" y="94"/>
                    </a:lnTo>
                    <a:lnTo>
                      <a:pt x="115" y="98"/>
                    </a:lnTo>
                    <a:lnTo>
                      <a:pt x="116" y="98"/>
                    </a:lnTo>
                    <a:lnTo>
                      <a:pt x="122" y="98"/>
                    </a:lnTo>
                    <a:lnTo>
                      <a:pt x="125" y="98"/>
                    </a:lnTo>
                    <a:lnTo>
                      <a:pt x="125" y="101"/>
                    </a:lnTo>
                    <a:lnTo>
                      <a:pt x="123" y="103"/>
                    </a:lnTo>
                    <a:lnTo>
                      <a:pt x="123" y="107"/>
                    </a:lnTo>
                    <a:lnTo>
                      <a:pt x="120" y="112"/>
                    </a:lnTo>
                    <a:lnTo>
                      <a:pt x="116" y="115"/>
                    </a:lnTo>
                    <a:lnTo>
                      <a:pt x="116" y="117"/>
                    </a:lnTo>
                    <a:lnTo>
                      <a:pt x="120" y="117"/>
                    </a:lnTo>
                    <a:lnTo>
                      <a:pt x="125" y="117"/>
                    </a:lnTo>
                    <a:lnTo>
                      <a:pt x="125" y="117"/>
                    </a:lnTo>
                    <a:lnTo>
                      <a:pt x="127" y="115"/>
                    </a:lnTo>
                    <a:lnTo>
                      <a:pt x="130" y="117"/>
                    </a:lnTo>
                    <a:lnTo>
                      <a:pt x="130" y="124"/>
                    </a:lnTo>
                    <a:lnTo>
                      <a:pt x="130" y="126"/>
                    </a:lnTo>
                    <a:lnTo>
                      <a:pt x="134" y="129"/>
                    </a:lnTo>
                    <a:lnTo>
                      <a:pt x="135" y="126"/>
                    </a:lnTo>
                    <a:lnTo>
                      <a:pt x="141" y="126"/>
                    </a:lnTo>
                    <a:lnTo>
                      <a:pt x="148" y="124"/>
                    </a:lnTo>
                    <a:lnTo>
                      <a:pt x="149" y="126"/>
                    </a:lnTo>
                    <a:lnTo>
                      <a:pt x="149" y="129"/>
                    </a:lnTo>
                    <a:lnTo>
                      <a:pt x="146" y="131"/>
                    </a:lnTo>
                    <a:lnTo>
                      <a:pt x="141" y="133"/>
                    </a:lnTo>
                    <a:lnTo>
                      <a:pt x="141" y="136"/>
                    </a:lnTo>
                    <a:lnTo>
                      <a:pt x="139" y="138"/>
                    </a:lnTo>
                    <a:lnTo>
                      <a:pt x="141" y="141"/>
                    </a:lnTo>
                    <a:lnTo>
                      <a:pt x="137" y="143"/>
                    </a:lnTo>
                    <a:lnTo>
                      <a:pt x="135" y="143"/>
                    </a:lnTo>
                    <a:lnTo>
                      <a:pt x="134" y="148"/>
                    </a:lnTo>
                    <a:lnTo>
                      <a:pt x="127" y="148"/>
                    </a:lnTo>
                    <a:lnTo>
                      <a:pt x="125" y="148"/>
                    </a:lnTo>
                    <a:lnTo>
                      <a:pt x="125" y="152"/>
                    </a:lnTo>
                    <a:lnTo>
                      <a:pt x="127" y="153"/>
                    </a:lnTo>
                    <a:lnTo>
                      <a:pt x="125" y="157"/>
                    </a:lnTo>
                    <a:lnTo>
                      <a:pt x="122" y="157"/>
                    </a:lnTo>
                    <a:lnTo>
                      <a:pt x="118" y="157"/>
                    </a:lnTo>
                    <a:lnTo>
                      <a:pt x="118" y="162"/>
                    </a:lnTo>
                    <a:lnTo>
                      <a:pt x="118" y="164"/>
                    </a:lnTo>
                    <a:lnTo>
                      <a:pt x="113" y="164"/>
                    </a:lnTo>
                    <a:lnTo>
                      <a:pt x="111" y="167"/>
                    </a:lnTo>
                    <a:lnTo>
                      <a:pt x="102" y="164"/>
                    </a:lnTo>
                    <a:lnTo>
                      <a:pt x="99" y="167"/>
                    </a:lnTo>
                    <a:lnTo>
                      <a:pt x="102" y="174"/>
                    </a:lnTo>
                    <a:lnTo>
                      <a:pt x="99" y="176"/>
                    </a:lnTo>
                    <a:lnTo>
                      <a:pt x="99" y="180"/>
                    </a:lnTo>
                    <a:lnTo>
                      <a:pt x="99" y="183"/>
                    </a:lnTo>
                    <a:lnTo>
                      <a:pt x="97" y="188"/>
                    </a:lnTo>
                    <a:lnTo>
                      <a:pt x="92" y="188"/>
                    </a:lnTo>
                    <a:lnTo>
                      <a:pt x="94" y="190"/>
                    </a:lnTo>
                    <a:lnTo>
                      <a:pt x="95" y="192"/>
                    </a:lnTo>
                    <a:lnTo>
                      <a:pt x="99" y="197"/>
                    </a:lnTo>
                    <a:lnTo>
                      <a:pt x="102" y="199"/>
                    </a:lnTo>
                    <a:lnTo>
                      <a:pt x="102" y="202"/>
                    </a:lnTo>
                    <a:lnTo>
                      <a:pt x="108" y="206"/>
                    </a:lnTo>
                    <a:lnTo>
                      <a:pt x="111" y="213"/>
                    </a:lnTo>
                    <a:lnTo>
                      <a:pt x="113" y="214"/>
                    </a:lnTo>
                    <a:lnTo>
                      <a:pt x="115" y="220"/>
                    </a:lnTo>
                    <a:lnTo>
                      <a:pt x="116" y="223"/>
                    </a:lnTo>
                    <a:lnTo>
                      <a:pt x="120" y="225"/>
                    </a:lnTo>
                    <a:lnTo>
                      <a:pt x="120" y="228"/>
                    </a:lnTo>
                    <a:lnTo>
                      <a:pt x="116" y="230"/>
                    </a:lnTo>
                    <a:lnTo>
                      <a:pt x="115" y="233"/>
                    </a:lnTo>
                    <a:lnTo>
                      <a:pt x="116" y="240"/>
                    </a:lnTo>
                    <a:lnTo>
                      <a:pt x="116" y="242"/>
                    </a:lnTo>
                    <a:lnTo>
                      <a:pt x="113" y="246"/>
                    </a:lnTo>
                    <a:lnTo>
                      <a:pt x="115" y="251"/>
                    </a:lnTo>
                    <a:lnTo>
                      <a:pt x="115" y="254"/>
                    </a:lnTo>
                    <a:lnTo>
                      <a:pt x="120" y="261"/>
                    </a:lnTo>
                    <a:lnTo>
                      <a:pt x="125" y="263"/>
                    </a:lnTo>
                    <a:lnTo>
                      <a:pt x="130" y="268"/>
                    </a:lnTo>
                    <a:lnTo>
                      <a:pt x="134" y="275"/>
                    </a:lnTo>
                    <a:lnTo>
                      <a:pt x="130" y="279"/>
                    </a:lnTo>
                    <a:lnTo>
                      <a:pt x="130" y="282"/>
                    </a:lnTo>
                    <a:lnTo>
                      <a:pt x="130" y="286"/>
                    </a:lnTo>
                    <a:lnTo>
                      <a:pt x="134" y="289"/>
                    </a:lnTo>
                    <a:lnTo>
                      <a:pt x="134" y="293"/>
                    </a:lnTo>
                    <a:lnTo>
                      <a:pt x="135" y="298"/>
                    </a:lnTo>
                    <a:lnTo>
                      <a:pt x="134" y="301"/>
                    </a:lnTo>
                    <a:lnTo>
                      <a:pt x="137" y="305"/>
                    </a:lnTo>
                    <a:lnTo>
                      <a:pt x="137" y="308"/>
                    </a:lnTo>
                    <a:lnTo>
                      <a:pt x="134" y="312"/>
                    </a:lnTo>
                    <a:lnTo>
                      <a:pt x="130" y="322"/>
                    </a:lnTo>
                    <a:lnTo>
                      <a:pt x="127" y="326"/>
                    </a:lnTo>
                    <a:lnTo>
                      <a:pt x="127" y="329"/>
                    </a:lnTo>
                    <a:lnTo>
                      <a:pt x="125" y="333"/>
                    </a:lnTo>
                    <a:lnTo>
                      <a:pt x="125" y="334"/>
                    </a:lnTo>
                    <a:lnTo>
                      <a:pt x="125" y="334"/>
                    </a:lnTo>
                    <a:lnTo>
                      <a:pt x="123" y="338"/>
                    </a:lnTo>
                    <a:lnTo>
                      <a:pt x="123" y="343"/>
                    </a:lnTo>
                    <a:lnTo>
                      <a:pt x="122" y="338"/>
                    </a:lnTo>
                    <a:lnTo>
                      <a:pt x="122" y="333"/>
                    </a:lnTo>
                    <a:lnTo>
                      <a:pt x="120" y="331"/>
                    </a:lnTo>
                    <a:lnTo>
                      <a:pt x="120" y="329"/>
                    </a:lnTo>
                    <a:lnTo>
                      <a:pt x="122" y="329"/>
                    </a:lnTo>
                    <a:lnTo>
                      <a:pt x="122" y="327"/>
                    </a:lnTo>
                    <a:lnTo>
                      <a:pt x="125" y="324"/>
                    </a:lnTo>
                    <a:lnTo>
                      <a:pt x="125" y="322"/>
                    </a:lnTo>
                    <a:lnTo>
                      <a:pt x="123" y="320"/>
                    </a:lnTo>
                    <a:lnTo>
                      <a:pt x="123" y="317"/>
                    </a:lnTo>
                    <a:lnTo>
                      <a:pt x="125" y="317"/>
                    </a:lnTo>
                    <a:lnTo>
                      <a:pt x="127" y="315"/>
                    </a:lnTo>
                    <a:lnTo>
                      <a:pt x="125" y="308"/>
                    </a:lnTo>
                    <a:lnTo>
                      <a:pt x="127" y="308"/>
                    </a:lnTo>
                    <a:lnTo>
                      <a:pt x="125" y="305"/>
                    </a:lnTo>
                    <a:lnTo>
                      <a:pt x="123" y="301"/>
                    </a:lnTo>
                    <a:lnTo>
                      <a:pt x="122" y="298"/>
                    </a:lnTo>
                    <a:lnTo>
                      <a:pt x="123" y="298"/>
                    </a:lnTo>
                    <a:lnTo>
                      <a:pt x="123" y="293"/>
                    </a:lnTo>
                    <a:lnTo>
                      <a:pt x="120" y="293"/>
                    </a:lnTo>
                    <a:lnTo>
                      <a:pt x="120" y="282"/>
                    </a:lnTo>
                    <a:lnTo>
                      <a:pt x="116" y="279"/>
                    </a:lnTo>
                    <a:lnTo>
                      <a:pt x="116" y="275"/>
                    </a:lnTo>
                    <a:lnTo>
                      <a:pt x="113" y="272"/>
                    </a:lnTo>
                    <a:lnTo>
                      <a:pt x="113" y="277"/>
                    </a:lnTo>
                    <a:lnTo>
                      <a:pt x="111" y="277"/>
                    </a:lnTo>
                    <a:lnTo>
                      <a:pt x="111" y="275"/>
                    </a:lnTo>
                    <a:lnTo>
                      <a:pt x="111" y="272"/>
                    </a:lnTo>
                    <a:lnTo>
                      <a:pt x="111" y="263"/>
                    </a:lnTo>
                    <a:lnTo>
                      <a:pt x="108" y="261"/>
                    </a:lnTo>
                    <a:lnTo>
                      <a:pt x="108" y="258"/>
                    </a:lnTo>
                    <a:lnTo>
                      <a:pt x="111" y="256"/>
                    </a:lnTo>
                    <a:lnTo>
                      <a:pt x="104" y="254"/>
                    </a:lnTo>
                    <a:lnTo>
                      <a:pt x="104" y="247"/>
                    </a:lnTo>
                    <a:lnTo>
                      <a:pt x="102" y="247"/>
                    </a:lnTo>
                    <a:lnTo>
                      <a:pt x="102" y="235"/>
                    </a:lnTo>
                    <a:lnTo>
                      <a:pt x="99" y="235"/>
                    </a:lnTo>
                    <a:lnTo>
                      <a:pt x="99" y="230"/>
                    </a:lnTo>
                    <a:lnTo>
                      <a:pt x="102" y="230"/>
                    </a:lnTo>
                    <a:lnTo>
                      <a:pt x="102" y="228"/>
                    </a:lnTo>
                    <a:lnTo>
                      <a:pt x="99" y="225"/>
                    </a:lnTo>
                    <a:lnTo>
                      <a:pt x="99" y="223"/>
                    </a:lnTo>
                    <a:lnTo>
                      <a:pt x="99" y="220"/>
                    </a:lnTo>
                    <a:lnTo>
                      <a:pt x="99" y="223"/>
                    </a:lnTo>
                    <a:lnTo>
                      <a:pt x="97" y="223"/>
                    </a:lnTo>
                    <a:lnTo>
                      <a:pt x="94" y="223"/>
                    </a:lnTo>
                    <a:lnTo>
                      <a:pt x="92" y="220"/>
                    </a:lnTo>
                    <a:lnTo>
                      <a:pt x="92" y="218"/>
                    </a:lnTo>
                    <a:lnTo>
                      <a:pt x="89" y="211"/>
                    </a:lnTo>
                    <a:lnTo>
                      <a:pt x="87" y="207"/>
                    </a:lnTo>
                    <a:lnTo>
                      <a:pt x="85" y="207"/>
                    </a:lnTo>
                    <a:lnTo>
                      <a:pt x="85" y="207"/>
                    </a:lnTo>
                    <a:lnTo>
                      <a:pt x="82" y="206"/>
                    </a:lnTo>
                    <a:lnTo>
                      <a:pt x="83" y="207"/>
                    </a:lnTo>
                    <a:lnTo>
                      <a:pt x="83" y="207"/>
                    </a:lnTo>
                    <a:lnTo>
                      <a:pt x="83" y="211"/>
                    </a:lnTo>
                    <a:lnTo>
                      <a:pt x="85" y="211"/>
                    </a:lnTo>
                    <a:lnTo>
                      <a:pt x="85" y="214"/>
                    </a:lnTo>
                    <a:lnTo>
                      <a:pt x="83" y="216"/>
                    </a:lnTo>
                    <a:lnTo>
                      <a:pt x="83" y="220"/>
                    </a:lnTo>
                    <a:lnTo>
                      <a:pt x="80" y="223"/>
                    </a:lnTo>
                    <a:lnTo>
                      <a:pt x="76" y="221"/>
                    </a:lnTo>
                    <a:lnTo>
                      <a:pt x="76" y="220"/>
                    </a:lnTo>
                    <a:lnTo>
                      <a:pt x="75" y="220"/>
                    </a:lnTo>
                    <a:lnTo>
                      <a:pt x="76" y="223"/>
                    </a:lnTo>
                    <a:lnTo>
                      <a:pt x="76" y="223"/>
                    </a:lnTo>
                    <a:lnTo>
                      <a:pt x="76" y="225"/>
                    </a:lnTo>
                    <a:lnTo>
                      <a:pt x="75" y="227"/>
                    </a:lnTo>
                    <a:lnTo>
                      <a:pt x="71" y="227"/>
                    </a:lnTo>
                    <a:lnTo>
                      <a:pt x="69" y="225"/>
                    </a:lnTo>
                    <a:lnTo>
                      <a:pt x="69" y="228"/>
                    </a:lnTo>
                    <a:lnTo>
                      <a:pt x="62" y="233"/>
                    </a:lnTo>
                    <a:lnTo>
                      <a:pt x="59" y="233"/>
                    </a:lnTo>
                    <a:lnTo>
                      <a:pt x="57" y="233"/>
                    </a:lnTo>
                    <a:lnTo>
                      <a:pt x="57" y="233"/>
                    </a:lnTo>
                    <a:lnTo>
                      <a:pt x="57" y="233"/>
                    </a:lnTo>
                    <a:lnTo>
                      <a:pt x="57" y="235"/>
                    </a:lnTo>
                    <a:lnTo>
                      <a:pt x="54" y="235"/>
                    </a:lnTo>
                    <a:lnTo>
                      <a:pt x="54" y="233"/>
                    </a:lnTo>
                    <a:lnTo>
                      <a:pt x="49" y="235"/>
                    </a:lnTo>
                    <a:lnTo>
                      <a:pt x="47" y="239"/>
                    </a:lnTo>
                    <a:lnTo>
                      <a:pt x="45" y="239"/>
                    </a:lnTo>
                    <a:lnTo>
                      <a:pt x="45" y="233"/>
                    </a:lnTo>
                    <a:lnTo>
                      <a:pt x="49" y="228"/>
                    </a:lnTo>
                    <a:lnTo>
                      <a:pt x="49" y="223"/>
                    </a:lnTo>
                    <a:lnTo>
                      <a:pt x="49" y="228"/>
                    </a:lnTo>
                    <a:lnTo>
                      <a:pt x="45" y="230"/>
                    </a:lnTo>
                    <a:lnTo>
                      <a:pt x="42" y="235"/>
                    </a:lnTo>
                    <a:lnTo>
                      <a:pt x="42" y="233"/>
                    </a:lnTo>
                    <a:lnTo>
                      <a:pt x="42" y="233"/>
                    </a:lnTo>
                    <a:lnTo>
                      <a:pt x="42" y="228"/>
                    </a:lnTo>
                    <a:lnTo>
                      <a:pt x="43" y="211"/>
                    </a:lnTo>
                    <a:lnTo>
                      <a:pt x="49" y="207"/>
                    </a:lnTo>
                    <a:lnTo>
                      <a:pt x="47" y="207"/>
                    </a:lnTo>
                    <a:lnTo>
                      <a:pt x="43" y="199"/>
                    </a:lnTo>
                    <a:lnTo>
                      <a:pt x="43" y="193"/>
                    </a:lnTo>
                    <a:lnTo>
                      <a:pt x="42" y="192"/>
                    </a:lnTo>
                    <a:lnTo>
                      <a:pt x="40" y="190"/>
                    </a:lnTo>
                    <a:lnTo>
                      <a:pt x="42" y="190"/>
                    </a:lnTo>
                    <a:lnTo>
                      <a:pt x="38" y="188"/>
                    </a:lnTo>
                    <a:lnTo>
                      <a:pt x="36" y="183"/>
                    </a:lnTo>
                    <a:lnTo>
                      <a:pt x="35" y="180"/>
                    </a:lnTo>
                    <a:lnTo>
                      <a:pt x="35" y="176"/>
                    </a:lnTo>
                    <a:lnTo>
                      <a:pt x="35" y="176"/>
                    </a:lnTo>
                    <a:lnTo>
                      <a:pt x="29" y="173"/>
                    </a:lnTo>
                    <a:lnTo>
                      <a:pt x="31" y="176"/>
                    </a:lnTo>
                    <a:lnTo>
                      <a:pt x="31" y="180"/>
                    </a:lnTo>
                    <a:lnTo>
                      <a:pt x="26" y="180"/>
                    </a:lnTo>
                    <a:lnTo>
                      <a:pt x="23" y="176"/>
                    </a:lnTo>
                    <a:lnTo>
                      <a:pt x="23" y="174"/>
                    </a:lnTo>
                    <a:lnTo>
                      <a:pt x="19" y="171"/>
                    </a:lnTo>
                    <a:lnTo>
                      <a:pt x="19" y="169"/>
                    </a:lnTo>
                    <a:lnTo>
                      <a:pt x="23" y="169"/>
                    </a:lnTo>
                    <a:lnTo>
                      <a:pt x="24" y="173"/>
                    </a:lnTo>
                    <a:lnTo>
                      <a:pt x="26" y="173"/>
                    </a:lnTo>
                    <a:lnTo>
                      <a:pt x="26" y="173"/>
                    </a:lnTo>
                    <a:lnTo>
                      <a:pt x="26" y="171"/>
                    </a:lnTo>
                    <a:lnTo>
                      <a:pt x="24" y="169"/>
                    </a:lnTo>
                    <a:lnTo>
                      <a:pt x="26" y="167"/>
                    </a:lnTo>
                    <a:lnTo>
                      <a:pt x="26" y="169"/>
                    </a:lnTo>
                    <a:lnTo>
                      <a:pt x="29" y="169"/>
                    </a:lnTo>
                    <a:lnTo>
                      <a:pt x="29" y="166"/>
                    </a:lnTo>
                    <a:lnTo>
                      <a:pt x="26" y="160"/>
                    </a:lnTo>
                    <a:lnTo>
                      <a:pt x="21" y="159"/>
                    </a:lnTo>
                    <a:lnTo>
                      <a:pt x="21" y="157"/>
                    </a:lnTo>
                    <a:lnTo>
                      <a:pt x="17" y="157"/>
                    </a:lnTo>
                    <a:lnTo>
                      <a:pt x="16" y="153"/>
                    </a:lnTo>
                    <a:lnTo>
                      <a:pt x="16" y="157"/>
                    </a:lnTo>
                    <a:lnTo>
                      <a:pt x="12" y="157"/>
                    </a:lnTo>
                    <a:lnTo>
                      <a:pt x="12" y="157"/>
                    </a:lnTo>
                    <a:lnTo>
                      <a:pt x="14" y="152"/>
                    </a:lnTo>
                    <a:lnTo>
                      <a:pt x="12" y="152"/>
                    </a:lnTo>
                    <a:lnTo>
                      <a:pt x="9" y="152"/>
                    </a:lnTo>
                    <a:lnTo>
                      <a:pt x="9" y="152"/>
                    </a:lnTo>
                    <a:lnTo>
                      <a:pt x="10" y="157"/>
                    </a:lnTo>
                    <a:lnTo>
                      <a:pt x="3" y="148"/>
                    </a:lnTo>
                    <a:lnTo>
                      <a:pt x="0" y="145"/>
                    </a:lnTo>
                    <a:lnTo>
                      <a:pt x="0" y="141"/>
                    </a:lnTo>
                    <a:lnTo>
                      <a:pt x="0" y="141"/>
                    </a:lnTo>
                    <a:lnTo>
                      <a:pt x="0" y="140"/>
                    </a:lnTo>
                    <a:lnTo>
                      <a:pt x="0" y="136"/>
                    </a:lnTo>
                    <a:lnTo>
                      <a:pt x="3" y="133"/>
                    </a:lnTo>
                    <a:lnTo>
                      <a:pt x="3" y="133"/>
                    </a:lnTo>
                    <a:lnTo>
                      <a:pt x="7" y="129"/>
                    </a:lnTo>
                    <a:lnTo>
                      <a:pt x="7" y="124"/>
                    </a:lnTo>
                    <a:lnTo>
                      <a:pt x="7" y="120"/>
                    </a:lnTo>
                    <a:lnTo>
                      <a:pt x="9" y="120"/>
                    </a:lnTo>
                    <a:lnTo>
                      <a:pt x="10" y="120"/>
                    </a:lnTo>
                    <a:lnTo>
                      <a:pt x="12" y="114"/>
                    </a:lnTo>
                    <a:lnTo>
                      <a:pt x="12" y="110"/>
                    </a:lnTo>
                    <a:lnTo>
                      <a:pt x="12" y="107"/>
                    </a:lnTo>
                    <a:lnTo>
                      <a:pt x="12" y="101"/>
                    </a:lnTo>
                    <a:lnTo>
                      <a:pt x="16" y="101"/>
                    </a:lnTo>
                    <a:lnTo>
                      <a:pt x="16" y="94"/>
                    </a:lnTo>
                    <a:lnTo>
                      <a:pt x="16" y="93"/>
                    </a:lnTo>
                    <a:lnTo>
                      <a:pt x="14" y="84"/>
                    </a:lnTo>
                    <a:lnTo>
                      <a:pt x="17" y="84"/>
                    </a:lnTo>
                    <a:lnTo>
                      <a:pt x="21" y="84"/>
                    </a:lnTo>
                    <a:lnTo>
                      <a:pt x="26" y="84"/>
                    </a:lnTo>
                    <a:lnTo>
                      <a:pt x="26" y="79"/>
                    </a:lnTo>
                    <a:lnTo>
                      <a:pt x="29" y="70"/>
                    </a:lnTo>
                    <a:lnTo>
                      <a:pt x="35" y="61"/>
                    </a:lnTo>
                    <a:lnTo>
                      <a:pt x="29" y="60"/>
                    </a:lnTo>
                    <a:lnTo>
                      <a:pt x="29" y="58"/>
                    </a:lnTo>
                    <a:lnTo>
                      <a:pt x="35" y="49"/>
                    </a:lnTo>
                    <a:lnTo>
                      <a:pt x="35" y="44"/>
                    </a:lnTo>
                    <a:lnTo>
                      <a:pt x="35" y="39"/>
                    </a:lnTo>
                    <a:lnTo>
                      <a:pt x="35" y="37"/>
                    </a:lnTo>
                    <a:lnTo>
                      <a:pt x="40" y="27"/>
                    </a:lnTo>
                    <a:lnTo>
                      <a:pt x="45" y="27"/>
                    </a:lnTo>
                    <a:lnTo>
                      <a:pt x="49" y="21"/>
                    </a:lnTo>
                    <a:lnTo>
                      <a:pt x="49" y="16"/>
                    </a:lnTo>
                    <a:lnTo>
                      <a:pt x="57" y="16"/>
                    </a:lnTo>
                    <a:lnTo>
                      <a:pt x="61" y="13"/>
                    </a:lnTo>
                    <a:lnTo>
                      <a:pt x="62" y="14"/>
                    </a:lnTo>
                    <a:lnTo>
                      <a:pt x="66" y="16"/>
                    </a:lnTo>
                    <a:lnTo>
                      <a:pt x="66" y="13"/>
                    </a:lnTo>
                    <a:lnTo>
                      <a:pt x="66" y="7"/>
                    </a:lnTo>
                    <a:lnTo>
                      <a:pt x="69" y="6"/>
                    </a:lnTo>
                    <a:lnTo>
                      <a:pt x="69" y="2"/>
                    </a:lnTo>
                    <a:lnTo>
                      <a:pt x="68" y="2"/>
                    </a:lnTo>
                    <a:lnTo>
                      <a:pt x="68" y="2"/>
                    </a:lnTo>
                    <a:lnTo>
                      <a:pt x="68" y="2"/>
                    </a:lnTo>
                    <a:lnTo>
                      <a:pt x="68" y="2"/>
                    </a:lnTo>
                    <a:close/>
                    <a:moveTo>
                      <a:pt x="23" y="181"/>
                    </a:moveTo>
                    <a:lnTo>
                      <a:pt x="23" y="185"/>
                    </a:lnTo>
                    <a:lnTo>
                      <a:pt x="26" y="188"/>
                    </a:lnTo>
                    <a:lnTo>
                      <a:pt x="26" y="183"/>
                    </a:lnTo>
                    <a:lnTo>
                      <a:pt x="24" y="180"/>
                    </a:lnTo>
                    <a:lnTo>
                      <a:pt x="23" y="181"/>
                    </a:lnTo>
                    <a:lnTo>
                      <a:pt x="23" y="181"/>
                    </a:lnTo>
                    <a:lnTo>
                      <a:pt x="23" y="181"/>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5" name="Freeform 188"/>
              <p:cNvSpPr>
                <a:spLocks noEditPoints="1"/>
              </p:cNvSpPr>
              <p:nvPr/>
            </p:nvSpPr>
            <p:spPr bwMode="auto">
              <a:xfrm>
                <a:off x="6757988" y="3490913"/>
                <a:ext cx="146050" cy="187325"/>
              </a:xfrm>
              <a:custGeom>
                <a:avLst/>
                <a:gdLst/>
                <a:ahLst/>
                <a:cxnLst>
                  <a:cxn ang="0">
                    <a:pos x="89" y="104"/>
                  </a:cxn>
                  <a:cxn ang="0">
                    <a:pos x="83" y="113"/>
                  </a:cxn>
                  <a:cxn ang="0">
                    <a:pos x="78" y="104"/>
                  </a:cxn>
                  <a:cxn ang="0">
                    <a:pos x="78" y="101"/>
                  </a:cxn>
                  <a:cxn ang="0">
                    <a:pos x="75" y="96"/>
                  </a:cxn>
                  <a:cxn ang="0">
                    <a:pos x="68" y="77"/>
                  </a:cxn>
                  <a:cxn ang="0">
                    <a:pos x="61" y="78"/>
                  </a:cxn>
                  <a:cxn ang="0">
                    <a:pos x="50" y="73"/>
                  </a:cxn>
                  <a:cxn ang="0">
                    <a:pos x="50" y="77"/>
                  </a:cxn>
                  <a:cxn ang="0">
                    <a:pos x="50" y="89"/>
                  </a:cxn>
                  <a:cxn ang="0">
                    <a:pos x="45" y="90"/>
                  </a:cxn>
                  <a:cxn ang="0">
                    <a:pos x="40" y="92"/>
                  </a:cxn>
                  <a:cxn ang="0">
                    <a:pos x="40" y="80"/>
                  </a:cxn>
                  <a:cxn ang="0">
                    <a:pos x="36" y="89"/>
                  </a:cxn>
                  <a:cxn ang="0">
                    <a:pos x="36" y="96"/>
                  </a:cxn>
                  <a:cxn ang="0">
                    <a:pos x="31" y="97"/>
                  </a:cxn>
                  <a:cxn ang="0">
                    <a:pos x="26" y="89"/>
                  </a:cxn>
                  <a:cxn ang="0">
                    <a:pos x="17" y="68"/>
                  </a:cxn>
                  <a:cxn ang="0">
                    <a:pos x="12" y="49"/>
                  </a:cxn>
                  <a:cxn ang="0">
                    <a:pos x="7" y="35"/>
                  </a:cxn>
                  <a:cxn ang="0">
                    <a:pos x="17" y="28"/>
                  </a:cxn>
                  <a:cxn ang="0">
                    <a:pos x="7" y="23"/>
                  </a:cxn>
                  <a:cxn ang="0">
                    <a:pos x="5" y="7"/>
                  </a:cxn>
                  <a:cxn ang="0">
                    <a:pos x="7" y="0"/>
                  </a:cxn>
                  <a:cxn ang="0">
                    <a:pos x="12" y="10"/>
                  </a:cxn>
                  <a:cxn ang="0">
                    <a:pos x="17" y="7"/>
                  </a:cxn>
                  <a:cxn ang="0">
                    <a:pos x="26" y="10"/>
                  </a:cxn>
                  <a:cxn ang="0">
                    <a:pos x="31" y="19"/>
                  </a:cxn>
                  <a:cxn ang="0">
                    <a:pos x="36" y="28"/>
                  </a:cxn>
                  <a:cxn ang="0">
                    <a:pos x="54" y="30"/>
                  </a:cxn>
                  <a:cxn ang="0">
                    <a:pos x="69" y="30"/>
                  </a:cxn>
                  <a:cxn ang="0">
                    <a:pos x="75" y="37"/>
                  </a:cxn>
                  <a:cxn ang="0">
                    <a:pos x="69" y="50"/>
                  </a:cxn>
                  <a:cxn ang="0">
                    <a:pos x="64" y="52"/>
                  </a:cxn>
                  <a:cxn ang="0">
                    <a:pos x="64" y="63"/>
                  </a:cxn>
                  <a:cxn ang="0">
                    <a:pos x="69" y="73"/>
                  </a:cxn>
                  <a:cxn ang="0">
                    <a:pos x="73" y="64"/>
                  </a:cxn>
                  <a:cxn ang="0">
                    <a:pos x="75" y="61"/>
                  </a:cxn>
                  <a:cxn ang="0">
                    <a:pos x="82" y="64"/>
                  </a:cxn>
                  <a:cxn ang="0">
                    <a:pos x="87" y="84"/>
                  </a:cxn>
                  <a:cxn ang="0">
                    <a:pos x="92" y="94"/>
                  </a:cxn>
                  <a:cxn ang="0">
                    <a:pos x="92" y="96"/>
                  </a:cxn>
                  <a:cxn ang="0">
                    <a:pos x="64" y="82"/>
                  </a:cxn>
                  <a:cxn ang="0">
                    <a:pos x="68" y="82"/>
                  </a:cxn>
                  <a:cxn ang="0">
                    <a:pos x="59" y="84"/>
                  </a:cxn>
                  <a:cxn ang="0">
                    <a:pos x="64" y="82"/>
                  </a:cxn>
                  <a:cxn ang="0">
                    <a:pos x="59" y="80"/>
                  </a:cxn>
                  <a:cxn ang="0">
                    <a:pos x="50" y="80"/>
                  </a:cxn>
                  <a:cxn ang="0">
                    <a:pos x="56" y="82"/>
                  </a:cxn>
                </a:cxnLst>
                <a:rect l="0" t="0" r="r" b="b"/>
                <a:pathLst>
                  <a:path w="92" h="118">
                    <a:moveTo>
                      <a:pt x="92" y="96"/>
                    </a:moveTo>
                    <a:lnTo>
                      <a:pt x="92" y="101"/>
                    </a:lnTo>
                    <a:lnTo>
                      <a:pt x="89" y="104"/>
                    </a:lnTo>
                    <a:lnTo>
                      <a:pt x="89" y="104"/>
                    </a:lnTo>
                    <a:lnTo>
                      <a:pt x="85" y="106"/>
                    </a:lnTo>
                    <a:lnTo>
                      <a:pt x="83" y="110"/>
                    </a:lnTo>
                    <a:lnTo>
                      <a:pt x="83" y="113"/>
                    </a:lnTo>
                    <a:lnTo>
                      <a:pt x="83" y="113"/>
                    </a:lnTo>
                    <a:lnTo>
                      <a:pt x="85" y="118"/>
                    </a:lnTo>
                    <a:lnTo>
                      <a:pt x="83" y="118"/>
                    </a:lnTo>
                    <a:lnTo>
                      <a:pt x="82" y="110"/>
                    </a:lnTo>
                    <a:lnTo>
                      <a:pt x="78" y="104"/>
                    </a:lnTo>
                    <a:lnTo>
                      <a:pt x="78" y="104"/>
                    </a:lnTo>
                    <a:lnTo>
                      <a:pt x="78" y="101"/>
                    </a:lnTo>
                    <a:lnTo>
                      <a:pt x="78" y="99"/>
                    </a:lnTo>
                    <a:lnTo>
                      <a:pt x="78" y="101"/>
                    </a:lnTo>
                    <a:lnTo>
                      <a:pt x="75" y="101"/>
                    </a:lnTo>
                    <a:lnTo>
                      <a:pt x="75" y="101"/>
                    </a:lnTo>
                    <a:lnTo>
                      <a:pt x="75" y="97"/>
                    </a:lnTo>
                    <a:lnTo>
                      <a:pt x="75" y="96"/>
                    </a:lnTo>
                    <a:lnTo>
                      <a:pt x="75" y="92"/>
                    </a:lnTo>
                    <a:lnTo>
                      <a:pt x="75" y="89"/>
                    </a:lnTo>
                    <a:lnTo>
                      <a:pt x="73" y="87"/>
                    </a:lnTo>
                    <a:lnTo>
                      <a:pt x="68" y="77"/>
                    </a:lnTo>
                    <a:lnTo>
                      <a:pt x="68" y="77"/>
                    </a:lnTo>
                    <a:lnTo>
                      <a:pt x="68" y="77"/>
                    </a:lnTo>
                    <a:lnTo>
                      <a:pt x="64" y="77"/>
                    </a:lnTo>
                    <a:lnTo>
                      <a:pt x="61" y="78"/>
                    </a:lnTo>
                    <a:lnTo>
                      <a:pt x="54" y="77"/>
                    </a:lnTo>
                    <a:lnTo>
                      <a:pt x="54" y="73"/>
                    </a:lnTo>
                    <a:lnTo>
                      <a:pt x="54" y="73"/>
                    </a:lnTo>
                    <a:lnTo>
                      <a:pt x="50" y="73"/>
                    </a:lnTo>
                    <a:lnTo>
                      <a:pt x="49" y="68"/>
                    </a:lnTo>
                    <a:lnTo>
                      <a:pt x="49" y="73"/>
                    </a:lnTo>
                    <a:lnTo>
                      <a:pt x="50" y="77"/>
                    </a:lnTo>
                    <a:lnTo>
                      <a:pt x="50" y="77"/>
                    </a:lnTo>
                    <a:lnTo>
                      <a:pt x="45" y="78"/>
                    </a:lnTo>
                    <a:lnTo>
                      <a:pt x="50" y="80"/>
                    </a:lnTo>
                    <a:lnTo>
                      <a:pt x="50" y="84"/>
                    </a:lnTo>
                    <a:lnTo>
                      <a:pt x="50" y="89"/>
                    </a:lnTo>
                    <a:lnTo>
                      <a:pt x="49" y="90"/>
                    </a:lnTo>
                    <a:lnTo>
                      <a:pt x="45" y="96"/>
                    </a:lnTo>
                    <a:lnTo>
                      <a:pt x="43" y="94"/>
                    </a:lnTo>
                    <a:lnTo>
                      <a:pt x="45" y="90"/>
                    </a:lnTo>
                    <a:lnTo>
                      <a:pt x="45" y="90"/>
                    </a:lnTo>
                    <a:lnTo>
                      <a:pt x="45" y="89"/>
                    </a:lnTo>
                    <a:lnTo>
                      <a:pt x="43" y="89"/>
                    </a:lnTo>
                    <a:lnTo>
                      <a:pt x="40" y="92"/>
                    </a:lnTo>
                    <a:lnTo>
                      <a:pt x="40" y="89"/>
                    </a:lnTo>
                    <a:lnTo>
                      <a:pt x="40" y="84"/>
                    </a:lnTo>
                    <a:lnTo>
                      <a:pt x="40" y="82"/>
                    </a:lnTo>
                    <a:lnTo>
                      <a:pt x="40" y="80"/>
                    </a:lnTo>
                    <a:lnTo>
                      <a:pt x="40" y="82"/>
                    </a:lnTo>
                    <a:lnTo>
                      <a:pt x="40" y="85"/>
                    </a:lnTo>
                    <a:lnTo>
                      <a:pt x="36" y="89"/>
                    </a:lnTo>
                    <a:lnTo>
                      <a:pt x="36" y="89"/>
                    </a:lnTo>
                    <a:lnTo>
                      <a:pt x="40" y="92"/>
                    </a:lnTo>
                    <a:lnTo>
                      <a:pt x="40" y="96"/>
                    </a:lnTo>
                    <a:lnTo>
                      <a:pt x="36" y="97"/>
                    </a:lnTo>
                    <a:lnTo>
                      <a:pt x="36" y="96"/>
                    </a:lnTo>
                    <a:lnTo>
                      <a:pt x="35" y="96"/>
                    </a:lnTo>
                    <a:lnTo>
                      <a:pt x="31" y="96"/>
                    </a:lnTo>
                    <a:lnTo>
                      <a:pt x="31" y="97"/>
                    </a:lnTo>
                    <a:lnTo>
                      <a:pt x="31" y="97"/>
                    </a:lnTo>
                    <a:lnTo>
                      <a:pt x="30" y="96"/>
                    </a:lnTo>
                    <a:lnTo>
                      <a:pt x="26" y="92"/>
                    </a:lnTo>
                    <a:lnTo>
                      <a:pt x="26" y="94"/>
                    </a:lnTo>
                    <a:lnTo>
                      <a:pt x="26" y="89"/>
                    </a:lnTo>
                    <a:lnTo>
                      <a:pt x="24" y="85"/>
                    </a:lnTo>
                    <a:lnTo>
                      <a:pt x="24" y="80"/>
                    </a:lnTo>
                    <a:lnTo>
                      <a:pt x="17" y="73"/>
                    </a:lnTo>
                    <a:lnTo>
                      <a:pt x="17" y="68"/>
                    </a:lnTo>
                    <a:lnTo>
                      <a:pt x="17" y="64"/>
                    </a:lnTo>
                    <a:lnTo>
                      <a:pt x="17" y="61"/>
                    </a:lnTo>
                    <a:lnTo>
                      <a:pt x="17" y="54"/>
                    </a:lnTo>
                    <a:lnTo>
                      <a:pt x="12" y="49"/>
                    </a:lnTo>
                    <a:lnTo>
                      <a:pt x="7" y="49"/>
                    </a:lnTo>
                    <a:lnTo>
                      <a:pt x="5" y="42"/>
                    </a:lnTo>
                    <a:lnTo>
                      <a:pt x="5" y="35"/>
                    </a:lnTo>
                    <a:lnTo>
                      <a:pt x="7" y="35"/>
                    </a:lnTo>
                    <a:lnTo>
                      <a:pt x="7" y="31"/>
                    </a:lnTo>
                    <a:lnTo>
                      <a:pt x="12" y="30"/>
                    </a:lnTo>
                    <a:lnTo>
                      <a:pt x="12" y="31"/>
                    </a:lnTo>
                    <a:lnTo>
                      <a:pt x="17" y="28"/>
                    </a:lnTo>
                    <a:lnTo>
                      <a:pt x="16" y="24"/>
                    </a:lnTo>
                    <a:lnTo>
                      <a:pt x="16" y="21"/>
                    </a:lnTo>
                    <a:lnTo>
                      <a:pt x="12" y="21"/>
                    </a:lnTo>
                    <a:lnTo>
                      <a:pt x="7" y="23"/>
                    </a:lnTo>
                    <a:lnTo>
                      <a:pt x="0" y="19"/>
                    </a:lnTo>
                    <a:lnTo>
                      <a:pt x="0" y="16"/>
                    </a:lnTo>
                    <a:lnTo>
                      <a:pt x="3" y="10"/>
                    </a:lnTo>
                    <a:lnTo>
                      <a:pt x="5" y="7"/>
                    </a:lnTo>
                    <a:lnTo>
                      <a:pt x="3" y="7"/>
                    </a:lnTo>
                    <a:lnTo>
                      <a:pt x="3" y="4"/>
                    </a:lnTo>
                    <a:lnTo>
                      <a:pt x="5" y="4"/>
                    </a:lnTo>
                    <a:lnTo>
                      <a:pt x="7" y="0"/>
                    </a:lnTo>
                    <a:lnTo>
                      <a:pt x="7" y="4"/>
                    </a:lnTo>
                    <a:lnTo>
                      <a:pt x="10" y="7"/>
                    </a:lnTo>
                    <a:lnTo>
                      <a:pt x="10" y="7"/>
                    </a:lnTo>
                    <a:lnTo>
                      <a:pt x="12" y="10"/>
                    </a:lnTo>
                    <a:lnTo>
                      <a:pt x="17" y="10"/>
                    </a:lnTo>
                    <a:lnTo>
                      <a:pt x="17" y="9"/>
                    </a:lnTo>
                    <a:lnTo>
                      <a:pt x="16" y="9"/>
                    </a:lnTo>
                    <a:lnTo>
                      <a:pt x="17" y="7"/>
                    </a:lnTo>
                    <a:lnTo>
                      <a:pt x="17" y="7"/>
                    </a:lnTo>
                    <a:lnTo>
                      <a:pt x="21" y="9"/>
                    </a:lnTo>
                    <a:lnTo>
                      <a:pt x="21" y="10"/>
                    </a:lnTo>
                    <a:lnTo>
                      <a:pt x="26" y="10"/>
                    </a:lnTo>
                    <a:lnTo>
                      <a:pt x="26" y="10"/>
                    </a:lnTo>
                    <a:lnTo>
                      <a:pt x="26" y="9"/>
                    </a:lnTo>
                    <a:lnTo>
                      <a:pt x="31" y="14"/>
                    </a:lnTo>
                    <a:lnTo>
                      <a:pt x="31" y="19"/>
                    </a:lnTo>
                    <a:lnTo>
                      <a:pt x="31" y="21"/>
                    </a:lnTo>
                    <a:lnTo>
                      <a:pt x="31" y="24"/>
                    </a:lnTo>
                    <a:lnTo>
                      <a:pt x="31" y="28"/>
                    </a:lnTo>
                    <a:lnTo>
                      <a:pt x="36" y="28"/>
                    </a:lnTo>
                    <a:lnTo>
                      <a:pt x="40" y="28"/>
                    </a:lnTo>
                    <a:lnTo>
                      <a:pt x="43" y="30"/>
                    </a:lnTo>
                    <a:lnTo>
                      <a:pt x="49" y="30"/>
                    </a:lnTo>
                    <a:lnTo>
                      <a:pt x="54" y="30"/>
                    </a:lnTo>
                    <a:lnTo>
                      <a:pt x="59" y="30"/>
                    </a:lnTo>
                    <a:lnTo>
                      <a:pt x="68" y="30"/>
                    </a:lnTo>
                    <a:lnTo>
                      <a:pt x="69" y="30"/>
                    </a:lnTo>
                    <a:lnTo>
                      <a:pt x="69" y="30"/>
                    </a:lnTo>
                    <a:lnTo>
                      <a:pt x="73" y="30"/>
                    </a:lnTo>
                    <a:lnTo>
                      <a:pt x="75" y="31"/>
                    </a:lnTo>
                    <a:lnTo>
                      <a:pt x="78" y="31"/>
                    </a:lnTo>
                    <a:lnTo>
                      <a:pt x="75" y="37"/>
                    </a:lnTo>
                    <a:lnTo>
                      <a:pt x="75" y="40"/>
                    </a:lnTo>
                    <a:lnTo>
                      <a:pt x="73" y="49"/>
                    </a:lnTo>
                    <a:lnTo>
                      <a:pt x="69" y="49"/>
                    </a:lnTo>
                    <a:lnTo>
                      <a:pt x="69" y="50"/>
                    </a:lnTo>
                    <a:lnTo>
                      <a:pt x="69" y="52"/>
                    </a:lnTo>
                    <a:lnTo>
                      <a:pt x="68" y="52"/>
                    </a:lnTo>
                    <a:lnTo>
                      <a:pt x="68" y="50"/>
                    </a:lnTo>
                    <a:lnTo>
                      <a:pt x="64" y="52"/>
                    </a:lnTo>
                    <a:lnTo>
                      <a:pt x="61" y="56"/>
                    </a:lnTo>
                    <a:lnTo>
                      <a:pt x="59" y="56"/>
                    </a:lnTo>
                    <a:lnTo>
                      <a:pt x="59" y="59"/>
                    </a:lnTo>
                    <a:lnTo>
                      <a:pt x="64" y="63"/>
                    </a:lnTo>
                    <a:lnTo>
                      <a:pt x="64" y="64"/>
                    </a:lnTo>
                    <a:lnTo>
                      <a:pt x="64" y="64"/>
                    </a:lnTo>
                    <a:lnTo>
                      <a:pt x="68" y="68"/>
                    </a:lnTo>
                    <a:lnTo>
                      <a:pt x="69" y="73"/>
                    </a:lnTo>
                    <a:lnTo>
                      <a:pt x="73" y="73"/>
                    </a:lnTo>
                    <a:lnTo>
                      <a:pt x="73" y="68"/>
                    </a:lnTo>
                    <a:lnTo>
                      <a:pt x="73" y="68"/>
                    </a:lnTo>
                    <a:lnTo>
                      <a:pt x="73" y="64"/>
                    </a:lnTo>
                    <a:lnTo>
                      <a:pt x="73" y="64"/>
                    </a:lnTo>
                    <a:lnTo>
                      <a:pt x="75" y="63"/>
                    </a:lnTo>
                    <a:lnTo>
                      <a:pt x="73" y="61"/>
                    </a:lnTo>
                    <a:lnTo>
                      <a:pt x="75" y="61"/>
                    </a:lnTo>
                    <a:lnTo>
                      <a:pt x="78" y="61"/>
                    </a:lnTo>
                    <a:lnTo>
                      <a:pt x="80" y="61"/>
                    </a:lnTo>
                    <a:lnTo>
                      <a:pt x="82" y="63"/>
                    </a:lnTo>
                    <a:lnTo>
                      <a:pt x="82" y="64"/>
                    </a:lnTo>
                    <a:lnTo>
                      <a:pt x="83" y="71"/>
                    </a:lnTo>
                    <a:lnTo>
                      <a:pt x="83" y="73"/>
                    </a:lnTo>
                    <a:lnTo>
                      <a:pt x="85" y="77"/>
                    </a:lnTo>
                    <a:lnTo>
                      <a:pt x="87" y="84"/>
                    </a:lnTo>
                    <a:lnTo>
                      <a:pt x="87" y="87"/>
                    </a:lnTo>
                    <a:lnTo>
                      <a:pt x="89" y="90"/>
                    </a:lnTo>
                    <a:lnTo>
                      <a:pt x="92" y="92"/>
                    </a:lnTo>
                    <a:lnTo>
                      <a:pt x="92" y="94"/>
                    </a:lnTo>
                    <a:lnTo>
                      <a:pt x="92" y="96"/>
                    </a:lnTo>
                    <a:lnTo>
                      <a:pt x="92" y="96"/>
                    </a:lnTo>
                    <a:lnTo>
                      <a:pt x="92" y="96"/>
                    </a:lnTo>
                    <a:lnTo>
                      <a:pt x="92" y="96"/>
                    </a:lnTo>
                    <a:lnTo>
                      <a:pt x="92" y="96"/>
                    </a:lnTo>
                    <a:close/>
                    <a:moveTo>
                      <a:pt x="68" y="82"/>
                    </a:moveTo>
                    <a:lnTo>
                      <a:pt x="68" y="80"/>
                    </a:lnTo>
                    <a:lnTo>
                      <a:pt x="64" y="82"/>
                    </a:lnTo>
                    <a:lnTo>
                      <a:pt x="64" y="85"/>
                    </a:lnTo>
                    <a:lnTo>
                      <a:pt x="68" y="84"/>
                    </a:lnTo>
                    <a:lnTo>
                      <a:pt x="68" y="82"/>
                    </a:lnTo>
                    <a:lnTo>
                      <a:pt x="68" y="82"/>
                    </a:lnTo>
                    <a:lnTo>
                      <a:pt x="68" y="82"/>
                    </a:lnTo>
                    <a:lnTo>
                      <a:pt x="68" y="82"/>
                    </a:lnTo>
                    <a:close/>
                    <a:moveTo>
                      <a:pt x="59" y="80"/>
                    </a:moveTo>
                    <a:lnTo>
                      <a:pt x="59" y="84"/>
                    </a:lnTo>
                    <a:lnTo>
                      <a:pt x="59" y="87"/>
                    </a:lnTo>
                    <a:lnTo>
                      <a:pt x="61" y="89"/>
                    </a:lnTo>
                    <a:lnTo>
                      <a:pt x="64" y="85"/>
                    </a:lnTo>
                    <a:lnTo>
                      <a:pt x="64" y="82"/>
                    </a:lnTo>
                    <a:lnTo>
                      <a:pt x="59" y="78"/>
                    </a:lnTo>
                    <a:lnTo>
                      <a:pt x="59" y="78"/>
                    </a:lnTo>
                    <a:lnTo>
                      <a:pt x="59" y="80"/>
                    </a:lnTo>
                    <a:lnTo>
                      <a:pt x="59" y="80"/>
                    </a:lnTo>
                    <a:lnTo>
                      <a:pt x="59" y="80"/>
                    </a:lnTo>
                    <a:lnTo>
                      <a:pt x="59" y="80"/>
                    </a:lnTo>
                    <a:close/>
                    <a:moveTo>
                      <a:pt x="54" y="78"/>
                    </a:moveTo>
                    <a:lnTo>
                      <a:pt x="50" y="80"/>
                    </a:lnTo>
                    <a:lnTo>
                      <a:pt x="50" y="80"/>
                    </a:lnTo>
                    <a:lnTo>
                      <a:pt x="54" y="87"/>
                    </a:lnTo>
                    <a:lnTo>
                      <a:pt x="56" y="87"/>
                    </a:lnTo>
                    <a:lnTo>
                      <a:pt x="56" y="82"/>
                    </a:lnTo>
                    <a:lnTo>
                      <a:pt x="54" y="78"/>
                    </a:lnTo>
                    <a:lnTo>
                      <a:pt x="54" y="78"/>
                    </a:lnTo>
                    <a:lnTo>
                      <a:pt x="54" y="78"/>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6" name="Freeform 189"/>
              <p:cNvSpPr>
                <a:spLocks/>
              </p:cNvSpPr>
              <p:nvPr/>
            </p:nvSpPr>
            <p:spPr bwMode="auto">
              <a:xfrm>
                <a:off x="6780213" y="3452813"/>
                <a:ext cx="85725" cy="53975"/>
              </a:xfrm>
              <a:custGeom>
                <a:avLst/>
                <a:gdLst/>
                <a:ahLst/>
                <a:cxnLst>
                  <a:cxn ang="0">
                    <a:pos x="3" y="15"/>
                  </a:cxn>
                  <a:cxn ang="0">
                    <a:pos x="5" y="14"/>
                  </a:cxn>
                  <a:cxn ang="0">
                    <a:pos x="9" y="7"/>
                  </a:cxn>
                  <a:cxn ang="0">
                    <a:pos x="19" y="1"/>
                  </a:cxn>
                  <a:cxn ang="0">
                    <a:pos x="24" y="0"/>
                  </a:cxn>
                  <a:cxn ang="0">
                    <a:pos x="26" y="3"/>
                  </a:cxn>
                  <a:cxn ang="0">
                    <a:pos x="35" y="5"/>
                  </a:cxn>
                  <a:cxn ang="0">
                    <a:pos x="38" y="7"/>
                  </a:cxn>
                  <a:cxn ang="0">
                    <a:pos x="42" y="3"/>
                  </a:cxn>
                  <a:cxn ang="0">
                    <a:pos x="45" y="5"/>
                  </a:cxn>
                  <a:cxn ang="0">
                    <a:pos x="50" y="7"/>
                  </a:cxn>
                  <a:cxn ang="0">
                    <a:pos x="50" y="7"/>
                  </a:cxn>
                  <a:cxn ang="0">
                    <a:pos x="50" y="12"/>
                  </a:cxn>
                  <a:cxn ang="0">
                    <a:pos x="50" y="15"/>
                  </a:cxn>
                  <a:cxn ang="0">
                    <a:pos x="54" y="19"/>
                  </a:cxn>
                  <a:cxn ang="0">
                    <a:pos x="54" y="24"/>
                  </a:cxn>
                  <a:cxn ang="0">
                    <a:pos x="54" y="26"/>
                  </a:cxn>
                  <a:cxn ang="0">
                    <a:pos x="47" y="29"/>
                  </a:cxn>
                  <a:cxn ang="0">
                    <a:pos x="42" y="29"/>
                  </a:cxn>
                  <a:cxn ang="0">
                    <a:pos x="38" y="31"/>
                  </a:cxn>
                  <a:cxn ang="0">
                    <a:pos x="33" y="29"/>
                  </a:cxn>
                  <a:cxn ang="0">
                    <a:pos x="29" y="29"/>
                  </a:cxn>
                  <a:cxn ang="0">
                    <a:pos x="26" y="34"/>
                  </a:cxn>
                  <a:cxn ang="0">
                    <a:pos x="21" y="34"/>
                  </a:cxn>
                  <a:cxn ang="0">
                    <a:pos x="14" y="29"/>
                  </a:cxn>
                  <a:cxn ang="0">
                    <a:pos x="10" y="31"/>
                  </a:cxn>
                  <a:cxn ang="0">
                    <a:pos x="5" y="29"/>
                  </a:cxn>
                  <a:cxn ang="0">
                    <a:pos x="0" y="24"/>
                  </a:cxn>
                  <a:cxn ang="0">
                    <a:pos x="3" y="21"/>
                  </a:cxn>
                  <a:cxn ang="0">
                    <a:pos x="3" y="15"/>
                  </a:cxn>
                  <a:cxn ang="0">
                    <a:pos x="3" y="15"/>
                  </a:cxn>
                  <a:cxn ang="0">
                    <a:pos x="3" y="15"/>
                  </a:cxn>
                </a:cxnLst>
                <a:rect l="0" t="0" r="r" b="b"/>
                <a:pathLst>
                  <a:path w="54" h="34">
                    <a:moveTo>
                      <a:pt x="3" y="15"/>
                    </a:moveTo>
                    <a:lnTo>
                      <a:pt x="5" y="14"/>
                    </a:lnTo>
                    <a:lnTo>
                      <a:pt x="9" y="7"/>
                    </a:lnTo>
                    <a:lnTo>
                      <a:pt x="19" y="1"/>
                    </a:lnTo>
                    <a:lnTo>
                      <a:pt x="24" y="0"/>
                    </a:lnTo>
                    <a:lnTo>
                      <a:pt x="26" y="3"/>
                    </a:lnTo>
                    <a:lnTo>
                      <a:pt x="35" y="5"/>
                    </a:lnTo>
                    <a:lnTo>
                      <a:pt x="38" y="7"/>
                    </a:lnTo>
                    <a:lnTo>
                      <a:pt x="42" y="3"/>
                    </a:lnTo>
                    <a:lnTo>
                      <a:pt x="45" y="5"/>
                    </a:lnTo>
                    <a:lnTo>
                      <a:pt x="50" y="7"/>
                    </a:lnTo>
                    <a:lnTo>
                      <a:pt x="50" y="7"/>
                    </a:lnTo>
                    <a:lnTo>
                      <a:pt x="50" y="12"/>
                    </a:lnTo>
                    <a:lnTo>
                      <a:pt x="50" y="15"/>
                    </a:lnTo>
                    <a:lnTo>
                      <a:pt x="54" y="19"/>
                    </a:lnTo>
                    <a:lnTo>
                      <a:pt x="54" y="24"/>
                    </a:lnTo>
                    <a:lnTo>
                      <a:pt x="54" y="26"/>
                    </a:lnTo>
                    <a:lnTo>
                      <a:pt x="47" y="29"/>
                    </a:lnTo>
                    <a:lnTo>
                      <a:pt x="42" y="29"/>
                    </a:lnTo>
                    <a:lnTo>
                      <a:pt x="38" y="31"/>
                    </a:lnTo>
                    <a:lnTo>
                      <a:pt x="33" y="29"/>
                    </a:lnTo>
                    <a:lnTo>
                      <a:pt x="29" y="29"/>
                    </a:lnTo>
                    <a:lnTo>
                      <a:pt x="26" y="34"/>
                    </a:lnTo>
                    <a:lnTo>
                      <a:pt x="21" y="34"/>
                    </a:lnTo>
                    <a:lnTo>
                      <a:pt x="14" y="29"/>
                    </a:lnTo>
                    <a:lnTo>
                      <a:pt x="10" y="31"/>
                    </a:lnTo>
                    <a:lnTo>
                      <a:pt x="5" y="29"/>
                    </a:lnTo>
                    <a:lnTo>
                      <a:pt x="0" y="24"/>
                    </a:lnTo>
                    <a:lnTo>
                      <a:pt x="3" y="21"/>
                    </a:lnTo>
                    <a:lnTo>
                      <a:pt x="3" y="15"/>
                    </a:lnTo>
                    <a:lnTo>
                      <a:pt x="3" y="15"/>
                    </a:lnTo>
                    <a:lnTo>
                      <a:pt x="3" y="15"/>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7" name="Freeform 190"/>
              <p:cNvSpPr>
                <a:spLocks noEditPoints="1"/>
              </p:cNvSpPr>
              <p:nvPr/>
            </p:nvSpPr>
            <p:spPr bwMode="auto">
              <a:xfrm>
                <a:off x="8967788" y="4700588"/>
                <a:ext cx="63500" cy="153988"/>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8" name="Freeform 191"/>
              <p:cNvSpPr>
                <a:spLocks noEditPoints="1"/>
              </p:cNvSpPr>
              <p:nvPr/>
            </p:nvSpPr>
            <p:spPr bwMode="auto">
              <a:xfrm>
                <a:off x="8967788" y="4700588"/>
                <a:ext cx="63500" cy="153988"/>
              </a:xfrm>
              <a:custGeom>
                <a:avLst/>
                <a:gdLst/>
                <a:ahLst/>
                <a:cxnLst>
                  <a:cxn ang="0">
                    <a:pos x="40" y="94"/>
                  </a:cxn>
                  <a:cxn ang="0">
                    <a:pos x="38" y="94"/>
                  </a:cxn>
                  <a:cxn ang="0">
                    <a:pos x="38" y="90"/>
                  </a:cxn>
                  <a:cxn ang="0">
                    <a:pos x="38" y="90"/>
                  </a:cxn>
                  <a:cxn ang="0">
                    <a:pos x="38" y="78"/>
                  </a:cxn>
                  <a:cxn ang="0">
                    <a:pos x="35" y="81"/>
                  </a:cxn>
                  <a:cxn ang="0">
                    <a:pos x="36" y="76"/>
                  </a:cxn>
                  <a:cxn ang="0">
                    <a:pos x="36" y="76"/>
                  </a:cxn>
                  <a:cxn ang="0">
                    <a:pos x="24" y="55"/>
                  </a:cxn>
                  <a:cxn ang="0">
                    <a:pos x="29" y="55"/>
                  </a:cxn>
                  <a:cxn ang="0">
                    <a:pos x="28" y="61"/>
                  </a:cxn>
                  <a:cxn ang="0">
                    <a:pos x="24" y="55"/>
                  </a:cxn>
                  <a:cxn ang="0">
                    <a:pos x="24" y="55"/>
                  </a:cxn>
                  <a:cxn ang="0">
                    <a:pos x="28" y="1"/>
                  </a:cxn>
                  <a:cxn ang="0">
                    <a:pos x="28" y="12"/>
                  </a:cxn>
                  <a:cxn ang="0">
                    <a:pos x="28" y="1"/>
                  </a:cxn>
                  <a:cxn ang="0">
                    <a:pos x="28" y="1"/>
                  </a:cxn>
                  <a:cxn ang="0">
                    <a:pos x="19" y="14"/>
                  </a:cxn>
                  <a:cxn ang="0">
                    <a:pos x="24" y="12"/>
                  </a:cxn>
                  <a:cxn ang="0">
                    <a:pos x="21" y="12"/>
                  </a:cxn>
                  <a:cxn ang="0">
                    <a:pos x="19" y="14"/>
                  </a:cxn>
                  <a:cxn ang="0">
                    <a:pos x="19" y="14"/>
                  </a:cxn>
                  <a:cxn ang="0">
                    <a:pos x="28" y="15"/>
                  </a:cxn>
                  <a:cxn ang="0">
                    <a:pos x="29" y="22"/>
                  </a:cxn>
                  <a:cxn ang="0">
                    <a:pos x="28" y="24"/>
                  </a:cxn>
                  <a:cxn ang="0">
                    <a:pos x="28" y="19"/>
                  </a:cxn>
                  <a:cxn ang="0">
                    <a:pos x="28" y="15"/>
                  </a:cxn>
                  <a:cxn ang="0">
                    <a:pos x="28" y="15"/>
                  </a:cxn>
                  <a:cxn ang="0">
                    <a:pos x="26" y="38"/>
                  </a:cxn>
                  <a:cxn ang="0">
                    <a:pos x="31" y="41"/>
                  </a:cxn>
                  <a:cxn ang="0">
                    <a:pos x="24" y="41"/>
                  </a:cxn>
                  <a:cxn ang="0">
                    <a:pos x="24" y="41"/>
                  </a:cxn>
                  <a:cxn ang="0">
                    <a:pos x="24" y="31"/>
                  </a:cxn>
                  <a:cxn ang="0">
                    <a:pos x="28" y="31"/>
                  </a:cxn>
                  <a:cxn ang="0">
                    <a:pos x="29" y="34"/>
                  </a:cxn>
                  <a:cxn ang="0">
                    <a:pos x="26" y="36"/>
                  </a:cxn>
                  <a:cxn ang="0">
                    <a:pos x="21" y="34"/>
                  </a:cxn>
                  <a:cxn ang="0">
                    <a:pos x="24" y="31"/>
                  </a:cxn>
                  <a:cxn ang="0">
                    <a:pos x="24" y="31"/>
                  </a:cxn>
                  <a:cxn ang="0">
                    <a:pos x="12" y="24"/>
                  </a:cxn>
                  <a:cxn ang="0">
                    <a:pos x="15" y="29"/>
                  </a:cxn>
                  <a:cxn ang="0">
                    <a:pos x="19" y="36"/>
                  </a:cxn>
                  <a:cxn ang="0">
                    <a:pos x="12" y="38"/>
                  </a:cxn>
                  <a:cxn ang="0">
                    <a:pos x="12" y="31"/>
                  </a:cxn>
                  <a:cxn ang="0">
                    <a:pos x="12" y="27"/>
                  </a:cxn>
                  <a:cxn ang="0">
                    <a:pos x="10" y="24"/>
                  </a:cxn>
                  <a:cxn ang="0">
                    <a:pos x="10" y="24"/>
                  </a:cxn>
                  <a:cxn ang="0">
                    <a:pos x="10" y="24"/>
                  </a:cxn>
                  <a:cxn ang="0">
                    <a:pos x="0" y="5"/>
                  </a:cxn>
                  <a:cxn ang="0">
                    <a:pos x="2" y="14"/>
                  </a:cxn>
                  <a:cxn ang="0">
                    <a:pos x="7" y="19"/>
                  </a:cxn>
                  <a:cxn ang="0">
                    <a:pos x="10" y="15"/>
                  </a:cxn>
                  <a:cxn ang="0">
                    <a:pos x="12" y="12"/>
                  </a:cxn>
                  <a:cxn ang="0">
                    <a:pos x="12" y="5"/>
                  </a:cxn>
                  <a:cxn ang="0">
                    <a:pos x="7" y="5"/>
                  </a:cxn>
                  <a:cxn ang="0">
                    <a:pos x="7" y="8"/>
                  </a:cxn>
                  <a:cxn ang="0">
                    <a:pos x="5" y="1"/>
                  </a:cxn>
                  <a:cxn ang="0">
                    <a:pos x="2" y="0"/>
                  </a:cxn>
                  <a:cxn ang="0">
                    <a:pos x="2" y="0"/>
                  </a:cxn>
                </a:cxnLst>
                <a:rect l="0" t="0" r="r" b="b"/>
                <a:pathLst>
                  <a:path w="40" h="97">
                    <a:moveTo>
                      <a:pt x="38" y="90"/>
                    </a:moveTo>
                    <a:lnTo>
                      <a:pt x="40" y="94"/>
                    </a:lnTo>
                    <a:lnTo>
                      <a:pt x="40" y="97"/>
                    </a:lnTo>
                    <a:lnTo>
                      <a:pt x="38" y="94"/>
                    </a:lnTo>
                    <a:lnTo>
                      <a:pt x="38" y="90"/>
                    </a:lnTo>
                    <a:lnTo>
                      <a:pt x="38" y="90"/>
                    </a:lnTo>
                    <a:lnTo>
                      <a:pt x="38" y="90"/>
                    </a:lnTo>
                    <a:lnTo>
                      <a:pt x="38" y="90"/>
                    </a:lnTo>
                    <a:close/>
                    <a:moveTo>
                      <a:pt x="36" y="76"/>
                    </a:moveTo>
                    <a:lnTo>
                      <a:pt x="38" y="78"/>
                    </a:lnTo>
                    <a:lnTo>
                      <a:pt x="38" y="85"/>
                    </a:lnTo>
                    <a:lnTo>
                      <a:pt x="35" y="81"/>
                    </a:lnTo>
                    <a:lnTo>
                      <a:pt x="35" y="78"/>
                    </a:lnTo>
                    <a:lnTo>
                      <a:pt x="36" y="76"/>
                    </a:lnTo>
                    <a:lnTo>
                      <a:pt x="36" y="76"/>
                    </a:lnTo>
                    <a:lnTo>
                      <a:pt x="36" y="76"/>
                    </a:lnTo>
                    <a:lnTo>
                      <a:pt x="36" y="76"/>
                    </a:lnTo>
                    <a:close/>
                    <a:moveTo>
                      <a:pt x="24" y="55"/>
                    </a:moveTo>
                    <a:lnTo>
                      <a:pt x="28" y="55"/>
                    </a:lnTo>
                    <a:lnTo>
                      <a:pt x="29" y="55"/>
                    </a:lnTo>
                    <a:lnTo>
                      <a:pt x="29" y="59"/>
                    </a:lnTo>
                    <a:lnTo>
                      <a:pt x="28" y="61"/>
                    </a:lnTo>
                    <a:lnTo>
                      <a:pt x="24" y="59"/>
                    </a:lnTo>
                    <a:lnTo>
                      <a:pt x="24" y="55"/>
                    </a:lnTo>
                    <a:lnTo>
                      <a:pt x="24" y="55"/>
                    </a:lnTo>
                    <a:lnTo>
                      <a:pt x="24" y="55"/>
                    </a:lnTo>
                    <a:lnTo>
                      <a:pt x="24" y="55"/>
                    </a:lnTo>
                    <a:close/>
                    <a:moveTo>
                      <a:pt x="28" y="1"/>
                    </a:moveTo>
                    <a:lnTo>
                      <a:pt x="31" y="8"/>
                    </a:lnTo>
                    <a:lnTo>
                      <a:pt x="28" y="12"/>
                    </a:lnTo>
                    <a:lnTo>
                      <a:pt x="29" y="8"/>
                    </a:lnTo>
                    <a:lnTo>
                      <a:pt x="28" y="1"/>
                    </a:lnTo>
                    <a:lnTo>
                      <a:pt x="28" y="1"/>
                    </a:lnTo>
                    <a:lnTo>
                      <a:pt x="28" y="1"/>
                    </a:lnTo>
                    <a:lnTo>
                      <a:pt x="28" y="1"/>
                    </a:lnTo>
                    <a:close/>
                    <a:moveTo>
                      <a:pt x="19" y="14"/>
                    </a:moveTo>
                    <a:lnTo>
                      <a:pt x="24" y="15"/>
                    </a:lnTo>
                    <a:lnTo>
                      <a:pt x="24" y="12"/>
                    </a:lnTo>
                    <a:lnTo>
                      <a:pt x="26" y="10"/>
                    </a:lnTo>
                    <a:lnTo>
                      <a:pt x="21" y="12"/>
                    </a:lnTo>
                    <a:lnTo>
                      <a:pt x="21" y="12"/>
                    </a:lnTo>
                    <a:lnTo>
                      <a:pt x="19" y="14"/>
                    </a:lnTo>
                    <a:lnTo>
                      <a:pt x="19" y="14"/>
                    </a:lnTo>
                    <a:lnTo>
                      <a:pt x="19" y="14"/>
                    </a:lnTo>
                    <a:lnTo>
                      <a:pt x="19" y="14"/>
                    </a:lnTo>
                    <a:close/>
                    <a:moveTo>
                      <a:pt x="28" y="15"/>
                    </a:moveTo>
                    <a:lnTo>
                      <a:pt x="29" y="19"/>
                    </a:lnTo>
                    <a:lnTo>
                      <a:pt x="29" y="22"/>
                    </a:lnTo>
                    <a:lnTo>
                      <a:pt x="29" y="24"/>
                    </a:lnTo>
                    <a:lnTo>
                      <a:pt x="28" y="24"/>
                    </a:lnTo>
                    <a:lnTo>
                      <a:pt x="28" y="19"/>
                    </a:lnTo>
                    <a:lnTo>
                      <a:pt x="28" y="19"/>
                    </a:lnTo>
                    <a:lnTo>
                      <a:pt x="28" y="15"/>
                    </a:lnTo>
                    <a:lnTo>
                      <a:pt x="28" y="15"/>
                    </a:lnTo>
                    <a:lnTo>
                      <a:pt x="28" y="15"/>
                    </a:lnTo>
                    <a:lnTo>
                      <a:pt x="28" y="15"/>
                    </a:lnTo>
                    <a:close/>
                    <a:moveTo>
                      <a:pt x="24" y="41"/>
                    </a:moveTo>
                    <a:lnTo>
                      <a:pt x="26" y="38"/>
                    </a:lnTo>
                    <a:lnTo>
                      <a:pt x="29" y="41"/>
                    </a:lnTo>
                    <a:lnTo>
                      <a:pt x="31" y="41"/>
                    </a:lnTo>
                    <a:lnTo>
                      <a:pt x="26" y="41"/>
                    </a:lnTo>
                    <a:lnTo>
                      <a:pt x="24" y="41"/>
                    </a:lnTo>
                    <a:lnTo>
                      <a:pt x="24" y="41"/>
                    </a:lnTo>
                    <a:lnTo>
                      <a:pt x="24" y="41"/>
                    </a:lnTo>
                    <a:lnTo>
                      <a:pt x="24" y="41"/>
                    </a:lnTo>
                    <a:close/>
                    <a:moveTo>
                      <a:pt x="24" y="31"/>
                    </a:moveTo>
                    <a:lnTo>
                      <a:pt x="26" y="29"/>
                    </a:lnTo>
                    <a:lnTo>
                      <a:pt x="28" y="31"/>
                    </a:lnTo>
                    <a:lnTo>
                      <a:pt x="29" y="31"/>
                    </a:lnTo>
                    <a:lnTo>
                      <a:pt x="29" y="34"/>
                    </a:lnTo>
                    <a:lnTo>
                      <a:pt x="28" y="34"/>
                    </a:lnTo>
                    <a:lnTo>
                      <a:pt x="26" y="36"/>
                    </a:lnTo>
                    <a:lnTo>
                      <a:pt x="24" y="36"/>
                    </a:lnTo>
                    <a:lnTo>
                      <a:pt x="21" y="34"/>
                    </a:lnTo>
                    <a:lnTo>
                      <a:pt x="24" y="31"/>
                    </a:lnTo>
                    <a:lnTo>
                      <a:pt x="24" y="31"/>
                    </a:lnTo>
                    <a:lnTo>
                      <a:pt x="24" y="31"/>
                    </a:lnTo>
                    <a:lnTo>
                      <a:pt x="24" y="31"/>
                    </a:lnTo>
                    <a:close/>
                    <a:moveTo>
                      <a:pt x="10" y="24"/>
                    </a:moveTo>
                    <a:lnTo>
                      <a:pt x="12" y="24"/>
                    </a:lnTo>
                    <a:lnTo>
                      <a:pt x="15" y="27"/>
                    </a:lnTo>
                    <a:lnTo>
                      <a:pt x="15" y="29"/>
                    </a:lnTo>
                    <a:lnTo>
                      <a:pt x="19" y="33"/>
                    </a:lnTo>
                    <a:lnTo>
                      <a:pt x="19" y="36"/>
                    </a:lnTo>
                    <a:lnTo>
                      <a:pt x="15" y="36"/>
                    </a:lnTo>
                    <a:lnTo>
                      <a:pt x="12" y="38"/>
                    </a:lnTo>
                    <a:lnTo>
                      <a:pt x="12" y="36"/>
                    </a:lnTo>
                    <a:lnTo>
                      <a:pt x="12" y="31"/>
                    </a:lnTo>
                    <a:lnTo>
                      <a:pt x="15" y="29"/>
                    </a:lnTo>
                    <a:lnTo>
                      <a:pt x="12" y="27"/>
                    </a:lnTo>
                    <a:lnTo>
                      <a:pt x="10" y="27"/>
                    </a:lnTo>
                    <a:lnTo>
                      <a:pt x="10" y="24"/>
                    </a:lnTo>
                    <a:lnTo>
                      <a:pt x="10" y="24"/>
                    </a:lnTo>
                    <a:lnTo>
                      <a:pt x="10" y="24"/>
                    </a:lnTo>
                    <a:lnTo>
                      <a:pt x="10" y="24"/>
                    </a:lnTo>
                    <a:lnTo>
                      <a:pt x="10" y="24"/>
                    </a:lnTo>
                    <a:close/>
                    <a:moveTo>
                      <a:pt x="2" y="0"/>
                    </a:moveTo>
                    <a:lnTo>
                      <a:pt x="0" y="5"/>
                    </a:lnTo>
                    <a:lnTo>
                      <a:pt x="2" y="10"/>
                    </a:lnTo>
                    <a:lnTo>
                      <a:pt x="2" y="14"/>
                    </a:lnTo>
                    <a:lnTo>
                      <a:pt x="3" y="19"/>
                    </a:lnTo>
                    <a:lnTo>
                      <a:pt x="7" y="19"/>
                    </a:lnTo>
                    <a:lnTo>
                      <a:pt x="7" y="15"/>
                    </a:lnTo>
                    <a:lnTo>
                      <a:pt x="10" y="15"/>
                    </a:lnTo>
                    <a:lnTo>
                      <a:pt x="12" y="15"/>
                    </a:lnTo>
                    <a:lnTo>
                      <a:pt x="12" y="12"/>
                    </a:lnTo>
                    <a:lnTo>
                      <a:pt x="10" y="8"/>
                    </a:lnTo>
                    <a:lnTo>
                      <a:pt x="12" y="5"/>
                    </a:lnTo>
                    <a:lnTo>
                      <a:pt x="10" y="5"/>
                    </a:lnTo>
                    <a:lnTo>
                      <a:pt x="7" y="5"/>
                    </a:lnTo>
                    <a:lnTo>
                      <a:pt x="7" y="8"/>
                    </a:lnTo>
                    <a:lnTo>
                      <a:pt x="7" y="8"/>
                    </a:lnTo>
                    <a:lnTo>
                      <a:pt x="5" y="7"/>
                    </a:lnTo>
                    <a:lnTo>
                      <a:pt x="5" y="1"/>
                    </a:lnTo>
                    <a:lnTo>
                      <a:pt x="5" y="1"/>
                    </a:lnTo>
                    <a:lnTo>
                      <a:pt x="2" y="0"/>
                    </a:lnTo>
                    <a:lnTo>
                      <a:pt x="2" y="0"/>
                    </a:lnTo>
                    <a:lnTo>
                      <a:pt x="2" y="0"/>
                    </a:lnTo>
                    <a:lnTo>
                      <a:pt x="2" y="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9" name="Freeform 192"/>
              <p:cNvSpPr>
                <a:spLocks noEditPoints="1"/>
              </p:cNvSpPr>
              <p:nvPr/>
            </p:nvSpPr>
            <p:spPr bwMode="auto">
              <a:xfrm>
                <a:off x="8696325" y="4443413"/>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0" name="Freeform 193"/>
              <p:cNvSpPr>
                <a:spLocks noEditPoints="1"/>
              </p:cNvSpPr>
              <p:nvPr/>
            </p:nvSpPr>
            <p:spPr bwMode="auto">
              <a:xfrm>
                <a:off x="8696325" y="4443413"/>
                <a:ext cx="271463" cy="163513"/>
              </a:xfrm>
              <a:custGeom>
                <a:avLst/>
                <a:gdLst/>
                <a:ahLst/>
                <a:cxnLst>
                  <a:cxn ang="0">
                    <a:pos x="169" y="85"/>
                  </a:cxn>
                  <a:cxn ang="0">
                    <a:pos x="164" y="87"/>
                  </a:cxn>
                  <a:cxn ang="0">
                    <a:pos x="164" y="85"/>
                  </a:cxn>
                  <a:cxn ang="0">
                    <a:pos x="67" y="99"/>
                  </a:cxn>
                  <a:cxn ang="0">
                    <a:pos x="72" y="103"/>
                  </a:cxn>
                  <a:cxn ang="0">
                    <a:pos x="65" y="101"/>
                  </a:cxn>
                  <a:cxn ang="0">
                    <a:pos x="65" y="99"/>
                  </a:cxn>
                  <a:cxn ang="0">
                    <a:pos x="93" y="76"/>
                  </a:cxn>
                  <a:cxn ang="0">
                    <a:pos x="103" y="85"/>
                  </a:cxn>
                  <a:cxn ang="0">
                    <a:pos x="101" y="87"/>
                  </a:cxn>
                  <a:cxn ang="0">
                    <a:pos x="91" y="80"/>
                  </a:cxn>
                  <a:cxn ang="0">
                    <a:pos x="89" y="76"/>
                  </a:cxn>
                  <a:cxn ang="0">
                    <a:pos x="67" y="59"/>
                  </a:cxn>
                  <a:cxn ang="0">
                    <a:pos x="79" y="64"/>
                  </a:cxn>
                  <a:cxn ang="0">
                    <a:pos x="79" y="69"/>
                  </a:cxn>
                  <a:cxn ang="0">
                    <a:pos x="70" y="68"/>
                  </a:cxn>
                  <a:cxn ang="0">
                    <a:pos x="61" y="56"/>
                  </a:cxn>
                  <a:cxn ang="0">
                    <a:pos x="65" y="56"/>
                  </a:cxn>
                  <a:cxn ang="0">
                    <a:pos x="70" y="50"/>
                  </a:cxn>
                  <a:cxn ang="0">
                    <a:pos x="75" y="52"/>
                  </a:cxn>
                  <a:cxn ang="0">
                    <a:pos x="75" y="52"/>
                  </a:cxn>
                  <a:cxn ang="0">
                    <a:pos x="79" y="43"/>
                  </a:cxn>
                  <a:cxn ang="0">
                    <a:pos x="82" y="52"/>
                  </a:cxn>
                  <a:cxn ang="0">
                    <a:pos x="93" y="64"/>
                  </a:cxn>
                  <a:cxn ang="0">
                    <a:pos x="93" y="57"/>
                  </a:cxn>
                  <a:cxn ang="0">
                    <a:pos x="84" y="47"/>
                  </a:cxn>
                  <a:cxn ang="0">
                    <a:pos x="79" y="38"/>
                  </a:cxn>
                  <a:cxn ang="0">
                    <a:pos x="79" y="38"/>
                  </a:cxn>
                  <a:cxn ang="0">
                    <a:pos x="53" y="29"/>
                  </a:cxn>
                  <a:cxn ang="0">
                    <a:pos x="61" y="38"/>
                  </a:cxn>
                  <a:cxn ang="0">
                    <a:pos x="60" y="43"/>
                  </a:cxn>
                  <a:cxn ang="0">
                    <a:pos x="54" y="35"/>
                  </a:cxn>
                  <a:cxn ang="0">
                    <a:pos x="42" y="24"/>
                  </a:cxn>
                  <a:cxn ang="0">
                    <a:pos x="42" y="24"/>
                  </a:cxn>
                  <a:cxn ang="0">
                    <a:pos x="33" y="45"/>
                  </a:cxn>
                  <a:cxn ang="0">
                    <a:pos x="30" y="43"/>
                  </a:cxn>
                  <a:cxn ang="0">
                    <a:pos x="30" y="43"/>
                  </a:cxn>
                  <a:cxn ang="0">
                    <a:pos x="25" y="43"/>
                  </a:cxn>
                  <a:cxn ang="0">
                    <a:pos x="20" y="43"/>
                  </a:cxn>
                  <a:cxn ang="0">
                    <a:pos x="20" y="38"/>
                  </a:cxn>
                  <a:cxn ang="0">
                    <a:pos x="25" y="40"/>
                  </a:cxn>
                  <a:cxn ang="0">
                    <a:pos x="30" y="38"/>
                  </a:cxn>
                  <a:cxn ang="0">
                    <a:pos x="25" y="33"/>
                  </a:cxn>
                  <a:cxn ang="0">
                    <a:pos x="20" y="38"/>
                  </a:cxn>
                  <a:cxn ang="0">
                    <a:pos x="20" y="38"/>
                  </a:cxn>
                  <a:cxn ang="0">
                    <a:pos x="20" y="33"/>
                  </a:cxn>
                  <a:cxn ang="0">
                    <a:pos x="16" y="33"/>
                  </a:cxn>
                  <a:cxn ang="0">
                    <a:pos x="16" y="31"/>
                  </a:cxn>
                  <a:cxn ang="0">
                    <a:pos x="9" y="26"/>
                  </a:cxn>
                  <a:cxn ang="0">
                    <a:pos x="11" y="31"/>
                  </a:cxn>
                  <a:cxn ang="0">
                    <a:pos x="9" y="26"/>
                  </a:cxn>
                  <a:cxn ang="0">
                    <a:pos x="9" y="26"/>
                  </a:cxn>
                  <a:cxn ang="0">
                    <a:pos x="9" y="3"/>
                  </a:cxn>
                  <a:cxn ang="0">
                    <a:pos x="9" y="0"/>
                  </a:cxn>
                  <a:cxn ang="0">
                    <a:pos x="7" y="7"/>
                  </a:cxn>
                  <a:cxn ang="0">
                    <a:pos x="20" y="21"/>
                  </a:cxn>
                  <a:cxn ang="0">
                    <a:pos x="25" y="19"/>
                  </a:cxn>
                  <a:cxn ang="0">
                    <a:pos x="20" y="12"/>
                  </a:cxn>
                  <a:cxn ang="0">
                    <a:pos x="11" y="7"/>
                  </a:cxn>
                  <a:cxn ang="0">
                    <a:pos x="9" y="5"/>
                  </a:cxn>
                  <a:cxn ang="0">
                    <a:pos x="0" y="10"/>
                  </a:cxn>
                  <a:cxn ang="0">
                    <a:pos x="2" y="10"/>
                  </a:cxn>
                </a:cxnLst>
                <a:rect l="0" t="0" r="r" b="b"/>
                <a:pathLst>
                  <a:path w="171" h="103">
                    <a:moveTo>
                      <a:pt x="164" y="85"/>
                    </a:moveTo>
                    <a:lnTo>
                      <a:pt x="166" y="85"/>
                    </a:lnTo>
                    <a:lnTo>
                      <a:pt x="169" y="85"/>
                    </a:lnTo>
                    <a:lnTo>
                      <a:pt x="171" y="85"/>
                    </a:lnTo>
                    <a:lnTo>
                      <a:pt x="167" y="90"/>
                    </a:lnTo>
                    <a:lnTo>
                      <a:pt x="164" y="87"/>
                    </a:lnTo>
                    <a:lnTo>
                      <a:pt x="164" y="85"/>
                    </a:lnTo>
                    <a:lnTo>
                      <a:pt x="164" y="85"/>
                    </a:lnTo>
                    <a:lnTo>
                      <a:pt x="164" y="85"/>
                    </a:lnTo>
                    <a:lnTo>
                      <a:pt x="164" y="85"/>
                    </a:lnTo>
                    <a:close/>
                    <a:moveTo>
                      <a:pt x="65" y="99"/>
                    </a:moveTo>
                    <a:lnTo>
                      <a:pt x="67" y="99"/>
                    </a:lnTo>
                    <a:lnTo>
                      <a:pt x="70" y="101"/>
                    </a:lnTo>
                    <a:lnTo>
                      <a:pt x="73" y="103"/>
                    </a:lnTo>
                    <a:lnTo>
                      <a:pt x="72" y="103"/>
                    </a:lnTo>
                    <a:lnTo>
                      <a:pt x="70" y="103"/>
                    </a:lnTo>
                    <a:lnTo>
                      <a:pt x="67" y="103"/>
                    </a:lnTo>
                    <a:lnTo>
                      <a:pt x="65" y="101"/>
                    </a:lnTo>
                    <a:lnTo>
                      <a:pt x="65" y="99"/>
                    </a:lnTo>
                    <a:lnTo>
                      <a:pt x="65" y="99"/>
                    </a:lnTo>
                    <a:lnTo>
                      <a:pt x="65" y="99"/>
                    </a:lnTo>
                    <a:lnTo>
                      <a:pt x="65" y="99"/>
                    </a:lnTo>
                    <a:close/>
                    <a:moveTo>
                      <a:pt x="89" y="76"/>
                    </a:moveTo>
                    <a:lnTo>
                      <a:pt x="93" y="76"/>
                    </a:lnTo>
                    <a:lnTo>
                      <a:pt x="94" y="80"/>
                    </a:lnTo>
                    <a:lnTo>
                      <a:pt x="103" y="82"/>
                    </a:lnTo>
                    <a:lnTo>
                      <a:pt x="103" y="85"/>
                    </a:lnTo>
                    <a:lnTo>
                      <a:pt x="103" y="85"/>
                    </a:lnTo>
                    <a:lnTo>
                      <a:pt x="106" y="87"/>
                    </a:lnTo>
                    <a:lnTo>
                      <a:pt x="101" y="87"/>
                    </a:lnTo>
                    <a:lnTo>
                      <a:pt x="94" y="85"/>
                    </a:lnTo>
                    <a:lnTo>
                      <a:pt x="91" y="82"/>
                    </a:lnTo>
                    <a:lnTo>
                      <a:pt x="91" y="80"/>
                    </a:lnTo>
                    <a:lnTo>
                      <a:pt x="89" y="76"/>
                    </a:lnTo>
                    <a:lnTo>
                      <a:pt x="89" y="76"/>
                    </a:lnTo>
                    <a:lnTo>
                      <a:pt x="89" y="76"/>
                    </a:lnTo>
                    <a:lnTo>
                      <a:pt x="89" y="76"/>
                    </a:lnTo>
                    <a:close/>
                    <a:moveTo>
                      <a:pt x="65" y="56"/>
                    </a:moveTo>
                    <a:lnTo>
                      <a:pt x="67" y="59"/>
                    </a:lnTo>
                    <a:lnTo>
                      <a:pt x="70" y="59"/>
                    </a:lnTo>
                    <a:lnTo>
                      <a:pt x="75" y="61"/>
                    </a:lnTo>
                    <a:lnTo>
                      <a:pt x="79" y="64"/>
                    </a:lnTo>
                    <a:lnTo>
                      <a:pt x="80" y="64"/>
                    </a:lnTo>
                    <a:lnTo>
                      <a:pt x="80" y="66"/>
                    </a:lnTo>
                    <a:lnTo>
                      <a:pt x="79" y="69"/>
                    </a:lnTo>
                    <a:lnTo>
                      <a:pt x="75" y="69"/>
                    </a:lnTo>
                    <a:lnTo>
                      <a:pt x="73" y="66"/>
                    </a:lnTo>
                    <a:lnTo>
                      <a:pt x="70" y="68"/>
                    </a:lnTo>
                    <a:lnTo>
                      <a:pt x="67" y="66"/>
                    </a:lnTo>
                    <a:lnTo>
                      <a:pt x="61" y="61"/>
                    </a:lnTo>
                    <a:lnTo>
                      <a:pt x="61" y="56"/>
                    </a:lnTo>
                    <a:lnTo>
                      <a:pt x="65" y="56"/>
                    </a:lnTo>
                    <a:lnTo>
                      <a:pt x="65" y="56"/>
                    </a:lnTo>
                    <a:lnTo>
                      <a:pt x="65" y="56"/>
                    </a:lnTo>
                    <a:lnTo>
                      <a:pt x="65" y="56"/>
                    </a:lnTo>
                    <a:close/>
                    <a:moveTo>
                      <a:pt x="75" y="52"/>
                    </a:moveTo>
                    <a:lnTo>
                      <a:pt x="70" y="50"/>
                    </a:lnTo>
                    <a:lnTo>
                      <a:pt x="72" y="54"/>
                    </a:lnTo>
                    <a:lnTo>
                      <a:pt x="75" y="54"/>
                    </a:lnTo>
                    <a:lnTo>
                      <a:pt x="75" y="52"/>
                    </a:lnTo>
                    <a:lnTo>
                      <a:pt x="75" y="52"/>
                    </a:lnTo>
                    <a:lnTo>
                      <a:pt x="75" y="52"/>
                    </a:lnTo>
                    <a:lnTo>
                      <a:pt x="75" y="52"/>
                    </a:lnTo>
                    <a:close/>
                    <a:moveTo>
                      <a:pt x="79" y="38"/>
                    </a:moveTo>
                    <a:lnTo>
                      <a:pt x="79" y="40"/>
                    </a:lnTo>
                    <a:lnTo>
                      <a:pt x="79" y="43"/>
                    </a:lnTo>
                    <a:lnTo>
                      <a:pt x="79" y="43"/>
                    </a:lnTo>
                    <a:lnTo>
                      <a:pt x="80" y="47"/>
                    </a:lnTo>
                    <a:lnTo>
                      <a:pt x="82" y="52"/>
                    </a:lnTo>
                    <a:lnTo>
                      <a:pt x="89" y="59"/>
                    </a:lnTo>
                    <a:lnTo>
                      <a:pt x="93" y="61"/>
                    </a:lnTo>
                    <a:lnTo>
                      <a:pt x="93" y="64"/>
                    </a:lnTo>
                    <a:lnTo>
                      <a:pt x="94" y="64"/>
                    </a:lnTo>
                    <a:lnTo>
                      <a:pt x="94" y="61"/>
                    </a:lnTo>
                    <a:lnTo>
                      <a:pt x="93" y="57"/>
                    </a:lnTo>
                    <a:lnTo>
                      <a:pt x="89" y="56"/>
                    </a:lnTo>
                    <a:lnTo>
                      <a:pt x="87" y="52"/>
                    </a:lnTo>
                    <a:lnTo>
                      <a:pt x="84" y="47"/>
                    </a:lnTo>
                    <a:lnTo>
                      <a:pt x="84" y="43"/>
                    </a:lnTo>
                    <a:lnTo>
                      <a:pt x="80" y="38"/>
                    </a:lnTo>
                    <a:lnTo>
                      <a:pt x="79" y="38"/>
                    </a:lnTo>
                    <a:lnTo>
                      <a:pt x="79" y="38"/>
                    </a:lnTo>
                    <a:lnTo>
                      <a:pt x="79" y="38"/>
                    </a:lnTo>
                    <a:lnTo>
                      <a:pt x="79" y="38"/>
                    </a:lnTo>
                    <a:close/>
                    <a:moveTo>
                      <a:pt x="42" y="24"/>
                    </a:moveTo>
                    <a:lnTo>
                      <a:pt x="47" y="24"/>
                    </a:lnTo>
                    <a:lnTo>
                      <a:pt x="53" y="29"/>
                    </a:lnTo>
                    <a:lnTo>
                      <a:pt x="58" y="31"/>
                    </a:lnTo>
                    <a:lnTo>
                      <a:pt x="65" y="38"/>
                    </a:lnTo>
                    <a:lnTo>
                      <a:pt x="61" y="38"/>
                    </a:lnTo>
                    <a:lnTo>
                      <a:pt x="65" y="43"/>
                    </a:lnTo>
                    <a:lnTo>
                      <a:pt x="61" y="40"/>
                    </a:lnTo>
                    <a:lnTo>
                      <a:pt x="60" y="43"/>
                    </a:lnTo>
                    <a:lnTo>
                      <a:pt x="60" y="40"/>
                    </a:lnTo>
                    <a:lnTo>
                      <a:pt x="58" y="38"/>
                    </a:lnTo>
                    <a:lnTo>
                      <a:pt x="54" y="35"/>
                    </a:lnTo>
                    <a:lnTo>
                      <a:pt x="46" y="26"/>
                    </a:lnTo>
                    <a:lnTo>
                      <a:pt x="46" y="26"/>
                    </a:lnTo>
                    <a:lnTo>
                      <a:pt x="42" y="24"/>
                    </a:lnTo>
                    <a:lnTo>
                      <a:pt x="42" y="24"/>
                    </a:lnTo>
                    <a:lnTo>
                      <a:pt x="42" y="24"/>
                    </a:lnTo>
                    <a:lnTo>
                      <a:pt x="42" y="24"/>
                    </a:lnTo>
                    <a:close/>
                    <a:moveTo>
                      <a:pt x="30" y="43"/>
                    </a:moveTo>
                    <a:lnTo>
                      <a:pt x="37" y="43"/>
                    </a:lnTo>
                    <a:lnTo>
                      <a:pt x="33" y="45"/>
                    </a:lnTo>
                    <a:lnTo>
                      <a:pt x="33" y="47"/>
                    </a:lnTo>
                    <a:lnTo>
                      <a:pt x="30" y="43"/>
                    </a:lnTo>
                    <a:lnTo>
                      <a:pt x="30" y="43"/>
                    </a:lnTo>
                    <a:lnTo>
                      <a:pt x="30" y="43"/>
                    </a:lnTo>
                    <a:lnTo>
                      <a:pt x="30" y="43"/>
                    </a:lnTo>
                    <a:lnTo>
                      <a:pt x="30" y="43"/>
                    </a:lnTo>
                    <a:close/>
                    <a:moveTo>
                      <a:pt x="20" y="43"/>
                    </a:moveTo>
                    <a:lnTo>
                      <a:pt x="23" y="40"/>
                    </a:lnTo>
                    <a:lnTo>
                      <a:pt x="25" y="43"/>
                    </a:lnTo>
                    <a:lnTo>
                      <a:pt x="23" y="43"/>
                    </a:lnTo>
                    <a:lnTo>
                      <a:pt x="20" y="43"/>
                    </a:lnTo>
                    <a:lnTo>
                      <a:pt x="20" y="43"/>
                    </a:lnTo>
                    <a:lnTo>
                      <a:pt x="20" y="43"/>
                    </a:lnTo>
                    <a:lnTo>
                      <a:pt x="20" y="43"/>
                    </a:lnTo>
                    <a:close/>
                    <a:moveTo>
                      <a:pt x="20" y="38"/>
                    </a:moveTo>
                    <a:lnTo>
                      <a:pt x="23" y="38"/>
                    </a:lnTo>
                    <a:lnTo>
                      <a:pt x="25" y="38"/>
                    </a:lnTo>
                    <a:lnTo>
                      <a:pt x="25" y="40"/>
                    </a:lnTo>
                    <a:lnTo>
                      <a:pt x="28" y="43"/>
                    </a:lnTo>
                    <a:lnTo>
                      <a:pt x="30" y="43"/>
                    </a:lnTo>
                    <a:lnTo>
                      <a:pt x="30" y="38"/>
                    </a:lnTo>
                    <a:lnTo>
                      <a:pt x="28" y="35"/>
                    </a:lnTo>
                    <a:lnTo>
                      <a:pt x="28" y="35"/>
                    </a:lnTo>
                    <a:lnTo>
                      <a:pt x="25" y="33"/>
                    </a:lnTo>
                    <a:lnTo>
                      <a:pt x="25" y="33"/>
                    </a:lnTo>
                    <a:lnTo>
                      <a:pt x="23" y="35"/>
                    </a:lnTo>
                    <a:lnTo>
                      <a:pt x="20" y="38"/>
                    </a:lnTo>
                    <a:lnTo>
                      <a:pt x="20" y="38"/>
                    </a:lnTo>
                    <a:lnTo>
                      <a:pt x="20" y="38"/>
                    </a:lnTo>
                    <a:lnTo>
                      <a:pt x="20" y="38"/>
                    </a:lnTo>
                    <a:close/>
                    <a:moveTo>
                      <a:pt x="16" y="31"/>
                    </a:moveTo>
                    <a:lnTo>
                      <a:pt x="18" y="29"/>
                    </a:lnTo>
                    <a:lnTo>
                      <a:pt x="20" y="33"/>
                    </a:lnTo>
                    <a:lnTo>
                      <a:pt x="20" y="35"/>
                    </a:lnTo>
                    <a:lnTo>
                      <a:pt x="18" y="35"/>
                    </a:lnTo>
                    <a:lnTo>
                      <a:pt x="16" y="33"/>
                    </a:lnTo>
                    <a:lnTo>
                      <a:pt x="16" y="33"/>
                    </a:lnTo>
                    <a:lnTo>
                      <a:pt x="16" y="31"/>
                    </a:lnTo>
                    <a:lnTo>
                      <a:pt x="16" y="31"/>
                    </a:lnTo>
                    <a:lnTo>
                      <a:pt x="16" y="31"/>
                    </a:lnTo>
                    <a:lnTo>
                      <a:pt x="16" y="31"/>
                    </a:lnTo>
                    <a:close/>
                    <a:moveTo>
                      <a:pt x="9" y="26"/>
                    </a:moveTo>
                    <a:lnTo>
                      <a:pt x="14" y="29"/>
                    </a:lnTo>
                    <a:lnTo>
                      <a:pt x="13" y="31"/>
                    </a:lnTo>
                    <a:lnTo>
                      <a:pt x="11" y="31"/>
                    </a:lnTo>
                    <a:lnTo>
                      <a:pt x="11" y="31"/>
                    </a:lnTo>
                    <a:lnTo>
                      <a:pt x="9" y="26"/>
                    </a:lnTo>
                    <a:lnTo>
                      <a:pt x="9" y="26"/>
                    </a:lnTo>
                    <a:lnTo>
                      <a:pt x="9" y="26"/>
                    </a:lnTo>
                    <a:lnTo>
                      <a:pt x="9" y="26"/>
                    </a:lnTo>
                    <a:lnTo>
                      <a:pt x="9" y="26"/>
                    </a:lnTo>
                    <a:close/>
                    <a:moveTo>
                      <a:pt x="9" y="0"/>
                    </a:moveTo>
                    <a:lnTo>
                      <a:pt x="6" y="5"/>
                    </a:lnTo>
                    <a:lnTo>
                      <a:pt x="9" y="3"/>
                    </a:lnTo>
                    <a:lnTo>
                      <a:pt x="9" y="0"/>
                    </a:lnTo>
                    <a:lnTo>
                      <a:pt x="9" y="0"/>
                    </a:lnTo>
                    <a:lnTo>
                      <a:pt x="9" y="0"/>
                    </a:lnTo>
                    <a:lnTo>
                      <a:pt x="9" y="0"/>
                    </a:lnTo>
                    <a:close/>
                    <a:moveTo>
                      <a:pt x="9" y="5"/>
                    </a:moveTo>
                    <a:lnTo>
                      <a:pt x="7" y="7"/>
                    </a:lnTo>
                    <a:lnTo>
                      <a:pt x="11" y="12"/>
                    </a:lnTo>
                    <a:lnTo>
                      <a:pt x="16" y="16"/>
                    </a:lnTo>
                    <a:lnTo>
                      <a:pt x="20" y="21"/>
                    </a:lnTo>
                    <a:lnTo>
                      <a:pt x="25" y="21"/>
                    </a:lnTo>
                    <a:lnTo>
                      <a:pt x="28" y="21"/>
                    </a:lnTo>
                    <a:lnTo>
                      <a:pt x="25" y="19"/>
                    </a:lnTo>
                    <a:lnTo>
                      <a:pt x="23" y="16"/>
                    </a:lnTo>
                    <a:lnTo>
                      <a:pt x="20" y="14"/>
                    </a:lnTo>
                    <a:lnTo>
                      <a:pt x="20" y="12"/>
                    </a:lnTo>
                    <a:lnTo>
                      <a:pt x="18" y="10"/>
                    </a:lnTo>
                    <a:lnTo>
                      <a:pt x="13" y="9"/>
                    </a:lnTo>
                    <a:lnTo>
                      <a:pt x="11" y="7"/>
                    </a:lnTo>
                    <a:lnTo>
                      <a:pt x="9" y="5"/>
                    </a:lnTo>
                    <a:lnTo>
                      <a:pt x="9" y="5"/>
                    </a:lnTo>
                    <a:lnTo>
                      <a:pt x="9" y="5"/>
                    </a:lnTo>
                    <a:lnTo>
                      <a:pt x="9" y="5"/>
                    </a:lnTo>
                    <a:close/>
                    <a:moveTo>
                      <a:pt x="2" y="10"/>
                    </a:moveTo>
                    <a:lnTo>
                      <a:pt x="0" y="10"/>
                    </a:lnTo>
                    <a:lnTo>
                      <a:pt x="2" y="12"/>
                    </a:lnTo>
                    <a:lnTo>
                      <a:pt x="2" y="10"/>
                    </a:lnTo>
                    <a:lnTo>
                      <a:pt x="2" y="10"/>
                    </a:lnTo>
                    <a:lnTo>
                      <a:pt x="2" y="10"/>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1" name="Freeform 194"/>
              <p:cNvSpPr>
                <a:spLocks noEditPoints="1"/>
              </p:cNvSpPr>
              <p:nvPr/>
            </p:nvSpPr>
            <p:spPr bwMode="auto">
              <a:xfrm>
                <a:off x="8288338" y="4305301"/>
                <a:ext cx="407988" cy="295275"/>
              </a:xfrm>
              <a:custGeom>
                <a:avLst/>
                <a:gdLst/>
                <a:ahLst/>
                <a:cxnLst>
                  <a:cxn ang="0">
                    <a:pos x="219" y="181"/>
                  </a:cxn>
                  <a:cxn ang="0">
                    <a:pos x="205" y="181"/>
                  </a:cxn>
                  <a:cxn ang="0">
                    <a:pos x="108" y="17"/>
                  </a:cxn>
                  <a:cxn ang="0">
                    <a:pos x="242" y="75"/>
                  </a:cxn>
                  <a:cxn ang="0">
                    <a:pos x="249" y="99"/>
                  </a:cxn>
                  <a:cxn ang="0">
                    <a:pos x="237" y="75"/>
                  </a:cxn>
                  <a:cxn ang="0">
                    <a:pos x="233" y="66"/>
                  </a:cxn>
                  <a:cxn ang="0">
                    <a:pos x="228" y="59"/>
                  </a:cxn>
                  <a:cxn ang="0">
                    <a:pos x="207" y="47"/>
                  </a:cxn>
                  <a:cxn ang="0">
                    <a:pos x="195" y="40"/>
                  </a:cxn>
                  <a:cxn ang="0">
                    <a:pos x="150" y="0"/>
                  </a:cxn>
                  <a:cxn ang="0">
                    <a:pos x="164" y="24"/>
                  </a:cxn>
                  <a:cxn ang="0">
                    <a:pos x="162" y="66"/>
                  </a:cxn>
                  <a:cxn ang="0">
                    <a:pos x="132" y="82"/>
                  </a:cxn>
                  <a:cxn ang="0">
                    <a:pos x="169" y="89"/>
                  </a:cxn>
                  <a:cxn ang="0">
                    <a:pos x="195" y="73"/>
                  </a:cxn>
                  <a:cxn ang="0">
                    <a:pos x="190" y="54"/>
                  </a:cxn>
                  <a:cxn ang="0">
                    <a:pos x="169" y="77"/>
                  </a:cxn>
                  <a:cxn ang="0">
                    <a:pos x="153" y="73"/>
                  </a:cxn>
                  <a:cxn ang="0">
                    <a:pos x="129" y="75"/>
                  </a:cxn>
                  <a:cxn ang="0">
                    <a:pos x="115" y="77"/>
                  </a:cxn>
                  <a:cxn ang="0">
                    <a:pos x="106" y="71"/>
                  </a:cxn>
                  <a:cxn ang="0">
                    <a:pos x="197" y="139"/>
                  </a:cxn>
                  <a:cxn ang="0">
                    <a:pos x="172" y="127"/>
                  </a:cxn>
                  <a:cxn ang="0">
                    <a:pos x="172" y="127"/>
                  </a:cxn>
                  <a:cxn ang="0">
                    <a:pos x="174" y="155"/>
                  </a:cxn>
                  <a:cxn ang="0">
                    <a:pos x="165" y="151"/>
                  </a:cxn>
                  <a:cxn ang="0">
                    <a:pos x="167" y="148"/>
                  </a:cxn>
                  <a:cxn ang="0">
                    <a:pos x="157" y="144"/>
                  </a:cxn>
                  <a:cxn ang="0">
                    <a:pos x="155" y="144"/>
                  </a:cxn>
                  <a:cxn ang="0">
                    <a:pos x="63" y="115"/>
                  </a:cxn>
                  <a:cxn ang="0">
                    <a:pos x="58" y="115"/>
                  </a:cxn>
                  <a:cxn ang="0">
                    <a:pos x="63" y="116"/>
                  </a:cxn>
                  <a:cxn ang="0">
                    <a:pos x="51" y="116"/>
                  </a:cxn>
                  <a:cxn ang="0">
                    <a:pos x="42" y="130"/>
                  </a:cxn>
                  <a:cxn ang="0">
                    <a:pos x="40" y="129"/>
                  </a:cxn>
                  <a:cxn ang="0">
                    <a:pos x="39" y="130"/>
                  </a:cxn>
                  <a:cxn ang="0">
                    <a:pos x="47" y="122"/>
                  </a:cxn>
                  <a:cxn ang="0">
                    <a:pos x="47" y="122"/>
                  </a:cxn>
                  <a:cxn ang="0">
                    <a:pos x="19" y="141"/>
                  </a:cxn>
                  <a:cxn ang="0">
                    <a:pos x="40" y="134"/>
                  </a:cxn>
                  <a:cxn ang="0">
                    <a:pos x="12" y="115"/>
                  </a:cxn>
                  <a:cxn ang="0">
                    <a:pos x="25" y="125"/>
                  </a:cxn>
                  <a:cxn ang="0">
                    <a:pos x="39" y="120"/>
                  </a:cxn>
                  <a:cxn ang="0">
                    <a:pos x="47" y="113"/>
                  </a:cxn>
                  <a:cxn ang="0">
                    <a:pos x="56" y="116"/>
                  </a:cxn>
                  <a:cxn ang="0">
                    <a:pos x="70" y="115"/>
                  </a:cxn>
                  <a:cxn ang="0">
                    <a:pos x="96" y="137"/>
                  </a:cxn>
                  <a:cxn ang="0">
                    <a:pos x="122" y="158"/>
                  </a:cxn>
                  <a:cxn ang="0">
                    <a:pos x="153" y="165"/>
                  </a:cxn>
                  <a:cxn ang="0">
                    <a:pos x="164" y="162"/>
                  </a:cxn>
                  <a:cxn ang="0">
                    <a:pos x="146" y="150"/>
                  </a:cxn>
                  <a:cxn ang="0">
                    <a:pos x="132" y="139"/>
                  </a:cxn>
                  <a:cxn ang="0">
                    <a:pos x="108" y="110"/>
                  </a:cxn>
                  <a:cxn ang="0">
                    <a:pos x="110" y="83"/>
                  </a:cxn>
                  <a:cxn ang="0">
                    <a:pos x="82" y="63"/>
                  </a:cxn>
                  <a:cxn ang="0">
                    <a:pos x="58" y="47"/>
                  </a:cxn>
                  <a:cxn ang="0">
                    <a:pos x="18" y="31"/>
                  </a:cxn>
                </a:cxnLst>
                <a:rect l="0" t="0" r="r" b="b"/>
                <a:pathLst>
                  <a:path w="257" h="186">
                    <a:moveTo>
                      <a:pt x="219" y="181"/>
                    </a:moveTo>
                    <a:lnTo>
                      <a:pt x="223" y="179"/>
                    </a:lnTo>
                    <a:lnTo>
                      <a:pt x="226" y="179"/>
                    </a:lnTo>
                    <a:lnTo>
                      <a:pt x="226" y="183"/>
                    </a:lnTo>
                    <a:lnTo>
                      <a:pt x="223" y="183"/>
                    </a:lnTo>
                    <a:lnTo>
                      <a:pt x="219" y="183"/>
                    </a:lnTo>
                    <a:lnTo>
                      <a:pt x="219" y="181"/>
                    </a:lnTo>
                    <a:lnTo>
                      <a:pt x="219" y="181"/>
                    </a:lnTo>
                    <a:lnTo>
                      <a:pt x="219" y="181"/>
                    </a:lnTo>
                    <a:lnTo>
                      <a:pt x="219" y="181"/>
                    </a:lnTo>
                    <a:close/>
                    <a:moveTo>
                      <a:pt x="205" y="181"/>
                    </a:moveTo>
                    <a:lnTo>
                      <a:pt x="211" y="186"/>
                    </a:lnTo>
                    <a:lnTo>
                      <a:pt x="212" y="186"/>
                    </a:lnTo>
                    <a:lnTo>
                      <a:pt x="214" y="186"/>
                    </a:lnTo>
                    <a:lnTo>
                      <a:pt x="214" y="186"/>
                    </a:lnTo>
                    <a:lnTo>
                      <a:pt x="214" y="184"/>
                    </a:lnTo>
                    <a:lnTo>
                      <a:pt x="212" y="184"/>
                    </a:lnTo>
                    <a:lnTo>
                      <a:pt x="209" y="181"/>
                    </a:lnTo>
                    <a:lnTo>
                      <a:pt x="205" y="181"/>
                    </a:lnTo>
                    <a:lnTo>
                      <a:pt x="205" y="181"/>
                    </a:lnTo>
                    <a:lnTo>
                      <a:pt x="205" y="181"/>
                    </a:lnTo>
                    <a:lnTo>
                      <a:pt x="205" y="181"/>
                    </a:lnTo>
                    <a:close/>
                    <a:moveTo>
                      <a:pt x="99" y="14"/>
                    </a:moveTo>
                    <a:lnTo>
                      <a:pt x="99" y="12"/>
                    </a:lnTo>
                    <a:lnTo>
                      <a:pt x="105" y="12"/>
                    </a:lnTo>
                    <a:lnTo>
                      <a:pt x="106" y="12"/>
                    </a:lnTo>
                    <a:lnTo>
                      <a:pt x="108" y="14"/>
                    </a:lnTo>
                    <a:lnTo>
                      <a:pt x="110" y="12"/>
                    </a:lnTo>
                    <a:lnTo>
                      <a:pt x="113" y="14"/>
                    </a:lnTo>
                    <a:lnTo>
                      <a:pt x="108" y="17"/>
                    </a:lnTo>
                    <a:lnTo>
                      <a:pt x="105" y="17"/>
                    </a:lnTo>
                    <a:lnTo>
                      <a:pt x="105" y="17"/>
                    </a:lnTo>
                    <a:lnTo>
                      <a:pt x="99" y="17"/>
                    </a:lnTo>
                    <a:lnTo>
                      <a:pt x="99" y="17"/>
                    </a:lnTo>
                    <a:lnTo>
                      <a:pt x="99" y="14"/>
                    </a:lnTo>
                    <a:lnTo>
                      <a:pt x="99" y="14"/>
                    </a:lnTo>
                    <a:lnTo>
                      <a:pt x="99" y="14"/>
                    </a:lnTo>
                    <a:lnTo>
                      <a:pt x="99" y="14"/>
                    </a:lnTo>
                    <a:close/>
                    <a:moveTo>
                      <a:pt x="237" y="75"/>
                    </a:moveTo>
                    <a:lnTo>
                      <a:pt x="242" y="75"/>
                    </a:lnTo>
                    <a:lnTo>
                      <a:pt x="242" y="77"/>
                    </a:lnTo>
                    <a:lnTo>
                      <a:pt x="245" y="82"/>
                    </a:lnTo>
                    <a:lnTo>
                      <a:pt x="249" y="82"/>
                    </a:lnTo>
                    <a:lnTo>
                      <a:pt x="254" y="87"/>
                    </a:lnTo>
                    <a:lnTo>
                      <a:pt x="257" y="92"/>
                    </a:lnTo>
                    <a:lnTo>
                      <a:pt x="257" y="97"/>
                    </a:lnTo>
                    <a:lnTo>
                      <a:pt x="254" y="97"/>
                    </a:lnTo>
                    <a:lnTo>
                      <a:pt x="254" y="99"/>
                    </a:lnTo>
                    <a:lnTo>
                      <a:pt x="249" y="99"/>
                    </a:lnTo>
                    <a:lnTo>
                      <a:pt x="249" y="99"/>
                    </a:lnTo>
                    <a:lnTo>
                      <a:pt x="245" y="99"/>
                    </a:lnTo>
                    <a:lnTo>
                      <a:pt x="242" y="96"/>
                    </a:lnTo>
                    <a:lnTo>
                      <a:pt x="245" y="94"/>
                    </a:lnTo>
                    <a:lnTo>
                      <a:pt x="242" y="87"/>
                    </a:lnTo>
                    <a:lnTo>
                      <a:pt x="237" y="85"/>
                    </a:lnTo>
                    <a:lnTo>
                      <a:pt x="237" y="80"/>
                    </a:lnTo>
                    <a:lnTo>
                      <a:pt x="237" y="77"/>
                    </a:lnTo>
                    <a:lnTo>
                      <a:pt x="237" y="75"/>
                    </a:lnTo>
                    <a:lnTo>
                      <a:pt x="237" y="75"/>
                    </a:lnTo>
                    <a:lnTo>
                      <a:pt x="237" y="75"/>
                    </a:lnTo>
                    <a:lnTo>
                      <a:pt x="237" y="75"/>
                    </a:lnTo>
                    <a:close/>
                    <a:moveTo>
                      <a:pt x="233" y="66"/>
                    </a:moveTo>
                    <a:lnTo>
                      <a:pt x="233" y="68"/>
                    </a:lnTo>
                    <a:lnTo>
                      <a:pt x="235" y="71"/>
                    </a:lnTo>
                    <a:lnTo>
                      <a:pt x="235" y="75"/>
                    </a:lnTo>
                    <a:lnTo>
                      <a:pt x="237" y="71"/>
                    </a:lnTo>
                    <a:lnTo>
                      <a:pt x="237" y="68"/>
                    </a:lnTo>
                    <a:lnTo>
                      <a:pt x="233" y="66"/>
                    </a:lnTo>
                    <a:lnTo>
                      <a:pt x="233" y="66"/>
                    </a:lnTo>
                    <a:lnTo>
                      <a:pt x="233" y="66"/>
                    </a:lnTo>
                    <a:lnTo>
                      <a:pt x="233" y="66"/>
                    </a:lnTo>
                    <a:close/>
                    <a:moveTo>
                      <a:pt x="228" y="59"/>
                    </a:moveTo>
                    <a:lnTo>
                      <a:pt x="230" y="57"/>
                    </a:lnTo>
                    <a:lnTo>
                      <a:pt x="231" y="57"/>
                    </a:lnTo>
                    <a:lnTo>
                      <a:pt x="233" y="57"/>
                    </a:lnTo>
                    <a:lnTo>
                      <a:pt x="231" y="63"/>
                    </a:lnTo>
                    <a:lnTo>
                      <a:pt x="228" y="63"/>
                    </a:lnTo>
                    <a:lnTo>
                      <a:pt x="228" y="59"/>
                    </a:lnTo>
                    <a:lnTo>
                      <a:pt x="228" y="59"/>
                    </a:lnTo>
                    <a:lnTo>
                      <a:pt x="228" y="59"/>
                    </a:lnTo>
                    <a:lnTo>
                      <a:pt x="228" y="59"/>
                    </a:lnTo>
                    <a:close/>
                    <a:moveTo>
                      <a:pt x="172" y="24"/>
                    </a:moveTo>
                    <a:lnTo>
                      <a:pt x="178" y="28"/>
                    </a:lnTo>
                    <a:lnTo>
                      <a:pt x="185" y="31"/>
                    </a:lnTo>
                    <a:lnTo>
                      <a:pt x="191" y="35"/>
                    </a:lnTo>
                    <a:lnTo>
                      <a:pt x="195" y="37"/>
                    </a:lnTo>
                    <a:lnTo>
                      <a:pt x="197" y="40"/>
                    </a:lnTo>
                    <a:lnTo>
                      <a:pt x="202" y="42"/>
                    </a:lnTo>
                    <a:lnTo>
                      <a:pt x="204" y="47"/>
                    </a:lnTo>
                    <a:lnTo>
                      <a:pt x="207" y="47"/>
                    </a:lnTo>
                    <a:lnTo>
                      <a:pt x="209" y="54"/>
                    </a:lnTo>
                    <a:lnTo>
                      <a:pt x="211" y="54"/>
                    </a:lnTo>
                    <a:lnTo>
                      <a:pt x="211" y="57"/>
                    </a:lnTo>
                    <a:lnTo>
                      <a:pt x="209" y="59"/>
                    </a:lnTo>
                    <a:lnTo>
                      <a:pt x="207" y="64"/>
                    </a:lnTo>
                    <a:lnTo>
                      <a:pt x="204" y="63"/>
                    </a:lnTo>
                    <a:lnTo>
                      <a:pt x="202" y="57"/>
                    </a:lnTo>
                    <a:lnTo>
                      <a:pt x="204" y="54"/>
                    </a:lnTo>
                    <a:lnTo>
                      <a:pt x="202" y="45"/>
                    </a:lnTo>
                    <a:lnTo>
                      <a:pt x="195" y="40"/>
                    </a:lnTo>
                    <a:lnTo>
                      <a:pt x="191" y="40"/>
                    </a:lnTo>
                    <a:lnTo>
                      <a:pt x="186" y="35"/>
                    </a:lnTo>
                    <a:lnTo>
                      <a:pt x="172" y="28"/>
                    </a:lnTo>
                    <a:lnTo>
                      <a:pt x="172" y="28"/>
                    </a:lnTo>
                    <a:lnTo>
                      <a:pt x="172" y="24"/>
                    </a:lnTo>
                    <a:lnTo>
                      <a:pt x="172" y="24"/>
                    </a:lnTo>
                    <a:lnTo>
                      <a:pt x="172" y="24"/>
                    </a:lnTo>
                    <a:lnTo>
                      <a:pt x="172" y="24"/>
                    </a:lnTo>
                    <a:close/>
                    <a:moveTo>
                      <a:pt x="146" y="0"/>
                    </a:moveTo>
                    <a:lnTo>
                      <a:pt x="150" y="0"/>
                    </a:lnTo>
                    <a:lnTo>
                      <a:pt x="153" y="3"/>
                    </a:lnTo>
                    <a:lnTo>
                      <a:pt x="151" y="5"/>
                    </a:lnTo>
                    <a:lnTo>
                      <a:pt x="150" y="2"/>
                    </a:lnTo>
                    <a:lnTo>
                      <a:pt x="146" y="0"/>
                    </a:lnTo>
                    <a:lnTo>
                      <a:pt x="146" y="0"/>
                    </a:lnTo>
                    <a:lnTo>
                      <a:pt x="146" y="0"/>
                    </a:lnTo>
                    <a:lnTo>
                      <a:pt x="146" y="0"/>
                    </a:lnTo>
                    <a:close/>
                    <a:moveTo>
                      <a:pt x="158" y="24"/>
                    </a:moveTo>
                    <a:lnTo>
                      <a:pt x="162" y="23"/>
                    </a:lnTo>
                    <a:lnTo>
                      <a:pt x="164" y="24"/>
                    </a:lnTo>
                    <a:lnTo>
                      <a:pt x="164" y="28"/>
                    </a:lnTo>
                    <a:lnTo>
                      <a:pt x="160" y="28"/>
                    </a:lnTo>
                    <a:lnTo>
                      <a:pt x="158" y="28"/>
                    </a:lnTo>
                    <a:lnTo>
                      <a:pt x="158" y="24"/>
                    </a:lnTo>
                    <a:lnTo>
                      <a:pt x="158" y="24"/>
                    </a:lnTo>
                    <a:lnTo>
                      <a:pt x="158" y="24"/>
                    </a:lnTo>
                    <a:lnTo>
                      <a:pt x="158" y="24"/>
                    </a:lnTo>
                    <a:close/>
                    <a:moveTo>
                      <a:pt x="157" y="66"/>
                    </a:moveTo>
                    <a:lnTo>
                      <a:pt x="160" y="70"/>
                    </a:lnTo>
                    <a:lnTo>
                      <a:pt x="162" y="66"/>
                    </a:lnTo>
                    <a:lnTo>
                      <a:pt x="158" y="63"/>
                    </a:lnTo>
                    <a:lnTo>
                      <a:pt x="157" y="64"/>
                    </a:lnTo>
                    <a:lnTo>
                      <a:pt x="157" y="66"/>
                    </a:lnTo>
                    <a:lnTo>
                      <a:pt x="157" y="66"/>
                    </a:lnTo>
                    <a:lnTo>
                      <a:pt x="157" y="66"/>
                    </a:lnTo>
                    <a:lnTo>
                      <a:pt x="157" y="66"/>
                    </a:lnTo>
                    <a:close/>
                    <a:moveTo>
                      <a:pt x="129" y="75"/>
                    </a:moveTo>
                    <a:lnTo>
                      <a:pt x="127" y="77"/>
                    </a:lnTo>
                    <a:lnTo>
                      <a:pt x="129" y="82"/>
                    </a:lnTo>
                    <a:lnTo>
                      <a:pt x="132" y="82"/>
                    </a:lnTo>
                    <a:lnTo>
                      <a:pt x="139" y="87"/>
                    </a:lnTo>
                    <a:lnTo>
                      <a:pt x="139" y="89"/>
                    </a:lnTo>
                    <a:lnTo>
                      <a:pt x="141" y="87"/>
                    </a:lnTo>
                    <a:lnTo>
                      <a:pt x="146" y="87"/>
                    </a:lnTo>
                    <a:lnTo>
                      <a:pt x="150" y="90"/>
                    </a:lnTo>
                    <a:lnTo>
                      <a:pt x="151" y="90"/>
                    </a:lnTo>
                    <a:lnTo>
                      <a:pt x="155" y="90"/>
                    </a:lnTo>
                    <a:lnTo>
                      <a:pt x="162" y="89"/>
                    </a:lnTo>
                    <a:lnTo>
                      <a:pt x="165" y="90"/>
                    </a:lnTo>
                    <a:lnTo>
                      <a:pt x="169" y="89"/>
                    </a:lnTo>
                    <a:lnTo>
                      <a:pt x="172" y="90"/>
                    </a:lnTo>
                    <a:lnTo>
                      <a:pt x="172" y="89"/>
                    </a:lnTo>
                    <a:lnTo>
                      <a:pt x="172" y="85"/>
                    </a:lnTo>
                    <a:lnTo>
                      <a:pt x="178" y="85"/>
                    </a:lnTo>
                    <a:lnTo>
                      <a:pt x="183" y="80"/>
                    </a:lnTo>
                    <a:lnTo>
                      <a:pt x="183" y="77"/>
                    </a:lnTo>
                    <a:lnTo>
                      <a:pt x="186" y="77"/>
                    </a:lnTo>
                    <a:lnTo>
                      <a:pt x="188" y="77"/>
                    </a:lnTo>
                    <a:lnTo>
                      <a:pt x="191" y="77"/>
                    </a:lnTo>
                    <a:lnTo>
                      <a:pt x="195" y="73"/>
                    </a:lnTo>
                    <a:lnTo>
                      <a:pt x="191" y="70"/>
                    </a:lnTo>
                    <a:lnTo>
                      <a:pt x="191" y="68"/>
                    </a:lnTo>
                    <a:lnTo>
                      <a:pt x="191" y="66"/>
                    </a:lnTo>
                    <a:lnTo>
                      <a:pt x="195" y="66"/>
                    </a:lnTo>
                    <a:lnTo>
                      <a:pt x="198" y="63"/>
                    </a:lnTo>
                    <a:lnTo>
                      <a:pt x="198" y="54"/>
                    </a:lnTo>
                    <a:lnTo>
                      <a:pt x="195" y="50"/>
                    </a:lnTo>
                    <a:lnTo>
                      <a:pt x="191" y="54"/>
                    </a:lnTo>
                    <a:lnTo>
                      <a:pt x="191" y="54"/>
                    </a:lnTo>
                    <a:lnTo>
                      <a:pt x="190" y="54"/>
                    </a:lnTo>
                    <a:lnTo>
                      <a:pt x="185" y="54"/>
                    </a:lnTo>
                    <a:lnTo>
                      <a:pt x="183" y="57"/>
                    </a:lnTo>
                    <a:lnTo>
                      <a:pt x="185" y="63"/>
                    </a:lnTo>
                    <a:lnTo>
                      <a:pt x="186" y="64"/>
                    </a:lnTo>
                    <a:lnTo>
                      <a:pt x="185" y="66"/>
                    </a:lnTo>
                    <a:lnTo>
                      <a:pt x="181" y="66"/>
                    </a:lnTo>
                    <a:lnTo>
                      <a:pt x="174" y="71"/>
                    </a:lnTo>
                    <a:lnTo>
                      <a:pt x="172" y="75"/>
                    </a:lnTo>
                    <a:lnTo>
                      <a:pt x="172" y="77"/>
                    </a:lnTo>
                    <a:lnTo>
                      <a:pt x="169" y="77"/>
                    </a:lnTo>
                    <a:lnTo>
                      <a:pt x="167" y="77"/>
                    </a:lnTo>
                    <a:lnTo>
                      <a:pt x="165" y="75"/>
                    </a:lnTo>
                    <a:lnTo>
                      <a:pt x="164" y="75"/>
                    </a:lnTo>
                    <a:lnTo>
                      <a:pt x="160" y="77"/>
                    </a:lnTo>
                    <a:lnTo>
                      <a:pt x="158" y="77"/>
                    </a:lnTo>
                    <a:lnTo>
                      <a:pt x="157" y="73"/>
                    </a:lnTo>
                    <a:lnTo>
                      <a:pt x="158" y="71"/>
                    </a:lnTo>
                    <a:lnTo>
                      <a:pt x="155" y="70"/>
                    </a:lnTo>
                    <a:lnTo>
                      <a:pt x="153" y="71"/>
                    </a:lnTo>
                    <a:lnTo>
                      <a:pt x="153" y="73"/>
                    </a:lnTo>
                    <a:lnTo>
                      <a:pt x="151" y="75"/>
                    </a:lnTo>
                    <a:lnTo>
                      <a:pt x="150" y="75"/>
                    </a:lnTo>
                    <a:lnTo>
                      <a:pt x="145" y="77"/>
                    </a:lnTo>
                    <a:lnTo>
                      <a:pt x="141" y="77"/>
                    </a:lnTo>
                    <a:lnTo>
                      <a:pt x="139" y="75"/>
                    </a:lnTo>
                    <a:lnTo>
                      <a:pt x="136" y="75"/>
                    </a:lnTo>
                    <a:lnTo>
                      <a:pt x="132" y="77"/>
                    </a:lnTo>
                    <a:lnTo>
                      <a:pt x="129" y="75"/>
                    </a:lnTo>
                    <a:lnTo>
                      <a:pt x="129" y="75"/>
                    </a:lnTo>
                    <a:lnTo>
                      <a:pt x="129" y="75"/>
                    </a:lnTo>
                    <a:lnTo>
                      <a:pt x="129" y="75"/>
                    </a:lnTo>
                    <a:close/>
                    <a:moveTo>
                      <a:pt x="115" y="77"/>
                    </a:moveTo>
                    <a:lnTo>
                      <a:pt x="118" y="75"/>
                    </a:lnTo>
                    <a:lnTo>
                      <a:pt x="122" y="77"/>
                    </a:lnTo>
                    <a:lnTo>
                      <a:pt x="122" y="80"/>
                    </a:lnTo>
                    <a:lnTo>
                      <a:pt x="122" y="82"/>
                    </a:lnTo>
                    <a:lnTo>
                      <a:pt x="118" y="80"/>
                    </a:lnTo>
                    <a:lnTo>
                      <a:pt x="115" y="77"/>
                    </a:lnTo>
                    <a:lnTo>
                      <a:pt x="115" y="77"/>
                    </a:lnTo>
                    <a:lnTo>
                      <a:pt x="115" y="77"/>
                    </a:lnTo>
                    <a:lnTo>
                      <a:pt x="115" y="77"/>
                    </a:lnTo>
                    <a:close/>
                    <a:moveTo>
                      <a:pt x="106" y="71"/>
                    </a:moveTo>
                    <a:lnTo>
                      <a:pt x="105" y="73"/>
                    </a:lnTo>
                    <a:lnTo>
                      <a:pt x="106" y="77"/>
                    </a:lnTo>
                    <a:lnTo>
                      <a:pt x="110" y="75"/>
                    </a:lnTo>
                    <a:lnTo>
                      <a:pt x="110" y="73"/>
                    </a:lnTo>
                    <a:lnTo>
                      <a:pt x="106" y="71"/>
                    </a:lnTo>
                    <a:lnTo>
                      <a:pt x="106" y="71"/>
                    </a:lnTo>
                    <a:lnTo>
                      <a:pt x="106" y="71"/>
                    </a:lnTo>
                    <a:lnTo>
                      <a:pt x="106" y="71"/>
                    </a:lnTo>
                    <a:close/>
                    <a:moveTo>
                      <a:pt x="91" y="59"/>
                    </a:moveTo>
                    <a:lnTo>
                      <a:pt x="87" y="63"/>
                    </a:lnTo>
                    <a:lnTo>
                      <a:pt x="87" y="63"/>
                    </a:lnTo>
                    <a:lnTo>
                      <a:pt x="91" y="63"/>
                    </a:lnTo>
                    <a:lnTo>
                      <a:pt x="91" y="59"/>
                    </a:lnTo>
                    <a:lnTo>
                      <a:pt x="91" y="59"/>
                    </a:lnTo>
                    <a:lnTo>
                      <a:pt x="91" y="59"/>
                    </a:lnTo>
                    <a:lnTo>
                      <a:pt x="91" y="59"/>
                    </a:lnTo>
                    <a:close/>
                    <a:moveTo>
                      <a:pt x="197" y="137"/>
                    </a:moveTo>
                    <a:lnTo>
                      <a:pt x="197" y="139"/>
                    </a:lnTo>
                    <a:lnTo>
                      <a:pt x="197" y="143"/>
                    </a:lnTo>
                    <a:lnTo>
                      <a:pt x="198" y="141"/>
                    </a:lnTo>
                    <a:lnTo>
                      <a:pt x="204" y="144"/>
                    </a:lnTo>
                    <a:lnTo>
                      <a:pt x="202" y="143"/>
                    </a:lnTo>
                    <a:lnTo>
                      <a:pt x="197" y="137"/>
                    </a:lnTo>
                    <a:lnTo>
                      <a:pt x="197" y="137"/>
                    </a:lnTo>
                    <a:lnTo>
                      <a:pt x="197" y="137"/>
                    </a:lnTo>
                    <a:lnTo>
                      <a:pt x="197" y="137"/>
                    </a:lnTo>
                    <a:close/>
                    <a:moveTo>
                      <a:pt x="172" y="127"/>
                    </a:moveTo>
                    <a:lnTo>
                      <a:pt x="172" y="127"/>
                    </a:lnTo>
                    <a:lnTo>
                      <a:pt x="172" y="130"/>
                    </a:lnTo>
                    <a:lnTo>
                      <a:pt x="174" y="130"/>
                    </a:lnTo>
                    <a:lnTo>
                      <a:pt x="174" y="132"/>
                    </a:lnTo>
                    <a:lnTo>
                      <a:pt x="174" y="134"/>
                    </a:lnTo>
                    <a:lnTo>
                      <a:pt x="174" y="134"/>
                    </a:lnTo>
                    <a:lnTo>
                      <a:pt x="174" y="130"/>
                    </a:lnTo>
                    <a:lnTo>
                      <a:pt x="174" y="125"/>
                    </a:lnTo>
                    <a:lnTo>
                      <a:pt x="172" y="127"/>
                    </a:lnTo>
                    <a:lnTo>
                      <a:pt x="172" y="127"/>
                    </a:lnTo>
                    <a:lnTo>
                      <a:pt x="172" y="127"/>
                    </a:lnTo>
                    <a:lnTo>
                      <a:pt x="172" y="127"/>
                    </a:lnTo>
                    <a:close/>
                    <a:moveTo>
                      <a:pt x="165" y="151"/>
                    </a:moveTo>
                    <a:lnTo>
                      <a:pt x="169" y="151"/>
                    </a:lnTo>
                    <a:lnTo>
                      <a:pt x="169" y="153"/>
                    </a:lnTo>
                    <a:lnTo>
                      <a:pt x="169" y="153"/>
                    </a:lnTo>
                    <a:lnTo>
                      <a:pt x="172" y="155"/>
                    </a:lnTo>
                    <a:lnTo>
                      <a:pt x="172" y="155"/>
                    </a:lnTo>
                    <a:lnTo>
                      <a:pt x="172" y="153"/>
                    </a:lnTo>
                    <a:lnTo>
                      <a:pt x="174" y="153"/>
                    </a:lnTo>
                    <a:lnTo>
                      <a:pt x="174" y="155"/>
                    </a:lnTo>
                    <a:lnTo>
                      <a:pt x="172" y="156"/>
                    </a:lnTo>
                    <a:lnTo>
                      <a:pt x="172" y="158"/>
                    </a:lnTo>
                    <a:lnTo>
                      <a:pt x="172" y="158"/>
                    </a:lnTo>
                    <a:lnTo>
                      <a:pt x="169" y="158"/>
                    </a:lnTo>
                    <a:lnTo>
                      <a:pt x="169" y="156"/>
                    </a:lnTo>
                    <a:lnTo>
                      <a:pt x="169" y="155"/>
                    </a:lnTo>
                    <a:lnTo>
                      <a:pt x="167" y="153"/>
                    </a:lnTo>
                    <a:lnTo>
                      <a:pt x="165" y="151"/>
                    </a:lnTo>
                    <a:lnTo>
                      <a:pt x="165" y="151"/>
                    </a:lnTo>
                    <a:lnTo>
                      <a:pt x="165" y="151"/>
                    </a:lnTo>
                    <a:lnTo>
                      <a:pt x="165" y="151"/>
                    </a:lnTo>
                    <a:lnTo>
                      <a:pt x="165" y="151"/>
                    </a:lnTo>
                    <a:close/>
                    <a:moveTo>
                      <a:pt x="162" y="144"/>
                    </a:moveTo>
                    <a:lnTo>
                      <a:pt x="164" y="148"/>
                    </a:lnTo>
                    <a:lnTo>
                      <a:pt x="165" y="150"/>
                    </a:lnTo>
                    <a:lnTo>
                      <a:pt x="167" y="150"/>
                    </a:lnTo>
                    <a:lnTo>
                      <a:pt x="169" y="150"/>
                    </a:lnTo>
                    <a:lnTo>
                      <a:pt x="169" y="150"/>
                    </a:lnTo>
                    <a:lnTo>
                      <a:pt x="169" y="148"/>
                    </a:lnTo>
                    <a:lnTo>
                      <a:pt x="167" y="148"/>
                    </a:lnTo>
                    <a:lnTo>
                      <a:pt x="167" y="148"/>
                    </a:lnTo>
                    <a:lnTo>
                      <a:pt x="167" y="144"/>
                    </a:lnTo>
                    <a:lnTo>
                      <a:pt x="165" y="144"/>
                    </a:lnTo>
                    <a:lnTo>
                      <a:pt x="164" y="144"/>
                    </a:lnTo>
                    <a:lnTo>
                      <a:pt x="162" y="144"/>
                    </a:lnTo>
                    <a:lnTo>
                      <a:pt x="162" y="144"/>
                    </a:lnTo>
                    <a:lnTo>
                      <a:pt x="162" y="144"/>
                    </a:lnTo>
                    <a:lnTo>
                      <a:pt x="162" y="144"/>
                    </a:lnTo>
                    <a:close/>
                    <a:moveTo>
                      <a:pt x="155" y="144"/>
                    </a:moveTo>
                    <a:lnTo>
                      <a:pt x="157" y="144"/>
                    </a:lnTo>
                    <a:lnTo>
                      <a:pt x="158" y="144"/>
                    </a:lnTo>
                    <a:lnTo>
                      <a:pt x="160" y="148"/>
                    </a:lnTo>
                    <a:lnTo>
                      <a:pt x="160" y="148"/>
                    </a:lnTo>
                    <a:lnTo>
                      <a:pt x="160" y="144"/>
                    </a:lnTo>
                    <a:lnTo>
                      <a:pt x="158" y="144"/>
                    </a:lnTo>
                    <a:lnTo>
                      <a:pt x="157" y="143"/>
                    </a:lnTo>
                    <a:lnTo>
                      <a:pt x="155" y="144"/>
                    </a:lnTo>
                    <a:lnTo>
                      <a:pt x="155" y="144"/>
                    </a:lnTo>
                    <a:lnTo>
                      <a:pt x="155" y="144"/>
                    </a:lnTo>
                    <a:lnTo>
                      <a:pt x="155" y="144"/>
                    </a:lnTo>
                    <a:close/>
                    <a:moveTo>
                      <a:pt x="70" y="115"/>
                    </a:moveTo>
                    <a:lnTo>
                      <a:pt x="70" y="116"/>
                    </a:lnTo>
                    <a:lnTo>
                      <a:pt x="70" y="118"/>
                    </a:lnTo>
                    <a:lnTo>
                      <a:pt x="70" y="118"/>
                    </a:lnTo>
                    <a:lnTo>
                      <a:pt x="70" y="115"/>
                    </a:lnTo>
                    <a:lnTo>
                      <a:pt x="70" y="115"/>
                    </a:lnTo>
                    <a:lnTo>
                      <a:pt x="70" y="115"/>
                    </a:lnTo>
                    <a:lnTo>
                      <a:pt x="70" y="115"/>
                    </a:lnTo>
                    <a:close/>
                    <a:moveTo>
                      <a:pt x="63" y="116"/>
                    </a:moveTo>
                    <a:lnTo>
                      <a:pt x="63" y="115"/>
                    </a:lnTo>
                    <a:lnTo>
                      <a:pt x="65" y="115"/>
                    </a:lnTo>
                    <a:lnTo>
                      <a:pt x="63" y="116"/>
                    </a:lnTo>
                    <a:lnTo>
                      <a:pt x="63" y="116"/>
                    </a:lnTo>
                    <a:lnTo>
                      <a:pt x="63" y="116"/>
                    </a:lnTo>
                    <a:lnTo>
                      <a:pt x="63" y="116"/>
                    </a:lnTo>
                    <a:close/>
                    <a:moveTo>
                      <a:pt x="58" y="115"/>
                    </a:moveTo>
                    <a:lnTo>
                      <a:pt x="58" y="116"/>
                    </a:lnTo>
                    <a:lnTo>
                      <a:pt x="59" y="116"/>
                    </a:lnTo>
                    <a:lnTo>
                      <a:pt x="59" y="116"/>
                    </a:lnTo>
                    <a:lnTo>
                      <a:pt x="58" y="115"/>
                    </a:lnTo>
                    <a:lnTo>
                      <a:pt x="58" y="115"/>
                    </a:lnTo>
                    <a:lnTo>
                      <a:pt x="58" y="115"/>
                    </a:lnTo>
                    <a:lnTo>
                      <a:pt x="58" y="115"/>
                    </a:lnTo>
                    <a:close/>
                    <a:moveTo>
                      <a:pt x="63" y="116"/>
                    </a:moveTo>
                    <a:lnTo>
                      <a:pt x="59" y="113"/>
                    </a:lnTo>
                    <a:lnTo>
                      <a:pt x="61" y="111"/>
                    </a:lnTo>
                    <a:lnTo>
                      <a:pt x="63" y="111"/>
                    </a:lnTo>
                    <a:lnTo>
                      <a:pt x="63" y="115"/>
                    </a:lnTo>
                    <a:lnTo>
                      <a:pt x="63" y="116"/>
                    </a:lnTo>
                    <a:lnTo>
                      <a:pt x="63" y="116"/>
                    </a:lnTo>
                    <a:lnTo>
                      <a:pt x="63" y="116"/>
                    </a:lnTo>
                    <a:lnTo>
                      <a:pt x="63" y="116"/>
                    </a:lnTo>
                    <a:close/>
                    <a:moveTo>
                      <a:pt x="51" y="116"/>
                    </a:moveTo>
                    <a:lnTo>
                      <a:pt x="51" y="118"/>
                    </a:lnTo>
                    <a:lnTo>
                      <a:pt x="52" y="118"/>
                    </a:lnTo>
                    <a:lnTo>
                      <a:pt x="51" y="116"/>
                    </a:lnTo>
                    <a:lnTo>
                      <a:pt x="51" y="116"/>
                    </a:lnTo>
                    <a:lnTo>
                      <a:pt x="51" y="116"/>
                    </a:lnTo>
                    <a:lnTo>
                      <a:pt x="51" y="116"/>
                    </a:lnTo>
                    <a:lnTo>
                      <a:pt x="51" y="116"/>
                    </a:lnTo>
                    <a:close/>
                    <a:moveTo>
                      <a:pt x="45" y="129"/>
                    </a:moveTo>
                    <a:lnTo>
                      <a:pt x="47" y="127"/>
                    </a:lnTo>
                    <a:lnTo>
                      <a:pt x="47" y="127"/>
                    </a:lnTo>
                    <a:lnTo>
                      <a:pt x="47" y="129"/>
                    </a:lnTo>
                    <a:lnTo>
                      <a:pt x="47" y="129"/>
                    </a:lnTo>
                    <a:lnTo>
                      <a:pt x="45" y="129"/>
                    </a:lnTo>
                    <a:lnTo>
                      <a:pt x="45" y="129"/>
                    </a:lnTo>
                    <a:lnTo>
                      <a:pt x="45" y="129"/>
                    </a:lnTo>
                    <a:lnTo>
                      <a:pt x="45" y="129"/>
                    </a:lnTo>
                    <a:close/>
                    <a:moveTo>
                      <a:pt x="42" y="130"/>
                    </a:moveTo>
                    <a:lnTo>
                      <a:pt x="45" y="132"/>
                    </a:lnTo>
                    <a:lnTo>
                      <a:pt x="45" y="130"/>
                    </a:lnTo>
                    <a:lnTo>
                      <a:pt x="42" y="130"/>
                    </a:lnTo>
                    <a:lnTo>
                      <a:pt x="42" y="130"/>
                    </a:lnTo>
                    <a:lnTo>
                      <a:pt x="42" y="130"/>
                    </a:lnTo>
                    <a:lnTo>
                      <a:pt x="42" y="130"/>
                    </a:lnTo>
                    <a:close/>
                    <a:moveTo>
                      <a:pt x="40" y="129"/>
                    </a:moveTo>
                    <a:lnTo>
                      <a:pt x="42" y="130"/>
                    </a:lnTo>
                    <a:lnTo>
                      <a:pt x="42" y="129"/>
                    </a:lnTo>
                    <a:lnTo>
                      <a:pt x="40" y="129"/>
                    </a:lnTo>
                    <a:lnTo>
                      <a:pt x="40" y="129"/>
                    </a:lnTo>
                    <a:lnTo>
                      <a:pt x="40" y="129"/>
                    </a:lnTo>
                    <a:lnTo>
                      <a:pt x="40" y="129"/>
                    </a:lnTo>
                    <a:close/>
                    <a:moveTo>
                      <a:pt x="39" y="130"/>
                    </a:moveTo>
                    <a:lnTo>
                      <a:pt x="39" y="130"/>
                    </a:lnTo>
                    <a:lnTo>
                      <a:pt x="42" y="132"/>
                    </a:lnTo>
                    <a:lnTo>
                      <a:pt x="47" y="136"/>
                    </a:lnTo>
                    <a:lnTo>
                      <a:pt x="39" y="130"/>
                    </a:lnTo>
                    <a:lnTo>
                      <a:pt x="39" y="130"/>
                    </a:lnTo>
                    <a:lnTo>
                      <a:pt x="39" y="130"/>
                    </a:lnTo>
                    <a:lnTo>
                      <a:pt x="39" y="130"/>
                    </a:lnTo>
                    <a:close/>
                    <a:moveTo>
                      <a:pt x="42" y="122"/>
                    </a:moveTo>
                    <a:lnTo>
                      <a:pt x="47" y="122"/>
                    </a:lnTo>
                    <a:lnTo>
                      <a:pt x="47" y="125"/>
                    </a:lnTo>
                    <a:lnTo>
                      <a:pt x="45" y="122"/>
                    </a:lnTo>
                    <a:lnTo>
                      <a:pt x="42" y="122"/>
                    </a:lnTo>
                    <a:lnTo>
                      <a:pt x="42" y="122"/>
                    </a:lnTo>
                    <a:lnTo>
                      <a:pt x="42" y="122"/>
                    </a:lnTo>
                    <a:lnTo>
                      <a:pt x="42" y="122"/>
                    </a:lnTo>
                    <a:close/>
                    <a:moveTo>
                      <a:pt x="47" y="122"/>
                    </a:moveTo>
                    <a:lnTo>
                      <a:pt x="47" y="120"/>
                    </a:lnTo>
                    <a:lnTo>
                      <a:pt x="47" y="118"/>
                    </a:lnTo>
                    <a:lnTo>
                      <a:pt x="47" y="116"/>
                    </a:lnTo>
                    <a:lnTo>
                      <a:pt x="51" y="120"/>
                    </a:lnTo>
                    <a:lnTo>
                      <a:pt x="51" y="122"/>
                    </a:lnTo>
                    <a:lnTo>
                      <a:pt x="51" y="122"/>
                    </a:lnTo>
                    <a:lnTo>
                      <a:pt x="47" y="122"/>
                    </a:lnTo>
                    <a:lnTo>
                      <a:pt x="47" y="122"/>
                    </a:lnTo>
                    <a:lnTo>
                      <a:pt x="47" y="122"/>
                    </a:lnTo>
                    <a:lnTo>
                      <a:pt x="47" y="122"/>
                    </a:lnTo>
                    <a:close/>
                    <a:moveTo>
                      <a:pt x="2" y="26"/>
                    </a:moveTo>
                    <a:lnTo>
                      <a:pt x="0" y="90"/>
                    </a:lnTo>
                    <a:lnTo>
                      <a:pt x="0" y="96"/>
                    </a:lnTo>
                    <a:lnTo>
                      <a:pt x="0" y="97"/>
                    </a:lnTo>
                    <a:lnTo>
                      <a:pt x="0" y="99"/>
                    </a:lnTo>
                    <a:lnTo>
                      <a:pt x="0" y="141"/>
                    </a:lnTo>
                    <a:lnTo>
                      <a:pt x="6" y="141"/>
                    </a:lnTo>
                    <a:lnTo>
                      <a:pt x="7" y="141"/>
                    </a:lnTo>
                    <a:lnTo>
                      <a:pt x="11" y="141"/>
                    </a:lnTo>
                    <a:lnTo>
                      <a:pt x="19" y="141"/>
                    </a:lnTo>
                    <a:lnTo>
                      <a:pt x="23" y="141"/>
                    </a:lnTo>
                    <a:lnTo>
                      <a:pt x="23" y="143"/>
                    </a:lnTo>
                    <a:lnTo>
                      <a:pt x="23" y="144"/>
                    </a:lnTo>
                    <a:lnTo>
                      <a:pt x="28" y="144"/>
                    </a:lnTo>
                    <a:lnTo>
                      <a:pt x="30" y="143"/>
                    </a:lnTo>
                    <a:lnTo>
                      <a:pt x="37" y="141"/>
                    </a:lnTo>
                    <a:lnTo>
                      <a:pt x="37" y="139"/>
                    </a:lnTo>
                    <a:lnTo>
                      <a:pt x="39" y="141"/>
                    </a:lnTo>
                    <a:lnTo>
                      <a:pt x="40" y="139"/>
                    </a:lnTo>
                    <a:lnTo>
                      <a:pt x="40" y="134"/>
                    </a:lnTo>
                    <a:lnTo>
                      <a:pt x="35" y="130"/>
                    </a:lnTo>
                    <a:lnTo>
                      <a:pt x="30" y="129"/>
                    </a:lnTo>
                    <a:lnTo>
                      <a:pt x="28" y="127"/>
                    </a:lnTo>
                    <a:lnTo>
                      <a:pt x="25" y="125"/>
                    </a:lnTo>
                    <a:lnTo>
                      <a:pt x="23" y="125"/>
                    </a:lnTo>
                    <a:lnTo>
                      <a:pt x="19" y="125"/>
                    </a:lnTo>
                    <a:lnTo>
                      <a:pt x="19" y="125"/>
                    </a:lnTo>
                    <a:lnTo>
                      <a:pt x="19" y="120"/>
                    </a:lnTo>
                    <a:lnTo>
                      <a:pt x="16" y="116"/>
                    </a:lnTo>
                    <a:lnTo>
                      <a:pt x="12" y="115"/>
                    </a:lnTo>
                    <a:lnTo>
                      <a:pt x="12" y="113"/>
                    </a:lnTo>
                    <a:lnTo>
                      <a:pt x="9" y="111"/>
                    </a:lnTo>
                    <a:lnTo>
                      <a:pt x="12" y="113"/>
                    </a:lnTo>
                    <a:lnTo>
                      <a:pt x="12" y="115"/>
                    </a:lnTo>
                    <a:lnTo>
                      <a:pt x="16" y="115"/>
                    </a:lnTo>
                    <a:lnTo>
                      <a:pt x="19" y="118"/>
                    </a:lnTo>
                    <a:lnTo>
                      <a:pt x="19" y="122"/>
                    </a:lnTo>
                    <a:lnTo>
                      <a:pt x="19" y="125"/>
                    </a:lnTo>
                    <a:lnTo>
                      <a:pt x="19" y="125"/>
                    </a:lnTo>
                    <a:lnTo>
                      <a:pt x="25" y="125"/>
                    </a:lnTo>
                    <a:lnTo>
                      <a:pt x="28" y="127"/>
                    </a:lnTo>
                    <a:lnTo>
                      <a:pt x="30" y="127"/>
                    </a:lnTo>
                    <a:lnTo>
                      <a:pt x="33" y="127"/>
                    </a:lnTo>
                    <a:lnTo>
                      <a:pt x="39" y="125"/>
                    </a:lnTo>
                    <a:lnTo>
                      <a:pt x="42" y="125"/>
                    </a:lnTo>
                    <a:lnTo>
                      <a:pt x="45" y="125"/>
                    </a:lnTo>
                    <a:lnTo>
                      <a:pt x="42" y="125"/>
                    </a:lnTo>
                    <a:lnTo>
                      <a:pt x="42" y="122"/>
                    </a:lnTo>
                    <a:lnTo>
                      <a:pt x="40" y="120"/>
                    </a:lnTo>
                    <a:lnTo>
                      <a:pt x="39" y="120"/>
                    </a:lnTo>
                    <a:lnTo>
                      <a:pt x="37" y="118"/>
                    </a:lnTo>
                    <a:lnTo>
                      <a:pt x="39" y="120"/>
                    </a:lnTo>
                    <a:lnTo>
                      <a:pt x="42" y="120"/>
                    </a:lnTo>
                    <a:lnTo>
                      <a:pt x="45" y="122"/>
                    </a:lnTo>
                    <a:lnTo>
                      <a:pt x="47" y="122"/>
                    </a:lnTo>
                    <a:lnTo>
                      <a:pt x="47" y="122"/>
                    </a:lnTo>
                    <a:lnTo>
                      <a:pt x="47" y="118"/>
                    </a:lnTo>
                    <a:lnTo>
                      <a:pt x="47" y="116"/>
                    </a:lnTo>
                    <a:lnTo>
                      <a:pt x="47" y="115"/>
                    </a:lnTo>
                    <a:lnTo>
                      <a:pt x="47" y="113"/>
                    </a:lnTo>
                    <a:lnTo>
                      <a:pt x="45" y="110"/>
                    </a:lnTo>
                    <a:lnTo>
                      <a:pt x="45" y="108"/>
                    </a:lnTo>
                    <a:lnTo>
                      <a:pt x="47" y="110"/>
                    </a:lnTo>
                    <a:lnTo>
                      <a:pt x="51" y="113"/>
                    </a:lnTo>
                    <a:lnTo>
                      <a:pt x="52" y="115"/>
                    </a:lnTo>
                    <a:lnTo>
                      <a:pt x="54" y="116"/>
                    </a:lnTo>
                    <a:lnTo>
                      <a:pt x="54" y="115"/>
                    </a:lnTo>
                    <a:lnTo>
                      <a:pt x="54" y="111"/>
                    </a:lnTo>
                    <a:lnTo>
                      <a:pt x="54" y="113"/>
                    </a:lnTo>
                    <a:lnTo>
                      <a:pt x="56" y="116"/>
                    </a:lnTo>
                    <a:lnTo>
                      <a:pt x="58" y="116"/>
                    </a:lnTo>
                    <a:lnTo>
                      <a:pt x="58" y="113"/>
                    </a:lnTo>
                    <a:lnTo>
                      <a:pt x="56" y="111"/>
                    </a:lnTo>
                    <a:lnTo>
                      <a:pt x="58" y="108"/>
                    </a:lnTo>
                    <a:lnTo>
                      <a:pt x="59" y="110"/>
                    </a:lnTo>
                    <a:lnTo>
                      <a:pt x="63" y="111"/>
                    </a:lnTo>
                    <a:lnTo>
                      <a:pt x="65" y="113"/>
                    </a:lnTo>
                    <a:lnTo>
                      <a:pt x="66" y="115"/>
                    </a:lnTo>
                    <a:lnTo>
                      <a:pt x="70" y="113"/>
                    </a:lnTo>
                    <a:lnTo>
                      <a:pt x="70" y="115"/>
                    </a:lnTo>
                    <a:lnTo>
                      <a:pt x="70" y="113"/>
                    </a:lnTo>
                    <a:lnTo>
                      <a:pt x="70" y="115"/>
                    </a:lnTo>
                    <a:lnTo>
                      <a:pt x="70" y="116"/>
                    </a:lnTo>
                    <a:lnTo>
                      <a:pt x="73" y="118"/>
                    </a:lnTo>
                    <a:lnTo>
                      <a:pt x="77" y="120"/>
                    </a:lnTo>
                    <a:lnTo>
                      <a:pt x="84" y="122"/>
                    </a:lnTo>
                    <a:lnTo>
                      <a:pt x="87" y="122"/>
                    </a:lnTo>
                    <a:lnTo>
                      <a:pt x="91" y="125"/>
                    </a:lnTo>
                    <a:lnTo>
                      <a:pt x="91" y="130"/>
                    </a:lnTo>
                    <a:lnTo>
                      <a:pt x="96" y="137"/>
                    </a:lnTo>
                    <a:lnTo>
                      <a:pt x="96" y="139"/>
                    </a:lnTo>
                    <a:lnTo>
                      <a:pt x="99" y="141"/>
                    </a:lnTo>
                    <a:lnTo>
                      <a:pt x="101" y="143"/>
                    </a:lnTo>
                    <a:lnTo>
                      <a:pt x="101" y="144"/>
                    </a:lnTo>
                    <a:lnTo>
                      <a:pt x="110" y="153"/>
                    </a:lnTo>
                    <a:lnTo>
                      <a:pt x="110" y="155"/>
                    </a:lnTo>
                    <a:lnTo>
                      <a:pt x="113" y="156"/>
                    </a:lnTo>
                    <a:lnTo>
                      <a:pt x="118" y="158"/>
                    </a:lnTo>
                    <a:lnTo>
                      <a:pt x="118" y="158"/>
                    </a:lnTo>
                    <a:lnTo>
                      <a:pt x="122" y="158"/>
                    </a:lnTo>
                    <a:lnTo>
                      <a:pt x="124" y="160"/>
                    </a:lnTo>
                    <a:lnTo>
                      <a:pt x="129" y="158"/>
                    </a:lnTo>
                    <a:lnTo>
                      <a:pt x="132" y="160"/>
                    </a:lnTo>
                    <a:lnTo>
                      <a:pt x="136" y="160"/>
                    </a:lnTo>
                    <a:lnTo>
                      <a:pt x="141" y="160"/>
                    </a:lnTo>
                    <a:lnTo>
                      <a:pt x="145" y="162"/>
                    </a:lnTo>
                    <a:lnTo>
                      <a:pt x="146" y="162"/>
                    </a:lnTo>
                    <a:lnTo>
                      <a:pt x="150" y="163"/>
                    </a:lnTo>
                    <a:lnTo>
                      <a:pt x="151" y="163"/>
                    </a:lnTo>
                    <a:lnTo>
                      <a:pt x="153" y="165"/>
                    </a:lnTo>
                    <a:lnTo>
                      <a:pt x="150" y="167"/>
                    </a:lnTo>
                    <a:lnTo>
                      <a:pt x="153" y="167"/>
                    </a:lnTo>
                    <a:lnTo>
                      <a:pt x="158" y="170"/>
                    </a:lnTo>
                    <a:lnTo>
                      <a:pt x="162" y="167"/>
                    </a:lnTo>
                    <a:lnTo>
                      <a:pt x="164" y="167"/>
                    </a:lnTo>
                    <a:lnTo>
                      <a:pt x="158" y="163"/>
                    </a:lnTo>
                    <a:lnTo>
                      <a:pt x="157" y="163"/>
                    </a:lnTo>
                    <a:lnTo>
                      <a:pt x="157" y="162"/>
                    </a:lnTo>
                    <a:lnTo>
                      <a:pt x="160" y="162"/>
                    </a:lnTo>
                    <a:lnTo>
                      <a:pt x="164" y="162"/>
                    </a:lnTo>
                    <a:lnTo>
                      <a:pt x="167" y="160"/>
                    </a:lnTo>
                    <a:lnTo>
                      <a:pt x="160" y="158"/>
                    </a:lnTo>
                    <a:lnTo>
                      <a:pt x="151" y="158"/>
                    </a:lnTo>
                    <a:lnTo>
                      <a:pt x="150" y="155"/>
                    </a:lnTo>
                    <a:lnTo>
                      <a:pt x="146" y="153"/>
                    </a:lnTo>
                    <a:lnTo>
                      <a:pt x="150" y="151"/>
                    </a:lnTo>
                    <a:lnTo>
                      <a:pt x="153" y="151"/>
                    </a:lnTo>
                    <a:lnTo>
                      <a:pt x="155" y="150"/>
                    </a:lnTo>
                    <a:lnTo>
                      <a:pt x="151" y="150"/>
                    </a:lnTo>
                    <a:lnTo>
                      <a:pt x="146" y="150"/>
                    </a:lnTo>
                    <a:lnTo>
                      <a:pt x="141" y="148"/>
                    </a:lnTo>
                    <a:lnTo>
                      <a:pt x="139" y="148"/>
                    </a:lnTo>
                    <a:lnTo>
                      <a:pt x="139" y="144"/>
                    </a:lnTo>
                    <a:lnTo>
                      <a:pt x="141" y="143"/>
                    </a:lnTo>
                    <a:lnTo>
                      <a:pt x="141" y="141"/>
                    </a:lnTo>
                    <a:lnTo>
                      <a:pt x="139" y="137"/>
                    </a:lnTo>
                    <a:lnTo>
                      <a:pt x="138" y="137"/>
                    </a:lnTo>
                    <a:lnTo>
                      <a:pt x="136" y="139"/>
                    </a:lnTo>
                    <a:lnTo>
                      <a:pt x="134" y="139"/>
                    </a:lnTo>
                    <a:lnTo>
                      <a:pt x="132" y="139"/>
                    </a:lnTo>
                    <a:lnTo>
                      <a:pt x="129" y="136"/>
                    </a:lnTo>
                    <a:lnTo>
                      <a:pt x="127" y="130"/>
                    </a:lnTo>
                    <a:lnTo>
                      <a:pt x="127" y="129"/>
                    </a:lnTo>
                    <a:lnTo>
                      <a:pt x="122" y="122"/>
                    </a:lnTo>
                    <a:lnTo>
                      <a:pt x="122" y="122"/>
                    </a:lnTo>
                    <a:lnTo>
                      <a:pt x="118" y="118"/>
                    </a:lnTo>
                    <a:lnTo>
                      <a:pt x="115" y="118"/>
                    </a:lnTo>
                    <a:lnTo>
                      <a:pt x="113" y="118"/>
                    </a:lnTo>
                    <a:lnTo>
                      <a:pt x="112" y="113"/>
                    </a:lnTo>
                    <a:lnTo>
                      <a:pt x="108" y="110"/>
                    </a:lnTo>
                    <a:lnTo>
                      <a:pt x="108" y="106"/>
                    </a:lnTo>
                    <a:lnTo>
                      <a:pt x="105" y="103"/>
                    </a:lnTo>
                    <a:lnTo>
                      <a:pt x="105" y="99"/>
                    </a:lnTo>
                    <a:lnTo>
                      <a:pt x="105" y="99"/>
                    </a:lnTo>
                    <a:lnTo>
                      <a:pt x="110" y="99"/>
                    </a:lnTo>
                    <a:lnTo>
                      <a:pt x="115" y="97"/>
                    </a:lnTo>
                    <a:lnTo>
                      <a:pt x="118" y="94"/>
                    </a:lnTo>
                    <a:lnTo>
                      <a:pt x="118" y="90"/>
                    </a:lnTo>
                    <a:lnTo>
                      <a:pt x="113" y="85"/>
                    </a:lnTo>
                    <a:lnTo>
                      <a:pt x="110" y="83"/>
                    </a:lnTo>
                    <a:lnTo>
                      <a:pt x="108" y="85"/>
                    </a:lnTo>
                    <a:lnTo>
                      <a:pt x="105" y="83"/>
                    </a:lnTo>
                    <a:lnTo>
                      <a:pt x="99" y="80"/>
                    </a:lnTo>
                    <a:lnTo>
                      <a:pt x="96" y="77"/>
                    </a:lnTo>
                    <a:lnTo>
                      <a:pt x="92" y="77"/>
                    </a:lnTo>
                    <a:lnTo>
                      <a:pt x="84" y="77"/>
                    </a:lnTo>
                    <a:lnTo>
                      <a:pt x="82" y="73"/>
                    </a:lnTo>
                    <a:lnTo>
                      <a:pt x="85" y="70"/>
                    </a:lnTo>
                    <a:lnTo>
                      <a:pt x="85" y="66"/>
                    </a:lnTo>
                    <a:lnTo>
                      <a:pt x="82" y="63"/>
                    </a:lnTo>
                    <a:lnTo>
                      <a:pt x="77" y="57"/>
                    </a:lnTo>
                    <a:lnTo>
                      <a:pt x="77" y="57"/>
                    </a:lnTo>
                    <a:lnTo>
                      <a:pt x="73" y="57"/>
                    </a:lnTo>
                    <a:lnTo>
                      <a:pt x="73" y="54"/>
                    </a:lnTo>
                    <a:lnTo>
                      <a:pt x="70" y="54"/>
                    </a:lnTo>
                    <a:lnTo>
                      <a:pt x="68" y="50"/>
                    </a:lnTo>
                    <a:lnTo>
                      <a:pt x="65" y="50"/>
                    </a:lnTo>
                    <a:lnTo>
                      <a:pt x="63" y="47"/>
                    </a:lnTo>
                    <a:lnTo>
                      <a:pt x="61" y="49"/>
                    </a:lnTo>
                    <a:lnTo>
                      <a:pt x="58" y="47"/>
                    </a:lnTo>
                    <a:lnTo>
                      <a:pt x="54" y="45"/>
                    </a:lnTo>
                    <a:lnTo>
                      <a:pt x="51" y="43"/>
                    </a:lnTo>
                    <a:lnTo>
                      <a:pt x="47" y="42"/>
                    </a:lnTo>
                    <a:lnTo>
                      <a:pt x="40" y="40"/>
                    </a:lnTo>
                    <a:lnTo>
                      <a:pt x="32" y="37"/>
                    </a:lnTo>
                    <a:lnTo>
                      <a:pt x="28" y="35"/>
                    </a:lnTo>
                    <a:lnTo>
                      <a:pt x="25" y="35"/>
                    </a:lnTo>
                    <a:lnTo>
                      <a:pt x="23" y="35"/>
                    </a:lnTo>
                    <a:lnTo>
                      <a:pt x="23" y="35"/>
                    </a:lnTo>
                    <a:lnTo>
                      <a:pt x="18" y="31"/>
                    </a:lnTo>
                    <a:lnTo>
                      <a:pt x="16" y="31"/>
                    </a:lnTo>
                    <a:lnTo>
                      <a:pt x="12" y="28"/>
                    </a:lnTo>
                    <a:lnTo>
                      <a:pt x="6" y="28"/>
                    </a:lnTo>
                    <a:lnTo>
                      <a:pt x="2" y="26"/>
                    </a:lnTo>
                    <a:lnTo>
                      <a:pt x="2" y="26"/>
                    </a:lnTo>
                    <a:lnTo>
                      <a:pt x="2" y="26"/>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2" name="Freeform 195"/>
              <p:cNvSpPr>
                <a:spLocks noEditPoints="1"/>
              </p:cNvSpPr>
              <p:nvPr/>
            </p:nvSpPr>
            <p:spPr bwMode="auto">
              <a:xfrm>
                <a:off x="7045325" y="4087813"/>
                <a:ext cx="1243013" cy="487363"/>
              </a:xfrm>
              <a:custGeom>
                <a:avLst/>
                <a:gdLst/>
                <a:ahLst/>
                <a:cxnLst>
                  <a:cxn ang="0">
                    <a:pos x="742" y="236"/>
                  </a:cxn>
                  <a:cxn ang="0">
                    <a:pos x="672" y="184"/>
                  </a:cxn>
                  <a:cxn ang="0">
                    <a:pos x="650" y="160"/>
                  </a:cxn>
                  <a:cxn ang="0">
                    <a:pos x="660" y="127"/>
                  </a:cxn>
                  <a:cxn ang="0">
                    <a:pos x="717" y="146"/>
                  </a:cxn>
                  <a:cxn ang="0">
                    <a:pos x="604" y="121"/>
                  </a:cxn>
                  <a:cxn ang="0">
                    <a:pos x="521" y="55"/>
                  </a:cxn>
                  <a:cxn ang="0">
                    <a:pos x="563" y="123"/>
                  </a:cxn>
                  <a:cxn ang="0">
                    <a:pos x="568" y="90"/>
                  </a:cxn>
                  <a:cxn ang="0">
                    <a:pos x="549" y="127"/>
                  </a:cxn>
                  <a:cxn ang="0">
                    <a:pos x="571" y="179"/>
                  </a:cxn>
                  <a:cxn ang="0">
                    <a:pos x="559" y="168"/>
                  </a:cxn>
                  <a:cxn ang="0">
                    <a:pos x="544" y="172"/>
                  </a:cxn>
                  <a:cxn ang="0">
                    <a:pos x="524" y="160"/>
                  </a:cxn>
                  <a:cxn ang="0">
                    <a:pos x="467" y="212"/>
                  </a:cxn>
                  <a:cxn ang="0">
                    <a:pos x="460" y="208"/>
                  </a:cxn>
                  <a:cxn ang="0">
                    <a:pos x="479" y="139"/>
                  </a:cxn>
                  <a:cxn ang="0">
                    <a:pos x="460" y="109"/>
                  </a:cxn>
                  <a:cxn ang="0">
                    <a:pos x="446" y="95"/>
                  </a:cxn>
                  <a:cxn ang="0">
                    <a:pos x="410" y="179"/>
                  </a:cxn>
                  <a:cxn ang="0">
                    <a:pos x="448" y="187"/>
                  </a:cxn>
                  <a:cxn ang="0">
                    <a:pos x="460" y="168"/>
                  </a:cxn>
                  <a:cxn ang="0">
                    <a:pos x="425" y="132"/>
                  </a:cxn>
                  <a:cxn ang="0">
                    <a:pos x="425" y="22"/>
                  </a:cxn>
                  <a:cxn ang="0">
                    <a:pos x="359" y="182"/>
                  </a:cxn>
                  <a:cxn ang="0">
                    <a:pos x="241" y="130"/>
                  </a:cxn>
                  <a:cxn ang="0">
                    <a:pos x="345" y="64"/>
                  </a:cxn>
                  <a:cxn ang="0">
                    <a:pos x="405" y="99"/>
                  </a:cxn>
                  <a:cxn ang="0">
                    <a:pos x="359" y="161"/>
                  </a:cxn>
                  <a:cxn ang="0">
                    <a:pos x="286" y="172"/>
                  </a:cxn>
                  <a:cxn ang="0">
                    <a:pos x="241" y="120"/>
                  </a:cxn>
                  <a:cxn ang="0">
                    <a:pos x="688" y="144"/>
                  </a:cxn>
                  <a:cxn ang="0">
                    <a:pos x="674" y="233"/>
                  </a:cxn>
                  <a:cxn ang="0">
                    <a:pos x="663" y="222"/>
                  </a:cxn>
                  <a:cxn ang="0">
                    <a:pos x="672" y="212"/>
                  </a:cxn>
                  <a:cxn ang="0">
                    <a:pos x="608" y="247"/>
                  </a:cxn>
                  <a:cxn ang="0">
                    <a:pos x="592" y="224"/>
                  </a:cxn>
                  <a:cxn ang="0">
                    <a:pos x="575" y="262"/>
                  </a:cxn>
                  <a:cxn ang="0">
                    <a:pos x="476" y="299"/>
                  </a:cxn>
                  <a:cxn ang="0">
                    <a:pos x="471" y="302"/>
                  </a:cxn>
                  <a:cxn ang="0">
                    <a:pos x="399" y="285"/>
                  </a:cxn>
                  <a:cxn ang="0">
                    <a:pos x="519" y="253"/>
                  </a:cxn>
                  <a:cxn ang="0">
                    <a:pos x="479" y="262"/>
                  </a:cxn>
                  <a:cxn ang="0">
                    <a:pos x="460" y="266"/>
                  </a:cxn>
                  <a:cxn ang="0">
                    <a:pos x="410" y="266"/>
                  </a:cxn>
                  <a:cxn ang="0">
                    <a:pos x="378" y="260"/>
                  </a:cxn>
                  <a:cxn ang="0">
                    <a:pos x="340" y="269"/>
                  </a:cxn>
                  <a:cxn ang="0">
                    <a:pos x="745" y="253"/>
                  </a:cxn>
                  <a:cxn ang="0">
                    <a:pos x="173" y="234"/>
                  </a:cxn>
                  <a:cxn ang="0">
                    <a:pos x="305" y="252"/>
                  </a:cxn>
                  <a:cxn ang="0">
                    <a:pos x="205" y="247"/>
                  </a:cxn>
                  <a:cxn ang="0">
                    <a:pos x="191" y="55"/>
                  </a:cxn>
                  <a:cxn ang="0">
                    <a:pos x="158" y="95"/>
                  </a:cxn>
                  <a:cxn ang="0">
                    <a:pos x="201" y="168"/>
                  </a:cxn>
                  <a:cxn ang="0">
                    <a:pos x="160" y="127"/>
                  </a:cxn>
                  <a:cxn ang="0">
                    <a:pos x="109" y="81"/>
                  </a:cxn>
                  <a:cxn ang="0">
                    <a:pos x="66" y="147"/>
                  </a:cxn>
                  <a:cxn ang="0">
                    <a:pos x="33" y="92"/>
                  </a:cxn>
                  <a:cxn ang="0">
                    <a:pos x="59" y="87"/>
                  </a:cxn>
                  <a:cxn ang="0">
                    <a:pos x="170" y="217"/>
                  </a:cxn>
                  <a:cxn ang="0">
                    <a:pos x="137" y="123"/>
                  </a:cxn>
                  <a:cxn ang="0">
                    <a:pos x="50" y="45"/>
                  </a:cxn>
                </a:cxnLst>
                <a:rect l="0" t="0" r="r" b="b"/>
                <a:pathLst>
                  <a:path w="783" h="307">
                    <a:moveTo>
                      <a:pt x="783" y="161"/>
                    </a:moveTo>
                    <a:lnTo>
                      <a:pt x="782" y="226"/>
                    </a:lnTo>
                    <a:lnTo>
                      <a:pt x="780" y="231"/>
                    </a:lnTo>
                    <a:lnTo>
                      <a:pt x="780" y="233"/>
                    </a:lnTo>
                    <a:lnTo>
                      <a:pt x="782" y="234"/>
                    </a:lnTo>
                    <a:lnTo>
                      <a:pt x="780" y="276"/>
                    </a:lnTo>
                    <a:lnTo>
                      <a:pt x="778" y="276"/>
                    </a:lnTo>
                    <a:lnTo>
                      <a:pt x="776" y="274"/>
                    </a:lnTo>
                    <a:lnTo>
                      <a:pt x="771" y="269"/>
                    </a:lnTo>
                    <a:lnTo>
                      <a:pt x="768" y="266"/>
                    </a:lnTo>
                    <a:lnTo>
                      <a:pt x="768" y="266"/>
                    </a:lnTo>
                    <a:lnTo>
                      <a:pt x="764" y="262"/>
                    </a:lnTo>
                    <a:lnTo>
                      <a:pt x="764" y="262"/>
                    </a:lnTo>
                    <a:lnTo>
                      <a:pt x="764" y="259"/>
                    </a:lnTo>
                    <a:lnTo>
                      <a:pt x="764" y="257"/>
                    </a:lnTo>
                    <a:lnTo>
                      <a:pt x="764" y="252"/>
                    </a:lnTo>
                    <a:lnTo>
                      <a:pt x="764" y="257"/>
                    </a:lnTo>
                    <a:lnTo>
                      <a:pt x="762" y="259"/>
                    </a:lnTo>
                    <a:lnTo>
                      <a:pt x="757" y="257"/>
                    </a:lnTo>
                    <a:lnTo>
                      <a:pt x="754" y="259"/>
                    </a:lnTo>
                    <a:lnTo>
                      <a:pt x="750" y="259"/>
                    </a:lnTo>
                    <a:lnTo>
                      <a:pt x="750" y="257"/>
                    </a:lnTo>
                    <a:lnTo>
                      <a:pt x="745" y="260"/>
                    </a:lnTo>
                    <a:lnTo>
                      <a:pt x="745" y="257"/>
                    </a:lnTo>
                    <a:lnTo>
                      <a:pt x="745" y="257"/>
                    </a:lnTo>
                    <a:lnTo>
                      <a:pt x="745" y="253"/>
                    </a:lnTo>
                    <a:lnTo>
                      <a:pt x="745" y="252"/>
                    </a:lnTo>
                    <a:lnTo>
                      <a:pt x="747" y="250"/>
                    </a:lnTo>
                    <a:lnTo>
                      <a:pt x="747" y="245"/>
                    </a:lnTo>
                    <a:lnTo>
                      <a:pt x="745" y="245"/>
                    </a:lnTo>
                    <a:lnTo>
                      <a:pt x="745" y="243"/>
                    </a:lnTo>
                    <a:lnTo>
                      <a:pt x="745" y="243"/>
                    </a:lnTo>
                    <a:lnTo>
                      <a:pt x="747" y="243"/>
                    </a:lnTo>
                    <a:lnTo>
                      <a:pt x="750" y="243"/>
                    </a:lnTo>
                    <a:lnTo>
                      <a:pt x="752" y="240"/>
                    </a:lnTo>
                    <a:lnTo>
                      <a:pt x="750" y="240"/>
                    </a:lnTo>
                    <a:lnTo>
                      <a:pt x="745" y="240"/>
                    </a:lnTo>
                    <a:lnTo>
                      <a:pt x="745" y="240"/>
                    </a:lnTo>
                    <a:lnTo>
                      <a:pt x="742" y="238"/>
                    </a:lnTo>
                    <a:lnTo>
                      <a:pt x="742" y="236"/>
                    </a:lnTo>
                    <a:lnTo>
                      <a:pt x="742" y="236"/>
                    </a:lnTo>
                    <a:lnTo>
                      <a:pt x="745" y="236"/>
                    </a:lnTo>
                    <a:lnTo>
                      <a:pt x="745" y="234"/>
                    </a:lnTo>
                    <a:lnTo>
                      <a:pt x="740" y="231"/>
                    </a:lnTo>
                    <a:lnTo>
                      <a:pt x="738" y="229"/>
                    </a:lnTo>
                    <a:lnTo>
                      <a:pt x="736" y="226"/>
                    </a:lnTo>
                    <a:lnTo>
                      <a:pt x="736" y="222"/>
                    </a:lnTo>
                    <a:lnTo>
                      <a:pt x="733" y="220"/>
                    </a:lnTo>
                    <a:lnTo>
                      <a:pt x="733" y="217"/>
                    </a:lnTo>
                    <a:lnTo>
                      <a:pt x="736" y="215"/>
                    </a:lnTo>
                    <a:lnTo>
                      <a:pt x="733" y="215"/>
                    </a:lnTo>
                    <a:lnTo>
                      <a:pt x="731" y="214"/>
                    </a:lnTo>
                    <a:lnTo>
                      <a:pt x="733" y="214"/>
                    </a:lnTo>
                    <a:lnTo>
                      <a:pt x="731" y="212"/>
                    </a:lnTo>
                    <a:lnTo>
                      <a:pt x="733" y="208"/>
                    </a:lnTo>
                    <a:lnTo>
                      <a:pt x="729" y="210"/>
                    </a:lnTo>
                    <a:lnTo>
                      <a:pt x="728" y="208"/>
                    </a:lnTo>
                    <a:lnTo>
                      <a:pt x="726" y="208"/>
                    </a:lnTo>
                    <a:lnTo>
                      <a:pt x="724" y="208"/>
                    </a:lnTo>
                    <a:lnTo>
                      <a:pt x="728" y="205"/>
                    </a:lnTo>
                    <a:lnTo>
                      <a:pt x="724" y="207"/>
                    </a:lnTo>
                    <a:lnTo>
                      <a:pt x="723" y="207"/>
                    </a:lnTo>
                    <a:lnTo>
                      <a:pt x="717" y="205"/>
                    </a:lnTo>
                    <a:lnTo>
                      <a:pt x="717" y="201"/>
                    </a:lnTo>
                    <a:lnTo>
                      <a:pt x="712" y="200"/>
                    </a:lnTo>
                    <a:lnTo>
                      <a:pt x="709" y="200"/>
                    </a:lnTo>
                    <a:lnTo>
                      <a:pt x="698" y="198"/>
                    </a:lnTo>
                    <a:lnTo>
                      <a:pt x="689" y="194"/>
                    </a:lnTo>
                    <a:lnTo>
                      <a:pt x="684" y="194"/>
                    </a:lnTo>
                    <a:lnTo>
                      <a:pt x="679" y="193"/>
                    </a:lnTo>
                    <a:lnTo>
                      <a:pt x="679" y="191"/>
                    </a:lnTo>
                    <a:lnTo>
                      <a:pt x="677" y="189"/>
                    </a:lnTo>
                    <a:lnTo>
                      <a:pt x="674" y="189"/>
                    </a:lnTo>
                    <a:lnTo>
                      <a:pt x="674" y="186"/>
                    </a:lnTo>
                    <a:lnTo>
                      <a:pt x="677" y="186"/>
                    </a:lnTo>
                    <a:lnTo>
                      <a:pt x="679" y="186"/>
                    </a:lnTo>
                    <a:lnTo>
                      <a:pt x="677" y="186"/>
                    </a:lnTo>
                    <a:lnTo>
                      <a:pt x="676" y="184"/>
                    </a:lnTo>
                    <a:lnTo>
                      <a:pt x="672" y="186"/>
                    </a:lnTo>
                    <a:lnTo>
                      <a:pt x="672" y="184"/>
                    </a:lnTo>
                    <a:lnTo>
                      <a:pt x="669" y="184"/>
                    </a:lnTo>
                    <a:lnTo>
                      <a:pt x="669" y="182"/>
                    </a:lnTo>
                    <a:lnTo>
                      <a:pt x="667" y="184"/>
                    </a:lnTo>
                    <a:lnTo>
                      <a:pt x="667" y="180"/>
                    </a:lnTo>
                    <a:lnTo>
                      <a:pt x="663" y="180"/>
                    </a:lnTo>
                    <a:lnTo>
                      <a:pt x="663" y="180"/>
                    </a:lnTo>
                    <a:lnTo>
                      <a:pt x="663" y="182"/>
                    </a:lnTo>
                    <a:lnTo>
                      <a:pt x="660" y="180"/>
                    </a:lnTo>
                    <a:lnTo>
                      <a:pt x="660" y="175"/>
                    </a:lnTo>
                    <a:lnTo>
                      <a:pt x="658" y="172"/>
                    </a:lnTo>
                    <a:lnTo>
                      <a:pt x="660" y="170"/>
                    </a:lnTo>
                    <a:lnTo>
                      <a:pt x="660" y="167"/>
                    </a:lnTo>
                    <a:lnTo>
                      <a:pt x="658" y="170"/>
                    </a:lnTo>
                    <a:lnTo>
                      <a:pt x="658" y="172"/>
                    </a:lnTo>
                    <a:lnTo>
                      <a:pt x="656" y="175"/>
                    </a:lnTo>
                    <a:lnTo>
                      <a:pt x="655" y="175"/>
                    </a:lnTo>
                    <a:lnTo>
                      <a:pt x="653" y="180"/>
                    </a:lnTo>
                    <a:lnTo>
                      <a:pt x="653" y="184"/>
                    </a:lnTo>
                    <a:lnTo>
                      <a:pt x="650" y="187"/>
                    </a:lnTo>
                    <a:lnTo>
                      <a:pt x="646" y="189"/>
                    </a:lnTo>
                    <a:lnTo>
                      <a:pt x="644" y="187"/>
                    </a:lnTo>
                    <a:lnTo>
                      <a:pt x="641" y="182"/>
                    </a:lnTo>
                    <a:lnTo>
                      <a:pt x="641" y="179"/>
                    </a:lnTo>
                    <a:lnTo>
                      <a:pt x="641" y="179"/>
                    </a:lnTo>
                    <a:lnTo>
                      <a:pt x="644" y="177"/>
                    </a:lnTo>
                    <a:lnTo>
                      <a:pt x="641" y="175"/>
                    </a:lnTo>
                    <a:lnTo>
                      <a:pt x="641" y="175"/>
                    </a:lnTo>
                    <a:lnTo>
                      <a:pt x="637" y="175"/>
                    </a:lnTo>
                    <a:lnTo>
                      <a:pt x="637" y="170"/>
                    </a:lnTo>
                    <a:lnTo>
                      <a:pt x="634" y="168"/>
                    </a:lnTo>
                    <a:lnTo>
                      <a:pt x="630" y="168"/>
                    </a:lnTo>
                    <a:lnTo>
                      <a:pt x="629" y="167"/>
                    </a:lnTo>
                    <a:lnTo>
                      <a:pt x="630" y="163"/>
                    </a:lnTo>
                    <a:lnTo>
                      <a:pt x="636" y="163"/>
                    </a:lnTo>
                    <a:lnTo>
                      <a:pt x="637" y="165"/>
                    </a:lnTo>
                    <a:lnTo>
                      <a:pt x="641" y="165"/>
                    </a:lnTo>
                    <a:lnTo>
                      <a:pt x="641" y="167"/>
                    </a:lnTo>
                    <a:lnTo>
                      <a:pt x="646" y="165"/>
                    </a:lnTo>
                    <a:lnTo>
                      <a:pt x="646" y="160"/>
                    </a:lnTo>
                    <a:lnTo>
                      <a:pt x="650" y="160"/>
                    </a:lnTo>
                    <a:lnTo>
                      <a:pt x="655" y="161"/>
                    </a:lnTo>
                    <a:lnTo>
                      <a:pt x="656" y="165"/>
                    </a:lnTo>
                    <a:lnTo>
                      <a:pt x="658" y="161"/>
                    </a:lnTo>
                    <a:lnTo>
                      <a:pt x="660" y="160"/>
                    </a:lnTo>
                    <a:lnTo>
                      <a:pt x="660" y="160"/>
                    </a:lnTo>
                    <a:lnTo>
                      <a:pt x="663" y="156"/>
                    </a:lnTo>
                    <a:lnTo>
                      <a:pt x="660" y="153"/>
                    </a:lnTo>
                    <a:lnTo>
                      <a:pt x="653" y="153"/>
                    </a:lnTo>
                    <a:lnTo>
                      <a:pt x="655" y="154"/>
                    </a:lnTo>
                    <a:lnTo>
                      <a:pt x="651" y="154"/>
                    </a:lnTo>
                    <a:lnTo>
                      <a:pt x="650" y="154"/>
                    </a:lnTo>
                    <a:lnTo>
                      <a:pt x="644" y="156"/>
                    </a:lnTo>
                    <a:lnTo>
                      <a:pt x="644" y="154"/>
                    </a:lnTo>
                    <a:lnTo>
                      <a:pt x="641" y="156"/>
                    </a:lnTo>
                    <a:lnTo>
                      <a:pt x="637" y="154"/>
                    </a:lnTo>
                    <a:lnTo>
                      <a:pt x="636" y="154"/>
                    </a:lnTo>
                    <a:lnTo>
                      <a:pt x="632" y="154"/>
                    </a:lnTo>
                    <a:lnTo>
                      <a:pt x="629" y="153"/>
                    </a:lnTo>
                    <a:lnTo>
                      <a:pt x="629" y="149"/>
                    </a:lnTo>
                    <a:lnTo>
                      <a:pt x="629" y="147"/>
                    </a:lnTo>
                    <a:lnTo>
                      <a:pt x="627" y="144"/>
                    </a:lnTo>
                    <a:lnTo>
                      <a:pt x="622" y="142"/>
                    </a:lnTo>
                    <a:lnTo>
                      <a:pt x="622" y="139"/>
                    </a:lnTo>
                    <a:lnTo>
                      <a:pt x="618" y="140"/>
                    </a:lnTo>
                    <a:lnTo>
                      <a:pt x="618" y="142"/>
                    </a:lnTo>
                    <a:lnTo>
                      <a:pt x="613" y="142"/>
                    </a:lnTo>
                    <a:lnTo>
                      <a:pt x="613" y="140"/>
                    </a:lnTo>
                    <a:lnTo>
                      <a:pt x="618" y="137"/>
                    </a:lnTo>
                    <a:lnTo>
                      <a:pt x="618" y="134"/>
                    </a:lnTo>
                    <a:lnTo>
                      <a:pt x="618" y="132"/>
                    </a:lnTo>
                    <a:lnTo>
                      <a:pt x="618" y="130"/>
                    </a:lnTo>
                    <a:lnTo>
                      <a:pt x="623" y="130"/>
                    </a:lnTo>
                    <a:lnTo>
                      <a:pt x="625" y="127"/>
                    </a:lnTo>
                    <a:lnTo>
                      <a:pt x="629" y="127"/>
                    </a:lnTo>
                    <a:lnTo>
                      <a:pt x="634" y="123"/>
                    </a:lnTo>
                    <a:lnTo>
                      <a:pt x="636" y="123"/>
                    </a:lnTo>
                    <a:lnTo>
                      <a:pt x="641" y="121"/>
                    </a:lnTo>
                    <a:lnTo>
                      <a:pt x="648" y="123"/>
                    </a:lnTo>
                    <a:lnTo>
                      <a:pt x="655" y="130"/>
                    </a:lnTo>
                    <a:lnTo>
                      <a:pt x="660" y="127"/>
                    </a:lnTo>
                    <a:lnTo>
                      <a:pt x="663" y="130"/>
                    </a:lnTo>
                    <a:lnTo>
                      <a:pt x="667" y="130"/>
                    </a:lnTo>
                    <a:lnTo>
                      <a:pt x="667" y="132"/>
                    </a:lnTo>
                    <a:lnTo>
                      <a:pt x="667" y="135"/>
                    </a:lnTo>
                    <a:lnTo>
                      <a:pt x="669" y="139"/>
                    </a:lnTo>
                    <a:lnTo>
                      <a:pt x="669" y="142"/>
                    </a:lnTo>
                    <a:lnTo>
                      <a:pt x="669" y="146"/>
                    </a:lnTo>
                    <a:lnTo>
                      <a:pt x="667" y="149"/>
                    </a:lnTo>
                    <a:lnTo>
                      <a:pt x="667" y="153"/>
                    </a:lnTo>
                    <a:lnTo>
                      <a:pt x="669" y="160"/>
                    </a:lnTo>
                    <a:lnTo>
                      <a:pt x="669" y="165"/>
                    </a:lnTo>
                    <a:lnTo>
                      <a:pt x="672" y="167"/>
                    </a:lnTo>
                    <a:lnTo>
                      <a:pt x="672" y="167"/>
                    </a:lnTo>
                    <a:lnTo>
                      <a:pt x="672" y="161"/>
                    </a:lnTo>
                    <a:lnTo>
                      <a:pt x="674" y="160"/>
                    </a:lnTo>
                    <a:lnTo>
                      <a:pt x="676" y="161"/>
                    </a:lnTo>
                    <a:lnTo>
                      <a:pt x="676" y="165"/>
                    </a:lnTo>
                    <a:lnTo>
                      <a:pt x="677" y="168"/>
                    </a:lnTo>
                    <a:lnTo>
                      <a:pt x="677" y="168"/>
                    </a:lnTo>
                    <a:lnTo>
                      <a:pt x="679" y="172"/>
                    </a:lnTo>
                    <a:lnTo>
                      <a:pt x="683" y="175"/>
                    </a:lnTo>
                    <a:lnTo>
                      <a:pt x="684" y="175"/>
                    </a:lnTo>
                    <a:lnTo>
                      <a:pt x="688" y="175"/>
                    </a:lnTo>
                    <a:lnTo>
                      <a:pt x="691" y="175"/>
                    </a:lnTo>
                    <a:lnTo>
                      <a:pt x="691" y="172"/>
                    </a:lnTo>
                    <a:lnTo>
                      <a:pt x="695" y="170"/>
                    </a:lnTo>
                    <a:lnTo>
                      <a:pt x="695" y="170"/>
                    </a:lnTo>
                    <a:lnTo>
                      <a:pt x="695" y="165"/>
                    </a:lnTo>
                    <a:lnTo>
                      <a:pt x="696" y="161"/>
                    </a:lnTo>
                    <a:lnTo>
                      <a:pt x="700" y="161"/>
                    </a:lnTo>
                    <a:lnTo>
                      <a:pt x="703" y="160"/>
                    </a:lnTo>
                    <a:lnTo>
                      <a:pt x="705" y="156"/>
                    </a:lnTo>
                    <a:lnTo>
                      <a:pt x="705" y="154"/>
                    </a:lnTo>
                    <a:lnTo>
                      <a:pt x="707" y="154"/>
                    </a:lnTo>
                    <a:lnTo>
                      <a:pt x="710" y="154"/>
                    </a:lnTo>
                    <a:lnTo>
                      <a:pt x="714" y="153"/>
                    </a:lnTo>
                    <a:lnTo>
                      <a:pt x="717" y="153"/>
                    </a:lnTo>
                    <a:lnTo>
                      <a:pt x="717" y="149"/>
                    </a:lnTo>
                    <a:lnTo>
                      <a:pt x="717" y="147"/>
                    </a:lnTo>
                    <a:lnTo>
                      <a:pt x="717" y="146"/>
                    </a:lnTo>
                    <a:lnTo>
                      <a:pt x="726" y="140"/>
                    </a:lnTo>
                    <a:lnTo>
                      <a:pt x="729" y="142"/>
                    </a:lnTo>
                    <a:lnTo>
                      <a:pt x="733" y="144"/>
                    </a:lnTo>
                    <a:lnTo>
                      <a:pt x="738" y="147"/>
                    </a:lnTo>
                    <a:lnTo>
                      <a:pt x="745" y="147"/>
                    </a:lnTo>
                    <a:lnTo>
                      <a:pt x="747" y="149"/>
                    </a:lnTo>
                    <a:lnTo>
                      <a:pt x="750" y="149"/>
                    </a:lnTo>
                    <a:lnTo>
                      <a:pt x="754" y="153"/>
                    </a:lnTo>
                    <a:lnTo>
                      <a:pt x="764" y="156"/>
                    </a:lnTo>
                    <a:lnTo>
                      <a:pt x="768" y="156"/>
                    </a:lnTo>
                    <a:lnTo>
                      <a:pt x="768" y="156"/>
                    </a:lnTo>
                    <a:lnTo>
                      <a:pt x="773" y="156"/>
                    </a:lnTo>
                    <a:lnTo>
                      <a:pt x="776" y="156"/>
                    </a:lnTo>
                    <a:lnTo>
                      <a:pt x="778" y="158"/>
                    </a:lnTo>
                    <a:lnTo>
                      <a:pt x="778" y="160"/>
                    </a:lnTo>
                    <a:lnTo>
                      <a:pt x="778" y="161"/>
                    </a:lnTo>
                    <a:lnTo>
                      <a:pt x="782" y="163"/>
                    </a:lnTo>
                    <a:lnTo>
                      <a:pt x="783" y="161"/>
                    </a:lnTo>
                    <a:lnTo>
                      <a:pt x="783" y="161"/>
                    </a:lnTo>
                    <a:lnTo>
                      <a:pt x="783" y="161"/>
                    </a:lnTo>
                    <a:lnTo>
                      <a:pt x="783" y="161"/>
                    </a:lnTo>
                    <a:lnTo>
                      <a:pt x="783" y="161"/>
                    </a:lnTo>
                    <a:close/>
                    <a:moveTo>
                      <a:pt x="582" y="114"/>
                    </a:moveTo>
                    <a:lnTo>
                      <a:pt x="587" y="118"/>
                    </a:lnTo>
                    <a:lnTo>
                      <a:pt x="587" y="120"/>
                    </a:lnTo>
                    <a:lnTo>
                      <a:pt x="584" y="118"/>
                    </a:lnTo>
                    <a:lnTo>
                      <a:pt x="582" y="114"/>
                    </a:lnTo>
                    <a:lnTo>
                      <a:pt x="582" y="114"/>
                    </a:lnTo>
                    <a:lnTo>
                      <a:pt x="582" y="114"/>
                    </a:lnTo>
                    <a:lnTo>
                      <a:pt x="582" y="114"/>
                    </a:lnTo>
                    <a:close/>
                    <a:moveTo>
                      <a:pt x="615" y="123"/>
                    </a:moveTo>
                    <a:lnTo>
                      <a:pt x="618" y="123"/>
                    </a:lnTo>
                    <a:lnTo>
                      <a:pt x="622" y="121"/>
                    </a:lnTo>
                    <a:lnTo>
                      <a:pt x="618" y="120"/>
                    </a:lnTo>
                    <a:lnTo>
                      <a:pt x="615" y="116"/>
                    </a:lnTo>
                    <a:lnTo>
                      <a:pt x="610" y="116"/>
                    </a:lnTo>
                    <a:lnTo>
                      <a:pt x="608" y="120"/>
                    </a:lnTo>
                    <a:lnTo>
                      <a:pt x="604" y="120"/>
                    </a:lnTo>
                    <a:lnTo>
                      <a:pt x="603" y="120"/>
                    </a:lnTo>
                    <a:lnTo>
                      <a:pt x="604" y="121"/>
                    </a:lnTo>
                    <a:lnTo>
                      <a:pt x="601" y="121"/>
                    </a:lnTo>
                    <a:lnTo>
                      <a:pt x="606" y="123"/>
                    </a:lnTo>
                    <a:lnTo>
                      <a:pt x="610" y="123"/>
                    </a:lnTo>
                    <a:lnTo>
                      <a:pt x="613" y="123"/>
                    </a:lnTo>
                    <a:lnTo>
                      <a:pt x="613" y="121"/>
                    </a:lnTo>
                    <a:lnTo>
                      <a:pt x="610" y="121"/>
                    </a:lnTo>
                    <a:lnTo>
                      <a:pt x="610" y="120"/>
                    </a:lnTo>
                    <a:lnTo>
                      <a:pt x="610" y="120"/>
                    </a:lnTo>
                    <a:lnTo>
                      <a:pt x="615" y="123"/>
                    </a:lnTo>
                    <a:lnTo>
                      <a:pt x="615" y="123"/>
                    </a:lnTo>
                    <a:lnTo>
                      <a:pt x="615" y="123"/>
                    </a:lnTo>
                    <a:lnTo>
                      <a:pt x="615" y="123"/>
                    </a:lnTo>
                    <a:close/>
                    <a:moveTo>
                      <a:pt x="610" y="132"/>
                    </a:moveTo>
                    <a:lnTo>
                      <a:pt x="606" y="130"/>
                    </a:lnTo>
                    <a:lnTo>
                      <a:pt x="603" y="130"/>
                    </a:lnTo>
                    <a:lnTo>
                      <a:pt x="606" y="132"/>
                    </a:lnTo>
                    <a:lnTo>
                      <a:pt x="610" y="132"/>
                    </a:lnTo>
                    <a:lnTo>
                      <a:pt x="610" y="132"/>
                    </a:lnTo>
                    <a:lnTo>
                      <a:pt x="610" y="132"/>
                    </a:lnTo>
                    <a:lnTo>
                      <a:pt x="610" y="132"/>
                    </a:lnTo>
                    <a:close/>
                    <a:moveTo>
                      <a:pt x="613" y="130"/>
                    </a:moveTo>
                    <a:lnTo>
                      <a:pt x="610" y="132"/>
                    </a:lnTo>
                    <a:lnTo>
                      <a:pt x="610" y="130"/>
                    </a:lnTo>
                    <a:lnTo>
                      <a:pt x="613" y="130"/>
                    </a:lnTo>
                    <a:lnTo>
                      <a:pt x="613" y="130"/>
                    </a:lnTo>
                    <a:lnTo>
                      <a:pt x="613" y="130"/>
                    </a:lnTo>
                    <a:lnTo>
                      <a:pt x="613" y="130"/>
                    </a:lnTo>
                    <a:close/>
                    <a:moveTo>
                      <a:pt x="610" y="132"/>
                    </a:moveTo>
                    <a:lnTo>
                      <a:pt x="608" y="134"/>
                    </a:lnTo>
                    <a:lnTo>
                      <a:pt x="608" y="139"/>
                    </a:lnTo>
                    <a:lnTo>
                      <a:pt x="610" y="140"/>
                    </a:lnTo>
                    <a:lnTo>
                      <a:pt x="613" y="139"/>
                    </a:lnTo>
                    <a:lnTo>
                      <a:pt x="613" y="132"/>
                    </a:lnTo>
                    <a:lnTo>
                      <a:pt x="610" y="132"/>
                    </a:lnTo>
                    <a:lnTo>
                      <a:pt x="610" y="132"/>
                    </a:lnTo>
                    <a:lnTo>
                      <a:pt x="610" y="132"/>
                    </a:lnTo>
                    <a:lnTo>
                      <a:pt x="610" y="132"/>
                    </a:lnTo>
                    <a:close/>
                    <a:moveTo>
                      <a:pt x="517" y="50"/>
                    </a:moveTo>
                    <a:lnTo>
                      <a:pt x="519" y="54"/>
                    </a:lnTo>
                    <a:lnTo>
                      <a:pt x="521" y="55"/>
                    </a:lnTo>
                    <a:lnTo>
                      <a:pt x="519" y="59"/>
                    </a:lnTo>
                    <a:lnTo>
                      <a:pt x="517" y="55"/>
                    </a:lnTo>
                    <a:lnTo>
                      <a:pt x="517" y="52"/>
                    </a:lnTo>
                    <a:lnTo>
                      <a:pt x="517" y="50"/>
                    </a:lnTo>
                    <a:lnTo>
                      <a:pt x="517" y="50"/>
                    </a:lnTo>
                    <a:lnTo>
                      <a:pt x="517" y="50"/>
                    </a:lnTo>
                    <a:lnTo>
                      <a:pt x="517" y="50"/>
                    </a:lnTo>
                    <a:close/>
                    <a:moveTo>
                      <a:pt x="537" y="36"/>
                    </a:moveTo>
                    <a:lnTo>
                      <a:pt x="537" y="41"/>
                    </a:lnTo>
                    <a:lnTo>
                      <a:pt x="540" y="45"/>
                    </a:lnTo>
                    <a:lnTo>
                      <a:pt x="540" y="45"/>
                    </a:lnTo>
                    <a:lnTo>
                      <a:pt x="542" y="41"/>
                    </a:lnTo>
                    <a:lnTo>
                      <a:pt x="540" y="36"/>
                    </a:lnTo>
                    <a:lnTo>
                      <a:pt x="540" y="36"/>
                    </a:lnTo>
                    <a:lnTo>
                      <a:pt x="537" y="36"/>
                    </a:lnTo>
                    <a:lnTo>
                      <a:pt x="537" y="36"/>
                    </a:lnTo>
                    <a:lnTo>
                      <a:pt x="537" y="36"/>
                    </a:lnTo>
                    <a:lnTo>
                      <a:pt x="537" y="36"/>
                    </a:lnTo>
                    <a:close/>
                    <a:moveTo>
                      <a:pt x="537" y="45"/>
                    </a:moveTo>
                    <a:lnTo>
                      <a:pt x="540" y="47"/>
                    </a:lnTo>
                    <a:lnTo>
                      <a:pt x="540" y="50"/>
                    </a:lnTo>
                    <a:lnTo>
                      <a:pt x="540" y="50"/>
                    </a:lnTo>
                    <a:lnTo>
                      <a:pt x="540" y="50"/>
                    </a:lnTo>
                    <a:lnTo>
                      <a:pt x="537" y="45"/>
                    </a:lnTo>
                    <a:lnTo>
                      <a:pt x="537" y="45"/>
                    </a:lnTo>
                    <a:lnTo>
                      <a:pt x="537" y="45"/>
                    </a:lnTo>
                    <a:lnTo>
                      <a:pt x="537" y="45"/>
                    </a:lnTo>
                    <a:close/>
                    <a:moveTo>
                      <a:pt x="564" y="78"/>
                    </a:moveTo>
                    <a:lnTo>
                      <a:pt x="564" y="81"/>
                    </a:lnTo>
                    <a:lnTo>
                      <a:pt x="568" y="81"/>
                    </a:lnTo>
                    <a:lnTo>
                      <a:pt x="570" y="81"/>
                    </a:lnTo>
                    <a:lnTo>
                      <a:pt x="571" y="78"/>
                    </a:lnTo>
                    <a:lnTo>
                      <a:pt x="571" y="76"/>
                    </a:lnTo>
                    <a:lnTo>
                      <a:pt x="568" y="74"/>
                    </a:lnTo>
                    <a:lnTo>
                      <a:pt x="568" y="76"/>
                    </a:lnTo>
                    <a:lnTo>
                      <a:pt x="564" y="78"/>
                    </a:lnTo>
                    <a:lnTo>
                      <a:pt x="564" y="78"/>
                    </a:lnTo>
                    <a:lnTo>
                      <a:pt x="564" y="78"/>
                    </a:lnTo>
                    <a:lnTo>
                      <a:pt x="564" y="78"/>
                    </a:lnTo>
                    <a:close/>
                    <a:moveTo>
                      <a:pt x="563" y="123"/>
                    </a:moveTo>
                    <a:lnTo>
                      <a:pt x="563" y="127"/>
                    </a:lnTo>
                    <a:lnTo>
                      <a:pt x="568" y="130"/>
                    </a:lnTo>
                    <a:lnTo>
                      <a:pt x="568" y="132"/>
                    </a:lnTo>
                    <a:lnTo>
                      <a:pt x="568" y="132"/>
                    </a:lnTo>
                    <a:lnTo>
                      <a:pt x="568" y="135"/>
                    </a:lnTo>
                    <a:lnTo>
                      <a:pt x="564" y="132"/>
                    </a:lnTo>
                    <a:lnTo>
                      <a:pt x="563" y="130"/>
                    </a:lnTo>
                    <a:lnTo>
                      <a:pt x="559" y="127"/>
                    </a:lnTo>
                    <a:lnTo>
                      <a:pt x="557" y="123"/>
                    </a:lnTo>
                    <a:lnTo>
                      <a:pt x="554" y="120"/>
                    </a:lnTo>
                    <a:lnTo>
                      <a:pt x="556" y="116"/>
                    </a:lnTo>
                    <a:lnTo>
                      <a:pt x="556" y="114"/>
                    </a:lnTo>
                    <a:lnTo>
                      <a:pt x="556" y="113"/>
                    </a:lnTo>
                    <a:lnTo>
                      <a:pt x="552" y="109"/>
                    </a:lnTo>
                    <a:lnTo>
                      <a:pt x="552" y="107"/>
                    </a:lnTo>
                    <a:lnTo>
                      <a:pt x="554" y="104"/>
                    </a:lnTo>
                    <a:lnTo>
                      <a:pt x="552" y="100"/>
                    </a:lnTo>
                    <a:lnTo>
                      <a:pt x="550" y="99"/>
                    </a:lnTo>
                    <a:lnTo>
                      <a:pt x="552" y="94"/>
                    </a:lnTo>
                    <a:lnTo>
                      <a:pt x="554" y="92"/>
                    </a:lnTo>
                    <a:lnTo>
                      <a:pt x="554" y="90"/>
                    </a:lnTo>
                    <a:lnTo>
                      <a:pt x="554" y="85"/>
                    </a:lnTo>
                    <a:lnTo>
                      <a:pt x="559" y="78"/>
                    </a:lnTo>
                    <a:lnTo>
                      <a:pt x="563" y="78"/>
                    </a:lnTo>
                    <a:lnTo>
                      <a:pt x="559" y="81"/>
                    </a:lnTo>
                    <a:lnTo>
                      <a:pt x="559" y="85"/>
                    </a:lnTo>
                    <a:lnTo>
                      <a:pt x="559" y="85"/>
                    </a:lnTo>
                    <a:lnTo>
                      <a:pt x="563" y="85"/>
                    </a:lnTo>
                    <a:lnTo>
                      <a:pt x="563" y="92"/>
                    </a:lnTo>
                    <a:lnTo>
                      <a:pt x="559" y="95"/>
                    </a:lnTo>
                    <a:lnTo>
                      <a:pt x="557" y="95"/>
                    </a:lnTo>
                    <a:lnTo>
                      <a:pt x="556" y="99"/>
                    </a:lnTo>
                    <a:lnTo>
                      <a:pt x="557" y="100"/>
                    </a:lnTo>
                    <a:lnTo>
                      <a:pt x="559" y="100"/>
                    </a:lnTo>
                    <a:lnTo>
                      <a:pt x="559" y="99"/>
                    </a:lnTo>
                    <a:lnTo>
                      <a:pt x="564" y="97"/>
                    </a:lnTo>
                    <a:lnTo>
                      <a:pt x="564" y="95"/>
                    </a:lnTo>
                    <a:lnTo>
                      <a:pt x="563" y="95"/>
                    </a:lnTo>
                    <a:lnTo>
                      <a:pt x="564" y="92"/>
                    </a:lnTo>
                    <a:lnTo>
                      <a:pt x="568" y="90"/>
                    </a:lnTo>
                    <a:lnTo>
                      <a:pt x="573" y="90"/>
                    </a:lnTo>
                    <a:lnTo>
                      <a:pt x="575" y="90"/>
                    </a:lnTo>
                    <a:lnTo>
                      <a:pt x="575" y="92"/>
                    </a:lnTo>
                    <a:lnTo>
                      <a:pt x="573" y="99"/>
                    </a:lnTo>
                    <a:lnTo>
                      <a:pt x="568" y="100"/>
                    </a:lnTo>
                    <a:lnTo>
                      <a:pt x="564" y="104"/>
                    </a:lnTo>
                    <a:lnTo>
                      <a:pt x="568" y="104"/>
                    </a:lnTo>
                    <a:lnTo>
                      <a:pt x="568" y="104"/>
                    </a:lnTo>
                    <a:lnTo>
                      <a:pt x="573" y="107"/>
                    </a:lnTo>
                    <a:lnTo>
                      <a:pt x="573" y="113"/>
                    </a:lnTo>
                    <a:lnTo>
                      <a:pt x="575" y="113"/>
                    </a:lnTo>
                    <a:lnTo>
                      <a:pt x="571" y="113"/>
                    </a:lnTo>
                    <a:lnTo>
                      <a:pt x="568" y="113"/>
                    </a:lnTo>
                    <a:lnTo>
                      <a:pt x="564" y="113"/>
                    </a:lnTo>
                    <a:lnTo>
                      <a:pt x="559" y="109"/>
                    </a:lnTo>
                    <a:lnTo>
                      <a:pt x="559" y="109"/>
                    </a:lnTo>
                    <a:lnTo>
                      <a:pt x="559" y="116"/>
                    </a:lnTo>
                    <a:lnTo>
                      <a:pt x="563" y="123"/>
                    </a:lnTo>
                    <a:lnTo>
                      <a:pt x="563" y="123"/>
                    </a:lnTo>
                    <a:lnTo>
                      <a:pt x="563" y="123"/>
                    </a:lnTo>
                    <a:lnTo>
                      <a:pt x="563" y="123"/>
                    </a:lnTo>
                    <a:close/>
                    <a:moveTo>
                      <a:pt x="547" y="130"/>
                    </a:moveTo>
                    <a:lnTo>
                      <a:pt x="549" y="132"/>
                    </a:lnTo>
                    <a:lnTo>
                      <a:pt x="545" y="130"/>
                    </a:lnTo>
                    <a:lnTo>
                      <a:pt x="547" y="130"/>
                    </a:lnTo>
                    <a:lnTo>
                      <a:pt x="547" y="130"/>
                    </a:lnTo>
                    <a:lnTo>
                      <a:pt x="547" y="130"/>
                    </a:lnTo>
                    <a:lnTo>
                      <a:pt x="547" y="130"/>
                    </a:lnTo>
                    <a:lnTo>
                      <a:pt x="547" y="130"/>
                    </a:lnTo>
                    <a:close/>
                    <a:moveTo>
                      <a:pt x="547" y="123"/>
                    </a:moveTo>
                    <a:lnTo>
                      <a:pt x="545" y="123"/>
                    </a:lnTo>
                    <a:lnTo>
                      <a:pt x="544" y="127"/>
                    </a:lnTo>
                    <a:lnTo>
                      <a:pt x="547" y="127"/>
                    </a:lnTo>
                    <a:lnTo>
                      <a:pt x="547" y="123"/>
                    </a:lnTo>
                    <a:lnTo>
                      <a:pt x="547" y="123"/>
                    </a:lnTo>
                    <a:lnTo>
                      <a:pt x="547" y="123"/>
                    </a:lnTo>
                    <a:lnTo>
                      <a:pt x="547" y="123"/>
                    </a:lnTo>
                    <a:lnTo>
                      <a:pt x="547" y="123"/>
                    </a:lnTo>
                    <a:close/>
                    <a:moveTo>
                      <a:pt x="550" y="123"/>
                    </a:moveTo>
                    <a:lnTo>
                      <a:pt x="549" y="127"/>
                    </a:lnTo>
                    <a:lnTo>
                      <a:pt x="549" y="127"/>
                    </a:lnTo>
                    <a:lnTo>
                      <a:pt x="550" y="130"/>
                    </a:lnTo>
                    <a:lnTo>
                      <a:pt x="554" y="130"/>
                    </a:lnTo>
                    <a:lnTo>
                      <a:pt x="556" y="132"/>
                    </a:lnTo>
                    <a:lnTo>
                      <a:pt x="557" y="130"/>
                    </a:lnTo>
                    <a:lnTo>
                      <a:pt x="557" y="130"/>
                    </a:lnTo>
                    <a:lnTo>
                      <a:pt x="554" y="130"/>
                    </a:lnTo>
                    <a:lnTo>
                      <a:pt x="554" y="127"/>
                    </a:lnTo>
                    <a:lnTo>
                      <a:pt x="552" y="123"/>
                    </a:lnTo>
                    <a:lnTo>
                      <a:pt x="550" y="123"/>
                    </a:lnTo>
                    <a:lnTo>
                      <a:pt x="550" y="123"/>
                    </a:lnTo>
                    <a:lnTo>
                      <a:pt x="550" y="123"/>
                    </a:lnTo>
                    <a:lnTo>
                      <a:pt x="550" y="123"/>
                    </a:lnTo>
                    <a:close/>
                    <a:moveTo>
                      <a:pt x="549" y="146"/>
                    </a:moveTo>
                    <a:lnTo>
                      <a:pt x="554" y="140"/>
                    </a:lnTo>
                    <a:lnTo>
                      <a:pt x="559" y="140"/>
                    </a:lnTo>
                    <a:lnTo>
                      <a:pt x="564" y="146"/>
                    </a:lnTo>
                    <a:lnTo>
                      <a:pt x="563" y="147"/>
                    </a:lnTo>
                    <a:lnTo>
                      <a:pt x="559" y="147"/>
                    </a:lnTo>
                    <a:lnTo>
                      <a:pt x="557" y="147"/>
                    </a:lnTo>
                    <a:lnTo>
                      <a:pt x="554" y="149"/>
                    </a:lnTo>
                    <a:lnTo>
                      <a:pt x="552" y="147"/>
                    </a:lnTo>
                    <a:lnTo>
                      <a:pt x="549" y="146"/>
                    </a:lnTo>
                    <a:lnTo>
                      <a:pt x="549" y="146"/>
                    </a:lnTo>
                    <a:lnTo>
                      <a:pt x="549" y="146"/>
                    </a:lnTo>
                    <a:lnTo>
                      <a:pt x="549" y="146"/>
                    </a:lnTo>
                    <a:close/>
                    <a:moveTo>
                      <a:pt x="599" y="147"/>
                    </a:moveTo>
                    <a:lnTo>
                      <a:pt x="592" y="147"/>
                    </a:lnTo>
                    <a:lnTo>
                      <a:pt x="590" y="149"/>
                    </a:lnTo>
                    <a:lnTo>
                      <a:pt x="590" y="149"/>
                    </a:lnTo>
                    <a:lnTo>
                      <a:pt x="599" y="153"/>
                    </a:lnTo>
                    <a:lnTo>
                      <a:pt x="603" y="149"/>
                    </a:lnTo>
                    <a:lnTo>
                      <a:pt x="601" y="149"/>
                    </a:lnTo>
                    <a:lnTo>
                      <a:pt x="601" y="147"/>
                    </a:lnTo>
                    <a:lnTo>
                      <a:pt x="599" y="147"/>
                    </a:lnTo>
                    <a:lnTo>
                      <a:pt x="599" y="147"/>
                    </a:lnTo>
                    <a:lnTo>
                      <a:pt x="599" y="147"/>
                    </a:lnTo>
                    <a:lnTo>
                      <a:pt x="599" y="147"/>
                    </a:lnTo>
                    <a:close/>
                    <a:moveTo>
                      <a:pt x="570" y="179"/>
                    </a:moveTo>
                    <a:lnTo>
                      <a:pt x="571" y="179"/>
                    </a:lnTo>
                    <a:lnTo>
                      <a:pt x="571" y="180"/>
                    </a:lnTo>
                    <a:lnTo>
                      <a:pt x="570" y="180"/>
                    </a:lnTo>
                    <a:lnTo>
                      <a:pt x="570" y="179"/>
                    </a:lnTo>
                    <a:lnTo>
                      <a:pt x="570" y="179"/>
                    </a:lnTo>
                    <a:lnTo>
                      <a:pt x="570" y="179"/>
                    </a:lnTo>
                    <a:lnTo>
                      <a:pt x="570" y="179"/>
                    </a:lnTo>
                    <a:close/>
                    <a:moveTo>
                      <a:pt x="568" y="179"/>
                    </a:moveTo>
                    <a:lnTo>
                      <a:pt x="568" y="179"/>
                    </a:lnTo>
                    <a:lnTo>
                      <a:pt x="568" y="180"/>
                    </a:lnTo>
                    <a:lnTo>
                      <a:pt x="568" y="180"/>
                    </a:lnTo>
                    <a:lnTo>
                      <a:pt x="568" y="179"/>
                    </a:lnTo>
                    <a:lnTo>
                      <a:pt x="568" y="179"/>
                    </a:lnTo>
                    <a:lnTo>
                      <a:pt x="568" y="179"/>
                    </a:lnTo>
                    <a:lnTo>
                      <a:pt x="568" y="179"/>
                    </a:lnTo>
                    <a:close/>
                    <a:moveTo>
                      <a:pt x="557" y="180"/>
                    </a:moveTo>
                    <a:lnTo>
                      <a:pt x="563" y="179"/>
                    </a:lnTo>
                    <a:lnTo>
                      <a:pt x="564" y="179"/>
                    </a:lnTo>
                    <a:lnTo>
                      <a:pt x="564" y="179"/>
                    </a:lnTo>
                    <a:lnTo>
                      <a:pt x="564" y="182"/>
                    </a:lnTo>
                    <a:lnTo>
                      <a:pt x="563" y="180"/>
                    </a:lnTo>
                    <a:lnTo>
                      <a:pt x="559" y="182"/>
                    </a:lnTo>
                    <a:lnTo>
                      <a:pt x="557" y="180"/>
                    </a:lnTo>
                    <a:lnTo>
                      <a:pt x="557" y="180"/>
                    </a:lnTo>
                    <a:lnTo>
                      <a:pt x="557" y="180"/>
                    </a:lnTo>
                    <a:lnTo>
                      <a:pt x="557" y="180"/>
                    </a:lnTo>
                    <a:close/>
                    <a:moveTo>
                      <a:pt x="557" y="172"/>
                    </a:moveTo>
                    <a:lnTo>
                      <a:pt x="554" y="172"/>
                    </a:lnTo>
                    <a:lnTo>
                      <a:pt x="557" y="172"/>
                    </a:lnTo>
                    <a:lnTo>
                      <a:pt x="557" y="172"/>
                    </a:lnTo>
                    <a:lnTo>
                      <a:pt x="557" y="172"/>
                    </a:lnTo>
                    <a:lnTo>
                      <a:pt x="557" y="172"/>
                    </a:lnTo>
                    <a:lnTo>
                      <a:pt x="557" y="172"/>
                    </a:lnTo>
                    <a:close/>
                    <a:moveTo>
                      <a:pt x="559" y="168"/>
                    </a:moveTo>
                    <a:lnTo>
                      <a:pt x="557" y="168"/>
                    </a:lnTo>
                    <a:lnTo>
                      <a:pt x="557" y="170"/>
                    </a:lnTo>
                    <a:lnTo>
                      <a:pt x="559" y="170"/>
                    </a:lnTo>
                    <a:lnTo>
                      <a:pt x="559" y="168"/>
                    </a:lnTo>
                    <a:lnTo>
                      <a:pt x="559" y="168"/>
                    </a:lnTo>
                    <a:lnTo>
                      <a:pt x="559" y="168"/>
                    </a:lnTo>
                    <a:lnTo>
                      <a:pt x="559" y="168"/>
                    </a:lnTo>
                    <a:close/>
                    <a:moveTo>
                      <a:pt x="559" y="177"/>
                    </a:moveTo>
                    <a:lnTo>
                      <a:pt x="564" y="172"/>
                    </a:lnTo>
                    <a:lnTo>
                      <a:pt x="568" y="175"/>
                    </a:lnTo>
                    <a:lnTo>
                      <a:pt x="568" y="177"/>
                    </a:lnTo>
                    <a:lnTo>
                      <a:pt x="571" y="175"/>
                    </a:lnTo>
                    <a:lnTo>
                      <a:pt x="575" y="172"/>
                    </a:lnTo>
                    <a:lnTo>
                      <a:pt x="577" y="172"/>
                    </a:lnTo>
                    <a:lnTo>
                      <a:pt x="578" y="175"/>
                    </a:lnTo>
                    <a:lnTo>
                      <a:pt x="587" y="177"/>
                    </a:lnTo>
                    <a:lnTo>
                      <a:pt x="587" y="175"/>
                    </a:lnTo>
                    <a:lnTo>
                      <a:pt x="590" y="175"/>
                    </a:lnTo>
                    <a:lnTo>
                      <a:pt x="599" y="179"/>
                    </a:lnTo>
                    <a:lnTo>
                      <a:pt x="601" y="179"/>
                    </a:lnTo>
                    <a:lnTo>
                      <a:pt x="604" y="184"/>
                    </a:lnTo>
                    <a:lnTo>
                      <a:pt x="608" y="184"/>
                    </a:lnTo>
                    <a:lnTo>
                      <a:pt x="610" y="180"/>
                    </a:lnTo>
                    <a:lnTo>
                      <a:pt x="608" y="175"/>
                    </a:lnTo>
                    <a:lnTo>
                      <a:pt x="599" y="170"/>
                    </a:lnTo>
                    <a:lnTo>
                      <a:pt x="590" y="168"/>
                    </a:lnTo>
                    <a:lnTo>
                      <a:pt x="587" y="167"/>
                    </a:lnTo>
                    <a:lnTo>
                      <a:pt x="585" y="165"/>
                    </a:lnTo>
                    <a:lnTo>
                      <a:pt x="582" y="168"/>
                    </a:lnTo>
                    <a:lnTo>
                      <a:pt x="578" y="168"/>
                    </a:lnTo>
                    <a:lnTo>
                      <a:pt x="575" y="167"/>
                    </a:lnTo>
                    <a:lnTo>
                      <a:pt x="570" y="167"/>
                    </a:lnTo>
                    <a:lnTo>
                      <a:pt x="564" y="167"/>
                    </a:lnTo>
                    <a:lnTo>
                      <a:pt x="563" y="170"/>
                    </a:lnTo>
                    <a:lnTo>
                      <a:pt x="563" y="172"/>
                    </a:lnTo>
                    <a:lnTo>
                      <a:pt x="559" y="172"/>
                    </a:lnTo>
                    <a:lnTo>
                      <a:pt x="559" y="175"/>
                    </a:lnTo>
                    <a:lnTo>
                      <a:pt x="559" y="177"/>
                    </a:lnTo>
                    <a:lnTo>
                      <a:pt x="559" y="177"/>
                    </a:lnTo>
                    <a:lnTo>
                      <a:pt x="559" y="177"/>
                    </a:lnTo>
                    <a:lnTo>
                      <a:pt x="559" y="177"/>
                    </a:lnTo>
                    <a:lnTo>
                      <a:pt x="559" y="177"/>
                    </a:lnTo>
                    <a:close/>
                    <a:moveTo>
                      <a:pt x="528" y="172"/>
                    </a:moveTo>
                    <a:lnTo>
                      <a:pt x="531" y="172"/>
                    </a:lnTo>
                    <a:lnTo>
                      <a:pt x="533" y="172"/>
                    </a:lnTo>
                    <a:lnTo>
                      <a:pt x="540" y="172"/>
                    </a:lnTo>
                    <a:lnTo>
                      <a:pt x="544" y="172"/>
                    </a:lnTo>
                    <a:lnTo>
                      <a:pt x="544" y="175"/>
                    </a:lnTo>
                    <a:lnTo>
                      <a:pt x="547" y="177"/>
                    </a:lnTo>
                    <a:lnTo>
                      <a:pt x="547" y="180"/>
                    </a:lnTo>
                    <a:lnTo>
                      <a:pt x="544" y="180"/>
                    </a:lnTo>
                    <a:lnTo>
                      <a:pt x="540" y="184"/>
                    </a:lnTo>
                    <a:lnTo>
                      <a:pt x="537" y="184"/>
                    </a:lnTo>
                    <a:lnTo>
                      <a:pt x="533" y="184"/>
                    </a:lnTo>
                    <a:lnTo>
                      <a:pt x="531" y="182"/>
                    </a:lnTo>
                    <a:lnTo>
                      <a:pt x="526" y="180"/>
                    </a:lnTo>
                    <a:lnTo>
                      <a:pt x="524" y="177"/>
                    </a:lnTo>
                    <a:lnTo>
                      <a:pt x="524" y="172"/>
                    </a:lnTo>
                    <a:lnTo>
                      <a:pt x="528" y="172"/>
                    </a:lnTo>
                    <a:lnTo>
                      <a:pt x="528" y="172"/>
                    </a:lnTo>
                    <a:lnTo>
                      <a:pt x="528" y="172"/>
                    </a:lnTo>
                    <a:lnTo>
                      <a:pt x="528" y="172"/>
                    </a:lnTo>
                    <a:close/>
                    <a:moveTo>
                      <a:pt x="432" y="240"/>
                    </a:moveTo>
                    <a:lnTo>
                      <a:pt x="431" y="240"/>
                    </a:lnTo>
                    <a:lnTo>
                      <a:pt x="431" y="240"/>
                    </a:lnTo>
                    <a:lnTo>
                      <a:pt x="432" y="243"/>
                    </a:lnTo>
                    <a:lnTo>
                      <a:pt x="432" y="240"/>
                    </a:lnTo>
                    <a:lnTo>
                      <a:pt x="432" y="240"/>
                    </a:lnTo>
                    <a:lnTo>
                      <a:pt x="432" y="240"/>
                    </a:lnTo>
                    <a:lnTo>
                      <a:pt x="432" y="240"/>
                    </a:lnTo>
                    <a:close/>
                    <a:moveTo>
                      <a:pt x="431" y="217"/>
                    </a:moveTo>
                    <a:lnTo>
                      <a:pt x="432" y="222"/>
                    </a:lnTo>
                    <a:lnTo>
                      <a:pt x="431" y="226"/>
                    </a:lnTo>
                    <a:lnTo>
                      <a:pt x="431" y="229"/>
                    </a:lnTo>
                    <a:lnTo>
                      <a:pt x="429" y="226"/>
                    </a:lnTo>
                    <a:lnTo>
                      <a:pt x="427" y="224"/>
                    </a:lnTo>
                    <a:lnTo>
                      <a:pt x="429" y="222"/>
                    </a:lnTo>
                    <a:lnTo>
                      <a:pt x="429" y="220"/>
                    </a:lnTo>
                    <a:lnTo>
                      <a:pt x="431" y="217"/>
                    </a:lnTo>
                    <a:lnTo>
                      <a:pt x="431" y="217"/>
                    </a:lnTo>
                    <a:lnTo>
                      <a:pt x="431" y="217"/>
                    </a:lnTo>
                    <a:lnTo>
                      <a:pt x="431" y="217"/>
                    </a:lnTo>
                    <a:close/>
                    <a:moveTo>
                      <a:pt x="524" y="153"/>
                    </a:moveTo>
                    <a:lnTo>
                      <a:pt x="524" y="154"/>
                    </a:lnTo>
                    <a:lnTo>
                      <a:pt x="526" y="158"/>
                    </a:lnTo>
                    <a:lnTo>
                      <a:pt x="526" y="160"/>
                    </a:lnTo>
                    <a:lnTo>
                      <a:pt x="524" y="160"/>
                    </a:lnTo>
                    <a:lnTo>
                      <a:pt x="523" y="156"/>
                    </a:lnTo>
                    <a:lnTo>
                      <a:pt x="523" y="153"/>
                    </a:lnTo>
                    <a:lnTo>
                      <a:pt x="524" y="153"/>
                    </a:lnTo>
                    <a:lnTo>
                      <a:pt x="524" y="153"/>
                    </a:lnTo>
                    <a:lnTo>
                      <a:pt x="524" y="153"/>
                    </a:lnTo>
                    <a:lnTo>
                      <a:pt x="524" y="153"/>
                    </a:lnTo>
                    <a:close/>
                    <a:moveTo>
                      <a:pt x="514" y="149"/>
                    </a:moveTo>
                    <a:lnTo>
                      <a:pt x="517" y="147"/>
                    </a:lnTo>
                    <a:lnTo>
                      <a:pt x="519" y="149"/>
                    </a:lnTo>
                    <a:lnTo>
                      <a:pt x="521" y="147"/>
                    </a:lnTo>
                    <a:lnTo>
                      <a:pt x="528" y="149"/>
                    </a:lnTo>
                    <a:lnTo>
                      <a:pt x="531" y="149"/>
                    </a:lnTo>
                    <a:lnTo>
                      <a:pt x="528" y="149"/>
                    </a:lnTo>
                    <a:lnTo>
                      <a:pt x="519" y="153"/>
                    </a:lnTo>
                    <a:lnTo>
                      <a:pt x="517" y="149"/>
                    </a:lnTo>
                    <a:lnTo>
                      <a:pt x="517" y="149"/>
                    </a:lnTo>
                    <a:lnTo>
                      <a:pt x="514" y="149"/>
                    </a:lnTo>
                    <a:lnTo>
                      <a:pt x="514" y="149"/>
                    </a:lnTo>
                    <a:lnTo>
                      <a:pt x="514" y="149"/>
                    </a:lnTo>
                    <a:lnTo>
                      <a:pt x="514" y="149"/>
                    </a:lnTo>
                    <a:close/>
                    <a:moveTo>
                      <a:pt x="498" y="149"/>
                    </a:moveTo>
                    <a:lnTo>
                      <a:pt x="500" y="147"/>
                    </a:lnTo>
                    <a:lnTo>
                      <a:pt x="502" y="147"/>
                    </a:lnTo>
                    <a:lnTo>
                      <a:pt x="504" y="146"/>
                    </a:lnTo>
                    <a:lnTo>
                      <a:pt x="505" y="147"/>
                    </a:lnTo>
                    <a:lnTo>
                      <a:pt x="509" y="149"/>
                    </a:lnTo>
                    <a:lnTo>
                      <a:pt x="511" y="147"/>
                    </a:lnTo>
                    <a:lnTo>
                      <a:pt x="514" y="147"/>
                    </a:lnTo>
                    <a:lnTo>
                      <a:pt x="514" y="149"/>
                    </a:lnTo>
                    <a:lnTo>
                      <a:pt x="511" y="149"/>
                    </a:lnTo>
                    <a:lnTo>
                      <a:pt x="509" y="153"/>
                    </a:lnTo>
                    <a:lnTo>
                      <a:pt x="505" y="149"/>
                    </a:lnTo>
                    <a:lnTo>
                      <a:pt x="502" y="153"/>
                    </a:lnTo>
                    <a:lnTo>
                      <a:pt x="498" y="153"/>
                    </a:lnTo>
                    <a:lnTo>
                      <a:pt x="497" y="149"/>
                    </a:lnTo>
                    <a:lnTo>
                      <a:pt x="498" y="149"/>
                    </a:lnTo>
                    <a:lnTo>
                      <a:pt x="498" y="149"/>
                    </a:lnTo>
                    <a:lnTo>
                      <a:pt x="498" y="149"/>
                    </a:lnTo>
                    <a:lnTo>
                      <a:pt x="498" y="149"/>
                    </a:lnTo>
                    <a:close/>
                    <a:moveTo>
                      <a:pt x="467" y="212"/>
                    </a:moveTo>
                    <a:lnTo>
                      <a:pt x="471" y="207"/>
                    </a:lnTo>
                    <a:lnTo>
                      <a:pt x="472" y="200"/>
                    </a:lnTo>
                    <a:lnTo>
                      <a:pt x="472" y="194"/>
                    </a:lnTo>
                    <a:lnTo>
                      <a:pt x="474" y="194"/>
                    </a:lnTo>
                    <a:lnTo>
                      <a:pt x="476" y="194"/>
                    </a:lnTo>
                    <a:lnTo>
                      <a:pt x="476" y="198"/>
                    </a:lnTo>
                    <a:lnTo>
                      <a:pt x="478" y="198"/>
                    </a:lnTo>
                    <a:lnTo>
                      <a:pt x="478" y="200"/>
                    </a:lnTo>
                    <a:lnTo>
                      <a:pt x="476" y="198"/>
                    </a:lnTo>
                    <a:lnTo>
                      <a:pt x="476" y="200"/>
                    </a:lnTo>
                    <a:lnTo>
                      <a:pt x="474" y="201"/>
                    </a:lnTo>
                    <a:lnTo>
                      <a:pt x="472" y="203"/>
                    </a:lnTo>
                    <a:lnTo>
                      <a:pt x="474" y="207"/>
                    </a:lnTo>
                    <a:lnTo>
                      <a:pt x="476" y="207"/>
                    </a:lnTo>
                    <a:lnTo>
                      <a:pt x="478" y="208"/>
                    </a:lnTo>
                    <a:lnTo>
                      <a:pt x="476" y="210"/>
                    </a:lnTo>
                    <a:lnTo>
                      <a:pt x="474" y="210"/>
                    </a:lnTo>
                    <a:lnTo>
                      <a:pt x="472" y="214"/>
                    </a:lnTo>
                    <a:lnTo>
                      <a:pt x="469" y="215"/>
                    </a:lnTo>
                    <a:lnTo>
                      <a:pt x="467" y="214"/>
                    </a:lnTo>
                    <a:lnTo>
                      <a:pt x="467" y="212"/>
                    </a:lnTo>
                    <a:lnTo>
                      <a:pt x="467" y="212"/>
                    </a:lnTo>
                    <a:lnTo>
                      <a:pt x="467" y="212"/>
                    </a:lnTo>
                    <a:lnTo>
                      <a:pt x="467" y="212"/>
                    </a:lnTo>
                    <a:close/>
                    <a:moveTo>
                      <a:pt x="460" y="208"/>
                    </a:moveTo>
                    <a:lnTo>
                      <a:pt x="460" y="208"/>
                    </a:lnTo>
                    <a:lnTo>
                      <a:pt x="460" y="208"/>
                    </a:lnTo>
                    <a:lnTo>
                      <a:pt x="460" y="210"/>
                    </a:lnTo>
                    <a:lnTo>
                      <a:pt x="464" y="210"/>
                    </a:lnTo>
                    <a:lnTo>
                      <a:pt x="464" y="208"/>
                    </a:lnTo>
                    <a:lnTo>
                      <a:pt x="465" y="208"/>
                    </a:lnTo>
                    <a:lnTo>
                      <a:pt x="465" y="205"/>
                    </a:lnTo>
                    <a:lnTo>
                      <a:pt x="469" y="203"/>
                    </a:lnTo>
                    <a:lnTo>
                      <a:pt x="469" y="201"/>
                    </a:lnTo>
                    <a:lnTo>
                      <a:pt x="467" y="198"/>
                    </a:lnTo>
                    <a:lnTo>
                      <a:pt x="464" y="200"/>
                    </a:lnTo>
                    <a:lnTo>
                      <a:pt x="464" y="201"/>
                    </a:lnTo>
                    <a:lnTo>
                      <a:pt x="464" y="203"/>
                    </a:lnTo>
                    <a:lnTo>
                      <a:pt x="460" y="208"/>
                    </a:lnTo>
                    <a:lnTo>
                      <a:pt x="460" y="208"/>
                    </a:lnTo>
                    <a:lnTo>
                      <a:pt x="460" y="208"/>
                    </a:lnTo>
                    <a:lnTo>
                      <a:pt x="460" y="208"/>
                    </a:lnTo>
                    <a:close/>
                    <a:moveTo>
                      <a:pt x="453" y="205"/>
                    </a:moveTo>
                    <a:lnTo>
                      <a:pt x="453" y="207"/>
                    </a:lnTo>
                    <a:lnTo>
                      <a:pt x="451" y="208"/>
                    </a:lnTo>
                    <a:lnTo>
                      <a:pt x="453" y="212"/>
                    </a:lnTo>
                    <a:lnTo>
                      <a:pt x="455" y="214"/>
                    </a:lnTo>
                    <a:lnTo>
                      <a:pt x="455" y="212"/>
                    </a:lnTo>
                    <a:lnTo>
                      <a:pt x="455" y="208"/>
                    </a:lnTo>
                    <a:lnTo>
                      <a:pt x="455" y="205"/>
                    </a:lnTo>
                    <a:lnTo>
                      <a:pt x="455" y="205"/>
                    </a:lnTo>
                    <a:lnTo>
                      <a:pt x="453" y="205"/>
                    </a:lnTo>
                    <a:lnTo>
                      <a:pt x="453" y="205"/>
                    </a:lnTo>
                    <a:lnTo>
                      <a:pt x="453" y="205"/>
                    </a:lnTo>
                    <a:lnTo>
                      <a:pt x="453" y="205"/>
                    </a:lnTo>
                    <a:close/>
                    <a:moveTo>
                      <a:pt x="478" y="149"/>
                    </a:moveTo>
                    <a:lnTo>
                      <a:pt x="474" y="149"/>
                    </a:lnTo>
                    <a:lnTo>
                      <a:pt x="478" y="153"/>
                    </a:lnTo>
                    <a:lnTo>
                      <a:pt x="478" y="153"/>
                    </a:lnTo>
                    <a:lnTo>
                      <a:pt x="478" y="149"/>
                    </a:lnTo>
                    <a:lnTo>
                      <a:pt x="478" y="149"/>
                    </a:lnTo>
                    <a:lnTo>
                      <a:pt x="478" y="149"/>
                    </a:lnTo>
                    <a:lnTo>
                      <a:pt x="478" y="149"/>
                    </a:lnTo>
                    <a:close/>
                    <a:moveTo>
                      <a:pt x="481" y="147"/>
                    </a:moveTo>
                    <a:lnTo>
                      <a:pt x="479" y="149"/>
                    </a:lnTo>
                    <a:lnTo>
                      <a:pt x="483" y="149"/>
                    </a:lnTo>
                    <a:lnTo>
                      <a:pt x="481" y="147"/>
                    </a:lnTo>
                    <a:lnTo>
                      <a:pt x="481" y="147"/>
                    </a:lnTo>
                    <a:lnTo>
                      <a:pt x="481" y="147"/>
                    </a:lnTo>
                    <a:lnTo>
                      <a:pt x="481" y="147"/>
                    </a:lnTo>
                    <a:close/>
                    <a:moveTo>
                      <a:pt x="486" y="144"/>
                    </a:moveTo>
                    <a:lnTo>
                      <a:pt x="483" y="146"/>
                    </a:lnTo>
                    <a:lnTo>
                      <a:pt x="486" y="147"/>
                    </a:lnTo>
                    <a:lnTo>
                      <a:pt x="486" y="144"/>
                    </a:lnTo>
                    <a:lnTo>
                      <a:pt x="486" y="144"/>
                    </a:lnTo>
                    <a:lnTo>
                      <a:pt x="486" y="144"/>
                    </a:lnTo>
                    <a:lnTo>
                      <a:pt x="486" y="144"/>
                    </a:lnTo>
                    <a:close/>
                    <a:moveTo>
                      <a:pt x="471" y="140"/>
                    </a:moveTo>
                    <a:lnTo>
                      <a:pt x="476" y="139"/>
                    </a:lnTo>
                    <a:lnTo>
                      <a:pt x="479" y="139"/>
                    </a:lnTo>
                    <a:lnTo>
                      <a:pt x="481" y="140"/>
                    </a:lnTo>
                    <a:lnTo>
                      <a:pt x="479" y="142"/>
                    </a:lnTo>
                    <a:lnTo>
                      <a:pt x="483" y="140"/>
                    </a:lnTo>
                    <a:lnTo>
                      <a:pt x="483" y="139"/>
                    </a:lnTo>
                    <a:lnTo>
                      <a:pt x="486" y="140"/>
                    </a:lnTo>
                    <a:lnTo>
                      <a:pt x="483" y="144"/>
                    </a:lnTo>
                    <a:lnTo>
                      <a:pt x="483" y="144"/>
                    </a:lnTo>
                    <a:lnTo>
                      <a:pt x="481" y="144"/>
                    </a:lnTo>
                    <a:lnTo>
                      <a:pt x="479" y="146"/>
                    </a:lnTo>
                    <a:lnTo>
                      <a:pt x="476" y="144"/>
                    </a:lnTo>
                    <a:lnTo>
                      <a:pt x="474" y="146"/>
                    </a:lnTo>
                    <a:lnTo>
                      <a:pt x="471" y="144"/>
                    </a:lnTo>
                    <a:lnTo>
                      <a:pt x="471" y="140"/>
                    </a:lnTo>
                    <a:lnTo>
                      <a:pt x="471" y="140"/>
                    </a:lnTo>
                    <a:lnTo>
                      <a:pt x="471" y="140"/>
                    </a:lnTo>
                    <a:lnTo>
                      <a:pt x="471" y="140"/>
                    </a:lnTo>
                    <a:close/>
                    <a:moveTo>
                      <a:pt x="453" y="123"/>
                    </a:moveTo>
                    <a:lnTo>
                      <a:pt x="455" y="123"/>
                    </a:lnTo>
                    <a:lnTo>
                      <a:pt x="455" y="123"/>
                    </a:lnTo>
                    <a:lnTo>
                      <a:pt x="455" y="123"/>
                    </a:lnTo>
                    <a:lnTo>
                      <a:pt x="453" y="123"/>
                    </a:lnTo>
                    <a:lnTo>
                      <a:pt x="453" y="123"/>
                    </a:lnTo>
                    <a:lnTo>
                      <a:pt x="453" y="123"/>
                    </a:lnTo>
                    <a:lnTo>
                      <a:pt x="453" y="123"/>
                    </a:lnTo>
                    <a:close/>
                    <a:moveTo>
                      <a:pt x="451" y="123"/>
                    </a:moveTo>
                    <a:lnTo>
                      <a:pt x="453" y="123"/>
                    </a:lnTo>
                    <a:lnTo>
                      <a:pt x="455" y="127"/>
                    </a:lnTo>
                    <a:lnTo>
                      <a:pt x="453" y="127"/>
                    </a:lnTo>
                    <a:lnTo>
                      <a:pt x="451" y="123"/>
                    </a:lnTo>
                    <a:lnTo>
                      <a:pt x="451" y="123"/>
                    </a:lnTo>
                    <a:lnTo>
                      <a:pt x="451" y="123"/>
                    </a:lnTo>
                    <a:lnTo>
                      <a:pt x="451" y="123"/>
                    </a:lnTo>
                    <a:close/>
                    <a:moveTo>
                      <a:pt x="431" y="109"/>
                    </a:moveTo>
                    <a:lnTo>
                      <a:pt x="432" y="107"/>
                    </a:lnTo>
                    <a:lnTo>
                      <a:pt x="438" y="109"/>
                    </a:lnTo>
                    <a:lnTo>
                      <a:pt x="443" y="113"/>
                    </a:lnTo>
                    <a:lnTo>
                      <a:pt x="450" y="107"/>
                    </a:lnTo>
                    <a:lnTo>
                      <a:pt x="455" y="107"/>
                    </a:lnTo>
                    <a:lnTo>
                      <a:pt x="455" y="109"/>
                    </a:lnTo>
                    <a:lnTo>
                      <a:pt x="460" y="109"/>
                    </a:lnTo>
                    <a:lnTo>
                      <a:pt x="460" y="109"/>
                    </a:lnTo>
                    <a:lnTo>
                      <a:pt x="467" y="109"/>
                    </a:lnTo>
                    <a:lnTo>
                      <a:pt x="472" y="109"/>
                    </a:lnTo>
                    <a:lnTo>
                      <a:pt x="472" y="107"/>
                    </a:lnTo>
                    <a:lnTo>
                      <a:pt x="478" y="107"/>
                    </a:lnTo>
                    <a:lnTo>
                      <a:pt x="479" y="109"/>
                    </a:lnTo>
                    <a:lnTo>
                      <a:pt x="481" y="113"/>
                    </a:lnTo>
                    <a:lnTo>
                      <a:pt x="483" y="113"/>
                    </a:lnTo>
                    <a:lnTo>
                      <a:pt x="497" y="109"/>
                    </a:lnTo>
                    <a:lnTo>
                      <a:pt x="502" y="107"/>
                    </a:lnTo>
                    <a:lnTo>
                      <a:pt x="504" y="104"/>
                    </a:lnTo>
                    <a:lnTo>
                      <a:pt x="505" y="104"/>
                    </a:lnTo>
                    <a:lnTo>
                      <a:pt x="509" y="100"/>
                    </a:lnTo>
                    <a:lnTo>
                      <a:pt x="509" y="100"/>
                    </a:lnTo>
                    <a:lnTo>
                      <a:pt x="511" y="97"/>
                    </a:lnTo>
                    <a:lnTo>
                      <a:pt x="514" y="94"/>
                    </a:lnTo>
                    <a:lnTo>
                      <a:pt x="514" y="94"/>
                    </a:lnTo>
                    <a:lnTo>
                      <a:pt x="514" y="92"/>
                    </a:lnTo>
                    <a:lnTo>
                      <a:pt x="511" y="90"/>
                    </a:lnTo>
                    <a:lnTo>
                      <a:pt x="505" y="90"/>
                    </a:lnTo>
                    <a:lnTo>
                      <a:pt x="504" y="90"/>
                    </a:lnTo>
                    <a:lnTo>
                      <a:pt x="504" y="92"/>
                    </a:lnTo>
                    <a:lnTo>
                      <a:pt x="500" y="95"/>
                    </a:lnTo>
                    <a:lnTo>
                      <a:pt x="500" y="97"/>
                    </a:lnTo>
                    <a:lnTo>
                      <a:pt x="497" y="99"/>
                    </a:lnTo>
                    <a:lnTo>
                      <a:pt x="495" y="99"/>
                    </a:lnTo>
                    <a:lnTo>
                      <a:pt x="491" y="100"/>
                    </a:lnTo>
                    <a:lnTo>
                      <a:pt x="488" y="104"/>
                    </a:lnTo>
                    <a:lnTo>
                      <a:pt x="481" y="100"/>
                    </a:lnTo>
                    <a:lnTo>
                      <a:pt x="474" y="100"/>
                    </a:lnTo>
                    <a:lnTo>
                      <a:pt x="472" y="100"/>
                    </a:lnTo>
                    <a:lnTo>
                      <a:pt x="471" y="104"/>
                    </a:lnTo>
                    <a:lnTo>
                      <a:pt x="467" y="100"/>
                    </a:lnTo>
                    <a:lnTo>
                      <a:pt x="464" y="100"/>
                    </a:lnTo>
                    <a:lnTo>
                      <a:pt x="460" y="100"/>
                    </a:lnTo>
                    <a:lnTo>
                      <a:pt x="460" y="99"/>
                    </a:lnTo>
                    <a:lnTo>
                      <a:pt x="455" y="99"/>
                    </a:lnTo>
                    <a:lnTo>
                      <a:pt x="451" y="100"/>
                    </a:lnTo>
                    <a:lnTo>
                      <a:pt x="450" y="99"/>
                    </a:lnTo>
                    <a:lnTo>
                      <a:pt x="446" y="95"/>
                    </a:lnTo>
                    <a:lnTo>
                      <a:pt x="441" y="94"/>
                    </a:lnTo>
                    <a:lnTo>
                      <a:pt x="438" y="94"/>
                    </a:lnTo>
                    <a:lnTo>
                      <a:pt x="438" y="99"/>
                    </a:lnTo>
                    <a:lnTo>
                      <a:pt x="436" y="100"/>
                    </a:lnTo>
                    <a:lnTo>
                      <a:pt x="432" y="104"/>
                    </a:lnTo>
                    <a:lnTo>
                      <a:pt x="432" y="104"/>
                    </a:lnTo>
                    <a:lnTo>
                      <a:pt x="427" y="104"/>
                    </a:lnTo>
                    <a:lnTo>
                      <a:pt x="424" y="104"/>
                    </a:lnTo>
                    <a:lnTo>
                      <a:pt x="422" y="107"/>
                    </a:lnTo>
                    <a:lnTo>
                      <a:pt x="422" y="107"/>
                    </a:lnTo>
                    <a:lnTo>
                      <a:pt x="417" y="113"/>
                    </a:lnTo>
                    <a:lnTo>
                      <a:pt x="417" y="116"/>
                    </a:lnTo>
                    <a:lnTo>
                      <a:pt x="418" y="120"/>
                    </a:lnTo>
                    <a:lnTo>
                      <a:pt x="418" y="123"/>
                    </a:lnTo>
                    <a:lnTo>
                      <a:pt x="417" y="127"/>
                    </a:lnTo>
                    <a:lnTo>
                      <a:pt x="418" y="130"/>
                    </a:lnTo>
                    <a:lnTo>
                      <a:pt x="420" y="134"/>
                    </a:lnTo>
                    <a:lnTo>
                      <a:pt x="418" y="132"/>
                    </a:lnTo>
                    <a:lnTo>
                      <a:pt x="417" y="130"/>
                    </a:lnTo>
                    <a:lnTo>
                      <a:pt x="415" y="130"/>
                    </a:lnTo>
                    <a:lnTo>
                      <a:pt x="413" y="132"/>
                    </a:lnTo>
                    <a:lnTo>
                      <a:pt x="410" y="134"/>
                    </a:lnTo>
                    <a:lnTo>
                      <a:pt x="410" y="137"/>
                    </a:lnTo>
                    <a:lnTo>
                      <a:pt x="410" y="140"/>
                    </a:lnTo>
                    <a:lnTo>
                      <a:pt x="410" y="144"/>
                    </a:lnTo>
                    <a:lnTo>
                      <a:pt x="410" y="149"/>
                    </a:lnTo>
                    <a:lnTo>
                      <a:pt x="410" y="153"/>
                    </a:lnTo>
                    <a:lnTo>
                      <a:pt x="410" y="154"/>
                    </a:lnTo>
                    <a:lnTo>
                      <a:pt x="405" y="156"/>
                    </a:lnTo>
                    <a:lnTo>
                      <a:pt x="405" y="160"/>
                    </a:lnTo>
                    <a:lnTo>
                      <a:pt x="401" y="163"/>
                    </a:lnTo>
                    <a:lnTo>
                      <a:pt x="401" y="168"/>
                    </a:lnTo>
                    <a:lnTo>
                      <a:pt x="401" y="170"/>
                    </a:lnTo>
                    <a:lnTo>
                      <a:pt x="401" y="172"/>
                    </a:lnTo>
                    <a:lnTo>
                      <a:pt x="401" y="177"/>
                    </a:lnTo>
                    <a:lnTo>
                      <a:pt x="405" y="179"/>
                    </a:lnTo>
                    <a:lnTo>
                      <a:pt x="405" y="179"/>
                    </a:lnTo>
                    <a:lnTo>
                      <a:pt x="408" y="179"/>
                    </a:lnTo>
                    <a:lnTo>
                      <a:pt x="410" y="177"/>
                    </a:lnTo>
                    <a:lnTo>
                      <a:pt x="410" y="179"/>
                    </a:lnTo>
                    <a:lnTo>
                      <a:pt x="413" y="182"/>
                    </a:lnTo>
                    <a:lnTo>
                      <a:pt x="415" y="191"/>
                    </a:lnTo>
                    <a:lnTo>
                      <a:pt x="413" y="193"/>
                    </a:lnTo>
                    <a:lnTo>
                      <a:pt x="413" y="198"/>
                    </a:lnTo>
                    <a:lnTo>
                      <a:pt x="410" y="200"/>
                    </a:lnTo>
                    <a:lnTo>
                      <a:pt x="410" y="208"/>
                    </a:lnTo>
                    <a:lnTo>
                      <a:pt x="410" y="214"/>
                    </a:lnTo>
                    <a:lnTo>
                      <a:pt x="413" y="214"/>
                    </a:lnTo>
                    <a:lnTo>
                      <a:pt x="415" y="215"/>
                    </a:lnTo>
                    <a:lnTo>
                      <a:pt x="418" y="215"/>
                    </a:lnTo>
                    <a:lnTo>
                      <a:pt x="420" y="214"/>
                    </a:lnTo>
                    <a:lnTo>
                      <a:pt x="424" y="214"/>
                    </a:lnTo>
                    <a:lnTo>
                      <a:pt x="427" y="214"/>
                    </a:lnTo>
                    <a:lnTo>
                      <a:pt x="429" y="215"/>
                    </a:lnTo>
                    <a:lnTo>
                      <a:pt x="429" y="212"/>
                    </a:lnTo>
                    <a:lnTo>
                      <a:pt x="429" y="208"/>
                    </a:lnTo>
                    <a:lnTo>
                      <a:pt x="427" y="207"/>
                    </a:lnTo>
                    <a:lnTo>
                      <a:pt x="425" y="203"/>
                    </a:lnTo>
                    <a:lnTo>
                      <a:pt x="427" y="200"/>
                    </a:lnTo>
                    <a:lnTo>
                      <a:pt x="429" y="194"/>
                    </a:lnTo>
                    <a:lnTo>
                      <a:pt x="429" y="189"/>
                    </a:lnTo>
                    <a:lnTo>
                      <a:pt x="427" y="187"/>
                    </a:lnTo>
                    <a:lnTo>
                      <a:pt x="431" y="182"/>
                    </a:lnTo>
                    <a:lnTo>
                      <a:pt x="431" y="177"/>
                    </a:lnTo>
                    <a:lnTo>
                      <a:pt x="431" y="172"/>
                    </a:lnTo>
                    <a:lnTo>
                      <a:pt x="427" y="172"/>
                    </a:lnTo>
                    <a:lnTo>
                      <a:pt x="427" y="170"/>
                    </a:lnTo>
                    <a:lnTo>
                      <a:pt x="432" y="167"/>
                    </a:lnTo>
                    <a:lnTo>
                      <a:pt x="432" y="165"/>
                    </a:lnTo>
                    <a:lnTo>
                      <a:pt x="436" y="165"/>
                    </a:lnTo>
                    <a:lnTo>
                      <a:pt x="439" y="165"/>
                    </a:lnTo>
                    <a:lnTo>
                      <a:pt x="439" y="167"/>
                    </a:lnTo>
                    <a:lnTo>
                      <a:pt x="441" y="170"/>
                    </a:lnTo>
                    <a:lnTo>
                      <a:pt x="441" y="172"/>
                    </a:lnTo>
                    <a:lnTo>
                      <a:pt x="438" y="175"/>
                    </a:lnTo>
                    <a:lnTo>
                      <a:pt x="436" y="179"/>
                    </a:lnTo>
                    <a:lnTo>
                      <a:pt x="439" y="182"/>
                    </a:lnTo>
                    <a:lnTo>
                      <a:pt x="441" y="182"/>
                    </a:lnTo>
                    <a:lnTo>
                      <a:pt x="443" y="186"/>
                    </a:lnTo>
                    <a:lnTo>
                      <a:pt x="448" y="187"/>
                    </a:lnTo>
                    <a:lnTo>
                      <a:pt x="448" y="191"/>
                    </a:lnTo>
                    <a:lnTo>
                      <a:pt x="446" y="191"/>
                    </a:lnTo>
                    <a:lnTo>
                      <a:pt x="446" y="198"/>
                    </a:lnTo>
                    <a:lnTo>
                      <a:pt x="448" y="200"/>
                    </a:lnTo>
                    <a:lnTo>
                      <a:pt x="450" y="201"/>
                    </a:lnTo>
                    <a:lnTo>
                      <a:pt x="451" y="200"/>
                    </a:lnTo>
                    <a:lnTo>
                      <a:pt x="455" y="201"/>
                    </a:lnTo>
                    <a:lnTo>
                      <a:pt x="458" y="201"/>
                    </a:lnTo>
                    <a:lnTo>
                      <a:pt x="458" y="200"/>
                    </a:lnTo>
                    <a:lnTo>
                      <a:pt x="455" y="198"/>
                    </a:lnTo>
                    <a:lnTo>
                      <a:pt x="460" y="194"/>
                    </a:lnTo>
                    <a:lnTo>
                      <a:pt x="464" y="194"/>
                    </a:lnTo>
                    <a:lnTo>
                      <a:pt x="467" y="193"/>
                    </a:lnTo>
                    <a:lnTo>
                      <a:pt x="472" y="193"/>
                    </a:lnTo>
                    <a:lnTo>
                      <a:pt x="474" y="191"/>
                    </a:lnTo>
                    <a:lnTo>
                      <a:pt x="476" y="193"/>
                    </a:lnTo>
                    <a:lnTo>
                      <a:pt x="478" y="193"/>
                    </a:lnTo>
                    <a:lnTo>
                      <a:pt x="479" y="189"/>
                    </a:lnTo>
                    <a:lnTo>
                      <a:pt x="479" y="187"/>
                    </a:lnTo>
                    <a:lnTo>
                      <a:pt x="474" y="187"/>
                    </a:lnTo>
                    <a:lnTo>
                      <a:pt x="472" y="187"/>
                    </a:lnTo>
                    <a:lnTo>
                      <a:pt x="471" y="187"/>
                    </a:lnTo>
                    <a:lnTo>
                      <a:pt x="467" y="187"/>
                    </a:lnTo>
                    <a:lnTo>
                      <a:pt x="467" y="186"/>
                    </a:lnTo>
                    <a:lnTo>
                      <a:pt x="465" y="186"/>
                    </a:lnTo>
                    <a:lnTo>
                      <a:pt x="465" y="184"/>
                    </a:lnTo>
                    <a:lnTo>
                      <a:pt x="464" y="182"/>
                    </a:lnTo>
                    <a:lnTo>
                      <a:pt x="464" y="184"/>
                    </a:lnTo>
                    <a:lnTo>
                      <a:pt x="464" y="182"/>
                    </a:lnTo>
                    <a:lnTo>
                      <a:pt x="460" y="180"/>
                    </a:lnTo>
                    <a:lnTo>
                      <a:pt x="460" y="179"/>
                    </a:lnTo>
                    <a:lnTo>
                      <a:pt x="460" y="177"/>
                    </a:lnTo>
                    <a:lnTo>
                      <a:pt x="464" y="175"/>
                    </a:lnTo>
                    <a:lnTo>
                      <a:pt x="464" y="175"/>
                    </a:lnTo>
                    <a:lnTo>
                      <a:pt x="464" y="175"/>
                    </a:lnTo>
                    <a:lnTo>
                      <a:pt x="464" y="175"/>
                    </a:lnTo>
                    <a:lnTo>
                      <a:pt x="464" y="172"/>
                    </a:lnTo>
                    <a:lnTo>
                      <a:pt x="464" y="172"/>
                    </a:lnTo>
                    <a:lnTo>
                      <a:pt x="460" y="170"/>
                    </a:lnTo>
                    <a:lnTo>
                      <a:pt x="460" y="168"/>
                    </a:lnTo>
                    <a:lnTo>
                      <a:pt x="460" y="167"/>
                    </a:lnTo>
                    <a:lnTo>
                      <a:pt x="458" y="165"/>
                    </a:lnTo>
                    <a:lnTo>
                      <a:pt x="455" y="165"/>
                    </a:lnTo>
                    <a:lnTo>
                      <a:pt x="455" y="161"/>
                    </a:lnTo>
                    <a:lnTo>
                      <a:pt x="451" y="156"/>
                    </a:lnTo>
                    <a:lnTo>
                      <a:pt x="448" y="153"/>
                    </a:lnTo>
                    <a:lnTo>
                      <a:pt x="446" y="153"/>
                    </a:lnTo>
                    <a:lnTo>
                      <a:pt x="446" y="149"/>
                    </a:lnTo>
                    <a:lnTo>
                      <a:pt x="448" y="149"/>
                    </a:lnTo>
                    <a:lnTo>
                      <a:pt x="448" y="153"/>
                    </a:lnTo>
                    <a:lnTo>
                      <a:pt x="451" y="153"/>
                    </a:lnTo>
                    <a:lnTo>
                      <a:pt x="455" y="149"/>
                    </a:lnTo>
                    <a:lnTo>
                      <a:pt x="455" y="147"/>
                    </a:lnTo>
                    <a:lnTo>
                      <a:pt x="464" y="146"/>
                    </a:lnTo>
                    <a:lnTo>
                      <a:pt x="467" y="140"/>
                    </a:lnTo>
                    <a:lnTo>
                      <a:pt x="469" y="137"/>
                    </a:lnTo>
                    <a:lnTo>
                      <a:pt x="472" y="135"/>
                    </a:lnTo>
                    <a:lnTo>
                      <a:pt x="472" y="134"/>
                    </a:lnTo>
                    <a:lnTo>
                      <a:pt x="476" y="132"/>
                    </a:lnTo>
                    <a:lnTo>
                      <a:pt x="479" y="134"/>
                    </a:lnTo>
                    <a:lnTo>
                      <a:pt x="483" y="134"/>
                    </a:lnTo>
                    <a:lnTo>
                      <a:pt x="483" y="130"/>
                    </a:lnTo>
                    <a:lnTo>
                      <a:pt x="483" y="127"/>
                    </a:lnTo>
                    <a:lnTo>
                      <a:pt x="481" y="127"/>
                    </a:lnTo>
                    <a:lnTo>
                      <a:pt x="474" y="127"/>
                    </a:lnTo>
                    <a:lnTo>
                      <a:pt x="471" y="130"/>
                    </a:lnTo>
                    <a:lnTo>
                      <a:pt x="464" y="130"/>
                    </a:lnTo>
                    <a:lnTo>
                      <a:pt x="464" y="130"/>
                    </a:lnTo>
                    <a:lnTo>
                      <a:pt x="460" y="134"/>
                    </a:lnTo>
                    <a:lnTo>
                      <a:pt x="455" y="132"/>
                    </a:lnTo>
                    <a:lnTo>
                      <a:pt x="455" y="134"/>
                    </a:lnTo>
                    <a:lnTo>
                      <a:pt x="451" y="132"/>
                    </a:lnTo>
                    <a:lnTo>
                      <a:pt x="448" y="130"/>
                    </a:lnTo>
                    <a:lnTo>
                      <a:pt x="444" y="135"/>
                    </a:lnTo>
                    <a:lnTo>
                      <a:pt x="441" y="140"/>
                    </a:lnTo>
                    <a:lnTo>
                      <a:pt x="438" y="142"/>
                    </a:lnTo>
                    <a:lnTo>
                      <a:pt x="436" y="142"/>
                    </a:lnTo>
                    <a:lnTo>
                      <a:pt x="436" y="140"/>
                    </a:lnTo>
                    <a:lnTo>
                      <a:pt x="431" y="135"/>
                    </a:lnTo>
                    <a:lnTo>
                      <a:pt x="425" y="132"/>
                    </a:lnTo>
                    <a:lnTo>
                      <a:pt x="424" y="127"/>
                    </a:lnTo>
                    <a:lnTo>
                      <a:pt x="424" y="120"/>
                    </a:lnTo>
                    <a:lnTo>
                      <a:pt x="427" y="113"/>
                    </a:lnTo>
                    <a:lnTo>
                      <a:pt x="431" y="109"/>
                    </a:lnTo>
                    <a:lnTo>
                      <a:pt x="431" y="109"/>
                    </a:lnTo>
                    <a:lnTo>
                      <a:pt x="431" y="109"/>
                    </a:lnTo>
                    <a:lnTo>
                      <a:pt x="431" y="109"/>
                    </a:lnTo>
                    <a:close/>
                    <a:moveTo>
                      <a:pt x="432" y="0"/>
                    </a:moveTo>
                    <a:lnTo>
                      <a:pt x="431" y="3"/>
                    </a:lnTo>
                    <a:lnTo>
                      <a:pt x="432" y="3"/>
                    </a:lnTo>
                    <a:lnTo>
                      <a:pt x="432" y="1"/>
                    </a:lnTo>
                    <a:lnTo>
                      <a:pt x="432" y="0"/>
                    </a:lnTo>
                    <a:lnTo>
                      <a:pt x="432" y="0"/>
                    </a:lnTo>
                    <a:lnTo>
                      <a:pt x="432" y="0"/>
                    </a:lnTo>
                    <a:lnTo>
                      <a:pt x="432" y="0"/>
                    </a:lnTo>
                    <a:close/>
                    <a:moveTo>
                      <a:pt x="436" y="10"/>
                    </a:moveTo>
                    <a:lnTo>
                      <a:pt x="439" y="10"/>
                    </a:lnTo>
                    <a:lnTo>
                      <a:pt x="441" y="10"/>
                    </a:lnTo>
                    <a:lnTo>
                      <a:pt x="443" y="10"/>
                    </a:lnTo>
                    <a:lnTo>
                      <a:pt x="444" y="10"/>
                    </a:lnTo>
                    <a:lnTo>
                      <a:pt x="444" y="10"/>
                    </a:lnTo>
                    <a:lnTo>
                      <a:pt x="441" y="8"/>
                    </a:lnTo>
                    <a:lnTo>
                      <a:pt x="436" y="10"/>
                    </a:lnTo>
                    <a:lnTo>
                      <a:pt x="436" y="10"/>
                    </a:lnTo>
                    <a:lnTo>
                      <a:pt x="436" y="10"/>
                    </a:lnTo>
                    <a:lnTo>
                      <a:pt x="436" y="10"/>
                    </a:lnTo>
                    <a:lnTo>
                      <a:pt x="436" y="10"/>
                    </a:lnTo>
                    <a:lnTo>
                      <a:pt x="436" y="10"/>
                    </a:lnTo>
                    <a:close/>
                    <a:moveTo>
                      <a:pt x="410" y="29"/>
                    </a:moveTo>
                    <a:lnTo>
                      <a:pt x="410" y="31"/>
                    </a:lnTo>
                    <a:lnTo>
                      <a:pt x="413" y="33"/>
                    </a:lnTo>
                    <a:lnTo>
                      <a:pt x="413" y="33"/>
                    </a:lnTo>
                    <a:lnTo>
                      <a:pt x="410" y="29"/>
                    </a:lnTo>
                    <a:lnTo>
                      <a:pt x="410" y="29"/>
                    </a:lnTo>
                    <a:lnTo>
                      <a:pt x="410" y="29"/>
                    </a:lnTo>
                    <a:lnTo>
                      <a:pt x="410" y="29"/>
                    </a:lnTo>
                    <a:close/>
                    <a:moveTo>
                      <a:pt x="417" y="26"/>
                    </a:moveTo>
                    <a:lnTo>
                      <a:pt x="422" y="22"/>
                    </a:lnTo>
                    <a:lnTo>
                      <a:pt x="425" y="22"/>
                    </a:lnTo>
                    <a:lnTo>
                      <a:pt x="425" y="22"/>
                    </a:lnTo>
                    <a:lnTo>
                      <a:pt x="422" y="26"/>
                    </a:lnTo>
                    <a:lnTo>
                      <a:pt x="418" y="26"/>
                    </a:lnTo>
                    <a:lnTo>
                      <a:pt x="417" y="26"/>
                    </a:lnTo>
                    <a:lnTo>
                      <a:pt x="417" y="26"/>
                    </a:lnTo>
                    <a:lnTo>
                      <a:pt x="417" y="26"/>
                    </a:lnTo>
                    <a:lnTo>
                      <a:pt x="417" y="26"/>
                    </a:lnTo>
                    <a:close/>
                    <a:moveTo>
                      <a:pt x="382" y="45"/>
                    </a:moveTo>
                    <a:lnTo>
                      <a:pt x="382" y="45"/>
                    </a:lnTo>
                    <a:lnTo>
                      <a:pt x="382" y="45"/>
                    </a:lnTo>
                    <a:lnTo>
                      <a:pt x="382" y="45"/>
                    </a:lnTo>
                    <a:lnTo>
                      <a:pt x="382" y="45"/>
                    </a:lnTo>
                    <a:lnTo>
                      <a:pt x="382" y="45"/>
                    </a:lnTo>
                    <a:lnTo>
                      <a:pt x="382" y="45"/>
                    </a:lnTo>
                    <a:close/>
                    <a:moveTo>
                      <a:pt x="382" y="41"/>
                    </a:moveTo>
                    <a:lnTo>
                      <a:pt x="382" y="45"/>
                    </a:lnTo>
                    <a:lnTo>
                      <a:pt x="382" y="45"/>
                    </a:lnTo>
                    <a:lnTo>
                      <a:pt x="385" y="45"/>
                    </a:lnTo>
                    <a:lnTo>
                      <a:pt x="385" y="45"/>
                    </a:lnTo>
                    <a:lnTo>
                      <a:pt x="382" y="41"/>
                    </a:lnTo>
                    <a:lnTo>
                      <a:pt x="382" y="41"/>
                    </a:lnTo>
                    <a:lnTo>
                      <a:pt x="382" y="41"/>
                    </a:lnTo>
                    <a:lnTo>
                      <a:pt x="382" y="41"/>
                    </a:lnTo>
                    <a:close/>
                    <a:moveTo>
                      <a:pt x="385" y="52"/>
                    </a:moveTo>
                    <a:lnTo>
                      <a:pt x="382" y="52"/>
                    </a:lnTo>
                    <a:lnTo>
                      <a:pt x="382" y="54"/>
                    </a:lnTo>
                    <a:lnTo>
                      <a:pt x="385" y="52"/>
                    </a:lnTo>
                    <a:lnTo>
                      <a:pt x="385" y="52"/>
                    </a:lnTo>
                    <a:lnTo>
                      <a:pt x="385" y="52"/>
                    </a:lnTo>
                    <a:lnTo>
                      <a:pt x="385" y="52"/>
                    </a:lnTo>
                    <a:close/>
                    <a:moveTo>
                      <a:pt x="378" y="55"/>
                    </a:moveTo>
                    <a:lnTo>
                      <a:pt x="382" y="55"/>
                    </a:lnTo>
                    <a:lnTo>
                      <a:pt x="382" y="59"/>
                    </a:lnTo>
                    <a:lnTo>
                      <a:pt x="382" y="59"/>
                    </a:lnTo>
                    <a:lnTo>
                      <a:pt x="378" y="55"/>
                    </a:lnTo>
                    <a:lnTo>
                      <a:pt x="378" y="55"/>
                    </a:lnTo>
                    <a:lnTo>
                      <a:pt x="378" y="55"/>
                    </a:lnTo>
                    <a:lnTo>
                      <a:pt x="378" y="55"/>
                    </a:lnTo>
                    <a:close/>
                    <a:moveTo>
                      <a:pt x="359" y="177"/>
                    </a:moveTo>
                    <a:lnTo>
                      <a:pt x="359" y="177"/>
                    </a:lnTo>
                    <a:lnTo>
                      <a:pt x="359" y="182"/>
                    </a:lnTo>
                    <a:lnTo>
                      <a:pt x="359" y="182"/>
                    </a:lnTo>
                    <a:lnTo>
                      <a:pt x="359" y="177"/>
                    </a:lnTo>
                    <a:lnTo>
                      <a:pt x="359" y="177"/>
                    </a:lnTo>
                    <a:lnTo>
                      <a:pt x="359" y="177"/>
                    </a:lnTo>
                    <a:lnTo>
                      <a:pt x="359" y="177"/>
                    </a:lnTo>
                    <a:lnTo>
                      <a:pt x="359" y="177"/>
                    </a:lnTo>
                    <a:close/>
                    <a:moveTo>
                      <a:pt x="356" y="177"/>
                    </a:moveTo>
                    <a:lnTo>
                      <a:pt x="359" y="182"/>
                    </a:lnTo>
                    <a:lnTo>
                      <a:pt x="356" y="186"/>
                    </a:lnTo>
                    <a:lnTo>
                      <a:pt x="354" y="189"/>
                    </a:lnTo>
                    <a:lnTo>
                      <a:pt x="354" y="187"/>
                    </a:lnTo>
                    <a:lnTo>
                      <a:pt x="354" y="182"/>
                    </a:lnTo>
                    <a:lnTo>
                      <a:pt x="356" y="175"/>
                    </a:lnTo>
                    <a:lnTo>
                      <a:pt x="356" y="175"/>
                    </a:lnTo>
                    <a:lnTo>
                      <a:pt x="356" y="177"/>
                    </a:lnTo>
                    <a:lnTo>
                      <a:pt x="356" y="177"/>
                    </a:lnTo>
                    <a:lnTo>
                      <a:pt x="356" y="177"/>
                    </a:lnTo>
                    <a:lnTo>
                      <a:pt x="356" y="177"/>
                    </a:lnTo>
                    <a:close/>
                    <a:moveTo>
                      <a:pt x="239" y="123"/>
                    </a:moveTo>
                    <a:lnTo>
                      <a:pt x="245" y="123"/>
                    </a:lnTo>
                    <a:lnTo>
                      <a:pt x="245" y="127"/>
                    </a:lnTo>
                    <a:lnTo>
                      <a:pt x="243" y="127"/>
                    </a:lnTo>
                    <a:lnTo>
                      <a:pt x="239" y="127"/>
                    </a:lnTo>
                    <a:lnTo>
                      <a:pt x="239" y="123"/>
                    </a:lnTo>
                    <a:lnTo>
                      <a:pt x="239" y="123"/>
                    </a:lnTo>
                    <a:lnTo>
                      <a:pt x="239" y="123"/>
                    </a:lnTo>
                    <a:lnTo>
                      <a:pt x="239" y="123"/>
                    </a:lnTo>
                    <a:lnTo>
                      <a:pt x="239" y="123"/>
                    </a:lnTo>
                    <a:close/>
                    <a:moveTo>
                      <a:pt x="241" y="130"/>
                    </a:moveTo>
                    <a:lnTo>
                      <a:pt x="246" y="132"/>
                    </a:lnTo>
                    <a:lnTo>
                      <a:pt x="246" y="134"/>
                    </a:lnTo>
                    <a:lnTo>
                      <a:pt x="250" y="134"/>
                    </a:lnTo>
                    <a:lnTo>
                      <a:pt x="250" y="135"/>
                    </a:lnTo>
                    <a:lnTo>
                      <a:pt x="245" y="135"/>
                    </a:lnTo>
                    <a:lnTo>
                      <a:pt x="243" y="135"/>
                    </a:lnTo>
                    <a:lnTo>
                      <a:pt x="241" y="132"/>
                    </a:lnTo>
                    <a:lnTo>
                      <a:pt x="241" y="130"/>
                    </a:lnTo>
                    <a:lnTo>
                      <a:pt x="241" y="130"/>
                    </a:lnTo>
                    <a:lnTo>
                      <a:pt x="241" y="130"/>
                    </a:lnTo>
                    <a:lnTo>
                      <a:pt x="241" y="130"/>
                    </a:lnTo>
                    <a:close/>
                    <a:moveTo>
                      <a:pt x="245" y="135"/>
                    </a:moveTo>
                    <a:lnTo>
                      <a:pt x="250" y="137"/>
                    </a:lnTo>
                    <a:lnTo>
                      <a:pt x="252" y="139"/>
                    </a:lnTo>
                    <a:lnTo>
                      <a:pt x="246" y="142"/>
                    </a:lnTo>
                    <a:lnTo>
                      <a:pt x="246" y="142"/>
                    </a:lnTo>
                    <a:lnTo>
                      <a:pt x="245" y="140"/>
                    </a:lnTo>
                    <a:lnTo>
                      <a:pt x="245" y="139"/>
                    </a:lnTo>
                    <a:lnTo>
                      <a:pt x="245" y="139"/>
                    </a:lnTo>
                    <a:lnTo>
                      <a:pt x="245" y="135"/>
                    </a:lnTo>
                    <a:lnTo>
                      <a:pt x="245" y="135"/>
                    </a:lnTo>
                    <a:lnTo>
                      <a:pt x="245" y="135"/>
                    </a:lnTo>
                    <a:lnTo>
                      <a:pt x="245" y="135"/>
                    </a:lnTo>
                    <a:close/>
                    <a:moveTo>
                      <a:pt x="236" y="95"/>
                    </a:moveTo>
                    <a:lnTo>
                      <a:pt x="239" y="92"/>
                    </a:lnTo>
                    <a:lnTo>
                      <a:pt x="243" y="85"/>
                    </a:lnTo>
                    <a:lnTo>
                      <a:pt x="245" y="85"/>
                    </a:lnTo>
                    <a:lnTo>
                      <a:pt x="246" y="81"/>
                    </a:lnTo>
                    <a:lnTo>
                      <a:pt x="252" y="90"/>
                    </a:lnTo>
                    <a:lnTo>
                      <a:pt x="259" y="92"/>
                    </a:lnTo>
                    <a:lnTo>
                      <a:pt x="259" y="94"/>
                    </a:lnTo>
                    <a:lnTo>
                      <a:pt x="260" y="97"/>
                    </a:lnTo>
                    <a:lnTo>
                      <a:pt x="262" y="100"/>
                    </a:lnTo>
                    <a:lnTo>
                      <a:pt x="266" y="100"/>
                    </a:lnTo>
                    <a:lnTo>
                      <a:pt x="271" y="100"/>
                    </a:lnTo>
                    <a:lnTo>
                      <a:pt x="271" y="97"/>
                    </a:lnTo>
                    <a:lnTo>
                      <a:pt x="276" y="99"/>
                    </a:lnTo>
                    <a:lnTo>
                      <a:pt x="278" y="97"/>
                    </a:lnTo>
                    <a:lnTo>
                      <a:pt x="286" y="97"/>
                    </a:lnTo>
                    <a:lnTo>
                      <a:pt x="297" y="94"/>
                    </a:lnTo>
                    <a:lnTo>
                      <a:pt x="299" y="90"/>
                    </a:lnTo>
                    <a:lnTo>
                      <a:pt x="305" y="90"/>
                    </a:lnTo>
                    <a:lnTo>
                      <a:pt x="311" y="94"/>
                    </a:lnTo>
                    <a:lnTo>
                      <a:pt x="312" y="95"/>
                    </a:lnTo>
                    <a:lnTo>
                      <a:pt x="316" y="95"/>
                    </a:lnTo>
                    <a:lnTo>
                      <a:pt x="325" y="90"/>
                    </a:lnTo>
                    <a:lnTo>
                      <a:pt x="332" y="90"/>
                    </a:lnTo>
                    <a:lnTo>
                      <a:pt x="332" y="87"/>
                    </a:lnTo>
                    <a:lnTo>
                      <a:pt x="337" y="78"/>
                    </a:lnTo>
                    <a:lnTo>
                      <a:pt x="340" y="69"/>
                    </a:lnTo>
                    <a:lnTo>
                      <a:pt x="345" y="64"/>
                    </a:lnTo>
                    <a:lnTo>
                      <a:pt x="349" y="48"/>
                    </a:lnTo>
                    <a:lnTo>
                      <a:pt x="349" y="47"/>
                    </a:lnTo>
                    <a:lnTo>
                      <a:pt x="351" y="45"/>
                    </a:lnTo>
                    <a:lnTo>
                      <a:pt x="351" y="41"/>
                    </a:lnTo>
                    <a:lnTo>
                      <a:pt x="356" y="36"/>
                    </a:lnTo>
                    <a:lnTo>
                      <a:pt x="356" y="38"/>
                    </a:lnTo>
                    <a:lnTo>
                      <a:pt x="363" y="38"/>
                    </a:lnTo>
                    <a:lnTo>
                      <a:pt x="370" y="38"/>
                    </a:lnTo>
                    <a:lnTo>
                      <a:pt x="372" y="38"/>
                    </a:lnTo>
                    <a:lnTo>
                      <a:pt x="377" y="38"/>
                    </a:lnTo>
                    <a:lnTo>
                      <a:pt x="382" y="41"/>
                    </a:lnTo>
                    <a:lnTo>
                      <a:pt x="378" y="41"/>
                    </a:lnTo>
                    <a:lnTo>
                      <a:pt x="378" y="41"/>
                    </a:lnTo>
                    <a:lnTo>
                      <a:pt x="378" y="45"/>
                    </a:lnTo>
                    <a:lnTo>
                      <a:pt x="378" y="45"/>
                    </a:lnTo>
                    <a:lnTo>
                      <a:pt x="382" y="47"/>
                    </a:lnTo>
                    <a:lnTo>
                      <a:pt x="385" y="50"/>
                    </a:lnTo>
                    <a:lnTo>
                      <a:pt x="382" y="52"/>
                    </a:lnTo>
                    <a:lnTo>
                      <a:pt x="377" y="50"/>
                    </a:lnTo>
                    <a:lnTo>
                      <a:pt x="375" y="52"/>
                    </a:lnTo>
                    <a:lnTo>
                      <a:pt x="378" y="55"/>
                    </a:lnTo>
                    <a:lnTo>
                      <a:pt x="378" y="55"/>
                    </a:lnTo>
                    <a:lnTo>
                      <a:pt x="378" y="59"/>
                    </a:lnTo>
                    <a:lnTo>
                      <a:pt x="378" y="59"/>
                    </a:lnTo>
                    <a:lnTo>
                      <a:pt x="378" y="59"/>
                    </a:lnTo>
                    <a:lnTo>
                      <a:pt x="378" y="64"/>
                    </a:lnTo>
                    <a:lnTo>
                      <a:pt x="382" y="67"/>
                    </a:lnTo>
                    <a:lnTo>
                      <a:pt x="385" y="73"/>
                    </a:lnTo>
                    <a:lnTo>
                      <a:pt x="391" y="74"/>
                    </a:lnTo>
                    <a:lnTo>
                      <a:pt x="387" y="78"/>
                    </a:lnTo>
                    <a:lnTo>
                      <a:pt x="382" y="78"/>
                    </a:lnTo>
                    <a:lnTo>
                      <a:pt x="382" y="81"/>
                    </a:lnTo>
                    <a:lnTo>
                      <a:pt x="385" y="81"/>
                    </a:lnTo>
                    <a:lnTo>
                      <a:pt x="385" y="85"/>
                    </a:lnTo>
                    <a:lnTo>
                      <a:pt x="387" y="85"/>
                    </a:lnTo>
                    <a:lnTo>
                      <a:pt x="394" y="94"/>
                    </a:lnTo>
                    <a:lnTo>
                      <a:pt x="398" y="94"/>
                    </a:lnTo>
                    <a:lnTo>
                      <a:pt x="399" y="97"/>
                    </a:lnTo>
                    <a:lnTo>
                      <a:pt x="401" y="99"/>
                    </a:lnTo>
                    <a:lnTo>
                      <a:pt x="405" y="99"/>
                    </a:lnTo>
                    <a:lnTo>
                      <a:pt x="401" y="100"/>
                    </a:lnTo>
                    <a:lnTo>
                      <a:pt x="401" y="104"/>
                    </a:lnTo>
                    <a:lnTo>
                      <a:pt x="399" y="100"/>
                    </a:lnTo>
                    <a:lnTo>
                      <a:pt x="396" y="104"/>
                    </a:lnTo>
                    <a:lnTo>
                      <a:pt x="392" y="104"/>
                    </a:lnTo>
                    <a:lnTo>
                      <a:pt x="385" y="99"/>
                    </a:lnTo>
                    <a:lnTo>
                      <a:pt x="387" y="100"/>
                    </a:lnTo>
                    <a:lnTo>
                      <a:pt x="385" y="104"/>
                    </a:lnTo>
                    <a:lnTo>
                      <a:pt x="385" y="100"/>
                    </a:lnTo>
                    <a:lnTo>
                      <a:pt x="382" y="104"/>
                    </a:lnTo>
                    <a:lnTo>
                      <a:pt x="382" y="107"/>
                    </a:lnTo>
                    <a:lnTo>
                      <a:pt x="378" y="109"/>
                    </a:lnTo>
                    <a:lnTo>
                      <a:pt x="378" y="116"/>
                    </a:lnTo>
                    <a:lnTo>
                      <a:pt x="378" y="118"/>
                    </a:lnTo>
                    <a:lnTo>
                      <a:pt x="377" y="123"/>
                    </a:lnTo>
                    <a:lnTo>
                      <a:pt x="372" y="127"/>
                    </a:lnTo>
                    <a:lnTo>
                      <a:pt x="373" y="132"/>
                    </a:lnTo>
                    <a:lnTo>
                      <a:pt x="372" y="135"/>
                    </a:lnTo>
                    <a:lnTo>
                      <a:pt x="368" y="139"/>
                    </a:lnTo>
                    <a:lnTo>
                      <a:pt x="366" y="135"/>
                    </a:lnTo>
                    <a:lnTo>
                      <a:pt x="365" y="134"/>
                    </a:lnTo>
                    <a:lnTo>
                      <a:pt x="366" y="137"/>
                    </a:lnTo>
                    <a:lnTo>
                      <a:pt x="366" y="140"/>
                    </a:lnTo>
                    <a:lnTo>
                      <a:pt x="363" y="144"/>
                    </a:lnTo>
                    <a:lnTo>
                      <a:pt x="363" y="147"/>
                    </a:lnTo>
                    <a:lnTo>
                      <a:pt x="359" y="147"/>
                    </a:lnTo>
                    <a:lnTo>
                      <a:pt x="356" y="147"/>
                    </a:lnTo>
                    <a:lnTo>
                      <a:pt x="359" y="149"/>
                    </a:lnTo>
                    <a:lnTo>
                      <a:pt x="356" y="149"/>
                    </a:lnTo>
                    <a:lnTo>
                      <a:pt x="359" y="149"/>
                    </a:lnTo>
                    <a:lnTo>
                      <a:pt x="363" y="153"/>
                    </a:lnTo>
                    <a:lnTo>
                      <a:pt x="363" y="154"/>
                    </a:lnTo>
                    <a:lnTo>
                      <a:pt x="359" y="154"/>
                    </a:lnTo>
                    <a:lnTo>
                      <a:pt x="359" y="156"/>
                    </a:lnTo>
                    <a:lnTo>
                      <a:pt x="363" y="156"/>
                    </a:lnTo>
                    <a:lnTo>
                      <a:pt x="363" y="158"/>
                    </a:lnTo>
                    <a:lnTo>
                      <a:pt x="363" y="161"/>
                    </a:lnTo>
                    <a:lnTo>
                      <a:pt x="359" y="160"/>
                    </a:lnTo>
                    <a:lnTo>
                      <a:pt x="359" y="160"/>
                    </a:lnTo>
                    <a:lnTo>
                      <a:pt x="359" y="161"/>
                    </a:lnTo>
                    <a:lnTo>
                      <a:pt x="359" y="163"/>
                    </a:lnTo>
                    <a:lnTo>
                      <a:pt x="359" y="163"/>
                    </a:lnTo>
                    <a:lnTo>
                      <a:pt x="359" y="170"/>
                    </a:lnTo>
                    <a:lnTo>
                      <a:pt x="356" y="170"/>
                    </a:lnTo>
                    <a:lnTo>
                      <a:pt x="356" y="168"/>
                    </a:lnTo>
                    <a:lnTo>
                      <a:pt x="356" y="172"/>
                    </a:lnTo>
                    <a:lnTo>
                      <a:pt x="356" y="175"/>
                    </a:lnTo>
                    <a:lnTo>
                      <a:pt x="351" y="180"/>
                    </a:lnTo>
                    <a:lnTo>
                      <a:pt x="345" y="184"/>
                    </a:lnTo>
                    <a:lnTo>
                      <a:pt x="340" y="186"/>
                    </a:lnTo>
                    <a:lnTo>
                      <a:pt x="333" y="189"/>
                    </a:lnTo>
                    <a:lnTo>
                      <a:pt x="328" y="189"/>
                    </a:lnTo>
                    <a:lnTo>
                      <a:pt x="328" y="184"/>
                    </a:lnTo>
                    <a:lnTo>
                      <a:pt x="328" y="182"/>
                    </a:lnTo>
                    <a:lnTo>
                      <a:pt x="328" y="179"/>
                    </a:lnTo>
                    <a:lnTo>
                      <a:pt x="328" y="177"/>
                    </a:lnTo>
                    <a:lnTo>
                      <a:pt x="326" y="179"/>
                    </a:lnTo>
                    <a:lnTo>
                      <a:pt x="325" y="175"/>
                    </a:lnTo>
                    <a:lnTo>
                      <a:pt x="323" y="177"/>
                    </a:lnTo>
                    <a:lnTo>
                      <a:pt x="319" y="175"/>
                    </a:lnTo>
                    <a:lnTo>
                      <a:pt x="318" y="175"/>
                    </a:lnTo>
                    <a:lnTo>
                      <a:pt x="316" y="175"/>
                    </a:lnTo>
                    <a:lnTo>
                      <a:pt x="318" y="179"/>
                    </a:lnTo>
                    <a:lnTo>
                      <a:pt x="314" y="177"/>
                    </a:lnTo>
                    <a:lnTo>
                      <a:pt x="312" y="175"/>
                    </a:lnTo>
                    <a:lnTo>
                      <a:pt x="312" y="172"/>
                    </a:lnTo>
                    <a:lnTo>
                      <a:pt x="311" y="172"/>
                    </a:lnTo>
                    <a:lnTo>
                      <a:pt x="309" y="172"/>
                    </a:lnTo>
                    <a:lnTo>
                      <a:pt x="305" y="172"/>
                    </a:lnTo>
                    <a:lnTo>
                      <a:pt x="305" y="172"/>
                    </a:lnTo>
                    <a:lnTo>
                      <a:pt x="302" y="175"/>
                    </a:lnTo>
                    <a:lnTo>
                      <a:pt x="299" y="175"/>
                    </a:lnTo>
                    <a:lnTo>
                      <a:pt x="297" y="175"/>
                    </a:lnTo>
                    <a:lnTo>
                      <a:pt x="295" y="177"/>
                    </a:lnTo>
                    <a:lnTo>
                      <a:pt x="293" y="175"/>
                    </a:lnTo>
                    <a:lnTo>
                      <a:pt x="292" y="175"/>
                    </a:lnTo>
                    <a:lnTo>
                      <a:pt x="286" y="180"/>
                    </a:lnTo>
                    <a:lnTo>
                      <a:pt x="286" y="180"/>
                    </a:lnTo>
                    <a:lnTo>
                      <a:pt x="286" y="177"/>
                    </a:lnTo>
                    <a:lnTo>
                      <a:pt x="286" y="172"/>
                    </a:lnTo>
                    <a:lnTo>
                      <a:pt x="283" y="168"/>
                    </a:lnTo>
                    <a:lnTo>
                      <a:pt x="283" y="165"/>
                    </a:lnTo>
                    <a:lnTo>
                      <a:pt x="281" y="163"/>
                    </a:lnTo>
                    <a:lnTo>
                      <a:pt x="283" y="165"/>
                    </a:lnTo>
                    <a:lnTo>
                      <a:pt x="281" y="168"/>
                    </a:lnTo>
                    <a:lnTo>
                      <a:pt x="278" y="170"/>
                    </a:lnTo>
                    <a:lnTo>
                      <a:pt x="278" y="168"/>
                    </a:lnTo>
                    <a:lnTo>
                      <a:pt x="274" y="170"/>
                    </a:lnTo>
                    <a:lnTo>
                      <a:pt x="271" y="172"/>
                    </a:lnTo>
                    <a:lnTo>
                      <a:pt x="267" y="170"/>
                    </a:lnTo>
                    <a:lnTo>
                      <a:pt x="264" y="170"/>
                    </a:lnTo>
                    <a:lnTo>
                      <a:pt x="262" y="167"/>
                    </a:lnTo>
                    <a:lnTo>
                      <a:pt x="260" y="170"/>
                    </a:lnTo>
                    <a:lnTo>
                      <a:pt x="259" y="170"/>
                    </a:lnTo>
                    <a:lnTo>
                      <a:pt x="255" y="165"/>
                    </a:lnTo>
                    <a:lnTo>
                      <a:pt x="255" y="160"/>
                    </a:lnTo>
                    <a:lnTo>
                      <a:pt x="255" y="153"/>
                    </a:lnTo>
                    <a:lnTo>
                      <a:pt x="252" y="153"/>
                    </a:lnTo>
                    <a:lnTo>
                      <a:pt x="252" y="149"/>
                    </a:lnTo>
                    <a:lnTo>
                      <a:pt x="252" y="147"/>
                    </a:lnTo>
                    <a:lnTo>
                      <a:pt x="255" y="144"/>
                    </a:lnTo>
                    <a:lnTo>
                      <a:pt x="255" y="140"/>
                    </a:lnTo>
                    <a:lnTo>
                      <a:pt x="255" y="137"/>
                    </a:lnTo>
                    <a:lnTo>
                      <a:pt x="250" y="132"/>
                    </a:lnTo>
                    <a:lnTo>
                      <a:pt x="245" y="130"/>
                    </a:lnTo>
                    <a:lnTo>
                      <a:pt x="241" y="130"/>
                    </a:lnTo>
                    <a:lnTo>
                      <a:pt x="241" y="127"/>
                    </a:lnTo>
                    <a:lnTo>
                      <a:pt x="243" y="127"/>
                    </a:lnTo>
                    <a:lnTo>
                      <a:pt x="246" y="127"/>
                    </a:lnTo>
                    <a:lnTo>
                      <a:pt x="252" y="123"/>
                    </a:lnTo>
                    <a:lnTo>
                      <a:pt x="255" y="121"/>
                    </a:lnTo>
                    <a:lnTo>
                      <a:pt x="259" y="121"/>
                    </a:lnTo>
                    <a:lnTo>
                      <a:pt x="255" y="120"/>
                    </a:lnTo>
                    <a:lnTo>
                      <a:pt x="252" y="123"/>
                    </a:lnTo>
                    <a:lnTo>
                      <a:pt x="246" y="123"/>
                    </a:lnTo>
                    <a:lnTo>
                      <a:pt x="245" y="123"/>
                    </a:lnTo>
                    <a:lnTo>
                      <a:pt x="241" y="123"/>
                    </a:lnTo>
                    <a:lnTo>
                      <a:pt x="238" y="120"/>
                    </a:lnTo>
                    <a:lnTo>
                      <a:pt x="239" y="118"/>
                    </a:lnTo>
                    <a:lnTo>
                      <a:pt x="241" y="120"/>
                    </a:lnTo>
                    <a:lnTo>
                      <a:pt x="239" y="116"/>
                    </a:lnTo>
                    <a:lnTo>
                      <a:pt x="236" y="109"/>
                    </a:lnTo>
                    <a:lnTo>
                      <a:pt x="236" y="104"/>
                    </a:lnTo>
                    <a:lnTo>
                      <a:pt x="236" y="104"/>
                    </a:lnTo>
                    <a:lnTo>
                      <a:pt x="238" y="100"/>
                    </a:lnTo>
                    <a:lnTo>
                      <a:pt x="236" y="99"/>
                    </a:lnTo>
                    <a:lnTo>
                      <a:pt x="236" y="95"/>
                    </a:lnTo>
                    <a:lnTo>
                      <a:pt x="236" y="95"/>
                    </a:lnTo>
                    <a:lnTo>
                      <a:pt x="236" y="95"/>
                    </a:lnTo>
                    <a:lnTo>
                      <a:pt x="236" y="95"/>
                    </a:lnTo>
                    <a:close/>
                    <a:moveTo>
                      <a:pt x="677" y="132"/>
                    </a:moveTo>
                    <a:lnTo>
                      <a:pt x="676" y="132"/>
                    </a:lnTo>
                    <a:lnTo>
                      <a:pt x="677" y="135"/>
                    </a:lnTo>
                    <a:lnTo>
                      <a:pt x="681" y="134"/>
                    </a:lnTo>
                    <a:lnTo>
                      <a:pt x="677" y="132"/>
                    </a:lnTo>
                    <a:lnTo>
                      <a:pt x="677" y="132"/>
                    </a:lnTo>
                    <a:lnTo>
                      <a:pt x="677" y="132"/>
                    </a:lnTo>
                    <a:lnTo>
                      <a:pt x="677" y="132"/>
                    </a:lnTo>
                    <a:close/>
                    <a:moveTo>
                      <a:pt x="686" y="144"/>
                    </a:moveTo>
                    <a:lnTo>
                      <a:pt x="681" y="144"/>
                    </a:lnTo>
                    <a:lnTo>
                      <a:pt x="684" y="144"/>
                    </a:lnTo>
                    <a:lnTo>
                      <a:pt x="686" y="144"/>
                    </a:lnTo>
                    <a:lnTo>
                      <a:pt x="686" y="144"/>
                    </a:lnTo>
                    <a:lnTo>
                      <a:pt x="686" y="144"/>
                    </a:lnTo>
                    <a:lnTo>
                      <a:pt x="686" y="144"/>
                    </a:lnTo>
                    <a:close/>
                    <a:moveTo>
                      <a:pt x="688" y="144"/>
                    </a:moveTo>
                    <a:lnTo>
                      <a:pt x="688" y="144"/>
                    </a:lnTo>
                    <a:lnTo>
                      <a:pt x="689" y="146"/>
                    </a:lnTo>
                    <a:lnTo>
                      <a:pt x="695" y="147"/>
                    </a:lnTo>
                    <a:lnTo>
                      <a:pt x="702" y="149"/>
                    </a:lnTo>
                    <a:lnTo>
                      <a:pt x="710" y="147"/>
                    </a:lnTo>
                    <a:lnTo>
                      <a:pt x="712" y="147"/>
                    </a:lnTo>
                    <a:lnTo>
                      <a:pt x="705" y="146"/>
                    </a:lnTo>
                    <a:lnTo>
                      <a:pt x="703" y="146"/>
                    </a:lnTo>
                    <a:lnTo>
                      <a:pt x="696" y="146"/>
                    </a:lnTo>
                    <a:lnTo>
                      <a:pt x="695" y="147"/>
                    </a:lnTo>
                    <a:lnTo>
                      <a:pt x="688" y="144"/>
                    </a:lnTo>
                    <a:lnTo>
                      <a:pt x="688" y="144"/>
                    </a:lnTo>
                    <a:lnTo>
                      <a:pt x="688" y="144"/>
                    </a:lnTo>
                    <a:lnTo>
                      <a:pt x="688" y="144"/>
                    </a:lnTo>
                    <a:close/>
                    <a:moveTo>
                      <a:pt x="688" y="127"/>
                    </a:moveTo>
                    <a:lnTo>
                      <a:pt x="691" y="130"/>
                    </a:lnTo>
                    <a:lnTo>
                      <a:pt x="691" y="130"/>
                    </a:lnTo>
                    <a:lnTo>
                      <a:pt x="691" y="130"/>
                    </a:lnTo>
                    <a:lnTo>
                      <a:pt x="695" y="132"/>
                    </a:lnTo>
                    <a:lnTo>
                      <a:pt x="695" y="135"/>
                    </a:lnTo>
                    <a:lnTo>
                      <a:pt x="696" y="135"/>
                    </a:lnTo>
                    <a:lnTo>
                      <a:pt x="698" y="135"/>
                    </a:lnTo>
                    <a:lnTo>
                      <a:pt x="700" y="135"/>
                    </a:lnTo>
                    <a:lnTo>
                      <a:pt x="703" y="135"/>
                    </a:lnTo>
                    <a:lnTo>
                      <a:pt x="702" y="134"/>
                    </a:lnTo>
                    <a:lnTo>
                      <a:pt x="700" y="132"/>
                    </a:lnTo>
                    <a:lnTo>
                      <a:pt x="696" y="130"/>
                    </a:lnTo>
                    <a:lnTo>
                      <a:pt x="695" y="127"/>
                    </a:lnTo>
                    <a:lnTo>
                      <a:pt x="691" y="127"/>
                    </a:lnTo>
                    <a:lnTo>
                      <a:pt x="688" y="127"/>
                    </a:lnTo>
                    <a:lnTo>
                      <a:pt x="688" y="127"/>
                    </a:lnTo>
                    <a:lnTo>
                      <a:pt x="688" y="127"/>
                    </a:lnTo>
                    <a:lnTo>
                      <a:pt x="688" y="127"/>
                    </a:lnTo>
                    <a:lnTo>
                      <a:pt x="688" y="127"/>
                    </a:lnTo>
                    <a:close/>
                    <a:moveTo>
                      <a:pt x="637" y="214"/>
                    </a:moveTo>
                    <a:lnTo>
                      <a:pt x="641" y="217"/>
                    </a:lnTo>
                    <a:lnTo>
                      <a:pt x="641" y="217"/>
                    </a:lnTo>
                    <a:lnTo>
                      <a:pt x="641" y="220"/>
                    </a:lnTo>
                    <a:lnTo>
                      <a:pt x="641" y="217"/>
                    </a:lnTo>
                    <a:lnTo>
                      <a:pt x="637" y="214"/>
                    </a:lnTo>
                    <a:lnTo>
                      <a:pt x="637" y="214"/>
                    </a:lnTo>
                    <a:lnTo>
                      <a:pt x="637" y="214"/>
                    </a:lnTo>
                    <a:lnTo>
                      <a:pt x="637" y="214"/>
                    </a:lnTo>
                    <a:close/>
                    <a:moveTo>
                      <a:pt x="648" y="210"/>
                    </a:moveTo>
                    <a:lnTo>
                      <a:pt x="644" y="212"/>
                    </a:lnTo>
                    <a:lnTo>
                      <a:pt x="644" y="217"/>
                    </a:lnTo>
                    <a:lnTo>
                      <a:pt x="641" y="220"/>
                    </a:lnTo>
                    <a:lnTo>
                      <a:pt x="644" y="220"/>
                    </a:lnTo>
                    <a:lnTo>
                      <a:pt x="646" y="212"/>
                    </a:lnTo>
                    <a:lnTo>
                      <a:pt x="648" y="210"/>
                    </a:lnTo>
                    <a:lnTo>
                      <a:pt x="648" y="210"/>
                    </a:lnTo>
                    <a:lnTo>
                      <a:pt x="648" y="210"/>
                    </a:lnTo>
                    <a:lnTo>
                      <a:pt x="648" y="210"/>
                    </a:lnTo>
                    <a:close/>
                    <a:moveTo>
                      <a:pt x="674" y="233"/>
                    </a:moveTo>
                    <a:lnTo>
                      <a:pt x="672" y="234"/>
                    </a:lnTo>
                    <a:lnTo>
                      <a:pt x="674" y="234"/>
                    </a:lnTo>
                    <a:lnTo>
                      <a:pt x="674" y="233"/>
                    </a:lnTo>
                    <a:lnTo>
                      <a:pt x="674" y="233"/>
                    </a:lnTo>
                    <a:lnTo>
                      <a:pt x="674" y="233"/>
                    </a:lnTo>
                    <a:lnTo>
                      <a:pt x="674" y="233"/>
                    </a:lnTo>
                    <a:lnTo>
                      <a:pt x="674" y="233"/>
                    </a:lnTo>
                    <a:close/>
                    <a:moveTo>
                      <a:pt x="663" y="226"/>
                    </a:moveTo>
                    <a:lnTo>
                      <a:pt x="663" y="224"/>
                    </a:lnTo>
                    <a:lnTo>
                      <a:pt x="663" y="226"/>
                    </a:lnTo>
                    <a:lnTo>
                      <a:pt x="663" y="229"/>
                    </a:lnTo>
                    <a:lnTo>
                      <a:pt x="663" y="231"/>
                    </a:lnTo>
                    <a:lnTo>
                      <a:pt x="667" y="233"/>
                    </a:lnTo>
                    <a:lnTo>
                      <a:pt x="663" y="233"/>
                    </a:lnTo>
                    <a:lnTo>
                      <a:pt x="663" y="231"/>
                    </a:lnTo>
                    <a:lnTo>
                      <a:pt x="663" y="234"/>
                    </a:lnTo>
                    <a:lnTo>
                      <a:pt x="663" y="236"/>
                    </a:lnTo>
                    <a:lnTo>
                      <a:pt x="667" y="236"/>
                    </a:lnTo>
                    <a:lnTo>
                      <a:pt x="669" y="233"/>
                    </a:lnTo>
                    <a:lnTo>
                      <a:pt x="672" y="233"/>
                    </a:lnTo>
                    <a:lnTo>
                      <a:pt x="669" y="231"/>
                    </a:lnTo>
                    <a:lnTo>
                      <a:pt x="669" y="227"/>
                    </a:lnTo>
                    <a:lnTo>
                      <a:pt x="663" y="226"/>
                    </a:lnTo>
                    <a:lnTo>
                      <a:pt x="663" y="226"/>
                    </a:lnTo>
                    <a:lnTo>
                      <a:pt x="663" y="226"/>
                    </a:lnTo>
                    <a:lnTo>
                      <a:pt x="663" y="226"/>
                    </a:lnTo>
                    <a:close/>
                    <a:moveTo>
                      <a:pt x="672" y="227"/>
                    </a:moveTo>
                    <a:lnTo>
                      <a:pt x="672" y="227"/>
                    </a:lnTo>
                    <a:lnTo>
                      <a:pt x="669" y="227"/>
                    </a:lnTo>
                    <a:lnTo>
                      <a:pt x="669" y="229"/>
                    </a:lnTo>
                    <a:lnTo>
                      <a:pt x="672" y="231"/>
                    </a:lnTo>
                    <a:lnTo>
                      <a:pt x="672" y="231"/>
                    </a:lnTo>
                    <a:lnTo>
                      <a:pt x="672" y="227"/>
                    </a:lnTo>
                    <a:lnTo>
                      <a:pt x="672" y="227"/>
                    </a:lnTo>
                    <a:lnTo>
                      <a:pt x="672" y="227"/>
                    </a:lnTo>
                    <a:lnTo>
                      <a:pt x="672" y="227"/>
                    </a:lnTo>
                    <a:lnTo>
                      <a:pt x="672" y="227"/>
                    </a:lnTo>
                    <a:close/>
                    <a:moveTo>
                      <a:pt x="667" y="220"/>
                    </a:moveTo>
                    <a:lnTo>
                      <a:pt x="663" y="220"/>
                    </a:lnTo>
                    <a:lnTo>
                      <a:pt x="663" y="222"/>
                    </a:lnTo>
                    <a:lnTo>
                      <a:pt x="667" y="226"/>
                    </a:lnTo>
                    <a:lnTo>
                      <a:pt x="669" y="227"/>
                    </a:lnTo>
                    <a:lnTo>
                      <a:pt x="669" y="226"/>
                    </a:lnTo>
                    <a:lnTo>
                      <a:pt x="667" y="224"/>
                    </a:lnTo>
                    <a:lnTo>
                      <a:pt x="667" y="220"/>
                    </a:lnTo>
                    <a:lnTo>
                      <a:pt x="667" y="220"/>
                    </a:lnTo>
                    <a:lnTo>
                      <a:pt x="667" y="220"/>
                    </a:lnTo>
                    <a:lnTo>
                      <a:pt x="667" y="220"/>
                    </a:lnTo>
                    <a:close/>
                    <a:moveTo>
                      <a:pt x="672" y="220"/>
                    </a:moveTo>
                    <a:lnTo>
                      <a:pt x="669" y="220"/>
                    </a:lnTo>
                    <a:lnTo>
                      <a:pt x="669" y="222"/>
                    </a:lnTo>
                    <a:lnTo>
                      <a:pt x="669" y="222"/>
                    </a:lnTo>
                    <a:lnTo>
                      <a:pt x="672" y="226"/>
                    </a:lnTo>
                    <a:lnTo>
                      <a:pt x="672" y="226"/>
                    </a:lnTo>
                    <a:lnTo>
                      <a:pt x="674" y="224"/>
                    </a:lnTo>
                    <a:lnTo>
                      <a:pt x="674" y="222"/>
                    </a:lnTo>
                    <a:lnTo>
                      <a:pt x="674" y="222"/>
                    </a:lnTo>
                    <a:lnTo>
                      <a:pt x="674" y="220"/>
                    </a:lnTo>
                    <a:lnTo>
                      <a:pt x="672" y="220"/>
                    </a:lnTo>
                    <a:lnTo>
                      <a:pt x="672" y="220"/>
                    </a:lnTo>
                    <a:lnTo>
                      <a:pt x="672" y="220"/>
                    </a:lnTo>
                    <a:lnTo>
                      <a:pt x="672" y="220"/>
                    </a:lnTo>
                    <a:lnTo>
                      <a:pt x="672" y="220"/>
                    </a:lnTo>
                    <a:close/>
                    <a:moveTo>
                      <a:pt x="667" y="217"/>
                    </a:moveTo>
                    <a:lnTo>
                      <a:pt x="663" y="217"/>
                    </a:lnTo>
                    <a:lnTo>
                      <a:pt x="663" y="217"/>
                    </a:lnTo>
                    <a:lnTo>
                      <a:pt x="667" y="217"/>
                    </a:lnTo>
                    <a:lnTo>
                      <a:pt x="667" y="217"/>
                    </a:lnTo>
                    <a:lnTo>
                      <a:pt x="667" y="217"/>
                    </a:lnTo>
                    <a:lnTo>
                      <a:pt x="667" y="217"/>
                    </a:lnTo>
                    <a:lnTo>
                      <a:pt x="667" y="217"/>
                    </a:lnTo>
                    <a:close/>
                    <a:moveTo>
                      <a:pt x="672" y="212"/>
                    </a:moveTo>
                    <a:lnTo>
                      <a:pt x="672" y="214"/>
                    </a:lnTo>
                    <a:lnTo>
                      <a:pt x="674" y="214"/>
                    </a:lnTo>
                    <a:lnTo>
                      <a:pt x="672" y="212"/>
                    </a:lnTo>
                    <a:lnTo>
                      <a:pt x="672" y="212"/>
                    </a:lnTo>
                    <a:lnTo>
                      <a:pt x="672" y="212"/>
                    </a:lnTo>
                    <a:lnTo>
                      <a:pt x="672" y="212"/>
                    </a:lnTo>
                    <a:lnTo>
                      <a:pt x="672" y="212"/>
                    </a:lnTo>
                    <a:close/>
                    <a:moveTo>
                      <a:pt x="672" y="212"/>
                    </a:moveTo>
                    <a:lnTo>
                      <a:pt x="669" y="212"/>
                    </a:lnTo>
                    <a:lnTo>
                      <a:pt x="669" y="215"/>
                    </a:lnTo>
                    <a:lnTo>
                      <a:pt x="667" y="215"/>
                    </a:lnTo>
                    <a:lnTo>
                      <a:pt x="669" y="215"/>
                    </a:lnTo>
                    <a:lnTo>
                      <a:pt x="669" y="217"/>
                    </a:lnTo>
                    <a:lnTo>
                      <a:pt x="669" y="217"/>
                    </a:lnTo>
                    <a:lnTo>
                      <a:pt x="669" y="217"/>
                    </a:lnTo>
                    <a:lnTo>
                      <a:pt x="669" y="220"/>
                    </a:lnTo>
                    <a:lnTo>
                      <a:pt x="669" y="220"/>
                    </a:lnTo>
                    <a:lnTo>
                      <a:pt x="672" y="217"/>
                    </a:lnTo>
                    <a:lnTo>
                      <a:pt x="672" y="217"/>
                    </a:lnTo>
                    <a:lnTo>
                      <a:pt x="674" y="217"/>
                    </a:lnTo>
                    <a:lnTo>
                      <a:pt x="674" y="214"/>
                    </a:lnTo>
                    <a:lnTo>
                      <a:pt x="672" y="214"/>
                    </a:lnTo>
                    <a:lnTo>
                      <a:pt x="672" y="212"/>
                    </a:lnTo>
                    <a:lnTo>
                      <a:pt x="672" y="212"/>
                    </a:lnTo>
                    <a:lnTo>
                      <a:pt x="672" y="212"/>
                    </a:lnTo>
                    <a:lnTo>
                      <a:pt x="672" y="212"/>
                    </a:lnTo>
                    <a:close/>
                    <a:moveTo>
                      <a:pt x="625" y="240"/>
                    </a:moveTo>
                    <a:lnTo>
                      <a:pt x="629" y="238"/>
                    </a:lnTo>
                    <a:lnTo>
                      <a:pt x="627" y="238"/>
                    </a:lnTo>
                    <a:lnTo>
                      <a:pt x="625" y="240"/>
                    </a:lnTo>
                    <a:lnTo>
                      <a:pt x="625" y="240"/>
                    </a:lnTo>
                    <a:lnTo>
                      <a:pt x="625" y="240"/>
                    </a:lnTo>
                    <a:lnTo>
                      <a:pt x="625" y="240"/>
                    </a:lnTo>
                    <a:close/>
                    <a:moveTo>
                      <a:pt x="622" y="240"/>
                    </a:moveTo>
                    <a:lnTo>
                      <a:pt x="627" y="243"/>
                    </a:lnTo>
                    <a:lnTo>
                      <a:pt x="625" y="240"/>
                    </a:lnTo>
                    <a:lnTo>
                      <a:pt x="622" y="240"/>
                    </a:lnTo>
                    <a:lnTo>
                      <a:pt x="622" y="240"/>
                    </a:lnTo>
                    <a:lnTo>
                      <a:pt x="622" y="240"/>
                    </a:lnTo>
                    <a:lnTo>
                      <a:pt x="622" y="240"/>
                    </a:lnTo>
                    <a:close/>
                    <a:moveTo>
                      <a:pt x="608" y="247"/>
                    </a:moveTo>
                    <a:lnTo>
                      <a:pt x="606" y="248"/>
                    </a:lnTo>
                    <a:lnTo>
                      <a:pt x="608" y="248"/>
                    </a:lnTo>
                    <a:lnTo>
                      <a:pt x="608" y="248"/>
                    </a:lnTo>
                    <a:lnTo>
                      <a:pt x="608" y="247"/>
                    </a:lnTo>
                    <a:lnTo>
                      <a:pt x="608" y="247"/>
                    </a:lnTo>
                    <a:lnTo>
                      <a:pt x="608" y="247"/>
                    </a:lnTo>
                    <a:lnTo>
                      <a:pt x="608" y="247"/>
                    </a:lnTo>
                    <a:close/>
                    <a:moveTo>
                      <a:pt x="613" y="245"/>
                    </a:moveTo>
                    <a:lnTo>
                      <a:pt x="608" y="245"/>
                    </a:lnTo>
                    <a:lnTo>
                      <a:pt x="610" y="247"/>
                    </a:lnTo>
                    <a:lnTo>
                      <a:pt x="613" y="245"/>
                    </a:lnTo>
                    <a:lnTo>
                      <a:pt x="613" y="245"/>
                    </a:lnTo>
                    <a:lnTo>
                      <a:pt x="613" y="245"/>
                    </a:lnTo>
                    <a:lnTo>
                      <a:pt x="613" y="245"/>
                    </a:lnTo>
                    <a:lnTo>
                      <a:pt x="613" y="245"/>
                    </a:lnTo>
                    <a:close/>
                    <a:moveTo>
                      <a:pt x="613" y="257"/>
                    </a:moveTo>
                    <a:lnTo>
                      <a:pt x="610" y="257"/>
                    </a:lnTo>
                    <a:lnTo>
                      <a:pt x="608" y="260"/>
                    </a:lnTo>
                    <a:lnTo>
                      <a:pt x="608" y="260"/>
                    </a:lnTo>
                    <a:lnTo>
                      <a:pt x="610" y="260"/>
                    </a:lnTo>
                    <a:lnTo>
                      <a:pt x="613" y="259"/>
                    </a:lnTo>
                    <a:lnTo>
                      <a:pt x="613" y="257"/>
                    </a:lnTo>
                    <a:lnTo>
                      <a:pt x="613" y="257"/>
                    </a:lnTo>
                    <a:lnTo>
                      <a:pt x="613" y="257"/>
                    </a:lnTo>
                    <a:lnTo>
                      <a:pt x="613" y="257"/>
                    </a:lnTo>
                    <a:close/>
                    <a:moveTo>
                      <a:pt x="618" y="243"/>
                    </a:moveTo>
                    <a:lnTo>
                      <a:pt x="613" y="247"/>
                    </a:lnTo>
                    <a:lnTo>
                      <a:pt x="613" y="248"/>
                    </a:lnTo>
                    <a:lnTo>
                      <a:pt x="613" y="250"/>
                    </a:lnTo>
                    <a:lnTo>
                      <a:pt x="613" y="252"/>
                    </a:lnTo>
                    <a:lnTo>
                      <a:pt x="613" y="255"/>
                    </a:lnTo>
                    <a:lnTo>
                      <a:pt x="613" y="257"/>
                    </a:lnTo>
                    <a:lnTo>
                      <a:pt x="618" y="257"/>
                    </a:lnTo>
                    <a:lnTo>
                      <a:pt x="622" y="252"/>
                    </a:lnTo>
                    <a:lnTo>
                      <a:pt x="622" y="247"/>
                    </a:lnTo>
                    <a:lnTo>
                      <a:pt x="622" y="243"/>
                    </a:lnTo>
                    <a:lnTo>
                      <a:pt x="622" y="243"/>
                    </a:lnTo>
                    <a:lnTo>
                      <a:pt x="622" y="243"/>
                    </a:lnTo>
                    <a:lnTo>
                      <a:pt x="622" y="240"/>
                    </a:lnTo>
                    <a:lnTo>
                      <a:pt x="618" y="243"/>
                    </a:lnTo>
                    <a:lnTo>
                      <a:pt x="618" y="243"/>
                    </a:lnTo>
                    <a:lnTo>
                      <a:pt x="618" y="243"/>
                    </a:lnTo>
                    <a:lnTo>
                      <a:pt x="618" y="243"/>
                    </a:lnTo>
                    <a:lnTo>
                      <a:pt x="618" y="243"/>
                    </a:lnTo>
                    <a:close/>
                    <a:moveTo>
                      <a:pt x="592" y="227"/>
                    </a:moveTo>
                    <a:lnTo>
                      <a:pt x="594" y="226"/>
                    </a:lnTo>
                    <a:lnTo>
                      <a:pt x="592" y="224"/>
                    </a:lnTo>
                    <a:lnTo>
                      <a:pt x="592" y="227"/>
                    </a:lnTo>
                    <a:lnTo>
                      <a:pt x="592" y="227"/>
                    </a:lnTo>
                    <a:lnTo>
                      <a:pt x="592" y="227"/>
                    </a:lnTo>
                    <a:lnTo>
                      <a:pt x="592" y="227"/>
                    </a:lnTo>
                    <a:close/>
                    <a:moveTo>
                      <a:pt x="585" y="233"/>
                    </a:moveTo>
                    <a:lnTo>
                      <a:pt x="584" y="234"/>
                    </a:lnTo>
                    <a:lnTo>
                      <a:pt x="585" y="234"/>
                    </a:lnTo>
                    <a:lnTo>
                      <a:pt x="585" y="233"/>
                    </a:lnTo>
                    <a:lnTo>
                      <a:pt x="585" y="233"/>
                    </a:lnTo>
                    <a:lnTo>
                      <a:pt x="585" y="233"/>
                    </a:lnTo>
                    <a:lnTo>
                      <a:pt x="585" y="233"/>
                    </a:lnTo>
                    <a:close/>
                    <a:moveTo>
                      <a:pt x="590" y="259"/>
                    </a:moveTo>
                    <a:lnTo>
                      <a:pt x="587" y="260"/>
                    </a:lnTo>
                    <a:lnTo>
                      <a:pt x="590" y="260"/>
                    </a:lnTo>
                    <a:lnTo>
                      <a:pt x="590" y="259"/>
                    </a:lnTo>
                    <a:lnTo>
                      <a:pt x="590" y="259"/>
                    </a:lnTo>
                    <a:lnTo>
                      <a:pt x="590" y="259"/>
                    </a:lnTo>
                    <a:lnTo>
                      <a:pt x="590" y="259"/>
                    </a:lnTo>
                    <a:close/>
                    <a:moveTo>
                      <a:pt x="585" y="253"/>
                    </a:moveTo>
                    <a:lnTo>
                      <a:pt x="587" y="252"/>
                    </a:lnTo>
                    <a:lnTo>
                      <a:pt x="590" y="253"/>
                    </a:lnTo>
                    <a:lnTo>
                      <a:pt x="590" y="255"/>
                    </a:lnTo>
                    <a:lnTo>
                      <a:pt x="587" y="257"/>
                    </a:lnTo>
                    <a:lnTo>
                      <a:pt x="585" y="255"/>
                    </a:lnTo>
                    <a:lnTo>
                      <a:pt x="585" y="253"/>
                    </a:lnTo>
                    <a:lnTo>
                      <a:pt x="585" y="253"/>
                    </a:lnTo>
                    <a:lnTo>
                      <a:pt x="585" y="253"/>
                    </a:lnTo>
                    <a:lnTo>
                      <a:pt x="585" y="253"/>
                    </a:lnTo>
                    <a:close/>
                    <a:moveTo>
                      <a:pt x="568" y="240"/>
                    </a:moveTo>
                    <a:lnTo>
                      <a:pt x="568" y="240"/>
                    </a:lnTo>
                    <a:lnTo>
                      <a:pt x="570" y="240"/>
                    </a:lnTo>
                    <a:lnTo>
                      <a:pt x="568" y="243"/>
                    </a:lnTo>
                    <a:lnTo>
                      <a:pt x="568" y="243"/>
                    </a:lnTo>
                    <a:lnTo>
                      <a:pt x="568" y="240"/>
                    </a:lnTo>
                    <a:lnTo>
                      <a:pt x="568" y="240"/>
                    </a:lnTo>
                    <a:lnTo>
                      <a:pt x="568" y="240"/>
                    </a:lnTo>
                    <a:lnTo>
                      <a:pt x="568" y="240"/>
                    </a:lnTo>
                    <a:close/>
                    <a:moveTo>
                      <a:pt x="570" y="262"/>
                    </a:moveTo>
                    <a:lnTo>
                      <a:pt x="573" y="260"/>
                    </a:lnTo>
                    <a:lnTo>
                      <a:pt x="575" y="262"/>
                    </a:lnTo>
                    <a:lnTo>
                      <a:pt x="571" y="262"/>
                    </a:lnTo>
                    <a:lnTo>
                      <a:pt x="570" y="262"/>
                    </a:lnTo>
                    <a:lnTo>
                      <a:pt x="570" y="262"/>
                    </a:lnTo>
                    <a:lnTo>
                      <a:pt x="570" y="262"/>
                    </a:lnTo>
                    <a:lnTo>
                      <a:pt x="570" y="262"/>
                    </a:lnTo>
                    <a:close/>
                    <a:moveTo>
                      <a:pt x="544" y="248"/>
                    </a:moveTo>
                    <a:lnTo>
                      <a:pt x="547" y="247"/>
                    </a:lnTo>
                    <a:lnTo>
                      <a:pt x="545" y="245"/>
                    </a:lnTo>
                    <a:lnTo>
                      <a:pt x="544" y="247"/>
                    </a:lnTo>
                    <a:lnTo>
                      <a:pt x="544" y="248"/>
                    </a:lnTo>
                    <a:lnTo>
                      <a:pt x="544" y="248"/>
                    </a:lnTo>
                    <a:lnTo>
                      <a:pt x="544" y="248"/>
                    </a:lnTo>
                    <a:lnTo>
                      <a:pt x="544" y="248"/>
                    </a:lnTo>
                    <a:close/>
                    <a:moveTo>
                      <a:pt x="554" y="259"/>
                    </a:moveTo>
                    <a:lnTo>
                      <a:pt x="559" y="260"/>
                    </a:lnTo>
                    <a:lnTo>
                      <a:pt x="563" y="259"/>
                    </a:lnTo>
                    <a:lnTo>
                      <a:pt x="563" y="260"/>
                    </a:lnTo>
                    <a:lnTo>
                      <a:pt x="557" y="262"/>
                    </a:lnTo>
                    <a:lnTo>
                      <a:pt x="554" y="260"/>
                    </a:lnTo>
                    <a:lnTo>
                      <a:pt x="554" y="259"/>
                    </a:lnTo>
                    <a:lnTo>
                      <a:pt x="554" y="259"/>
                    </a:lnTo>
                    <a:lnTo>
                      <a:pt x="554" y="259"/>
                    </a:lnTo>
                    <a:lnTo>
                      <a:pt x="554" y="259"/>
                    </a:lnTo>
                    <a:close/>
                    <a:moveTo>
                      <a:pt x="549" y="260"/>
                    </a:moveTo>
                    <a:lnTo>
                      <a:pt x="550" y="260"/>
                    </a:lnTo>
                    <a:lnTo>
                      <a:pt x="550" y="262"/>
                    </a:lnTo>
                    <a:lnTo>
                      <a:pt x="549" y="260"/>
                    </a:lnTo>
                    <a:lnTo>
                      <a:pt x="549" y="260"/>
                    </a:lnTo>
                    <a:lnTo>
                      <a:pt x="549" y="260"/>
                    </a:lnTo>
                    <a:lnTo>
                      <a:pt x="549" y="260"/>
                    </a:lnTo>
                    <a:close/>
                    <a:moveTo>
                      <a:pt x="540" y="260"/>
                    </a:moveTo>
                    <a:lnTo>
                      <a:pt x="542" y="259"/>
                    </a:lnTo>
                    <a:lnTo>
                      <a:pt x="544" y="260"/>
                    </a:lnTo>
                    <a:lnTo>
                      <a:pt x="542" y="260"/>
                    </a:lnTo>
                    <a:lnTo>
                      <a:pt x="540" y="260"/>
                    </a:lnTo>
                    <a:lnTo>
                      <a:pt x="540" y="260"/>
                    </a:lnTo>
                    <a:lnTo>
                      <a:pt x="540" y="260"/>
                    </a:lnTo>
                    <a:lnTo>
                      <a:pt x="540" y="260"/>
                    </a:lnTo>
                    <a:close/>
                    <a:moveTo>
                      <a:pt x="478" y="295"/>
                    </a:moveTo>
                    <a:lnTo>
                      <a:pt x="476" y="299"/>
                    </a:lnTo>
                    <a:lnTo>
                      <a:pt x="478" y="300"/>
                    </a:lnTo>
                    <a:lnTo>
                      <a:pt x="483" y="299"/>
                    </a:lnTo>
                    <a:lnTo>
                      <a:pt x="488" y="295"/>
                    </a:lnTo>
                    <a:lnTo>
                      <a:pt x="491" y="295"/>
                    </a:lnTo>
                    <a:lnTo>
                      <a:pt x="495" y="295"/>
                    </a:lnTo>
                    <a:lnTo>
                      <a:pt x="497" y="293"/>
                    </a:lnTo>
                    <a:lnTo>
                      <a:pt x="500" y="290"/>
                    </a:lnTo>
                    <a:lnTo>
                      <a:pt x="505" y="285"/>
                    </a:lnTo>
                    <a:lnTo>
                      <a:pt x="509" y="283"/>
                    </a:lnTo>
                    <a:lnTo>
                      <a:pt x="509" y="283"/>
                    </a:lnTo>
                    <a:lnTo>
                      <a:pt x="505" y="280"/>
                    </a:lnTo>
                    <a:lnTo>
                      <a:pt x="502" y="274"/>
                    </a:lnTo>
                    <a:lnTo>
                      <a:pt x="500" y="276"/>
                    </a:lnTo>
                    <a:lnTo>
                      <a:pt x="497" y="276"/>
                    </a:lnTo>
                    <a:lnTo>
                      <a:pt x="497" y="281"/>
                    </a:lnTo>
                    <a:lnTo>
                      <a:pt x="495" y="281"/>
                    </a:lnTo>
                    <a:lnTo>
                      <a:pt x="490" y="283"/>
                    </a:lnTo>
                    <a:lnTo>
                      <a:pt x="486" y="280"/>
                    </a:lnTo>
                    <a:lnTo>
                      <a:pt x="486" y="281"/>
                    </a:lnTo>
                    <a:lnTo>
                      <a:pt x="483" y="283"/>
                    </a:lnTo>
                    <a:lnTo>
                      <a:pt x="483" y="285"/>
                    </a:lnTo>
                    <a:lnTo>
                      <a:pt x="479" y="292"/>
                    </a:lnTo>
                    <a:lnTo>
                      <a:pt x="479" y="292"/>
                    </a:lnTo>
                    <a:lnTo>
                      <a:pt x="481" y="293"/>
                    </a:lnTo>
                    <a:lnTo>
                      <a:pt x="481" y="295"/>
                    </a:lnTo>
                    <a:lnTo>
                      <a:pt x="479" y="295"/>
                    </a:lnTo>
                    <a:lnTo>
                      <a:pt x="478" y="295"/>
                    </a:lnTo>
                    <a:lnTo>
                      <a:pt x="478" y="295"/>
                    </a:lnTo>
                    <a:lnTo>
                      <a:pt x="478" y="295"/>
                    </a:lnTo>
                    <a:lnTo>
                      <a:pt x="478" y="295"/>
                    </a:lnTo>
                    <a:close/>
                    <a:moveTo>
                      <a:pt x="474" y="299"/>
                    </a:moveTo>
                    <a:lnTo>
                      <a:pt x="476" y="295"/>
                    </a:lnTo>
                    <a:lnTo>
                      <a:pt x="474" y="295"/>
                    </a:lnTo>
                    <a:lnTo>
                      <a:pt x="472" y="297"/>
                    </a:lnTo>
                    <a:lnTo>
                      <a:pt x="474" y="299"/>
                    </a:lnTo>
                    <a:lnTo>
                      <a:pt x="474" y="299"/>
                    </a:lnTo>
                    <a:lnTo>
                      <a:pt x="474" y="299"/>
                    </a:lnTo>
                    <a:lnTo>
                      <a:pt x="474" y="299"/>
                    </a:lnTo>
                    <a:close/>
                    <a:moveTo>
                      <a:pt x="474" y="300"/>
                    </a:moveTo>
                    <a:lnTo>
                      <a:pt x="471" y="302"/>
                    </a:lnTo>
                    <a:lnTo>
                      <a:pt x="472" y="302"/>
                    </a:lnTo>
                    <a:lnTo>
                      <a:pt x="465" y="306"/>
                    </a:lnTo>
                    <a:lnTo>
                      <a:pt x="464" y="307"/>
                    </a:lnTo>
                    <a:lnTo>
                      <a:pt x="465" y="307"/>
                    </a:lnTo>
                    <a:lnTo>
                      <a:pt x="474" y="306"/>
                    </a:lnTo>
                    <a:lnTo>
                      <a:pt x="476" y="302"/>
                    </a:lnTo>
                    <a:lnTo>
                      <a:pt x="474" y="300"/>
                    </a:lnTo>
                    <a:lnTo>
                      <a:pt x="474" y="300"/>
                    </a:lnTo>
                    <a:lnTo>
                      <a:pt x="474" y="300"/>
                    </a:lnTo>
                    <a:lnTo>
                      <a:pt x="474" y="300"/>
                    </a:lnTo>
                    <a:close/>
                    <a:moveTo>
                      <a:pt x="450" y="300"/>
                    </a:moveTo>
                    <a:lnTo>
                      <a:pt x="451" y="302"/>
                    </a:lnTo>
                    <a:lnTo>
                      <a:pt x="451" y="302"/>
                    </a:lnTo>
                    <a:lnTo>
                      <a:pt x="450" y="302"/>
                    </a:lnTo>
                    <a:lnTo>
                      <a:pt x="446" y="302"/>
                    </a:lnTo>
                    <a:lnTo>
                      <a:pt x="448" y="302"/>
                    </a:lnTo>
                    <a:lnTo>
                      <a:pt x="450" y="300"/>
                    </a:lnTo>
                    <a:lnTo>
                      <a:pt x="450" y="300"/>
                    </a:lnTo>
                    <a:lnTo>
                      <a:pt x="450" y="300"/>
                    </a:lnTo>
                    <a:lnTo>
                      <a:pt x="450" y="300"/>
                    </a:lnTo>
                    <a:close/>
                    <a:moveTo>
                      <a:pt x="399" y="283"/>
                    </a:moveTo>
                    <a:lnTo>
                      <a:pt x="408" y="278"/>
                    </a:lnTo>
                    <a:lnTo>
                      <a:pt x="413" y="283"/>
                    </a:lnTo>
                    <a:lnTo>
                      <a:pt x="415" y="283"/>
                    </a:lnTo>
                    <a:lnTo>
                      <a:pt x="417" y="281"/>
                    </a:lnTo>
                    <a:lnTo>
                      <a:pt x="422" y="283"/>
                    </a:lnTo>
                    <a:lnTo>
                      <a:pt x="424" y="285"/>
                    </a:lnTo>
                    <a:lnTo>
                      <a:pt x="427" y="285"/>
                    </a:lnTo>
                    <a:lnTo>
                      <a:pt x="429" y="288"/>
                    </a:lnTo>
                    <a:lnTo>
                      <a:pt x="432" y="292"/>
                    </a:lnTo>
                    <a:lnTo>
                      <a:pt x="432" y="293"/>
                    </a:lnTo>
                    <a:lnTo>
                      <a:pt x="429" y="297"/>
                    </a:lnTo>
                    <a:lnTo>
                      <a:pt x="424" y="297"/>
                    </a:lnTo>
                    <a:lnTo>
                      <a:pt x="418" y="295"/>
                    </a:lnTo>
                    <a:lnTo>
                      <a:pt x="415" y="290"/>
                    </a:lnTo>
                    <a:lnTo>
                      <a:pt x="413" y="290"/>
                    </a:lnTo>
                    <a:lnTo>
                      <a:pt x="410" y="288"/>
                    </a:lnTo>
                    <a:lnTo>
                      <a:pt x="408" y="288"/>
                    </a:lnTo>
                    <a:lnTo>
                      <a:pt x="401" y="288"/>
                    </a:lnTo>
                    <a:lnTo>
                      <a:pt x="399" y="285"/>
                    </a:lnTo>
                    <a:lnTo>
                      <a:pt x="399" y="283"/>
                    </a:lnTo>
                    <a:lnTo>
                      <a:pt x="399" y="283"/>
                    </a:lnTo>
                    <a:lnTo>
                      <a:pt x="399" y="283"/>
                    </a:lnTo>
                    <a:lnTo>
                      <a:pt x="399" y="283"/>
                    </a:lnTo>
                    <a:close/>
                    <a:moveTo>
                      <a:pt x="347" y="243"/>
                    </a:moveTo>
                    <a:lnTo>
                      <a:pt x="349" y="243"/>
                    </a:lnTo>
                    <a:lnTo>
                      <a:pt x="351" y="243"/>
                    </a:lnTo>
                    <a:lnTo>
                      <a:pt x="351" y="243"/>
                    </a:lnTo>
                    <a:lnTo>
                      <a:pt x="347" y="243"/>
                    </a:lnTo>
                    <a:lnTo>
                      <a:pt x="347" y="243"/>
                    </a:lnTo>
                    <a:lnTo>
                      <a:pt x="347" y="243"/>
                    </a:lnTo>
                    <a:lnTo>
                      <a:pt x="347" y="243"/>
                    </a:lnTo>
                    <a:lnTo>
                      <a:pt x="347" y="243"/>
                    </a:lnTo>
                    <a:close/>
                    <a:moveTo>
                      <a:pt x="337" y="240"/>
                    </a:moveTo>
                    <a:lnTo>
                      <a:pt x="339" y="240"/>
                    </a:lnTo>
                    <a:lnTo>
                      <a:pt x="342" y="238"/>
                    </a:lnTo>
                    <a:lnTo>
                      <a:pt x="344" y="240"/>
                    </a:lnTo>
                    <a:lnTo>
                      <a:pt x="344" y="240"/>
                    </a:lnTo>
                    <a:lnTo>
                      <a:pt x="344" y="238"/>
                    </a:lnTo>
                    <a:lnTo>
                      <a:pt x="342" y="236"/>
                    </a:lnTo>
                    <a:lnTo>
                      <a:pt x="339" y="236"/>
                    </a:lnTo>
                    <a:lnTo>
                      <a:pt x="337" y="238"/>
                    </a:lnTo>
                    <a:lnTo>
                      <a:pt x="337" y="240"/>
                    </a:lnTo>
                    <a:lnTo>
                      <a:pt x="337" y="240"/>
                    </a:lnTo>
                    <a:lnTo>
                      <a:pt x="337" y="240"/>
                    </a:lnTo>
                    <a:lnTo>
                      <a:pt x="337" y="240"/>
                    </a:lnTo>
                    <a:close/>
                    <a:moveTo>
                      <a:pt x="519" y="255"/>
                    </a:moveTo>
                    <a:lnTo>
                      <a:pt x="524" y="253"/>
                    </a:lnTo>
                    <a:lnTo>
                      <a:pt x="530" y="255"/>
                    </a:lnTo>
                    <a:lnTo>
                      <a:pt x="531" y="255"/>
                    </a:lnTo>
                    <a:lnTo>
                      <a:pt x="533" y="253"/>
                    </a:lnTo>
                    <a:lnTo>
                      <a:pt x="535" y="252"/>
                    </a:lnTo>
                    <a:lnTo>
                      <a:pt x="537" y="250"/>
                    </a:lnTo>
                    <a:lnTo>
                      <a:pt x="537" y="248"/>
                    </a:lnTo>
                    <a:lnTo>
                      <a:pt x="535" y="248"/>
                    </a:lnTo>
                    <a:lnTo>
                      <a:pt x="531" y="250"/>
                    </a:lnTo>
                    <a:lnTo>
                      <a:pt x="524" y="250"/>
                    </a:lnTo>
                    <a:lnTo>
                      <a:pt x="523" y="248"/>
                    </a:lnTo>
                    <a:lnTo>
                      <a:pt x="521" y="250"/>
                    </a:lnTo>
                    <a:lnTo>
                      <a:pt x="519" y="253"/>
                    </a:lnTo>
                    <a:lnTo>
                      <a:pt x="519" y="255"/>
                    </a:lnTo>
                    <a:lnTo>
                      <a:pt x="519" y="255"/>
                    </a:lnTo>
                    <a:lnTo>
                      <a:pt x="519" y="255"/>
                    </a:lnTo>
                    <a:lnTo>
                      <a:pt x="519" y="255"/>
                    </a:lnTo>
                    <a:close/>
                    <a:moveTo>
                      <a:pt x="514" y="260"/>
                    </a:moveTo>
                    <a:lnTo>
                      <a:pt x="514" y="262"/>
                    </a:lnTo>
                    <a:lnTo>
                      <a:pt x="514" y="262"/>
                    </a:lnTo>
                    <a:lnTo>
                      <a:pt x="517" y="262"/>
                    </a:lnTo>
                    <a:lnTo>
                      <a:pt x="514" y="260"/>
                    </a:lnTo>
                    <a:lnTo>
                      <a:pt x="514" y="260"/>
                    </a:lnTo>
                    <a:lnTo>
                      <a:pt x="514" y="260"/>
                    </a:lnTo>
                    <a:lnTo>
                      <a:pt x="514" y="260"/>
                    </a:lnTo>
                    <a:close/>
                    <a:moveTo>
                      <a:pt x="498" y="260"/>
                    </a:moveTo>
                    <a:lnTo>
                      <a:pt x="495" y="262"/>
                    </a:lnTo>
                    <a:lnTo>
                      <a:pt x="497" y="262"/>
                    </a:lnTo>
                    <a:lnTo>
                      <a:pt x="497" y="262"/>
                    </a:lnTo>
                    <a:lnTo>
                      <a:pt x="497" y="266"/>
                    </a:lnTo>
                    <a:lnTo>
                      <a:pt x="500" y="266"/>
                    </a:lnTo>
                    <a:lnTo>
                      <a:pt x="505" y="262"/>
                    </a:lnTo>
                    <a:lnTo>
                      <a:pt x="505" y="262"/>
                    </a:lnTo>
                    <a:lnTo>
                      <a:pt x="505" y="260"/>
                    </a:lnTo>
                    <a:lnTo>
                      <a:pt x="500" y="260"/>
                    </a:lnTo>
                    <a:lnTo>
                      <a:pt x="498" y="260"/>
                    </a:lnTo>
                    <a:lnTo>
                      <a:pt x="498" y="260"/>
                    </a:lnTo>
                    <a:lnTo>
                      <a:pt x="498" y="260"/>
                    </a:lnTo>
                    <a:lnTo>
                      <a:pt x="498" y="260"/>
                    </a:lnTo>
                    <a:close/>
                    <a:moveTo>
                      <a:pt x="486" y="266"/>
                    </a:moveTo>
                    <a:lnTo>
                      <a:pt x="488" y="266"/>
                    </a:lnTo>
                    <a:lnTo>
                      <a:pt x="490" y="267"/>
                    </a:lnTo>
                    <a:lnTo>
                      <a:pt x="495" y="266"/>
                    </a:lnTo>
                    <a:lnTo>
                      <a:pt x="495" y="262"/>
                    </a:lnTo>
                    <a:lnTo>
                      <a:pt x="491" y="266"/>
                    </a:lnTo>
                    <a:lnTo>
                      <a:pt x="488" y="266"/>
                    </a:lnTo>
                    <a:lnTo>
                      <a:pt x="486" y="266"/>
                    </a:lnTo>
                    <a:lnTo>
                      <a:pt x="486" y="266"/>
                    </a:lnTo>
                    <a:lnTo>
                      <a:pt x="486" y="266"/>
                    </a:lnTo>
                    <a:lnTo>
                      <a:pt x="486" y="266"/>
                    </a:lnTo>
                    <a:close/>
                    <a:moveTo>
                      <a:pt x="476" y="266"/>
                    </a:moveTo>
                    <a:lnTo>
                      <a:pt x="481" y="266"/>
                    </a:lnTo>
                    <a:lnTo>
                      <a:pt x="479" y="262"/>
                    </a:lnTo>
                    <a:lnTo>
                      <a:pt x="481" y="262"/>
                    </a:lnTo>
                    <a:lnTo>
                      <a:pt x="483" y="262"/>
                    </a:lnTo>
                    <a:lnTo>
                      <a:pt x="486" y="262"/>
                    </a:lnTo>
                    <a:lnTo>
                      <a:pt x="486" y="262"/>
                    </a:lnTo>
                    <a:lnTo>
                      <a:pt x="483" y="266"/>
                    </a:lnTo>
                    <a:lnTo>
                      <a:pt x="483" y="267"/>
                    </a:lnTo>
                    <a:lnTo>
                      <a:pt x="478" y="267"/>
                    </a:lnTo>
                    <a:lnTo>
                      <a:pt x="476" y="266"/>
                    </a:lnTo>
                    <a:lnTo>
                      <a:pt x="476" y="266"/>
                    </a:lnTo>
                    <a:lnTo>
                      <a:pt x="476" y="266"/>
                    </a:lnTo>
                    <a:lnTo>
                      <a:pt x="476" y="266"/>
                    </a:lnTo>
                    <a:close/>
                    <a:moveTo>
                      <a:pt x="474" y="266"/>
                    </a:moveTo>
                    <a:lnTo>
                      <a:pt x="471" y="266"/>
                    </a:lnTo>
                    <a:lnTo>
                      <a:pt x="469" y="269"/>
                    </a:lnTo>
                    <a:lnTo>
                      <a:pt x="471" y="266"/>
                    </a:lnTo>
                    <a:lnTo>
                      <a:pt x="474" y="266"/>
                    </a:lnTo>
                    <a:lnTo>
                      <a:pt x="474" y="266"/>
                    </a:lnTo>
                    <a:lnTo>
                      <a:pt x="474" y="266"/>
                    </a:lnTo>
                    <a:lnTo>
                      <a:pt x="474" y="266"/>
                    </a:lnTo>
                    <a:close/>
                    <a:moveTo>
                      <a:pt x="476" y="262"/>
                    </a:moveTo>
                    <a:lnTo>
                      <a:pt x="472" y="262"/>
                    </a:lnTo>
                    <a:lnTo>
                      <a:pt x="474" y="262"/>
                    </a:lnTo>
                    <a:lnTo>
                      <a:pt x="476" y="262"/>
                    </a:lnTo>
                    <a:lnTo>
                      <a:pt x="476" y="262"/>
                    </a:lnTo>
                    <a:lnTo>
                      <a:pt x="476" y="262"/>
                    </a:lnTo>
                    <a:lnTo>
                      <a:pt x="476" y="262"/>
                    </a:lnTo>
                    <a:lnTo>
                      <a:pt x="476" y="262"/>
                    </a:lnTo>
                    <a:close/>
                    <a:moveTo>
                      <a:pt x="415" y="267"/>
                    </a:moveTo>
                    <a:lnTo>
                      <a:pt x="415" y="267"/>
                    </a:lnTo>
                    <a:lnTo>
                      <a:pt x="415" y="266"/>
                    </a:lnTo>
                    <a:lnTo>
                      <a:pt x="420" y="262"/>
                    </a:lnTo>
                    <a:lnTo>
                      <a:pt x="429" y="260"/>
                    </a:lnTo>
                    <a:lnTo>
                      <a:pt x="432" y="262"/>
                    </a:lnTo>
                    <a:lnTo>
                      <a:pt x="436" y="262"/>
                    </a:lnTo>
                    <a:lnTo>
                      <a:pt x="439" y="262"/>
                    </a:lnTo>
                    <a:lnTo>
                      <a:pt x="444" y="266"/>
                    </a:lnTo>
                    <a:lnTo>
                      <a:pt x="448" y="266"/>
                    </a:lnTo>
                    <a:lnTo>
                      <a:pt x="453" y="266"/>
                    </a:lnTo>
                    <a:lnTo>
                      <a:pt x="455" y="266"/>
                    </a:lnTo>
                    <a:lnTo>
                      <a:pt x="460" y="266"/>
                    </a:lnTo>
                    <a:lnTo>
                      <a:pt x="460" y="262"/>
                    </a:lnTo>
                    <a:lnTo>
                      <a:pt x="464" y="262"/>
                    </a:lnTo>
                    <a:lnTo>
                      <a:pt x="465" y="260"/>
                    </a:lnTo>
                    <a:lnTo>
                      <a:pt x="464" y="259"/>
                    </a:lnTo>
                    <a:lnTo>
                      <a:pt x="467" y="257"/>
                    </a:lnTo>
                    <a:lnTo>
                      <a:pt x="471" y="259"/>
                    </a:lnTo>
                    <a:lnTo>
                      <a:pt x="472" y="262"/>
                    </a:lnTo>
                    <a:lnTo>
                      <a:pt x="471" y="266"/>
                    </a:lnTo>
                    <a:lnTo>
                      <a:pt x="467" y="266"/>
                    </a:lnTo>
                    <a:lnTo>
                      <a:pt x="465" y="267"/>
                    </a:lnTo>
                    <a:lnTo>
                      <a:pt x="460" y="269"/>
                    </a:lnTo>
                    <a:lnTo>
                      <a:pt x="460" y="271"/>
                    </a:lnTo>
                    <a:lnTo>
                      <a:pt x="458" y="269"/>
                    </a:lnTo>
                    <a:lnTo>
                      <a:pt x="453" y="269"/>
                    </a:lnTo>
                    <a:lnTo>
                      <a:pt x="448" y="271"/>
                    </a:lnTo>
                    <a:lnTo>
                      <a:pt x="443" y="271"/>
                    </a:lnTo>
                    <a:lnTo>
                      <a:pt x="438" y="273"/>
                    </a:lnTo>
                    <a:lnTo>
                      <a:pt x="438" y="273"/>
                    </a:lnTo>
                    <a:lnTo>
                      <a:pt x="436" y="273"/>
                    </a:lnTo>
                    <a:lnTo>
                      <a:pt x="432" y="273"/>
                    </a:lnTo>
                    <a:lnTo>
                      <a:pt x="431" y="273"/>
                    </a:lnTo>
                    <a:lnTo>
                      <a:pt x="429" y="271"/>
                    </a:lnTo>
                    <a:lnTo>
                      <a:pt x="425" y="271"/>
                    </a:lnTo>
                    <a:lnTo>
                      <a:pt x="424" y="271"/>
                    </a:lnTo>
                    <a:lnTo>
                      <a:pt x="420" y="271"/>
                    </a:lnTo>
                    <a:lnTo>
                      <a:pt x="418" y="271"/>
                    </a:lnTo>
                    <a:lnTo>
                      <a:pt x="415" y="271"/>
                    </a:lnTo>
                    <a:lnTo>
                      <a:pt x="415" y="267"/>
                    </a:lnTo>
                    <a:lnTo>
                      <a:pt x="415" y="267"/>
                    </a:lnTo>
                    <a:lnTo>
                      <a:pt x="415" y="267"/>
                    </a:lnTo>
                    <a:lnTo>
                      <a:pt x="415" y="267"/>
                    </a:lnTo>
                    <a:close/>
                    <a:moveTo>
                      <a:pt x="413" y="267"/>
                    </a:moveTo>
                    <a:lnTo>
                      <a:pt x="410" y="271"/>
                    </a:lnTo>
                    <a:lnTo>
                      <a:pt x="413" y="271"/>
                    </a:lnTo>
                    <a:lnTo>
                      <a:pt x="413" y="267"/>
                    </a:lnTo>
                    <a:lnTo>
                      <a:pt x="413" y="267"/>
                    </a:lnTo>
                    <a:lnTo>
                      <a:pt x="413" y="267"/>
                    </a:lnTo>
                    <a:lnTo>
                      <a:pt x="413" y="267"/>
                    </a:lnTo>
                    <a:lnTo>
                      <a:pt x="413" y="267"/>
                    </a:lnTo>
                    <a:close/>
                    <a:moveTo>
                      <a:pt x="410" y="266"/>
                    </a:moveTo>
                    <a:lnTo>
                      <a:pt x="408" y="266"/>
                    </a:lnTo>
                    <a:lnTo>
                      <a:pt x="408" y="267"/>
                    </a:lnTo>
                    <a:lnTo>
                      <a:pt x="410" y="271"/>
                    </a:lnTo>
                    <a:lnTo>
                      <a:pt x="410" y="266"/>
                    </a:lnTo>
                    <a:lnTo>
                      <a:pt x="410" y="266"/>
                    </a:lnTo>
                    <a:lnTo>
                      <a:pt x="410" y="266"/>
                    </a:lnTo>
                    <a:lnTo>
                      <a:pt x="410" y="266"/>
                    </a:lnTo>
                    <a:lnTo>
                      <a:pt x="410" y="266"/>
                    </a:lnTo>
                    <a:close/>
                    <a:moveTo>
                      <a:pt x="363" y="267"/>
                    </a:moveTo>
                    <a:lnTo>
                      <a:pt x="363" y="269"/>
                    </a:lnTo>
                    <a:lnTo>
                      <a:pt x="363" y="271"/>
                    </a:lnTo>
                    <a:lnTo>
                      <a:pt x="363" y="273"/>
                    </a:lnTo>
                    <a:lnTo>
                      <a:pt x="363" y="274"/>
                    </a:lnTo>
                    <a:lnTo>
                      <a:pt x="366" y="276"/>
                    </a:lnTo>
                    <a:lnTo>
                      <a:pt x="372" y="274"/>
                    </a:lnTo>
                    <a:lnTo>
                      <a:pt x="373" y="276"/>
                    </a:lnTo>
                    <a:lnTo>
                      <a:pt x="377" y="274"/>
                    </a:lnTo>
                    <a:lnTo>
                      <a:pt x="378" y="273"/>
                    </a:lnTo>
                    <a:lnTo>
                      <a:pt x="382" y="274"/>
                    </a:lnTo>
                    <a:lnTo>
                      <a:pt x="385" y="273"/>
                    </a:lnTo>
                    <a:lnTo>
                      <a:pt x="391" y="273"/>
                    </a:lnTo>
                    <a:lnTo>
                      <a:pt x="392" y="269"/>
                    </a:lnTo>
                    <a:lnTo>
                      <a:pt x="394" y="273"/>
                    </a:lnTo>
                    <a:lnTo>
                      <a:pt x="398" y="271"/>
                    </a:lnTo>
                    <a:lnTo>
                      <a:pt x="401" y="273"/>
                    </a:lnTo>
                    <a:lnTo>
                      <a:pt x="399" y="269"/>
                    </a:lnTo>
                    <a:lnTo>
                      <a:pt x="405" y="269"/>
                    </a:lnTo>
                    <a:lnTo>
                      <a:pt x="405" y="266"/>
                    </a:lnTo>
                    <a:lnTo>
                      <a:pt x="401" y="267"/>
                    </a:lnTo>
                    <a:lnTo>
                      <a:pt x="401" y="266"/>
                    </a:lnTo>
                    <a:lnTo>
                      <a:pt x="401" y="262"/>
                    </a:lnTo>
                    <a:lnTo>
                      <a:pt x="399" y="262"/>
                    </a:lnTo>
                    <a:lnTo>
                      <a:pt x="399" y="266"/>
                    </a:lnTo>
                    <a:lnTo>
                      <a:pt x="398" y="266"/>
                    </a:lnTo>
                    <a:lnTo>
                      <a:pt x="398" y="262"/>
                    </a:lnTo>
                    <a:lnTo>
                      <a:pt x="394" y="260"/>
                    </a:lnTo>
                    <a:lnTo>
                      <a:pt x="391" y="262"/>
                    </a:lnTo>
                    <a:lnTo>
                      <a:pt x="387" y="260"/>
                    </a:lnTo>
                    <a:lnTo>
                      <a:pt x="385" y="259"/>
                    </a:lnTo>
                    <a:lnTo>
                      <a:pt x="378" y="260"/>
                    </a:lnTo>
                    <a:lnTo>
                      <a:pt x="378" y="262"/>
                    </a:lnTo>
                    <a:lnTo>
                      <a:pt x="387" y="266"/>
                    </a:lnTo>
                    <a:lnTo>
                      <a:pt x="391" y="267"/>
                    </a:lnTo>
                    <a:lnTo>
                      <a:pt x="385" y="267"/>
                    </a:lnTo>
                    <a:lnTo>
                      <a:pt x="382" y="269"/>
                    </a:lnTo>
                    <a:lnTo>
                      <a:pt x="378" y="266"/>
                    </a:lnTo>
                    <a:lnTo>
                      <a:pt x="378" y="266"/>
                    </a:lnTo>
                    <a:lnTo>
                      <a:pt x="375" y="262"/>
                    </a:lnTo>
                    <a:lnTo>
                      <a:pt x="373" y="266"/>
                    </a:lnTo>
                    <a:lnTo>
                      <a:pt x="370" y="262"/>
                    </a:lnTo>
                    <a:lnTo>
                      <a:pt x="365" y="266"/>
                    </a:lnTo>
                    <a:lnTo>
                      <a:pt x="365" y="266"/>
                    </a:lnTo>
                    <a:lnTo>
                      <a:pt x="363" y="267"/>
                    </a:lnTo>
                    <a:lnTo>
                      <a:pt x="363" y="267"/>
                    </a:lnTo>
                    <a:lnTo>
                      <a:pt x="363" y="267"/>
                    </a:lnTo>
                    <a:lnTo>
                      <a:pt x="363" y="267"/>
                    </a:lnTo>
                    <a:close/>
                    <a:moveTo>
                      <a:pt x="351" y="262"/>
                    </a:moveTo>
                    <a:lnTo>
                      <a:pt x="356" y="262"/>
                    </a:lnTo>
                    <a:lnTo>
                      <a:pt x="363" y="262"/>
                    </a:lnTo>
                    <a:lnTo>
                      <a:pt x="359" y="266"/>
                    </a:lnTo>
                    <a:lnTo>
                      <a:pt x="359" y="269"/>
                    </a:lnTo>
                    <a:lnTo>
                      <a:pt x="359" y="273"/>
                    </a:lnTo>
                    <a:lnTo>
                      <a:pt x="356" y="271"/>
                    </a:lnTo>
                    <a:lnTo>
                      <a:pt x="354" y="273"/>
                    </a:lnTo>
                    <a:lnTo>
                      <a:pt x="349" y="271"/>
                    </a:lnTo>
                    <a:lnTo>
                      <a:pt x="347" y="269"/>
                    </a:lnTo>
                    <a:lnTo>
                      <a:pt x="349" y="267"/>
                    </a:lnTo>
                    <a:lnTo>
                      <a:pt x="351" y="267"/>
                    </a:lnTo>
                    <a:lnTo>
                      <a:pt x="351" y="262"/>
                    </a:lnTo>
                    <a:lnTo>
                      <a:pt x="351" y="262"/>
                    </a:lnTo>
                    <a:lnTo>
                      <a:pt x="351" y="262"/>
                    </a:lnTo>
                    <a:lnTo>
                      <a:pt x="351" y="262"/>
                    </a:lnTo>
                    <a:close/>
                    <a:moveTo>
                      <a:pt x="340" y="269"/>
                    </a:moveTo>
                    <a:lnTo>
                      <a:pt x="342" y="267"/>
                    </a:lnTo>
                    <a:lnTo>
                      <a:pt x="344" y="269"/>
                    </a:lnTo>
                    <a:lnTo>
                      <a:pt x="342" y="269"/>
                    </a:lnTo>
                    <a:lnTo>
                      <a:pt x="340" y="269"/>
                    </a:lnTo>
                    <a:lnTo>
                      <a:pt x="340" y="269"/>
                    </a:lnTo>
                    <a:lnTo>
                      <a:pt x="340" y="269"/>
                    </a:lnTo>
                    <a:lnTo>
                      <a:pt x="340" y="269"/>
                    </a:lnTo>
                    <a:close/>
                    <a:moveTo>
                      <a:pt x="325" y="259"/>
                    </a:moveTo>
                    <a:lnTo>
                      <a:pt x="325" y="262"/>
                    </a:lnTo>
                    <a:lnTo>
                      <a:pt x="326" y="262"/>
                    </a:lnTo>
                    <a:lnTo>
                      <a:pt x="332" y="266"/>
                    </a:lnTo>
                    <a:lnTo>
                      <a:pt x="337" y="267"/>
                    </a:lnTo>
                    <a:lnTo>
                      <a:pt x="337" y="269"/>
                    </a:lnTo>
                    <a:lnTo>
                      <a:pt x="337" y="267"/>
                    </a:lnTo>
                    <a:lnTo>
                      <a:pt x="340" y="266"/>
                    </a:lnTo>
                    <a:lnTo>
                      <a:pt x="342" y="266"/>
                    </a:lnTo>
                    <a:lnTo>
                      <a:pt x="345" y="266"/>
                    </a:lnTo>
                    <a:lnTo>
                      <a:pt x="345" y="262"/>
                    </a:lnTo>
                    <a:lnTo>
                      <a:pt x="342" y="259"/>
                    </a:lnTo>
                    <a:lnTo>
                      <a:pt x="337" y="257"/>
                    </a:lnTo>
                    <a:lnTo>
                      <a:pt x="332" y="259"/>
                    </a:lnTo>
                    <a:lnTo>
                      <a:pt x="328" y="259"/>
                    </a:lnTo>
                    <a:lnTo>
                      <a:pt x="325" y="259"/>
                    </a:lnTo>
                    <a:lnTo>
                      <a:pt x="325" y="259"/>
                    </a:lnTo>
                    <a:lnTo>
                      <a:pt x="325" y="259"/>
                    </a:lnTo>
                    <a:lnTo>
                      <a:pt x="325" y="259"/>
                    </a:lnTo>
                    <a:close/>
                    <a:moveTo>
                      <a:pt x="740" y="262"/>
                    </a:moveTo>
                    <a:lnTo>
                      <a:pt x="742" y="262"/>
                    </a:lnTo>
                    <a:lnTo>
                      <a:pt x="745" y="262"/>
                    </a:lnTo>
                    <a:lnTo>
                      <a:pt x="745" y="262"/>
                    </a:lnTo>
                    <a:lnTo>
                      <a:pt x="742" y="259"/>
                    </a:lnTo>
                    <a:lnTo>
                      <a:pt x="742" y="259"/>
                    </a:lnTo>
                    <a:lnTo>
                      <a:pt x="742" y="259"/>
                    </a:lnTo>
                    <a:lnTo>
                      <a:pt x="740" y="262"/>
                    </a:lnTo>
                    <a:lnTo>
                      <a:pt x="740" y="262"/>
                    </a:lnTo>
                    <a:lnTo>
                      <a:pt x="740" y="262"/>
                    </a:lnTo>
                    <a:lnTo>
                      <a:pt x="740" y="262"/>
                    </a:lnTo>
                    <a:close/>
                    <a:moveTo>
                      <a:pt x="723" y="262"/>
                    </a:moveTo>
                    <a:lnTo>
                      <a:pt x="723" y="262"/>
                    </a:lnTo>
                    <a:lnTo>
                      <a:pt x="728" y="262"/>
                    </a:lnTo>
                    <a:lnTo>
                      <a:pt x="729" y="262"/>
                    </a:lnTo>
                    <a:lnTo>
                      <a:pt x="735" y="262"/>
                    </a:lnTo>
                    <a:lnTo>
                      <a:pt x="738" y="260"/>
                    </a:lnTo>
                    <a:lnTo>
                      <a:pt x="740" y="257"/>
                    </a:lnTo>
                    <a:lnTo>
                      <a:pt x="742" y="257"/>
                    </a:lnTo>
                    <a:lnTo>
                      <a:pt x="745" y="255"/>
                    </a:lnTo>
                    <a:lnTo>
                      <a:pt x="745" y="253"/>
                    </a:lnTo>
                    <a:lnTo>
                      <a:pt x="745" y="252"/>
                    </a:lnTo>
                    <a:lnTo>
                      <a:pt x="745" y="250"/>
                    </a:lnTo>
                    <a:lnTo>
                      <a:pt x="745" y="248"/>
                    </a:lnTo>
                    <a:lnTo>
                      <a:pt x="745" y="247"/>
                    </a:lnTo>
                    <a:lnTo>
                      <a:pt x="742" y="245"/>
                    </a:lnTo>
                    <a:lnTo>
                      <a:pt x="736" y="245"/>
                    </a:lnTo>
                    <a:lnTo>
                      <a:pt x="733" y="247"/>
                    </a:lnTo>
                    <a:lnTo>
                      <a:pt x="731" y="252"/>
                    </a:lnTo>
                    <a:lnTo>
                      <a:pt x="729" y="255"/>
                    </a:lnTo>
                    <a:lnTo>
                      <a:pt x="723" y="262"/>
                    </a:lnTo>
                    <a:lnTo>
                      <a:pt x="723" y="262"/>
                    </a:lnTo>
                    <a:lnTo>
                      <a:pt x="723" y="262"/>
                    </a:lnTo>
                    <a:lnTo>
                      <a:pt x="723" y="262"/>
                    </a:lnTo>
                    <a:close/>
                    <a:moveTo>
                      <a:pt x="300" y="236"/>
                    </a:moveTo>
                    <a:lnTo>
                      <a:pt x="297" y="240"/>
                    </a:lnTo>
                    <a:lnTo>
                      <a:pt x="300" y="243"/>
                    </a:lnTo>
                    <a:lnTo>
                      <a:pt x="304" y="243"/>
                    </a:lnTo>
                    <a:lnTo>
                      <a:pt x="305" y="243"/>
                    </a:lnTo>
                    <a:lnTo>
                      <a:pt x="311" y="243"/>
                    </a:lnTo>
                    <a:lnTo>
                      <a:pt x="312" y="240"/>
                    </a:lnTo>
                    <a:lnTo>
                      <a:pt x="318" y="240"/>
                    </a:lnTo>
                    <a:lnTo>
                      <a:pt x="319" y="240"/>
                    </a:lnTo>
                    <a:lnTo>
                      <a:pt x="318" y="238"/>
                    </a:lnTo>
                    <a:lnTo>
                      <a:pt x="312" y="240"/>
                    </a:lnTo>
                    <a:lnTo>
                      <a:pt x="309" y="238"/>
                    </a:lnTo>
                    <a:lnTo>
                      <a:pt x="302" y="238"/>
                    </a:lnTo>
                    <a:lnTo>
                      <a:pt x="300" y="236"/>
                    </a:lnTo>
                    <a:lnTo>
                      <a:pt x="300" y="236"/>
                    </a:lnTo>
                    <a:lnTo>
                      <a:pt x="300" y="236"/>
                    </a:lnTo>
                    <a:lnTo>
                      <a:pt x="300" y="236"/>
                    </a:lnTo>
                    <a:close/>
                    <a:moveTo>
                      <a:pt x="172" y="231"/>
                    </a:moveTo>
                    <a:lnTo>
                      <a:pt x="172" y="233"/>
                    </a:lnTo>
                    <a:lnTo>
                      <a:pt x="173" y="233"/>
                    </a:lnTo>
                    <a:lnTo>
                      <a:pt x="173" y="231"/>
                    </a:lnTo>
                    <a:lnTo>
                      <a:pt x="172" y="231"/>
                    </a:lnTo>
                    <a:lnTo>
                      <a:pt x="172" y="231"/>
                    </a:lnTo>
                    <a:lnTo>
                      <a:pt x="172" y="231"/>
                    </a:lnTo>
                    <a:lnTo>
                      <a:pt x="172" y="231"/>
                    </a:lnTo>
                    <a:close/>
                    <a:moveTo>
                      <a:pt x="173" y="233"/>
                    </a:moveTo>
                    <a:lnTo>
                      <a:pt x="173" y="234"/>
                    </a:lnTo>
                    <a:lnTo>
                      <a:pt x="177" y="234"/>
                    </a:lnTo>
                    <a:lnTo>
                      <a:pt x="177" y="231"/>
                    </a:lnTo>
                    <a:lnTo>
                      <a:pt x="182" y="229"/>
                    </a:lnTo>
                    <a:lnTo>
                      <a:pt x="182" y="226"/>
                    </a:lnTo>
                    <a:lnTo>
                      <a:pt x="182" y="222"/>
                    </a:lnTo>
                    <a:lnTo>
                      <a:pt x="186" y="217"/>
                    </a:lnTo>
                    <a:lnTo>
                      <a:pt x="187" y="220"/>
                    </a:lnTo>
                    <a:lnTo>
                      <a:pt x="191" y="220"/>
                    </a:lnTo>
                    <a:lnTo>
                      <a:pt x="198" y="220"/>
                    </a:lnTo>
                    <a:lnTo>
                      <a:pt x="199" y="222"/>
                    </a:lnTo>
                    <a:lnTo>
                      <a:pt x="201" y="220"/>
                    </a:lnTo>
                    <a:lnTo>
                      <a:pt x="201" y="220"/>
                    </a:lnTo>
                    <a:lnTo>
                      <a:pt x="206" y="220"/>
                    </a:lnTo>
                    <a:lnTo>
                      <a:pt x="210" y="222"/>
                    </a:lnTo>
                    <a:lnTo>
                      <a:pt x="217" y="224"/>
                    </a:lnTo>
                    <a:lnTo>
                      <a:pt x="224" y="226"/>
                    </a:lnTo>
                    <a:lnTo>
                      <a:pt x="227" y="229"/>
                    </a:lnTo>
                    <a:lnTo>
                      <a:pt x="227" y="233"/>
                    </a:lnTo>
                    <a:lnTo>
                      <a:pt x="227" y="234"/>
                    </a:lnTo>
                    <a:lnTo>
                      <a:pt x="233" y="236"/>
                    </a:lnTo>
                    <a:lnTo>
                      <a:pt x="243" y="236"/>
                    </a:lnTo>
                    <a:lnTo>
                      <a:pt x="252" y="238"/>
                    </a:lnTo>
                    <a:lnTo>
                      <a:pt x="260" y="236"/>
                    </a:lnTo>
                    <a:lnTo>
                      <a:pt x="262" y="234"/>
                    </a:lnTo>
                    <a:lnTo>
                      <a:pt x="262" y="226"/>
                    </a:lnTo>
                    <a:lnTo>
                      <a:pt x="266" y="226"/>
                    </a:lnTo>
                    <a:lnTo>
                      <a:pt x="271" y="231"/>
                    </a:lnTo>
                    <a:lnTo>
                      <a:pt x="274" y="231"/>
                    </a:lnTo>
                    <a:lnTo>
                      <a:pt x="278" y="231"/>
                    </a:lnTo>
                    <a:lnTo>
                      <a:pt x="278" y="233"/>
                    </a:lnTo>
                    <a:lnTo>
                      <a:pt x="281" y="236"/>
                    </a:lnTo>
                    <a:lnTo>
                      <a:pt x="286" y="234"/>
                    </a:lnTo>
                    <a:lnTo>
                      <a:pt x="286" y="238"/>
                    </a:lnTo>
                    <a:lnTo>
                      <a:pt x="290" y="236"/>
                    </a:lnTo>
                    <a:lnTo>
                      <a:pt x="295" y="236"/>
                    </a:lnTo>
                    <a:lnTo>
                      <a:pt x="295" y="240"/>
                    </a:lnTo>
                    <a:lnTo>
                      <a:pt x="299" y="245"/>
                    </a:lnTo>
                    <a:lnTo>
                      <a:pt x="299" y="247"/>
                    </a:lnTo>
                    <a:lnTo>
                      <a:pt x="300" y="250"/>
                    </a:lnTo>
                    <a:lnTo>
                      <a:pt x="305" y="252"/>
                    </a:lnTo>
                    <a:lnTo>
                      <a:pt x="309" y="250"/>
                    </a:lnTo>
                    <a:lnTo>
                      <a:pt x="311" y="252"/>
                    </a:lnTo>
                    <a:lnTo>
                      <a:pt x="312" y="252"/>
                    </a:lnTo>
                    <a:lnTo>
                      <a:pt x="316" y="250"/>
                    </a:lnTo>
                    <a:lnTo>
                      <a:pt x="318" y="250"/>
                    </a:lnTo>
                    <a:lnTo>
                      <a:pt x="319" y="252"/>
                    </a:lnTo>
                    <a:lnTo>
                      <a:pt x="323" y="252"/>
                    </a:lnTo>
                    <a:lnTo>
                      <a:pt x="325" y="255"/>
                    </a:lnTo>
                    <a:lnTo>
                      <a:pt x="323" y="262"/>
                    </a:lnTo>
                    <a:lnTo>
                      <a:pt x="321" y="262"/>
                    </a:lnTo>
                    <a:lnTo>
                      <a:pt x="323" y="266"/>
                    </a:lnTo>
                    <a:lnTo>
                      <a:pt x="325" y="269"/>
                    </a:lnTo>
                    <a:lnTo>
                      <a:pt x="323" y="271"/>
                    </a:lnTo>
                    <a:lnTo>
                      <a:pt x="319" y="267"/>
                    </a:lnTo>
                    <a:lnTo>
                      <a:pt x="316" y="267"/>
                    </a:lnTo>
                    <a:lnTo>
                      <a:pt x="311" y="266"/>
                    </a:lnTo>
                    <a:lnTo>
                      <a:pt x="309" y="266"/>
                    </a:lnTo>
                    <a:lnTo>
                      <a:pt x="305" y="262"/>
                    </a:lnTo>
                    <a:lnTo>
                      <a:pt x="302" y="260"/>
                    </a:lnTo>
                    <a:lnTo>
                      <a:pt x="297" y="262"/>
                    </a:lnTo>
                    <a:lnTo>
                      <a:pt x="292" y="262"/>
                    </a:lnTo>
                    <a:lnTo>
                      <a:pt x="288" y="262"/>
                    </a:lnTo>
                    <a:lnTo>
                      <a:pt x="283" y="260"/>
                    </a:lnTo>
                    <a:lnTo>
                      <a:pt x="278" y="262"/>
                    </a:lnTo>
                    <a:lnTo>
                      <a:pt x="276" y="260"/>
                    </a:lnTo>
                    <a:lnTo>
                      <a:pt x="269" y="260"/>
                    </a:lnTo>
                    <a:lnTo>
                      <a:pt x="266" y="262"/>
                    </a:lnTo>
                    <a:lnTo>
                      <a:pt x="255" y="259"/>
                    </a:lnTo>
                    <a:lnTo>
                      <a:pt x="246" y="253"/>
                    </a:lnTo>
                    <a:lnTo>
                      <a:pt x="243" y="253"/>
                    </a:lnTo>
                    <a:lnTo>
                      <a:pt x="238" y="250"/>
                    </a:lnTo>
                    <a:lnTo>
                      <a:pt x="236" y="250"/>
                    </a:lnTo>
                    <a:lnTo>
                      <a:pt x="236" y="253"/>
                    </a:lnTo>
                    <a:lnTo>
                      <a:pt x="233" y="252"/>
                    </a:lnTo>
                    <a:lnTo>
                      <a:pt x="227" y="250"/>
                    </a:lnTo>
                    <a:lnTo>
                      <a:pt x="227" y="250"/>
                    </a:lnTo>
                    <a:lnTo>
                      <a:pt x="224" y="253"/>
                    </a:lnTo>
                    <a:lnTo>
                      <a:pt x="215" y="252"/>
                    </a:lnTo>
                    <a:lnTo>
                      <a:pt x="210" y="247"/>
                    </a:lnTo>
                    <a:lnTo>
                      <a:pt x="205" y="247"/>
                    </a:lnTo>
                    <a:lnTo>
                      <a:pt x="201" y="245"/>
                    </a:lnTo>
                    <a:lnTo>
                      <a:pt x="199" y="247"/>
                    </a:lnTo>
                    <a:lnTo>
                      <a:pt x="196" y="247"/>
                    </a:lnTo>
                    <a:lnTo>
                      <a:pt x="191" y="245"/>
                    </a:lnTo>
                    <a:lnTo>
                      <a:pt x="189" y="243"/>
                    </a:lnTo>
                    <a:lnTo>
                      <a:pt x="193" y="240"/>
                    </a:lnTo>
                    <a:lnTo>
                      <a:pt x="193" y="240"/>
                    </a:lnTo>
                    <a:lnTo>
                      <a:pt x="191" y="240"/>
                    </a:lnTo>
                    <a:lnTo>
                      <a:pt x="189" y="240"/>
                    </a:lnTo>
                    <a:lnTo>
                      <a:pt x="186" y="238"/>
                    </a:lnTo>
                    <a:lnTo>
                      <a:pt x="184" y="236"/>
                    </a:lnTo>
                    <a:lnTo>
                      <a:pt x="182" y="238"/>
                    </a:lnTo>
                    <a:lnTo>
                      <a:pt x="173" y="236"/>
                    </a:lnTo>
                    <a:lnTo>
                      <a:pt x="173" y="236"/>
                    </a:lnTo>
                    <a:lnTo>
                      <a:pt x="172" y="233"/>
                    </a:lnTo>
                    <a:lnTo>
                      <a:pt x="173" y="233"/>
                    </a:lnTo>
                    <a:lnTo>
                      <a:pt x="173" y="233"/>
                    </a:lnTo>
                    <a:lnTo>
                      <a:pt x="173" y="233"/>
                    </a:lnTo>
                    <a:lnTo>
                      <a:pt x="173" y="233"/>
                    </a:lnTo>
                    <a:close/>
                    <a:moveTo>
                      <a:pt x="217" y="45"/>
                    </a:moveTo>
                    <a:lnTo>
                      <a:pt x="220" y="47"/>
                    </a:lnTo>
                    <a:lnTo>
                      <a:pt x="224" y="47"/>
                    </a:lnTo>
                    <a:lnTo>
                      <a:pt x="222" y="48"/>
                    </a:lnTo>
                    <a:lnTo>
                      <a:pt x="224" y="48"/>
                    </a:lnTo>
                    <a:lnTo>
                      <a:pt x="227" y="45"/>
                    </a:lnTo>
                    <a:lnTo>
                      <a:pt x="222" y="38"/>
                    </a:lnTo>
                    <a:lnTo>
                      <a:pt x="219" y="41"/>
                    </a:lnTo>
                    <a:lnTo>
                      <a:pt x="217" y="45"/>
                    </a:lnTo>
                    <a:lnTo>
                      <a:pt x="217" y="45"/>
                    </a:lnTo>
                    <a:lnTo>
                      <a:pt x="217" y="45"/>
                    </a:lnTo>
                    <a:lnTo>
                      <a:pt x="217" y="45"/>
                    </a:lnTo>
                    <a:close/>
                    <a:moveTo>
                      <a:pt x="189" y="64"/>
                    </a:moveTo>
                    <a:lnTo>
                      <a:pt x="189" y="67"/>
                    </a:lnTo>
                    <a:lnTo>
                      <a:pt x="191" y="67"/>
                    </a:lnTo>
                    <a:lnTo>
                      <a:pt x="189" y="64"/>
                    </a:lnTo>
                    <a:lnTo>
                      <a:pt x="189" y="64"/>
                    </a:lnTo>
                    <a:lnTo>
                      <a:pt x="189" y="64"/>
                    </a:lnTo>
                    <a:lnTo>
                      <a:pt x="189" y="64"/>
                    </a:lnTo>
                    <a:close/>
                    <a:moveTo>
                      <a:pt x="189" y="55"/>
                    </a:moveTo>
                    <a:lnTo>
                      <a:pt x="191" y="55"/>
                    </a:lnTo>
                    <a:lnTo>
                      <a:pt x="189" y="54"/>
                    </a:lnTo>
                    <a:lnTo>
                      <a:pt x="189" y="55"/>
                    </a:lnTo>
                    <a:lnTo>
                      <a:pt x="189" y="55"/>
                    </a:lnTo>
                    <a:lnTo>
                      <a:pt x="189" y="55"/>
                    </a:lnTo>
                    <a:lnTo>
                      <a:pt x="189" y="55"/>
                    </a:lnTo>
                    <a:close/>
                    <a:moveTo>
                      <a:pt x="189" y="59"/>
                    </a:moveTo>
                    <a:lnTo>
                      <a:pt x="189" y="59"/>
                    </a:lnTo>
                    <a:lnTo>
                      <a:pt x="191" y="59"/>
                    </a:lnTo>
                    <a:lnTo>
                      <a:pt x="189" y="59"/>
                    </a:lnTo>
                    <a:lnTo>
                      <a:pt x="189" y="59"/>
                    </a:lnTo>
                    <a:lnTo>
                      <a:pt x="189" y="59"/>
                    </a:lnTo>
                    <a:lnTo>
                      <a:pt x="189" y="59"/>
                    </a:lnTo>
                    <a:close/>
                    <a:moveTo>
                      <a:pt x="179" y="62"/>
                    </a:moveTo>
                    <a:lnTo>
                      <a:pt x="177" y="64"/>
                    </a:lnTo>
                    <a:lnTo>
                      <a:pt x="182" y="67"/>
                    </a:lnTo>
                    <a:lnTo>
                      <a:pt x="184" y="62"/>
                    </a:lnTo>
                    <a:lnTo>
                      <a:pt x="182" y="62"/>
                    </a:lnTo>
                    <a:lnTo>
                      <a:pt x="179" y="62"/>
                    </a:lnTo>
                    <a:lnTo>
                      <a:pt x="179" y="62"/>
                    </a:lnTo>
                    <a:lnTo>
                      <a:pt x="179" y="62"/>
                    </a:lnTo>
                    <a:lnTo>
                      <a:pt x="179" y="62"/>
                    </a:lnTo>
                    <a:close/>
                    <a:moveTo>
                      <a:pt x="151" y="99"/>
                    </a:moveTo>
                    <a:lnTo>
                      <a:pt x="154" y="100"/>
                    </a:lnTo>
                    <a:lnTo>
                      <a:pt x="154" y="97"/>
                    </a:lnTo>
                    <a:lnTo>
                      <a:pt x="154" y="94"/>
                    </a:lnTo>
                    <a:lnTo>
                      <a:pt x="151" y="99"/>
                    </a:lnTo>
                    <a:lnTo>
                      <a:pt x="151" y="99"/>
                    </a:lnTo>
                    <a:lnTo>
                      <a:pt x="151" y="99"/>
                    </a:lnTo>
                    <a:lnTo>
                      <a:pt x="151" y="99"/>
                    </a:lnTo>
                    <a:close/>
                    <a:moveTo>
                      <a:pt x="158" y="95"/>
                    </a:moveTo>
                    <a:lnTo>
                      <a:pt x="156" y="99"/>
                    </a:lnTo>
                    <a:lnTo>
                      <a:pt x="160" y="100"/>
                    </a:lnTo>
                    <a:lnTo>
                      <a:pt x="161" y="104"/>
                    </a:lnTo>
                    <a:lnTo>
                      <a:pt x="163" y="104"/>
                    </a:lnTo>
                    <a:lnTo>
                      <a:pt x="165" y="99"/>
                    </a:lnTo>
                    <a:lnTo>
                      <a:pt x="163" y="97"/>
                    </a:lnTo>
                    <a:lnTo>
                      <a:pt x="165" y="94"/>
                    </a:lnTo>
                    <a:lnTo>
                      <a:pt x="161" y="94"/>
                    </a:lnTo>
                    <a:lnTo>
                      <a:pt x="160" y="95"/>
                    </a:lnTo>
                    <a:lnTo>
                      <a:pt x="158" y="95"/>
                    </a:lnTo>
                    <a:lnTo>
                      <a:pt x="158" y="95"/>
                    </a:lnTo>
                    <a:lnTo>
                      <a:pt x="158" y="95"/>
                    </a:lnTo>
                    <a:lnTo>
                      <a:pt x="158" y="95"/>
                    </a:lnTo>
                    <a:close/>
                    <a:moveTo>
                      <a:pt x="233" y="146"/>
                    </a:moveTo>
                    <a:lnTo>
                      <a:pt x="233" y="147"/>
                    </a:lnTo>
                    <a:lnTo>
                      <a:pt x="236" y="149"/>
                    </a:lnTo>
                    <a:lnTo>
                      <a:pt x="238" y="147"/>
                    </a:lnTo>
                    <a:lnTo>
                      <a:pt x="236" y="146"/>
                    </a:lnTo>
                    <a:lnTo>
                      <a:pt x="233" y="146"/>
                    </a:lnTo>
                    <a:lnTo>
                      <a:pt x="233" y="146"/>
                    </a:lnTo>
                    <a:lnTo>
                      <a:pt x="233" y="146"/>
                    </a:lnTo>
                    <a:lnTo>
                      <a:pt x="233" y="146"/>
                    </a:lnTo>
                    <a:close/>
                    <a:moveTo>
                      <a:pt x="210" y="161"/>
                    </a:moveTo>
                    <a:lnTo>
                      <a:pt x="212" y="165"/>
                    </a:lnTo>
                    <a:lnTo>
                      <a:pt x="212" y="167"/>
                    </a:lnTo>
                    <a:lnTo>
                      <a:pt x="208" y="168"/>
                    </a:lnTo>
                    <a:lnTo>
                      <a:pt x="206" y="170"/>
                    </a:lnTo>
                    <a:lnTo>
                      <a:pt x="210" y="170"/>
                    </a:lnTo>
                    <a:lnTo>
                      <a:pt x="210" y="168"/>
                    </a:lnTo>
                    <a:lnTo>
                      <a:pt x="212" y="167"/>
                    </a:lnTo>
                    <a:lnTo>
                      <a:pt x="212" y="172"/>
                    </a:lnTo>
                    <a:lnTo>
                      <a:pt x="215" y="175"/>
                    </a:lnTo>
                    <a:lnTo>
                      <a:pt x="219" y="170"/>
                    </a:lnTo>
                    <a:lnTo>
                      <a:pt x="220" y="172"/>
                    </a:lnTo>
                    <a:lnTo>
                      <a:pt x="222" y="172"/>
                    </a:lnTo>
                    <a:lnTo>
                      <a:pt x="224" y="172"/>
                    </a:lnTo>
                    <a:lnTo>
                      <a:pt x="227" y="170"/>
                    </a:lnTo>
                    <a:lnTo>
                      <a:pt x="224" y="167"/>
                    </a:lnTo>
                    <a:lnTo>
                      <a:pt x="219" y="163"/>
                    </a:lnTo>
                    <a:lnTo>
                      <a:pt x="213" y="161"/>
                    </a:lnTo>
                    <a:lnTo>
                      <a:pt x="210" y="161"/>
                    </a:lnTo>
                    <a:lnTo>
                      <a:pt x="210" y="161"/>
                    </a:lnTo>
                    <a:lnTo>
                      <a:pt x="210" y="161"/>
                    </a:lnTo>
                    <a:lnTo>
                      <a:pt x="210" y="161"/>
                    </a:lnTo>
                    <a:close/>
                    <a:moveTo>
                      <a:pt x="201" y="168"/>
                    </a:moveTo>
                    <a:lnTo>
                      <a:pt x="199" y="172"/>
                    </a:lnTo>
                    <a:lnTo>
                      <a:pt x="201" y="170"/>
                    </a:lnTo>
                    <a:lnTo>
                      <a:pt x="201" y="168"/>
                    </a:lnTo>
                    <a:lnTo>
                      <a:pt x="201" y="168"/>
                    </a:lnTo>
                    <a:lnTo>
                      <a:pt x="201" y="168"/>
                    </a:lnTo>
                    <a:lnTo>
                      <a:pt x="201" y="168"/>
                    </a:lnTo>
                    <a:close/>
                    <a:moveTo>
                      <a:pt x="177" y="147"/>
                    </a:moveTo>
                    <a:lnTo>
                      <a:pt x="177" y="149"/>
                    </a:lnTo>
                    <a:lnTo>
                      <a:pt x="173" y="153"/>
                    </a:lnTo>
                    <a:lnTo>
                      <a:pt x="173" y="154"/>
                    </a:lnTo>
                    <a:lnTo>
                      <a:pt x="182" y="154"/>
                    </a:lnTo>
                    <a:lnTo>
                      <a:pt x="182" y="156"/>
                    </a:lnTo>
                    <a:lnTo>
                      <a:pt x="182" y="160"/>
                    </a:lnTo>
                    <a:lnTo>
                      <a:pt x="184" y="161"/>
                    </a:lnTo>
                    <a:lnTo>
                      <a:pt x="186" y="167"/>
                    </a:lnTo>
                    <a:lnTo>
                      <a:pt x="189" y="168"/>
                    </a:lnTo>
                    <a:lnTo>
                      <a:pt x="193" y="168"/>
                    </a:lnTo>
                    <a:lnTo>
                      <a:pt x="194" y="172"/>
                    </a:lnTo>
                    <a:lnTo>
                      <a:pt x="196" y="172"/>
                    </a:lnTo>
                    <a:lnTo>
                      <a:pt x="198" y="170"/>
                    </a:lnTo>
                    <a:lnTo>
                      <a:pt x="196" y="167"/>
                    </a:lnTo>
                    <a:lnTo>
                      <a:pt x="198" y="161"/>
                    </a:lnTo>
                    <a:lnTo>
                      <a:pt x="193" y="161"/>
                    </a:lnTo>
                    <a:lnTo>
                      <a:pt x="189" y="156"/>
                    </a:lnTo>
                    <a:lnTo>
                      <a:pt x="187" y="149"/>
                    </a:lnTo>
                    <a:lnTo>
                      <a:pt x="186" y="149"/>
                    </a:lnTo>
                    <a:lnTo>
                      <a:pt x="186" y="146"/>
                    </a:lnTo>
                    <a:lnTo>
                      <a:pt x="182" y="144"/>
                    </a:lnTo>
                    <a:lnTo>
                      <a:pt x="182" y="144"/>
                    </a:lnTo>
                    <a:lnTo>
                      <a:pt x="182" y="147"/>
                    </a:lnTo>
                    <a:lnTo>
                      <a:pt x="182" y="149"/>
                    </a:lnTo>
                    <a:lnTo>
                      <a:pt x="179" y="149"/>
                    </a:lnTo>
                    <a:lnTo>
                      <a:pt x="177" y="146"/>
                    </a:lnTo>
                    <a:lnTo>
                      <a:pt x="177" y="147"/>
                    </a:lnTo>
                    <a:lnTo>
                      <a:pt x="177" y="147"/>
                    </a:lnTo>
                    <a:lnTo>
                      <a:pt x="177" y="147"/>
                    </a:lnTo>
                    <a:lnTo>
                      <a:pt x="177" y="147"/>
                    </a:lnTo>
                    <a:close/>
                    <a:moveTo>
                      <a:pt x="160" y="127"/>
                    </a:moveTo>
                    <a:lnTo>
                      <a:pt x="158" y="127"/>
                    </a:lnTo>
                    <a:lnTo>
                      <a:pt x="160" y="130"/>
                    </a:lnTo>
                    <a:lnTo>
                      <a:pt x="163" y="130"/>
                    </a:lnTo>
                    <a:lnTo>
                      <a:pt x="161" y="127"/>
                    </a:lnTo>
                    <a:lnTo>
                      <a:pt x="160" y="127"/>
                    </a:lnTo>
                    <a:lnTo>
                      <a:pt x="160" y="127"/>
                    </a:lnTo>
                    <a:lnTo>
                      <a:pt x="160" y="127"/>
                    </a:lnTo>
                    <a:lnTo>
                      <a:pt x="160" y="127"/>
                    </a:lnTo>
                    <a:close/>
                    <a:moveTo>
                      <a:pt x="161" y="118"/>
                    </a:moveTo>
                    <a:lnTo>
                      <a:pt x="160" y="121"/>
                    </a:lnTo>
                    <a:lnTo>
                      <a:pt x="161" y="123"/>
                    </a:lnTo>
                    <a:lnTo>
                      <a:pt x="165" y="123"/>
                    </a:lnTo>
                    <a:lnTo>
                      <a:pt x="168" y="123"/>
                    </a:lnTo>
                    <a:lnTo>
                      <a:pt x="170" y="123"/>
                    </a:lnTo>
                    <a:lnTo>
                      <a:pt x="165" y="120"/>
                    </a:lnTo>
                    <a:lnTo>
                      <a:pt x="161" y="118"/>
                    </a:lnTo>
                    <a:lnTo>
                      <a:pt x="161" y="118"/>
                    </a:lnTo>
                    <a:lnTo>
                      <a:pt x="161" y="118"/>
                    </a:lnTo>
                    <a:lnTo>
                      <a:pt x="161" y="118"/>
                    </a:lnTo>
                    <a:close/>
                    <a:moveTo>
                      <a:pt x="128" y="95"/>
                    </a:moveTo>
                    <a:lnTo>
                      <a:pt x="127" y="100"/>
                    </a:lnTo>
                    <a:lnTo>
                      <a:pt x="127" y="104"/>
                    </a:lnTo>
                    <a:lnTo>
                      <a:pt x="132" y="104"/>
                    </a:lnTo>
                    <a:lnTo>
                      <a:pt x="135" y="107"/>
                    </a:lnTo>
                    <a:lnTo>
                      <a:pt x="137" y="104"/>
                    </a:lnTo>
                    <a:lnTo>
                      <a:pt x="135" y="100"/>
                    </a:lnTo>
                    <a:lnTo>
                      <a:pt x="132" y="97"/>
                    </a:lnTo>
                    <a:lnTo>
                      <a:pt x="128" y="95"/>
                    </a:lnTo>
                    <a:lnTo>
                      <a:pt x="128" y="95"/>
                    </a:lnTo>
                    <a:lnTo>
                      <a:pt x="128" y="95"/>
                    </a:lnTo>
                    <a:lnTo>
                      <a:pt x="128" y="95"/>
                    </a:lnTo>
                    <a:close/>
                    <a:moveTo>
                      <a:pt x="118" y="90"/>
                    </a:moveTo>
                    <a:lnTo>
                      <a:pt x="120" y="90"/>
                    </a:lnTo>
                    <a:lnTo>
                      <a:pt x="123" y="92"/>
                    </a:lnTo>
                    <a:lnTo>
                      <a:pt x="127" y="95"/>
                    </a:lnTo>
                    <a:lnTo>
                      <a:pt x="123" y="99"/>
                    </a:lnTo>
                    <a:lnTo>
                      <a:pt x="123" y="97"/>
                    </a:lnTo>
                    <a:lnTo>
                      <a:pt x="118" y="90"/>
                    </a:lnTo>
                    <a:lnTo>
                      <a:pt x="118" y="90"/>
                    </a:lnTo>
                    <a:lnTo>
                      <a:pt x="118" y="90"/>
                    </a:lnTo>
                    <a:lnTo>
                      <a:pt x="118" y="90"/>
                    </a:lnTo>
                    <a:close/>
                    <a:moveTo>
                      <a:pt x="106" y="81"/>
                    </a:moveTo>
                    <a:lnTo>
                      <a:pt x="107" y="87"/>
                    </a:lnTo>
                    <a:lnTo>
                      <a:pt x="111" y="87"/>
                    </a:lnTo>
                    <a:lnTo>
                      <a:pt x="114" y="85"/>
                    </a:lnTo>
                    <a:lnTo>
                      <a:pt x="111" y="81"/>
                    </a:lnTo>
                    <a:lnTo>
                      <a:pt x="109" y="81"/>
                    </a:lnTo>
                    <a:lnTo>
                      <a:pt x="106" y="81"/>
                    </a:lnTo>
                    <a:lnTo>
                      <a:pt x="106" y="81"/>
                    </a:lnTo>
                    <a:lnTo>
                      <a:pt x="106" y="81"/>
                    </a:lnTo>
                    <a:lnTo>
                      <a:pt x="106" y="81"/>
                    </a:lnTo>
                    <a:close/>
                    <a:moveTo>
                      <a:pt x="118" y="208"/>
                    </a:moveTo>
                    <a:lnTo>
                      <a:pt x="123" y="212"/>
                    </a:lnTo>
                    <a:lnTo>
                      <a:pt x="123" y="210"/>
                    </a:lnTo>
                    <a:lnTo>
                      <a:pt x="120" y="208"/>
                    </a:lnTo>
                    <a:lnTo>
                      <a:pt x="118" y="208"/>
                    </a:lnTo>
                    <a:lnTo>
                      <a:pt x="118" y="208"/>
                    </a:lnTo>
                    <a:lnTo>
                      <a:pt x="118" y="208"/>
                    </a:lnTo>
                    <a:lnTo>
                      <a:pt x="118" y="208"/>
                    </a:lnTo>
                    <a:close/>
                    <a:moveTo>
                      <a:pt x="87" y="167"/>
                    </a:moveTo>
                    <a:lnTo>
                      <a:pt x="85" y="170"/>
                    </a:lnTo>
                    <a:lnTo>
                      <a:pt x="92" y="175"/>
                    </a:lnTo>
                    <a:lnTo>
                      <a:pt x="90" y="172"/>
                    </a:lnTo>
                    <a:lnTo>
                      <a:pt x="90" y="170"/>
                    </a:lnTo>
                    <a:lnTo>
                      <a:pt x="87" y="167"/>
                    </a:lnTo>
                    <a:lnTo>
                      <a:pt x="87" y="167"/>
                    </a:lnTo>
                    <a:lnTo>
                      <a:pt x="87" y="167"/>
                    </a:lnTo>
                    <a:lnTo>
                      <a:pt x="87" y="167"/>
                    </a:lnTo>
                    <a:close/>
                    <a:moveTo>
                      <a:pt x="81" y="163"/>
                    </a:moveTo>
                    <a:lnTo>
                      <a:pt x="85" y="165"/>
                    </a:lnTo>
                    <a:lnTo>
                      <a:pt x="81" y="167"/>
                    </a:lnTo>
                    <a:lnTo>
                      <a:pt x="81" y="163"/>
                    </a:lnTo>
                    <a:lnTo>
                      <a:pt x="81" y="163"/>
                    </a:lnTo>
                    <a:lnTo>
                      <a:pt x="81" y="163"/>
                    </a:lnTo>
                    <a:lnTo>
                      <a:pt x="81" y="163"/>
                    </a:lnTo>
                    <a:close/>
                    <a:moveTo>
                      <a:pt x="74" y="153"/>
                    </a:moveTo>
                    <a:lnTo>
                      <a:pt x="73" y="154"/>
                    </a:lnTo>
                    <a:lnTo>
                      <a:pt x="74" y="156"/>
                    </a:lnTo>
                    <a:lnTo>
                      <a:pt x="80" y="158"/>
                    </a:lnTo>
                    <a:lnTo>
                      <a:pt x="74" y="153"/>
                    </a:lnTo>
                    <a:lnTo>
                      <a:pt x="74" y="153"/>
                    </a:lnTo>
                    <a:lnTo>
                      <a:pt x="74" y="153"/>
                    </a:lnTo>
                    <a:lnTo>
                      <a:pt x="74" y="153"/>
                    </a:lnTo>
                    <a:close/>
                    <a:moveTo>
                      <a:pt x="57" y="137"/>
                    </a:moveTo>
                    <a:lnTo>
                      <a:pt x="57" y="140"/>
                    </a:lnTo>
                    <a:lnTo>
                      <a:pt x="60" y="140"/>
                    </a:lnTo>
                    <a:lnTo>
                      <a:pt x="66" y="147"/>
                    </a:lnTo>
                    <a:lnTo>
                      <a:pt x="69" y="149"/>
                    </a:lnTo>
                    <a:lnTo>
                      <a:pt x="69" y="142"/>
                    </a:lnTo>
                    <a:lnTo>
                      <a:pt x="64" y="135"/>
                    </a:lnTo>
                    <a:lnTo>
                      <a:pt x="60" y="134"/>
                    </a:lnTo>
                    <a:lnTo>
                      <a:pt x="57" y="137"/>
                    </a:lnTo>
                    <a:lnTo>
                      <a:pt x="57" y="137"/>
                    </a:lnTo>
                    <a:lnTo>
                      <a:pt x="57" y="137"/>
                    </a:lnTo>
                    <a:lnTo>
                      <a:pt x="57" y="137"/>
                    </a:lnTo>
                    <a:close/>
                    <a:moveTo>
                      <a:pt x="54" y="123"/>
                    </a:moveTo>
                    <a:lnTo>
                      <a:pt x="52" y="127"/>
                    </a:lnTo>
                    <a:lnTo>
                      <a:pt x="55" y="130"/>
                    </a:lnTo>
                    <a:lnTo>
                      <a:pt x="57" y="127"/>
                    </a:lnTo>
                    <a:lnTo>
                      <a:pt x="57" y="127"/>
                    </a:lnTo>
                    <a:lnTo>
                      <a:pt x="54" y="123"/>
                    </a:lnTo>
                    <a:lnTo>
                      <a:pt x="54" y="123"/>
                    </a:lnTo>
                    <a:lnTo>
                      <a:pt x="54" y="123"/>
                    </a:lnTo>
                    <a:lnTo>
                      <a:pt x="54" y="123"/>
                    </a:lnTo>
                    <a:close/>
                    <a:moveTo>
                      <a:pt x="57" y="114"/>
                    </a:moveTo>
                    <a:lnTo>
                      <a:pt x="60" y="114"/>
                    </a:lnTo>
                    <a:lnTo>
                      <a:pt x="62" y="116"/>
                    </a:lnTo>
                    <a:lnTo>
                      <a:pt x="62" y="114"/>
                    </a:lnTo>
                    <a:lnTo>
                      <a:pt x="59" y="113"/>
                    </a:lnTo>
                    <a:lnTo>
                      <a:pt x="57" y="114"/>
                    </a:lnTo>
                    <a:lnTo>
                      <a:pt x="57" y="114"/>
                    </a:lnTo>
                    <a:lnTo>
                      <a:pt x="57" y="114"/>
                    </a:lnTo>
                    <a:lnTo>
                      <a:pt x="57" y="114"/>
                    </a:lnTo>
                    <a:close/>
                    <a:moveTo>
                      <a:pt x="33" y="92"/>
                    </a:moveTo>
                    <a:lnTo>
                      <a:pt x="36" y="92"/>
                    </a:lnTo>
                    <a:lnTo>
                      <a:pt x="38" y="90"/>
                    </a:lnTo>
                    <a:lnTo>
                      <a:pt x="40" y="92"/>
                    </a:lnTo>
                    <a:lnTo>
                      <a:pt x="43" y="97"/>
                    </a:lnTo>
                    <a:lnTo>
                      <a:pt x="47" y="99"/>
                    </a:lnTo>
                    <a:lnTo>
                      <a:pt x="47" y="100"/>
                    </a:lnTo>
                    <a:lnTo>
                      <a:pt x="45" y="107"/>
                    </a:lnTo>
                    <a:lnTo>
                      <a:pt x="43" y="107"/>
                    </a:lnTo>
                    <a:lnTo>
                      <a:pt x="40" y="100"/>
                    </a:lnTo>
                    <a:lnTo>
                      <a:pt x="38" y="100"/>
                    </a:lnTo>
                    <a:lnTo>
                      <a:pt x="36" y="97"/>
                    </a:lnTo>
                    <a:lnTo>
                      <a:pt x="33" y="92"/>
                    </a:lnTo>
                    <a:lnTo>
                      <a:pt x="33" y="92"/>
                    </a:lnTo>
                    <a:lnTo>
                      <a:pt x="33" y="92"/>
                    </a:lnTo>
                    <a:lnTo>
                      <a:pt x="33" y="92"/>
                    </a:lnTo>
                    <a:close/>
                    <a:moveTo>
                      <a:pt x="33" y="78"/>
                    </a:moveTo>
                    <a:lnTo>
                      <a:pt x="36" y="81"/>
                    </a:lnTo>
                    <a:lnTo>
                      <a:pt x="34" y="78"/>
                    </a:lnTo>
                    <a:lnTo>
                      <a:pt x="33" y="78"/>
                    </a:lnTo>
                    <a:lnTo>
                      <a:pt x="33" y="78"/>
                    </a:lnTo>
                    <a:lnTo>
                      <a:pt x="33" y="78"/>
                    </a:lnTo>
                    <a:lnTo>
                      <a:pt x="33" y="78"/>
                    </a:lnTo>
                    <a:close/>
                    <a:moveTo>
                      <a:pt x="8" y="64"/>
                    </a:moveTo>
                    <a:lnTo>
                      <a:pt x="8" y="67"/>
                    </a:lnTo>
                    <a:lnTo>
                      <a:pt x="7" y="67"/>
                    </a:lnTo>
                    <a:lnTo>
                      <a:pt x="10" y="71"/>
                    </a:lnTo>
                    <a:lnTo>
                      <a:pt x="15" y="69"/>
                    </a:lnTo>
                    <a:lnTo>
                      <a:pt x="12" y="67"/>
                    </a:lnTo>
                    <a:lnTo>
                      <a:pt x="8" y="64"/>
                    </a:lnTo>
                    <a:lnTo>
                      <a:pt x="8" y="64"/>
                    </a:lnTo>
                    <a:lnTo>
                      <a:pt x="8" y="64"/>
                    </a:lnTo>
                    <a:lnTo>
                      <a:pt x="8" y="64"/>
                    </a:lnTo>
                    <a:close/>
                    <a:moveTo>
                      <a:pt x="0" y="19"/>
                    </a:moveTo>
                    <a:lnTo>
                      <a:pt x="0" y="19"/>
                    </a:lnTo>
                    <a:lnTo>
                      <a:pt x="0" y="24"/>
                    </a:lnTo>
                    <a:lnTo>
                      <a:pt x="3" y="33"/>
                    </a:lnTo>
                    <a:lnTo>
                      <a:pt x="7" y="33"/>
                    </a:lnTo>
                    <a:lnTo>
                      <a:pt x="14" y="41"/>
                    </a:lnTo>
                    <a:lnTo>
                      <a:pt x="15" y="41"/>
                    </a:lnTo>
                    <a:lnTo>
                      <a:pt x="22" y="48"/>
                    </a:lnTo>
                    <a:lnTo>
                      <a:pt x="24" y="48"/>
                    </a:lnTo>
                    <a:lnTo>
                      <a:pt x="24" y="48"/>
                    </a:lnTo>
                    <a:lnTo>
                      <a:pt x="31" y="54"/>
                    </a:lnTo>
                    <a:lnTo>
                      <a:pt x="38" y="64"/>
                    </a:lnTo>
                    <a:lnTo>
                      <a:pt x="43" y="67"/>
                    </a:lnTo>
                    <a:lnTo>
                      <a:pt x="45" y="67"/>
                    </a:lnTo>
                    <a:lnTo>
                      <a:pt x="45" y="73"/>
                    </a:lnTo>
                    <a:lnTo>
                      <a:pt x="47" y="74"/>
                    </a:lnTo>
                    <a:lnTo>
                      <a:pt x="47" y="78"/>
                    </a:lnTo>
                    <a:lnTo>
                      <a:pt x="50" y="81"/>
                    </a:lnTo>
                    <a:lnTo>
                      <a:pt x="52" y="81"/>
                    </a:lnTo>
                    <a:lnTo>
                      <a:pt x="57" y="85"/>
                    </a:lnTo>
                    <a:lnTo>
                      <a:pt x="59" y="87"/>
                    </a:lnTo>
                    <a:lnTo>
                      <a:pt x="62" y="87"/>
                    </a:lnTo>
                    <a:lnTo>
                      <a:pt x="62" y="90"/>
                    </a:lnTo>
                    <a:lnTo>
                      <a:pt x="60" y="90"/>
                    </a:lnTo>
                    <a:lnTo>
                      <a:pt x="64" y="94"/>
                    </a:lnTo>
                    <a:lnTo>
                      <a:pt x="66" y="97"/>
                    </a:lnTo>
                    <a:lnTo>
                      <a:pt x="64" y="99"/>
                    </a:lnTo>
                    <a:lnTo>
                      <a:pt x="69" y="107"/>
                    </a:lnTo>
                    <a:lnTo>
                      <a:pt x="69" y="113"/>
                    </a:lnTo>
                    <a:lnTo>
                      <a:pt x="73" y="114"/>
                    </a:lnTo>
                    <a:lnTo>
                      <a:pt x="78" y="118"/>
                    </a:lnTo>
                    <a:lnTo>
                      <a:pt x="78" y="120"/>
                    </a:lnTo>
                    <a:lnTo>
                      <a:pt x="83" y="127"/>
                    </a:lnTo>
                    <a:lnTo>
                      <a:pt x="87" y="130"/>
                    </a:lnTo>
                    <a:lnTo>
                      <a:pt x="88" y="139"/>
                    </a:lnTo>
                    <a:lnTo>
                      <a:pt x="95" y="149"/>
                    </a:lnTo>
                    <a:lnTo>
                      <a:pt x="94" y="154"/>
                    </a:lnTo>
                    <a:lnTo>
                      <a:pt x="95" y="160"/>
                    </a:lnTo>
                    <a:lnTo>
                      <a:pt x="100" y="165"/>
                    </a:lnTo>
                    <a:lnTo>
                      <a:pt x="107" y="172"/>
                    </a:lnTo>
                    <a:lnTo>
                      <a:pt x="109" y="175"/>
                    </a:lnTo>
                    <a:lnTo>
                      <a:pt x="114" y="177"/>
                    </a:lnTo>
                    <a:lnTo>
                      <a:pt x="116" y="179"/>
                    </a:lnTo>
                    <a:lnTo>
                      <a:pt x="120" y="180"/>
                    </a:lnTo>
                    <a:lnTo>
                      <a:pt x="120" y="186"/>
                    </a:lnTo>
                    <a:lnTo>
                      <a:pt x="123" y="189"/>
                    </a:lnTo>
                    <a:lnTo>
                      <a:pt x="128" y="194"/>
                    </a:lnTo>
                    <a:lnTo>
                      <a:pt x="137" y="198"/>
                    </a:lnTo>
                    <a:lnTo>
                      <a:pt x="139" y="201"/>
                    </a:lnTo>
                    <a:lnTo>
                      <a:pt x="142" y="203"/>
                    </a:lnTo>
                    <a:lnTo>
                      <a:pt x="154" y="212"/>
                    </a:lnTo>
                    <a:lnTo>
                      <a:pt x="154" y="217"/>
                    </a:lnTo>
                    <a:lnTo>
                      <a:pt x="156" y="217"/>
                    </a:lnTo>
                    <a:lnTo>
                      <a:pt x="158" y="220"/>
                    </a:lnTo>
                    <a:lnTo>
                      <a:pt x="160" y="220"/>
                    </a:lnTo>
                    <a:lnTo>
                      <a:pt x="160" y="217"/>
                    </a:lnTo>
                    <a:lnTo>
                      <a:pt x="158" y="215"/>
                    </a:lnTo>
                    <a:lnTo>
                      <a:pt x="158" y="212"/>
                    </a:lnTo>
                    <a:lnTo>
                      <a:pt x="161" y="214"/>
                    </a:lnTo>
                    <a:lnTo>
                      <a:pt x="168" y="220"/>
                    </a:lnTo>
                    <a:lnTo>
                      <a:pt x="170" y="217"/>
                    </a:lnTo>
                    <a:lnTo>
                      <a:pt x="170" y="214"/>
                    </a:lnTo>
                    <a:lnTo>
                      <a:pt x="172" y="212"/>
                    </a:lnTo>
                    <a:lnTo>
                      <a:pt x="173" y="212"/>
                    </a:lnTo>
                    <a:lnTo>
                      <a:pt x="177" y="217"/>
                    </a:lnTo>
                    <a:lnTo>
                      <a:pt x="179" y="217"/>
                    </a:lnTo>
                    <a:lnTo>
                      <a:pt x="182" y="215"/>
                    </a:lnTo>
                    <a:lnTo>
                      <a:pt x="182" y="207"/>
                    </a:lnTo>
                    <a:lnTo>
                      <a:pt x="182" y="198"/>
                    </a:lnTo>
                    <a:lnTo>
                      <a:pt x="182" y="193"/>
                    </a:lnTo>
                    <a:lnTo>
                      <a:pt x="184" y="186"/>
                    </a:lnTo>
                    <a:lnTo>
                      <a:pt x="182" y="182"/>
                    </a:lnTo>
                    <a:lnTo>
                      <a:pt x="182" y="177"/>
                    </a:lnTo>
                    <a:lnTo>
                      <a:pt x="186" y="175"/>
                    </a:lnTo>
                    <a:lnTo>
                      <a:pt x="187" y="175"/>
                    </a:lnTo>
                    <a:lnTo>
                      <a:pt x="187" y="172"/>
                    </a:lnTo>
                    <a:lnTo>
                      <a:pt x="184" y="170"/>
                    </a:lnTo>
                    <a:lnTo>
                      <a:pt x="182" y="167"/>
                    </a:lnTo>
                    <a:lnTo>
                      <a:pt x="179" y="163"/>
                    </a:lnTo>
                    <a:lnTo>
                      <a:pt x="177" y="161"/>
                    </a:lnTo>
                    <a:lnTo>
                      <a:pt x="177" y="160"/>
                    </a:lnTo>
                    <a:lnTo>
                      <a:pt x="173" y="158"/>
                    </a:lnTo>
                    <a:lnTo>
                      <a:pt x="168" y="158"/>
                    </a:lnTo>
                    <a:lnTo>
                      <a:pt x="165" y="158"/>
                    </a:lnTo>
                    <a:lnTo>
                      <a:pt x="165" y="153"/>
                    </a:lnTo>
                    <a:lnTo>
                      <a:pt x="161" y="149"/>
                    </a:lnTo>
                    <a:lnTo>
                      <a:pt x="160" y="149"/>
                    </a:lnTo>
                    <a:lnTo>
                      <a:pt x="161" y="147"/>
                    </a:lnTo>
                    <a:lnTo>
                      <a:pt x="160" y="144"/>
                    </a:lnTo>
                    <a:lnTo>
                      <a:pt x="160" y="135"/>
                    </a:lnTo>
                    <a:lnTo>
                      <a:pt x="154" y="137"/>
                    </a:lnTo>
                    <a:lnTo>
                      <a:pt x="154" y="135"/>
                    </a:lnTo>
                    <a:lnTo>
                      <a:pt x="147" y="135"/>
                    </a:lnTo>
                    <a:lnTo>
                      <a:pt x="142" y="132"/>
                    </a:lnTo>
                    <a:lnTo>
                      <a:pt x="142" y="130"/>
                    </a:lnTo>
                    <a:lnTo>
                      <a:pt x="146" y="127"/>
                    </a:lnTo>
                    <a:lnTo>
                      <a:pt x="149" y="123"/>
                    </a:lnTo>
                    <a:lnTo>
                      <a:pt x="147" y="123"/>
                    </a:lnTo>
                    <a:lnTo>
                      <a:pt x="142" y="123"/>
                    </a:lnTo>
                    <a:lnTo>
                      <a:pt x="140" y="123"/>
                    </a:lnTo>
                    <a:lnTo>
                      <a:pt x="137" y="123"/>
                    </a:lnTo>
                    <a:lnTo>
                      <a:pt x="140" y="123"/>
                    </a:lnTo>
                    <a:lnTo>
                      <a:pt x="142" y="120"/>
                    </a:lnTo>
                    <a:lnTo>
                      <a:pt x="149" y="120"/>
                    </a:lnTo>
                    <a:lnTo>
                      <a:pt x="149" y="114"/>
                    </a:lnTo>
                    <a:lnTo>
                      <a:pt x="142" y="109"/>
                    </a:lnTo>
                    <a:lnTo>
                      <a:pt x="139" y="109"/>
                    </a:lnTo>
                    <a:lnTo>
                      <a:pt x="135" y="113"/>
                    </a:lnTo>
                    <a:lnTo>
                      <a:pt x="132" y="114"/>
                    </a:lnTo>
                    <a:lnTo>
                      <a:pt x="128" y="114"/>
                    </a:lnTo>
                    <a:lnTo>
                      <a:pt x="132" y="113"/>
                    </a:lnTo>
                    <a:lnTo>
                      <a:pt x="132" y="113"/>
                    </a:lnTo>
                    <a:lnTo>
                      <a:pt x="133" y="113"/>
                    </a:lnTo>
                    <a:lnTo>
                      <a:pt x="135" y="109"/>
                    </a:lnTo>
                    <a:lnTo>
                      <a:pt x="133" y="107"/>
                    </a:lnTo>
                    <a:lnTo>
                      <a:pt x="132" y="104"/>
                    </a:lnTo>
                    <a:lnTo>
                      <a:pt x="123" y="104"/>
                    </a:lnTo>
                    <a:lnTo>
                      <a:pt x="120" y="100"/>
                    </a:lnTo>
                    <a:lnTo>
                      <a:pt x="120" y="100"/>
                    </a:lnTo>
                    <a:lnTo>
                      <a:pt x="120" y="95"/>
                    </a:lnTo>
                    <a:lnTo>
                      <a:pt x="113" y="90"/>
                    </a:lnTo>
                    <a:lnTo>
                      <a:pt x="109" y="90"/>
                    </a:lnTo>
                    <a:lnTo>
                      <a:pt x="107" y="90"/>
                    </a:lnTo>
                    <a:lnTo>
                      <a:pt x="104" y="87"/>
                    </a:lnTo>
                    <a:lnTo>
                      <a:pt x="104" y="81"/>
                    </a:lnTo>
                    <a:lnTo>
                      <a:pt x="100" y="76"/>
                    </a:lnTo>
                    <a:lnTo>
                      <a:pt x="94" y="73"/>
                    </a:lnTo>
                    <a:lnTo>
                      <a:pt x="88" y="71"/>
                    </a:lnTo>
                    <a:lnTo>
                      <a:pt x="88" y="73"/>
                    </a:lnTo>
                    <a:lnTo>
                      <a:pt x="87" y="73"/>
                    </a:lnTo>
                    <a:lnTo>
                      <a:pt x="85" y="67"/>
                    </a:lnTo>
                    <a:lnTo>
                      <a:pt x="83" y="69"/>
                    </a:lnTo>
                    <a:lnTo>
                      <a:pt x="81" y="67"/>
                    </a:lnTo>
                    <a:lnTo>
                      <a:pt x="81" y="64"/>
                    </a:lnTo>
                    <a:lnTo>
                      <a:pt x="78" y="59"/>
                    </a:lnTo>
                    <a:lnTo>
                      <a:pt x="73" y="59"/>
                    </a:lnTo>
                    <a:lnTo>
                      <a:pt x="73" y="55"/>
                    </a:lnTo>
                    <a:lnTo>
                      <a:pt x="62" y="48"/>
                    </a:lnTo>
                    <a:lnTo>
                      <a:pt x="59" y="48"/>
                    </a:lnTo>
                    <a:lnTo>
                      <a:pt x="55" y="45"/>
                    </a:lnTo>
                    <a:lnTo>
                      <a:pt x="50" y="45"/>
                    </a:lnTo>
                    <a:lnTo>
                      <a:pt x="50" y="41"/>
                    </a:lnTo>
                    <a:lnTo>
                      <a:pt x="50" y="36"/>
                    </a:lnTo>
                    <a:lnTo>
                      <a:pt x="47" y="33"/>
                    </a:lnTo>
                    <a:lnTo>
                      <a:pt x="45" y="29"/>
                    </a:lnTo>
                    <a:lnTo>
                      <a:pt x="43" y="29"/>
                    </a:lnTo>
                    <a:lnTo>
                      <a:pt x="41" y="24"/>
                    </a:lnTo>
                    <a:lnTo>
                      <a:pt x="36" y="22"/>
                    </a:lnTo>
                    <a:lnTo>
                      <a:pt x="33" y="22"/>
                    </a:lnTo>
                    <a:lnTo>
                      <a:pt x="31" y="24"/>
                    </a:lnTo>
                    <a:lnTo>
                      <a:pt x="27" y="22"/>
                    </a:lnTo>
                    <a:lnTo>
                      <a:pt x="24" y="22"/>
                    </a:lnTo>
                    <a:lnTo>
                      <a:pt x="19" y="24"/>
                    </a:lnTo>
                    <a:lnTo>
                      <a:pt x="15" y="22"/>
                    </a:lnTo>
                    <a:lnTo>
                      <a:pt x="8" y="19"/>
                    </a:lnTo>
                    <a:lnTo>
                      <a:pt x="1" y="15"/>
                    </a:lnTo>
                    <a:lnTo>
                      <a:pt x="0" y="19"/>
                    </a:lnTo>
                    <a:lnTo>
                      <a:pt x="0" y="19"/>
                    </a:lnTo>
                    <a:lnTo>
                      <a:pt x="0" y="19"/>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3" name="Freeform 196"/>
              <p:cNvSpPr>
                <a:spLocks noEditPoints="1"/>
              </p:cNvSpPr>
              <p:nvPr/>
            </p:nvSpPr>
            <p:spPr bwMode="auto">
              <a:xfrm>
                <a:off x="8882063" y="487045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4" name="Freeform 197"/>
              <p:cNvSpPr>
                <a:spLocks noEditPoints="1"/>
              </p:cNvSpPr>
              <p:nvPr/>
            </p:nvSpPr>
            <p:spPr bwMode="auto">
              <a:xfrm>
                <a:off x="8882063" y="4870451"/>
                <a:ext cx="109538" cy="77788"/>
              </a:xfrm>
              <a:custGeom>
                <a:avLst/>
                <a:gdLst/>
                <a:ahLst/>
                <a:cxnLst>
                  <a:cxn ang="0">
                    <a:pos x="5" y="6"/>
                  </a:cxn>
                  <a:cxn ang="0">
                    <a:pos x="9" y="6"/>
                  </a:cxn>
                  <a:cxn ang="0">
                    <a:pos x="14" y="11"/>
                  </a:cxn>
                  <a:cxn ang="0">
                    <a:pos x="19" y="14"/>
                  </a:cxn>
                  <a:cxn ang="0">
                    <a:pos x="28" y="30"/>
                  </a:cxn>
                  <a:cxn ang="0">
                    <a:pos x="33" y="30"/>
                  </a:cxn>
                  <a:cxn ang="0">
                    <a:pos x="43" y="44"/>
                  </a:cxn>
                  <a:cxn ang="0">
                    <a:pos x="47" y="49"/>
                  </a:cxn>
                  <a:cxn ang="0">
                    <a:pos x="42" y="49"/>
                  </a:cxn>
                  <a:cxn ang="0">
                    <a:pos x="36" y="47"/>
                  </a:cxn>
                  <a:cxn ang="0">
                    <a:pos x="33" y="42"/>
                  </a:cxn>
                  <a:cxn ang="0">
                    <a:pos x="26" y="35"/>
                  </a:cxn>
                  <a:cxn ang="0">
                    <a:pos x="22" y="35"/>
                  </a:cxn>
                  <a:cxn ang="0">
                    <a:pos x="16" y="28"/>
                  </a:cxn>
                  <a:cxn ang="0">
                    <a:pos x="12" y="27"/>
                  </a:cxn>
                  <a:cxn ang="0">
                    <a:pos x="10" y="20"/>
                  </a:cxn>
                  <a:cxn ang="0">
                    <a:pos x="2" y="7"/>
                  </a:cxn>
                  <a:cxn ang="0">
                    <a:pos x="0" y="2"/>
                  </a:cxn>
                  <a:cxn ang="0">
                    <a:pos x="0" y="0"/>
                  </a:cxn>
                  <a:cxn ang="0">
                    <a:pos x="0" y="0"/>
                  </a:cxn>
                  <a:cxn ang="0">
                    <a:pos x="66" y="30"/>
                  </a:cxn>
                  <a:cxn ang="0">
                    <a:pos x="69" y="35"/>
                  </a:cxn>
                  <a:cxn ang="0">
                    <a:pos x="66" y="35"/>
                  </a:cxn>
                  <a:cxn ang="0">
                    <a:pos x="61" y="30"/>
                  </a:cxn>
                  <a:cxn ang="0">
                    <a:pos x="61" y="30"/>
                  </a:cxn>
                  <a:cxn ang="0">
                    <a:pos x="56" y="13"/>
                  </a:cxn>
                  <a:cxn ang="0">
                    <a:pos x="52" y="16"/>
                  </a:cxn>
                  <a:cxn ang="0">
                    <a:pos x="54" y="21"/>
                  </a:cxn>
                  <a:cxn ang="0">
                    <a:pos x="59" y="21"/>
                  </a:cxn>
                  <a:cxn ang="0">
                    <a:pos x="57" y="16"/>
                  </a:cxn>
                  <a:cxn ang="0">
                    <a:pos x="56" y="13"/>
                  </a:cxn>
                  <a:cxn ang="0">
                    <a:pos x="56" y="13"/>
                  </a:cxn>
                  <a:cxn ang="0">
                    <a:pos x="43" y="7"/>
                  </a:cxn>
                  <a:cxn ang="0">
                    <a:pos x="42" y="13"/>
                  </a:cxn>
                  <a:cxn ang="0">
                    <a:pos x="47" y="11"/>
                  </a:cxn>
                  <a:cxn ang="0">
                    <a:pos x="43" y="7"/>
                  </a:cxn>
                  <a:cxn ang="0">
                    <a:pos x="43" y="7"/>
                  </a:cxn>
                </a:cxnLst>
                <a:rect l="0" t="0" r="r" b="b"/>
                <a:pathLst>
                  <a:path w="69" h="49">
                    <a:moveTo>
                      <a:pt x="0" y="0"/>
                    </a:moveTo>
                    <a:lnTo>
                      <a:pt x="5" y="6"/>
                    </a:lnTo>
                    <a:lnTo>
                      <a:pt x="9" y="2"/>
                    </a:lnTo>
                    <a:lnTo>
                      <a:pt x="9" y="6"/>
                    </a:lnTo>
                    <a:lnTo>
                      <a:pt x="10" y="7"/>
                    </a:lnTo>
                    <a:lnTo>
                      <a:pt x="14" y="11"/>
                    </a:lnTo>
                    <a:lnTo>
                      <a:pt x="16" y="14"/>
                    </a:lnTo>
                    <a:lnTo>
                      <a:pt x="19" y="14"/>
                    </a:lnTo>
                    <a:lnTo>
                      <a:pt x="26" y="25"/>
                    </a:lnTo>
                    <a:lnTo>
                      <a:pt x="28" y="30"/>
                    </a:lnTo>
                    <a:lnTo>
                      <a:pt x="31" y="30"/>
                    </a:lnTo>
                    <a:lnTo>
                      <a:pt x="33" y="30"/>
                    </a:lnTo>
                    <a:lnTo>
                      <a:pt x="36" y="39"/>
                    </a:lnTo>
                    <a:lnTo>
                      <a:pt x="43" y="44"/>
                    </a:lnTo>
                    <a:lnTo>
                      <a:pt x="45" y="44"/>
                    </a:lnTo>
                    <a:lnTo>
                      <a:pt x="47" y="49"/>
                    </a:lnTo>
                    <a:lnTo>
                      <a:pt x="43" y="47"/>
                    </a:lnTo>
                    <a:lnTo>
                      <a:pt x="42" y="49"/>
                    </a:lnTo>
                    <a:lnTo>
                      <a:pt x="38" y="47"/>
                    </a:lnTo>
                    <a:lnTo>
                      <a:pt x="36" y="47"/>
                    </a:lnTo>
                    <a:lnTo>
                      <a:pt x="33" y="44"/>
                    </a:lnTo>
                    <a:lnTo>
                      <a:pt x="33" y="42"/>
                    </a:lnTo>
                    <a:lnTo>
                      <a:pt x="28" y="42"/>
                    </a:lnTo>
                    <a:lnTo>
                      <a:pt x="26" y="35"/>
                    </a:lnTo>
                    <a:lnTo>
                      <a:pt x="24" y="35"/>
                    </a:lnTo>
                    <a:lnTo>
                      <a:pt x="22" y="35"/>
                    </a:lnTo>
                    <a:lnTo>
                      <a:pt x="21" y="30"/>
                    </a:lnTo>
                    <a:lnTo>
                      <a:pt x="16" y="28"/>
                    </a:lnTo>
                    <a:lnTo>
                      <a:pt x="16" y="27"/>
                    </a:lnTo>
                    <a:lnTo>
                      <a:pt x="12" y="27"/>
                    </a:lnTo>
                    <a:lnTo>
                      <a:pt x="10" y="23"/>
                    </a:lnTo>
                    <a:lnTo>
                      <a:pt x="10" y="20"/>
                    </a:lnTo>
                    <a:lnTo>
                      <a:pt x="9" y="18"/>
                    </a:lnTo>
                    <a:lnTo>
                      <a:pt x="2" y="7"/>
                    </a:lnTo>
                    <a:lnTo>
                      <a:pt x="2" y="6"/>
                    </a:lnTo>
                    <a:lnTo>
                      <a:pt x="0" y="2"/>
                    </a:lnTo>
                    <a:lnTo>
                      <a:pt x="0" y="0"/>
                    </a:lnTo>
                    <a:lnTo>
                      <a:pt x="0" y="0"/>
                    </a:lnTo>
                    <a:lnTo>
                      <a:pt x="0" y="0"/>
                    </a:lnTo>
                    <a:lnTo>
                      <a:pt x="0" y="0"/>
                    </a:lnTo>
                    <a:close/>
                    <a:moveTo>
                      <a:pt x="61" y="30"/>
                    </a:moveTo>
                    <a:lnTo>
                      <a:pt x="66" y="30"/>
                    </a:lnTo>
                    <a:lnTo>
                      <a:pt x="69" y="30"/>
                    </a:lnTo>
                    <a:lnTo>
                      <a:pt x="69" y="35"/>
                    </a:lnTo>
                    <a:lnTo>
                      <a:pt x="66" y="35"/>
                    </a:lnTo>
                    <a:lnTo>
                      <a:pt x="66" y="35"/>
                    </a:lnTo>
                    <a:lnTo>
                      <a:pt x="61" y="33"/>
                    </a:lnTo>
                    <a:lnTo>
                      <a:pt x="61" y="30"/>
                    </a:lnTo>
                    <a:lnTo>
                      <a:pt x="61" y="30"/>
                    </a:lnTo>
                    <a:lnTo>
                      <a:pt x="61" y="30"/>
                    </a:lnTo>
                    <a:lnTo>
                      <a:pt x="61" y="30"/>
                    </a:lnTo>
                    <a:close/>
                    <a:moveTo>
                      <a:pt x="56" y="13"/>
                    </a:moveTo>
                    <a:lnTo>
                      <a:pt x="52" y="14"/>
                    </a:lnTo>
                    <a:lnTo>
                      <a:pt x="52" y="16"/>
                    </a:lnTo>
                    <a:lnTo>
                      <a:pt x="52" y="18"/>
                    </a:lnTo>
                    <a:lnTo>
                      <a:pt x="54" y="21"/>
                    </a:lnTo>
                    <a:lnTo>
                      <a:pt x="57" y="23"/>
                    </a:lnTo>
                    <a:lnTo>
                      <a:pt x="59" y="21"/>
                    </a:lnTo>
                    <a:lnTo>
                      <a:pt x="56" y="20"/>
                    </a:lnTo>
                    <a:lnTo>
                      <a:pt x="57" y="16"/>
                    </a:lnTo>
                    <a:lnTo>
                      <a:pt x="57" y="13"/>
                    </a:lnTo>
                    <a:lnTo>
                      <a:pt x="56" y="13"/>
                    </a:lnTo>
                    <a:lnTo>
                      <a:pt x="56" y="13"/>
                    </a:lnTo>
                    <a:lnTo>
                      <a:pt x="56" y="13"/>
                    </a:lnTo>
                    <a:lnTo>
                      <a:pt x="56" y="13"/>
                    </a:lnTo>
                    <a:close/>
                    <a:moveTo>
                      <a:pt x="43" y="7"/>
                    </a:moveTo>
                    <a:lnTo>
                      <a:pt x="43" y="11"/>
                    </a:lnTo>
                    <a:lnTo>
                      <a:pt x="42" y="13"/>
                    </a:lnTo>
                    <a:lnTo>
                      <a:pt x="45" y="13"/>
                    </a:lnTo>
                    <a:lnTo>
                      <a:pt x="47" y="11"/>
                    </a:lnTo>
                    <a:lnTo>
                      <a:pt x="45" y="7"/>
                    </a:lnTo>
                    <a:lnTo>
                      <a:pt x="43" y="7"/>
                    </a:lnTo>
                    <a:lnTo>
                      <a:pt x="43" y="7"/>
                    </a:lnTo>
                    <a:lnTo>
                      <a:pt x="43" y="7"/>
                    </a:lnTo>
                    <a:close/>
                  </a:path>
                </a:pathLst>
              </a:custGeom>
              <a:solidFill>
                <a:srgbClr val="D9DADB"/>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71" name="Groupe 216"/>
            <p:cNvGrpSpPr/>
            <p:nvPr/>
          </p:nvGrpSpPr>
          <p:grpSpPr>
            <a:xfrm>
              <a:off x="6200775" y="2732088"/>
              <a:ext cx="2936875" cy="3240088"/>
              <a:chOff x="6200775" y="2732088"/>
              <a:chExt cx="2936875" cy="3240088"/>
            </a:xfrm>
          </p:grpSpPr>
          <p:sp>
            <p:nvSpPr>
              <p:cNvPr id="472" name="Freeform 198"/>
              <p:cNvSpPr>
                <a:spLocks noEditPoints="1"/>
              </p:cNvSpPr>
              <p:nvPr/>
            </p:nvSpPr>
            <p:spPr bwMode="auto">
              <a:xfrm>
                <a:off x="7778750" y="2732088"/>
                <a:ext cx="423863" cy="828675"/>
              </a:xfrm>
              <a:custGeom>
                <a:avLst/>
                <a:gdLst/>
                <a:ahLst/>
                <a:cxnLst>
                  <a:cxn ang="0">
                    <a:pos x="111" y="247"/>
                  </a:cxn>
                  <a:cxn ang="0">
                    <a:pos x="3" y="522"/>
                  </a:cxn>
                  <a:cxn ang="0">
                    <a:pos x="5" y="518"/>
                  </a:cxn>
                  <a:cxn ang="0">
                    <a:pos x="59" y="468"/>
                  </a:cxn>
                  <a:cxn ang="0">
                    <a:pos x="59" y="476"/>
                  </a:cxn>
                  <a:cxn ang="0">
                    <a:pos x="80" y="435"/>
                  </a:cxn>
                  <a:cxn ang="0">
                    <a:pos x="82" y="431"/>
                  </a:cxn>
                  <a:cxn ang="0">
                    <a:pos x="170" y="92"/>
                  </a:cxn>
                  <a:cxn ang="0">
                    <a:pos x="177" y="89"/>
                  </a:cxn>
                  <a:cxn ang="0">
                    <a:pos x="177" y="62"/>
                  </a:cxn>
                  <a:cxn ang="0">
                    <a:pos x="191" y="50"/>
                  </a:cxn>
                  <a:cxn ang="0">
                    <a:pos x="181" y="7"/>
                  </a:cxn>
                  <a:cxn ang="0">
                    <a:pos x="214" y="22"/>
                  </a:cxn>
                  <a:cxn ang="0">
                    <a:pos x="252" y="24"/>
                  </a:cxn>
                  <a:cxn ang="0">
                    <a:pos x="262" y="47"/>
                  </a:cxn>
                  <a:cxn ang="0">
                    <a:pos x="252" y="59"/>
                  </a:cxn>
                  <a:cxn ang="0">
                    <a:pos x="231" y="87"/>
                  </a:cxn>
                  <a:cxn ang="0">
                    <a:pos x="189" y="76"/>
                  </a:cxn>
                  <a:cxn ang="0">
                    <a:pos x="203" y="101"/>
                  </a:cxn>
                  <a:cxn ang="0">
                    <a:pos x="184" y="200"/>
                  </a:cxn>
                  <a:cxn ang="0">
                    <a:pos x="184" y="205"/>
                  </a:cxn>
                  <a:cxn ang="0">
                    <a:pos x="59" y="322"/>
                  </a:cxn>
                  <a:cxn ang="0">
                    <a:pos x="54" y="325"/>
                  </a:cxn>
                  <a:cxn ang="0">
                    <a:pos x="50" y="330"/>
                  </a:cxn>
                  <a:cxn ang="0">
                    <a:pos x="78" y="335"/>
                  </a:cxn>
                  <a:cxn ang="0">
                    <a:pos x="73" y="342"/>
                  </a:cxn>
                  <a:cxn ang="0">
                    <a:pos x="73" y="335"/>
                  </a:cxn>
                  <a:cxn ang="0">
                    <a:pos x="146" y="292"/>
                  </a:cxn>
                  <a:cxn ang="0">
                    <a:pos x="132" y="292"/>
                  </a:cxn>
                  <a:cxn ang="0">
                    <a:pos x="132" y="308"/>
                  </a:cxn>
                  <a:cxn ang="0">
                    <a:pos x="130" y="292"/>
                  </a:cxn>
                  <a:cxn ang="0">
                    <a:pos x="108" y="311"/>
                  </a:cxn>
                  <a:cxn ang="0">
                    <a:pos x="94" y="382"/>
                  </a:cxn>
                  <a:cxn ang="0">
                    <a:pos x="97" y="372"/>
                  </a:cxn>
                  <a:cxn ang="0">
                    <a:pos x="95" y="360"/>
                  </a:cxn>
                  <a:cxn ang="0">
                    <a:pos x="104" y="325"/>
                  </a:cxn>
                  <a:cxn ang="0">
                    <a:pos x="90" y="311"/>
                  </a:cxn>
                  <a:cxn ang="0">
                    <a:pos x="104" y="292"/>
                  </a:cxn>
                  <a:cxn ang="0">
                    <a:pos x="135" y="283"/>
                  </a:cxn>
                  <a:cxn ang="0">
                    <a:pos x="149" y="299"/>
                  </a:cxn>
                  <a:cxn ang="0">
                    <a:pos x="175" y="292"/>
                  </a:cxn>
                  <a:cxn ang="0">
                    <a:pos x="177" y="280"/>
                  </a:cxn>
                  <a:cxn ang="0">
                    <a:pos x="189" y="280"/>
                  </a:cxn>
                  <a:cxn ang="0">
                    <a:pos x="214" y="275"/>
                  </a:cxn>
                  <a:cxn ang="0">
                    <a:pos x="222" y="261"/>
                  </a:cxn>
                  <a:cxn ang="0">
                    <a:pos x="231" y="243"/>
                  </a:cxn>
                  <a:cxn ang="0">
                    <a:pos x="234" y="186"/>
                  </a:cxn>
                  <a:cxn ang="0">
                    <a:pos x="234" y="156"/>
                  </a:cxn>
                  <a:cxn ang="0">
                    <a:pos x="212" y="106"/>
                  </a:cxn>
                  <a:cxn ang="0">
                    <a:pos x="208" y="116"/>
                  </a:cxn>
                  <a:cxn ang="0">
                    <a:pos x="193" y="115"/>
                  </a:cxn>
                  <a:cxn ang="0">
                    <a:pos x="189" y="146"/>
                  </a:cxn>
                  <a:cxn ang="0">
                    <a:pos x="191" y="205"/>
                  </a:cxn>
                  <a:cxn ang="0">
                    <a:pos x="167" y="215"/>
                  </a:cxn>
                  <a:cxn ang="0">
                    <a:pos x="155" y="242"/>
                  </a:cxn>
                  <a:cxn ang="0">
                    <a:pos x="148" y="261"/>
                  </a:cxn>
                  <a:cxn ang="0">
                    <a:pos x="113" y="264"/>
                  </a:cxn>
                  <a:cxn ang="0">
                    <a:pos x="82" y="294"/>
                  </a:cxn>
                  <a:cxn ang="0">
                    <a:pos x="62" y="320"/>
                  </a:cxn>
                  <a:cxn ang="0">
                    <a:pos x="66" y="334"/>
                  </a:cxn>
                  <a:cxn ang="0">
                    <a:pos x="73" y="325"/>
                  </a:cxn>
                  <a:cxn ang="0">
                    <a:pos x="80" y="356"/>
                  </a:cxn>
                  <a:cxn ang="0">
                    <a:pos x="90" y="355"/>
                  </a:cxn>
                </a:cxnLst>
                <a:rect l="0" t="0" r="r" b="b"/>
                <a:pathLst>
                  <a:path w="267" h="522">
                    <a:moveTo>
                      <a:pt x="108" y="250"/>
                    </a:moveTo>
                    <a:lnTo>
                      <a:pt x="108" y="252"/>
                    </a:lnTo>
                    <a:lnTo>
                      <a:pt x="108" y="252"/>
                    </a:lnTo>
                    <a:lnTo>
                      <a:pt x="104" y="252"/>
                    </a:lnTo>
                    <a:lnTo>
                      <a:pt x="108" y="250"/>
                    </a:lnTo>
                    <a:lnTo>
                      <a:pt x="108" y="250"/>
                    </a:lnTo>
                    <a:lnTo>
                      <a:pt x="108" y="250"/>
                    </a:lnTo>
                    <a:lnTo>
                      <a:pt x="108" y="250"/>
                    </a:lnTo>
                    <a:close/>
                    <a:moveTo>
                      <a:pt x="108" y="250"/>
                    </a:moveTo>
                    <a:lnTo>
                      <a:pt x="108" y="249"/>
                    </a:lnTo>
                    <a:lnTo>
                      <a:pt x="109" y="247"/>
                    </a:lnTo>
                    <a:lnTo>
                      <a:pt x="111" y="247"/>
                    </a:lnTo>
                    <a:lnTo>
                      <a:pt x="111" y="250"/>
                    </a:lnTo>
                    <a:lnTo>
                      <a:pt x="109" y="250"/>
                    </a:lnTo>
                    <a:lnTo>
                      <a:pt x="108" y="250"/>
                    </a:lnTo>
                    <a:lnTo>
                      <a:pt x="108" y="250"/>
                    </a:lnTo>
                    <a:lnTo>
                      <a:pt x="108" y="250"/>
                    </a:lnTo>
                    <a:lnTo>
                      <a:pt x="108" y="250"/>
                    </a:lnTo>
                    <a:close/>
                    <a:moveTo>
                      <a:pt x="3" y="522"/>
                    </a:moveTo>
                    <a:lnTo>
                      <a:pt x="2" y="518"/>
                    </a:lnTo>
                    <a:lnTo>
                      <a:pt x="0" y="518"/>
                    </a:lnTo>
                    <a:lnTo>
                      <a:pt x="0" y="522"/>
                    </a:lnTo>
                    <a:lnTo>
                      <a:pt x="2" y="522"/>
                    </a:lnTo>
                    <a:lnTo>
                      <a:pt x="3" y="522"/>
                    </a:lnTo>
                    <a:lnTo>
                      <a:pt x="3" y="522"/>
                    </a:lnTo>
                    <a:lnTo>
                      <a:pt x="3" y="522"/>
                    </a:lnTo>
                    <a:lnTo>
                      <a:pt x="3" y="522"/>
                    </a:lnTo>
                    <a:close/>
                    <a:moveTo>
                      <a:pt x="5" y="518"/>
                    </a:moveTo>
                    <a:lnTo>
                      <a:pt x="5" y="516"/>
                    </a:lnTo>
                    <a:lnTo>
                      <a:pt x="9" y="518"/>
                    </a:lnTo>
                    <a:lnTo>
                      <a:pt x="9" y="522"/>
                    </a:lnTo>
                    <a:lnTo>
                      <a:pt x="5" y="518"/>
                    </a:lnTo>
                    <a:lnTo>
                      <a:pt x="5" y="518"/>
                    </a:lnTo>
                    <a:lnTo>
                      <a:pt x="5" y="518"/>
                    </a:lnTo>
                    <a:lnTo>
                      <a:pt x="5" y="518"/>
                    </a:lnTo>
                    <a:lnTo>
                      <a:pt x="5" y="518"/>
                    </a:lnTo>
                    <a:close/>
                    <a:moveTo>
                      <a:pt x="21" y="506"/>
                    </a:moveTo>
                    <a:lnTo>
                      <a:pt x="21" y="509"/>
                    </a:lnTo>
                    <a:lnTo>
                      <a:pt x="21" y="511"/>
                    </a:lnTo>
                    <a:lnTo>
                      <a:pt x="24" y="511"/>
                    </a:lnTo>
                    <a:lnTo>
                      <a:pt x="24" y="508"/>
                    </a:lnTo>
                    <a:lnTo>
                      <a:pt x="21" y="506"/>
                    </a:lnTo>
                    <a:lnTo>
                      <a:pt x="21" y="506"/>
                    </a:lnTo>
                    <a:lnTo>
                      <a:pt x="21" y="506"/>
                    </a:lnTo>
                    <a:lnTo>
                      <a:pt x="21" y="506"/>
                    </a:lnTo>
                    <a:close/>
                    <a:moveTo>
                      <a:pt x="59" y="476"/>
                    </a:moveTo>
                    <a:lnTo>
                      <a:pt x="57" y="471"/>
                    </a:lnTo>
                    <a:lnTo>
                      <a:pt x="59" y="468"/>
                    </a:lnTo>
                    <a:lnTo>
                      <a:pt x="59" y="466"/>
                    </a:lnTo>
                    <a:lnTo>
                      <a:pt x="59" y="466"/>
                    </a:lnTo>
                    <a:lnTo>
                      <a:pt x="62" y="466"/>
                    </a:lnTo>
                    <a:lnTo>
                      <a:pt x="62" y="462"/>
                    </a:lnTo>
                    <a:lnTo>
                      <a:pt x="64" y="466"/>
                    </a:lnTo>
                    <a:lnTo>
                      <a:pt x="62" y="466"/>
                    </a:lnTo>
                    <a:lnTo>
                      <a:pt x="62" y="469"/>
                    </a:lnTo>
                    <a:lnTo>
                      <a:pt x="59" y="471"/>
                    </a:lnTo>
                    <a:lnTo>
                      <a:pt x="59" y="475"/>
                    </a:lnTo>
                    <a:lnTo>
                      <a:pt x="59" y="476"/>
                    </a:lnTo>
                    <a:lnTo>
                      <a:pt x="59" y="476"/>
                    </a:lnTo>
                    <a:lnTo>
                      <a:pt x="59" y="476"/>
                    </a:lnTo>
                    <a:lnTo>
                      <a:pt x="59" y="476"/>
                    </a:lnTo>
                    <a:close/>
                    <a:moveTo>
                      <a:pt x="73" y="440"/>
                    </a:moveTo>
                    <a:lnTo>
                      <a:pt x="76" y="443"/>
                    </a:lnTo>
                    <a:lnTo>
                      <a:pt x="76" y="445"/>
                    </a:lnTo>
                    <a:lnTo>
                      <a:pt x="75" y="447"/>
                    </a:lnTo>
                    <a:lnTo>
                      <a:pt x="73" y="443"/>
                    </a:lnTo>
                    <a:lnTo>
                      <a:pt x="73" y="443"/>
                    </a:lnTo>
                    <a:lnTo>
                      <a:pt x="73" y="440"/>
                    </a:lnTo>
                    <a:lnTo>
                      <a:pt x="73" y="440"/>
                    </a:lnTo>
                    <a:lnTo>
                      <a:pt x="73" y="440"/>
                    </a:lnTo>
                    <a:lnTo>
                      <a:pt x="73" y="440"/>
                    </a:lnTo>
                    <a:close/>
                    <a:moveTo>
                      <a:pt x="80" y="435"/>
                    </a:moveTo>
                    <a:lnTo>
                      <a:pt x="80" y="435"/>
                    </a:lnTo>
                    <a:lnTo>
                      <a:pt x="76" y="435"/>
                    </a:lnTo>
                    <a:lnTo>
                      <a:pt x="75" y="431"/>
                    </a:lnTo>
                    <a:lnTo>
                      <a:pt x="76" y="431"/>
                    </a:lnTo>
                    <a:lnTo>
                      <a:pt x="80" y="429"/>
                    </a:lnTo>
                    <a:lnTo>
                      <a:pt x="80" y="429"/>
                    </a:lnTo>
                    <a:lnTo>
                      <a:pt x="82" y="426"/>
                    </a:lnTo>
                    <a:lnTo>
                      <a:pt x="82" y="426"/>
                    </a:lnTo>
                    <a:lnTo>
                      <a:pt x="85" y="426"/>
                    </a:lnTo>
                    <a:lnTo>
                      <a:pt x="85" y="426"/>
                    </a:lnTo>
                    <a:lnTo>
                      <a:pt x="85" y="429"/>
                    </a:lnTo>
                    <a:lnTo>
                      <a:pt x="82" y="431"/>
                    </a:lnTo>
                    <a:lnTo>
                      <a:pt x="82" y="435"/>
                    </a:lnTo>
                    <a:lnTo>
                      <a:pt x="80" y="435"/>
                    </a:lnTo>
                    <a:lnTo>
                      <a:pt x="80" y="435"/>
                    </a:lnTo>
                    <a:lnTo>
                      <a:pt x="80" y="435"/>
                    </a:lnTo>
                    <a:lnTo>
                      <a:pt x="80" y="435"/>
                    </a:lnTo>
                    <a:close/>
                    <a:moveTo>
                      <a:pt x="168" y="94"/>
                    </a:moveTo>
                    <a:lnTo>
                      <a:pt x="167" y="92"/>
                    </a:lnTo>
                    <a:lnTo>
                      <a:pt x="167" y="89"/>
                    </a:lnTo>
                    <a:lnTo>
                      <a:pt x="168" y="85"/>
                    </a:lnTo>
                    <a:lnTo>
                      <a:pt x="170" y="85"/>
                    </a:lnTo>
                    <a:lnTo>
                      <a:pt x="170" y="89"/>
                    </a:lnTo>
                    <a:lnTo>
                      <a:pt x="170" y="92"/>
                    </a:lnTo>
                    <a:lnTo>
                      <a:pt x="168" y="94"/>
                    </a:lnTo>
                    <a:lnTo>
                      <a:pt x="168" y="94"/>
                    </a:lnTo>
                    <a:lnTo>
                      <a:pt x="168" y="94"/>
                    </a:lnTo>
                    <a:lnTo>
                      <a:pt x="168" y="94"/>
                    </a:lnTo>
                    <a:close/>
                    <a:moveTo>
                      <a:pt x="189" y="109"/>
                    </a:moveTo>
                    <a:lnTo>
                      <a:pt x="186" y="109"/>
                    </a:lnTo>
                    <a:lnTo>
                      <a:pt x="184" y="104"/>
                    </a:lnTo>
                    <a:lnTo>
                      <a:pt x="184" y="104"/>
                    </a:lnTo>
                    <a:lnTo>
                      <a:pt x="184" y="99"/>
                    </a:lnTo>
                    <a:lnTo>
                      <a:pt x="181" y="92"/>
                    </a:lnTo>
                    <a:lnTo>
                      <a:pt x="181" y="90"/>
                    </a:lnTo>
                    <a:lnTo>
                      <a:pt x="177" y="89"/>
                    </a:lnTo>
                    <a:lnTo>
                      <a:pt x="175" y="89"/>
                    </a:lnTo>
                    <a:lnTo>
                      <a:pt x="175" y="85"/>
                    </a:lnTo>
                    <a:lnTo>
                      <a:pt x="175" y="82"/>
                    </a:lnTo>
                    <a:lnTo>
                      <a:pt x="174" y="76"/>
                    </a:lnTo>
                    <a:lnTo>
                      <a:pt x="175" y="76"/>
                    </a:lnTo>
                    <a:lnTo>
                      <a:pt x="177" y="73"/>
                    </a:lnTo>
                    <a:lnTo>
                      <a:pt x="177" y="73"/>
                    </a:lnTo>
                    <a:lnTo>
                      <a:pt x="181" y="73"/>
                    </a:lnTo>
                    <a:lnTo>
                      <a:pt x="181" y="69"/>
                    </a:lnTo>
                    <a:lnTo>
                      <a:pt x="184" y="68"/>
                    </a:lnTo>
                    <a:lnTo>
                      <a:pt x="181" y="66"/>
                    </a:lnTo>
                    <a:lnTo>
                      <a:pt x="177" y="62"/>
                    </a:lnTo>
                    <a:lnTo>
                      <a:pt x="177" y="62"/>
                    </a:lnTo>
                    <a:lnTo>
                      <a:pt x="177" y="61"/>
                    </a:lnTo>
                    <a:lnTo>
                      <a:pt x="177" y="59"/>
                    </a:lnTo>
                    <a:lnTo>
                      <a:pt x="181" y="57"/>
                    </a:lnTo>
                    <a:lnTo>
                      <a:pt x="184" y="61"/>
                    </a:lnTo>
                    <a:lnTo>
                      <a:pt x="191" y="62"/>
                    </a:lnTo>
                    <a:lnTo>
                      <a:pt x="193" y="61"/>
                    </a:lnTo>
                    <a:lnTo>
                      <a:pt x="193" y="57"/>
                    </a:lnTo>
                    <a:lnTo>
                      <a:pt x="194" y="56"/>
                    </a:lnTo>
                    <a:lnTo>
                      <a:pt x="193" y="54"/>
                    </a:lnTo>
                    <a:lnTo>
                      <a:pt x="191" y="54"/>
                    </a:lnTo>
                    <a:lnTo>
                      <a:pt x="191" y="50"/>
                    </a:lnTo>
                    <a:lnTo>
                      <a:pt x="189" y="49"/>
                    </a:lnTo>
                    <a:lnTo>
                      <a:pt x="189" y="45"/>
                    </a:lnTo>
                    <a:lnTo>
                      <a:pt x="191" y="42"/>
                    </a:lnTo>
                    <a:lnTo>
                      <a:pt x="193" y="42"/>
                    </a:lnTo>
                    <a:lnTo>
                      <a:pt x="193" y="42"/>
                    </a:lnTo>
                    <a:lnTo>
                      <a:pt x="191" y="38"/>
                    </a:lnTo>
                    <a:lnTo>
                      <a:pt x="189" y="33"/>
                    </a:lnTo>
                    <a:lnTo>
                      <a:pt x="189" y="29"/>
                    </a:lnTo>
                    <a:lnTo>
                      <a:pt x="189" y="22"/>
                    </a:lnTo>
                    <a:lnTo>
                      <a:pt x="189" y="19"/>
                    </a:lnTo>
                    <a:lnTo>
                      <a:pt x="184" y="10"/>
                    </a:lnTo>
                    <a:lnTo>
                      <a:pt x="181" y="7"/>
                    </a:lnTo>
                    <a:lnTo>
                      <a:pt x="181" y="3"/>
                    </a:lnTo>
                    <a:lnTo>
                      <a:pt x="181" y="3"/>
                    </a:lnTo>
                    <a:lnTo>
                      <a:pt x="184" y="3"/>
                    </a:lnTo>
                    <a:lnTo>
                      <a:pt x="184" y="0"/>
                    </a:lnTo>
                    <a:lnTo>
                      <a:pt x="184" y="0"/>
                    </a:lnTo>
                    <a:lnTo>
                      <a:pt x="189" y="0"/>
                    </a:lnTo>
                    <a:lnTo>
                      <a:pt x="189" y="2"/>
                    </a:lnTo>
                    <a:lnTo>
                      <a:pt x="194" y="7"/>
                    </a:lnTo>
                    <a:lnTo>
                      <a:pt x="200" y="9"/>
                    </a:lnTo>
                    <a:lnTo>
                      <a:pt x="200" y="12"/>
                    </a:lnTo>
                    <a:lnTo>
                      <a:pt x="208" y="19"/>
                    </a:lnTo>
                    <a:lnTo>
                      <a:pt x="214" y="22"/>
                    </a:lnTo>
                    <a:lnTo>
                      <a:pt x="215" y="24"/>
                    </a:lnTo>
                    <a:lnTo>
                      <a:pt x="219" y="26"/>
                    </a:lnTo>
                    <a:lnTo>
                      <a:pt x="221" y="29"/>
                    </a:lnTo>
                    <a:lnTo>
                      <a:pt x="227" y="31"/>
                    </a:lnTo>
                    <a:lnTo>
                      <a:pt x="231" y="33"/>
                    </a:lnTo>
                    <a:lnTo>
                      <a:pt x="234" y="36"/>
                    </a:lnTo>
                    <a:lnTo>
                      <a:pt x="236" y="35"/>
                    </a:lnTo>
                    <a:lnTo>
                      <a:pt x="236" y="36"/>
                    </a:lnTo>
                    <a:lnTo>
                      <a:pt x="241" y="35"/>
                    </a:lnTo>
                    <a:lnTo>
                      <a:pt x="247" y="31"/>
                    </a:lnTo>
                    <a:lnTo>
                      <a:pt x="250" y="28"/>
                    </a:lnTo>
                    <a:lnTo>
                      <a:pt x="252" y="24"/>
                    </a:lnTo>
                    <a:lnTo>
                      <a:pt x="252" y="22"/>
                    </a:lnTo>
                    <a:lnTo>
                      <a:pt x="254" y="24"/>
                    </a:lnTo>
                    <a:lnTo>
                      <a:pt x="254" y="28"/>
                    </a:lnTo>
                    <a:lnTo>
                      <a:pt x="252" y="33"/>
                    </a:lnTo>
                    <a:lnTo>
                      <a:pt x="252" y="38"/>
                    </a:lnTo>
                    <a:lnTo>
                      <a:pt x="252" y="40"/>
                    </a:lnTo>
                    <a:lnTo>
                      <a:pt x="257" y="42"/>
                    </a:lnTo>
                    <a:lnTo>
                      <a:pt x="259" y="45"/>
                    </a:lnTo>
                    <a:lnTo>
                      <a:pt x="259" y="47"/>
                    </a:lnTo>
                    <a:lnTo>
                      <a:pt x="257" y="49"/>
                    </a:lnTo>
                    <a:lnTo>
                      <a:pt x="261" y="49"/>
                    </a:lnTo>
                    <a:lnTo>
                      <a:pt x="262" y="47"/>
                    </a:lnTo>
                    <a:lnTo>
                      <a:pt x="266" y="45"/>
                    </a:lnTo>
                    <a:lnTo>
                      <a:pt x="267" y="45"/>
                    </a:lnTo>
                    <a:lnTo>
                      <a:pt x="266" y="47"/>
                    </a:lnTo>
                    <a:lnTo>
                      <a:pt x="264" y="47"/>
                    </a:lnTo>
                    <a:lnTo>
                      <a:pt x="264" y="50"/>
                    </a:lnTo>
                    <a:lnTo>
                      <a:pt x="262" y="54"/>
                    </a:lnTo>
                    <a:lnTo>
                      <a:pt x="259" y="54"/>
                    </a:lnTo>
                    <a:lnTo>
                      <a:pt x="259" y="57"/>
                    </a:lnTo>
                    <a:lnTo>
                      <a:pt x="257" y="59"/>
                    </a:lnTo>
                    <a:lnTo>
                      <a:pt x="254" y="59"/>
                    </a:lnTo>
                    <a:lnTo>
                      <a:pt x="254" y="57"/>
                    </a:lnTo>
                    <a:lnTo>
                      <a:pt x="252" y="59"/>
                    </a:lnTo>
                    <a:lnTo>
                      <a:pt x="252" y="61"/>
                    </a:lnTo>
                    <a:lnTo>
                      <a:pt x="248" y="61"/>
                    </a:lnTo>
                    <a:lnTo>
                      <a:pt x="245" y="61"/>
                    </a:lnTo>
                    <a:lnTo>
                      <a:pt x="241" y="61"/>
                    </a:lnTo>
                    <a:lnTo>
                      <a:pt x="236" y="68"/>
                    </a:lnTo>
                    <a:lnTo>
                      <a:pt x="234" y="76"/>
                    </a:lnTo>
                    <a:lnTo>
                      <a:pt x="234" y="82"/>
                    </a:lnTo>
                    <a:lnTo>
                      <a:pt x="234" y="83"/>
                    </a:lnTo>
                    <a:lnTo>
                      <a:pt x="234" y="87"/>
                    </a:lnTo>
                    <a:lnTo>
                      <a:pt x="234" y="90"/>
                    </a:lnTo>
                    <a:lnTo>
                      <a:pt x="231" y="89"/>
                    </a:lnTo>
                    <a:lnTo>
                      <a:pt x="231" y="87"/>
                    </a:lnTo>
                    <a:lnTo>
                      <a:pt x="226" y="85"/>
                    </a:lnTo>
                    <a:lnTo>
                      <a:pt x="221" y="82"/>
                    </a:lnTo>
                    <a:lnTo>
                      <a:pt x="215" y="78"/>
                    </a:lnTo>
                    <a:lnTo>
                      <a:pt x="212" y="76"/>
                    </a:lnTo>
                    <a:lnTo>
                      <a:pt x="208" y="76"/>
                    </a:lnTo>
                    <a:lnTo>
                      <a:pt x="208" y="73"/>
                    </a:lnTo>
                    <a:lnTo>
                      <a:pt x="207" y="73"/>
                    </a:lnTo>
                    <a:lnTo>
                      <a:pt x="203" y="73"/>
                    </a:lnTo>
                    <a:lnTo>
                      <a:pt x="198" y="76"/>
                    </a:lnTo>
                    <a:lnTo>
                      <a:pt x="194" y="82"/>
                    </a:lnTo>
                    <a:lnTo>
                      <a:pt x="193" y="82"/>
                    </a:lnTo>
                    <a:lnTo>
                      <a:pt x="189" y="76"/>
                    </a:lnTo>
                    <a:lnTo>
                      <a:pt x="186" y="76"/>
                    </a:lnTo>
                    <a:lnTo>
                      <a:pt x="184" y="82"/>
                    </a:lnTo>
                    <a:lnTo>
                      <a:pt x="184" y="83"/>
                    </a:lnTo>
                    <a:lnTo>
                      <a:pt x="184" y="85"/>
                    </a:lnTo>
                    <a:lnTo>
                      <a:pt x="189" y="89"/>
                    </a:lnTo>
                    <a:lnTo>
                      <a:pt x="193" y="87"/>
                    </a:lnTo>
                    <a:lnTo>
                      <a:pt x="196" y="92"/>
                    </a:lnTo>
                    <a:lnTo>
                      <a:pt x="200" y="94"/>
                    </a:lnTo>
                    <a:lnTo>
                      <a:pt x="203" y="94"/>
                    </a:lnTo>
                    <a:lnTo>
                      <a:pt x="207" y="95"/>
                    </a:lnTo>
                    <a:lnTo>
                      <a:pt x="203" y="99"/>
                    </a:lnTo>
                    <a:lnTo>
                      <a:pt x="203" y="101"/>
                    </a:lnTo>
                    <a:lnTo>
                      <a:pt x="200" y="99"/>
                    </a:lnTo>
                    <a:lnTo>
                      <a:pt x="194" y="99"/>
                    </a:lnTo>
                    <a:lnTo>
                      <a:pt x="193" y="101"/>
                    </a:lnTo>
                    <a:lnTo>
                      <a:pt x="194" y="101"/>
                    </a:lnTo>
                    <a:lnTo>
                      <a:pt x="193" y="104"/>
                    </a:lnTo>
                    <a:lnTo>
                      <a:pt x="189" y="109"/>
                    </a:lnTo>
                    <a:lnTo>
                      <a:pt x="189" y="109"/>
                    </a:lnTo>
                    <a:lnTo>
                      <a:pt x="189" y="109"/>
                    </a:lnTo>
                    <a:lnTo>
                      <a:pt x="189" y="109"/>
                    </a:lnTo>
                    <a:close/>
                    <a:moveTo>
                      <a:pt x="184" y="205"/>
                    </a:moveTo>
                    <a:lnTo>
                      <a:pt x="184" y="202"/>
                    </a:lnTo>
                    <a:lnTo>
                      <a:pt x="184" y="200"/>
                    </a:lnTo>
                    <a:lnTo>
                      <a:pt x="184" y="198"/>
                    </a:lnTo>
                    <a:lnTo>
                      <a:pt x="181" y="200"/>
                    </a:lnTo>
                    <a:lnTo>
                      <a:pt x="181" y="198"/>
                    </a:lnTo>
                    <a:lnTo>
                      <a:pt x="184" y="193"/>
                    </a:lnTo>
                    <a:lnTo>
                      <a:pt x="184" y="193"/>
                    </a:lnTo>
                    <a:lnTo>
                      <a:pt x="184" y="193"/>
                    </a:lnTo>
                    <a:lnTo>
                      <a:pt x="184" y="196"/>
                    </a:lnTo>
                    <a:lnTo>
                      <a:pt x="186" y="196"/>
                    </a:lnTo>
                    <a:lnTo>
                      <a:pt x="186" y="198"/>
                    </a:lnTo>
                    <a:lnTo>
                      <a:pt x="186" y="202"/>
                    </a:lnTo>
                    <a:lnTo>
                      <a:pt x="184" y="205"/>
                    </a:lnTo>
                    <a:lnTo>
                      <a:pt x="184" y="205"/>
                    </a:lnTo>
                    <a:lnTo>
                      <a:pt x="184" y="205"/>
                    </a:lnTo>
                    <a:lnTo>
                      <a:pt x="184" y="205"/>
                    </a:lnTo>
                    <a:lnTo>
                      <a:pt x="184" y="205"/>
                    </a:lnTo>
                    <a:close/>
                    <a:moveTo>
                      <a:pt x="59" y="322"/>
                    </a:moveTo>
                    <a:lnTo>
                      <a:pt x="59" y="323"/>
                    </a:lnTo>
                    <a:lnTo>
                      <a:pt x="62" y="322"/>
                    </a:lnTo>
                    <a:lnTo>
                      <a:pt x="59" y="320"/>
                    </a:lnTo>
                    <a:lnTo>
                      <a:pt x="59" y="320"/>
                    </a:lnTo>
                    <a:lnTo>
                      <a:pt x="59" y="322"/>
                    </a:lnTo>
                    <a:lnTo>
                      <a:pt x="59" y="322"/>
                    </a:lnTo>
                    <a:lnTo>
                      <a:pt x="59" y="322"/>
                    </a:lnTo>
                    <a:lnTo>
                      <a:pt x="59" y="322"/>
                    </a:lnTo>
                    <a:close/>
                    <a:moveTo>
                      <a:pt x="57" y="323"/>
                    </a:moveTo>
                    <a:lnTo>
                      <a:pt x="59" y="325"/>
                    </a:lnTo>
                    <a:lnTo>
                      <a:pt x="59" y="323"/>
                    </a:lnTo>
                    <a:lnTo>
                      <a:pt x="57" y="323"/>
                    </a:lnTo>
                    <a:lnTo>
                      <a:pt x="57" y="323"/>
                    </a:lnTo>
                    <a:lnTo>
                      <a:pt x="57" y="323"/>
                    </a:lnTo>
                    <a:lnTo>
                      <a:pt x="57" y="323"/>
                    </a:lnTo>
                    <a:close/>
                    <a:moveTo>
                      <a:pt x="54" y="325"/>
                    </a:moveTo>
                    <a:lnTo>
                      <a:pt x="57" y="327"/>
                    </a:lnTo>
                    <a:lnTo>
                      <a:pt x="57" y="325"/>
                    </a:lnTo>
                    <a:lnTo>
                      <a:pt x="54" y="325"/>
                    </a:lnTo>
                    <a:lnTo>
                      <a:pt x="54" y="325"/>
                    </a:lnTo>
                    <a:lnTo>
                      <a:pt x="54" y="325"/>
                    </a:lnTo>
                    <a:lnTo>
                      <a:pt x="54" y="325"/>
                    </a:lnTo>
                    <a:close/>
                    <a:moveTo>
                      <a:pt x="54" y="327"/>
                    </a:moveTo>
                    <a:lnTo>
                      <a:pt x="54" y="328"/>
                    </a:lnTo>
                    <a:lnTo>
                      <a:pt x="54" y="328"/>
                    </a:lnTo>
                    <a:lnTo>
                      <a:pt x="54" y="327"/>
                    </a:lnTo>
                    <a:lnTo>
                      <a:pt x="54" y="327"/>
                    </a:lnTo>
                    <a:lnTo>
                      <a:pt x="54" y="327"/>
                    </a:lnTo>
                    <a:lnTo>
                      <a:pt x="54" y="327"/>
                    </a:lnTo>
                    <a:close/>
                    <a:moveTo>
                      <a:pt x="50" y="337"/>
                    </a:moveTo>
                    <a:lnTo>
                      <a:pt x="49" y="332"/>
                    </a:lnTo>
                    <a:lnTo>
                      <a:pt x="50" y="330"/>
                    </a:lnTo>
                    <a:lnTo>
                      <a:pt x="50" y="328"/>
                    </a:lnTo>
                    <a:lnTo>
                      <a:pt x="50" y="332"/>
                    </a:lnTo>
                    <a:lnTo>
                      <a:pt x="54" y="332"/>
                    </a:lnTo>
                    <a:lnTo>
                      <a:pt x="54" y="335"/>
                    </a:lnTo>
                    <a:lnTo>
                      <a:pt x="54" y="337"/>
                    </a:lnTo>
                    <a:lnTo>
                      <a:pt x="50" y="337"/>
                    </a:lnTo>
                    <a:lnTo>
                      <a:pt x="50" y="337"/>
                    </a:lnTo>
                    <a:lnTo>
                      <a:pt x="50" y="337"/>
                    </a:lnTo>
                    <a:lnTo>
                      <a:pt x="50" y="337"/>
                    </a:lnTo>
                    <a:close/>
                    <a:moveTo>
                      <a:pt x="76" y="339"/>
                    </a:moveTo>
                    <a:lnTo>
                      <a:pt x="76" y="337"/>
                    </a:lnTo>
                    <a:lnTo>
                      <a:pt x="78" y="335"/>
                    </a:lnTo>
                    <a:lnTo>
                      <a:pt x="78" y="335"/>
                    </a:lnTo>
                    <a:lnTo>
                      <a:pt x="78" y="339"/>
                    </a:lnTo>
                    <a:lnTo>
                      <a:pt x="76" y="339"/>
                    </a:lnTo>
                    <a:lnTo>
                      <a:pt x="76" y="339"/>
                    </a:lnTo>
                    <a:lnTo>
                      <a:pt x="76" y="339"/>
                    </a:lnTo>
                    <a:lnTo>
                      <a:pt x="76" y="339"/>
                    </a:lnTo>
                    <a:close/>
                    <a:moveTo>
                      <a:pt x="73" y="342"/>
                    </a:moveTo>
                    <a:lnTo>
                      <a:pt x="75" y="342"/>
                    </a:lnTo>
                    <a:lnTo>
                      <a:pt x="76" y="342"/>
                    </a:lnTo>
                    <a:lnTo>
                      <a:pt x="75" y="344"/>
                    </a:lnTo>
                    <a:lnTo>
                      <a:pt x="73" y="342"/>
                    </a:lnTo>
                    <a:lnTo>
                      <a:pt x="73" y="342"/>
                    </a:lnTo>
                    <a:lnTo>
                      <a:pt x="73" y="342"/>
                    </a:lnTo>
                    <a:lnTo>
                      <a:pt x="73" y="342"/>
                    </a:lnTo>
                    <a:close/>
                    <a:moveTo>
                      <a:pt x="73" y="335"/>
                    </a:moveTo>
                    <a:lnTo>
                      <a:pt x="71" y="337"/>
                    </a:lnTo>
                    <a:lnTo>
                      <a:pt x="71" y="339"/>
                    </a:lnTo>
                    <a:lnTo>
                      <a:pt x="73" y="342"/>
                    </a:lnTo>
                    <a:lnTo>
                      <a:pt x="75" y="342"/>
                    </a:lnTo>
                    <a:lnTo>
                      <a:pt x="75" y="339"/>
                    </a:lnTo>
                    <a:lnTo>
                      <a:pt x="73" y="335"/>
                    </a:lnTo>
                    <a:lnTo>
                      <a:pt x="73" y="335"/>
                    </a:lnTo>
                    <a:lnTo>
                      <a:pt x="73" y="335"/>
                    </a:lnTo>
                    <a:lnTo>
                      <a:pt x="73" y="335"/>
                    </a:lnTo>
                    <a:lnTo>
                      <a:pt x="73" y="335"/>
                    </a:lnTo>
                    <a:lnTo>
                      <a:pt x="73" y="335"/>
                    </a:lnTo>
                    <a:close/>
                    <a:moveTo>
                      <a:pt x="146" y="292"/>
                    </a:moveTo>
                    <a:lnTo>
                      <a:pt x="144" y="289"/>
                    </a:lnTo>
                    <a:lnTo>
                      <a:pt x="144" y="287"/>
                    </a:lnTo>
                    <a:lnTo>
                      <a:pt x="144" y="285"/>
                    </a:lnTo>
                    <a:lnTo>
                      <a:pt x="146" y="283"/>
                    </a:lnTo>
                    <a:lnTo>
                      <a:pt x="148" y="287"/>
                    </a:lnTo>
                    <a:lnTo>
                      <a:pt x="148" y="289"/>
                    </a:lnTo>
                    <a:lnTo>
                      <a:pt x="148" y="292"/>
                    </a:lnTo>
                    <a:lnTo>
                      <a:pt x="148" y="292"/>
                    </a:lnTo>
                    <a:lnTo>
                      <a:pt x="146" y="292"/>
                    </a:lnTo>
                    <a:lnTo>
                      <a:pt x="146" y="292"/>
                    </a:lnTo>
                    <a:lnTo>
                      <a:pt x="146" y="292"/>
                    </a:lnTo>
                    <a:lnTo>
                      <a:pt x="146" y="292"/>
                    </a:lnTo>
                    <a:close/>
                    <a:moveTo>
                      <a:pt x="132" y="292"/>
                    </a:moveTo>
                    <a:lnTo>
                      <a:pt x="135" y="287"/>
                    </a:lnTo>
                    <a:lnTo>
                      <a:pt x="139" y="287"/>
                    </a:lnTo>
                    <a:lnTo>
                      <a:pt x="139" y="289"/>
                    </a:lnTo>
                    <a:lnTo>
                      <a:pt x="135" y="292"/>
                    </a:lnTo>
                    <a:lnTo>
                      <a:pt x="132" y="292"/>
                    </a:lnTo>
                    <a:lnTo>
                      <a:pt x="132" y="292"/>
                    </a:lnTo>
                    <a:lnTo>
                      <a:pt x="132" y="292"/>
                    </a:lnTo>
                    <a:lnTo>
                      <a:pt x="132" y="292"/>
                    </a:lnTo>
                    <a:close/>
                    <a:moveTo>
                      <a:pt x="118" y="327"/>
                    </a:moveTo>
                    <a:lnTo>
                      <a:pt x="118" y="327"/>
                    </a:lnTo>
                    <a:lnTo>
                      <a:pt x="120" y="325"/>
                    </a:lnTo>
                    <a:lnTo>
                      <a:pt x="122" y="327"/>
                    </a:lnTo>
                    <a:lnTo>
                      <a:pt x="123" y="325"/>
                    </a:lnTo>
                    <a:lnTo>
                      <a:pt x="123" y="323"/>
                    </a:lnTo>
                    <a:lnTo>
                      <a:pt x="120" y="320"/>
                    </a:lnTo>
                    <a:lnTo>
                      <a:pt x="122" y="316"/>
                    </a:lnTo>
                    <a:lnTo>
                      <a:pt x="123" y="311"/>
                    </a:lnTo>
                    <a:lnTo>
                      <a:pt x="127" y="311"/>
                    </a:lnTo>
                    <a:lnTo>
                      <a:pt x="127" y="308"/>
                    </a:lnTo>
                    <a:lnTo>
                      <a:pt x="132" y="308"/>
                    </a:lnTo>
                    <a:lnTo>
                      <a:pt x="139" y="311"/>
                    </a:lnTo>
                    <a:lnTo>
                      <a:pt x="139" y="315"/>
                    </a:lnTo>
                    <a:lnTo>
                      <a:pt x="141" y="315"/>
                    </a:lnTo>
                    <a:lnTo>
                      <a:pt x="142" y="308"/>
                    </a:lnTo>
                    <a:lnTo>
                      <a:pt x="146" y="304"/>
                    </a:lnTo>
                    <a:lnTo>
                      <a:pt x="146" y="301"/>
                    </a:lnTo>
                    <a:lnTo>
                      <a:pt x="146" y="301"/>
                    </a:lnTo>
                    <a:lnTo>
                      <a:pt x="144" y="297"/>
                    </a:lnTo>
                    <a:lnTo>
                      <a:pt x="141" y="294"/>
                    </a:lnTo>
                    <a:lnTo>
                      <a:pt x="139" y="294"/>
                    </a:lnTo>
                    <a:lnTo>
                      <a:pt x="135" y="292"/>
                    </a:lnTo>
                    <a:lnTo>
                      <a:pt x="130" y="292"/>
                    </a:lnTo>
                    <a:lnTo>
                      <a:pt x="127" y="295"/>
                    </a:lnTo>
                    <a:lnTo>
                      <a:pt x="127" y="297"/>
                    </a:lnTo>
                    <a:lnTo>
                      <a:pt x="125" y="301"/>
                    </a:lnTo>
                    <a:lnTo>
                      <a:pt x="123" y="302"/>
                    </a:lnTo>
                    <a:lnTo>
                      <a:pt x="120" y="304"/>
                    </a:lnTo>
                    <a:lnTo>
                      <a:pt x="118" y="302"/>
                    </a:lnTo>
                    <a:lnTo>
                      <a:pt x="116" y="299"/>
                    </a:lnTo>
                    <a:lnTo>
                      <a:pt x="115" y="299"/>
                    </a:lnTo>
                    <a:lnTo>
                      <a:pt x="109" y="304"/>
                    </a:lnTo>
                    <a:lnTo>
                      <a:pt x="109" y="308"/>
                    </a:lnTo>
                    <a:lnTo>
                      <a:pt x="108" y="308"/>
                    </a:lnTo>
                    <a:lnTo>
                      <a:pt x="108" y="311"/>
                    </a:lnTo>
                    <a:lnTo>
                      <a:pt x="111" y="315"/>
                    </a:lnTo>
                    <a:lnTo>
                      <a:pt x="111" y="316"/>
                    </a:lnTo>
                    <a:lnTo>
                      <a:pt x="111" y="316"/>
                    </a:lnTo>
                    <a:lnTo>
                      <a:pt x="111" y="320"/>
                    </a:lnTo>
                    <a:lnTo>
                      <a:pt x="113" y="323"/>
                    </a:lnTo>
                    <a:lnTo>
                      <a:pt x="118" y="323"/>
                    </a:lnTo>
                    <a:lnTo>
                      <a:pt x="118" y="327"/>
                    </a:lnTo>
                    <a:lnTo>
                      <a:pt x="118" y="327"/>
                    </a:lnTo>
                    <a:lnTo>
                      <a:pt x="118" y="327"/>
                    </a:lnTo>
                    <a:lnTo>
                      <a:pt x="118" y="327"/>
                    </a:lnTo>
                    <a:close/>
                    <a:moveTo>
                      <a:pt x="95" y="384"/>
                    </a:moveTo>
                    <a:lnTo>
                      <a:pt x="94" y="382"/>
                    </a:lnTo>
                    <a:lnTo>
                      <a:pt x="90" y="382"/>
                    </a:lnTo>
                    <a:lnTo>
                      <a:pt x="90" y="384"/>
                    </a:lnTo>
                    <a:lnTo>
                      <a:pt x="92" y="388"/>
                    </a:lnTo>
                    <a:lnTo>
                      <a:pt x="95" y="388"/>
                    </a:lnTo>
                    <a:lnTo>
                      <a:pt x="95" y="388"/>
                    </a:lnTo>
                    <a:lnTo>
                      <a:pt x="95" y="384"/>
                    </a:lnTo>
                    <a:lnTo>
                      <a:pt x="95" y="384"/>
                    </a:lnTo>
                    <a:lnTo>
                      <a:pt x="95" y="384"/>
                    </a:lnTo>
                    <a:lnTo>
                      <a:pt x="95" y="384"/>
                    </a:lnTo>
                    <a:close/>
                    <a:moveTo>
                      <a:pt x="99" y="381"/>
                    </a:moveTo>
                    <a:lnTo>
                      <a:pt x="97" y="375"/>
                    </a:lnTo>
                    <a:lnTo>
                      <a:pt x="97" y="372"/>
                    </a:lnTo>
                    <a:lnTo>
                      <a:pt x="101" y="375"/>
                    </a:lnTo>
                    <a:lnTo>
                      <a:pt x="101" y="379"/>
                    </a:lnTo>
                    <a:lnTo>
                      <a:pt x="99" y="379"/>
                    </a:lnTo>
                    <a:lnTo>
                      <a:pt x="99" y="381"/>
                    </a:lnTo>
                    <a:lnTo>
                      <a:pt x="99" y="381"/>
                    </a:lnTo>
                    <a:lnTo>
                      <a:pt x="99" y="381"/>
                    </a:lnTo>
                    <a:lnTo>
                      <a:pt x="99" y="381"/>
                    </a:lnTo>
                    <a:close/>
                    <a:moveTo>
                      <a:pt x="92" y="370"/>
                    </a:moveTo>
                    <a:lnTo>
                      <a:pt x="95" y="370"/>
                    </a:lnTo>
                    <a:lnTo>
                      <a:pt x="99" y="365"/>
                    </a:lnTo>
                    <a:lnTo>
                      <a:pt x="95" y="362"/>
                    </a:lnTo>
                    <a:lnTo>
                      <a:pt x="95" y="360"/>
                    </a:lnTo>
                    <a:lnTo>
                      <a:pt x="97" y="358"/>
                    </a:lnTo>
                    <a:lnTo>
                      <a:pt x="101" y="360"/>
                    </a:lnTo>
                    <a:lnTo>
                      <a:pt x="101" y="362"/>
                    </a:lnTo>
                    <a:lnTo>
                      <a:pt x="102" y="356"/>
                    </a:lnTo>
                    <a:lnTo>
                      <a:pt x="102" y="351"/>
                    </a:lnTo>
                    <a:lnTo>
                      <a:pt x="101" y="348"/>
                    </a:lnTo>
                    <a:lnTo>
                      <a:pt x="101" y="339"/>
                    </a:lnTo>
                    <a:lnTo>
                      <a:pt x="101" y="334"/>
                    </a:lnTo>
                    <a:lnTo>
                      <a:pt x="102" y="330"/>
                    </a:lnTo>
                    <a:lnTo>
                      <a:pt x="104" y="327"/>
                    </a:lnTo>
                    <a:lnTo>
                      <a:pt x="104" y="325"/>
                    </a:lnTo>
                    <a:lnTo>
                      <a:pt x="104" y="325"/>
                    </a:lnTo>
                    <a:lnTo>
                      <a:pt x="104" y="322"/>
                    </a:lnTo>
                    <a:lnTo>
                      <a:pt x="102" y="320"/>
                    </a:lnTo>
                    <a:lnTo>
                      <a:pt x="102" y="320"/>
                    </a:lnTo>
                    <a:lnTo>
                      <a:pt x="97" y="320"/>
                    </a:lnTo>
                    <a:lnTo>
                      <a:pt x="95" y="316"/>
                    </a:lnTo>
                    <a:lnTo>
                      <a:pt x="99" y="315"/>
                    </a:lnTo>
                    <a:lnTo>
                      <a:pt x="99" y="315"/>
                    </a:lnTo>
                    <a:lnTo>
                      <a:pt x="99" y="308"/>
                    </a:lnTo>
                    <a:lnTo>
                      <a:pt x="95" y="308"/>
                    </a:lnTo>
                    <a:lnTo>
                      <a:pt x="94" y="308"/>
                    </a:lnTo>
                    <a:lnTo>
                      <a:pt x="94" y="308"/>
                    </a:lnTo>
                    <a:lnTo>
                      <a:pt x="90" y="311"/>
                    </a:lnTo>
                    <a:lnTo>
                      <a:pt x="88" y="311"/>
                    </a:lnTo>
                    <a:lnTo>
                      <a:pt x="85" y="308"/>
                    </a:lnTo>
                    <a:lnTo>
                      <a:pt x="85" y="304"/>
                    </a:lnTo>
                    <a:lnTo>
                      <a:pt x="90" y="302"/>
                    </a:lnTo>
                    <a:lnTo>
                      <a:pt x="95" y="301"/>
                    </a:lnTo>
                    <a:lnTo>
                      <a:pt x="101" y="302"/>
                    </a:lnTo>
                    <a:lnTo>
                      <a:pt x="104" y="304"/>
                    </a:lnTo>
                    <a:lnTo>
                      <a:pt x="104" y="302"/>
                    </a:lnTo>
                    <a:lnTo>
                      <a:pt x="104" y="301"/>
                    </a:lnTo>
                    <a:lnTo>
                      <a:pt x="104" y="295"/>
                    </a:lnTo>
                    <a:lnTo>
                      <a:pt x="104" y="294"/>
                    </a:lnTo>
                    <a:lnTo>
                      <a:pt x="104" y="292"/>
                    </a:lnTo>
                    <a:lnTo>
                      <a:pt x="108" y="292"/>
                    </a:lnTo>
                    <a:lnTo>
                      <a:pt x="108" y="294"/>
                    </a:lnTo>
                    <a:lnTo>
                      <a:pt x="109" y="294"/>
                    </a:lnTo>
                    <a:lnTo>
                      <a:pt x="113" y="292"/>
                    </a:lnTo>
                    <a:lnTo>
                      <a:pt x="118" y="292"/>
                    </a:lnTo>
                    <a:lnTo>
                      <a:pt x="123" y="289"/>
                    </a:lnTo>
                    <a:lnTo>
                      <a:pt x="127" y="289"/>
                    </a:lnTo>
                    <a:lnTo>
                      <a:pt x="127" y="292"/>
                    </a:lnTo>
                    <a:lnTo>
                      <a:pt x="130" y="289"/>
                    </a:lnTo>
                    <a:lnTo>
                      <a:pt x="130" y="287"/>
                    </a:lnTo>
                    <a:lnTo>
                      <a:pt x="135" y="285"/>
                    </a:lnTo>
                    <a:lnTo>
                      <a:pt x="135" y="283"/>
                    </a:lnTo>
                    <a:lnTo>
                      <a:pt x="139" y="280"/>
                    </a:lnTo>
                    <a:lnTo>
                      <a:pt x="142" y="280"/>
                    </a:lnTo>
                    <a:lnTo>
                      <a:pt x="148" y="280"/>
                    </a:lnTo>
                    <a:lnTo>
                      <a:pt x="149" y="280"/>
                    </a:lnTo>
                    <a:lnTo>
                      <a:pt x="153" y="280"/>
                    </a:lnTo>
                    <a:lnTo>
                      <a:pt x="153" y="283"/>
                    </a:lnTo>
                    <a:lnTo>
                      <a:pt x="149" y="287"/>
                    </a:lnTo>
                    <a:lnTo>
                      <a:pt x="149" y="292"/>
                    </a:lnTo>
                    <a:lnTo>
                      <a:pt x="149" y="292"/>
                    </a:lnTo>
                    <a:lnTo>
                      <a:pt x="149" y="294"/>
                    </a:lnTo>
                    <a:lnTo>
                      <a:pt x="149" y="297"/>
                    </a:lnTo>
                    <a:lnTo>
                      <a:pt x="149" y="299"/>
                    </a:lnTo>
                    <a:lnTo>
                      <a:pt x="153" y="302"/>
                    </a:lnTo>
                    <a:lnTo>
                      <a:pt x="155" y="304"/>
                    </a:lnTo>
                    <a:lnTo>
                      <a:pt x="161" y="308"/>
                    </a:lnTo>
                    <a:lnTo>
                      <a:pt x="161" y="308"/>
                    </a:lnTo>
                    <a:lnTo>
                      <a:pt x="165" y="308"/>
                    </a:lnTo>
                    <a:lnTo>
                      <a:pt x="168" y="304"/>
                    </a:lnTo>
                    <a:lnTo>
                      <a:pt x="168" y="301"/>
                    </a:lnTo>
                    <a:lnTo>
                      <a:pt x="170" y="299"/>
                    </a:lnTo>
                    <a:lnTo>
                      <a:pt x="170" y="297"/>
                    </a:lnTo>
                    <a:lnTo>
                      <a:pt x="170" y="294"/>
                    </a:lnTo>
                    <a:lnTo>
                      <a:pt x="172" y="292"/>
                    </a:lnTo>
                    <a:lnTo>
                      <a:pt x="175" y="292"/>
                    </a:lnTo>
                    <a:lnTo>
                      <a:pt x="177" y="292"/>
                    </a:lnTo>
                    <a:lnTo>
                      <a:pt x="177" y="289"/>
                    </a:lnTo>
                    <a:lnTo>
                      <a:pt x="177" y="287"/>
                    </a:lnTo>
                    <a:lnTo>
                      <a:pt x="177" y="283"/>
                    </a:lnTo>
                    <a:lnTo>
                      <a:pt x="172" y="280"/>
                    </a:lnTo>
                    <a:lnTo>
                      <a:pt x="170" y="280"/>
                    </a:lnTo>
                    <a:lnTo>
                      <a:pt x="172" y="275"/>
                    </a:lnTo>
                    <a:lnTo>
                      <a:pt x="174" y="273"/>
                    </a:lnTo>
                    <a:lnTo>
                      <a:pt x="175" y="273"/>
                    </a:lnTo>
                    <a:lnTo>
                      <a:pt x="175" y="275"/>
                    </a:lnTo>
                    <a:lnTo>
                      <a:pt x="175" y="278"/>
                    </a:lnTo>
                    <a:lnTo>
                      <a:pt x="177" y="280"/>
                    </a:lnTo>
                    <a:lnTo>
                      <a:pt x="177" y="278"/>
                    </a:lnTo>
                    <a:lnTo>
                      <a:pt x="177" y="276"/>
                    </a:lnTo>
                    <a:lnTo>
                      <a:pt x="181" y="278"/>
                    </a:lnTo>
                    <a:lnTo>
                      <a:pt x="181" y="278"/>
                    </a:lnTo>
                    <a:lnTo>
                      <a:pt x="184" y="278"/>
                    </a:lnTo>
                    <a:lnTo>
                      <a:pt x="184" y="278"/>
                    </a:lnTo>
                    <a:lnTo>
                      <a:pt x="184" y="280"/>
                    </a:lnTo>
                    <a:lnTo>
                      <a:pt x="181" y="280"/>
                    </a:lnTo>
                    <a:lnTo>
                      <a:pt x="181" y="280"/>
                    </a:lnTo>
                    <a:lnTo>
                      <a:pt x="181" y="283"/>
                    </a:lnTo>
                    <a:lnTo>
                      <a:pt x="184" y="280"/>
                    </a:lnTo>
                    <a:lnTo>
                      <a:pt x="189" y="280"/>
                    </a:lnTo>
                    <a:lnTo>
                      <a:pt x="198" y="280"/>
                    </a:lnTo>
                    <a:lnTo>
                      <a:pt x="203" y="280"/>
                    </a:lnTo>
                    <a:lnTo>
                      <a:pt x="200" y="278"/>
                    </a:lnTo>
                    <a:lnTo>
                      <a:pt x="200" y="275"/>
                    </a:lnTo>
                    <a:lnTo>
                      <a:pt x="200" y="271"/>
                    </a:lnTo>
                    <a:lnTo>
                      <a:pt x="203" y="269"/>
                    </a:lnTo>
                    <a:lnTo>
                      <a:pt x="208" y="269"/>
                    </a:lnTo>
                    <a:lnTo>
                      <a:pt x="208" y="273"/>
                    </a:lnTo>
                    <a:lnTo>
                      <a:pt x="208" y="276"/>
                    </a:lnTo>
                    <a:lnTo>
                      <a:pt x="208" y="278"/>
                    </a:lnTo>
                    <a:lnTo>
                      <a:pt x="212" y="278"/>
                    </a:lnTo>
                    <a:lnTo>
                      <a:pt x="214" y="275"/>
                    </a:lnTo>
                    <a:lnTo>
                      <a:pt x="212" y="268"/>
                    </a:lnTo>
                    <a:lnTo>
                      <a:pt x="212" y="264"/>
                    </a:lnTo>
                    <a:lnTo>
                      <a:pt x="217" y="261"/>
                    </a:lnTo>
                    <a:lnTo>
                      <a:pt x="219" y="261"/>
                    </a:lnTo>
                    <a:lnTo>
                      <a:pt x="219" y="259"/>
                    </a:lnTo>
                    <a:lnTo>
                      <a:pt x="217" y="257"/>
                    </a:lnTo>
                    <a:lnTo>
                      <a:pt x="219" y="252"/>
                    </a:lnTo>
                    <a:lnTo>
                      <a:pt x="221" y="252"/>
                    </a:lnTo>
                    <a:lnTo>
                      <a:pt x="224" y="252"/>
                    </a:lnTo>
                    <a:lnTo>
                      <a:pt x="226" y="255"/>
                    </a:lnTo>
                    <a:lnTo>
                      <a:pt x="224" y="257"/>
                    </a:lnTo>
                    <a:lnTo>
                      <a:pt x="222" y="261"/>
                    </a:lnTo>
                    <a:lnTo>
                      <a:pt x="224" y="271"/>
                    </a:lnTo>
                    <a:lnTo>
                      <a:pt x="226" y="273"/>
                    </a:lnTo>
                    <a:lnTo>
                      <a:pt x="227" y="271"/>
                    </a:lnTo>
                    <a:lnTo>
                      <a:pt x="229" y="268"/>
                    </a:lnTo>
                    <a:lnTo>
                      <a:pt x="231" y="268"/>
                    </a:lnTo>
                    <a:lnTo>
                      <a:pt x="234" y="264"/>
                    </a:lnTo>
                    <a:lnTo>
                      <a:pt x="234" y="259"/>
                    </a:lnTo>
                    <a:lnTo>
                      <a:pt x="234" y="255"/>
                    </a:lnTo>
                    <a:lnTo>
                      <a:pt x="238" y="252"/>
                    </a:lnTo>
                    <a:lnTo>
                      <a:pt x="238" y="252"/>
                    </a:lnTo>
                    <a:lnTo>
                      <a:pt x="236" y="250"/>
                    </a:lnTo>
                    <a:lnTo>
                      <a:pt x="231" y="243"/>
                    </a:lnTo>
                    <a:lnTo>
                      <a:pt x="231" y="240"/>
                    </a:lnTo>
                    <a:lnTo>
                      <a:pt x="231" y="231"/>
                    </a:lnTo>
                    <a:lnTo>
                      <a:pt x="231" y="221"/>
                    </a:lnTo>
                    <a:lnTo>
                      <a:pt x="231" y="215"/>
                    </a:lnTo>
                    <a:lnTo>
                      <a:pt x="229" y="205"/>
                    </a:lnTo>
                    <a:lnTo>
                      <a:pt x="224" y="196"/>
                    </a:lnTo>
                    <a:lnTo>
                      <a:pt x="224" y="193"/>
                    </a:lnTo>
                    <a:lnTo>
                      <a:pt x="226" y="188"/>
                    </a:lnTo>
                    <a:lnTo>
                      <a:pt x="231" y="186"/>
                    </a:lnTo>
                    <a:lnTo>
                      <a:pt x="234" y="186"/>
                    </a:lnTo>
                    <a:lnTo>
                      <a:pt x="234" y="188"/>
                    </a:lnTo>
                    <a:lnTo>
                      <a:pt x="234" y="186"/>
                    </a:lnTo>
                    <a:lnTo>
                      <a:pt x="234" y="182"/>
                    </a:lnTo>
                    <a:lnTo>
                      <a:pt x="234" y="179"/>
                    </a:lnTo>
                    <a:lnTo>
                      <a:pt x="234" y="179"/>
                    </a:lnTo>
                    <a:lnTo>
                      <a:pt x="231" y="174"/>
                    </a:lnTo>
                    <a:lnTo>
                      <a:pt x="231" y="172"/>
                    </a:lnTo>
                    <a:lnTo>
                      <a:pt x="231" y="170"/>
                    </a:lnTo>
                    <a:lnTo>
                      <a:pt x="234" y="169"/>
                    </a:lnTo>
                    <a:lnTo>
                      <a:pt x="234" y="169"/>
                    </a:lnTo>
                    <a:lnTo>
                      <a:pt x="234" y="165"/>
                    </a:lnTo>
                    <a:lnTo>
                      <a:pt x="231" y="163"/>
                    </a:lnTo>
                    <a:lnTo>
                      <a:pt x="231" y="160"/>
                    </a:lnTo>
                    <a:lnTo>
                      <a:pt x="234" y="156"/>
                    </a:lnTo>
                    <a:lnTo>
                      <a:pt x="231" y="155"/>
                    </a:lnTo>
                    <a:lnTo>
                      <a:pt x="231" y="148"/>
                    </a:lnTo>
                    <a:lnTo>
                      <a:pt x="227" y="142"/>
                    </a:lnTo>
                    <a:lnTo>
                      <a:pt x="226" y="142"/>
                    </a:lnTo>
                    <a:lnTo>
                      <a:pt x="224" y="141"/>
                    </a:lnTo>
                    <a:lnTo>
                      <a:pt x="224" y="134"/>
                    </a:lnTo>
                    <a:lnTo>
                      <a:pt x="221" y="132"/>
                    </a:lnTo>
                    <a:lnTo>
                      <a:pt x="214" y="123"/>
                    </a:lnTo>
                    <a:lnTo>
                      <a:pt x="212" y="120"/>
                    </a:lnTo>
                    <a:lnTo>
                      <a:pt x="212" y="115"/>
                    </a:lnTo>
                    <a:lnTo>
                      <a:pt x="212" y="109"/>
                    </a:lnTo>
                    <a:lnTo>
                      <a:pt x="212" y="106"/>
                    </a:lnTo>
                    <a:lnTo>
                      <a:pt x="208" y="109"/>
                    </a:lnTo>
                    <a:lnTo>
                      <a:pt x="208" y="109"/>
                    </a:lnTo>
                    <a:lnTo>
                      <a:pt x="207" y="109"/>
                    </a:lnTo>
                    <a:lnTo>
                      <a:pt x="203" y="106"/>
                    </a:lnTo>
                    <a:lnTo>
                      <a:pt x="200" y="106"/>
                    </a:lnTo>
                    <a:lnTo>
                      <a:pt x="200" y="106"/>
                    </a:lnTo>
                    <a:lnTo>
                      <a:pt x="200" y="111"/>
                    </a:lnTo>
                    <a:lnTo>
                      <a:pt x="200" y="115"/>
                    </a:lnTo>
                    <a:lnTo>
                      <a:pt x="200" y="115"/>
                    </a:lnTo>
                    <a:lnTo>
                      <a:pt x="203" y="115"/>
                    </a:lnTo>
                    <a:lnTo>
                      <a:pt x="208" y="111"/>
                    </a:lnTo>
                    <a:lnTo>
                      <a:pt x="208" y="116"/>
                    </a:lnTo>
                    <a:lnTo>
                      <a:pt x="208" y="118"/>
                    </a:lnTo>
                    <a:lnTo>
                      <a:pt x="207" y="120"/>
                    </a:lnTo>
                    <a:lnTo>
                      <a:pt x="203" y="118"/>
                    </a:lnTo>
                    <a:lnTo>
                      <a:pt x="203" y="118"/>
                    </a:lnTo>
                    <a:lnTo>
                      <a:pt x="203" y="123"/>
                    </a:lnTo>
                    <a:lnTo>
                      <a:pt x="200" y="125"/>
                    </a:lnTo>
                    <a:lnTo>
                      <a:pt x="200" y="123"/>
                    </a:lnTo>
                    <a:lnTo>
                      <a:pt x="200" y="120"/>
                    </a:lnTo>
                    <a:lnTo>
                      <a:pt x="198" y="116"/>
                    </a:lnTo>
                    <a:lnTo>
                      <a:pt x="198" y="115"/>
                    </a:lnTo>
                    <a:lnTo>
                      <a:pt x="194" y="116"/>
                    </a:lnTo>
                    <a:lnTo>
                      <a:pt x="193" y="115"/>
                    </a:lnTo>
                    <a:lnTo>
                      <a:pt x="193" y="118"/>
                    </a:lnTo>
                    <a:lnTo>
                      <a:pt x="194" y="123"/>
                    </a:lnTo>
                    <a:lnTo>
                      <a:pt x="194" y="127"/>
                    </a:lnTo>
                    <a:lnTo>
                      <a:pt x="191" y="127"/>
                    </a:lnTo>
                    <a:lnTo>
                      <a:pt x="189" y="129"/>
                    </a:lnTo>
                    <a:lnTo>
                      <a:pt x="189" y="132"/>
                    </a:lnTo>
                    <a:lnTo>
                      <a:pt x="194" y="137"/>
                    </a:lnTo>
                    <a:lnTo>
                      <a:pt x="196" y="137"/>
                    </a:lnTo>
                    <a:lnTo>
                      <a:pt x="194" y="142"/>
                    </a:lnTo>
                    <a:lnTo>
                      <a:pt x="191" y="144"/>
                    </a:lnTo>
                    <a:lnTo>
                      <a:pt x="189" y="144"/>
                    </a:lnTo>
                    <a:lnTo>
                      <a:pt x="189" y="146"/>
                    </a:lnTo>
                    <a:lnTo>
                      <a:pt x="191" y="149"/>
                    </a:lnTo>
                    <a:lnTo>
                      <a:pt x="194" y="149"/>
                    </a:lnTo>
                    <a:lnTo>
                      <a:pt x="196" y="146"/>
                    </a:lnTo>
                    <a:lnTo>
                      <a:pt x="200" y="155"/>
                    </a:lnTo>
                    <a:lnTo>
                      <a:pt x="200" y="163"/>
                    </a:lnTo>
                    <a:lnTo>
                      <a:pt x="200" y="165"/>
                    </a:lnTo>
                    <a:lnTo>
                      <a:pt x="200" y="174"/>
                    </a:lnTo>
                    <a:lnTo>
                      <a:pt x="198" y="188"/>
                    </a:lnTo>
                    <a:lnTo>
                      <a:pt x="198" y="193"/>
                    </a:lnTo>
                    <a:lnTo>
                      <a:pt x="196" y="196"/>
                    </a:lnTo>
                    <a:lnTo>
                      <a:pt x="193" y="198"/>
                    </a:lnTo>
                    <a:lnTo>
                      <a:pt x="191" y="205"/>
                    </a:lnTo>
                    <a:lnTo>
                      <a:pt x="191" y="210"/>
                    </a:lnTo>
                    <a:lnTo>
                      <a:pt x="189" y="214"/>
                    </a:lnTo>
                    <a:lnTo>
                      <a:pt x="189" y="215"/>
                    </a:lnTo>
                    <a:lnTo>
                      <a:pt x="184" y="221"/>
                    </a:lnTo>
                    <a:lnTo>
                      <a:pt x="177" y="224"/>
                    </a:lnTo>
                    <a:lnTo>
                      <a:pt x="174" y="228"/>
                    </a:lnTo>
                    <a:lnTo>
                      <a:pt x="172" y="229"/>
                    </a:lnTo>
                    <a:lnTo>
                      <a:pt x="167" y="228"/>
                    </a:lnTo>
                    <a:lnTo>
                      <a:pt x="163" y="221"/>
                    </a:lnTo>
                    <a:lnTo>
                      <a:pt x="163" y="221"/>
                    </a:lnTo>
                    <a:lnTo>
                      <a:pt x="165" y="219"/>
                    </a:lnTo>
                    <a:lnTo>
                      <a:pt x="167" y="215"/>
                    </a:lnTo>
                    <a:lnTo>
                      <a:pt x="167" y="214"/>
                    </a:lnTo>
                    <a:lnTo>
                      <a:pt x="168" y="212"/>
                    </a:lnTo>
                    <a:lnTo>
                      <a:pt x="168" y="212"/>
                    </a:lnTo>
                    <a:lnTo>
                      <a:pt x="165" y="212"/>
                    </a:lnTo>
                    <a:lnTo>
                      <a:pt x="161" y="215"/>
                    </a:lnTo>
                    <a:lnTo>
                      <a:pt x="158" y="215"/>
                    </a:lnTo>
                    <a:lnTo>
                      <a:pt x="158" y="221"/>
                    </a:lnTo>
                    <a:lnTo>
                      <a:pt x="161" y="224"/>
                    </a:lnTo>
                    <a:lnTo>
                      <a:pt x="161" y="231"/>
                    </a:lnTo>
                    <a:lnTo>
                      <a:pt x="161" y="236"/>
                    </a:lnTo>
                    <a:lnTo>
                      <a:pt x="155" y="240"/>
                    </a:lnTo>
                    <a:lnTo>
                      <a:pt x="155" y="242"/>
                    </a:lnTo>
                    <a:lnTo>
                      <a:pt x="155" y="243"/>
                    </a:lnTo>
                    <a:lnTo>
                      <a:pt x="155" y="250"/>
                    </a:lnTo>
                    <a:lnTo>
                      <a:pt x="155" y="252"/>
                    </a:lnTo>
                    <a:lnTo>
                      <a:pt x="155" y="255"/>
                    </a:lnTo>
                    <a:lnTo>
                      <a:pt x="155" y="255"/>
                    </a:lnTo>
                    <a:lnTo>
                      <a:pt x="155" y="255"/>
                    </a:lnTo>
                    <a:lnTo>
                      <a:pt x="155" y="257"/>
                    </a:lnTo>
                    <a:lnTo>
                      <a:pt x="153" y="257"/>
                    </a:lnTo>
                    <a:lnTo>
                      <a:pt x="155" y="259"/>
                    </a:lnTo>
                    <a:lnTo>
                      <a:pt x="149" y="261"/>
                    </a:lnTo>
                    <a:lnTo>
                      <a:pt x="149" y="259"/>
                    </a:lnTo>
                    <a:lnTo>
                      <a:pt x="148" y="261"/>
                    </a:lnTo>
                    <a:lnTo>
                      <a:pt x="146" y="261"/>
                    </a:lnTo>
                    <a:lnTo>
                      <a:pt x="144" y="257"/>
                    </a:lnTo>
                    <a:lnTo>
                      <a:pt x="144" y="255"/>
                    </a:lnTo>
                    <a:lnTo>
                      <a:pt x="142" y="257"/>
                    </a:lnTo>
                    <a:lnTo>
                      <a:pt x="139" y="257"/>
                    </a:lnTo>
                    <a:lnTo>
                      <a:pt x="139" y="257"/>
                    </a:lnTo>
                    <a:lnTo>
                      <a:pt x="130" y="259"/>
                    </a:lnTo>
                    <a:lnTo>
                      <a:pt x="127" y="261"/>
                    </a:lnTo>
                    <a:lnTo>
                      <a:pt x="123" y="262"/>
                    </a:lnTo>
                    <a:lnTo>
                      <a:pt x="120" y="262"/>
                    </a:lnTo>
                    <a:lnTo>
                      <a:pt x="115" y="264"/>
                    </a:lnTo>
                    <a:lnTo>
                      <a:pt x="113" y="264"/>
                    </a:lnTo>
                    <a:lnTo>
                      <a:pt x="109" y="264"/>
                    </a:lnTo>
                    <a:lnTo>
                      <a:pt x="104" y="269"/>
                    </a:lnTo>
                    <a:lnTo>
                      <a:pt x="102" y="273"/>
                    </a:lnTo>
                    <a:lnTo>
                      <a:pt x="101" y="275"/>
                    </a:lnTo>
                    <a:lnTo>
                      <a:pt x="101" y="278"/>
                    </a:lnTo>
                    <a:lnTo>
                      <a:pt x="95" y="283"/>
                    </a:lnTo>
                    <a:lnTo>
                      <a:pt x="92" y="283"/>
                    </a:lnTo>
                    <a:lnTo>
                      <a:pt x="88" y="287"/>
                    </a:lnTo>
                    <a:lnTo>
                      <a:pt x="88" y="289"/>
                    </a:lnTo>
                    <a:lnTo>
                      <a:pt x="85" y="292"/>
                    </a:lnTo>
                    <a:lnTo>
                      <a:pt x="82" y="292"/>
                    </a:lnTo>
                    <a:lnTo>
                      <a:pt x="82" y="294"/>
                    </a:lnTo>
                    <a:lnTo>
                      <a:pt x="82" y="301"/>
                    </a:lnTo>
                    <a:lnTo>
                      <a:pt x="82" y="301"/>
                    </a:lnTo>
                    <a:lnTo>
                      <a:pt x="85" y="304"/>
                    </a:lnTo>
                    <a:lnTo>
                      <a:pt x="82" y="306"/>
                    </a:lnTo>
                    <a:lnTo>
                      <a:pt x="80" y="306"/>
                    </a:lnTo>
                    <a:lnTo>
                      <a:pt x="76" y="308"/>
                    </a:lnTo>
                    <a:lnTo>
                      <a:pt x="76" y="311"/>
                    </a:lnTo>
                    <a:lnTo>
                      <a:pt x="73" y="311"/>
                    </a:lnTo>
                    <a:lnTo>
                      <a:pt x="69" y="315"/>
                    </a:lnTo>
                    <a:lnTo>
                      <a:pt x="68" y="320"/>
                    </a:lnTo>
                    <a:lnTo>
                      <a:pt x="66" y="320"/>
                    </a:lnTo>
                    <a:lnTo>
                      <a:pt x="62" y="320"/>
                    </a:lnTo>
                    <a:lnTo>
                      <a:pt x="64" y="320"/>
                    </a:lnTo>
                    <a:lnTo>
                      <a:pt x="66" y="320"/>
                    </a:lnTo>
                    <a:lnTo>
                      <a:pt x="66" y="323"/>
                    </a:lnTo>
                    <a:lnTo>
                      <a:pt x="68" y="327"/>
                    </a:lnTo>
                    <a:lnTo>
                      <a:pt x="68" y="328"/>
                    </a:lnTo>
                    <a:lnTo>
                      <a:pt x="66" y="325"/>
                    </a:lnTo>
                    <a:lnTo>
                      <a:pt x="64" y="323"/>
                    </a:lnTo>
                    <a:lnTo>
                      <a:pt x="64" y="325"/>
                    </a:lnTo>
                    <a:lnTo>
                      <a:pt x="66" y="328"/>
                    </a:lnTo>
                    <a:lnTo>
                      <a:pt x="68" y="330"/>
                    </a:lnTo>
                    <a:lnTo>
                      <a:pt x="68" y="332"/>
                    </a:lnTo>
                    <a:lnTo>
                      <a:pt x="66" y="334"/>
                    </a:lnTo>
                    <a:lnTo>
                      <a:pt x="68" y="334"/>
                    </a:lnTo>
                    <a:lnTo>
                      <a:pt x="69" y="332"/>
                    </a:lnTo>
                    <a:lnTo>
                      <a:pt x="73" y="330"/>
                    </a:lnTo>
                    <a:lnTo>
                      <a:pt x="75" y="330"/>
                    </a:lnTo>
                    <a:lnTo>
                      <a:pt x="73" y="332"/>
                    </a:lnTo>
                    <a:lnTo>
                      <a:pt x="75" y="334"/>
                    </a:lnTo>
                    <a:lnTo>
                      <a:pt x="76" y="332"/>
                    </a:lnTo>
                    <a:lnTo>
                      <a:pt x="76" y="328"/>
                    </a:lnTo>
                    <a:lnTo>
                      <a:pt x="75" y="327"/>
                    </a:lnTo>
                    <a:lnTo>
                      <a:pt x="71" y="328"/>
                    </a:lnTo>
                    <a:lnTo>
                      <a:pt x="71" y="327"/>
                    </a:lnTo>
                    <a:lnTo>
                      <a:pt x="73" y="325"/>
                    </a:lnTo>
                    <a:lnTo>
                      <a:pt x="71" y="322"/>
                    </a:lnTo>
                    <a:lnTo>
                      <a:pt x="73" y="320"/>
                    </a:lnTo>
                    <a:lnTo>
                      <a:pt x="76" y="322"/>
                    </a:lnTo>
                    <a:lnTo>
                      <a:pt x="80" y="327"/>
                    </a:lnTo>
                    <a:lnTo>
                      <a:pt x="80" y="330"/>
                    </a:lnTo>
                    <a:lnTo>
                      <a:pt x="82" y="332"/>
                    </a:lnTo>
                    <a:lnTo>
                      <a:pt x="82" y="339"/>
                    </a:lnTo>
                    <a:lnTo>
                      <a:pt x="78" y="342"/>
                    </a:lnTo>
                    <a:lnTo>
                      <a:pt x="76" y="344"/>
                    </a:lnTo>
                    <a:lnTo>
                      <a:pt x="76" y="348"/>
                    </a:lnTo>
                    <a:lnTo>
                      <a:pt x="80" y="349"/>
                    </a:lnTo>
                    <a:lnTo>
                      <a:pt x="80" y="356"/>
                    </a:lnTo>
                    <a:lnTo>
                      <a:pt x="82" y="360"/>
                    </a:lnTo>
                    <a:lnTo>
                      <a:pt x="82" y="363"/>
                    </a:lnTo>
                    <a:lnTo>
                      <a:pt x="82" y="365"/>
                    </a:lnTo>
                    <a:lnTo>
                      <a:pt x="85" y="367"/>
                    </a:lnTo>
                    <a:lnTo>
                      <a:pt x="85" y="367"/>
                    </a:lnTo>
                    <a:lnTo>
                      <a:pt x="88" y="367"/>
                    </a:lnTo>
                    <a:lnTo>
                      <a:pt x="88" y="367"/>
                    </a:lnTo>
                    <a:lnTo>
                      <a:pt x="88" y="365"/>
                    </a:lnTo>
                    <a:lnTo>
                      <a:pt x="87" y="362"/>
                    </a:lnTo>
                    <a:lnTo>
                      <a:pt x="87" y="356"/>
                    </a:lnTo>
                    <a:lnTo>
                      <a:pt x="88" y="355"/>
                    </a:lnTo>
                    <a:lnTo>
                      <a:pt x="90" y="355"/>
                    </a:lnTo>
                    <a:lnTo>
                      <a:pt x="88" y="356"/>
                    </a:lnTo>
                    <a:lnTo>
                      <a:pt x="88" y="358"/>
                    </a:lnTo>
                    <a:lnTo>
                      <a:pt x="92" y="362"/>
                    </a:lnTo>
                    <a:lnTo>
                      <a:pt x="92" y="367"/>
                    </a:lnTo>
                    <a:lnTo>
                      <a:pt x="92" y="367"/>
                    </a:lnTo>
                    <a:lnTo>
                      <a:pt x="92" y="370"/>
                    </a:lnTo>
                    <a:lnTo>
                      <a:pt x="92" y="370"/>
                    </a:lnTo>
                    <a:lnTo>
                      <a:pt x="92" y="370"/>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3" name="Freeform 199"/>
              <p:cNvSpPr>
                <a:spLocks noEditPoints="1"/>
              </p:cNvSpPr>
              <p:nvPr/>
            </p:nvSpPr>
            <p:spPr bwMode="auto">
              <a:xfrm>
                <a:off x="7632700" y="3700463"/>
                <a:ext cx="269875" cy="411163"/>
              </a:xfrm>
              <a:custGeom>
                <a:avLst/>
                <a:gdLst/>
                <a:ahLst/>
                <a:cxnLst>
                  <a:cxn ang="0">
                    <a:pos x="57" y="5"/>
                  </a:cxn>
                  <a:cxn ang="0">
                    <a:pos x="74" y="11"/>
                  </a:cxn>
                  <a:cxn ang="0">
                    <a:pos x="99" y="99"/>
                  </a:cxn>
                  <a:cxn ang="0">
                    <a:pos x="109" y="111"/>
                  </a:cxn>
                  <a:cxn ang="0">
                    <a:pos x="116" y="127"/>
                  </a:cxn>
                  <a:cxn ang="0">
                    <a:pos x="90" y="106"/>
                  </a:cxn>
                  <a:cxn ang="0">
                    <a:pos x="66" y="110"/>
                  </a:cxn>
                  <a:cxn ang="0">
                    <a:pos x="55" y="91"/>
                  </a:cxn>
                  <a:cxn ang="0">
                    <a:pos x="41" y="70"/>
                  </a:cxn>
                  <a:cxn ang="0">
                    <a:pos x="47" y="30"/>
                  </a:cxn>
                  <a:cxn ang="0">
                    <a:pos x="80" y="23"/>
                  </a:cxn>
                  <a:cxn ang="0">
                    <a:pos x="78" y="65"/>
                  </a:cxn>
                  <a:cxn ang="0">
                    <a:pos x="74" y="98"/>
                  </a:cxn>
                  <a:cxn ang="0">
                    <a:pos x="81" y="91"/>
                  </a:cxn>
                  <a:cxn ang="0">
                    <a:pos x="47" y="106"/>
                  </a:cxn>
                  <a:cxn ang="0">
                    <a:pos x="68" y="139"/>
                  </a:cxn>
                  <a:cxn ang="0">
                    <a:pos x="52" y="115"/>
                  </a:cxn>
                  <a:cxn ang="0">
                    <a:pos x="120" y="103"/>
                  </a:cxn>
                  <a:cxn ang="0">
                    <a:pos x="80" y="118"/>
                  </a:cxn>
                  <a:cxn ang="0">
                    <a:pos x="87" y="129"/>
                  </a:cxn>
                  <a:cxn ang="0">
                    <a:pos x="101" y="124"/>
                  </a:cxn>
                  <a:cxn ang="0">
                    <a:pos x="111" y="131"/>
                  </a:cxn>
                  <a:cxn ang="0">
                    <a:pos x="109" y="132"/>
                  </a:cxn>
                  <a:cxn ang="0">
                    <a:pos x="87" y="171"/>
                  </a:cxn>
                  <a:cxn ang="0">
                    <a:pos x="90" y="148"/>
                  </a:cxn>
                  <a:cxn ang="0">
                    <a:pos x="95" y="165"/>
                  </a:cxn>
                  <a:cxn ang="0">
                    <a:pos x="97" y="165"/>
                  </a:cxn>
                  <a:cxn ang="0">
                    <a:pos x="114" y="178"/>
                  </a:cxn>
                  <a:cxn ang="0">
                    <a:pos x="111" y="188"/>
                  </a:cxn>
                  <a:cxn ang="0">
                    <a:pos x="104" y="167"/>
                  </a:cxn>
                  <a:cxn ang="0">
                    <a:pos x="111" y="190"/>
                  </a:cxn>
                  <a:cxn ang="0">
                    <a:pos x="116" y="191"/>
                  </a:cxn>
                  <a:cxn ang="0">
                    <a:pos x="127" y="176"/>
                  </a:cxn>
                  <a:cxn ang="0">
                    <a:pos x="134" y="195"/>
                  </a:cxn>
                  <a:cxn ang="0">
                    <a:pos x="130" y="148"/>
                  </a:cxn>
                  <a:cxn ang="0">
                    <a:pos x="146" y="146"/>
                  </a:cxn>
                  <a:cxn ang="0">
                    <a:pos x="123" y="131"/>
                  </a:cxn>
                  <a:cxn ang="0">
                    <a:pos x="139" y="155"/>
                  </a:cxn>
                  <a:cxn ang="0">
                    <a:pos x="134" y="176"/>
                  </a:cxn>
                  <a:cxn ang="0">
                    <a:pos x="134" y="155"/>
                  </a:cxn>
                  <a:cxn ang="0">
                    <a:pos x="151" y="165"/>
                  </a:cxn>
                  <a:cxn ang="0">
                    <a:pos x="151" y="183"/>
                  </a:cxn>
                  <a:cxn ang="0">
                    <a:pos x="154" y="183"/>
                  </a:cxn>
                  <a:cxn ang="0">
                    <a:pos x="88" y="228"/>
                  </a:cxn>
                  <a:cxn ang="0">
                    <a:pos x="120" y="207"/>
                  </a:cxn>
                  <a:cxn ang="0">
                    <a:pos x="139" y="198"/>
                  </a:cxn>
                  <a:cxn ang="0">
                    <a:pos x="158" y="193"/>
                  </a:cxn>
                  <a:cxn ang="0">
                    <a:pos x="165" y="219"/>
                  </a:cxn>
                  <a:cxn ang="0">
                    <a:pos x="161" y="247"/>
                  </a:cxn>
                  <a:cxn ang="0">
                    <a:pos x="151" y="258"/>
                  </a:cxn>
                  <a:cxn ang="0">
                    <a:pos x="127" y="247"/>
                  </a:cxn>
                  <a:cxn ang="0">
                    <a:pos x="116" y="221"/>
                  </a:cxn>
                  <a:cxn ang="0">
                    <a:pos x="106" y="226"/>
                  </a:cxn>
                  <a:cxn ang="0">
                    <a:pos x="87" y="242"/>
                  </a:cxn>
                  <a:cxn ang="0">
                    <a:pos x="47" y="143"/>
                  </a:cxn>
                  <a:cxn ang="0">
                    <a:pos x="47" y="143"/>
                  </a:cxn>
                  <a:cxn ang="0">
                    <a:pos x="47" y="169"/>
                  </a:cxn>
                  <a:cxn ang="0">
                    <a:pos x="10" y="205"/>
                  </a:cxn>
                  <a:cxn ang="0">
                    <a:pos x="43" y="171"/>
                  </a:cxn>
                  <a:cxn ang="0">
                    <a:pos x="31" y="171"/>
                  </a:cxn>
                  <a:cxn ang="0">
                    <a:pos x="3" y="207"/>
                  </a:cxn>
                  <a:cxn ang="0">
                    <a:pos x="7" y="211"/>
                  </a:cxn>
                </a:cxnLst>
                <a:rect l="0" t="0" r="r" b="b"/>
                <a:pathLst>
                  <a:path w="170" h="259">
                    <a:moveTo>
                      <a:pt x="59" y="14"/>
                    </a:moveTo>
                    <a:lnTo>
                      <a:pt x="64" y="14"/>
                    </a:lnTo>
                    <a:lnTo>
                      <a:pt x="61" y="14"/>
                    </a:lnTo>
                    <a:lnTo>
                      <a:pt x="59" y="14"/>
                    </a:lnTo>
                    <a:lnTo>
                      <a:pt x="59" y="14"/>
                    </a:lnTo>
                    <a:lnTo>
                      <a:pt x="59" y="14"/>
                    </a:lnTo>
                    <a:lnTo>
                      <a:pt x="59" y="14"/>
                    </a:lnTo>
                    <a:close/>
                    <a:moveTo>
                      <a:pt x="57" y="5"/>
                    </a:moveTo>
                    <a:lnTo>
                      <a:pt x="59" y="7"/>
                    </a:lnTo>
                    <a:lnTo>
                      <a:pt x="55" y="9"/>
                    </a:lnTo>
                    <a:lnTo>
                      <a:pt x="57" y="5"/>
                    </a:lnTo>
                    <a:lnTo>
                      <a:pt x="57" y="5"/>
                    </a:lnTo>
                    <a:lnTo>
                      <a:pt x="57" y="5"/>
                    </a:lnTo>
                    <a:lnTo>
                      <a:pt x="57" y="5"/>
                    </a:lnTo>
                    <a:close/>
                    <a:moveTo>
                      <a:pt x="64" y="0"/>
                    </a:moveTo>
                    <a:lnTo>
                      <a:pt x="62" y="2"/>
                    </a:lnTo>
                    <a:lnTo>
                      <a:pt x="64" y="4"/>
                    </a:lnTo>
                    <a:lnTo>
                      <a:pt x="64" y="0"/>
                    </a:lnTo>
                    <a:lnTo>
                      <a:pt x="64" y="0"/>
                    </a:lnTo>
                    <a:lnTo>
                      <a:pt x="64" y="0"/>
                    </a:lnTo>
                    <a:lnTo>
                      <a:pt x="64" y="0"/>
                    </a:lnTo>
                    <a:close/>
                    <a:moveTo>
                      <a:pt x="73" y="9"/>
                    </a:moveTo>
                    <a:lnTo>
                      <a:pt x="71" y="12"/>
                    </a:lnTo>
                    <a:lnTo>
                      <a:pt x="73" y="14"/>
                    </a:lnTo>
                    <a:lnTo>
                      <a:pt x="74" y="11"/>
                    </a:lnTo>
                    <a:lnTo>
                      <a:pt x="74" y="11"/>
                    </a:lnTo>
                    <a:lnTo>
                      <a:pt x="73" y="9"/>
                    </a:lnTo>
                    <a:lnTo>
                      <a:pt x="73" y="9"/>
                    </a:lnTo>
                    <a:lnTo>
                      <a:pt x="73" y="9"/>
                    </a:lnTo>
                    <a:lnTo>
                      <a:pt x="73" y="9"/>
                    </a:lnTo>
                    <a:close/>
                    <a:moveTo>
                      <a:pt x="74" y="98"/>
                    </a:moveTo>
                    <a:lnTo>
                      <a:pt x="74" y="99"/>
                    </a:lnTo>
                    <a:lnTo>
                      <a:pt x="78" y="103"/>
                    </a:lnTo>
                    <a:lnTo>
                      <a:pt x="83" y="105"/>
                    </a:lnTo>
                    <a:lnTo>
                      <a:pt x="83" y="103"/>
                    </a:lnTo>
                    <a:lnTo>
                      <a:pt x="87" y="101"/>
                    </a:lnTo>
                    <a:lnTo>
                      <a:pt x="90" y="96"/>
                    </a:lnTo>
                    <a:lnTo>
                      <a:pt x="94" y="96"/>
                    </a:lnTo>
                    <a:lnTo>
                      <a:pt x="99" y="99"/>
                    </a:lnTo>
                    <a:lnTo>
                      <a:pt x="101" y="105"/>
                    </a:lnTo>
                    <a:lnTo>
                      <a:pt x="101" y="106"/>
                    </a:lnTo>
                    <a:lnTo>
                      <a:pt x="102" y="110"/>
                    </a:lnTo>
                    <a:lnTo>
                      <a:pt x="104" y="106"/>
                    </a:lnTo>
                    <a:lnTo>
                      <a:pt x="104" y="105"/>
                    </a:lnTo>
                    <a:lnTo>
                      <a:pt x="106" y="103"/>
                    </a:lnTo>
                    <a:lnTo>
                      <a:pt x="106" y="106"/>
                    </a:lnTo>
                    <a:lnTo>
                      <a:pt x="111" y="106"/>
                    </a:lnTo>
                    <a:lnTo>
                      <a:pt x="114" y="110"/>
                    </a:lnTo>
                    <a:lnTo>
                      <a:pt x="114" y="110"/>
                    </a:lnTo>
                    <a:lnTo>
                      <a:pt x="114" y="111"/>
                    </a:lnTo>
                    <a:lnTo>
                      <a:pt x="111" y="110"/>
                    </a:lnTo>
                    <a:lnTo>
                      <a:pt x="109" y="111"/>
                    </a:lnTo>
                    <a:lnTo>
                      <a:pt x="111" y="115"/>
                    </a:lnTo>
                    <a:lnTo>
                      <a:pt x="111" y="118"/>
                    </a:lnTo>
                    <a:lnTo>
                      <a:pt x="111" y="124"/>
                    </a:lnTo>
                    <a:lnTo>
                      <a:pt x="114" y="124"/>
                    </a:lnTo>
                    <a:lnTo>
                      <a:pt x="118" y="124"/>
                    </a:lnTo>
                    <a:lnTo>
                      <a:pt x="121" y="124"/>
                    </a:lnTo>
                    <a:lnTo>
                      <a:pt x="121" y="124"/>
                    </a:lnTo>
                    <a:lnTo>
                      <a:pt x="121" y="125"/>
                    </a:lnTo>
                    <a:lnTo>
                      <a:pt x="121" y="129"/>
                    </a:lnTo>
                    <a:lnTo>
                      <a:pt x="120" y="134"/>
                    </a:lnTo>
                    <a:lnTo>
                      <a:pt x="116" y="132"/>
                    </a:lnTo>
                    <a:lnTo>
                      <a:pt x="114" y="129"/>
                    </a:lnTo>
                    <a:lnTo>
                      <a:pt x="116" y="127"/>
                    </a:lnTo>
                    <a:lnTo>
                      <a:pt x="116" y="125"/>
                    </a:lnTo>
                    <a:lnTo>
                      <a:pt x="114" y="125"/>
                    </a:lnTo>
                    <a:lnTo>
                      <a:pt x="114" y="125"/>
                    </a:lnTo>
                    <a:lnTo>
                      <a:pt x="111" y="127"/>
                    </a:lnTo>
                    <a:lnTo>
                      <a:pt x="106" y="124"/>
                    </a:lnTo>
                    <a:lnTo>
                      <a:pt x="106" y="124"/>
                    </a:lnTo>
                    <a:lnTo>
                      <a:pt x="106" y="118"/>
                    </a:lnTo>
                    <a:lnTo>
                      <a:pt x="104" y="115"/>
                    </a:lnTo>
                    <a:lnTo>
                      <a:pt x="99" y="113"/>
                    </a:lnTo>
                    <a:lnTo>
                      <a:pt x="97" y="110"/>
                    </a:lnTo>
                    <a:lnTo>
                      <a:pt x="94" y="106"/>
                    </a:lnTo>
                    <a:lnTo>
                      <a:pt x="92" y="106"/>
                    </a:lnTo>
                    <a:lnTo>
                      <a:pt x="90" y="106"/>
                    </a:lnTo>
                    <a:lnTo>
                      <a:pt x="90" y="106"/>
                    </a:lnTo>
                    <a:lnTo>
                      <a:pt x="94" y="115"/>
                    </a:lnTo>
                    <a:lnTo>
                      <a:pt x="95" y="118"/>
                    </a:lnTo>
                    <a:lnTo>
                      <a:pt x="94" y="118"/>
                    </a:lnTo>
                    <a:lnTo>
                      <a:pt x="90" y="115"/>
                    </a:lnTo>
                    <a:lnTo>
                      <a:pt x="87" y="111"/>
                    </a:lnTo>
                    <a:lnTo>
                      <a:pt x="87" y="106"/>
                    </a:lnTo>
                    <a:lnTo>
                      <a:pt x="78" y="106"/>
                    </a:lnTo>
                    <a:lnTo>
                      <a:pt x="74" y="106"/>
                    </a:lnTo>
                    <a:lnTo>
                      <a:pt x="73" y="106"/>
                    </a:lnTo>
                    <a:lnTo>
                      <a:pt x="73" y="111"/>
                    </a:lnTo>
                    <a:lnTo>
                      <a:pt x="69" y="113"/>
                    </a:lnTo>
                    <a:lnTo>
                      <a:pt x="66" y="110"/>
                    </a:lnTo>
                    <a:lnTo>
                      <a:pt x="64" y="111"/>
                    </a:lnTo>
                    <a:lnTo>
                      <a:pt x="61" y="111"/>
                    </a:lnTo>
                    <a:lnTo>
                      <a:pt x="62" y="106"/>
                    </a:lnTo>
                    <a:lnTo>
                      <a:pt x="61" y="106"/>
                    </a:lnTo>
                    <a:lnTo>
                      <a:pt x="59" y="106"/>
                    </a:lnTo>
                    <a:lnTo>
                      <a:pt x="57" y="110"/>
                    </a:lnTo>
                    <a:lnTo>
                      <a:pt x="55" y="106"/>
                    </a:lnTo>
                    <a:lnTo>
                      <a:pt x="55" y="101"/>
                    </a:lnTo>
                    <a:lnTo>
                      <a:pt x="55" y="99"/>
                    </a:lnTo>
                    <a:lnTo>
                      <a:pt x="57" y="98"/>
                    </a:lnTo>
                    <a:lnTo>
                      <a:pt x="61" y="92"/>
                    </a:lnTo>
                    <a:lnTo>
                      <a:pt x="57" y="91"/>
                    </a:lnTo>
                    <a:lnTo>
                      <a:pt x="55" y="91"/>
                    </a:lnTo>
                    <a:lnTo>
                      <a:pt x="55" y="92"/>
                    </a:lnTo>
                    <a:lnTo>
                      <a:pt x="55" y="94"/>
                    </a:lnTo>
                    <a:lnTo>
                      <a:pt x="55" y="96"/>
                    </a:lnTo>
                    <a:lnTo>
                      <a:pt x="52" y="96"/>
                    </a:lnTo>
                    <a:lnTo>
                      <a:pt x="50" y="92"/>
                    </a:lnTo>
                    <a:lnTo>
                      <a:pt x="50" y="91"/>
                    </a:lnTo>
                    <a:lnTo>
                      <a:pt x="47" y="87"/>
                    </a:lnTo>
                    <a:lnTo>
                      <a:pt x="47" y="91"/>
                    </a:lnTo>
                    <a:lnTo>
                      <a:pt x="45" y="87"/>
                    </a:lnTo>
                    <a:lnTo>
                      <a:pt x="45" y="82"/>
                    </a:lnTo>
                    <a:lnTo>
                      <a:pt x="41" y="78"/>
                    </a:lnTo>
                    <a:lnTo>
                      <a:pt x="41" y="73"/>
                    </a:lnTo>
                    <a:lnTo>
                      <a:pt x="41" y="70"/>
                    </a:lnTo>
                    <a:lnTo>
                      <a:pt x="41" y="68"/>
                    </a:lnTo>
                    <a:lnTo>
                      <a:pt x="40" y="68"/>
                    </a:lnTo>
                    <a:lnTo>
                      <a:pt x="38" y="65"/>
                    </a:lnTo>
                    <a:lnTo>
                      <a:pt x="40" y="59"/>
                    </a:lnTo>
                    <a:lnTo>
                      <a:pt x="41" y="63"/>
                    </a:lnTo>
                    <a:lnTo>
                      <a:pt x="45" y="63"/>
                    </a:lnTo>
                    <a:lnTo>
                      <a:pt x="47" y="63"/>
                    </a:lnTo>
                    <a:lnTo>
                      <a:pt x="47" y="59"/>
                    </a:lnTo>
                    <a:lnTo>
                      <a:pt x="45" y="54"/>
                    </a:lnTo>
                    <a:lnTo>
                      <a:pt x="47" y="51"/>
                    </a:lnTo>
                    <a:lnTo>
                      <a:pt x="47" y="42"/>
                    </a:lnTo>
                    <a:lnTo>
                      <a:pt x="47" y="35"/>
                    </a:lnTo>
                    <a:lnTo>
                      <a:pt x="47" y="30"/>
                    </a:lnTo>
                    <a:lnTo>
                      <a:pt x="50" y="23"/>
                    </a:lnTo>
                    <a:lnTo>
                      <a:pt x="52" y="19"/>
                    </a:lnTo>
                    <a:lnTo>
                      <a:pt x="55" y="18"/>
                    </a:lnTo>
                    <a:lnTo>
                      <a:pt x="62" y="18"/>
                    </a:lnTo>
                    <a:lnTo>
                      <a:pt x="64" y="23"/>
                    </a:lnTo>
                    <a:lnTo>
                      <a:pt x="68" y="23"/>
                    </a:lnTo>
                    <a:lnTo>
                      <a:pt x="68" y="23"/>
                    </a:lnTo>
                    <a:lnTo>
                      <a:pt x="73" y="23"/>
                    </a:lnTo>
                    <a:lnTo>
                      <a:pt x="74" y="19"/>
                    </a:lnTo>
                    <a:lnTo>
                      <a:pt x="74" y="18"/>
                    </a:lnTo>
                    <a:lnTo>
                      <a:pt x="78" y="18"/>
                    </a:lnTo>
                    <a:lnTo>
                      <a:pt x="80" y="23"/>
                    </a:lnTo>
                    <a:lnTo>
                      <a:pt x="80" y="23"/>
                    </a:lnTo>
                    <a:lnTo>
                      <a:pt x="78" y="26"/>
                    </a:lnTo>
                    <a:lnTo>
                      <a:pt x="78" y="33"/>
                    </a:lnTo>
                    <a:lnTo>
                      <a:pt x="80" y="38"/>
                    </a:lnTo>
                    <a:lnTo>
                      <a:pt x="83" y="38"/>
                    </a:lnTo>
                    <a:lnTo>
                      <a:pt x="83" y="44"/>
                    </a:lnTo>
                    <a:lnTo>
                      <a:pt x="83" y="45"/>
                    </a:lnTo>
                    <a:lnTo>
                      <a:pt x="83" y="54"/>
                    </a:lnTo>
                    <a:lnTo>
                      <a:pt x="81" y="58"/>
                    </a:lnTo>
                    <a:lnTo>
                      <a:pt x="83" y="63"/>
                    </a:lnTo>
                    <a:lnTo>
                      <a:pt x="80" y="66"/>
                    </a:lnTo>
                    <a:lnTo>
                      <a:pt x="80" y="65"/>
                    </a:lnTo>
                    <a:lnTo>
                      <a:pt x="81" y="63"/>
                    </a:lnTo>
                    <a:lnTo>
                      <a:pt x="78" y="65"/>
                    </a:lnTo>
                    <a:lnTo>
                      <a:pt x="73" y="70"/>
                    </a:lnTo>
                    <a:lnTo>
                      <a:pt x="71" y="73"/>
                    </a:lnTo>
                    <a:lnTo>
                      <a:pt x="71" y="77"/>
                    </a:lnTo>
                    <a:lnTo>
                      <a:pt x="69" y="78"/>
                    </a:lnTo>
                    <a:lnTo>
                      <a:pt x="69" y="82"/>
                    </a:lnTo>
                    <a:lnTo>
                      <a:pt x="71" y="84"/>
                    </a:lnTo>
                    <a:lnTo>
                      <a:pt x="73" y="91"/>
                    </a:lnTo>
                    <a:lnTo>
                      <a:pt x="74" y="91"/>
                    </a:lnTo>
                    <a:lnTo>
                      <a:pt x="74" y="92"/>
                    </a:lnTo>
                    <a:lnTo>
                      <a:pt x="74" y="98"/>
                    </a:lnTo>
                    <a:lnTo>
                      <a:pt x="74" y="98"/>
                    </a:lnTo>
                    <a:lnTo>
                      <a:pt x="74" y="98"/>
                    </a:lnTo>
                    <a:lnTo>
                      <a:pt x="74" y="98"/>
                    </a:lnTo>
                    <a:close/>
                    <a:moveTo>
                      <a:pt x="81" y="98"/>
                    </a:moveTo>
                    <a:lnTo>
                      <a:pt x="81" y="101"/>
                    </a:lnTo>
                    <a:lnTo>
                      <a:pt x="83" y="103"/>
                    </a:lnTo>
                    <a:lnTo>
                      <a:pt x="83" y="99"/>
                    </a:lnTo>
                    <a:lnTo>
                      <a:pt x="81" y="98"/>
                    </a:lnTo>
                    <a:lnTo>
                      <a:pt x="81" y="98"/>
                    </a:lnTo>
                    <a:lnTo>
                      <a:pt x="81" y="98"/>
                    </a:lnTo>
                    <a:lnTo>
                      <a:pt x="81" y="98"/>
                    </a:lnTo>
                    <a:close/>
                    <a:moveTo>
                      <a:pt x="78" y="84"/>
                    </a:moveTo>
                    <a:lnTo>
                      <a:pt x="80" y="91"/>
                    </a:lnTo>
                    <a:lnTo>
                      <a:pt x="80" y="91"/>
                    </a:lnTo>
                    <a:lnTo>
                      <a:pt x="80" y="94"/>
                    </a:lnTo>
                    <a:lnTo>
                      <a:pt x="81" y="91"/>
                    </a:lnTo>
                    <a:lnTo>
                      <a:pt x="83" y="87"/>
                    </a:lnTo>
                    <a:lnTo>
                      <a:pt x="83" y="84"/>
                    </a:lnTo>
                    <a:lnTo>
                      <a:pt x="81" y="82"/>
                    </a:lnTo>
                    <a:lnTo>
                      <a:pt x="78" y="84"/>
                    </a:lnTo>
                    <a:lnTo>
                      <a:pt x="78" y="84"/>
                    </a:lnTo>
                    <a:lnTo>
                      <a:pt x="78" y="84"/>
                    </a:lnTo>
                    <a:lnTo>
                      <a:pt x="78" y="84"/>
                    </a:lnTo>
                    <a:close/>
                    <a:moveTo>
                      <a:pt x="47" y="106"/>
                    </a:moveTo>
                    <a:lnTo>
                      <a:pt x="47" y="110"/>
                    </a:lnTo>
                    <a:lnTo>
                      <a:pt x="52" y="111"/>
                    </a:lnTo>
                    <a:lnTo>
                      <a:pt x="52" y="111"/>
                    </a:lnTo>
                    <a:lnTo>
                      <a:pt x="50" y="106"/>
                    </a:lnTo>
                    <a:lnTo>
                      <a:pt x="47" y="106"/>
                    </a:lnTo>
                    <a:lnTo>
                      <a:pt x="47" y="106"/>
                    </a:lnTo>
                    <a:lnTo>
                      <a:pt x="47" y="106"/>
                    </a:lnTo>
                    <a:lnTo>
                      <a:pt x="47" y="106"/>
                    </a:lnTo>
                    <a:close/>
                    <a:moveTo>
                      <a:pt x="52" y="115"/>
                    </a:moveTo>
                    <a:lnTo>
                      <a:pt x="52" y="115"/>
                    </a:lnTo>
                    <a:lnTo>
                      <a:pt x="55" y="115"/>
                    </a:lnTo>
                    <a:lnTo>
                      <a:pt x="55" y="120"/>
                    </a:lnTo>
                    <a:lnTo>
                      <a:pt x="59" y="120"/>
                    </a:lnTo>
                    <a:lnTo>
                      <a:pt x="61" y="124"/>
                    </a:lnTo>
                    <a:lnTo>
                      <a:pt x="61" y="129"/>
                    </a:lnTo>
                    <a:lnTo>
                      <a:pt x="64" y="131"/>
                    </a:lnTo>
                    <a:lnTo>
                      <a:pt x="64" y="134"/>
                    </a:lnTo>
                    <a:lnTo>
                      <a:pt x="68" y="139"/>
                    </a:lnTo>
                    <a:lnTo>
                      <a:pt x="71" y="139"/>
                    </a:lnTo>
                    <a:lnTo>
                      <a:pt x="73" y="136"/>
                    </a:lnTo>
                    <a:lnTo>
                      <a:pt x="73" y="134"/>
                    </a:lnTo>
                    <a:lnTo>
                      <a:pt x="74" y="132"/>
                    </a:lnTo>
                    <a:lnTo>
                      <a:pt x="74" y="129"/>
                    </a:lnTo>
                    <a:lnTo>
                      <a:pt x="73" y="127"/>
                    </a:lnTo>
                    <a:lnTo>
                      <a:pt x="74" y="124"/>
                    </a:lnTo>
                    <a:lnTo>
                      <a:pt x="74" y="120"/>
                    </a:lnTo>
                    <a:lnTo>
                      <a:pt x="71" y="118"/>
                    </a:lnTo>
                    <a:lnTo>
                      <a:pt x="64" y="115"/>
                    </a:lnTo>
                    <a:lnTo>
                      <a:pt x="59" y="115"/>
                    </a:lnTo>
                    <a:lnTo>
                      <a:pt x="55" y="113"/>
                    </a:lnTo>
                    <a:lnTo>
                      <a:pt x="52" y="115"/>
                    </a:lnTo>
                    <a:lnTo>
                      <a:pt x="52" y="115"/>
                    </a:lnTo>
                    <a:lnTo>
                      <a:pt x="52" y="115"/>
                    </a:lnTo>
                    <a:lnTo>
                      <a:pt x="52" y="115"/>
                    </a:lnTo>
                    <a:close/>
                    <a:moveTo>
                      <a:pt x="120" y="103"/>
                    </a:moveTo>
                    <a:lnTo>
                      <a:pt x="118" y="105"/>
                    </a:lnTo>
                    <a:lnTo>
                      <a:pt x="120" y="106"/>
                    </a:lnTo>
                    <a:lnTo>
                      <a:pt x="118" y="111"/>
                    </a:lnTo>
                    <a:lnTo>
                      <a:pt x="116" y="111"/>
                    </a:lnTo>
                    <a:lnTo>
                      <a:pt x="118" y="113"/>
                    </a:lnTo>
                    <a:lnTo>
                      <a:pt x="123" y="113"/>
                    </a:lnTo>
                    <a:lnTo>
                      <a:pt x="125" y="110"/>
                    </a:lnTo>
                    <a:lnTo>
                      <a:pt x="123" y="106"/>
                    </a:lnTo>
                    <a:lnTo>
                      <a:pt x="120" y="103"/>
                    </a:lnTo>
                    <a:lnTo>
                      <a:pt x="120" y="103"/>
                    </a:lnTo>
                    <a:lnTo>
                      <a:pt x="120" y="103"/>
                    </a:lnTo>
                    <a:lnTo>
                      <a:pt x="120" y="103"/>
                    </a:lnTo>
                    <a:close/>
                    <a:moveTo>
                      <a:pt x="80" y="118"/>
                    </a:moveTo>
                    <a:lnTo>
                      <a:pt x="83" y="118"/>
                    </a:lnTo>
                    <a:lnTo>
                      <a:pt x="83" y="118"/>
                    </a:lnTo>
                    <a:lnTo>
                      <a:pt x="87" y="115"/>
                    </a:lnTo>
                    <a:lnTo>
                      <a:pt x="83" y="113"/>
                    </a:lnTo>
                    <a:lnTo>
                      <a:pt x="81" y="111"/>
                    </a:lnTo>
                    <a:lnTo>
                      <a:pt x="80" y="115"/>
                    </a:lnTo>
                    <a:lnTo>
                      <a:pt x="80" y="118"/>
                    </a:lnTo>
                    <a:lnTo>
                      <a:pt x="80" y="118"/>
                    </a:lnTo>
                    <a:lnTo>
                      <a:pt x="80" y="118"/>
                    </a:lnTo>
                    <a:lnTo>
                      <a:pt x="80" y="118"/>
                    </a:lnTo>
                    <a:close/>
                    <a:moveTo>
                      <a:pt x="87" y="129"/>
                    </a:moveTo>
                    <a:lnTo>
                      <a:pt x="83" y="132"/>
                    </a:lnTo>
                    <a:lnTo>
                      <a:pt x="83" y="136"/>
                    </a:lnTo>
                    <a:lnTo>
                      <a:pt x="83" y="141"/>
                    </a:lnTo>
                    <a:lnTo>
                      <a:pt x="87" y="141"/>
                    </a:lnTo>
                    <a:lnTo>
                      <a:pt x="87" y="136"/>
                    </a:lnTo>
                    <a:lnTo>
                      <a:pt x="87" y="132"/>
                    </a:lnTo>
                    <a:lnTo>
                      <a:pt x="87" y="129"/>
                    </a:lnTo>
                    <a:lnTo>
                      <a:pt x="87" y="129"/>
                    </a:lnTo>
                    <a:lnTo>
                      <a:pt x="87" y="129"/>
                    </a:lnTo>
                    <a:lnTo>
                      <a:pt x="87" y="129"/>
                    </a:lnTo>
                    <a:lnTo>
                      <a:pt x="87" y="129"/>
                    </a:lnTo>
                    <a:close/>
                    <a:moveTo>
                      <a:pt x="94" y="132"/>
                    </a:moveTo>
                    <a:lnTo>
                      <a:pt x="92" y="134"/>
                    </a:lnTo>
                    <a:lnTo>
                      <a:pt x="92" y="136"/>
                    </a:lnTo>
                    <a:lnTo>
                      <a:pt x="95" y="136"/>
                    </a:lnTo>
                    <a:lnTo>
                      <a:pt x="95" y="134"/>
                    </a:lnTo>
                    <a:lnTo>
                      <a:pt x="94" y="132"/>
                    </a:lnTo>
                    <a:lnTo>
                      <a:pt x="94" y="132"/>
                    </a:lnTo>
                    <a:lnTo>
                      <a:pt x="94" y="132"/>
                    </a:lnTo>
                    <a:lnTo>
                      <a:pt x="94" y="132"/>
                    </a:lnTo>
                    <a:close/>
                    <a:moveTo>
                      <a:pt x="106" y="124"/>
                    </a:moveTo>
                    <a:lnTo>
                      <a:pt x="101" y="120"/>
                    </a:lnTo>
                    <a:lnTo>
                      <a:pt x="101" y="120"/>
                    </a:lnTo>
                    <a:lnTo>
                      <a:pt x="101" y="124"/>
                    </a:lnTo>
                    <a:lnTo>
                      <a:pt x="104" y="127"/>
                    </a:lnTo>
                    <a:lnTo>
                      <a:pt x="106" y="125"/>
                    </a:lnTo>
                    <a:lnTo>
                      <a:pt x="106" y="124"/>
                    </a:lnTo>
                    <a:lnTo>
                      <a:pt x="106" y="124"/>
                    </a:lnTo>
                    <a:lnTo>
                      <a:pt x="106" y="124"/>
                    </a:lnTo>
                    <a:lnTo>
                      <a:pt x="106" y="124"/>
                    </a:lnTo>
                    <a:close/>
                    <a:moveTo>
                      <a:pt x="111" y="131"/>
                    </a:moveTo>
                    <a:lnTo>
                      <a:pt x="111" y="132"/>
                    </a:lnTo>
                    <a:lnTo>
                      <a:pt x="114" y="136"/>
                    </a:lnTo>
                    <a:lnTo>
                      <a:pt x="116" y="136"/>
                    </a:lnTo>
                    <a:lnTo>
                      <a:pt x="114" y="131"/>
                    </a:lnTo>
                    <a:lnTo>
                      <a:pt x="111" y="131"/>
                    </a:lnTo>
                    <a:lnTo>
                      <a:pt x="111" y="131"/>
                    </a:lnTo>
                    <a:lnTo>
                      <a:pt x="111" y="131"/>
                    </a:lnTo>
                    <a:lnTo>
                      <a:pt x="111" y="131"/>
                    </a:lnTo>
                    <a:close/>
                    <a:moveTo>
                      <a:pt x="106" y="143"/>
                    </a:moveTo>
                    <a:lnTo>
                      <a:pt x="109" y="139"/>
                    </a:lnTo>
                    <a:lnTo>
                      <a:pt x="111" y="139"/>
                    </a:lnTo>
                    <a:lnTo>
                      <a:pt x="114" y="143"/>
                    </a:lnTo>
                    <a:lnTo>
                      <a:pt x="118" y="143"/>
                    </a:lnTo>
                    <a:lnTo>
                      <a:pt x="121" y="143"/>
                    </a:lnTo>
                    <a:lnTo>
                      <a:pt x="121" y="143"/>
                    </a:lnTo>
                    <a:lnTo>
                      <a:pt x="118" y="139"/>
                    </a:lnTo>
                    <a:lnTo>
                      <a:pt x="114" y="136"/>
                    </a:lnTo>
                    <a:lnTo>
                      <a:pt x="111" y="136"/>
                    </a:lnTo>
                    <a:lnTo>
                      <a:pt x="109" y="132"/>
                    </a:lnTo>
                    <a:lnTo>
                      <a:pt x="106" y="132"/>
                    </a:lnTo>
                    <a:lnTo>
                      <a:pt x="106" y="132"/>
                    </a:lnTo>
                    <a:lnTo>
                      <a:pt x="106" y="131"/>
                    </a:lnTo>
                    <a:lnTo>
                      <a:pt x="106" y="136"/>
                    </a:lnTo>
                    <a:lnTo>
                      <a:pt x="106" y="138"/>
                    </a:lnTo>
                    <a:lnTo>
                      <a:pt x="106" y="139"/>
                    </a:lnTo>
                    <a:lnTo>
                      <a:pt x="106" y="141"/>
                    </a:lnTo>
                    <a:lnTo>
                      <a:pt x="106" y="143"/>
                    </a:lnTo>
                    <a:lnTo>
                      <a:pt x="106" y="143"/>
                    </a:lnTo>
                    <a:lnTo>
                      <a:pt x="106" y="143"/>
                    </a:lnTo>
                    <a:lnTo>
                      <a:pt x="106" y="143"/>
                    </a:lnTo>
                    <a:close/>
                    <a:moveTo>
                      <a:pt x="88" y="169"/>
                    </a:moveTo>
                    <a:lnTo>
                      <a:pt x="87" y="171"/>
                    </a:lnTo>
                    <a:lnTo>
                      <a:pt x="87" y="171"/>
                    </a:lnTo>
                    <a:lnTo>
                      <a:pt x="83" y="164"/>
                    </a:lnTo>
                    <a:lnTo>
                      <a:pt x="87" y="160"/>
                    </a:lnTo>
                    <a:lnTo>
                      <a:pt x="87" y="155"/>
                    </a:lnTo>
                    <a:lnTo>
                      <a:pt x="87" y="151"/>
                    </a:lnTo>
                    <a:lnTo>
                      <a:pt x="87" y="146"/>
                    </a:lnTo>
                    <a:lnTo>
                      <a:pt x="83" y="146"/>
                    </a:lnTo>
                    <a:lnTo>
                      <a:pt x="81" y="146"/>
                    </a:lnTo>
                    <a:lnTo>
                      <a:pt x="83" y="143"/>
                    </a:lnTo>
                    <a:lnTo>
                      <a:pt x="87" y="143"/>
                    </a:lnTo>
                    <a:lnTo>
                      <a:pt x="88" y="146"/>
                    </a:lnTo>
                    <a:lnTo>
                      <a:pt x="90" y="146"/>
                    </a:lnTo>
                    <a:lnTo>
                      <a:pt x="90" y="148"/>
                    </a:lnTo>
                    <a:lnTo>
                      <a:pt x="92" y="148"/>
                    </a:lnTo>
                    <a:lnTo>
                      <a:pt x="95" y="148"/>
                    </a:lnTo>
                    <a:lnTo>
                      <a:pt x="99" y="148"/>
                    </a:lnTo>
                    <a:lnTo>
                      <a:pt x="101" y="151"/>
                    </a:lnTo>
                    <a:lnTo>
                      <a:pt x="102" y="151"/>
                    </a:lnTo>
                    <a:lnTo>
                      <a:pt x="106" y="148"/>
                    </a:lnTo>
                    <a:lnTo>
                      <a:pt x="106" y="151"/>
                    </a:lnTo>
                    <a:lnTo>
                      <a:pt x="106" y="155"/>
                    </a:lnTo>
                    <a:lnTo>
                      <a:pt x="104" y="155"/>
                    </a:lnTo>
                    <a:lnTo>
                      <a:pt x="102" y="158"/>
                    </a:lnTo>
                    <a:lnTo>
                      <a:pt x="99" y="162"/>
                    </a:lnTo>
                    <a:lnTo>
                      <a:pt x="97" y="165"/>
                    </a:lnTo>
                    <a:lnTo>
                      <a:pt x="95" y="165"/>
                    </a:lnTo>
                    <a:lnTo>
                      <a:pt x="94" y="165"/>
                    </a:lnTo>
                    <a:lnTo>
                      <a:pt x="92" y="165"/>
                    </a:lnTo>
                    <a:lnTo>
                      <a:pt x="88" y="169"/>
                    </a:lnTo>
                    <a:lnTo>
                      <a:pt x="88" y="169"/>
                    </a:lnTo>
                    <a:lnTo>
                      <a:pt x="88" y="169"/>
                    </a:lnTo>
                    <a:lnTo>
                      <a:pt x="88" y="169"/>
                    </a:lnTo>
                    <a:close/>
                    <a:moveTo>
                      <a:pt x="97" y="165"/>
                    </a:moveTo>
                    <a:lnTo>
                      <a:pt x="94" y="167"/>
                    </a:lnTo>
                    <a:lnTo>
                      <a:pt x="94" y="171"/>
                    </a:lnTo>
                    <a:lnTo>
                      <a:pt x="95" y="171"/>
                    </a:lnTo>
                    <a:lnTo>
                      <a:pt x="99" y="169"/>
                    </a:lnTo>
                    <a:lnTo>
                      <a:pt x="99" y="167"/>
                    </a:lnTo>
                    <a:lnTo>
                      <a:pt x="97" y="165"/>
                    </a:lnTo>
                    <a:lnTo>
                      <a:pt x="97" y="165"/>
                    </a:lnTo>
                    <a:lnTo>
                      <a:pt x="97" y="165"/>
                    </a:lnTo>
                    <a:lnTo>
                      <a:pt x="97" y="165"/>
                    </a:lnTo>
                    <a:close/>
                    <a:moveTo>
                      <a:pt x="127" y="165"/>
                    </a:moveTo>
                    <a:lnTo>
                      <a:pt x="127" y="169"/>
                    </a:lnTo>
                    <a:lnTo>
                      <a:pt x="125" y="167"/>
                    </a:lnTo>
                    <a:lnTo>
                      <a:pt x="127" y="165"/>
                    </a:lnTo>
                    <a:lnTo>
                      <a:pt x="127" y="165"/>
                    </a:lnTo>
                    <a:lnTo>
                      <a:pt x="127" y="165"/>
                    </a:lnTo>
                    <a:lnTo>
                      <a:pt x="127" y="165"/>
                    </a:lnTo>
                    <a:close/>
                    <a:moveTo>
                      <a:pt x="111" y="188"/>
                    </a:moveTo>
                    <a:lnTo>
                      <a:pt x="114" y="185"/>
                    </a:lnTo>
                    <a:lnTo>
                      <a:pt x="114" y="178"/>
                    </a:lnTo>
                    <a:lnTo>
                      <a:pt x="120" y="171"/>
                    </a:lnTo>
                    <a:lnTo>
                      <a:pt x="120" y="169"/>
                    </a:lnTo>
                    <a:lnTo>
                      <a:pt x="120" y="165"/>
                    </a:lnTo>
                    <a:lnTo>
                      <a:pt x="121" y="164"/>
                    </a:lnTo>
                    <a:lnTo>
                      <a:pt x="121" y="157"/>
                    </a:lnTo>
                    <a:lnTo>
                      <a:pt x="118" y="158"/>
                    </a:lnTo>
                    <a:lnTo>
                      <a:pt x="118" y="164"/>
                    </a:lnTo>
                    <a:lnTo>
                      <a:pt x="114" y="169"/>
                    </a:lnTo>
                    <a:lnTo>
                      <a:pt x="114" y="174"/>
                    </a:lnTo>
                    <a:lnTo>
                      <a:pt x="114" y="179"/>
                    </a:lnTo>
                    <a:lnTo>
                      <a:pt x="111" y="183"/>
                    </a:lnTo>
                    <a:lnTo>
                      <a:pt x="111" y="185"/>
                    </a:lnTo>
                    <a:lnTo>
                      <a:pt x="111" y="188"/>
                    </a:lnTo>
                    <a:lnTo>
                      <a:pt x="111" y="188"/>
                    </a:lnTo>
                    <a:lnTo>
                      <a:pt x="111" y="188"/>
                    </a:lnTo>
                    <a:lnTo>
                      <a:pt x="111" y="188"/>
                    </a:lnTo>
                    <a:close/>
                    <a:moveTo>
                      <a:pt x="106" y="188"/>
                    </a:moveTo>
                    <a:lnTo>
                      <a:pt x="106" y="179"/>
                    </a:lnTo>
                    <a:lnTo>
                      <a:pt x="109" y="171"/>
                    </a:lnTo>
                    <a:lnTo>
                      <a:pt x="111" y="167"/>
                    </a:lnTo>
                    <a:lnTo>
                      <a:pt x="111" y="164"/>
                    </a:lnTo>
                    <a:lnTo>
                      <a:pt x="111" y="162"/>
                    </a:lnTo>
                    <a:lnTo>
                      <a:pt x="109" y="162"/>
                    </a:lnTo>
                    <a:lnTo>
                      <a:pt x="106" y="162"/>
                    </a:lnTo>
                    <a:lnTo>
                      <a:pt x="104" y="164"/>
                    </a:lnTo>
                    <a:lnTo>
                      <a:pt x="104" y="167"/>
                    </a:lnTo>
                    <a:lnTo>
                      <a:pt x="101" y="171"/>
                    </a:lnTo>
                    <a:lnTo>
                      <a:pt x="102" y="176"/>
                    </a:lnTo>
                    <a:lnTo>
                      <a:pt x="101" y="179"/>
                    </a:lnTo>
                    <a:lnTo>
                      <a:pt x="94" y="179"/>
                    </a:lnTo>
                    <a:lnTo>
                      <a:pt x="94" y="183"/>
                    </a:lnTo>
                    <a:lnTo>
                      <a:pt x="94" y="188"/>
                    </a:lnTo>
                    <a:lnTo>
                      <a:pt x="97" y="188"/>
                    </a:lnTo>
                    <a:lnTo>
                      <a:pt x="101" y="190"/>
                    </a:lnTo>
                    <a:lnTo>
                      <a:pt x="104" y="190"/>
                    </a:lnTo>
                    <a:lnTo>
                      <a:pt x="104" y="195"/>
                    </a:lnTo>
                    <a:lnTo>
                      <a:pt x="106" y="195"/>
                    </a:lnTo>
                    <a:lnTo>
                      <a:pt x="111" y="193"/>
                    </a:lnTo>
                    <a:lnTo>
                      <a:pt x="111" y="190"/>
                    </a:lnTo>
                    <a:lnTo>
                      <a:pt x="106" y="188"/>
                    </a:lnTo>
                    <a:lnTo>
                      <a:pt x="106" y="188"/>
                    </a:lnTo>
                    <a:lnTo>
                      <a:pt x="106" y="188"/>
                    </a:lnTo>
                    <a:lnTo>
                      <a:pt x="106" y="188"/>
                    </a:lnTo>
                    <a:close/>
                    <a:moveTo>
                      <a:pt x="116" y="191"/>
                    </a:moveTo>
                    <a:lnTo>
                      <a:pt x="116" y="193"/>
                    </a:lnTo>
                    <a:lnTo>
                      <a:pt x="116" y="195"/>
                    </a:lnTo>
                    <a:lnTo>
                      <a:pt x="114" y="197"/>
                    </a:lnTo>
                    <a:lnTo>
                      <a:pt x="111" y="195"/>
                    </a:lnTo>
                    <a:lnTo>
                      <a:pt x="114" y="191"/>
                    </a:lnTo>
                    <a:lnTo>
                      <a:pt x="116" y="191"/>
                    </a:lnTo>
                    <a:lnTo>
                      <a:pt x="116" y="191"/>
                    </a:lnTo>
                    <a:lnTo>
                      <a:pt x="116" y="191"/>
                    </a:lnTo>
                    <a:lnTo>
                      <a:pt x="116" y="191"/>
                    </a:lnTo>
                    <a:close/>
                    <a:moveTo>
                      <a:pt x="127" y="176"/>
                    </a:moveTo>
                    <a:lnTo>
                      <a:pt x="128" y="176"/>
                    </a:lnTo>
                    <a:lnTo>
                      <a:pt x="130" y="179"/>
                    </a:lnTo>
                    <a:lnTo>
                      <a:pt x="132" y="183"/>
                    </a:lnTo>
                    <a:lnTo>
                      <a:pt x="130" y="183"/>
                    </a:lnTo>
                    <a:lnTo>
                      <a:pt x="125" y="188"/>
                    </a:lnTo>
                    <a:lnTo>
                      <a:pt x="120" y="188"/>
                    </a:lnTo>
                    <a:lnTo>
                      <a:pt x="120" y="185"/>
                    </a:lnTo>
                    <a:lnTo>
                      <a:pt x="118" y="183"/>
                    </a:lnTo>
                    <a:lnTo>
                      <a:pt x="120" y="179"/>
                    </a:lnTo>
                    <a:lnTo>
                      <a:pt x="127" y="176"/>
                    </a:lnTo>
                    <a:lnTo>
                      <a:pt x="127" y="176"/>
                    </a:lnTo>
                    <a:lnTo>
                      <a:pt x="127" y="176"/>
                    </a:lnTo>
                    <a:lnTo>
                      <a:pt x="127" y="176"/>
                    </a:lnTo>
                    <a:close/>
                    <a:moveTo>
                      <a:pt x="142" y="178"/>
                    </a:moveTo>
                    <a:lnTo>
                      <a:pt x="144" y="179"/>
                    </a:lnTo>
                    <a:lnTo>
                      <a:pt x="144" y="183"/>
                    </a:lnTo>
                    <a:lnTo>
                      <a:pt x="142" y="179"/>
                    </a:lnTo>
                    <a:lnTo>
                      <a:pt x="142" y="178"/>
                    </a:lnTo>
                    <a:lnTo>
                      <a:pt x="142" y="178"/>
                    </a:lnTo>
                    <a:lnTo>
                      <a:pt x="142" y="178"/>
                    </a:lnTo>
                    <a:lnTo>
                      <a:pt x="142" y="178"/>
                    </a:lnTo>
                    <a:close/>
                    <a:moveTo>
                      <a:pt x="134" y="190"/>
                    </a:moveTo>
                    <a:lnTo>
                      <a:pt x="137" y="193"/>
                    </a:lnTo>
                    <a:lnTo>
                      <a:pt x="134" y="195"/>
                    </a:lnTo>
                    <a:lnTo>
                      <a:pt x="134" y="193"/>
                    </a:lnTo>
                    <a:lnTo>
                      <a:pt x="132" y="191"/>
                    </a:lnTo>
                    <a:lnTo>
                      <a:pt x="134" y="190"/>
                    </a:lnTo>
                    <a:lnTo>
                      <a:pt x="134" y="190"/>
                    </a:lnTo>
                    <a:lnTo>
                      <a:pt x="134" y="190"/>
                    </a:lnTo>
                    <a:lnTo>
                      <a:pt x="134" y="190"/>
                    </a:lnTo>
                    <a:close/>
                    <a:moveTo>
                      <a:pt x="130" y="148"/>
                    </a:moveTo>
                    <a:lnTo>
                      <a:pt x="130" y="151"/>
                    </a:lnTo>
                    <a:lnTo>
                      <a:pt x="127" y="151"/>
                    </a:lnTo>
                    <a:lnTo>
                      <a:pt x="125" y="151"/>
                    </a:lnTo>
                    <a:lnTo>
                      <a:pt x="127" y="148"/>
                    </a:lnTo>
                    <a:lnTo>
                      <a:pt x="130" y="148"/>
                    </a:lnTo>
                    <a:lnTo>
                      <a:pt x="130" y="148"/>
                    </a:lnTo>
                    <a:lnTo>
                      <a:pt x="130" y="148"/>
                    </a:lnTo>
                    <a:lnTo>
                      <a:pt x="130" y="148"/>
                    </a:lnTo>
                    <a:close/>
                    <a:moveTo>
                      <a:pt x="139" y="155"/>
                    </a:moveTo>
                    <a:lnTo>
                      <a:pt x="139" y="155"/>
                    </a:lnTo>
                    <a:lnTo>
                      <a:pt x="142" y="158"/>
                    </a:lnTo>
                    <a:lnTo>
                      <a:pt x="146" y="158"/>
                    </a:lnTo>
                    <a:lnTo>
                      <a:pt x="147" y="158"/>
                    </a:lnTo>
                    <a:lnTo>
                      <a:pt x="147" y="157"/>
                    </a:lnTo>
                    <a:lnTo>
                      <a:pt x="151" y="158"/>
                    </a:lnTo>
                    <a:lnTo>
                      <a:pt x="147" y="157"/>
                    </a:lnTo>
                    <a:lnTo>
                      <a:pt x="147" y="155"/>
                    </a:lnTo>
                    <a:lnTo>
                      <a:pt x="144" y="151"/>
                    </a:lnTo>
                    <a:lnTo>
                      <a:pt x="146" y="146"/>
                    </a:lnTo>
                    <a:lnTo>
                      <a:pt x="144" y="141"/>
                    </a:lnTo>
                    <a:lnTo>
                      <a:pt x="144" y="139"/>
                    </a:lnTo>
                    <a:lnTo>
                      <a:pt x="144" y="138"/>
                    </a:lnTo>
                    <a:lnTo>
                      <a:pt x="142" y="134"/>
                    </a:lnTo>
                    <a:lnTo>
                      <a:pt x="139" y="131"/>
                    </a:lnTo>
                    <a:lnTo>
                      <a:pt x="139" y="131"/>
                    </a:lnTo>
                    <a:lnTo>
                      <a:pt x="137" y="131"/>
                    </a:lnTo>
                    <a:lnTo>
                      <a:pt x="134" y="131"/>
                    </a:lnTo>
                    <a:lnTo>
                      <a:pt x="134" y="131"/>
                    </a:lnTo>
                    <a:lnTo>
                      <a:pt x="132" y="132"/>
                    </a:lnTo>
                    <a:lnTo>
                      <a:pt x="128" y="132"/>
                    </a:lnTo>
                    <a:lnTo>
                      <a:pt x="125" y="132"/>
                    </a:lnTo>
                    <a:lnTo>
                      <a:pt x="123" y="131"/>
                    </a:lnTo>
                    <a:lnTo>
                      <a:pt x="123" y="134"/>
                    </a:lnTo>
                    <a:lnTo>
                      <a:pt x="127" y="139"/>
                    </a:lnTo>
                    <a:lnTo>
                      <a:pt x="132" y="143"/>
                    </a:lnTo>
                    <a:lnTo>
                      <a:pt x="134" y="146"/>
                    </a:lnTo>
                    <a:lnTo>
                      <a:pt x="137" y="148"/>
                    </a:lnTo>
                    <a:lnTo>
                      <a:pt x="137" y="151"/>
                    </a:lnTo>
                    <a:lnTo>
                      <a:pt x="134" y="151"/>
                    </a:lnTo>
                    <a:lnTo>
                      <a:pt x="134" y="151"/>
                    </a:lnTo>
                    <a:lnTo>
                      <a:pt x="137" y="151"/>
                    </a:lnTo>
                    <a:lnTo>
                      <a:pt x="137" y="151"/>
                    </a:lnTo>
                    <a:lnTo>
                      <a:pt x="139" y="155"/>
                    </a:lnTo>
                    <a:lnTo>
                      <a:pt x="139" y="155"/>
                    </a:lnTo>
                    <a:lnTo>
                      <a:pt x="139" y="155"/>
                    </a:lnTo>
                    <a:lnTo>
                      <a:pt x="139" y="155"/>
                    </a:lnTo>
                    <a:close/>
                    <a:moveTo>
                      <a:pt x="134" y="155"/>
                    </a:moveTo>
                    <a:lnTo>
                      <a:pt x="132" y="155"/>
                    </a:lnTo>
                    <a:lnTo>
                      <a:pt x="128" y="155"/>
                    </a:lnTo>
                    <a:lnTo>
                      <a:pt x="125" y="155"/>
                    </a:lnTo>
                    <a:lnTo>
                      <a:pt x="127" y="157"/>
                    </a:lnTo>
                    <a:lnTo>
                      <a:pt x="127" y="160"/>
                    </a:lnTo>
                    <a:lnTo>
                      <a:pt x="130" y="164"/>
                    </a:lnTo>
                    <a:lnTo>
                      <a:pt x="132" y="162"/>
                    </a:lnTo>
                    <a:lnTo>
                      <a:pt x="134" y="164"/>
                    </a:lnTo>
                    <a:lnTo>
                      <a:pt x="134" y="167"/>
                    </a:lnTo>
                    <a:lnTo>
                      <a:pt x="134" y="171"/>
                    </a:lnTo>
                    <a:lnTo>
                      <a:pt x="134" y="176"/>
                    </a:lnTo>
                    <a:lnTo>
                      <a:pt x="139" y="179"/>
                    </a:lnTo>
                    <a:lnTo>
                      <a:pt x="139" y="174"/>
                    </a:lnTo>
                    <a:lnTo>
                      <a:pt x="139" y="176"/>
                    </a:lnTo>
                    <a:lnTo>
                      <a:pt x="142" y="176"/>
                    </a:lnTo>
                    <a:lnTo>
                      <a:pt x="142" y="171"/>
                    </a:lnTo>
                    <a:lnTo>
                      <a:pt x="139" y="167"/>
                    </a:lnTo>
                    <a:lnTo>
                      <a:pt x="139" y="165"/>
                    </a:lnTo>
                    <a:lnTo>
                      <a:pt x="137" y="160"/>
                    </a:lnTo>
                    <a:lnTo>
                      <a:pt x="134" y="155"/>
                    </a:lnTo>
                    <a:lnTo>
                      <a:pt x="134" y="155"/>
                    </a:lnTo>
                    <a:lnTo>
                      <a:pt x="134" y="155"/>
                    </a:lnTo>
                    <a:lnTo>
                      <a:pt x="134" y="155"/>
                    </a:lnTo>
                    <a:lnTo>
                      <a:pt x="134" y="155"/>
                    </a:lnTo>
                    <a:close/>
                    <a:moveTo>
                      <a:pt x="151" y="164"/>
                    </a:moveTo>
                    <a:lnTo>
                      <a:pt x="153" y="162"/>
                    </a:lnTo>
                    <a:lnTo>
                      <a:pt x="151" y="162"/>
                    </a:lnTo>
                    <a:lnTo>
                      <a:pt x="151" y="162"/>
                    </a:lnTo>
                    <a:lnTo>
                      <a:pt x="151" y="164"/>
                    </a:lnTo>
                    <a:lnTo>
                      <a:pt x="151" y="164"/>
                    </a:lnTo>
                    <a:lnTo>
                      <a:pt x="151" y="164"/>
                    </a:lnTo>
                    <a:lnTo>
                      <a:pt x="151" y="164"/>
                    </a:lnTo>
                    <a:close/>
                    <a:moveTo>
                      <a:pt x="151" y="165"/>
                    </a:moveTo>
                    <a:lnTo>
                      <a:pt x="151" y="165"/>
                    </a:lnTo>
                    <a:lnTo>
                      <a:pt x="151" y="167"/>
                    </a:lnTo>
                    <a:lnTo>
                      <a:pt x="151" y="167"/>
                    </a:lnTo>
                    <a:lnTo>
                      <a:pt x="151" y="165"/>
                    </a:lnTo>
                    <a:lnTo>
                      <a:pt x="151" y="165"/>
                    </a:lnTo>
                    <a:lnTo>
                      <a:pt x="151" y="165"/>
                    </a:lnTo>
                    <a:lnTo>
                      <a:pt x="151" y="165"/>
                    </a:lnTo>
                    <a:close/>
                    <a:moveTo>
                      <a:pt x="151" y="183"/>
                    </a:moveTo>
                    <a:lnTo>
                      <a:pt x="153" y="179"/>
                    </a:lnTo>
                    <a:lnTo>
                      <a:pt x="151" y="178"/>
                    </a:lnTo>
                    <a:lnTo>
                      <a:pt x="151" y="174"/>
                    </a:lnTo>
                    <a:lnTo>
                      <a:pt x="151" y="171"/>
                    </a:lnTo>
                    <a:lnTo>
                      <a:pt x="151" y="171"/>
                    </a:lnTo>
                    <a:lnTo>
                      <a:pt x="147" y="171"/>
                    </a:lnTo>
                    <a:lnTo>
                      <a:pt x="147" y="176"/>
                    </a:lnTo>
                    <a:lnTo>
                      <a:pt x="151" y="179"/>
                    </a:lnTo>
                    <a:lnTo>
                      <a:pt x="151" y="183"/>
                    </a:lnTo>
                    <a:lnTo>
                      <a:pt x="151" y="183"/>
                    </a:lnTo>
                    <a:lnTo>
                      <a:pt x="151" y="183"/>
                    </a:lnTo>
                    <a:lnTo>
                      <a:pt x="151" y="183"/>
                    </a:lnTo>
                    <a:lnTo>
                      <a:pt x="151" y="183"/>
                    </a:lnTo>
                    <a:lnTo>
                      <a:pt x="151" y="183"/>
                    </a:lnTo>
                    <a:close/>
                    <a:moveTo>
                      <a:pt x="154" y="183"/>
                    </a:moveTo>
                    <a:lnTo>
                      <a:pt x="154" y="185"/>
                    </a:lnTo>
                    <a:lnTo>
                      <a:pt x="156" y="188"/>
                    </a:lnTo>
                    <a:lnTo>
                      <a:pt x="156" y="185"/>
                    </a:lnTo>
                    <a:lnTo>
                      <a:pt x="154" y="183"/>
                    </a:lnTo>
                    <a:lnTo>
                      <a:pt x="154" y="183"/>
                    </a:lnTo>
                    <a:lnTo>
                      <a:pt x="154" y="183"/>
                    </a:lnTo>
                    <a:lnTo>
                      <a:pt x="154" y="183"/>
                    </a:lnTo>
                    <a:close/>
                    <a:moveTo>
                      <a:pt x="158" y="178"/>
                    </a:moveTo>
                    <a:lnTo>
                      <a:pt x="156" y="179"/>
                    </a:lnTo>
                    <a:lnTo>
                      <a:pt x="156" y="183"/>
                    </a:lnTo>
                    <a:lnTo>
                      <a:pt x="158" y="183"/>
                    </a:lnTo>
                    <a:lnTo>
                      <a:pt x="161" y="183"/>
                    </a:lnTo>
                    <a:lnTo>
                      <a:pt x="160" y="179"/>
                    </a:lnTo>
                    <a:lnTo>
                      <a:pt x="158" y="178"/>
                    </a:lnTo>
                    <a:lnTo>
                      <a:pt x="158" y="178"/>
                    </a:lnTo>
                    <a:lnTo>
                      <a:pt x="158" y="178"/>
                    </a:lnTo>
                    <a:lnTo>
                      <a:pt x="158" y="178"/>
                    </a:lnTo>
                    <a:close/>
                    <a:moveTo>
                      <a:pt x="90" y="235"/>
                    </a:moveTo>
                    <a:lnTo>
                      <a:pt x="87" y="233"/>
                    </a:lnTo>
                    <a:lnTo>
                      <a:pt x="88" y="228"/>
                    </a:lnTo>
                    <a:lnTo>
                      <a:pt x="90" y="223"/>
                    </a:lnTo>
                    <a:lnTo>
                      <a:pt x="88" y="221"/>
                    </a:lnTo>
                    <a:lnTo>
                      <a:pt x="92" y="216"/>
                    </a:lnTo>
                    <a:lnTo>
                      <a:pt x="95" y="216"/>
                    </a:lnTo>
                    <a:lnTo>
                      <a:pt x="99" y="212"/>
                    </a:lnTo>
                    <a:lnTo>
                      <a:pt x="102" y="216"/>
                    </a:lnTo>
                    <a:lnTo>
                      <a:pt x="106" y="212"/>
                    </a:lnTo>
                    <a:lnTo>
                      <a:pt x="106" y="211"/>
                    </a:lnTo>
                    <a:lnTo>
                      <a:pt x="106" y="207"/>
                    </a:lnTo>
                    <a:lnTo>
                      <a:pt x="111" y="207"/>
                    </a:lnTo>
                    <a:lnTo>
                      <a:pt x="111" y="204"/>
                    </a:lnTo>
                    <a:lnTo>
                      <a:pt x="114" y="204"/>
                    </a:lnTo>
                    <a:lnTo>
                      <a:pt x="120" y="207"/>
                    </a:lnTo>
                    <a:lnTo>
                      <a:pt x="120" y="212"/>
                    </a:lnTo>
                    <a:lnTo>
                      <a:pt x="116" y="219"/>
                    </a:lnTo>
                    <a:lnTo>
                      <a:pt x="120" y="216"/>
                    </a:lnTo>
                    <a:lnTo>
                      <a:pt x="123" y="212"/>
                    </a:lnTo>
                    <a:lnTo>
                      <a:pt x="127" y="212"/>
                    </a:lnTo>
                    <a:lnTo>
                      <a:pt x="128" y="207"/>
                    </a:lnTo>
                    <a:lnTo>
                      <a:pt x="132" y="205"/>
                    </a:lnTo>
                    <a:lnTo>
                      <a:pt x="134" y="207"/>
                    </a:lnTo>
                    <a:lnTo>
                      <a:pt x="137" y="207"/>
                    </a:lnTo>
                    <a:lnTo>
                      <a:pt x="137" y="205"/>
                    </a:lnTo>
                    <a:lnTo>
                      <a:pt x="134" y="204"/>
                    </a:lnTo>
                    <a:lnTo>
                      <a:pt x="137" y="197"/>
                    </a:lnTo>
                    <a:lnTo>
                      <a:pt x="139" y="198"/>
                    </a:lnTo>
                    <a:lnTo>
                      <a:pt x="142" y="200"/>
                    </a:lnTo>
                    <a:lnTo>
                      <a:pt x="142" y="198"/>
                    </a:lnTo>
                    <a:lnTo>
                      <a:pt x="142" y="193"/>
                    </a:lnTo>
                    <a:lnTo>
                      <a:pt x="144" y="193"/>
                    </a:lnTo>
                    <a:lnTo>
                      <a:pt x="146" y="197"/>
                    </a:lnTo>
                    <a:lnTo>
                      <a:pt x="147" y="193"/>
                    </a:lnTo>
                    <a:lnTo>
                      <a:pt x="146" y="188"/>
                    </a:lnTo>
                    <a:lnTo>
                      <a:pt x="146" y="183"/>
                    </a:lnTo>
                    <a:lnTo>
                      <a:pt x="147" y="183"/>
                    </a:lnTo>
                    <a:lnTo>
                      <a:pt x="151" y="183"/>
                    </a:lnTo>
                    <a:lnTo>
                      <a:pt x="151" y="188"/>
                    </a:lnTo>
                    <a:lnTo>
                      <a:pt x="154" y="190"/>
                    </a:lnTo>
                    <a:lnTo>
                      <a:pt x="158" y="193"/>
                    </a:lnTo>
                    <a:lnTo>
                      <a:pt x="161" y="191"/>
                    </a:lnTo>
                    <a:lnTo>
                      <a:pt x="161" y="195"/>
                    </a:lnTo>
                    <a:lnTo>
                      <a:pt x="161" y="198"/>
                    </a:lnTo>
                    <a:lnTo>
                      <a:pt x="161" y="202"/>
                    </a:lnTo>
                    <a:lnTo>
                      <a:pt x="161" y="202"/>
                    </a:lnTo>
                    <a:lnTo>
                      <a:pt x="160" y="204"/>
                    </a:lnTo>
                    <a:lnTo>
                      <a:pt x="161" y="207"/>
                    </a:lnTo>
                    <a:lnTo>
                      <a:pt x="161" y="207"/>
                    </a:lnTo>
                    <a:lnTo>
                      <a:pt x="161" y="207"/>
                    </a:lnTo>
                    <a:lnTo>
                      <a:pt x="161" y="212"/>
                    </a:lnTo>
                    <a:lnTo>
                      <a:pt x="165" y="211"/>
                    </a:lnTo>
                    <a:lnTo>
                      <a:pt x="165" y="216"/>
                    </a:lnTo>
                    <a:lnTo>
                      <a:pt x="165" y="219"/>
                    </a:lnTo>
                    <a:lnTo>
                      <a:pt x="168" y="221"/>
                    </a:lnTo>
                    <a:lnTo>
                      <a:pt x="170" y="224"/>
                    </a:lnTo>
                    <a:lnTo>
                      <a:pt x="170" y="230"/>
                    </a:lnTo>
                    <a:lnTo>
                      <a:pt x="168" y="235"/>
                    </a:lnTo>
                    <a:lnTo>
                      <a:pt x="167" y="235"/>
                    </a:lnTo>
                    <a:lnTo>
                      <a:pt x="167" y="235"/>
                    </a:lnTo>
                    <a:lnTo>
                      <a:pt x="167" y="235"/>
                    </a:lnTo>
                    <a:lnTo>
                      <a:pt x="161" y="235"/>
                    </a:lnTo>
                    <a:lnTo>
                      <a:pt x="161" y="235"/>
                    </a:lnTo>
                    <a:lnTo>
                      <a:pt x="165" y="242"/>
                    </a:lnTo>
                    <a:lnTo>
                      <a:pt x="165" y="247"/>
                    </a:lnTo>
                    <a:lnTo>
                      <a:pt x="161" y="247"/>
                    </a:lnTo>
                    <a:lnTo>
                      <a:pt x="161" y="247"/>
                    </a:lnTo>
                    <a:lnTo>
                      <a:pt x="161" y="242"/>
                    </a:lnTo>
                    <a:lnTo>
                      <a:pt x="161" y="238"/>
                    </a:lnTo>
                    <a:lnTo>
                      <a:pt x="160" y="235"/>
                    </a:lnTo>
                    <a:lnTo>
                      <a:pt x="158" y="231"/>
                    </a:lnTo>
                    <a:lnTo>
                      <a:pt x="156" y="228"/>
                    </a:lnTo>
                    <a:lnTo>
                      <a:pt x="154" y="230"/>
                    </a:lnTo>
                    <a:lnTo>
                      <a:pt x="151" y="235"/>
                    </a:lnTo>
                    <a:lnTo>
                      <a:pt x="151" y="240"/>
                    </a:lnTo>
                    <a:lnTo>
                      <a:pt x="151" y="242"/>
                    </a:lnTo>
                    <a:lnTo>
                      <a:pt x="154" y="247"/>
                    </a:lnTo>
                    <a:lnTo>
                      <a:pt x="154" y="247"/>
                    </a:lnTo>
                    <a:lnTo>
                      <a:pt x="154" y="252"/>
                    </a:lnTo>
                    <a:lnTo>
                      <a:pt x="151" y="258"/>
                    </a:lnTo>
                    <a:lnTo>
                      <a:pt x="147" y="259"/>
                    </a:lnTo>
                    <a:lnTo>
                      <a:pt x="146" y="259"/>
                    </a:lnTo>
                    <a:lnTo>
                      <a:pt x="146" y="256"/>
                    </a:lnTo>
                    <a:lnTo>
                      <a:pt x="146" y="252"/>
                    </a:lnTo>
                    <a:lnTo>
                      <a:pt x="146" y="252"/>
                    </a:lnTo>
                    <a:lnTo>
                      <a:pt x="144" y="252"/>
                    </a:lnTo>
                    <a:lnTo>
                      <a:pt x="142" y="254"/>
                    </a:lnTo>
                    <a:lnTo>
                      <a:pt x="142" y="256"/>
                    </a:lnTo>
                    <a:lnTo>
                      <a:pt x="139" y="256"/>
                    </a:lnTo>
                    <a:lnTo>
                      <a:pt x="134" y="252"/>
                    </a:lnTo>
                    <a:lnTo>
                      <a:pt x="130" y="252"/>
                    </a:lnTo>
                    <a:lnTo>
                      <a:pt x="127" y="249"/>
                    </a:lnTo>
                    <a:lnTo>
                      <a:pt x="127" y="247"/>
                    </a:lnTo>
                    <a:lnTo>
                      <a:pt x="125" y="244"/>
                    </a:lnTo>
                    <a:lnTo>
                      <a:pt x="125" y="242"/>
                    </a:lnTo>
                    <a:lnTo>
                      <a:pt x="125" y="238"/>
                    </a:lnTo>
                    <a:lnTo>
                      <a:pt x="123" y="235"/>
                    </a:lnTo>
                    <a:lnTo>
                      <a:pt x="125" y="235"/>
                    </a:lnTo>
                    <a:lnTo>
                      <a:pt x="125" y="231"/>
                    </a:lnTo>
                    <a:lnTo>
                      <a:pt x="127" y="231"/>
                    </a:lnTo>
                    <a:lnTo>
                      <a:pt x="128" y="233"/>
                    </a:lnTo>
                    <a:lnTo>
                      <a:pt x="127" y="230"/>
                    </a:lnTo>
                    <a:lnTo>
                      <a:pt x="125" y="226"/>
                    </a:lnTo>
                    <a:lnTo>
                      <a:pt x="121" y="224"/>
                    </a:lnTo>
                    <a:lnTo>
                      <a:pt x="120" y="223"/>
                    </a:lnTo>
                    <a:lnTo>
                      <a:pt x="116" y="221"/>
                    </a:lnTo>
                    <a:lnTo>
                      <a:pt x="114" y="221"/>
                    </a:lnTo>
                    <a:lnTo>
                      <a:pt x="114" y="221"/>
                    </a:lnTo>
                    <a:lnTo>
                      <a:pt x="114" y="223"/>
                    </a:lnTo>
                    <a:lnTo>
                      <a:pt x="114" y="224"/>
                    </a:lnTo>
                    <a:lnTo>
                      <a:pt x="114" y="228"/>
                    </a:lnTo>
                    <a:lnTo>
                      <a:pt x="114" y="228"/>
                    </a:lnTo>
                    <a:lnTo>
                      <a:pt x="111" y="226"/>
                    </a:lnTo>
                    <a:lnTo>
                      <a:pt x="109" y="226"/>
                    </a:lnTo>
                    <a:lnTo>
                      <a:pt x="111" y="223"/>
                    </a:lnTo>
                    <a:lnTo>
                      <a:pt x="106" y="223"/>
                    </a:lnTo>
                    <a:lnTo>
                      <a:pt x="106" y="224"/>
                    </a:lnTo>
                    <a:lnTo>
                      <a:pt x="106" y="228"/>
                    </a:lnTo>
                    <a:lnTo>
                      <a:pt x="106" y="226"/>
                    </a:lnTo>
                    <a:lnTo>
                      <a:pt x="104" y="226"/>
                    </a:lnTo>
                    <a:lnTo>
                      <a:pt x="102" y="226"/>
                    </a:lnTo>
                    <a:lnTo>
                      <a:pt x="102" y="223"/>
                    </a:lnTo>
                    <a:lnTo>
                      <a:pt x="101" y="219"/>
                    </a:lnTo>
                    <a:lnTo>
                      <a:pt x="99" y="221"/>
                    </a:lnTo>
                    <a:lnTo>
                      <a:pt x="97" y="224"/>
                    </a:lnTo>
                    <a:lnTo>
                      <a:pt x="94" y="228"/>
                    </a:lnTo>
                    <a:lnTo>
                      <a:pt x="92" y="235"/>
                    </a:lnTo>
                    <a:lnTo>
                      <a:pt x="90" y="235"/>
                    </a:lnTo>
                    <a:lnTo>
                      <a:pt x="90" y="235"/>
                    </a:lnTo>
                    <a:lnTo>
                      <a:pt x="90" y="235"/>
                    </a:lnTo>
                    <a:lnTo>
                      <a:pt x="90" y="235"/>
                    </a:lnTo>
                    <a:close/>
                    <a:moveTo>
                      <a:pt x="87" y="242"/>
                    </a:moveTo>
                    <a:lnTo>
                      <a:pt x="87" y="244"/>
                    </a:lnTo>
                    <a:lnTo>
                      <a:pt x="87" y="247"/>
                    </a:lnTo>
                    <a:lnTo>
                      <a:pt x="88" y="247"/>
                    </a:lnTo>
                    <a:lnTo>
                      <a:pt x="94" y="244"/>
                    </a:lnTo>
                    <a:lnTo>
                      <a:pt x="94" y="242"/>
                    </a:lnTo>
                    <a:lnTo>
                      <a:pt x="92" y="242"/>
                    </a:lnTo>
                    <a:lnTo>
                      <a:pt x="90" y="240"/>
                    </a:lnTo>
                    <a:lnTo>
                      <a:pt x="88" y="242"/>
                    </a:lnTo>
                    <a:lnTo>
                      <a:pt x="87" y="242"/>
                    </a:lnTo>
                    <a:lnTo>
                      <a:pt x="87" y="242"/>
                    </a:lnTo>
                    <a:lnTo>
                      <a:pt x="87" y="242"/>
                    </a:lnTo>
                    <a:lnTo>
                      <a:pt x="87" y="242"/>
                    </a:lnTo>
                    <a:close/>
                    <a:moveTo>
                      <a:pt x="47" y="143"/>
                    </a:moveTo>
                    <a:lnTo>
                      <a:pt x="45" y="139"/>
                    </a:lnTo>
                    <a:lnTo>
                      <a:pt x="43" y="138"/>
                    </a:lnTo>
                    <a:lnTo>
                      <a:pt x="45" y="136"/>
                    </a:lnTo>
                    <a:lnTo>
                      <a:pt x="47" y="136"/>
                    </a:lnTo>
                    <a:lnTo>
                      <a:pt x="50" y="139"/>
                    </a:lnTo>
                    <a:lnTo>
                      <a:pt x="52" y="139"/>
                    </a:lnTo>
                    <a:lnTo>
                      <a:pt x="52" y="141"/>
                    </a:lnTo>
                    <a:lnTo>
                      <a:pt x="52" y="143"/>
                    </a:lnTo>
                    <a:lnTo>
                      <a:pt x="50" y="143"/>
                    </a:lnTo>
                    <a:lnTo>
                      <a:pt x="47" y="143"/>
                    </a:lnTo>
                    <a:lnTo>
                      <a:pt x="47" y="143"/>
                    </a:lnTo>
                    <a:lnTo>
                      <a:pt x="47" y="143"/>
                    </a:lnTo>
                    <a:lnTo>
                      <a:pt x="47" y="143"/>
                    </a:lnTo>
                    <a:close/>
                    <a:moveTo>
                      <a:pt x="45" y="143"/>
                    </a:moveTo>
                    <a:lnTo>
                      <a:pt x="47" y="143"/>
                    </a:lnTo>
                    <a:lnTo>
                      <a:pt x="47" y="146"/>
                    </a:lnTo>
                    <a:lnTo>
                      <a:pt x="47" y="146"/>
                    </a:lnTo>
                    <a:lnTo>
                      <a:pt x="47" y="148"/>
                    </a:lnTo>
                    <a:lnTo>
                      <a:pt x="45" y="148"/>
                    </a:lnTo>
                    <a:lnTo>
                      <a:pt x="43" y="146"/>
                    </a:lnTo>
                    <a:lnTo>
                      <a:pt x="45" y="143"/>
                    </a:lnTo>
                    <a:lnTo>
                      <a:pt x="45" y="143"/>
                    </a:lnTo>
                    <a:lnTo>
                      <a:pt x="45" y="143"/>
                    </a:lnTo>
                    <a:lnTo>
                      <a:pt x="45" y="143"/>
                    </a:lnTo>
                    <a:close/>
                    <a:moveTo>
                      <a:pt x="47" y="169"/>
                    </a:moveTo>
                    <a:lnTo>
                      <a:pt x="47" y="169"/>
                    </a:lnTo>
                    <a:lnTo>
                      <a:pt x="47" y="167"/>
                    </a:lnTo>
                    <a:lnTo>
                      <a:pt x="50" y="169"/>
                    </a:lnTo>
                    <a:lnTo>
                      <a:pt x="52" y="171"/>
                    </a:lnTo>
                    <a:lnTo>
                      <a:pt x="50" y="171"/>
                    </a:lnTo>
                    <a:lnTo>
                      <a:pt x="47" y="171"/>
                    </a:lnTo>
                    <a:lnTo>
                      <a:pt x="45" y="171"/>
                    </a:lnTo>
                    <a:lnTo>
                      <a:pt x="47" y="169"/>
                    </a:lnTo>
                    <a:lnTo>
                      <a:pt x="47" y="169"/>
                    </a:lnTo>
                    <a:lnTo>
                      <a:pt x="47" y="169"/>
                    </a:lnTo>
                    <a:lnTo>
                      <a:pt x="47" y="169"/>
                    </a:lnTo>
                    <a:close/>
                    <a:moveTo>
                      <a:pt x="3" y="207"/>
                    </a:moveTo>
                    <a:lnTo>
                      <a:pt x="7" y="205"/>
                    </a:lnTo>
                    <a:lnTo>
                      <a:pt x="10" y="205"/>
                    </a:lnTo>
                    <a:lnTo>
                      <a:pt x="12" y="202"/>
                    </a:lnTo>
                    <a:lnTo>
                      <a:pt x="15" y="202"/>
                    </a:lnTo>
                    <a:lnTo>
                      <a:pt x="19" y="195"/>
                    </a:lnTo>
                    <a:lnTo>
                      <a:pt x="24" y="193"/>
                    </a:lnTo>
                    <a:lnTo>
                      <a:pt x="28" y="191"/>
                    </a:lnTo>
                    <a:lnTo>
                      <a:pt x="28" y="190"/>
                    </a:lnTo>
                    <a:lnTo>
                      <a:pt x="28" y="188"/>
                    </a:lnTo>
                    <a:lnTo>
                      <a:pt x="28" y="183"/>
                    </a:lnTo>
                    <a:lnTo>
                      <a:pt x="31" y="179"/>
                    </a:lnTo>
                    <a:lnTo>
                      <a:pt x="36" y="179"/>
                    </a:lnTo>
                    <a:lnTo>
                      <a:pt x="38" y="176"/>
                    </a:lnTo>
                    <a:lnTo>
                      <a:pt x="40" y="171"/>
                    </a:lnTo>
                    <a:lnTo>
                      <a:pt x="43" y="171"/>
                    </a:lnTo>
                    <a:lnTo>
                      <a:pt x="45" y="169"/>
                    </a:lnTo>
                    <a:lnTo>
                      <a:pt x="43" y="165"/>
                    </a:lnTo>
                    <a:lnTo>
                      <a:pt x="40" y="162"/>
                    </a:lnTo>
                    <a:lnTo>
                      <a:pt x="40" y="158"/>
                    </a:lnTo>
                    <a:lnTo>
                      <a:pt x="40" y="155"/>
                    </a:lnTo>
                    <a:lnTo>
                      <a:pt x="38" y="155"/>
                    </a:lnTo>
                    <a:lnTo>
                      <a:pt x="38" y="160"/>
                    </a:lnTo>
                    <a:lnTo>
                      <a:pt x="38" y="165"/>
                    </a:lnTo>
                    <a:lnTo>
                      <a:pt x="35" y="164"/>
                    </a:lnTo>
                    <a:lnTo>
                      <a:pt x="38" y="167"/>
                    </a:lnTo>
                    <a:lnTo>
                      <a:pt x="36" y="169"/>
                    </a:lnTo>
                    <a:lnTo>
                      <a:pt x="35" y="171"/>
                    </a:lnTo>
                    <a:lnTo>
                      <a:pt x="31" y="171"/>
                    </a:lnTo>
                    <a:lnTo>
                      <a:pt x="29" y="176"/>
                    </a:lnTo>
                    <a:lnTo>
                      <a:pt x="28" y="179"/>
                    </a:lnTo>
                    <a:lnTo>
                      <a:pt x="24" y="179"/>
                    </a:lnTo>
                    <a:lnTo>
                      <a:pt x="22" y="188"/>
                    </a:lnTo>
                    <a:lnTo>
                      <a:pt x="17" y="191"/>
                    </a:lnTo>
                    <a:lnTo>
                      <a:pt x="14" y="193"/>
                    </a:lnTo>
                    <a:lnTo>
                      <a:pt x="12" y="198"/>
                    </a:lnTo>
                    <a:lnTo>
                      <a:pt x="10" y="198"/>
                    </a:lnTo>
                    <a:lnTo>
                      <a:pt x="5" y="205"/>
                    </a:lnTo>
                    <a:lnTo>
                      <a:pt x="3" y="207"/>
                    </a:lnTo>
                    <a:lnTo>
                      <a:pt x="3" y="207"/>
                    </a:lnTo>
                    <a:lnTo>
                      <a:pt x="3" y="207"/>
                    </a:lnTo>
                    <a:lnTo>
                      <a:pt x="3" y="207"/>
                    </a:lnTo>
                    <a:lnTo>
                      <a:pt x="3" y="207"/>
                    </a:lnTo>
                    <a:close/>
                    <a:moveTo>
                      <a:pt x="5" y="211"/>
                    </a:moveTo>
                    <a:lnTo>
                      <a:pt x="3" y="212"/>
                    </a:lnTo>
                    <a:lnTo>
                      <a:pt x="5" y="212"/>
                    </a:lnTo>
                    <a:lnTo>
                      <a:pt x="5" y="211"/>
                    </a:lnTo>
                    <a:lnTo>
                      <a:pt x="5" y="211"/>
                    </a:lnTo>
                    <a:lnTo>
                      <a:pt x="5" y="211"/>
                    </a:lnTo>
                    <a:lnTo>
                      <a:pt x="5" y="211"/>
                    </a:lnTo>
                    <a:close/>
                    <a:moveTo>
                      <a:pt x="7" y="211"/>
                    </a:moveTo>
                    <a:lnTo>
                      <a:pt x="5" y="212"/>
                    </a:lnTo>
                    <a:lnTo>
                      <a:pt x="7" y="212"/>
                    </a:lnTo>
                    <a:lnTo>
                      <a:pt x="7" y="211"/>
                    </a:lnTo>
                    <a:lnTo>
                      <a:pt x="7" y="211"/>
                    </a:lnTo>
                    <a:lnTo>
                      <a:pt x="7" y="211"/>
                    </a:lnTo>
                    <a:lnTo>
                      <a:pt x="7" y="211"/>
                    </a:lnTo>
                    <a:close/>
                    <a:moveTo>
                      <a:pt x="2" y="216"/>
                    </a:moveTo>
                    <a:lnTo>
                      <a:pt x="0" y="216"/>
                    </a:lnTo>
                    <a:lnTo>
                      <a:pt x="0" y="219"/>
                    </a:lnTo>
                    <a:lnTo>
                      <a:pt x="0" y="221"/>
                    </a:lnTo>
                    <a:lnTo>
                      <a:pt x="2" y="221"/>
                    </a:lnTo>
                    <a:lnTo>
                      <a:pt x="2" y="216"/>
                    </a:lnTo>
                    <a:lnTo>
                      <a:pt x="3" y="216"/>
                    </a:lnTo>
                    <a:lnTo>
                      <a:pt x="2" y="216"/>
                    </a:lnTo>
                    <a:lnTo>
                      <a:pt x="2" y="216"/>
                    </a:lnTo>
                    <a:lnTo>
                      <a:pt x="2" y="216"/>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4" name="Freeform 200"/>
              <p:cNvSpPr>
                <a:spLocks noEditPoints="1"/>
              </p:cNvSpPr>
              <p:nvPr/>
            </p:nvSpPr>
            <p:spPr bwMode="auto">
              <a:xfrm>
                <a:off x="7173913" y="4065588"/>
                <a:ext cx="527050" cy="176213"/>
              </a:xfrm>
              <a:custGeom>
                <a:avLst/>
                <a:gdLst/>
                <a:ahLst/>
                <a:cxnLst>
                  <a:cxn ang="0">
                    <a:pos x="200" y="81"/>
                  </a:cxn>
                  <a:cxn ang="0">
                    <a:pos x="0" y="29"/>
                  </a:cxn>
                  <a:cxn ang="0">
                    <a:pos x="2" y="31"/>
                  </a:cxn>
                  <a:cxn ang="0">
                    <a:pos x="169" y="94"/>
                  </a:cxn>
                  <a:cxn ang="0">
                    <a:pos x="185" y="111"/>
                  </a:cxn>
                  <a:cxn ang="0">
                    <a:pos x="198" y="108"/>
                  </a:cxn>
                  <a:cxn ang="0">
                    <a:pos x="233" y="106"/>
                  </a:cxn>
                  <a:cxn ang="0">
                    <a:pos x="252" y="99"/>
                  </a:cxn>
                  <a:cxn ang="0">
                    <a:pos x="271" y="59"/>
                  </a:cxn>
                  <a:cxn ang="0">
                    <a:pos x="285" y="50"/>
                  </a:cxn>
                  <a:cxn ang="0">
                    <a:pos x="304" y="50"/>
                  </a:cxn>
                  <a:cxn ang="0">
                    <a:pos x="318" y="50"/>
                  </a:cxn>
                  <a:cxn ang="0">
                    <a:pos x="329" y="40"/>
                  </a:cxn>
                  <a:cxn ang="0">
                    <a:pos x="322" y="33"/>
                  </a:cxn>
                  <a:cxn ang="0">
                    <a:pos x="308" y="29"/>
                  </a:cxn>
                  <a:cxn ang="0">
                    <a:pos x="304" y="26"/>
                  </a:cxn>
                  <a:cxn ang="0">
                    <a:pos x="301" y="15"/>
                  </a:cxn>
                  <a:cxn ang="0">
                    <a:pos x="292" y="7"/>
                  </a:cxn>
                  <a:cxn ang="0">
                    <a:pos x="289" y="7"/>
                  </a:cxn>
                  <a:cxn ang="0">
                    <a:pos x="277" y="28"/>
                  </a:cxn>
                  <a:cxn ang="0">
                    <a:pos x="263" y="36"/>
                  </a:cxn>
                  <a:cxn ang="0">
                    <a:pos x="263" y="41"/>
                  </a:cxn>
                  <a:cxn ang="0">
                    <a:pos x="261" y="50"/>
                  </a:cxn>
                  <a:cxn ang="0">
                    <a:pos x="258" y="43"/>
                  </a:cxn>
                  <a:cxn ang="0">
                    <a:pos x="249" y="48"/>
                  </a:cxn>
                  <a:cxn ang="0">
                    <a:pos x="237" y="57"/>
                  </a:cxn>
                  <a:cxn ang="0">
                    <a:pos x="221" y="76"/>
                  </a:cxn>
                  <a:cxn ang="0">
                    <a:pos x="207" y="87"/>
                  </a:cxn>
                  <a:cxn ang="0">
                    <a:pos x="197" y="97"/>
                  </a:cxn>
                  <a:cxn ang="0">
                    <a:pos x="176" y="101"/>
                  </a:cxn>
                  <a:cxn ang="0">
                    <a:pos x="169" y="94"/>
                  </a:cxn>
                  <a:cxn ang="0">
                    <a:pos x="292" y="1"/>
                  </a:cxn>
                  <a:cxn ang="0">
                    <a:pos x="296" y="0"/>
                  </a:cxn>
                  <a:cxn ang="0">
                    <a:pos x="296" y="0"/>
                  </a:cxn>
                  <a:cxn ang="0">
                    <a:pos x="198" y="88"/>
                  </a:cxn>
                  <a:cxn ang="0">
                    <a:pos x="200" y="87"/>
                  </a:cxn>
                  <a:cxn ang="0">
                    <a:pos x="204" y="87"/>
                  </a:cxn>
                  <a:cxn ang="0">
                    <a:pos x="207" y="85"/>
                  </a:cxn>
                  <a:cxn ang="0">
                    <a:pos x="204" y="81"/>
                  </a:cxn>
                  <a:cxn ang="0">
                    <a:pos x="0" y="15"/>
                  </a:cxn>
                  <a:cxn ang="0">
                    <a:pos x="14" y="15"/>
                  </a:cxn>
                  <a:cxn ang="0">
                    <a:pos x="16" y="26"/>
                  </a:cxn>
                  <a:cxn ang="0">
                    <a:pos x="33" y="24"/>
                  </a:cxn>
                  <a:cxn ang="0">
                    <a:pos x="39" y="19"/>
                  </a:cxn>
                  <a:cxn ang="0">
                    <a:pos x="61" y="48"/>
                  </a:cxn>
                  <a:cxn ang="0">
                    <a:pos x="61" y="64"/>
                  </a:cxn>
                  <a:cxn ang="0">
                    <a:pos x="70" y="81"/>
                  </a:cxn>
                  <a:cxn ang="0">
                    <a:pos x="72" y="90"/>
                  </a:cxn>
                  <a:cxn ang="0">
                    <a:pos x="73" y="101"/>
                  </a:cxn>
                  <a:cxn ang="0">
                    <a:pos x="70" y="102"/>
                  </a:cxn>
                  <a:cxn ang="0">
                    <a:pos x="66" y="104"/>
                  </a:cxn>
                  <a:cxn ang="0">
                    <a:pos x="47" y="94"/>
                  </a:cxn>
                  <a:cxn ang="0">
                    <a:pos x="37" y="85"/>
                  </a:cxn>
                  <a:cxn ang="0">
                    <a:pos x="25" y="73"/>
                  </a:cxn>
                  <a:cxn ang="0">
                    <a:pos x="11" y="59"/>
                  </a:cxn>
                  <a:cxn ang="0">
                    <a:pos x="11" y="43"/>
                  </a:cxn>
                  <a:cxn ang="0">
                    <a:pos x="0" y="15"/>
                  </a:cxn>
                </a:cxnLst>
                <a:rect l="0" t="0" r="r" b="b"/>
                <a:pathLst>
                  <a:path w="332" h="111">
                    <a:moveTo>
                      <a:pt x="200" y="81"/>
                    </a:moveTo>
                    <a:lnTo>
                      <a:pt x="200" y="83"/>
                    </a:lnTo>
                    <a:lnTo>
                      <a:pt x="200" y="85"/>
                    </a:lnTo>
                    <a:lnTo>
                      <a:pt x="200" y="83"/>
                    </a:lnTo>
                    <a:lnTo>
                      <a:pt x="200" y="81"/>
                    </a:lnTo>
                    <a:lnTo>
                      <a:pt x="200" y="81"/>
                    </a:lnTo>
                    <a:lnTo>
                      <a:pt x="200" y="81"/>
                    </a:lnTo>
                    <a:lnTo>
                      <a:pt x="200" y="81"/>
                    </a:lnTo>
                    <a:lnTo>
                      <a:pt x="200" y="81"/>
                    </a:lnTo>
                    <a:close/>
                    <a:moveTo>
                      <a:pt x="0" y="29"/>
                    </a:moveTo>
                    <a:lnTo>
                      <a:pt x="0" y="34"/>
                    </a:lnTo>
                    <a:lnTo>
                      <a:pt x="4" y="36"/>
                    </a:lnTo>
                    <a:lnTo>
                      <a:pt x="4" y="36"/>
                    </a:lnTo>
                    <a:lnTo>
                      <a:pt x="4" y="33"/>
                    </a:lnTo>
                    <a:lnTo>
                      <a:pt x="2" y="31"/>
                    </a:lnTo>
                    <a:lnTo>
                      <a:pt x="0" y="29"/>
                    </a:lnTo>
                    <a:lnTo>
                      <a:pt x="0" y="29"/>
                    </a:lnTo>
                    <a:lnTo>
                      <a:pt x="0" y="29"/>
                    </a:lnTo>
                    <a:lnTo>
                      <a:pt x="0" y="29"/>
                    </a:lnTo>
                    <a:close/>
                    <a:moveTo>
                      <a:pt x="169" y="94"/>
                    </a:moveTo>
                    <a:lnTo>
                      <a:pt x="172" y="101"/>
                    </a:lnTo>
                    <a:lnTo>
                      <a:pt x="179" y="104"/>
                    </a:lnTo>
                    <a:lnTo>
                      <a:pt x="179" y="106"/>
                    </a:lnTo>
                    <a:lnTo>
                      <a:pt x="181" y="108"/>
                    </a:lnTo>
                    <a:lnTo>
                      <a:pt x="185" y="111"/>
                    </a:lnTo>
                    <a:lnTo>
                      <a:pt x="186" y="111"/>
                    </a:lnTo>
                    <a:lnTo>
                      <a:pt x="191" y="111"/>
                    </a:lnTo>
                    <a:lnTo>
                      <a:pt x="191" y="108"/>
                    </a:lnTo>
                    <a:lnTo>
                      <a:pt x="197" y="111"/>
                    </a:lnTo>
                    <a:lnTo>
                      <a:pt x="198" y="108"/>
                    </a:lnTo>
                    <a:lnTo>
                      <a:pt x="209" y="108"/>
                    </a:lnTo>
                    <a:lnTo>
                      <a:pt x="218" y="106"/>
                    </a:lnTo>
                    <a:lnTo>
                      <a:pt x="221" y="102"/>
                    </a:lnTo>
                    <a:lnTo>
                      <a:pt x="228" y="102"/>
                    </a:lnTo>
                    <a:lnTo>
                      <a:pt x="233" y="106"/>
                    </a:lnTo>
                    <a:lnTo>
                      <a:pt x="235" y="108"/>
                    </a:lnTo>
                    <a:lnTo>
                      <a:pt x="237" y="108"/>
                    </a:lnTo>
                    <a:lnTo>
                      <a:pt x="245" y="102"/>
                    </a:lnTo>
                    <a:lnTo>
                      <a:pt x="254" y="102"/>
                    </a:lnTo>
                    <a:lnTo>
                      <a:pt x="252" y="99"/>
                    </a:lnTo>
                    <a:lnTo>
                      <a:pt x="259" y="90"/>
                    </a:lnTo>
                    <a:lnTo>
                      <a:pt x="263" y="81"/>
                    </a:lnTo>
                    <a:lnTo>
                      <a:pt x="268" y="76"/>
                    </a:lnTo>
                    <a:lnTo>
                      <a:pt x="271" y="62"/>
                    </a:lnTo>
                    <a:lnTo>
                      <a:pt x="271" y="59"/>
                    </a:lnTo>
                    <a:lnTo>
                      <a:pt x="273" y="57"/>
                    </a:lnTo>
                    <a:lnTo>
                      <a:pt x="273" y="55"/>
                    </a:lnTo>
                    <a:lnTo>
                      <a:pt x="277" y="50"/>
                    </a:lnTo>
                    <a:lnTo>
                      <a:pt x="278" y="50"/>
                    </a:lnTo>
                    <a:lnTo>
                      <a:pt x="285" y="50"/>
                    </a:lnTo>
                    <a:lnTo>
                      <a:pt x="292" y="50"/>
                    </a:lnTo>
                    <a:lnTo>
                      <a:pt x="294" y="50"/>
                    </a:lnTo>
                    <a:lnTo>
                      <a:pt x="299" y="50"/>
                    </a:lnTo>
                    <a:lnTo>
                      <a:pt x="304" y="54"/>
                    </a:lnTo>
                    <a:lnTo>
                      <a:pt x="304" y="50"/>
                    </a:lnTo>
                    <a:lnTo>
                      <a:pt x="308" y="55"/>
                    </a:lnTo>
                    <a:lnTo>
                      <a:pt x="310" y="55"/>
                    </a:lnTo>
                    <a:lnTo>
                      <a:pt x="313" y="54"/>
                    </a:lnTo>
                    <a:lnTo>
                      <a:pt x="318" y="54"/>
                    </a:lnTo>
                    <a:lnTo>
                      <a:pt x="318" y="50"/>
                    </a:lnTo>
                    <a:lnTo>
                      <a:pt x="313" y="47"/>
                    </a:lnTo>
                    <a:lnTo>
                      <a:pt x="313" y="41"/>
                    </a:lnTo>
                    <a:lnTo>
                      <a:pt x="315" y="40"/>
                    </a:lnTo>
                    <a:lnTo>
                      <a:pt x="324" y="41"/>
                    </a:lnTo>
                    <a:lnTo>
                      <a:pt x="329" y="40"/>
                    </a:lnTo>
                    <a:lnTo>
                      <a:pt x="332" y="36"/>
                    </a:lnTo>
                    <a:lnTo>
                      <a:pt x="332" y="36"/>
                    </a:lnTo>
                    <a:lnTo>
                      <a:pt x="329" y="36"/>
                    </a:lnTo>
                    <a:lnTo>
                      <a:pt x="325" y="34"/>
                    </a:lnTo>
                    <a:lnTo>
                      <a:pt x="322" y="33"/>
                    </a:lnTo>
                    <a:lnTo>
                      <a:pt x="318" y="33"/>
                    </a:lnTo>
                    <a:lnTo>
                      <a:pt x="313" y="28"/>
                    </a:lnTo>
                    <a:lnTo>
                      <a:pt x="313" y="28"/>
                    </a:lnTo>
                    <a:lnTo>
                      <a:pt x="310" y="31"/>
                    </a:lnTo>
                    <a:lnTo>
                      <a:pt x="308" y="29"/>
                    </a:lnTo>
                    <a:lnTo>
                      <a:pt x="313" y="26"/>
                    </a:lnTo>
                    <a:lnTo>
                      <a:pt x="310" y="24"/>
                    </a:lnTo>
                    <a:lnTo>
                      <a:pt x="310" y="24"/>
                    </a:lnTo>
                    <a:lnTo>
                      <a:pt x="304" y="28"/>
                    </a:lnTo>
                    <a:lnTo>
                      <a:pt x="304" y="26"/>
                    </a:lnTo>
                    <a:lnTo>
                      <a:pt x="301" y="24"/>
                    </a:lnTo>
                    <a:lnTo>
                      <a:pt x="304" y="19"/>
                    </a:lnTo>
                    <a:lnTo>
                      <a:pt x="304" y="19"/>
                    </a:lnTo>
                    <a:lnTo>
                      <a:pt x="304" y="17"/>
                    </a:lnTo>
                    <a:lnTo>
                      <a:pt x="301" y="15"/>
                    </a:lnTo>
                    <a:lnTo>
                      <a:pt x="301" y="15"/>
                    </a:lnTo>
                    <a:lnTo>
                      <a:pt x="297" y="12"/>
                    </a:lnTo>
                    <a:lnTo>
                      <a:pt x="297" y="7"/>
                    </a:lnTo>
                    <a:lnTo>
                      <a:pt x="294" y="5"/>
                    </a:lnTo>
                    <a:lnTo>
                      <a:pt x="292" y="7"/>
                    </a:lnTo>
                    <a:lnTo>
                      <a:pt x="292" y="10"/>
                    </a:lnTo>
                    <a:lnTo>
                      <a:pt x="289" y="14"/>
                    </a:lnTo>
                    <a:lnTo>
                      <a:pt x="287" y="14"/>
                    </a:lnTo>
                    <a:lnTo>
                      <a:pt x="289" y="10"/>
                    </a:lnTo>
                    <a:lnTo>
                      <a:pt x="289" y="7"/>
                    </a:lnTo>
                    <a:lnTo>
                      <a:pt x="285" y="7"/>
                    </a:lnTo>
                    <a:lnTo>
                      <a:pt x="285" y="15"/>
                    </a:lnTo>
                    <a:lnTo>
                      <a:pt x="282" y="15"/>
                    </a:lnTo>
                    <a:lnTo>
                      <a:pt x="277" y="22"/>
                    </a:lnTo>
                    <a:lnTo>
                      <a:pt x="277" y="28"/>
                    </a:lnTo>
                    <a:lnTo>
                      <a:pt x="271" y="34"/>
                    </a:lnTo>
                    <a:lnTo>
                      <a:pt x="268" y="34"/>
                    </a:lnTo>
                    <a:lnTo>
                      <a:pt x="263" y="36"/>
                    </a:lnTo>
                    <a:lnTo>
                      <a:pt x="261" y="36"/>
                    </a:lnTo>
                    <a:lnTo>
                      <a:pt x="263" y="36"/>
                    </a:lnTo>
                    <a:lnTo>
                      <a:pt x="261" y="40"/>
                    </a:lnTo>
                    <a:lnTo>
                      <a:pt x="263" y="40"/>
                    </a:lnTo>
                    <a:lnTo>
                      <a:pt x="268" y="40"/>
                    </a:lnTo>
                    <a:lnTo>
                      <a:pt x="266" y="41"/>
                    </a:lnTo>
                    <a:lnTo>
                      <a:pt x="263" y="41"/>
                    </a:lnTo>
                    <a:lnTo>
                      <a:pt x="263" y="43"/>
                    </a:lnTo>
                    <a:lnTo>
                      <a:pt x="263" y="45"/>
                    </a:lnTo>
                    <a:lnTo>
                      <a:pt x="264" y="50"/>
                    </a:lnTo>
                    <a:lnTo>
                      <a:pt x="263" y="54"/>
                    </a:lnTo>
                    <a:lnTo>
                      <a:pt x="261" y="50"/>
                    </a:lnTo>
                    <a:lnTo>
                      <a:pt x="261" y="48"/>
                    </a:lnTo>
                    <a:lnTo>
                      <a:pt x="259" y="45"/>
                    </a:lnTo>
                    <a:lnTo>
                      <a:pt x="259" y="45"/>
                    </a:lnTo>
                    <a:lnTo>
                      <a:pt x="259" y="43"/>
                    </a:lnTo>
                    <a:lnTo>
                      <a:pt x="258" y="43"/>
                    </a:lnTo>
                    <a:lnTo>
                      <a:pt x="256" y="47"/>
                    </a:lnTo>
                    <a:lnTo>
                      <a:pt x="258" y="55"/>
                    </a:lnTo>
                    <a:lnTo>
                      <a:pt x="256" y="55"/>
                    </a:lnTo>
                    <a:lnTo>
                      <a:pt x="252" y="54"/>
                    </a:lnTo>
                    <a:lnTo>
                      <a:pt x="249" y="48"/>
                    </a:lnTo>
                    <a:lnTo>
                      <a:pt x="249" y="48"/>
                    </a:lnTo>
                    <a:lnTo>
                      <a:pt x="245" y="47"/>
                    </a:lnTo>
                    <a:lnTo>
                      <a:pt x="244" y="50"/>
                    </a:lnTo>
                    <a:lnTo>
                      <a:pt x="244" y="54"/>
                    </a:lnTo>
                    <a:lnTo>
                      <a:pt x="237" y="57"/>
                    </a:lnTo>
                    <a:lnTo>
                      <a:pt x="237" y="62"/>
                    </a:lnTo>
                    <a:lnTo>
                      <a:pt x="231" y="64"/>
                    </a:lnTo>
                    <a:lnTo>
                      <a:pt x="230" y="68"/>
                    </a:lnTo>
                    <a:lnTo>
                      <a:pt x="226" y="73"/>
                    </a:lnTo>
                    <a:lnTo>
                      <a:pt x="221" y="76"/>
                    </a:lnTo>
                    <a:lnTo>
                      <a:pt x="207" y="80"/>
                    </a:lnTo>
                    <a:lnTo>
                      <a:pt x="205" y="80"/>
                    </a:lnTo>
                    <a:lnTo>
                      <a:pt x="207" y="85"/>
                    </a:lnTo>
                    <a:lnTo>
                      <a:pt x="209" y="87"/>
                    </a:lnTo>
                    <a:lnTo>
                      <a:pt x="207" y="87"/>
                    </a:lnTo>
                    <a:lnTo>
                      <a:pt x="204" y="87"/>
                    </a:lnTo>
                    <a:lnTo>
                      <a:pt x="200" y="88"/>
                    </a:lnTo>
                    <a:lnTo>
                      <a:pt x="198" y="90"/>
                    </a:lnTo>
                    <a:lnTo>
                      <a:pt x="197" y="94"/>
                    </a:lnTo>
                    <a:lnTo>
                      <a:pt x="197" y="97"/>
                    </a:lnTo>
                    <a:lnTo>
                      <a:pt x="193" y="102"/>
                    </a:lnTo>
                    <a:lnTo>
                      <a:pt x="193" y="104"/>
                    </a:lnTo>
                    <a:lnTo>
                      <a:pt x="186" y="102"/>
                    </a:lnTo>
                    <a:lnTo>
                      <a:pt x="181" y="101"/>
                    </a:lnTo>
                    <a:lnTo>
                      <a:pt x="176" y="101"/>
                    </a:lnTo>
                    <a:lnTo>
                      <a:pt x="172" y="97"/>
                    </a:lnTo>
                    <a:lnTo>
                      <a:pt x="171" y="94"/>
                    </a:lnTo>
                    <a:lnTo>
                      <a:pt x="169" y="94"/>
                    </a:lnTo>
                    <a:lnTo>
                      <a:pt x="169" y="94"/>
                    </a:lnTo>
                    <a:lnTo>
                      <a:pt x="169" y="94"/>
                    </a:lnTo>
                    <a:lnTo>
                      <a:pt x="169" y="94"/>
                    </a:lnTo>
                    <a:close/>
                    <a:moveTo>
                      <a:pt x="292" y="0"/>
                    </a:moveTo>
                    <a:lnTo>
                      <a:pt x="287" y="1"/>
                    </a:lnTo>
                    <a:lnTo>
                      <a:pt x="289" y="1"/>
                    </a:lnTo>
                    <a:lnTo>
                      <a:pt x="292" y="1"/>
                    </a:lnTo>
                    <a:lnTo>
                      <a:pt x="292" y="0"/>
                    </a:lnTo>
                    <a:lnTo>
                      <a:pt x="292" y="0"/>
                    </a:lnTo>
                    <a:lnTo>
                      <a:pt x="292" y="0"/>
                    </a:lnTo>
                    <a:lnTo>
                      <a:pt x="292" y="0"/>
                    </a:lnTo>
                    <a:close/>
                    <a:moveTo>
                      <a:pt x="296" y="0"/>
                    </a:moveTo>
                    <a:lnTo>
                      <a:pt x="292" y="1"/>
                    </a:lnTo>
                    <a:lnTo>
                      <a:pt x="294" y="5"/>
                    </a:lnTo>
                    <a:lnTo>
                      <a:pt x="297" y="1"/>
                    </a:lnTo>
                    <a:lnTo>
                      <a:pt x="297" y="1"/>
                    </a:lnTo>
                    <a:lnTo>
                      <a:pt x="296" y="0"/>
                    </a:lnTo>
                    <a:lnTo>
                      <a:pt x="296" y="0"/>
                    </a:lnTo>
                    <a:lnTo>
                      <a:pt x="296" y="0"/>
                    </a:lnTo>
                    <a:lnTo>
                      <a:pt x="296" y="0"/>
                    </a:lnTo>
                    <a:close/>
                    <a:moveTo>
                      <a:pt x="200" y="87"/>
                    </a:moveTo>
                    <a:lnTo>
                      <a:pt x="198" y="88"/>
                    </a:lnTo>
                    <a:lnTo>
                      <a:pt x="200" y="85"/>
                    </a:lnTo>
                    <a:lnTo>
                      <a:pt x="200" y="87"/>
                    </a:lnTo>
                    <a:lnTo>
                      <a:pt x="200" y="87"/>
                    </a:lnTo>
                    <a:lnTo>
                      <a:pt x="200" y="87"/>
                    </a:lnTo>
                    <a:lnTo>
                      <a:pt x="200" y="87"/>
                    </a:lnTo>
                    <a:close/>
                    <a:moveTo>
                      <a:pt x="204" y="87"/>
                    </a:moveTo>
                    <a:lnTo>
                      <a:pt x="202" y="87"/>
                    </a:lnTo>
                    <a:lnTo>
                      <a:pt x="200" y="85"/>
                    </a:lnTo>
                    <a:lnTo>
                      <a:pt x="202" y="85"/>
                    </a:lnTo>
                    <a:lnTo>
                      <a:pt x="204" y="87"/>
                    </a:lnTo>
                    <a:lnTo>
                      <a:pt x="204" y="87"/>
                    </a:lnTo>
                    <a:lnTo>
                      <a:pt x="204" y="87"/>
                    </a:lnTo>
                    <a:lnTo>
                      <a:pt x="204" y="87"/>
                    </a:lnTo>
                    <a:close/>
                    <a:moveTo>
                      <a:pt x="205" y="80"/>
                    </a:moveTo>
                    <a:lnTo>
                      <a:pt x="207" y="85"/>
                    </a:lnTo>
                    <a:lnTo>
                      <a:pt x="204" y="87"/>
                    </a:lnTo>
                    <a:lnTo>
                      <a:pt x="202" y="83"/>
                    </a:lnTo>
                    <a:lnTo>
                      <a:pt x="202" y="81"/>
                    </a:lnTo>
                    <a:lnTo>
                      <a:pt x="202" y="81"/>
                    </a:lnTo>
                    <a:lnTo>
                      <a:pt x="204" y="81"/>
                    </a:lnTo>
                    <a:lnTo>
                      <a:pt x="205" y="80"/>
                    </a:lnTo>
                    <a:lnTo>
                      <a:pt x="205" y="80"/>
                    </a:lnTo>
                    <a:lnTo>
                      <a:pt x="205" y="80"/>
                    </a:lnTo>
                    <a:lnTo>
                      <a:pt x="205" y="80"/>
                    </a:lnTo>
                    <a:close/>
                    <a:moveTo>
                      <a:pt x="0" y="15"/>
                    </a:moveTo>
                    <a:lnTo>
                      <a:pt x="2" y="12"/>
                    </a:lnTo>
                    <a:lnTo>
                      <a:pt x="4" y="8"/>
                    </a:lnTo>
                    <a:lnTo>
                      <a:pt x="7" y="12"/>
                    </a:lnTo>
                    <a:lnTo>
                      <a:pt x="13" y="14"/>
                    </a:lnTo>
                    <a:lnTo>
                      <a:pt x="14" y="15"/>
                    </a:lnTo>
                    <a:lnTo>
                      <a:pt x="16" y="15"/>
                    </a:lnTo>
                    <a:lnTo>
                      <a:pt x="19" y="17"/>
                    </a:lnTo>
                    <a:lnTo>
                      <a:pt x="19" y="22"/>
                    </a:lnTo>
                    <a:lnTo>
                      <a:pt x="16" y="24"/>
                    </a:lnTo>
                    <a:lnTo>
                      <a:pt x="16" y="26"/>
                    </a:lnTo>
                    <a:lnTo>
                      <a:pt x="21" y="28"/>
                    </a:lnTo>
                    <a:lnTo>
                      <a:pt x="25" y="24"/>
                    </a:lnTo>
                    <a:lnTo>
                      <a:pt x="28" y="24"/>
                    </a:lnTo>
                    <a:lnTo>
                      <a:pt x="30" y="26"/>
                    </a:lnTo>
                    <a:lnTo>
                      <a:pt x="33" y="24"/>
                    </a:lnTo>
                    <a:lnTo>
                      <a:pt x="33" y="22"/>
                    </a:lnTo>
                    <a:lnTo>
                      <a:pt x="33" y="22"/>
                    </a:lnTo>
                    <a:lnTo>
                      <a:pt x="33" y="22"/>
                    </a:lnTo>
                    <a:lnTo>
                      <a:pt x="37" y="22"/>
                    </a:lnTo>
                    <a:lnTo>
                      <a:pt x="39" y="19"/>
                    </a:lnTo>
                    <a:lnTo>
                      <a:pt x="39" y="19"/>
                    </a:lnTo>
                    <a:lnTo>
                      <a:pt x="42" y="22"/>
                    </a:lnTo>
                    <a:lnTo>
                      <a:pt x="56" y="36"/>
                    </a:lnTo>
                    <a:lnTo>
                      <a:pt x="58" y="41"/>
                    </a:lnTo>
                    <a:lnTo>
                      <a:pt x="61" y="48"/>
                    </a:lnTo>
                    <a:lnTo>
                      <a:pt x="58" y="50"/>
                    </a:lnTo>
                    <a:lnTo>
                      <a:pt x="58" y="59"/>
                    </a:lnTo>
                    <a:lnTo>
                      <a:pt x="58" y="59"/>
                    </a:lnTo>
                    <a:lnTo>
                      <a:pt x="58" y="62"/>
                    </a:lnTo>
                    <a:lnTo>
                      <a:pt x="61" y="64"/>
                    </a:lnTo>
                    <a:lnTo>
                      <a:pt x="61" y="73"/>
                    </a:lnTo>
                    <a:lnTo>
                      <a:pt x="61" y="76"/>
                    </a:lnTo>
                    <a:lnTo>
                      <a:pt x="65" y="80"/>
                    </a:lnTo>
                    <a:lnTo>
                      <a:pt x="68" y="80"/>
                    </a:lnTo>
                    <a:lnTo>
                      <a:pt x="70" y="81"/>
                    </a:lnTo>
                    <a:lnTo>
                      <a:pt x="68" y="83"/>
                    </a:lnTo>
                    <a:lnTo>
                      <a:pt x="70" y="88"/>
                    </a:lnTo>
                    <a:lnTo>
                      <a:pt x="70" y="90"/>
                    </a:lnTo>
                    <a:lnTo>
                      <a:pt x="72" y="90"/>
                    </a:lnTo>
                    <a:lnTo>
                      <a:pt x="72" y="90"/>
                    </a:lnTo>
                    <a:lnTo>
                      <a:pt x="72" y="94"/>
                    </a:lnTo>
                    <a:lnTo>
                      <a:pt x="77" y="99"/>
                    </a:lnTo>
                    <a:lnTo>
                      <a:pt x="77" y="102"/>
                    </a:lnTo>
                    <a:lnTo>
                      <a:pt x="73" y="102"/>
                    </a:lnTo>
                    <a:lnTo>
                      <a:pt x="73" y="101"/>
                    </a:lnTo>
                    <a:lnTo>
                      <a:pt x="73" y="99"/>
                    </a:lnTo>
                    <a:lnTo>
                      <a:pt x="72" y="97"/>
                    </a:lnTo>
                    <a:lnTo>
                      <a:pt x="72" y="99"/>
                    </a:lnTo>
                    <a:lnTo>
                      <a:pt x="72" y="101"/>
                    </a:lnTo>
                    <a:lnTo>
                      <a:pt x="70" y="102"/>
                    </a:lnTo>
                    <a:lnTo>
                      <a:pt x="72" y="102"/>
                    </a:lnTo>
                    <a:lnTo>
                      <a:pt x="72" y="102"/>
                    </a:lnTo>
                    <a:lnTo>
                      <a:pt x="68" y="106"/>
                    </a:lnTo>
                    <a:lnTo>
                      <a:pt x="68" y="102"/>
                    </a:lnTo>
                    <a:lnTo>
                      <a:pt x="66" y="104"/>
                    </a:lnTo>
                    <a:lnTo>
                      <a:pt x="63" y="102"/>
                    </a:lnTo>
                    <a:lnTo>
                      <a:pt x="61" y="101"/>
                    </a:lnTo>
                    <a:lnTo>
                      <a:pt x="56" y="99"/>
                    </a:lnTo>
                    <a:lnTo>
                      <a:pt x="51" y="97"/>
                    </a:lnTo>
                    <a:lnTo>
                      <a:pt x="47" y="94"/>
                    </a:lnTo>
                    <a:lnTo>
                      <a:pt x="46" y="94"/>
                    </a:lnTo>
                    <a:lnTo>
                      <a:pt x="44" y="94"/>
                    </a:lnTo>
                    <a:lnTo>
                      <a:pt x="40" y="94"/>
                    </a:lnTo>
                    <a:lnTo>
                      <a:pt x="37" y="88"/>
                    </a:lnTo>
                    <a:lnTo>
                      <a:pt x="37" y="85"/>
                    </a:lnTo>
                    <a:lnTo>
                      <a:pt x="32" y="81"/>
                    </a:lnTo>
                    <a:lnTo>
                      <a:pt x="25" y="80"/>
                    </a:lnTo>
                    <a:lnTo>
                      <a:pt x="25" y="76"/>
                    </a:lnTo>
                    <a:lnTo>
                      <a:pt x="25" y="76"/>
                    </a:lnTo>
                    <a:lnTo>
                      <a:pt x="25" y="73"/>
                    </a:lnTo>
                    <a:lnTo>
                      <a:pt x="25" y="69"/>
                    </a:lnTo>
                    <a:lnTo>
                      <a:pt x="21" y="68"/>
                    </a:lnTo>
                    <a:lnTo>
                      <a:pt x="16" y="62"/>
                    </a:lnTo>
                    <a:lnTo>
                      <a:pt x="14" y="62"/>
                    </a:lnTo>
                    <a:lnTo>
                      <a:pt x="11" y="59"/>
                    </a:lnTo>
                    <a:lnTo>
                      <a:pt x="13" y="57"/>
                    </a:lnTo>
                    <a:lnTo>
                      <a:pt x="9" y="54"/>
                    </a:lnTo>
                    <a:lnTo>
                      <a:pt x="9" y="50"/>
                    </a:lnTo>
                    <a:lnTo>
                      <a:pt x="11" y="48"/>
                    </a:lnTo>
                    <a:lnTo>
                      <a:pt x="11" y="43"/>
                    </a:lnTo>
                    <a:lnTo>
                      <a:pt x="9" y="40"/>
                    </a:lnTo>
                    <a:lnTo>
                      <a:pt x="7" y="36"/>
                    </a:lnTo>
                    <a:lnTo>
                      <a:pt x="6" y="22"/>
                    </a:lnTo>
                    <a:lnTo>
                      <a:pt x="0" y="15"/>
                    </a:lnTo>
                    <a:lnTo>
                      <a:pt x="0" y="15"/>
                    </a:lnTo>
                    <a:lnTo>
                      <a:pt x="0" y="15"/>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5" name="Freeform 201"/>
              <p:cNvSpPr>
                <a:spLocks noEditPoints="1"/>
              </p:cNvSpPr>
              <p:nvPr/>
            </p:nvSpPr>
            <p:spPr bwMode="auto">
              <a:xfrm>
                <a:off x="7199313" y="3592513"/>
                <a:ext cx="223838" cy="433388"/>
              </a:xfrm>
              <a:custGeom>
                <a:avLst/>
                <a:gdLst/>
                <a:ahLst/>
                <a:cxnLst>
                  <a:cxn ang="0">
                    <a:pos x="9" y="13"/>
                  </a:cxn>
                  <a:cxn ang="0">
                    <a:pos x="17" y="11"/>
                  </a:cxn>
                  <a:cxn ang="0">
                    <a:pos x="31" y="9"/>
                  </a:cxn>
                  <a:cxn ang="0">
                    <a:pos x="50" y="0"/>
                  </a:cxn>
                  <a:cxn ang="0">
                    <a:pos x="69" y="7"/>
                  </a:cxn>
                  <a:cxn ang="0">
                    <a:pos x="73" y="20"/>
                  </a:cxn>
                  <a:cxn ang="0">
                    <a:pos x="92" y="32"/>
                  </a:cxn>
                  <a:cxn ang="0">
                    <a:pos x="102" y="33"/>
                  </a:cxn>
                  <a:cxn ang="0">
                    <a:pos x="87" y="39"/>
                  </a:cxn>
                  <a:cxn ang="0">
                    <a:pos x="82" y="46"/>
                  </a:cxn>
                  <a:cxn ang="0">
                    <a:pos x="75" y="49"/>
                  </a:cxn>
                  <a:cxn ang="0">
                    <a:pos x="75" y="59"/>
                  </a:cxn>
                  <a:cxn ang="0">
                    <a:pos x="68" y="65"/>
                  </a:cxn>
                  <a:cxn ang="0">
                    <a:pos x="64" y="82"/>
                  </a:cxn>
                  <a:cxn ang="0">
                    <a:pos x="71" y="93"/>
                  </a:cxn>
                  <a:cxn ang="0">
                    <a:pos x="82" y="106"/>
                  </a:cxn>
                  <a:cxn ang="0">
                    <a:pos x="111" y="129"/>
                  </a:cxn>
                  <a:cxn ang="0">
                    <a:pos x="123" y="146"/>
                  </a:cxn>
                  <a:cxn ang="0">
                    <a:pos x="130" y="166"/>
                  </a:cxn>
                  <a:cxn ang="0">
                    <a:pos x="136" y="181"/>
                  </a:cxn>
                  <a:cxn ang="0">
                    <a:pos x="141" y="197"/>
                  </a:cxn>
                  <a:cxn ang="0">
                    <a:pos x="137" y="200"/>
                  </a:cxn>
                  <a:cxn ang="0">
                    <a:pos x="136" y="211"/>
                  </a:cxn>
                  <a:cxn ang="0">
                    <a:pos x="129" y="225"/>
                  </a:cxn>
                  <a:cxn ang="0">
                    <a:pos x="115" y="235"/>
                  </a:cxn>
                  <a:cxn ang="0">
                    <a:pos x="96" y="239"/>
                  </a:cxn>
                  <a:cxn ang="0">
                    <a:pos x="96" y="240"/>
                  </a:cxn>
                  <a:cxn ang="0">
                    <a:pos x="92" y="249"/>
                  </a:cxn>
                  <a:cxn ang="0">
                    <a:pos x="87" y="251"/>
                  </a:cxn>
                  <a:cxn ang="0">
                    <a:pos x="85" y="256"/>
                  </a:cxn>
                  <a:cxn ang="0">
                    <a:pos x="75" y="266"/>
                  </a:cxn>
                  <a:cxn ang="0">
                    <a:pos x="64" y="270"/>
                  </a:cxn>
                  <a:cxn ang="0">
                    <a:pos x="64" y="261"/>
                  </a:cxn>
                  <a:cxn ang="0">
                    <a:pos x="73" y="244"/>
                  </a:cxn>
                  <a:cxn ang="0">
                    <a:pos x="59" y="244"/>
                  </a:cxn>
                  <a:cxn ang="0">
                    <a:pos x="68" y="228"/>
                  </a:cxn>
                  <a:cxn ang="0">
                    <a:pos x="90" y="232"/>
                  </a:cxn>
                  <a:cxn ang="0">
                    <a:pos x="85" y="214"/>
                  </a:cxn>
                  <a:cxn ang="0">
                    <a:pos x="106" y="204"/>
                  </a:cxn>
                  <a:cxn ang="0">
                    <a:pos x="104" y="174"/>
                  </a:cxn>
                  <a:cxn ang="0">
                    <a:pos x="101" y="159"/>
                  </a:cxn>
                  <a:cxn ang="0">
                    <a:pos x="102" y="139"/>
                  </a:cxn>
                  <a:cxn ang="0">
                    <a:pos x="92" y="131"/>
                  </a:cxn>
                  <a:cxn ang="0">
                    <a:pos x="85" y="122"/>
                  </a:cxn>
                  <a:cxn ang="0">
                    <a:pos x="69" y="105"/>
                  </a:cxn>
                  <a:cxn ang="0">
                    <a:pos x="43" y="87"/>
                  </a:cxn>
                  <a:cxn ang="0">
                    <a:pos x="36" y="72"/>
                  </a:cxn>
                  <a:cxn ang="0">
                    <a:pos x="54" y="59"/>
                  </a:cxn>
                  <a:cxn ang="0">
                    <a:pos x="40" y="47"/>
                  </a:cxn>
                  <a:cxn ang="0">
                    <a:pos x="12" y="35"/>
                  </a:cxn>
                  <a:cxn ang="0">
                    <a:pos x="0" y="18"/>
                  </a:cxn>
                  <a:cxn ang="0">
                    <a:pos x="49" y="246"/>
                  </a:cxn>
                  <a:cxn ang="0">
                    <a:pos x="47" y="240"/>
                  </a:cxn>
                </a:cxnLst>
                <a:rect l="0" t="0" r="r" b="b"/>
                <a:pathLst>
                  <a:path w="141" h="273">
                    <a:moveTo>
                      <a:pt x="0" y="18"/>
                    </a:moveTo>
                    <a:lnTo>
                      <a:pt x="0" y="18"/>
                    </a:lnTo>
                    <a:lnTo>
                      <a:pt x="0" y="18"/>
                    </a:lnTo>
                    <a:lnTo>
                      <a:pt x="3" y="14"/>
                    </a:lnTo>
                    <a:lnTo>
                      <a:pt x="5" y="14"/>
                    </a:lnTo>
                    <a:lnTo>
                      <a:pt x="9" y="13"/>
                    </a:lnTo>
                    <a:lnTo>
                      <a:pt x="12" y="13"/>
                    </a:lnTo>
                    <a:lnTo>
                      <a:pt x="12" y="14"/>
                    </a:lnTo>
                    <a:lnTo>
                      <a:pt x="12" y="16"/>
                    </a:lnTo>
                    <a:lnTo>
                      <a:pt x="14" y="16"/>
                    </a:lnTo>
                    <a:lnTo>
                      <a:pt x="14" y="13"/>
                    </a:lnTo>
                    <a:lnTo>
                      <a:pt x="17" y="11"/>
                    </a:lnTo>
                    <a:lnTo>
                      <a:pt x="21" y="14"/>
                    </a:lnTo>
                    <a:lnTo>
                      <a:pt x="23" y="13"/>
                    </a:lnTo>
                    <a:lnTo>
                      <a:pt x="24" y="13"/>
                    </a:lnTo>
                    <a:lnTo>
                      <a:pt x="26" y="14"/>
                    </a:lnTo>
                    <a:lnTo>
                      <a:pt x="30" y="13"/>
                    </a:lnTo>
                    <a:lnTo>
                      <a:pt x="31" y="9"/>
                    </a:lnTo>
                    <a:lnTo>
                      <a:pt x="35" y="9"/>
                    </a:lnTo>
                    <a:lnTo>
                      <a:pt x="36" y="11"/>
                    </a:lnTo>
                    <a:lnTo>
                      <a:pt x="43" y="9"/>
                    </a:lnTo>
                    <a:lnTo>
                      <a:pt x="42" y="2"/>
                    </a:lnTo>
                    <a:lnTo>
                      <a:pt x="47" y="0"/>
                    </a:lnTo>
                    <a:lnTo>
                      <a:pt x="50" y="0"/>
                    </a:lnTo>
                    <a:lnTo>
                      <a:pt x="54" y="0"/>
                    </a:lnTo>
                    <a:lnTo>
                      <a:pt x="57" y="2"/>
                    </a:lnTo>
                    <a:lnTo>
                      <a:pt x="57" y="4"/>
                    </a:lnTo>
                    <a:lnTo>
                      <a:pt x="59" y="4"/>
                    </a:lnTo>
                    <a:lnTo>
                      <a:pt x="63" y="7"/>
                    </a:lnTo>
                    <a:lnTo>
                      <a:pt x="69" y="7"/>
                    </a:lnTo>
                    <a:lnTo>
                      <a:pt x="71" y="9"/>
                    </a:lnTo>
                    <a:lnTo>
                      <a:pt x="76" y="7"/>
                    </a:lnTo>
                    <a:lnTo>
                      <a:pt x="78" y="9"/>
                    </a:lnTo>
                    <a:lnTo>
                      <a:pt x="78" y="13"/>
                    </a:lnTo>
                    <a:lnTo>
                      <a:pt x="76" y="13"/>
                    </a:lnTo>
                    <a:lnTo>
                      <a:pt x="73" y="20"/>
                    </a:lnTo>
                    <a:lnTo>
                      <a:pt x="76" y="20"/>
                    </a:lnTo>
                    <a:lnTo>
                      <a:pt x="76" y="23"/>
                    </a:lnTo>
                    <a:lnTo>
                      <a:pt x="85" y="25"/>
                    </a:lnTo>
                    <a:lnTo>
                      <a:pt x="85" y="28"/>
                    </a:lnTo>
                    <a:lnTo>
                      <a:pt x="87" y="32"/>
                    </a:lnTo>
                    <a:lnTo>
                      <a:pt x="92" y="32"/>
                    </a:lnTo>
                    <a:lnTo>
                      <a:pt x="96" y="32"/>
                    </a:lnTo>
                    <a:lnTo>
                      <a:pt x="96" y="32"/>
                    </a:lnTo>
                    <a:lnTo>
                      <a:pt x="99" y="32"/>
                    </a:lnTo>
                    <a:lnTo>
                      <a:pt x="101" y="32"/>
                    </a:lnTo>
                    <a:lnTo>
                      <a:pt x="101" y="32"/>
                    </a:lnTo>
                    <a:lnTo>
                      <a:pt x="102" y="33"/>
                    </a:lnTo>
                    <a:lnTo>
                      <a:pt x="101" y="35"/>
                    </a:lnTo>
                    <a:lnTo>
                      <a:pt x="99" y="37"/>
                    </a:lnTo>
                    <a:lnTo>
                      <a:pt x="99" y="37"/>
                    </a:lnTo>
                    <a:lnTo>
                      <a:pt x="96" y="39"/>
                    </a:lnTo>
                    <a:lnTo>
                      <a:pt x="92" y="39"/>
                    </a:lnTo>
                    <a:lnTo>
                      <a:pt x="87" y="39"/>
                    </a:lnTo>
                    <a:lnTo>
                      <a:pt x="87" y="40"/>
                    </a:lnTo>
                    <a:lnTo>
                      <a:pt x="87" y="42"/>
                    </a:lnTo>
                    <a:lnTo>
                      <a:pt x="87" y="42"/>
                    </a:lnTo>
                    <a:lnTo>
                      <a:pt x="87" y="46"/>
                    </a:lnTo>
                    <a:lnTo>
                      <a:pt x="85" y="46"/>
                    </a:lnTo>
                    <a:lnTo>
                      <a:pt x="82" y="46"/>
                    </a:lnTo>
                    <a:lnTo>
                      <a:pt x="80" y="47"/>
                    </a:lnTo>
                    <a:lnTo>
                      <a:pt x="80" y="47"/>
                    </a:lnTo>
                    <a:lnTo>
                      <a:pt x="78" y="46"/>
                    </a:lnTo>
                    <a:lnTo>
                      <a:pt x="76" y="46"/>
                    </a:lnTo>
                    <a:lnTo>
                      <a:pt x="76" y="47"/>
                    </a:lnTo>
                    <a:lnTo>
                      <a:pt x="75" y="49"/>
                    </a:lnTo>
                    <a:lnTo>
                      <a:pt x="76" y="51"/>
                    </a:lnTo>
                    <a:lnTo>
                      <a:pt x="76" y="54"/>
                    </a:lnTo>
                    <a:lnTo>
                      <a:pt x="76" y="54"/>
                    </a:lnTo>
                    <a:lnTo>
                      <a:pt x="75" y="56"/>
                    </a:lnTo>
                    <a:lnTo>
                      <a:pt x="76" y="58"/>
                    </a:lnTo>
                    <a:lnTo>
                      <a:pt x="75" y="59"/>
                    </a:lnTo>
                    <a:lnTo>
                      <a:pt x="75" y="59"/>
                    </a:lnTo>
                    <a:lnTo>
                      <a:pt x="71" y="65"/>
                    </a:lnTo>
                    <a:lnTo>
                      <a:pt x="69" y="65"/>
                    </a:lnTo>
                    <a:lnTo>
                      <a:pt x="68" y="63"/>
                    </a:lnTo>
                    <a:lnTo>
                      <a:pt x="68" y="65"/>
                    </a:lnTo>
                    <a:lnTo>
                      <a:pt x="68" y="65"/>
                    </a:lnTo>
                    <a:lnTo>
                      <a:pt x="68" y="68"/>
                    </a:lnTo>
                    <a:lnTo>
                      <a:pt x="64" y="70"/>
                    </a:lnTo>
                    <a:lnTo>
                      <a:pt x="64" y="73"/>
                    </a:lnTo>
                    <a:lnTo>
                      <a:pt x="68" y="73"/>
                    </a:lnTo>
                    <a:lnTo>
                      <a:pt x="68" y="73"/>
                    </a:lnTo>
                    <a:lnTo>
                      <a:pt x="64" y="82"/>
                    </a:lnTo>
                    <a:lnTo>
                      <a:pt x="64" y="82"/>
                    </a:lnTo>
                    <a:lnTo>
                      <a:pt x="68" y="86"/>
                    </a:lnTo>
                    <a:lnTo>
                      <a:pt x="68" y="87"/>
                    </a:lnTo>
                    <a:lnTo>
                      <a:pt x="64" y="89"/>
                    </a:lnTo>
                    <a:lnTo>
                      <a:pt x="68" y="89"/>
                    </a:lnTo>
                    <a:lnTo>
                      <a:pt x="71" y="93"/>
                    </a:lnTo>
                    <a:lnTo>
                      <a:pt x="76" y="96"/>
                    </a:lnTo>
                    <a:lnTo>
                      <a:pt x="78" y="96"/>
                    </a:lnTo>
                    <a:lnTo>
                      <a:pt x="80" y="101"/>
                    </a:lnTo>
                    <a:lnTo>
                      <a:pt x="80" y="101"/>
                    </a:lnTo>
                    <a:lnTo>
                      <a:pt x="80" y="105"/>
                    </a:lnTo>
                    <a:lnTo>
                      <a:pt x="82" y="106"/>
                    </a:lnTo>
                    <a:lnTo>
                      <a:pt x="82" y="110"/>
                    </a:lnTo>
                    <a:lnTo>
                      <a:pt x="87" y="115"/>
                    </a:lnTo>
                    <a:lnTo>
                      <a:pt x="92" y="117"/>
                    </a:lnTo>
                    <a:lnTo>
                      <a:pt x="92" y="119"/>
                    </a:lnTo>
                    <a:lnTo>
                      <a:pt x="102" y="124"/>
                    </a:lnTo>
                    <a:lnTo>
                      <a:pt x="111" y="129"/>
                    </a:lnTo>
                    <a:lnTo>
                      <a:pt x="113" y="133"/>
                    </a:lnTo>
                    <a:lnTo>
                      <a:pt x="118" y="138"/>
                    </a:lnTo>
                    <a:lnTo>
                      <a:pt x="123" y="143"/>
                    </a:lnTo>
                    <a:lnTo>
                      <a:pt x="123" y="146"/>
                    </a:lnTo>
                    <a:lnTo>
                      <a:pt x="123" y="146"/>
                    </a:lnTo>
                    <a:lnTo>
                      <a:pt x="123" y="146"/>
                    </a:lnTo>
                    <a:lnTo>
                      <a:pt x="127" y="152"/>
                    </a:lnTo>
                    <a:lnTo>
                      <a:pt x="127" y="155"/>
                    </a:lnTo>
                    <a:lnTo>
                      <a:pt x="129" y="155"/>
                    </a:lnTo>
                    <a:lnTo>
                      <a:pt x="127" y="155"/>
                    </a:lnTo>
                    <a:lnTo>
                      <a:pt x="130" y="160"/>
                    </a:lnTo>
                    <a:lnTo>
                      <a:pt x="130" y="166"/>
                    </a:lnTo>
                    <a:lnTo>
                      <a:pt x="132" y="167"/>
                    </a:lnTo>
                    <a:lnTo>
                      <a:pt x="134" y="173"/>
                    </a:lnTo>
                    <a:lnTo>
                      <a:pt x="136" y="174"/>
                    </a:lnTo>
                    <a:lnTo>
                      <a:pt x="136" y="178"/>
                    </a:lnTo>
                    <a:lnTo>
                      <a:pt x="136" y="178"/>
                    </a:lnTo>
                    <a:lnTo>
                      <a:pt x="136" y="181"/>
                    </a:lnTo>
                    <a:lnTo>
                      <a:pt x="136" y="183"/>
                    </a:lnTo>
                    <a:lnTo>
                      <a:pt x="136" y="186"/>
                    </a:lnTo>
                    <a:lnTo>
                      <a:pt x="137" y="188"/>
                    </a:lnTo>
                    <a:lnTo>
                      <a:pt x="137" y="190"/>
                    </a:lnTo>
                    <a:lnTo>
                      <a:pt x="139" y="192"/>
                    </a:lnTo>
                    <a:lnTo>
                      <a:pt x="141" y="197"/>
                    </a:lnTo>
                    <a:lnTo>
                      <a:pt x="141" y="199"/>
                    </a:lnTo>
                    <a:lnTo>
                      <a:pt x="139" y="199"/>
                    </a:lnTo>
                    <a:lnTo>
                      <a:pt x="139" y="197"/>
                    </a:lnTo>
                    <a:lnTo>
                      <a:pt x="139" y="197"/>
                    </a:lnTo>
                    <a:lnTo>
                      <a:pt x="137" y="197"/>
                    </a:lnTo>
                    <a:lnTo>
                      <a:pt x="137" y="200"/>
                    </a:lnTo>
                    <a:lnTo>
                      <a:pt x="139" y="200"/>
                    </a:lnTo>
                    <a:lnTo>
                      <a:pt x="139" y="204"/>
                    </a:lnTo>
                    <a:lnTo>
                      <a:pt x="137" y="206"/>
                    </a:lnTo>
                    <a:lnTo>
                      <a:pt x="137" y="206"/>
                    </a:lnTo>
                    <a:lnTo>
                      <a:pt x="134" y="209"/>
                    </a:lnTo>
                    <a:lnTo>
                      <a:pt x="136" y="211"/>
                    </a:lnTo>
                    <a:lnTo>
                      <a:pt x="136" y="214"/>
                    </a:lnTo>
                    <a:lnTo>
                      <a:pt x="136" y="216"/>
                    </a:lnTo>
                    <a:lnTo>
                      <a:pt x="134" y="218"/>
                    </a:lnTo>
                    <a:lnTo>
                      <a:pt x="132" y="219"/>
                    </a:lnTo>
                    <a:lnTo>
                      <a:pt x="130" y="223"/>
                    </a:lnTo>
                    <a:lnTo>
                      <a:pt x="129" y="225"/>
                    </a:lnTo>
                    <a:lnTo>
                      <a:pt x="127" y="228"/>
                    </a:lnTo>
                    <a:lnTo>
                      <a:pt x="123" y="228"/>
                    </a:lnTo>
                    <a:lnTo>
                      <a:pt x="118" y="232"/>
                    </a:lnTo>
                    <a:lnTo>
                      <a:pt x="118" y="233"/>
                    </a:lnTo>
                    <a:lnTo>
                      <a:pt x="116" y="233"/>
                    </a:lnTo>
                    <a:lnTo>
                      <a:pt x="115" y="235"/>
                    </a:lnTo>
                    <a:lnTo>
                      <a:pt x="106" y="240"/>
                    </a:lnTo>
                    <a:lnTo>
                      <a:pt x="102" y="240"/>
                    </a:lnTo>
                    <a:lnTo>
                      <a:pt x="101" y="240"/>
                    </a:lnTo>
                    <a:lnTo>
                      <a:pt x="99" y="240"/>
                    </a:lnTo>
                    <a:lnTo>
                      <a:pt x="96" y="240"/>
                    </a:lnTo>
                    <a:lnTo>
                      <a:pt x="96" y="239"/>
                    </a:lnTo>
                    <a:lnTo>
                      <a:pt x="96" y="235"/>
                    </a:lnTo>
                    <a:lnTo>
                      <a:pt x="96" y="239"/>
                    </a:lnTo>
                    <a:lnTo>
                      <a:pt x="96" y="239"/>
                    </a:lnTo>
                    <a:lnTo>
                      <a:pt x="92" y="239"/>
                    </a:lnTo>
                    <a:lnTo>
                      <a:pt x="96" y="240"/>
                    </a:lnTo>
                    <a:lnTo>
                      <a:pt x="96" y="240"/>
                    </a:lnTo>
                    <a:lnTo>
                      <a:pt x="92" y="242"/>
                    </a:lnTo>
                    <a:lnTo>
                      <a:pt x="92" y="240"/>
                    </a:lnTo>
                    <a:lnTo>
                      <a:pt x="96" y="244"/>
                    </a:lnTo>
                    <a:lnTo>
                      <a:pt x="96" y="246"/>
                    </a:lnTo>
                    <a:lnTo>
                      <a:pt x="96" y="247"/>
                    </a:lnTo>
                    <a:lnTo>
                      <a:pt x="92" y="249"/>
                    </a:lnTo>
                    <a:lnTo>
                      <a:pt x="90" y="246"/>
                    </a:lnTo>
                    <a:lnTo>
                      <a:pt x="92" y="251"/>
                    </a:lnTo>
                    <a:lnTo>
                      <a:pt x="92" y="251"/>
                    </a:lnTo>
                    <a:lnTo>
                      <a:pt x="92" y="254"/>
                    </a:lnTo>
                    <a:lnTo>
                      <a:pt x="90" y="251"/>
                    </a:lnTo>
                    <a:lnTo>
                      <a:pt x="87" y="251"/>
                    </a:lnTo>
                    <a:lnTo>
                      <a:pt x="87" y="251"/>
                    </a:lnTo>
                    <a:lnTo>
                      <a:pt x="87" y="254"/>
                    </a:lnTo>
                    <a:lnTo>
                      <a:pt x="87" y="254"/>
                    </a:lnTo>
                    <a:lnTo>
                      <a:pt x="87" y="256"/>
                    </a:lnTo>
                    <a:lnTo>
                      <a:pt x="87" y="256"/>
                    </a:lnTo>
                    <a:lnTo>
                      <a:pt x="85" y="256"/>
                    </a:lnTo>
                    <a:lnTo>
                      <a:pt x="83" y="256"/>
                    </a:lnTo>
                    <a:lnTo>
                      <a:pt x="80" y="259"/>
                    </a:lnTo>
                    <a:lnTo>
                      <a:pt x="78" y="261"/>
                    </a:lnTo>
                    <a:lnTo>
                      <a:pt x="76" y="261"/>
                    </a:lnTo>
                    <a:lnTo>
                      <a:pt x="76" y="263"/>
                    </a:lnTo>
                    <a:lnTo>
                      <a:pt x="75" y="266"/>
                    </a:lnTo>
                    <a:lnTo>
                      <a:pt x="73" y="268"/>
                    </a:lnTo>
                    <a:lnTo>
                      <a:pt x="71" y="268"/>
                    </a:lnTo>
                    <a:lnTo>
                      <a:pt x="73" y="270"/>
                    </a:lnTo>
                    <a:lnTo>
                      <a:pt x="64" y="273"/>
                    </a:lnTo>
                    <a:lnTo>
                      <a:pt x="63" y="272"/>
                    </a:lnTo>
                    <a:lnTo>
                      <a:pt x="64" y="270"/>
                    </a:lnTo>
                    <a:lnTo>
                      <a:pt x="68" y="270"/>
                    </a:lnTo>
                    <a:lnTo>
                      <a:pt x="68" y="266"/>
                    </a:lnTo>
                    <a:lnTo>
                      <a:pt x="68" y="268"/>
                    </a:lnTo>
                    <a:lnTo>
                      <a:pt x="64" y="266"/>
                    </a:lnTo>
                    <a:lnTo>
                      <a:pt x="64" y="261"/>
                    </a:lnTo>
                    <a:lnTo>
                      <a:pt x="64" y="261"/>
                    </a:lnTo>
                    <a:lnTo>
                      <a:pt x="64" y="259"/>
                    </a:lnTo>
                    <a:lnTo>
                      <a:pt x="64" y="259"/>
                    </a:lnTo>
                    <a:lnTo>
                      <a:pt x="64" y="254"/>
                    </a:lnTo>
                    <a:lnTo>
                      <a:pt x="68" y="249"/>
                    </a:lnTo>
                    <a:lnTo>
                      <a:pt x="71" y="246"/>
                    </a:lnTo>
                    <a:lnTo>
                      <a:pt x="73" y="244"/>
                    </a:lnTo>
                    <a:lnTo>
                      <a:pt x="69" y="244"/>
                    </a:lnTo>
                    <a:lnTo>
                      <a:pt x="68" y="244"/>
                    </a:lnTo>
                    <a:lnTo>
                      <a:pt x="64" y="246"/>
                    </a:lnTo>
                    <a:lnTo>
                      <a:pt x="64" y="244"/>
                    </a:lnTo>
                    <a:lnTo>
                      <a:pt x="63" y="244"/>
                    </a:lnTo>
                    <a:lnTo>
                      <a:pt x="59" y="244"/>
                    </a:lnTo>
                    <a:lnTo>
                      <a:pt x="59" y="242"/>
                    </a:lnTo>
                    <a:lnTo>
                      <a:pt x="59" y="240"/>
                    </a:lnTo>
                    <a:lnTo>
                      <a:pt x="57" y="239"/>
                    </a:lnTo>
                    <a:lnTo>
                      <a:pt x="59" y="235"/>
                    </a:lnTo>
                    <a:lnTo>
                      <a:pt x="64" y="233"/>
                    </a:lnTo>
                    <a:lnTo>
                      <a:pt x="68" y="228"/>
                    </a:lnTo>
                    <a:lnTo>
                      <a:pt x="69" y="228"/>
                    </a:lnTo>
                    <a:lnTo>
                      <a:pt x="71" y="232"/>
                    </a:lnTo>
                    <a:lnTo>
                      <a:pt x="80" y="228"/>
                    </a:lnTo>
                    <a:lnTo>
                      <a:pt x="83" y="232"/>
                    </a:lnTo>
                    <a:lnTo>
                      <a:pt x="85" y="233"/>
                    </a:lnTo>
                    <a:lnTo>
                      <a:pt x="90" y="232"/>
                    </a:lnTo>
                    <a:lnTo>
                      <a:pt x="87" y="228"/>
                    </a:lnTo>
                    <a:lnTo>
                      <a:pt x="87" y="228"/>
                    </a:lnTo>
                    <a:lnTo>
                      <a:pt x="85" y="225"/>
                    </a:lnTo>
                    <a:lnTo>
                      <a:pt x="82" y="223"/>
                    </a:lnTo>
                    <a:lnTo>
                      <a:pt x="82" y="216"/>
                    </a:lnTo>
                    <a:lnTo>
                      <a:pt x="85" y="214"/>
                    </a:lnTo>
                    <a:lnTo>
                      <a:pt x="92" y="214"/>
                    </a:lnTo>
                    <a:lnTo>
                      <a:pt x="92" y="211"/>
                    </a:lnTo>
                    <a:lnTo>
                      <a:pt x="99" y="209"/>
                    </a:lnTo>
                    <a:lnTo>
                      <a:pt x="101" y="206"/>
                    </a:lnTo>
                    <a:lnTo>
                      <a:pt x="102" y="206"/>
                    </a:lnTo>
                    <a:lnTo>
                      <a:pt x="106" y="204"/>
                    </a:lnTo>
                    <a:lnTo>
                      <a:pt x="108" y="199"/>
                    </a:lnTo>
                    <a:lnTo>
                      <a:pt x="108" y="195"/>
                    </a:lnTo>
                    <a:lnTo>
                      <a:pt x="108" y="190"/>
                    </a:lnTo>
                    <a:lnTo>
                      <a:pt x="108" y="186"/>
                    </a:lnTo>
                    <a:lnTo>
                      <a:pt x="108" y="181"/>
                    </a:lnTo>
                    <a:lnTo>
                      <a:pt x="104" y="174"/>
                    </a:lnTo>
                    <a:lnTo>
                      <a:pt x="101" y="173"/>
                    </a:lnTo>
                    <a:lnTo>
                      <a:pt x="99" y="167"/>
                    </a:lnTo>
                    <a:lnTo>
                      <a:pt x="99" y="167"/>
                    </a:lnTo>
                    <a:lnTo>
                      <a:pt x="102" y="166"/>
                    </a:lnTo>
                    <a:lnTo>
                      <a:pt x="102" y="160"/>
                    </a:lnTo>
                    <a:lnTo>
                      <a:pt x="101" y="159"/>
                    </a:lnTo>
                    <a:lnTo>
                      <a:pt x="101" y="155"/>
                    </a:lnTo>
                    <a:lnTo>
                      <a:pt x="106" y="150"/>
                    </a:lnTo>
                    <a:lnTo>
                      <a:pt x="106" y="146"/>
                    </a:lnTo>
                    <a:lnTo>
                      <a:pt x="102" y="146"/>
                    </a:lnTo>
                    <a:lnTo>
                      <a:pt x="101" y="143"/>
                    </a:lnTo>
                    <a:lnTo>
                      <a:pt x="102" y="139"/>
                    </a:lnTo>
                    <a:lnTo>
                      <a:pt x="104" y="136"/>
                    </a:lnTo>
                    <a:lnTo>
                      <a:pt x="104" y="136"/>
                    </a:lnTo>
                    <a:lnTo>
                      <a:pt x="101" y="136"/>
                    </a:lnTo>
                    <a:lnTo>
                      <a:pt x="99" y="136"/>
                    </a:lnTo>
                    <a:lnTo>
                      <a:pt x="96" y="131"/>
                    </a:lnTo>
                    <a:lnTo>
                      <a:pt x="92" y="131"/>
                    </a:lnTo>
                    <a:lnTo>
                      <a:pt x="92" y="129"/>
                    </a:lnTo>
                    <a:lnTo>
                      <a:pt x="92" y="127"/>
                    </a:lnTo>
                    <a:lnTo>
                      <a:pt x="90" y="127"/>
                    </a:lnTo>
                    <a:lnTo>
                      <a:pt x="87" y="127"/>
                    </a:lnTo>
                    <a:lnTo>
                      <a:pt x="87" y="124"/>
                    </a:lnTo>
                    <a:lnTo>
                      <a:pt x="85" y="122"/>
                    </a:lnTo>
                    <a:lnTo>
                      <a:pt x="83" y="119"/>
                    </a:lnTo>
                    <a:lnTo>
                      <a:pt x="80" y="119"/>
                    </a:lnTo>
                    <a:lnTo>
                      <a:pt x="76" y="117"/>
                    </a:lnTo>
                    <a:lnTo>
                      <a:pt x="75" y="113"/>
                    </a:lnTo>
                    <a:lnTo>
                      <a:pt x="69" y="106"/>
                    </a:lnTo>
                    <a:lnTo>
                      <a:pt x="69" y="105"/>
                    </a:lnTo>
                    <a:lnTo>
                      <a:pt x="68" y="101"/>
                    </a:lnTo>
                    <a:lnTo>
                      <a:pt x="63" y="96"/>
                    </a:lnTo>
                    <a:lnTo>
                      <a:pt x="57" y="93"/>
                    </a:lnTo>
                    <a:lnTo>
                      <a:pt x="54" y="91"/>
                    </a:lnTo>
                    <a:lnTo>
                      <a:pt x="49" y="89"/>
                    </a:lnTo>
                    <a:lnTo>
                      <a:pt x="43" y="87"/>
                    </a:lnTo>
                    <a:lnTo>
                      <a:pt x="42" y="84"/>
                    </a:lnTo>
                    <a:lnTo>
                      <a:pt x="40" y="84"/>
                    </a:lnTo>
                    <a:lnTo>
                      <a:pt x="36" y="82"/>
                    </a:lnTo>
                    <a:lnTo>
                      <a:pt x="40" y="79"/>
                    </a:lnTo>
                    <a:lnTo>
                      <a:pt x="36" y="73"/>
                    </a:lnTo>
                    <a:lnTo>
                      <a:pt x="36" y="72"/>
                    </a:lnTo>
                    <a:lnTo>
                      <a:pt x="40" y="72"/>
                    </a:lnTo>
                    <a:lnTo>
                      <a:pt x="43" y="70"/>
                    </a:lnTo>
                    <a:lnTo>
                      <a:pt x="47" y="70"/>
                    </a:lnTo>
                    <a:lnTo>
                      <a:pt x="49" y="68"/>
                    </a:lnTo>
                    <a:lnTo>
                      <a:pt x="50" y="61"/>
                    </a:lnTo>
                    <a:lnTo>
                      <a:pt x="54" y="59"/>
                    </a:lnTo>
                    <a:lnTo>
                      <a:pt x="54" y="58"/>
                    </a:lnTo>
                    <a:lnTo>
                      <a:pt x="49" y="56"/>
                    </a:lnTo>
                    <a:lnTo>
                      <a:pt x="49" y="54"/>
                    </a:lnTo>
                    <a:lnTo>
                      <a:pt x="49" y="51"/>
                    </a:lnTo>
                    <a:lnTo>
                      <a:pt x="43" y="51"/>
                    </a:lnTo>
                    <a:lnTo>
                      <a:pt x="40" y="47"/>
                    </a:lnTo>
                    <a:lnTo>
                      <a:pt x="36" y="47"/>
                    </a:lnTo>
                    <a:lnTo>
                      <a:pt x="33" y="49"/>
                    </a:lnTo>
                    <a:lnTo>
                      <a:pt x="30" y="47"/>
                    </a:lnTo>
                    <a:lnTo>
                      <a:pt x="21" y="47"/>
                    </a:lnTo>
                    <a:lnTo>
                      <a:pt x="17" y="42"/>
                    </a:lnTo>
                    <a:lnTo>
                      <a:pt x="12" y="35"/>
                    </a:lnTo>
                    <a:lnTo>
                      <a:pt x="12" y="33"/>
                    </a:lnTo>
                    <a:lnTo>
                      <a:pt x="12" y="28"/>
                    </a:lnTo>
                    <a:lnTo>
                      <a:pt x="9" y="26"/>
                    </a:lnTo>
                    <a:lnTo>
                      <a:pt x="5" y="23"/>
                    </a:lnTo>
                    <a:lnTo>
                      <a:pt x="0" y="20"/>
                    </a:lnTo>
                    <a:lnTo>
                      <a:pt x="0" y="18"/>
                    </a:lnTo>
                    <a:lnTo>
                      <a:pt x="0" y="18"/>
                    </a:lnTo>
                    <a:lnTo>
                      <a:pt x="0" y="18"/>
                    </a:lnTo>
                    <a:lnTo>
                      <a:pt x="0" y="18"/>
                    </a:lnTo>
                    <a:close/>
                    <a:moveTo>
                      <a:pt x="47" y="240"/>
                    </a:moveTo>
                    <a:lnTo>
                      <a:pt x="49" y="242"/>
                    </a:lnTo>
                    <a:lnTo>
                      <a:pt x="49" y="246"/>
                    </a:lnTo>
                    <a:lnTo>
                      <a:pt x="49" y="247"/>
                    </a:lnTo>
                    <a:lnTo>
                      <a:pt x="52" y="247"/>
                    </a:lnTo>
                    <a:lnTo>
                      <a:pt x="52" y="242"/>
                    </a:lnTo>
                    <a:lnTo>
                      <a:pt x="50" y="240"/>
                    </a:lnTo>
                    <a:lnTo>
                      <a:pt x="50" y="239"/>
                    </a:lnTo>
                    <a:lnTo>
                      <a:pt x="47" y="240"/>
                    </a:lnTo>
                    <a:lnTo>
                      <a:pt x="47" y="240"/>
                    </a:lnTo>
                    <a:lnTo>
                      <a:pt x="47" y="240"/>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202"/>
              <p:cNvSpPr>
                <a:spLocks noEditPoints="1"/>
              </p:cNvSpPr>
              <p:nvPr/>
            </p:nvSpPr>
            <p:spPr bwMode="auto">
              <a:xfrm>
                <a:off x="7477125" y="4562476"/>
                <a:ext cx="1095375" cy="1174750"/>
              </a:xfrm>
              <a:custGeom>
                <a:avLst/>
                <a:gdLst/>
                <a:ahLst/>
                <a:cxnLst>
                  <a:cxn ang="0">
                    <a:pos x="687" y="311"/>
                  </a:cxn>
                  <a:cxn ang="0">
                    <a:pos x="652" y="236"/>
                  </a:cxn>
                  <a:cxn ang="0">
                    <a:pos x="529" y="8"/>
                  </a:cxn>
                  <a:cxn ang="0">
                    <a:pos x="478" y="121"/>
                  </a:cxn>
                  <a:cxn ang="0">
                    <a:pos x="424" y="66"/>
                  </a:cxn>
                  <a:cxn ang="0">
                    <a:pos x="428" y="69"/>
                  </a:cxn>
                  <a:cxn ang="0">
                    <a:pos x="428" y="26"/>
                  </a:cxn>
                  <a:cxn ang="0">
                    <a:pos x="419" y="31"/>
                  </a:cxn>
                  <a:cxn ang="0">
                    <a:pos x="365" y="22"/>
                  </a:cxn>
                  <a:cxn ang="0">
                    <a:pos x="327" y="19"/>
                  </a:cxn>
                  <a:cxn ang="0">
                    <a:pos x="327" y="22"/>
                  </a:cxn>
                  <a:cxn ang="0">
                    <a:pos x="232" y="80"/>
                  </a:cxn>
                  <a:cxn ang="0">
                    <a:pos x="0" y="287"/>
                  </a:cxn>
                  <a:cxn ang="0">
                    <a:pos x="376" y="530"/>
                  </a:cxn>
                  <a:cxn ang="0">
                    <a:pos x="490" y="600"/>
                  </a:cxn>
                  <a:cxn ang="0">
                    <a:pos x="470" y="654"/>
                  </a:cxn>
                  <a:cxn ang="0">
                    <a:pos x="459" y="627"/>
                  </a:cxn>
                  <a:cxn ang="0">
                    <a:pos x="522" y="650"/>
                  </a:cxn>
                  <a:cxn ang="0">
                    <a:pos x="504" y="714"/>
                  </a:cxn>
                  <a:cxn ang="0">
                    <a:pos x="459" y="725"/>
                  </a:cxn>
                  <a:cxn ang="0">
                    <a:pos x="463" y="657"/>
                  </a:cxn>
                  <a:cxn ang="0">
                    <a:pos x="517" y="667"/>
                  </a:cxn>
                  <a:cxn ang="0">
                    <a:pos x="503" y="723"/>
                  </a:cxn>
                  <a:cxn ang="0">
                    <a:pos x="471" y="735"/>
                  </a:cxn>
                  <a:cxn ang="0">
                    <a:pos x="42" y="488"/>
                  </a:cxn>
                  <a:cxn ang="0">
                    <a:pos x="100" y="466"/>
                  </a:cxn>
                  <a:cxn ang="0">
                    <a:pos x="162" y="448"/>
                  </a:cxn>
                  <a:cxn ang="0">
                    <a:pos x="282" y="424"/>
                  </a:cxn>
                  <a:cxn ang="0">
                    <a:pos x="332" y="454"/>
                  </a:cxn>
                  <a:cxn ang="0">
                    <a:pos x="358" y="492"/>
                  </a:cxn>
                  <a:cxn ang="0">
                    <a:pos x="388" y="476"/>
                  </a:cxn>
                  <a:cxn ang="0">
                    <a:pos x="397" y="511"/>
                  </a:cxn>
                  <a:cxn ang="0">
                    <a:pos x="405" y="558"/>
                  </a:cxn>
                  <a:cxn ang="0">
                    <a:pos x="466" y="603"/>
                  </a:cxn>
                  <a:cxn ang="0">
                    <a:pos x="496" y="610"/>
                  </a:cxn>
                  <a:cxn ang="0">
                    <a:pos x="529" y="593"/>
                  </a:cxn>
                  <a:cxn ang="0">
                    <a:pos x="609" y="511"/>
                  </a:cxn>
                  <a:cxn ang="0">
                    <a:pos x="654" y="443"/>
                  </a:cxn>
                  <a:cxn ang="0">
                    <a:pos x="680" y="339"/>
                  </a:cxn>
                  <a:cxn ang="0">
                    <a:pos x="659" y="269"/>
                  </a:cxn>
                  <a:cxn ang="0">
                    <a:pos x="636" y="238"/>
                  </a:cxn>
                  <a:cxn ang="0">
                    <a:pos x="612" y="184"/>
                  </a:cxn>
                  <a:cxn ang="0">
                    <a:pos x="583" y="130"/>
                  </a:cxn>
                  <a:cxn ang="0">
                    <a:pos x="555" y="80"/>
                  </a:cxn>
                  <a:cxn ang="0">
                    <a:pos x="536" y="14"/>
                  </a:cxn>
                  <a:cxn ang="0">
                    <a:pos x="517" y="76"/>
                  </a:cxn>
                  <a:cxn ang="0">
                    <a:pos x="468" y="127"/>
                  </a:cxn>
                  <a:cxn ang="0">
                    <a:pos x="414" y="80"/>
                  </a:cxn>
                  <a:cxn ang="0">
                    <a:pos x="440" y="38"/>
                  </a:cxn>
                  <a:cxn ang="0">
                    <a:pos x="409" y="40"/>
                  </a:cxn>
                  <a:cxn ang="0">
                    <a:pos x="364" y="22"/>
                  </a:cxn>
                  <a:cxn ang="0">
                    <a:pos x="336" y="38"/>
                  </a:cxn>
                  <a:cxn ang="0">
                    <a:pos x="308" y="71"/>
                  </a:cxn>
                  <a:cxn ang="0">
                    <a:pos x="301" y="90"/>
                  </a:cxn>
                  <a:cxn ang="0">
                    <a:pos x="273" y="74"/>
                  </a:cxn>
                  <a:cxn ang="0">
                    <a:pos x="240" y="80"/>
                  </a:cxn>
                  <a:cxn ang="0">
                    <a:pos x="219" y="104"/>
                  </a:cxn>
                  <a:cxn ang="0">
                    <a:pos x="206" y="125"/>
                  </a:cxn>
                  <a:cxn ang="0">
                    <a:pos x="178" y="144"/>
                  </a:cxn>
                  <a:cxn ang="0">
                    <a:pos x="96" y="193"/>
                  </a:cxn>
                  <a:cxn ang="0">
                    <a:pos x="32" y="212"/>
                  </a:cxn>
                  <a:cxn ang="0">
                    <a:pos x="13" y="294"/>
                  </a:cxn>
                  <a:cxn ang="0">
                    <a:pos x="23" y="401"/>
                  </a:cxn>
                </a:cxnLst>
                <a:rect l="0" t="0" r="r" b="b"/>
                <a:pathLst>
                  <a:path w="690" h="740">
                    <a:moveTo>
                      <a:pt x="683" y="353"/>
                    </a:moveTo>
                    <a:lnTo>
                      <a:pt x="685" y="347"/>
                    </a:lnTo>
                    <a:lnTo>
                      <a:pt x="685" y="351"/>
                    </a:lnTo>
                    <a:lnTo>
                      <a:pt x="683" y="353"/>
                    </a:lnTo>
                    <a:lnTo>
                      <a:pt x="683" y="353"/>
                    </a:lnTo>
                    <a:lnTo>
                      <a:pt x="683" y="353"/>
                    </a:lnTo>
                    <a:lnTo>
                      <a:pt x="683" y="353"/>
                    </a:lnTo>
                    <a:close/>
                    <a:moveTo>
                      <a:pt x="685" y="311"/>
                    </a:moveTo>
                    <a:lnTo>
                      <a:pt x="683" y="306"/>
                    </a:lnTo>
                    <a:lnTo>
                      <a:pt x="685" y="301"/>
                    </a:lnTo>
                    <a:lnTo>
                      <a:pt x="685" y="299"/>
                    </a:lnTo>
                    <a:lnTo>
                      <a:pt x="687" y="294"/>
                    </a:lnTo>
                    <a:lnTo>
                      <a:pt x="690" y="292"/>
                    </a:lnTo>
                    <a:lnTo>
                      <a:pt x="687" y="290"/>
                    </a:lnTo>
                    <a:lnTo>
                      <a:pt x="690" y="287"/>
                    </a:lnTo>
                    <a:lnTo>
                      <a:pt x="690" y="287"/>
                    </a:lnTo>
                    <a:lnTo>
                      <a:pt x="690" y="292"/>
                    </a:lnTo>
                    <a:lnTo>
                      <a:pt x="690" y="297"/>
                    </a:lnTo>
                    <a:lnTo>
                      <a:pt x="687" y="301"/>
                    </a:lnTo>
                    <a:lnTo>
                      <a:pt x="687" y="307"/>
                    </a:lnTo>
                    <a:lnTo>
                      <a:pt x="687" y="311"/>
                    </a:lnTo>
                    <a:lnTo>
                      <a:pt x="685" y="311"/>
                    </a:lnTo>
                    <a:lnTo>
                      <a:pt x="685" y="311"/>
                    </a:lnTo>
                    <a:lnTo>
                      <a:pt x="685" y="311"/>
                    </a:lnTo>
                    <a:lnTo>
                      <a:pt x="685" y="311"/>
                    </a:lnTo>
                    <a:close/>
                    <a:moveTo>
                      <a:pt x="657" y="261"/>
                    </a:moveTo>
                    <a:lnTo>
                      <a:pt x="659" y="264"/>
                    </a:lnTo>
                    <a:lnTo>
                      <a:pt x="662" y="267"/>
                    </a:lnTo>
                    <a:lnTo>
                      <a:pt x="662" y="264"/>
                    </a:lnTo>
                    <a:lnTo>
                      <a:pt x="659" y="262"/>
                    </a:lnTo>
                    <a:lnTo>
                      <a:pt x="659" y="261"/>
                    </a:lnTo>
                    <a:lnTo>
                      <a:pt x="659" y="261"/>
                    </a:lnTo>
                    <a:lnTo>
                      <a:pt x="657" y="259"/>
                    </a:lnTo>
                    <a:lnTo>
                      <a:pt x="657" y="261"/>
                    </a:lnTo>
                    <a:lnTo>
                      <a:pt x="657" y="261"/>
                    </a:lnTo>
                    <a:lnTo>
                      <a:pt x="657" y="261"/>
                    </a:lnTo>
                    <a:lnTo>
                      <a:pt x="657" y="261"/>
                    </a:lnTo>
                    <a:close/>
                    <a:moveTo>
                      <a:pt x="652" y="236"/>
                    </a:moveTo>
                    <a:lnTo>
                      <a:pt x="652" y="234"/>
                    </a:lnTo>
                    <a:lnTo>
                      <a:pt x="650" y="234"/>
                    </a:lnTo>
                    <a:lnTo>
                      <a:pt x="652" y="236"/>
                    </a:lnTo>
                    <a:lnTo>
                      <a:pt x="652" y="236"/>
                    </a:lnTo>
                    <a:lnTo>
                      <a:pt x="652" y="236"/>
                    </a:lnTo>
                    <a:lnTo>
                      <a:pt x="652" y="236"/>
                    </a:lnTo>
                    <a:close/>
                    <a:moveTo>
                      <a:pt x="586" y="161"/>
                    </a:moveTo>
                    <a:lnTo>
                      <a:pt x="590" y="158"/>
                    </a:lnTo>
                    <a:lnTo>
                      <a:pt x="586" y="156"/>
                    </a:lnTo>
                    <a:lnTo>
                      <a:pt x="590" y="156"/>
                    </a:lnTo>
                    <a:lnTo>
                      <a:pt x="590" y="153"/>
                    </a:lnTo>
                    <a:lnTo>
                      <a:pt x="590" y="160"/>
                    </a:lnTo>
                    <a:lnTo>
                      <a:pt x="590" y="163"/>
                    </a:lnTo>
                    <a:lnTo>
                      <a:pt x="586" y="161"/>
                    </a:lnTo>
                    <a:lnTo>
                      <a:pt x="586" y="161"/>
                    </a:lnTo>
                    <a:lnTo>
                      <a:pt x="586" y="161"/>
                    </a:lnTo>
                    <a:lnTo>
                      <a:pt x="586" y="161"/>
                    </a:lnTo>
                    <a:close/>
                    <a:moveTo>
                      <a:pt x="532" y="0"/>
                    </a:moveTo>
                    <a:lnTo>
                      <a:pt x="532" y="3"/>
                    </a:lnTo>
                    <a:lnTo>
                      <a:pt x="532" y="0"/>
                    </a:lnTo>
                    <a:lnTo>
                      <a:pt x="532" y="0"/>
                    </a:lnTo>
                    <a:lnTo>
                      <a:pt x="532" y="0"/>
                    </a:lnTo>
                    <a:lnTo>
                      <a:pt x="532" y="0"/>
                    </a:lnTo>
                    <a:lnTo>
                      <a:pt x="532" y="0"/>
                    </a:lnTo>
                    <a:close/>
                    <a:moveTo>
                      <a:pt x="529" y="8"/>
                    </a:moveTo>
                    <a:lnTo>
                      <a:pt x="529" y="12"/>
                    </a:lnTo>
                    <a:lnTo>
                      <a:pt x="530" y="12"/>
                    </a:lnTo>
                    <a:lnTo>
                      <a:pt x="532" y="10"/>
                    </a:lnTo>
                    <a:lnTo>
                      <a:pt x="532" y="8"/>
                    </a:lnTo>
                    <a:lnTo>
                      <a:pt x="529" y="8"/>
                    </a:lnTo>
                    <a:lnTo>
                      <a:pt x="529" y="8"/>
                    </a:lnTo>
                    <a:lnTo>
                      <a:pt x="529" y="8"/>
                    </a:lnTo>
                    <a:lnTo>
                      <a:pt x="529" y="8"/>
                    </a:lnTo>
                    <a:close/>
                    <a:moveTo>
                      <a:pt x="475" y="130"/>
                    </a:moveTo>
                    <a:lnTo>
                      <a:pt x="475" y="134"/>
                    </a:lnTo>
                    <a:lnTo>
                      <a:pt x="477" y="130"/>
                    </a:lnTo>
                    <a:lnTo>
                      <a:pt x="477" y="130"/>
                    </a:lnTo>
                    <a:lnTo>
                      <a:pt x="475" y="130"/>
                    </a:lnTo>
                    <a:lnTo>
                      <a:pt x="475" y="130"/>
                    </a:lnTo>
                    <a:lnTo>
                      <a:pt x="475" y="130"/>
                    </a:lnTo>
                    <a:lnTo>
                      <a:pt x="475" y="130"/>
                    </a:lnTo>
                    <a:close/>
                    <a:moveTo>
                      <a:pt x="470" y="121"/>
                    </a:moveTo>
                    <a:lnTo>
                      <a:pt x="471" y="125"/>
                    </a:lnTo>
                    <a:lnTo>
                      <a:pt x="473" y="125"/>
                    </a:lnTo>
                    <a:lnTo>
                      <a:pt x="477" y="121"/>
                    </a:lnTo>
                    <a:lnTo>
                      <a:pt x="478" y="121"/>
                    </a:lnTo>
                    <a:lnTo>
                      <a:pt x="478" y="120"/>
                    </a:lnTo>
                    <a:lnTo>
                      <a:pt x="475" y="120"/>
                    </a:lnTo>
                    <a:lnTo>
                      <a:pt x="471" y="121"/>
                    </a:lnTo>
                    <a:lnTo>
                      <a:pt x="471" y="121"/>
                    </a:lnTo>
                    <a:lnTo>
                      <a:pt x="470" y="121"/>
                    </a:lnTo>
                    <a:lnTo>
                      <a:pt x="470" y="121"/>
                    </a:lnTo>
                    <a:lnTo>
                      <a:pt x="470" y="121"/>
                    </a:lnTo>
                    <a:lnTo>
                      <a:pt x="470" y="121"/>
                    </a:lnTo>
                    <a:close/>
                    <a:moveTo>
                      <a:pt x="437" y="106"/>
                    </a:moveTo>
                    <a:lnTo>
                      <a:pt x="433" y="104"/>
                    </a:lnTo>
                    <a:lnTo>
                      <a:pt x="437" y="102"/>
                    </a:lnTo>
                    <a:lnTo>
                      <a:pt x="437" y="104"/>
                    </a:lnTo>
                    <a:lnTo>
                      <a:pt x="437" y="106"/>
                    </a:lnTo>
                    <a:lnTo>
                      <a:pt x="437" y="106"/>
                    </a:lnTo>
                    <a:lnTo>
                      <a:pt x="437" y="106"/>
                    </a:lnTo>
                    <a:lnTo>
                      <a:pt x="437" y="106"/>
                    </a:lnTo>
                    <a:close/>
                    <a:moveTo>
                      <a:pt x="424" y="71"/>
                    </a:moveTo>
                    <a:lnTo>
                      <a:pt x="424" y="69"/>
                    </a:lnTo>
                    <a:lnTo>
                      <a:pt x="423" y="69"/>
                    </a:lnTo>
                    <a:lnTo>
                      <a:pt x="423" y="68"/>
                    </a:lnTo>
                    <a:lnTo>
                      <a:pt x="424" y="66"/>
                    </a:lnTo>
                    <a:lnTo>
                      <a:pt x="426" y="69"/>
                    </a:lnTo>
                    <a:lnTo>
                      <a:pt x="424" y="71"/>
                    </a:lnTo>
                    <a:lnTo>
                      <a:pt x="424" y="71"/>
                    </a:lnTo>
                    <a:lnTo>
                      <a:pt x="424" y="71"/>
                    </a:lnTo>
                    <a:lnTo>
                      <a:pt x="424" y="71"/>
                    </a:lnTo>
                    <a:close/>
                    <a:moveTo>
                      <a:pt x="428" y="74"/>
                    </a:moveTo>
                    <a:lnTo>
                      <a:pt x="428" y="76"/>
                    </a:lnTo>
                    <a:lnTo>
                      <a:pt x="428" y="76"/>
                    </a:lnTo>
                    <a:lnTo>
                      <a:pt x="431" y="76"/>
                    </a:lnTo>
                    <a:lnTo>
                      <a:pt x="437" y="76"/>
                    </a:lnTo>
                    <a:lnTo>
                      <a:pt x="437" y="74"/>
                    </a:lnTo>
                    <a:lnTo>
                      <a:pt x="437" y="73"/>
                    </a:lnTo>
                    <a:lnTo>
                      <a:pt x="433" y="73"/>
                    </a:lnTo>
                    <a:lnTo>
                      <a:pt x="431" y="73"/>
                    </a:lnTo>
                    <a:lnTo>
                      <a:pt x="437" y="69"/>
                    </a:lnTo>
                    <a:lnTo>
                      <a:pt x="437" y="69"/>
                    </a:lnTo>
                    <a:lnTo>
                      <a:pt x="431" y="69"/>
                    </a:lnTo>
                    <a:lnTo>
                      <a:pt x="431" y="68"/>
                    </a:lnTo>
                    <a:lnTo>
                      <a:pt x="431" y="68"/>
                    </a:lnTo>
                    <a:lnTo>
                      <a:pt x="428" y="69"/>
                    </a:lnTo>
                    <a:lnTo>
                      <a:pt x="428" y="69"/>
                    </a:lnTo>
                    <a:lnTo>
                      <a:pt x="428" y="71"/>
                    </a:lnTo>
                    <a:lnTo>
                      <a:pt x="428" y="71"/>
                    </a:lnTo>
                    <a:lnTo>
                      <a:pt x="428" y="74"/>
                    </a:lnTo>
                    <a:lnTo>
                      <a:pt x="428" y="74"/>
                    </a:lnTo>
                    <a:lnTo>
                      <a:pt x="428" y="74"/>
                    </a:lnTo>
                    <a:lnTo>
                      <a:pt x="428" y="74"/>
                    </a:lnTo>
                    <a:close/>
                    <a:moveTo>
                      <a:pt x="431" y="22"/>
                    </a:moveTo>
                    <a:lnTo>
                      <a:pt x="431" y="24"/>
                    </a:lnTo>
                    <a:lnTo>
                      <a:pt x="433" y="21"/>
                    </a:lnTo>
                    <a:lnTo>
                      <a:pt x="437" y="19"/>
                    </a:lnTo>
                    <a:lnTo>
                      <a:pt x="437" y="17"/>
                    </a:lnTo>
                    <a:lnTo>
                      <a:pt x="431" y="21"/>
                    </a:lnTo>
                    <a:lnTo>
                      <a:pt x="431" y="22"/>
                    </a:lnTo>
                    <a:lnTo>
                      <a:pt x="431" y="22"/>
                    </a:lnTo>
                    <a:lnTo>
                      <a:pt x="431" y="22"/>
                    </a:lnTo>
                    <a:lnTo>
                      <a:pt x="431" y="22"/>
                    </a:lnTo>
                    <a:close/>
                    <a:moveTo>
                      <a:pt x="428" y="26"/>
                    </a:moveTo>
                    <a:lnTo>
                      <a:pt x="428" y="26"/>
                    </a:lnTo>
                    <a:lnTo>
                      <a:pt x="428" y="24"/>
                    </a:lnTo>
                    <a:lnTo>
                      <a:pt x="428" y="26"/>
                    </a:lnTo>
                    <a:lnTo>
                      <a:pt x="428" y="26"/>
                    </a:lnTo>
                    <a:lnTo>
                      <a:pt x="428" y="26"/>
                    </a:lnTo>
                    <a:lnTo>
                      <a:pt x="428" y="26"/>
                    </a:lnTo>
                    <a:close/>
                    <a:moveTo>
                      <a:pt x="424" y="26"/>
                    </a:moveTo>
                    <a:lnTo>
                      <a:pt x="426" y="29"/>
                    </a:lnTo>
                    <a:lnTo>
                      <a:pt x="426" y="26"/>
                    </a:lnTo>
                    <a:lnTo>
                      <a:pt x="424" y="26"/>
                    </a:lnTo>
                    <a:lnTo>
                      <a:pt x="424" y="26"/>
                    </a:lnTo>
                    <a:lnTo>
                      <a:pt x="424" y="26"/>
                    </a:lnTo>
                    <a:lnTo>
                      <a:pt x="424" y="26"/>
                    </a:lnTo>
                    <a:close/>
                    <a:moveTo>
                      <a:pt x="417" y="29"/>
                    </a:moveTo>
                    <a:lnTo>
                      <a:pt x="421" y="29"/>
                    </a:lnTo>
                    <a:lnTo>
                      <a:pt x="421" y="29"/>
                    </a:lnTo>
                    <a:lnTo>
                      <a:pt x="417" y="29"/>
                    </a:lnTo>
                    <a:lnTo>
                      <a:pt x="417" y="29"/>
                    </a:lnTo>
                    <a:lnTo>
                      <a:pt x="417" y="29"/>
                    </a:lnTo>
                    <a:lnTo>
                      <a:pt x="417" y="29"/>
                    </a:lnTo>
                    <a:close/>
                    <a:moveTo>
                      <a:pt x="414" y="34"/>
                    </a:moveTo>
                    <a:lnTo>
                      <a:pt x="414" y="34"/>
                    </a:lnTo>
                    <a:lnTo>
                      <a:pt x="417" y="29"/>
                    </a:lnTo>
                    <a:lnTo>
                      <a:pt x="419" y="29"/>
                    </a:lnTo>
                    <a:lnTo>
                      <a:pt x="419" y="31"/>
                    </a:lnTo>
                    <a:lnTo>
                      <a:pt x="416" y="34"/>
                    </a:lnTo>
                    <a:lnTo>
                      <a:pt x="414" y="34"/>
                    </a:lnTo>
                    <a:lnTo>
                      <a:pt x="414" y="34"/>
                    </a:lnTo>
                    <a:lnTo>
                      <a:pt x="414" y="34"/>
                    </a:lnTo>
                    <a:lnTo>
                      <a:pt x="414" y="34"/>
                    </a:lnTo>
                    <a:close/>
                    <a:moveTo>
                      <a:pt x="409" y="36"/>
                    </a:moveTo>
                    <a:lnTo>
                      <a:pt x="409" y="36"/>
                    </a:lnTo>
                    <a:lnTo>
                      <a:pt x="412" y="34"/>
                    </a:lnTo>
                    <a:lnTo>
                      <a:pt x="412" y="34"/>
                    </a:lnTo>
                    <a:lnTo>
                      <a:pt x="409" y="36"/>
                    </a:lnTo>
                    <a:lnTo>
                      <a:pt x="409" y="36"/>
                    </a:lnTo>
                    <a:lnTo>
                      <a:pt x="409" y="36"/>
                    </a:lnTo>
                    <a:lnTo>
                      <a:pt x="409" y="36"/>
                    </a:lnTo>
                    <a:close/>
                    <a:moveTo>
                      <a:pt x="365" y="22"/>
                    </a:moveTo>
                    <a:lnTo>
                      <a:pt x="364" y="19"/>
                    </a:lnTo>
                    <a:lnTo>
                      <a:pt x="364" y="17"/>
                    </a:lnTo>
                    <a:lnTo>
                      <a:pt x="367" y="15"/>
                    </a:lnTo>
                    <a:lnTo>
                      <a:pt x="365" y="19"/>
                    </a:lnTo>
                    <a:lnTo>
                      <a:pt x="365" y="22"/>
                    </a:lnTo>
                    <a:lnTo>
                      <a:pt x="365" y="22"/>
                    </a:lnTo>
                    <a:lnTo>
                      <a:pt x="365" y="22"/>
                    </a:lnTo>
                    <a:lnTo>
                      <a:pt x="365" y="22"/>
                    </a:lnTo>
                    <a:close/>
                    <a:moveTo>
                      <a:pt x="327" y="21"/>
                    </a:moveTo>
                    <a:lnTo>
                      <a:pt x="327" y="24"/>
                    </a:lnTo>
                    <a:lnTo>
                      <a:pt x="332" y="26"/>
                    </a:lnTo>
                    <a:lnTo>
                      <a:pt x="332" y="29"/>
                    </a:lnTo>
                    <a:lnTo>
                      <a:pt x="338" y="34"/>
                    </a:lnTo>
                    <a:lnTo>
                      <a:pt x="345" y="26"/>
                    </a:lnTo>
                    <a:lnTo>
                      <a:pt x="345" y="26"/>
                    </a:lnTo>
                    <a:lnTo>
                      <a:pt x="346" y="26"/>
                    </a:lnTo>
                    <a:lnTo>
                      <a:pt x="348" y="24"/>
                    </a:lnTo>
                    <a:lnTo>
                      <a:pt x="346" y="22"/>
                    </a:lnTo>
                    <a:lnTo>
                      <a:pt x="345" y="21"/>
                    </a:lnTo>
                    <a:lnTo>
                      <a:pt x="343" y="21"/>
                    </a:lnTo>
                    <a:lnTo>
                      <a:pt x="341" y="22"/>
                    </a:lnTo>
                    <a:lnTo>
                      <a:pt x="336" y="22"/>
                    </a:lnTo>
                    <a:lnTo>
                      <a:pt x="336" y="24"/>
                    </a:lnTo>
                    <a:lnTo>
                      <a:pt x="332" y="24"/>
                    </a:lnTo>
                    <a:lnTo>
                      <a:pt x="332" y="22"/>
                    </a:lnTo>
                    <a:lnTo>
                      <a:pt x="331" y="22"/>
                    </a:lnTo>
                    <a:lnTo>
                      <a:pt x="327" y="19"/>
                    </a:lnTo>
                    <a:lnTo>
                      <a:pt x="327" y="19"/>
                    </a:lnTo>
                    <a:lnTo>
                      <a:pt x="327" y="21"/>
                    </a:lnTo>
                    <a:lnTo>
                      <a:pt x="327" y="21"/>
                    </a:lnTo>
                    <a:lnTo>
                      <a:pt x="327" y="21"/>
                    </a:lnTo>
                    <a:lnTo>
                      <a:pt x="327" y="21"/>
                    </a:lnTo>
                    <a:close/>
                    <a:moveTo>
                      <a:pt x="327" y="22"/>
                    </a:moveTo>
                    <a:lnTo>
                      <a:pt x="327" y="26"/>
                    </a:lnTo>
                    <a:lnTo>
                      <a:pt x="332" y="29"/>
                    </a:lnTo>
                    <a:lnTo>
                      <a:pt x="332" y="29"/>
                    </a:lnTo>
                    <a:lnTo>
                      <a:pt x="327" y="29"/>
                    </a:lnTo>
                    <a:lnTo>
                      <a:pt x="327" y="29"/>
                    </a:lnTo>
                    <a:lnTo>
                      <a:pt x="322" y="26"/>
                    </a:lnTo>
                    <a:lnTo>
                      <a:pt x="322" y="26"/>
                    </a:lnTo>
                    <a:lnTo>
                      <a:pt x="324" y="26"/>
                    </a:lnTo>
                    <a:lnTo>
                      <a:pt x="324" y="26"/>
                    </a:lnTo>
                    <a:lnTo>
                      <a:pt x="324" y="26"/>
                    </a:lnTo>
                    <a:lnTo>
                      <a:pt x="324" y="26"/>
                    </a:lnTo>
                    <a:lnTo>
                      <a:pt x="324" y="24"/>
                    </a:lnTo>
                    <a:lnTo>
                      <a:pt x="324" y="22"/>
                    </a:lnTo>
                    <a:lnTo>
                      <a:pt x="327" y="22"/>
                    </a:lnTo>
                    <a:lnTo>
                      <a:pt x="327" y="22"/>
                    </a:lnTo>
                    <a:lnTo>
                      <a:pt x="327" y="22"/>
                    </a:lnTo>
                    <a:lnTo>
                      <a:pt x="327" y="22"/>
                    </a:lnTo>
                    <a:close/>
                    <a:moveTo>
                      <a:pt x="218" y="95"/>
                    </a:moveTo>
                    <a:lnTo>
                      <a:pt x="219" y="97"/>
                    </a:lnTo>
                    <a:lnTo>
                      <a:pt x="223" y="95"/>
                    </a:lnTo>
                    <a:lnTo>
                      <a:pt x="219" y="92"/>
                    </a:lnTo>
                    <a:lnTo>
                      <a:pt x="219" y="92"/>
                    </a:lnTo>
                    <a:lnTo>
                      <a:pt x="218" y="95"/>
                    </a:lnTo>
                    <a:lnTo>
                      <a:pt x="218" y="95"/>
                    </a:lnTo>
                    <a:lnTo>
                      <a:pt x="218" y="95"/>
                    </a:lnTo>
                    <a:lnTo>
                      <a:pt x="218" y="95"/>
                    </a:lnTo>
                    <a:close/>
                    <a:moveTo>
                      <a:pt x="219" y="106"/>
                    </a:moveTo>
                    <a:lnTo>
                      <a:pt x="218" y="102"/>
                    </a:lnTo>
                    <a:lnTo>
                      <a:pt x="216" y="99"/>
                    </a:lnTo>
                    <a:lnTo>
                      <a:pt x="216" y="104"/>
                    </a:lnTo>
                    <a:lnTo>
                      <a:pt x="219" y="106"/>
                    </a:lnTo>
                    <a:lnTo>
                      <a:pt x="219" y="106"/>
                    </a:lnTo>
                    <a:lnTo>
                      <a:pt x="219" y="106"/>
                    </a:lnTo>
                    <a:lnTo>
                      <a:pt x="219" y="106"/>
                    </a:lnTo>
                    <a:close/>
                    <a:moveTo>
                      <a:pt x="232" y="80"/>
                    </a:moveTo>
                    <a:lnTo>
                      <a:pt x="232" y="80"/>
                    </a:lnTo>
                    <a:lnTo>
                      <a:pt x="232" y="80"/>
                    </a:lnTo>
                    <a:lnTo>
                      <a:pt x="233" y="80"/>
                    </a:lnTo>
                    <a:lnTo>
                      <a:pt x="232" y="80"/>
                    </a:lnTo>
                    <a:lnTo>
                      <a:pt x="232" y="80"/>
                    </a:lnTo>
                    <a:lnTo>
                      <a:pt x="232" y="80"/>
                    </a:lnTo>
                    <a:lnTo>
                      <a:pt x="232" y="80"/>
                    </a:lnTo>
                    <a:close/>
                    <a:moveTo>
                      <a:pt x="51" y="198"/>
                    </a:moveTo>
                    <a:lnTo>
                      <a:pt x="51" y="196"/>
                    </a:lnTo>
                    <a:lnTo>
                      <a:pt x="54" y="193"/>
                    </a:lnTo>
                    <a:lnTo>
                      <a:pt x="54" y="196"/>
                    </a:lnTo>
                    <a:lnTo>
                      <a:pt x="51" y="198"/>
                    </a:lnTo>
                    <a:lnTo>
                      <a:pt x="51" y="198"/>
                    </a:lnTo>
                    <a:lnTo>
                      <a:pt x="51" y="198"/>
                    </a:lnTo>
                    <a:lnTo>
                      <a:pt x="51" y="198"/>
                    </a:lnTo>
                    <a:close/>
                    <a:moveTo>
                      <a:pt x="0" y="287"/>
                    </a:moveTo>
                    <a:lnTo>
                      <a:pt x="2" y="278"/>
                    </a:lnTo>
                    <a:lnTo>
                      <a:pt x="2" y="283"/>
                    </a:lnTo>
                    <a:lnTo>
                      <a:pt x="2" y="283"/>
                    </a:lnTo>
                    <a:lnTo>
                      <a:pt x="0" y="287"/>
                    </a:lnTo>
                    <a:lnTo>
                      <a:pt x="0" y="287"/>
                    </a:lnTo>
                    <a:lnTo>
                      <a:pt x="0" y="287"/>
                    </a:lnTo>
                    <a:lnTo>
                      <a:pt x="0" y="287"/>
                    </a:lnTo>
                    <a:close/>
                    <a:moveTo>
                      <a:pt x="0" y="299"/>
                    </a:moveTo>
                    <a:lnTo>
                      <a:pt x="0" y="294"/>
                    </a:lnTo>
                    <a:lnTo>
                      <a:pt x="0" y="288"/>
                    </a:lnTo>
                    <a:lnTo>
                      <a:pt x="2" y="294"/>
                    </a:lnTo>
                    <a:lnTo>
                      <a:pt x="0" y="299"/>
                    </a:lnTo>
                    <a:lnTo>
                      <a:pt x="0" y="299"/>
                    </a:lnTo>
                    <a:lnTo>
                      <a:pt x="0" y="299"/>
                    </a:lnTo>
                    <a:lnTo>
                      <a:pt x="0" y="299"/>
                    </a:lnTo>
                    <a:close/>
                    <a:moveTo>
                      <a:pt x="378" y="520"/>
                    </a:moveTo>
                    <a:lnTo>
                      <a:pt x="378" y="523"/>
                    </a:lnTo>
                    <a:lnTo>
                      <a:pt x="378" y="523"/>
                    </a:lnTo>
                    <a:lnTo>
                      <a:pt x="381" y="523"/>
                    </a:lnTo>
                    <a:lnTo>
                      <a:pt x="381" y="525"/>
                    </a:lnTo>
                    <a:lnTo>
                      <a:pt x="383" y="525"/>
                    </a:lnTo>
                    <a:lnTo>
                      <a:pt x="386" y="525"/>
                    </a:lnTo>
                    <a:lnTo>
                      <a:pt x="386" y="525"/>
                    </a:lnTo>
                    <a:lnTo>
                      <a:pt x="386" y="528"/>
                    </a:lnTo>
                    <a:lnTo>
                      <a:pt x="378" y="527"/>
                    </a:lnTo>
                    <a:lnTo>
                      <a:pt x="378" y="528"/>
                    </a:lnTo>
                    <a:lnTo>
                      <a:pt x="376" y="528"/>
                    </a:lnTo>
                    <a:lnTo>
                      <a:pt x="376" y="530"/>
                    </a:lnTo>
                    <a:lnTo>
                      <a:pt x="374" y="530"/>
                    </a:lnTo>
                    <a:lnTo>
                      <a:pt x="372" y="528"/>
                    </a:lnTo>
                    <a:lnTo>
                      <a:pt x="371" y="528"/>
                    </a:lnTo>
                    <a:lnTo>
                      <a:pt x="367" y="528"/>
                    </a:lnTo>
                    <a:lnTo>
                      <a:pt x="365" y="528"/>
                    </a:lnTo>
                    <a:lnTo>
                      <a:pt x="362" y="528"/>
                    </a:lnTo>
                    <a:lnTo>
                      <a:pt x="358" y="527"/>
                    </a:lnTo>
                    <a:lnTo>
                      <a:pt x="358" y="525"/>
                    </a:lnTo>
                    <a:lnTo>
                      <a:pt x="364" y="523"/>
                    </a:lnTo>
                    <a:lnTo>
                      <a:pt x="374" y="520"/>
                    </a:lnTo>
                    <a:lnTo>
                      <a:pt x="376" y="520"/>
                    </a:lnTo>
                    <a:lnTo>
                      <a:pt x="378" y="520"/>
                    </a:lnTo>
                    <a:lnTo>
                      <a:pt x="378" y="520"/>
                    </a:lnTo>
                    <a:lnTo>
                      <a:pt x="378" y="520"/>
                    </a:lnTo>
                    <a:lnTo>
                      <a:pt x="378" y="520"/>
                    </a:lnTo>
                    <a:close/>
                    <a:moveTo>
                      <a:pt x="490" y="600"/>
                    </a:moveTo>
                    <a:lnTo>
                      <a:pt x="490" y="600"/>
                    </a:lnTo>
                    <a:lnTo>
                      <a:pt x="492" y="601"/>
                    </a:lnTo>
                    <a:lnTo>
                      <a:pt x="492" y="601"/>
                    </a:lnTo>
                    <a:lnTo>
                      <a:pt x="490" y="600"/>
                    </a:lnTo>
                    <a:lnTo>
                      <a:pt x="490" y="600"/>
                    </a:lnTo>
                    <a:lnTo>
                      <a:pt x="490" y="600"/>
                    </a:lnTo>
                    <a:lnTo>
                      <a:pt x="490" y="600"/>
                    </a:lnTo>
                    <a:close/>
                    <a:moveTo>
                      <a:pt x="508" y="610"/>
                    </a:moveTo>
                    <a:lnTo>
                      <a:pt x="510" y="614"/>
                    </a:lnTo>
                    <a:lnTo>
                      <a:pt x="510" y="610"/>
                    </a:lnTo>
                    <a:lnTo>
                      <a:pt x="508" y="610"/>
                    </a:lnTo>
                    <a:lnTo>
                      <a:pt x="508" y="610"/>
                    </a:lnTo>
                    <a:lnTo>
                      <a:pt x="508" y="610"/>
                    </a:lnTo>
                    <a:lnTo>
                      <a:pt x="508" y="610"/>
                    </a:lnTo>
                    <a:close/>
                    <a:moveTo>
                      <a:pt x="466" y="657"/>
                    </a:moveTo>
                    <a:lnTo>
                      <a:pt x="466" y="660"/>
                    </a:lnTo>
                    <a:lnTo>
                      <a:pt x="470" y="660"/>
                    </a:lnTo>
                    <a:lnTo>
                      <a:pt x="471" y="659"/>
                    </a:lnTo>
                    <a:lnTo>
                      <a:pt x="468" y="657"/>
                    </a:lnTo>
                    <a:lnTo>
                      <a:pt x="466" y="657"/>
                    </a:lnTo>
                    <a:lnTo>
                      <a:pt x="466" y="657"/>
                    </a:lnTo>
                    <a:lnTo>
                      <a:pt x="466" y="657"/>
                    </a:lnTo>
                    <a:lnTo>
                      <a:pt x="466" y="657"/>
                    </a:lnTo>
                    <a:close/>
                    <a:moveTo>
                      <a:pt x="468" y="650"/>
                    </a:moveTo>
                    <a:lnTo>
                      <a:pt x="468" y="654"/>
                    </a:lnTo>
                    <a:lnTo>
                      <a:pt x="470" y="654"/>
                    </a:lnTo>
                    <a:lnTo>
                      <a:pt x="470" y="650"/>
                    </a:lnTo>
                    <a:lnTo>
                      <a:pt x="468" y="650"/>
                    </a:lnTo>
                    <a:lnTo>
                      <a:pt x="468" y="650"/>
                    </a:lnTo>
                    <a:lnTo>
                      <a:pt x="468" y="650"/>
                    </a:lnTo>
                    <a:lnTo>
                      <a:pt x="468" y="650"/>
                    </a:lnTo>
                    <a:close/>
                    <a:moveTo>
                      <a:pt x="464" y="655"/>
                    </a:moveTo>
                    <a:lnTo>
                      <a:pt x="463" y="654"/>
                    </a:lnTo>
                    <a:lnTo>
                      <a:pt x="463" y="650"/>
                    </a:lnTo>
                    <a:lnTo>
                      <a:pt x="466" y="648"/>
                    </a:lnTo>
                    <a:lnTo>
                      <a:pt x="466" y="652"/>
                    </a:lnTo>
                    <a:lnTo>
                      <a:pt x="464" y="655"/>
                    </a:lnTo>
                    <a:lnTo>
                      <a:pt x="464" y="655"/>
                    </a:lnTo>
                    <a:lnTo>
                      <a:pt x="464" y="655"/>
                    </a:lnTo>
                    <a:lnTo>
                      <a:pt x="464" y="655"/>
                    </a:lnTo>
                    <a:close/>
                    <a:moveTo>
                      <a:pt x="454" y="641"/>
                    </a:moveTo>
                    <a:lnTo>
                      <a:pt x="456" y="641"/>
                    </a:lnTo>
                    <a:lnTo>
                      <a:pt x="454" y="638"/>
                    </a:lnTo>
                    <a:lnTo>
                      <a:pt x="456" y="634"/>
                    </a:lnTo>
                    <a:lnTo>
                      <a:pt x="456" y="631"/>
                    </a:lnTo>
                    <a:lnTo>
                      <a:pt x="459" y="629"/>
                    </a:lnTo>
                    <a:lnTo>
                      <a:pt x="459" y="627"/>
                    </a:lnTo>
                    <a:lnTo>
                      <a:pt x="463" y="629"/>
                    </a:lnTo>
                    <a:lnTo>
                      <a:pt x="463" y="634"/>
                    </a:lnTo>
                    <a:lnTo>
                      <a:pt x="463" y="636"/>
                    </a:lnTo>
                    <a:lnTo>
                      <a:pt x="459" y="638"/>
                    </a:lnTo>
                    <a:lnTo>
                      <a:pt x="459" y="641"/>
                    </a:lnTo>
                    <a:lnTo>
                      <a:pt x="456" y="645"/>
                    </a:lnTo>
                    <a:lnTo>
                      <a:pt x="454" y="641"/>
                    </a:lnTo>
                    <a:lnTo>
                      <a:pt x="454" y="641"/>
                    </a:lnTo>
                    <a:lnTo>
                      <a:pt x="454" y="641"/>
                    </a:lnTo>
                    <a:lnTo>
                      <a:pt x="454" y="641"/>
                    </a:lnTo>
                    <a:close/>
                    <a:moveTo>
                      <a:pt x="522" y="650"/>
                    </a:moveTo>
                    <a:lnTo>
                      <a:pt x="529" y="648"/>
                    </a:lnTo>
                    <a:lnTo>
                      <a:pt x="529" y="645"/>
                    </a:lnTo>
                    <a:lnTo>
                      <a:pt x="522" y="638"/>
                    </a:lnTo>
                    <a:lnTo>
                      <a:pt x="520" y="641"/>
                    </a:lnTo>
                    <a:lnTo>
                      <a:pt x="520" y="645"/>
                    </a:lnTo>
                    <a:lnTo>
                      <a:pt x="520" y="647"/>
                    </a:lnTo>
                    <a:lnTo>
                      <a:pt x="520" y="648"/>
                    </a:lnTo>
                    <a:lnTo>
                      <a:pt x="522" y="650"/>
                    </a:lnTo>
                    <a:lnTo>
                      <a:pt x="522" y="650"/>
                    </a:lnTo>
                    <a:lnTo>
                      <a:pt x="522" y="650"/>
                    </a:lnTo>
                    <a:lnTo>
                      <a:pt x="522" y="650"/>
                    </a:lnTo>
                    <a:close/>
                    <a:moveTo>
                      <a:pt x="518" y="655"/>
                    </a:moveTo>
                    <a:lnTo>
                      <a:pt x="520" y="657"/>
                    </a:lnTo>
                    <a:lnTo>
                      <a:pt x="525" y="657"/>
                    </a:lnTo>
                    <a:lnTo>
                      <a:pt x="527" y="659"/>
                    </a:lnTo>
                    <a:lnTo>
                      <a:pt x="529" y="657"/>
                    </a:lnTo>
                    <a:lnTo>
                      <a:pt x="525" y="654"/>
                    </a:lnTo>
                    <a:lnTo>
                      <a:pt x="520" y="654"/>
                    </a:lnTo>
                    <a:lnTo>
                      <a:pt x="518" y="655"/>
                    </a:lnTo>
                    <a:lnTo>
                      <a:pt x="518" y="655"/>
                    </a:lnTo>
                    <a:lnTo>
                      <a:pt x="518" y="655"/>
                    </a:lnTo>
                    <a:lnTo>
                      <a:pt x="518" y="655"/>
                    </a:lnTo>
                    <a:close/>
                    <a:moveTo>
                      <a:pt x="522" y="664"/>
                    </a:moveTo>
                    <a:lnTo>
                      <a:pt x="520" y="660"/>
                    </a:lnTo>
                    <a:lnTo>
                      <a:pt x="523" y="660"/>
                    </a:lnTo>
                    <a:lnTo>
                      <a:pt x="522" y="664"/>
                    </a:lnTo>
                    <a:lnTo>
                      <a:pt x="522" y="664"/>
                    </a:lnTo>
                    <a:lnTo>
                      <a:pt x="522" y="664"/>
                    </a:lnTo>
                    <a:lnTo>
                      <a:pt x="522" y="664"/>
                    </a:lnTo>
                    <a:close/>
                    <a:moveTo>
                      <a:pt x="504" y="718"/>
                    </a:moveTo>
                    <a:lnTo>
                      <a:pt x="504" y="714"/>
                    </a:lnTo>
                    <a:lnTo>
                      <a:pt x="504" y="718"/>
                    </a:lnTo>
                    <a:lnTo>
                      <a:pt x="504" y="718"/>
                    </a:lnTo>
                    <a:lnTo>
                      <a:pt x="504" y="718"/>
                    </a:lnTo>
                    <a:lnTo>
                      <a:pt x="504" y="718"/>
                    </a:lnTo>
                    <a:lnTo>
                      <a:pt x="504" y="718"/>
                    </a:lnTo>
                    <a:close/>
                    <a:moveTo>
                      <a:pt x="485" y="737"/>
                    </a:moveTo>
                    <a:lnTo>
                      <a:pt x="482" y="737"/>
                    </a:lnTo>
                    <a:lnTo>
                      <a:pt x="485" y="733"/>
                    </a:lnTo>
                    <a:lnTo>
                      <a:pt x="485" y="730"/>
                    </a:lnTo>
                    <a:lnTo>
                      <a:pt x="485" y="728"/>
                    </a:lnTo>
                    <a:lnTo>
                      <a:pt x="485" y="730"/>
                    </a:lnTo>
                    <a:lnTo>
                      <a:pt x="485" y="733"/>
                    </a:lnTo>
                    <a:lnTo>
                      <a:pt x="485" y="737"/>
                    </a:lnTo>
                    <a:lnTo>
                      <a:pt x="485" y="737"/>
                    </a:lnTo>
                    <a:lnTo>
                      <a:pt x="485" y="737"/>
                    </a:lnTo>
                    <a:lnTo>
                      <a:pt x="485" y="737"/>
                    </a:lnTo>
                    <a:close/>
                    <a:moveTo>
                      <a:pt x="463" y="737"/>
                    </a:moveTo>
                    <a:lnTo>
                      <a:pt x="463" y="732"/>
                    </a:lnTo>
                    <a:lnTo>
                      <a:pt x="463" y="730"/>
                    </a:lnTo>
                    <a:lnTo>
                      <a:pt x="459" y="728"/>
                    </a:lnTo>
                    <a:lnTo>
                      <a:pt x="459" y="725"/>
                    </a:lnTo>
                    <a:lnTo>
                      <a:pt x="459" y="723"/>
                    </a:lnTo>
                    <a:lnTo>
                      <a:pt x="459" y="721"/>
                    </a:lnTo>
                    <a:lnTo>
                      <a:pt x="459" y="713"/>
                    </a:lnTo>
                    <a:lnTo>
                      <a:pt x="459" y="709"/>
                    </a:lnTo>
                    <a:lnTo>
                      <a:pt x="456" y="709"/>
                    </a:lnTo>
                    <a:lnTo>
                      <a:pt x="456" y="702"/>
                    </a:lnTo>
                    <a:lnTo>
                      <a:pt x="459" y="699"/>
                    </a:lnTo>
                    <a:lnTo>
                      <a:pt x="463" y="702"/>
                    </a:lnTo>
                    <a:lnTo>
                      <a:pt x="464" y="702"/>
                    </a:lnTo>
                    <a:lnTo>
                      <a:pt x="463" y="699"/>
                    </a:lnTo>
                    <a:lnTo>
                      <a:pt x="463" y="697"/>
                    </a:lnTo>
                    <a:lnTo>
                      <a:pt x="459" y="695"/>
                    </a:lnTo>
                    <a:lnTo>
                      <a:pt x="459" y="690"/>
                    </a:lnTo>
                    <a:lnTo>
                      <a:pt x="459" y="687"/>
                    </a:lnTo>
                    <a:lnTo>
                      <a:pt x="459" y="678"/>
                    </a:lnTo>
                    <a:lnTo>
                      <a:pt x="459" y="673"/>
                    </a:lnTo>
                    <a:lnTo>
                      <a:pt x="459" y="667"/>
                    </a:lnTo>
                    <a:lnTo>
                      <a:pt x="459" y="664"/>
                    </a:lnTo>
                    <a:lnTo>
                      <a:pt x="459" y="664"/>
                    </a:lnTo>
                    <a:lnTo>
                      <a:pt x="459" y="659"/>
                    </a:lnTo>
                    <a:lnTo>
                      <a:pt x="463" y="657"/>
                    </a:lnTo>
                    <a:lnTo>
                      <a:pt x="464" y="660"/>
                    </a:lnTo>
                    <a:lnTo>
                      <a:pt x="468" y="660"/>
                    </a:lnTo>
                    <a:lnTo>
                      <a:pt x="471" y="664"/>
                    </a:lnTo>
                    <a:lnTo>
                      <a:pt x="471" y="660"/>
                    </a:lnTo>
                    <a:lnTo>
                      <a:pt x="473" y="660"/>
                    </a:lnTo>
                    <a:lnTo>
                      <a:pt x="473" y="664"/>
                    </a:lnTo>
                    <a:lnTo>
                      <a:pt x="478" y="667"/>
                    </a:lnTo>
                    <a:lnTo>
                      <a:pt x="482" y="673"/>
                    </a:lnTo>
                    <a:lnTo>
                      <a:pt x="485" y="674"/>
                    </a:lnTo>
                    <a:lnTo>
                      <a:pt x="490" y="673"/>
                    </a:lnTo>
                    <a:lnTo>
                      <a:pt x="492" y="673"/>
                    </a:lnTo>
                    <a:lnTo>
                      <a:pt x="494" y="674"/>
                    </a:lnTo>
                    <a:lnTo>
                      <a:pt x="494" y="673"/>
                    </a:lnTo>
                    <a:lnTo>
                      <a:pt x="497" y="673"/>
                    </a:lnTo>
                    <a:lnTo>
                      <a:pt x="508" y="673"/>
                    </a:lnTo>
                    <a:lnTo>
                      <a:pt x="510" y="669"/>
                    </a:lnTo>
                    <a:lnTo>
                      <a:pt x="510" y="667"/>
                    </a:lnTo>
                    <a:lnTo>
                      <a:pt x="513" y="667"/>
                    </a:lnTo>
                    <a:lnTo>
                      <a:pt x="513" y="669"/>
                    </a:lnTo>
                    <a:lnTo>
                      <a:pt x="515" y="667"/>
                    </a:lnTo>
                    <a:lnTo>
                      <a:pt x="517" y="667"/>
                    </a:lnTo>
                    <a:lnTo>
                      <a:pt x="522" y="669"/>
                    </a:lnTo>
                    <a:lnTo>
                      <a:pt x="520" y="673"/>
                    </a:lnTo>
                    <a:lnTo>
                      <a:pt x="518" y="681"/>
                    </a:lnTo>
                    <a:lnTo>
                      <a:pt x="515" y="683"/>
                    </a:lnTo>
                    <a:lnTo>
                      <a:pt x="515" y="690"/>
                    </a:lnTo>
                    <a:lnTo>
                      <a:pt x="513" y="695"/>
                    </a:lnTo>
                    <a:lnTo>
                      <a:pt x="513" y="699"/>
                    </a:lnTo>
                    <a:lnTo>
                      <a:pt x="513" y="700"/>
                    </a:lnTo>
                    <a:lnTo>
                      <a:pt x="513" y="702"/>
                    </a:lnTo>
                    <a:lnTo>
                      <a:pt x="513" y="706"/>
                    </a:lnTo>
                    <a:lnTo>
                      <a:pt x="510" y="704"/>
                    </a:lnTo>
                    <a:lnTo>
                      <a:pt x="510" y="699"/>
                    </a:lnTo>
                    <a:lnTo>
                      <a:pt x="508" y="702"/>
                    </a:lnTo>
                    <a:lnTo>
                      <a:pt x="504" y="704"/>
                    </a:lnTo>
                    <a:lnTo>
                      <a:pt x="504" y="713"/>
                    </a:lnTo>
                    <a:lnTo>
                      <a:pt x="504" y="714"/>
                    </a:lnTo>
                    <a:lnTo>
                      <a:pt x="501" y="714"/>
                    </a:lnTo>
                    <a:lnTo>
                      <a:pt x="501" y="718"/>
                    </a:lnTo>
                    <a:lnTo>
                      <a:pt x="499" y="720"/>
                    </a:lnTo>
                    <a:lnTo>
                      <a:pt x="503" y="721"/>
                    </a:lnTo>
                    <a:lnTo>
                      <a:pt x="503" y="723"/>
                    </a:lnTo>
                    <a:lnTo>
                      <a:pt x="497" y="730"/>
                    </a:lnTo>
                    <a:lnTo>
                      <a:pt x="496" y="728"/>
                    </a:lnTo>
                    <a:lnTo>
                      <a:pt x="492" y="730"/>
                    </a:lnTo>
                    <a:lnTo>
                      <a:pt x="492" y="725"/>
                    </a:lnTo>
                    <a:lnTo>
                      <a:pt x="496" y="727"/>
                    </a:lnTo>
                    <a:lnTo>
                      <a:pt x="497" y="723"/>
                    </a:lnTo>
                    <a:lnTo>
                      <a:pt x="496" y="721"/>
                    </a:lnTo>
                    <a:lnTo>
                      <a:pt x="492" y="723"/>
                    </a:lnTo>
                    <a:lnTo>
                      <a:pt x="490" y="725"/>
                    </a:lnTo>
                    <a:lnTo>
                      <a:pt x="487" y="725"/>
                    </a:lnTo>
                    <a:lnTo>
                      <a:pt x="487" y="721"/>
                    </a:lnTo>
                    <a:lnTo>
                      <a:pt x="487" y="725"/>
                    </a:lnTo>
                    <a:lnTo>
                      <a:pt x="485" y="727"/>
                    </a:lnTo>
                    <a:lnTo>
                      <a:pt x="482" y="730"/>
                    </a:lnTo>
                    <a:lnTo>
                      <a:pt x="482" y="727"/>
                    </a:lnTo>
                    <a:lnTo>
                      <a:pt x="478" y="733"/>
                    </a:lnTo>
                    <a:lnTo>
                      <a:pt x="478" y="737"/>
                    </a:lnTo>
                    <a:lnTo>
                      <a:pt x="477" y="740"/>
                    </a:lnTo>
                    <a:lnTo>
                      <a:pt x="473" y="740"/>
                    </a:lnTo>
                    <a:lnTo>
                      <a:pt x="471" y="737"/>
                    </a:lnTo>
                    <a:lnTo>
                      <a:pt x="471" y="735"/>
                    </a:lnTo>
                    <a:lnTo>
                      <a:pt x="468" y="737"/>
                    </a:lnTo>
                    <a:lnTo>
                      <a:pt x="466" y="737"/>
                    </a:lnTo>
                    <a:lnTo>
                      <a:pt x="463" y="737"/>
                    </a:lnTo>
                    <a:lnTo>
                      <a:pt x="463" y="737"/>
                    </a:lnTo>
                    <a:lnTo>
                      <a:pt x="463" y="737"/>
                    </a:lnTo>
                    <a:lnTo>
                      <a:pt x="463" y="737"/>
                    </a:lnTo>
                    <a:lnTo>
                      <a:pt x="463" y="737"/>
                    </a:lnTo>
                    <a:lnTo>
                      <a:pt x="463" y="737"/>
                    </a:lnTo>
                    <a:close/>
                    <a:moveTo>
                      <a:pt x="7" y="469"/>
                    </a:moveTo>
                    <a:lnTo>
                      <a:pt x="9" y="471"/>
                    </a:lnTo>
                    <a:lnTo>
                      <a:pt x="13" y="471"/>
                    </a:lnTo>
                    <a:lnTo>
                      <a:pt x="20" y="478"/>
                    </a:lnTo>
                    <a:lnTo>
                      <a:pt x="20" y="481"/>
                    </a:lnTo>
                    <a:lnTo>
                      <a:pt x="20" y="483"/>
                    </a:lnTo>
                    <a:lnTo>
                      <a:pt x="23" y="483"/>
                    </a:lnTo>
                    <a:lnTo>
                      <a:pt x="25" y="487"/>
                    </a:lnTo>
                    <a:lnTo>
                      <a:pt x="32" y="487"/>
                    </a:lnTo>
                    <a:lnTo>
                      <a:pt x="32" y="487"/>
                    </a:lnTo>
                    <a:lnTo>
                      <a:pt x="33" y="488"/>
                    </a:lnTo>
                    <a:lnTo>
                      <a:pt x="37" y="488"/>
                    </a:lnTo>
                    <a:lnTo>
                      <a:pt x="42" y="488"/>
                    </a:lnTo>
                    <a:lnTo>
                      <a:pt x="42" y="488"/>
                    </a:lnTo>
                    <a:lnTo>
                      <a:pt x="46" y="488"/>
                    </a:lnTo>
                    <a:lnTo>
                      <a:pt x="46" y="488"/>
                    </a:lnTo>
                    <a:lnTo>
                      <a:pt x="51" y="488"/>
                    </a:lnTo>
                    <a:lnTo>
                      <a:pt x="54" y="488"/>
                    </a:lnTo>
                    <a:lnTo>
                      <a:pt x="54" y="487"/>
                    </a:lnTo>
                    <a:lnTo>
                      <a:pt x="58" y="485"/>
                    </a:lnTo>
                    <a:lnTo>
                      <a:pt x="61" y="481"/>
                    </a:lnTo>
                    <a:lnTo>
                      <a:pt x="67" y="481"/>
                    </a:lnTo>
                    <a:lnTo>
                      <a:pt x="67" y="478"/>
                    </a:lnTo>
                    <a:lnTo>
                      <a:pt x="70" y="476"/>
                    </a:lnTo>
                    <a:lnTo>
                      <a:pt x="70" y="476"/>
                    </a:lnTo>
                    <a:lnTo>
                      <a:pt x="73" y="480"/>
                    </a:lnTo>
                    <a:lnTo>
                      <a:pt x="77" y="474"/>
                    </a:lnTo>
                    <a:lnTo>
                      <a:pt x="77" y="476"/>
                    </a:lnTo>
                    <a:lnTo>
                      <a:pt x="79" y="474"/>
                    </a:lnTo>
                    <a:lnTo>
                      <a:pt x="80" y="471"/>
                    </a:lnTo>
                    <a:lnTo>
                      <a:pt x="91" y="466"/>
                    </a:lnTo>
                    <a:lnTo>
                      <a:pt x="94" y="466"/>
                    </a:lnTo>
                    <a:lnTo>
                      <a:pt x="96" y="466"/>
                    </a:lnTo>
                    <a:lnTo>
                      <a:pt x="100" y="466"/>
                    </a:lnTo>
                    <a:lnTo>
                      <a:pt x="108" y="464"/>
                    </a:lnTo>
                    <a:lnTo>
                      <a:pt x="110" y="466"/>
                    </a:lnTo>
                    <a:lnTo>
                      <a:pt x="115" y="464"/>
                    </a:lnTo>
                    <a:lnTo>
                      <a:pt x="117" y="466"/>
                    </a:lnTo>
                    <a:lnTo>
                      <a:pt x="120" y="466"/>
                    </a:lnTo>
                    <a:lnTo>
                      <a:pt x="124" y="464"/>
                    </a:lnTo>
                    <a:lnTo>
                      <a:pt x="124" y="469"/>
                    </a:lnTo>
                    <a:lnTo>
                      <a:pt x="127" y="469"/>
                    </a:lnTo>
                    <a:lnTo>
                      <a:pt x="129" y="466"/>
                    </a:lnTo>
                    <a:lnTo>
                      <a:pt x="131" y="469"/>
                    </a:lnTo>
                    <a:lnTo>
                      <a:pt x="133" y="466"/>
                    </a:lnTo>
                    <a:lnTo>
                      <a:pt x="139" y="466"/>
                    </a:lnTo>
                    <a:lnTo>
                      <a:pt x="139" y="469"/>
                    </a:lnTo>
                    <a:lnTo>
                      <a:pt x="141" y="469"/>
                    </a:lnTo>
                    <a:lnTo>
                      <a:pt x="145" y="466"/>
                    </a:lnTo>
                    <a:lnTo>
                      <a:pt x="146" y="466"/>
                    </a:lnTo>
                    <a:lnTo>
                      <a:pt x="152" y="464"/>
                    </a:lnTo>
                    <a:lnTo>
                      <a:pt x="155" y="460"/>
                    </a:lnTo>
                    <a:lnTo>
                      <a:pt x="155" y="459"/>
                    </a:lnTo>
                    <a:lnTo>
                      <a:pt x="160" y="455"/>
                    </a:lnTo>
                    <a:lnTo>
                      <a:pt x="162" y="448"/>
                    </a:lnTo>
                    <a:lnTo>
                      <a:pt x="166" y="447"/>
                    </a:lnTo>
                    <a:lnTo>
                      <a:pt x="169" y="447"/>
                    </a:lnTo>
                    <a:lnTo>
                      <a:pt x="172" y="447"/>
                    </a:lnTo>
                    <a:lnTo>
                      <a:pt x="181" y="443"/>
                    </a:lnTo>
                    <a:lnTo>
                      <a:pt x="188" y="438"/>
                    </a:lnTo>
                    <a:lnTo>
                      <a:pt x="195" y="433"/>
                    </a:lnTo>
                    <a:lnTo>
                      <a:pt x="197" y="433"/>
                    </a:lnTo>
                    <a:lnTo>
                      <a:pt x="200" y="433"/>
                    </a:lnTo>
                    <a:lnTo>
                      <a:pt x="204" y="433"/>
                    </a:lnTo>
                    <a:lnTo>
                      <a:pt x="209" y="434"/>
                    </a:lnTo>
                    <a:lnTo>
                      <a:pt x="212" y="434"/>
                    </a:lnTo>
                    <a:lnTo>
                      <a:pt x="216" y="433"/>
                    </a:lnTo>
                    <a:lnTo>
                      <a:pt x="223" y="434"/>
                    </a:lnTo>
                    <a:lnTo>
                      <a:pt x="232" y="431"/>
                    </a:lnTo>
                    <a:lnTo>
                      <a:pt x="237" y="429"/>
                    </a:lnTo>
                    <a:lnTo>
                      <a:pt x="240" y="426"/>
                    </a:lnTo>
                    <a:lnTo>
                      <a:pt x="244" y="426"/>
                    </a:lnTo>
                    <a:lnTo>
                      <a:pt x="249" y="424"/>
                    </a:lnTo>
                    <a:lnTo>
                      <a:pt x="254" y="424"/>
                    </a:lnTo>
                    <a:lnTo>
                      <a:pt x="273" y="421"/>
                    </a:lnTo>
                    <a:lnTo>
                      <a:pt x="282" y="424"/>
                    </a:lnTo>
                    <a:lnTo>
                      <a:pt x="284" y="424"/>
                    </a:lnTo>
                    <a:lnTo>
                      <a:pt x="289" y="421"/>
                    </a:lnTo>
                    <a:lnTo>
                      <a:pt x="294" y="421"/>
                    </a:lnTo>
                    <a:lnTo>
                      <a:pt x="299" y="426"/>
                    </a:lnTo>
                    <a:lnTo>
                      <a:pt x="301" y="433"/>
                    </a:lnTo>
                    <a:lnTo>
                      <a:pt x="305" y="434"/>
                    </a:lnTo>
                    <a:lnTo>
                      <a:pt x="308" y="433"/>
                    </a:lnTo>
                    <a:lnTo>
                      <a:pt x="310" y="431"/>
                    </a:lnTo>
                    <a:lnTo>
                      <a:pt x="313" y="433"/>
                    </a:lnTo>
                    <a:lnTo>
                      <a:pt x="313" y="433"/>
                    </a:lnTo>
                    <a:lnTo>
                      <a:pt x="317" y="433"/>
                    </a:lnTo>
                    <a:lnTo>
                      <a:pt x="320" y="438"/>
                    </a:lnTo>
                    <a:lnTo>
                      <a:pt x="324" y="438"/>
                    </a:lnTo>
                    <a:lnTo>
                      <a:pt x="327" y="438"/>
                    </a:lnTo>
                    <a:lnTo>
                      <a:pt x="336" y="443"/>
                    </a:lnTo>
                    <a:lnTo>
                      <a:pt x="332" y="447"/>
                    </a:lnTo>
                    <a:lnTo>
                      <a:pt x="336" y="447"/>
                    </a:lnTo>
                    <a:lnTo>
                      <a:pt x="338" y="448"/>
                    </a:lnTo>
                    <a:lnTo>
                      <a:pt x="338" y="450"/>
                    </a:lnTo>
                    <a:lnTo>
                      <a:pt x="336" y="450"/>
                    </a:lnTo>
                    <a:lnTo>
                      <a:pt x="332" y="454"/>
                    </a:lnTo>
                    <a:lnTo>
                      <a:pt x="336" y="460"/>
                    </a:lnTo>
                    <a:lnTo>
                      <a:pt x="339" y="460"/>
                    </a:lnTo>
                    <a:lnTo>
                      <a:pt x="343" y="464"/>
                    </a:lnTo>
                    <a:lnTo>
                      <a:pt x="345" y="469"/>
                    </a:lnTo>
                    <a:lnTo>
                      <a:pt x="345" y="471"/>
                    </a:lnTo>
                    <a:lnTo>
                      <a:pt x="348" y="480"/>
                    </a:lnTo>
                    <a:lnTo>
                      <a:pt x="346" y="485"/>
                    </a:lnTo>
                    <a:lnTo>
                      <a:pt x="348" y="487"/>
                    </a:lnTo>
                    <a:lnTo>
                      <a:pt x="348" y="488"/>
                    </a:lnTo>
                    <a:lnTo>
                      <a:pt x="346" y="492"/>
                    </a:lnTo>
                    <a:lnTo>
                      <a:pt x="345" y="492"/>
                    </a:lnTo>
                    <a:lnTo>
                      <a:pt x="343" y="492"/>
                    </a:lnTo>
                    <a:lnTo>
                      <a:pt x="346" y="495"/>
                    </a:lnTo>
                    <a:lnTo>
                      <a:pt x="348" y="497"/>
                    </a:lnTo>
                    <a:lnTo>
                      <a:pt x="350" y="500"/>
                    </a:lnTo>
                    <a:lnTo>
                      <a:pt x="353" y="500"/>
                    </a:lnTo>
                    <a:lnTo>
                      <a:pt x="355" y="502"/>
                    </a:lnTo>
                    <a:lnTo>
                      <a:pt x="355" y="500"/>
                    </a:lnTo>
                    <a:lnTo>
                      <a:pt x="355" y="495"/>
                    </a:lnTo>
                    <a:lnTo>
                      <a:pt x="355" y="495"/>
                    </a:lnTo>
                    <a:lnTo>
                      <a:pt x="358" y="492"/>
                    </a:lnTo>
                    <a:lnTo>
                      <a:pt x="358" y="492"/>
                    </a:lnTo>
                    <a:lnTo>
                      <a:pt x="360" y="488"/>
                    </a:lnTo>
                    <a:lnTo>
                      <a:pt x="364" y="487"/>
                    </a:lnTo>
                    <a:lnTo>
                      <a:pt x="365" y="483"/>
                    </a:lnTo>
                    <a:lnTo>
                      <a:pt x="369" y="480"/>
                    </a:lnTo>
                    <a:lnTo>
                      <a:pt x="376" y="476"/>
                    </a:lnTo>
                    <a:lnTo>
                      <a:pt x="378" y="473"/>
                    </a:lnTo>
                    <a:lnTo>
                      <a:pt x="378" y="473"/>
                    </a:lnTo>
                    <a:lnTo>
                      <a:pt x="383" y="471"/>
                    </a:lnTo>
                    <a:lnTo>
                      <a:pt x="386" y="466"/>
                    </a:lnTo>
                    <a:lnTo>
                      <a:pt x="390" y="459"/>
                    </a:lnTo>
                    <a:lnTo>
                      <a:pt x="395" y="459"/>
                    </a:lnTo>
                    <a:lnTo>
                      <a:pt x="397" y="455"/>
                    </a:lnTo>
                    <a:lnTo>
                      <a:pt x="395" y="452"/>
                    </a:lnTo>
                    <a:lnTo>
                      <a:pt x="395" y="447"/>
                    </a:lnTo>
                    <a:lnTo>
                      <a:pt x="398" y="452"/>
                    </a:lnTo>
                    <a:lnTo>
                      <a:pt x="398" y="457"/>
                    </a:lnTo>
                    <a:lnTo>
                      <a:pt x="398" y="462"/>
                    </a:lnTo>
                    <a:lnTo>
                      <a:pt x="397" y="464"/>
                    </a:lnTo>
                    <a:lnTo>
                      <a:pt x="395" y="473"/>
                    </a:lnTo>
                    <a:lnTo>
                      <a:pt x="388" y="476"/>
                    </a:lnTo>
                    <a:lnTo>
                      <a:pt x="386" y="481"/>
                    </a:lnTo>
                    <a:lnTo>
                      <a:pt x="386" y="483"/>
                    </a:lnTo>
                    <a:lnTo>
                      <a:pt x="386" y="488"/>
                    </a:lnTo>
                    <a:lnTo>
                      <a:pt x="381" y="492"/>
                    </a:lnTo>
                    <a:lnTo>
                      <a:pt x="381" y="495"/>
                    </a:lnTo>
                    <a:lnTo>
                      <a:pt x="378" y="502"/>
                    </a:lnTo>
                    <a:lnTo>
                      <a:pt x="371" y="502"/>
                    </a:lnTo>
                    <a:lnTo>
                      <a:pt x="369" y="507"/>
                    </a:lnTo>
                    <a:lnTo>
                      <a:pt x="367" y="511"/>
                    </a:lnTo>
                    <a:lnTo>
                      <a:pt x="367" y="511"/>
                    </a:lnTo>
                    <a:lnTo>
                      <a:pt x="372" y="511"/>
                    </a:lnTo>
                    <a:lnTo>
                      <a:pt x="378" y="507"/>
                    </a:lnTo>
                    <a:lnTo>
                      <a:pt x="383" y="511"/>
                    </a:lnTo>
                    <a:lnTo>
                      <a:pt x="388" y="500"/>
                    </a:lnTo>
                    <a:lnTo>
                      <a:pt x="390" y="492"/>
                    </a:lnTo>
                    <a:lnTo>
                      <a:pt x="395" y="487"/>
                    </a:lnTo>
                    <a:lnTo>
                      <a:pt x="397" y="488"/>
                    </a:lnTo>
                    <a:lnTo>
                      <a:pt x="397" y="495"/>
                    </a:lnTo>
                    <a:lnTo>
                      <a:pt x="398" y="500"/>
                    </a:lnTo>
                    <a:lnTo>
                      <a:pt x="397" y="502"/>
                    </a:lnTo>
                    <a:lnTo>
                      <a:pt x="397" y="511"/>
                    </a:lnTo>
                    <a:lnTo>
                      <a:pt x="393" y="518"/>
                    </a:lnTo>
                    <a:lnTo>
                      <a:pt x="386" y="520"/>
                    </a:lnTo>
                    <a:lnTo>
                      <a:pt x="388" y="523"/>
                    </a:lnTo>
                    <a:lnTo>
                      <a:pt x="391" y="523"/>
                    </a:lnTo>
                    <a:lnTo>
                      <a:pt x="397" y="523"/>
                    </a:lnTo>
                    <a:lnTo>
                      <a:pt x="398" y="520"/>
                    </a:lnTo>
                    <a:lnTo>
                      <a:pt x="402" y="520"/>
                    </a:lnTo>
                    <a:lnTo>
                      <a:pt x="405" y="514"/>
                    </a:lnTo>
                    <a:lnTo>
                      <a:pt x="409" y="518"/>
                    </a:lnTo>
                    <a:lnTo>
                      <a:pt x="409" y="518"/>
                    </a:lnTo>
                    <a:lnTo>
                      <a:pt x="409" y="520"/>
                    </a:lnTo>
                    <a:lnTo>
                      <a:pt x="405" y="523"/>
                    </a:lnTo>
                    <a:lnTo>
                      <a:pt x="404" y="523"/>
                    </a:lnTo>
                    <a:lnTo>
                      <a:pt x="404" y="523"/>
                    </a:lnTo>
                    <a:lnTo>
                      <a:pt x="405" y="528"/>
                    </a:lnTo>
                    <a:lnTo>
                      <a:pt x="405" y="532"/>
                    </a:lnTo>
                    <a:lnTo>
                      <a:pt x="409" y="537"/>
                    </a:lnTo>
                    <a:lnTo>
                      <a:pt x="409" y="542"/>
                    </a:lnTo>
                    <a:lnTo>
                      <a:pt x="409" y="551"/>
                    </a:lnTo>
                    <a:lnTo>
                      <a:pt x="405" y="556"/>
                    </a:lnTo>
                    <a:lnTo>
                      <a:pt x="405" y="558"/>
                    </a:lnTo>
                    <a:lnTo>
                      <a:pt x="405" y="565"/>
                    </a:lnTo>
                    <a:lnTo>
                      <a:pt x="409" y="565"/>
                    </a:lnTo>
                    <a:lnTo>
                      <a:pt x="409" y="570"/>
                    </a:lnTo>
                    <a:lnTo>
                      <a:pt x="411" y="577"/>
                    </a:lnTo>
                    <a:lnTo>
                      <a:pt x="417" y="586"/>
                    </a:lnTo>
                    <a:lnTo>
                      <a:pt x="421" y="586"/>
                    </a:lnTo>
                    <a:lnTo>
                      <a:pt x="424" y="587"/>
                    </a:lnTo>
                    <a:lnTo>
                      <a:pt x="426" y="591"/>
                    </a:lnTo>
                    <a:lnTo>
                      <a:pt x="431" y="591"/>
                    </a:lnTo>
                    <a:lnTo>
                      <a:pt x="431" y="591"/>
                    </a:lnTo>
                    <a:lnTo>
                      <a:pt x="431" y="591"/>
                    </a:lnTo>
                    <a:lnTo>
                      <a:pt x="437" y="591"/>
                    </a:lnTo>
                    <a:lnTo>
                      <a:pt x="440" y="596"/>
                    </a:lnTo>
                    <a:lnTo>
                      <a:pt x="445" y="596"/>
                    </a:lnTo>
                    <a:lnTo>
                      <a:pt x="449" y="600"/>
                    </a:lnTo>
                    <a:lnTo>
                      <a:pt x="451" y="603"/>
                    </a:lnTo>
                    <a:lnTo>
                      <a:pt x="454" y="605"/>
                    </a:lnTo>
                    <a:lnTo>
                      <a:pt x="456" y="610"/>
                    </a:lnTo>
                    <a:lnTo>
                      <a:pt x="459" y="610"/>
                    </a:lnTo>
                    <a:lnTo>
                      <a:pt x="459" y="607"/>
                    </a:lnTo>
                    <a:lnTo>
                      <a:pt x="466" y="603"/>
                    </a:lnTo>
                    <a:lnTo>
                      <a:pt x="468" y="600"/>
                    </a:lnTo>
                    <a:lnTo>
                      <a:pt x="473" y="600"/>
                    </a:lnTo>
                    <a:lnTo>
                      <a:pt x="478" y="596"/>
                    </a:lnTo>
                    <a:lnTo>
                      <a:pt x="478" y="596"/>
                    </a:lnTo>
                    <a:lnTo>
                      <a:pt x="482" y="596"/>
                    </a:lnTo>
                    <a:lnTo>
                      <a:pt x="482" y="593"/>
                    </a:lnTo>
                    <a:lnTo>
                      <a:pt x="478" y="591"/>
                    </a:lnTo>
                    <a:lnTo>
                      <a:pt x="478" y="591"/>
                    </a:lnTo>
                    <a:lnTo>
                      <a:pt x="485" y="586"/>
                    </a:lnTo>
                    <a:lnTo>
                      <a:pt x="490" y="591"/>
                    </a:lnTo>
                    <a:lnTo>
                      <a:pt x="490" y="593"/>
                    </a:lnTo>
                    <a:lnTo>
                      <a:pt x="485" y="596"/>
                    </a:lnTo>
                    <a:lnTo>
                      <a:pt x="485" y="600"/>
                    </a:lnTo>
                    <a:lnTo>
                      <a:pt x="487" y="601"/>
                    </a:lnTo>
                    <a:lnTo>
                      <a:pt x="490" y="598"/>
                    </a:lnTo>
                    <a:lnTo>
                      <a:pt x="492" y="596"/>
                    </a:lnTo>
                    <a:lnTo>
                      <a:pt x="496" y="598"/>
                    </a:lnTo>
                    <a:lnTo>
                      <a:pt x="496" y="601"/>
                    </a:lnTo>
                    <a:lnTo>
                      <a:pt x="494" y="601"/>
                    </a:lnTo>
                    <a:lnTo>
                      <a:pt x="490" y="603"/>
                    </a:lnTo>
                    <a:lnTo>
                      <a:pt x="496" y="610"/>
                    </a:lnTo>
                    <a:lnTo>
                      <a:pt x="496" y="615"/>
                    </a:lnTo>
                    <a:lnTo>
                      <a:pt x="497" y="615"/>
                    </a:lnTo>
                    <a:lnTo>
                      <a:pt x="501" y="615"/>
                    </a:lnTo>
                    <a:lnTo>
                      <a:pt x="501" y="619"/>
                    </a:lnTo>
                    <a:lnTo>
                      <a:pt x="503" y="620"/>
                    </a:lnTo>
                    <a:lnTo>
                      <a:pt x="504" y="619"/>
                    </a:lnTo>
                    <a:lnTo>
                      <a:pt x="504" y="614"/>
                    </a:lnTo>
                    <a:lnTo>
                      <a:pt x="503" y="615"/>
                    </a:lnTo>
                    <a:lnTo>
                      <a:pt x="503" y="614"/>
                    </a:lnTo>
                    <a:lnTo>
                      <a:pt x="504" y="610"/>
                    </a:lnTo>
                    <a:lnTo>
                      <a:pt x="513" y="610"/>
                    </a:lnTo>
                    <a:lnTo>
                      <a:pt x="513" y="614"/>
                    </a:lnTo>
                    <a:lnTo>
                      <a:pt x="515" y="610"/>
                    </a:lnTo>
                    <a:lnTo>
                      <a:pt x="518" y="605"/>
                    </a:lnTo>
                    <a:lnTo>
                      <a:pt x="529" y="600"/>
                    </a:lnTo>
                    <a:lnTo>
                      <a:pt x="532" y="596"/>
                    </a:lnTo>
                    <a:lnTo>
                      <a:pt x="530" y="596"/>
                    </a:lnTo>
                    <a:lnTo>
                      <a:pt x="529" y="596"/>
                    </a:lnTo>
                    <a:lnTo>
                      <a:pt x="529" y="596"/>
                    </a:lnTo>
                    <a:lnTo>
                      <a:pt x="525" y="593"/>
                    </a:lnTo>
                    <a:lnTo>
                      <a:pt x="529" y="593"/>
                    </a:lnTo>
                    <a:lnTo>
                      <a:pt x="532" y="593"/>
                    </a:lnTo>
                    <a:lnTo>
                      <a:pt x="539" y="591"/>
                    </a:lnTo>
                    <a:lnTo>
                      <a:pt x="553" y="587"/>
                    </a:lnTo>
                    <a:lnTo>
                      <a:pt x="563" y="591"/>
                    </a:lnTo>
                    <a:lnTo>
                      <a:pt x="567" y="587"/>
                    </a:lnTo>
                    <a:lnTo>
                      <a:pt x="567" y="586"/>
                    </a:lnTo>
                    <a:lnTo>
                      <a:pt x="570" y="586"/>
                    </a:lnTo>
                    <a:lnTo>
                      <a:pt x="574" y="584"/>
                    </a:lnTo>
                    <a:lnTo>
                      <a:pt x="577" y="577"/>
                    </a:lnTo>
                    <a:lnTo>
                      <a:pt x="576" y="570"/>
                    </a:lnTo>
                    <a:lnTo>
                      <a:pt x="576" y="568"/>
                    </a:lnTo>
                    <a:lnTo>
                      <a:pt x="583" y="561"/>
                    </a:lnTo>
                    <a:lnTo>
                      <a:pt x="583" y="551"/>
                    </a:lnTo>
                    <a:lnTo>
                      <a:pt x="583" y="547"/>
                    </a:lnTo>
                    <a:lnTo>
                      <a:pt x="586" y="542"/>
                    </a:lnTo>
                    <a:lnTo>
                      <a:pt x="590" y="540"/>
                    </a:lnTo>
                    <a:lnTo>
                      <a:pt x="590" y="537"/>
                    </a:lnTo>
                    <a:lnTo>
                      <a:pt x="598" y="523"/>
                    </a:lnTo>
                    <a:lnTo>
                      <a:pt x="602" y="523"/>
                    </a:lnTo>
                    <a:lnTo>
                      <a:pt x="603" y="514"/>
                    </a:lnTo>
                    <a:lnTo>
                      <a:pt x="609" y="511"/>
                    </a:lnTo>
                    <a:lnTo>
                      <a:pt x="609" y="502"/>
                    </a:lnTo>
                    <a:lnTo>
                      <a:pt x="614" y="500"/>
                    </a:lnTo>
                    <a:lnTo>
                      <a:pt x="614" y="495"/>
                    </a:lnTo>
                    <a:lnTo>
                      <a:pt x="617" y="495"/>
                    </a:lnTo>
                    <a:lnTo>
                      <a:pt x="619" y="487"/>
                    </a:lnTo>
                    <a:lnTo>
                      <a:pt x="617" y="485"/>
                    </a:lnTo>
                    <a:lnTo>
                      <a:pt x="623" y="483"/>
                    </a:lnTo>
                    <a:lnTo>
                      <a:pt x="626" y="476"/>
                    </a:lnTo>
                    <a:lnTo>
                      <a:pt x="628" y="474"/>
                    </a:lnTo>
                    <a:lnTo>
                      <a:pt x="631" y="469"/>
                    </a:lnTo>
                    <a:lnTo>
                      <a:pt x="636" y="469"/>
                    </a:lnTo>
                    <a:lnTo>
                      <a:pt x="640" y="466"/>
                    </a:lnTo>
                    <a:lnTo>
                      <a:pt x="635" y="466"/>
                    </a:lnTo>
                    <a:lnTo>
                      <a:pt x="636" y="466"/>
                    </a:lnTo>
                    <a:lnTo>
                      <a:pt x="640" y="464"/>
                    </a:lnTo>
                    <a:lnTo>
                      <a:pt x="647" y="460"/>
                    </a:lnTo>
                    <a:lnTo>
                      <a:pt x="647" y="457"/>
                    </a:lnTo>
                    <a:lnTo>
                      <a:pt x="647" y="454"/>
                    </a:lnTo>
                    <a:lnTo>
                      <a:pt x="647" y="450"/>
                    </a:lnTo>
                    <a:lnTo>
                      <a:pt x="654" y="447"/>
                    </a:lnTo>
                    <a:lnTo>
                      <a:pt x="654" y="443"/>
                    </a:lnTo>
                    <a:lnTo>
                      <a:pt x="657" y="441"/>
                    </a:lnTo>
                    <a:lnTo>
                      <a:pt x="662" y="436"/>
                    </a:lnTo>
                    <a:lnTo>
                      <a:pt x="659" y="433"/>
                    </a:lnTo>
                    <a:lnTo>
                      <a:pt x="662" y="426"/>
                    </a:lnTo>
                    <a:lnTo>
                      <a:pt x="662" y="424"/>
                    </a:lnTo>
                    <a:lnTo>
                      <a:pt x="662" y="424"/>
                    </a:lnTo>
                    <a:lnTo>
                      <a:pt x="668" y="412"/>
                    </a:lnTo>
                    <a:lnTo>
                      <a:pt x="668" y="405"/>
                    </a:lnTo>
                    <a:lnTo>
                      <a:pt x="673" y="393"/>
                    </a:lnTo>
                    <a:lnTo>
                      <a:pt x="673" y="391"/>
                    </a:lnTo>
                    <a:lnTo>
                      <a:pt x="676" y="382"/>
                    </a:lnTo>
                    <a:lnTo>
                      <a:pt x="682" y="379"/>
                    </a:lnTo>
                    <a:lnTo>
                      <a:pt x="683" y="374"/>
                    </a:lnTo>
                    <a:lnTo>
                      <a:pt x="682" y="370"/>
                    </a:lnTo>
                    <a:lnTo>
                      <a:pt x="685" y="367"/>
                    </a:lnTo>
                    <a:lnTo>
                      <a:pt x="682" y="358"/>
                    </a:lnTo>
                    <a:lnTo>
                      <a:pt x="683" y="353"/>
                    </a:lnTo>
                    <a:lnTo>
                      <a:pt x="680" y="347"/>
                    </a:lnTo>
                    <a:lnTo>
                      <a:pt x="680" y="346"/>
                    </a:lnTo>
                    <a:lnTo>
                      <a:pt x="678" y="342"/>
                    </a:lnTo>
                    <a:lnTo>
                      <a:pt x="680" y="339"/>
                    </a:lnTo>
                    <a:lnTo>
                      <a:pt x="680" y="337"/>
                    </a:lnTo>
                    <a:lnTo>
                      <a:pt x="683" y="330"/>
                    </a:lnTo>
                    <a:lnTo>
                      <a:pt x="683" y="328"/>
                    </a:lnTo>
                    <a:lnTo>
                      <a:pt x="683" y="320"/>
                    </a:lnTo>
                    <a:lnTo>
                      <a:pt x="685" y="316"/>
                    </a:lnTo>
                    <a:lnTo>
                      <a:pt x="683" y="314"/>
                    </a:lnTo>
                    <a:lnTo>
                      <a:pt x="683" y="311"/>
                    </a:lnTo>
                    <a:lnTo>
                      <a:pt x="683" y="306"/>
                    </a:lnTo>
                    <a:lnTo>
                      <a:pt x="682" y="306"/>
                    </a:lnTo>
                    <a:lnTo>
                      <a:pt x="683" y="299"/>
                    </a:lnTo>
                    <a:lnTo>
                      <a:pt x="680" y="297"/>
                    </a:lnTo>
                    <a:lnTo>
                      <a:pt x="678" y="294"/>
                    </a:lnTo>
                    <a:lnTo>
                      <a:pt x="678" y="292"/>
                    </a:lnTo>
                    <a:lnTo>
                      <a:pt x="673" y="288"/>
                    </a:lnTo>
                    <a:lnTo>
                      <a:pt x="671" y="283"/>
                    </a:lnTo>
                    <a:lnTo>
                      <a:pt x="669" y="278"/>
                    </a:lnTo>
                    <a:lnTo>
                      <a:pt x="668" y="274"/>
                    </a:lnTo>
                    <a:lnTo>
                      <a:pt x="668" y="274"/>
                    </a:lnTo>
                    <a:lnTo>
                      <a:pt x="662" y="274"/>
                    </a:lnTo>
                    <a:lnTo>
                      <a:pt x="662" y="274"/>
                    </a:lnTo>
                    <a:lnTo>
                      <a:pt x="659" y="269"/>
                    </a:lnTo>
                    <a:lnTo>
                      <a:pt x="659" y="269"/>
                    </a:lnTo>
                    <a:lnTo>
                      <a:pt x="659" y="266"/>
                    </a:lnTo>
                    <a:lnTo>
                      <a:pt x="654" y="262"/>
                    </a:lnTo>
                    <a:lnTo>
                      <a:pt x="652" y="261"/>
                    </a:lnTo>
                    <a:lnTo>
                      <a:pt x="654" y="257"/>
                    </a:lnTo>
                    <a:lnTo>
                      <a:pt x="650" y="254"/>
                    </a:lnTo>
                    <a:lnTo>
                      <a:pt x="654" y="248"/>
                    </a:lnTo>
                    <a:lnTo>
                      <a:pt x="656" y="243"/>
                    </a:lnTo>
                    <a:lnTo>
                      <a:pt x="654" y="241"/>
                    </a:lnTo>
                    <a:lnTo>
                      <a:pt x="656" y="238"/>
                    </a:lnTo>
                    <a:lnTo>
                      <a:pt x="652" y="238"/>
                    </a:lnTo>
                    <a:lnTo>
                      <a:pt x="652" y="240"/>
                    </a:lnTo>
                    <a:lnTo>
                      <a:pt x="652" y="241"/>
                    </a:lnTo>
                    <a:lnTo>
                      <a:pt x="652" y="243"/>
                    </a:lnTo>
                    <a:lnTo>
                      <a:pt x="643" y="234"/>
                    </a:lnTo>
                    <a:lnTo>
                      <a:pt x="642" y="231"/>
                    </a:lnTo>
                    <a:lnTo>
                      <a:pt x="640" y="231"/>
                    </a:lnTo>
                    <a:lnTo>
                      <a:pt x="640" y="234"/>
                    </a:lnTo>
                    <a:lnTo>
                      <a:pt x="640" y="236"/>
                    </a:lnTo>
                    <a:lnTo>
                      <a:pt x="642" y="243"/>
                    </a:lnTo>
                    <a:lnTo>
                      <a:pt x="636" y="238"/>
                    </a:lnTo>
                    <a:lnTo>
                      <a:pt x="636" y="240"/>
                    </a:lnTo>
                    <a:lnTo>
                      <a:pt x="636" y="236"/>
                    </a:lnTo>
                    <a:lnTo>
                      <a:pt x="635" y="234"/>
                    </a:lnTo>
                    <a:lnTo>
                      <a:pt x="635" y="224"/>
                    </a:lnTo>
                    <a:lnTo>
                      <a:pt x="636" y="224"/>
                    </a:lnTo>
                    <a:lnTo>
                      <a:pt x="636" y="221"/>
                    </a:lnTo>
                    <a:lnTo>
                      <a:pt x="633" y="219"/>
                    </a:lnTo>
                    <a:lnTo>
                      <a:pt x="633" y="217"/>
                    </a:lnTo>
                    <a:lnTo>
                      <a:pt x="631" y="214"/>
                    </a:lnTo>
                    <a:lnTo>
                      <a:pt x="631" y="212"/>
                    </a:lnTo>
                    <a:lnTo>
                      <a:pt x="626" y="207"/>
                    </a:lnTo>
                    <a:lnTo>
                      <a:pt x="624" y="203"/>
                    </a:lnTo>
                    <a:lnTo>
                      <a:pt x="624" y="198"/>
                    </a:lnTo>
                    <a:lnTo>
                      <a:pt x="628" y="201"/>
                    </a:lnTo>
                    <a:lnTo>
                      <a:pt x="628" y="198"/>
                    </a:lnTo>
                    <a:lnTo>
                      <a:pt x="624" y="193"/>
                    </a:lnTo>
                    <a:lnTo>
                      <a:pt x="623" y="193"/>
                    </a:lnTo>
                    <a:lnTo>
                      <a:pt x="619" y="193"/>
                    </a:lnTo>
                    <a:lnTo>
                      <a:pt x="617" y="187"/>
                    </a:lnTo>
                    <a:lnTo>
                      <a:pt x="614" y="187"/>
                    </a:lnTo>
                    <a:lnTo>
                      <a:pt x="612" y="184"/>
                    </a:lnTo>
                    <a:lnTo>
                      <a:pt x="609" y="186"/>
                    </a:lnTo>
                    <a:lnTo>
                      <a:pt x="609" y="184"/>
                    </a:lnTo>
                    <a:lnTo>
                      <a:pt x="605" y="182"/>
                    </a:lnTo>
                    <a:lnTo>
                      <a:pt x="602" y="186"/>
                    </a:lnTo>
                    <a:lnTo>
                      <a:pt x="603" y="182"/>
                    </a:lnTo>
                    <a:lnTo>
                      <a:pt x="605" y="181"/>
                    </a:lnTo>
                    <a:lnTo>
                      <a:pt x="609" y="179"/>
                    </a:lnTo>
                    <a:lnTo>
                      <a:pt x="605" y="179"/>
                    </a:lnTo>
                    <a:lnTo>
                      <a:pt x="603" y="179"/>
                    </a:lnTo>
                    <a:lnTo>
                      <a:pt x="600" y="179"/>
                    </a:lnTo>
                    <a:lnTo>
                      <a:pt x="598" y="175"/>
                    </a:lnTo>
                    <a:lnTo>
                      <a:pt x="596" y="175"/>
                    </a:lnTo>
                    <a:lnTo>
                      <a:pt x="590" y="172"/>
                    </a:lnTo>
                    <a:lnTo>
                      <a:pt x="586" y="165"/>
                    </a:lnTo>
                    <a:lnTo>
                      <a:pt x="586" y="158"/>
                    </a:lnTo>
                    <a:lnTo>
                      <a:pt x="583" y="156"/>
                    </a:lnTo>
                    <a:lnTo>
                      <a:pt x="583" y="153"/>
                    </a:lnTo>
                    <a:lnTo>
                      <a:pt x="586" y="149"/>
                    </a:lnTo>
                    <a:lnTo>
                      <a:pt x="586" y="144"/>
                    </a:lnTo>
                    <a:lnTo>
                      <a:pt x="586" y="135"/>
                    </a:lnTo>
                    <a:lnTo>
                      <a:pt x="583" y="130"/>
                    </a:lnTo>
                    <a:lnTo>
                      <a:pt x="586" y="130"/>
                    </a:lnTo>
                    <a:lnTo>
                      <a:pt x="583" y="127"/>
                    </a:lnTo>
                    <a:lnTo>
                      <a:pt x="581" y="127"/>
                    </a:lnTo>
                    <a:lnTo>
                      <a:pt x="577" y="121"/>
                    </a:lnTo>
                    <a:lnTo>
                      <a:pt x="577" y="113"/>
                    </a:lnTo>
                    <a:lnTo>
                      <a:pt x="579" y="113"/>
                    </a:lnTo>
                    <a:lnTo>
                      <a:pt x="579" y="111"/>
                    </a:lnTo>
                    <a:lnTo>
                      <a:pt x="577" y="108"/>
                    </a:lnTo>
                    <a:lnTo>
                      <a:pt x="576" y="99"/>
                    </a:lnTo>
                    <a:lnTo>
                      <a:pt x="577" y="95"/>
                    </a:lnTo>
                    <a:lnTo>
                      <a:pt x="576" y="92"/>
                    </a:lnTo>
                    <a:lnTo>
                      <a:pt x="577" y="90"/>
                    </a:lnTo>
                    <a:lnTo>
                      <a:pt x="577" y="88"/>
                    </a:lnTo>
                    <a:lnTo>
                      <a:pt x="572" y="81"/>
                    </a:lnTo>
                    <a:lnTo>
                      <a:pt x="567" y="80"/>
                    </a:lnTo>
                    <a:lnTo>
                      <a:pt x="569" y="80"/>
                    </a:lnTo>
                    <a:lnTo>
                      <a:pt x="565" y="76"/>
                    </a:lnTo>
                    <a:lnTo>
                      <a:pt x="560" y="76"/>
                    </a:lnTo>
                    <a:lnTo>
                      <a:pt x="560" y="76"/>
                    </a:lnTo>
                    <a:lnTo>
                      <a:pt x="558" y="80"/>
                    </a:lnTo>
                    <a:lnTo>
                      <a:pt x="555" y="80"/>
                    </a:lnTo>
                    <a:lnTo>
                      <a:pt x="551" y="74"/>
                    </a:lnTo>
                    <a:lnTo>
                      <a:pt x="553" y="73"/>
                    </a:lnTo>
                    <a:lnTo>
                      <a:pt x="550" y="68"/>
                    </a:lnTo>
                    <a:lnTo>
                      <a:pt x="551" y="61"/>
                    </a:lnTo>
                    <a:lnTo>
                      <a:pt x="551" y="54"/>
                    </a:lnTo>
                    <a:lnTo>
                      <a:pt x="550" y="54"/>
                    </a:lnTo>
                    <a:lnTo>
                      <a:pt x="548" y="52"/>
                    </a:lnTo>
                    <a:lnTo>
                      <a:pt x="550" y="48"/>
                    </a:lnTo>
                    <a:lnTo>
                      <a:pt x="546" y="45"/>
                    </a:lnTo>
                    <a:lnTo>
                      <a:pt x="546" y="41"/>
                    </a:lnTo>
                    <a:lnTo>
                      <a:pt x="544" y="40"/>
                    </a:lnTo>
                    <a:lnTo>
                      <a:pt x="544" y="36"/>
                    </a:lnTo>
                    <a:lnTo>
                      <a:pt x="546" y="34"/>
                    </a:lnTo>
                    <a:lnTo>
                      <a:pt x="544" y="34"/>
                    </a:lnTo>
                    <a:lnTo>
                      <a:pt x="541" y="34"/>
                    </a:lnTo>
                    <a:lnTo>
                      <a:pt x="539" y="31"/>
                    </a:lnTo>
                    <a:lnTo>
                      <a:pt x="541" y="24"/>
                    </a:lnTo>
                    <a:lnTo>
                      <a:pt x="539" y="22"/>
                    </a:lnTo>
                    <a:lnTo>
                      <a:pt x="537" y="17"/>
                    </a:lnTo>
                    <a:lnTo>
                      <a:pt x="536" y="15"/>
                    </a:lnTo>
                    <a:lnTo>
                      <a:pt x="536" y="14"/>
                    </a:lnTo>
                    <a:lnTo>
                      <a:pt x="532" y="15"/>
                    </a:lnTo>
                    <a:lnTo>
                      <a:pt x="530" y="17"/>
                    </a:lnTo>
                    <a:lnTo>
                      <a:pt x="530" y="24"/>
                    </a:lnTo>
                    <a:lnTo>
                      <a:pt x="529" y="29"/>
                    </a:lnTo>
                    <a:lnTo>
                      <a:pt x="529" y="29"/>
                    </a:lnTo>
                    <a:lnTo>
                      <a:pt x="527" y="34"/>
                    </a:lnTo>
                    <a:lnTo>
                      <a:pt x="525" y="34"/>
                    </a:lnTo>
                    <a:lnTo>
                      <a:pt x="523" y="40"/>
                    </a:lnTo>
                    <a:lnTo>
                      <a:pt x="520" y="43"/>
                    </a:lnTo>
                    <a:lnTo>
                      <a:pt x="522" y="47"/>
                    </a:lnTo>
                    <a:lnTo>
                      <a:pt x="525" y="48"/>
                    </a:lnTo>
                    <a:lnTo>
                      <a:pt x="523" y="48"/>
                    </a:lnTo>
                    <a:lnTo>
                      <a:pt x="522" y="48"/>
                    </a:lnTo>
                    <a:lnTo>
                      <a:pt x="520" y="54"/>
                    </a:lnTo>
                    <a:lnTo>
                      <a:pt x="518" y="57"/>
                    </a:lnTo>
                    <a:lnTo>
                      <a:pt x="520" y="59"/>
                    </a:lnTo>
                    <a:lnTo>
                      <a:pt x="520" y="62"/>
                    </a:lnTo>
                    <a:lnTo>
                      <a:pt x="518" y="62"/>
                    </a:lnTo>
                    <a:lnTo>
                      <a:pt x="517" y="62"/>
                    </a:lnTo>
                    <a:lnTo>
                      <a:pt x="515" y="73"/>
                    </a:lnTo>
                    <a:lnTo>
                      <a:pt x="517" y="76"/>
                    </a:lnTo>
                    <a:lnTo>
                      <a:pt x="515" y="83"/>
                    </a:lnTo>
                    <a:lnTo>
                      <a:pt x="517" y="88"/>
                    </a:lnTo>
                    <a:lnTo>
                      <a:pt x="517" y="94"/>
                    </a:lnTo>
                    <a:lnTo>
                      <a:pt x="513" y="95"/>
                    </a:lnTo>
                    <a:lnTo>
                      <a:pt x="513" y="99"/>
                    </a:lnTo>
                    <a:lnTo>
                      <a:pt x="510" y="104"/>
                    </a:lnTo>
                    <a:lnTo>
                      <a:pt x="510" y="114"/>
                    </a:lnTo>
                    <a:lnTo>
                      <a:pt x="504" y="118"/>
                    </a:lnTo>
                    <a:lnTo>
                      <a:pt x="508" y="121"/>
                    </a:lnTo>
                    <a:lnTo>
                      <a:pt x="504" y="127"/>
                    </a:lnTo>
                    <a:lnTo>
                      <a:pt x="503" y="130"/>
                    </a:lnTo>
                    <a:lnTo>
                      <a:pt x="503" y="135"/>
                    </a:lnTo>
                    <a:lnTo>
                      <a:pt x="497" y="141"/>
                    </a:lnTo>
                    <a:lnTo>
                      <a:pt x="485" y="144"/>
                    </a:lnTo>
                    <a:lnTo>
                      <a:pt x="482" y="142"/>
                    </a:lnTo>
                    <a:lnTo>
                      <a:pt x="477" y="141"/>
                    </a:lnTo>
                    <a:lnTo>
                      <a:pt x="475" y="139"/>
                    </a:lnTo>
                    <a:lnTo>
                      <a:pt x="470" y="135"/>
                    </a:lnTo>
                    <a:lnTo>
                      <a:pt x="470" y="134"/>
                    </a:lnTo>
                    <a:lnTo>
                      <a:pt x="470" y="130"/>
                    </a:lnTo>
                    <a:lnTo>
                      <a:pt x="468" y="127"/>
                    </a:lnTo>
                    <a:lnTo>
                      <a:pt x="464" y="127"/>
                    </a:lnTo>
                    <a:lnTo>
                      <a:pt x="463" y="125"/>
                    </a:lnTo>
                    <a:lnTo>
                      <a:pt x="456" y="125"/>
                    </a:lnTo>
                    <a:lnTo>
                      <a:pt x="451" y="121"/>
                    </a:lnTo>
                    <a:lnTo>
                      <a:pt x="451" y="120"/>
                    </a:lnTo>
                    <a:lnTo>
                      <a:pt x="445" y="114"/>
                    </a:lnTo>
                    <a:lnTo>
                      <a:pt x="442" y="114"/>
                    </a:lnTo>
                    <a:lnTo>
                      <a:pt x="437" y="111"/>
                    </a:lnTo>
                    <a:lnTo>
                      <a:pt x="437" y="111"/>
                    </a:lnTo>
                    <a:lnTo>
                      <a:pt x="437" y="111"/>
                    </a:lnTo>
                    <a:lnTo>
                      <a:pt x="431" y="108"/>
                    </a:lnTo>
                    <a:lnTo>
                      <a:pt x="428" y="108"/>
                    </a:lnTo>
                    <a:lnTo>
                      <a:pt x="426" y="106"/>
                    </a:lnTo>
                    <a:lnTo>
                      <a:pt x="428" y="104"/>
                    </a:lnTo>
                    <a:lnTo>
                      <a:pt x="423" y="102"/>
                    </a:lnTo>
                    <a:lnTo>
                      <a:pt x="423" y="99"/>
                    </a:lnTo>
                    <a:lnTo>
                      <a:pt x="417" y="94"/>
                    </a:lnTo>
                    <a:lnTo>
                      <a:pt x="414" y="94"/>
                    </a:lnTo>
                    <a:lnTo>
                      <a:pt x="411" y="88"/>
                    </a:lnTo>
                    <a:lnTo>
                      <a:pt x="411" y="85"/>
                    </a:lnTo>
                    <a:lnTo>
                      <a:pt x="414" y="80"/>
                    </a:lnTo>
                    <a:lnTo>
                      <a:pt x="414" y="76"/>
                    </a:lnTo>
                    <a:lnTo>
                      <a:pt x="417" y="74"/>
                    </a:lnTo>
                    <a:lnTo>
                      <a:pt x="419" y="69"/>
                    </a:lnTo>
                    <a:lnTo>
                      <a:pt x="421" y="66"/>
                    </a:lnTo>
                    <a:lnTo>
                      <a:pt x="417" y="68"/>
                    </a:lnTo>
                    <a:lnTo>
                      <a:pt x="416" y="62"/>
                    </a:lnTo>
                    <a:lnTo>
                      <a:pt x="419" y="61"/>
                    </a:lnTo>
                    <a:lnTo>
                      <a:pt x="417" y="57"/>
                    </a:lnTo>
                    <a:lnTo>
                      <a:pt x="419" y="57"/>
                    </a:lnTo>
                    <a:lnTo>
                      <a:pt x="423" y="57"/>
                    </a:lnTo>
                    <a:lnTo>
                      <a:pt x="423" y="57"/>
                    </a:lnTo>
                    <a:lnTo>
                      <a:pt x="426" y="57"/>
                    </a:lnTo>
                    <a:lnTo>
                      <a:pt x="431" y="57"/>
                    </a:lnTo>
                    <a:lnTo>
                      <a:pt x="431" y="54"/>
                    </a:lnTo>
                    <a:lnTo>
                      <a:pt x="428" y="48"/>
                    </a:lnTo>
                    <a:lnTo>
                      <a:pt x="431" y="48"/>
                    </a:lnTo>
                    <a:lnTo>
                      <a:pt x="433" y="48"/>
                    </a:lnTo>
                    <a:lnTo>
                      <a:pt x="437" y="43"/>
                    </a:lnTo>
                    <a:lnTo>
                      <a:pt x="437" y="41"/>
                    </a:lnTo>
                    <a:lnTo>
                      <a:pt x="440" y="40"/>
                    </a:lnTo>
                    <a:lnTo>
                      <a:pt x="440" y="38"/>
                    </a:lnTo>
                    <a:lnTo>
                      <a:pt x="437" y="34"/>
                    </a:lnTo>
                    <a:lnTo>
                      <a:pt x="433" y="38"/>
                    </a:lnTo>
                    <a:lnTo>
                      <a:pt x="431" y="38"/>
                    </a:lnTo>
                    <a:lnTo>
                      <a:pt x="431" y="31"/>
                    </a:lnTo>
                    <a:lnTo>
                      <a:pt x="428" y="34"/>
                    </a:lnTo>
                    <a:lnTo>
                      <a:pt x="424" y="38"/>
                    </a:lnTo>
                    <a:lnTo>
                      <a:pt x="428" y="38"/>
                    </a:lnTo>
                    <a:lnTo>
                      <a:pt x="428" y="41"/>
                    </a:lnTo>
                    <a:lnTo>
                      <a:pt x="424" y="43"/>
                    </a:lnTo>
                    <a:lnTo>
                      <a:pt x="421" y="40"/>
                    </a:lnTo>
                    <a:lnTo>
                      <a:pt x="421" y="38"/>
                    </a:lnTo>
                    <a:lnTo>
                      <a:pt x="419" y="36"/>
                    </a:lnTo>
                    <a:lnTo>
                      <a:pt x="417" y="38"/>
                    </a:lnTo>
                    <a:lnTo>
                      <a:pt x="416" y="40"/>
                    </a:lnTo>
                    <a:lnTo>
                      <a:pt x="416" y="36"/>
                    </a:lnTo>
                    <a:lnTo>
                      <a:pt x="417" y="34"/>
                    </a:lnTo>
                    <a:lnTo>
                      <a:pt x="419" y="34"/>
                    </a:lnTo>
                    <a:lnTo>
                      <a:pt x="416" y="34"/>
                    </a:lnTo>
                    <a:lnTo>
                      <a:pt x="414" y="36"/>
                    </a:lnTo>
                    <a:lnTo>
                      <a:pt x="411" y="38"/>
                    </a:lnTo>
                    <a:lnTo>
                      <a:pt x="409" y="40"/>
                    </a:lnTo>
                    <a:lnTo>
                      <a:pt x="409" y="40"/>
                    </a:lnTo>
                    <a:lnTo>
                      <a:pt x="405" y="38"/>
                    </a:lnTo>
                    <a:lnTo>
                      <a:pt x="404" y="38"/>
                    </a:lnTo>
                    <a:lnTo>
                      <a:pt x="404" y="36"/>
                    </a:lnTo>
                    <a:lnTo>
                      <a:pt x="402" y="34"/>
                    </a:lnTo>
                    <a:lnTo>
                      <a:pt x="400" y="34"/>
                    </a:lnTo>
                    <a:lnTo>
                      <a:pt x="395" y="34"/>
                    </a:lnTo>
                    <a:lnTo>
                      <a:pt x="393" y="34"/>
                    </a:lnTo>
                    <a:lnTo>
                      <a:pt x="391" y="34"/>
                    </a:lnTo>
                    <a:lnTo>
                      <a:pt x="390" y="31"/>
                    </a:lnTo>
                    <a:lnTo>
                      <a:pt x="388" y="31"/>
                    </a:lnTo>
                    <a:lnTo>
                      <a:pt x="386" y="29"/>
                    </a:lnTo>
                    <a:lnTo>
                      <a:pt x="381" y="29"/>
                    </a:lnTo>
                    <a:lnTo>
                      <a:pt x="378" y="29"/>
                    </a:lnTo>
                    <a:lnTo>
                      <a:pt x="374" y="26"/>
                    </a:lnTo>
                    <a:lnTo>
                      <a:pt x="376" y="26"/>
                    </a:lnTo>
                    <a:lnTo>
                      <a:pt x="372" y="22"/>
                    </a:lnTo>
                    <a:lnTo>
                      <a:pt x="371" y="22"/>
                    </a:lnTo>
                    <a:lnTo>
                      <a:pt x="371" y="24"/>
                    </a:lnTo>
                    <a:lnTo>
                      <a:pt x="365" y="26"/>
                    </a:lnTo>
                    <a:lnTo>
                      <a:pt x="364" y="22"/>
                    </a:lnTo>
                    <a:lnTo>
                      <a:pt x="362" y="22"/>
                    </a:lnTo>
                    <a:lnTo>
                      <a:pt x="358" y="19"/>
                    </a:lnTo>
                    <a:lnTo>
                      <a:pt x="355" y="21"/>
                    </a:lnTo>
                    <a:lnTo>
                      <a:pt x="355" y="19"/>
                    </a:lnTo>
                    <a:lnTo>
                      <a:pt x="351" y="21"/>
                    </a:lnTo>
                    <a:lnTo>
                      <a:pt x="355" y="24"/>
                    </a:lnTo>
                    <a:lnTo>
                      <a:pt x="355" y="24"/>
                    </a:lnTo>
                    <a:lnTo>
                      <a:pt x="358" y="26"/>
                    </a:lnTo>
                    <a:lnTo>
                      <a:pt x="358" y="24"/>
                    </a:lnTo>
                    <a:lnTo>
                      <a:pt x="364" y="26"/>
                    </a:lnTo>
                    <a:lnTo>
                      <a:pt x="364" y="29"/>
                    </a:lnTo>
                    <a:lnTo>
                      <a:pt x="365" y="34"/>
                    </a:lnTo>
                    <a:lnTo>
                      <a:pt x="362" y="34"/>
                    </a:lnTo>
                    <a:lnTo>
                      <a:pt x="360" y="40"/>
                    </a:lnTo>
                    <a:lnTo>
                      <a:pt x="358" y="36"/>
                    </a:lnTo>
                    <a:lnTo>
                      <a:pt x="358" y="36"/>
                    </a:lnTo>
                    <a:lnTo>
                      <a:pt x="355" y="38"/>
                    </a:lnTo>
                    <a:lnTo>
                      <a:pt x="345" y="38"/>
                    </a:lnTo>
                    <a:lnTo>
                      <a:pt x="341" y="34"/>
                    </a:lnTo>
                    <a:lnTo>
                      <a:pt x="339" y="36"/>
                    </a:lnTo>
                    <a:lnTo>
                      <a:pt x="336" y="38"/>
                    </a:lnTo>
                    <a:lnTo>
                      <a:pt x="336" y="41"/>
                    </a:lnTo>
                    <a:lnTo>
                      <a:pt x="332" y="41"/>
                    </a:lnTo>
                    <a:lnTo>
                      <a:pt x="336" y="45"/>
                    </a:lnTo>
                    <a:lnTo>
                      <a:pt x="332" y="43"/>
                    </a:lnTo>
                    <a:lnTo>
                      <a:pt x="331" y="43"/>
                    </a:lnTo>
                    <a:lnTo>
                      <a:pt x="327" y="45"/>
                    </a:lnTo>
                    <a:lnTo>
                      <a:pt x="331" y="47"/>
                    </a:lnTo>
                    <a:lnTo>
                      <a:pt x="331" y="48"/>
                    </a:lnTo>
                    <a:lnTo>
                      <a:pt x="324" y="47"/>
                    </a:lnTo>
                    <a:lnTo>
                      <a:pt x="324" y="48"/>
                    </a:lnTo>
                    <a:lnTo>
                      <a:pt x="324" y="52"/>
                    </a:lnTo>
                    <a:lnTo>
                      <a:pt x="322" y="52"/>
                    </a:lnTo>
                    <a:lnTo>
                      <a:pt x="320" y="54"/>
                    </a:lnTo>
                    <a:lnTo>
                      <a:pt x="320" y="57"/>
                    </a:lnTo>
                    <a:lnTo>
                      <a:pt x="322" y="57"/>
                    </a:lnTo>
                    <a:lnTo>
                      <a:pt x="324" y="59"/>
                    </a:lnTo>
                    <a:lnTo>
                      <a:pt x="320" y="57"/>
                    </a:lnTo>
                    <a:lnTo>
                      <a:pt x="318" y="61"/>
                    </a:lnTo>
                    <a:lnTo>
                      <a:pt x="315" y="61"/>
                    </a:lnTo>
                    <a:lnTo>
                      <a:pt x="313" y="66"/>
                    </a:lnTo>
                    <a:lnTo>
                      <a:pt x="308" y="71"/>
                    </a:lnTo>
                    <a:lnTo>
                      <a:pt x="306" y="71"/>
                    </a:lnTo>
                    <a:lnTo>
                      <a:pt x="305" y="76"/>
                    </a:lnTo>
                    <a:lnTo>
                      <a:pt x="305" y="76"/>
                    </a:lnTo>
                    <a:lnTo>
                      <a:pt x="305" y="80"/>
                    </a:lnTo>
                    <a:lnTo>
                      <a:pt x="313" y="80"/>
                    </a:lnTo>
                    <a:lnTo>
                      <a:pt x="308" y="81"/>
                    </a:lnTo>
                    <a:lnTo>
                      <a:pt x="306" y="83"/>
                    </a:lnTo>
                    <a:lnTo>
                      <a:pt x="315" y="87"/>
                    </a:lnTo>
                    <a:lnTo>
                      <a:pt x="313" y="87"/>
                    </a:lnTo>
                    <a:lnTo>
                      <a:pt x="306" y="87"/>
                    </a:lnTo>
                    <a:lnTo>
                      <a:pt x="306" y="85"/>
                    </a:lnTo>
                    <a:lnTo>
                      <a:pt x="306" y="87"/>
                    </a:lnTo>
                    <a:lnTo>
                      <a:pt x="308" y="88"/>
                    </a:lnTo>
                    <a:lnTo>
                      <a:pt x="308" y="94"/>
                    </a:lnTo>
                    <a:lnTo>
                      <a:pt x="313" y="97"/>
                    </a:lnTo>
                    <a:lnTo>
                      <a:pt x="306" y="94"/>
                    </a:lnTo>
                    <a:lnTo>
                      <a:pt x="305" y="88"/>
                    </a:lnTo>
                    <a:lnTo>
                      <a:pt x="301" y="88"/>
                    </a:lnTo>
                    <a:lnTo>
                      <a:pt x="301" y="90"/>
                    </a:lnTo>
                    <a:lnTo>
                      <a:pt x="301" y="92"/>
                    </a:lnTo>
                    <a:lnTo>
                      <a:pt x="301" y="90"/>
                    </a:lnTo>
                    <a:lnTo>
                      <a:pt x="292" y="85"/>
                    </a:lnTo>
                    <a:lnTo>
                      <a:pt x="287" y="85"/>
                    </a:lnTo>
                    <a:lnTo>
                      <a:pt x="289" y="88"/>
                    </a:lnTo>
                    <a:lnTo>
                      <a:pt x="287" y="90"/>
                    </a:lnTo>
                    <a:lnTo>
                      <a:pt x="285" y="88"/>
                    </a:lnTo>
                    <a:lnTo>
                      <a:pt x="284" y="88"/>
                    </a:lnTo>
                    <a:lnTo>
                      <a:pt x="282" y="90"/>
                    </a:lnTo>
                    <a:lnTo>
                      <a:pt x="284" y="94"/>
                    </a:lnTo>
                    <a:lnTo>
                      <a:pt x="284" y="95"/>
                    </a:lnTo>
                    <a:lnTo>
                      <a:pt x="284" y="94"/>
                    </a:lnTo>
                    <a:lnTo>
                      <a:pt x="282" y="95"/>
                    </a:lnTo>
                    <a:lnTo>
                      <a:pt x="282" y="97"/>
                    </a:lnTo>
                    <a:lnTo>
                      <a:pt x="278" y="99"/>
                    </a:lnTo>
                    <a:lnTo>
                      <a:pt x="273" y="99"/>
                    </a:lnTo>
                    <a:lnTo>
                      <a:pt x="278" y="97"/>
                    </a:lnTo>
                    <a:lnTo>
                      <a:pt x="282" y="94"/>
                    </a:lnTo>
                    <a:lnTo>
                      <a:pt x="278" y="88"/>
                    </a:lnTo>
                    <a:lnTo>
                      <a:pt x="282" y="85"/>
                    </a:lnTo>
                    <a:lnTo>
                      <a:pt x="282" y="81"/>
                    </a:lnTo>
                    <a:lnTo>
                      <a:pt x="278" y="81"/>
                    </a:lnTo>
                    <a:lnTo>
                      <a:pt x="273" y="74"/>
                    </a:lnTo>
                    <a:lnTo>
                      <a:pt x="272" y="69"/>
                    </a:lnTo>
                    <a:lnTo>
                      <a:pt x="266" y="69"/>
                    </a:lnTo>
                    <a:lnTo>
                      <a:pt x="263" y="66"/>
                    </a:lnTo>
                    <a:lnTo>
                      <a:pt x="261" y="68"/>
                    </a:lnTo>
                    <a:lnTo>
                      <a:pt x="263" y="69"/>
                    </a:lnTo>
                    <a:lnTo>
                      <a:pt x="259" y="71"/>
                    </a:lnTo>
                    <a:lnTo>
                      <a:pt x="258" y="74"/>
                    </a:lnTo>
                    <a:lnTo>
                      <a:pt x="256" y="74"/>
                    </a:lnTo>
                    <a:lnTo>
                      <a:pt x="256" y="71"/>
                    </a:lnTo>
                    <a:lnTo>
                      <a:pt x="254" y="73"/>
                    </a:lnTo>
                    <a:lnTo>
                      <a:pt x="254" y="74"/>
                    </a:lnTo>
                    <a:lnTo>
                      <a:pt x="251" y="69"/>
                    </a:lnTo>
                    <a:lnTo>
                      <a:pt x="249" y="69"/>
                    </a:lnTo>
                    <a:lnTo>
                      <a:pt x="249" y="73"/>
                    </a:lnTo>
                    <a:lnTo>
                      <a:pt x="251" y="73"/>
                    </a:lnTo>
                    <a:lnTo>
                      <a:pt x="247" y="76"/>
                    </a:lnTo>
                    <a:lnTo>
                      <a:pt x="245" y="80"/>
                    </a:lnTo>
                    <a:lnTo>
                      <a:pt x="247" y="80"/>
                    </a:lnTo>
                    <a:lnTo>
                      <a:pt x="244" y="83"/>
                    </a:lnTo>
                    <a:lnTo>
                      <a:pt x="242" y="80"/>
                    </a:lnTo>
                    <a:lnTo>
                      <a:pt x="240" y="80"/>
                    </a:lnTo>
                    <a:lnTo>
                      <a:pt x="240" y="80"/>
                    </a:lnTo>
                    <a:lnTo>
                      <a:pt x="242" y="76"/>
                    </a:lnTo>
                    <a:lnTo>
                      <a:pt x="239" y="76"/>
                    </a:lnTo>
                    <a:lnTo>
                      <a:pt x="239" y="80"/>
                    </a:lnTo>
                    <a:lnTo>
                      <a:pt x="233" y="80"/>
                    </a:lnTo>
                    <a:lnTo>
                      <a:pt x="233" y="81"/>
                    </a:lnTo>
                    <a:lnTo>
                      <a:pt x="232" y="87"/>
                    </a:lnTo>
                    <a:lnTo>
                      <a:pt x="237" y="87"/>
                    </a:lnTo>
                    <a:lnTo>
                      <a:pt x="233" y="92"/>
                    </a:lnTo>
                    <a:lnTo>
                      <a:pt x="232" y="90"/>
                    </a:lnTo>
                    <a:lnTo>
                      <a:pt x="226" y="92"/>
                    </a:lnTo>
                    <a:lnTo>
                      <a:pt x="228" y="95"/>
                    </a:lnTo>
                    <a:lnTo>
                      <a:pt x="232" y="95"/>
                    </a:lnTo>
                    <a:lnTo>
                      <a:pt x="228" y="99"/>
                    </a:lnTo>
                    <a:lnTo>
                      <a:pt x="228" y="99"/>
                    </a:lnTo>
                    <a:lnTo>
                      <a:pt x="225" y="95"/>
                    </a:lnTo>
                    <a:lnTo>
                      <a:pt x="219" y="99"/>
                    </a:lnTo>
                    <a:lnTo>
                      <a:pt x="218" y="99"/>
                    </a:lnTo>
                    <a:lnTo>
                      <a:pt x="219" y="102"/>
                    </a:lnTo>
                    <a:lnTo>
                      <a:pt x="219" y="102"/>
                    </a:lnTo>
                    <a:lnTo>
                      <a:pt x="219" y="104"/>
                    </a:lnTo>
                    <a:lnTo>
                      <a:pt x="219" y="104"/>
                    </a:lnTo>
                    <a:lnTo>
                      <a:pt x="219" y="108"/>
                    </a:lnTo>
                    <a:lnTo>
                      <a:pt x="219" y="111"/>
                    </a:lnTo>
                    <a:lnTo>
                      <a:pt x="218" y="111"/>
                    </a:lnTo>
                    <a:lnTo>
                      <a:pt x="216" y="114"/>
                    </a:lnTo>
                    <a:lnTo>
                      <a:pt x="223" y="114"/>
                    </a:lnTo>
                    <a:lnTo>
                      <a:pt x="218" y="118"/>
                    </a:lnTo>
                    <a:lnTo>
                      <a:pt x="218" y="120"/>
                    </a:lnTo>
                    <a:lnTo>
                      <a:pt x="214" y="118"/>
                    </a:lnTo>
                    <a:lnTo>
                      <a:pt x="212" y="116"/>
                    </a:lnTo>
                    <a:lnTo>
                      <a:pt x="209" y="113"/>
                    </a:lnTo>
                    <a:lnTo>
                      <a:pt x="209" y="116"/>
                    </a:lnTo>
                    <a:lnTo>
                      <a:pt x="206" y="113"/>
                    </a:lnTo>
                    <a:lnTo>
                      <a:pt x="204" y="111"/>
                    </a:lnTo>
                    <a:lnTo>
                      <a:pt x="200" y="113"/>
                    </a:lnTo>
                    <a:lnTo>
                      <a:pt x="204" y="116"/>
                    </a:lnTo>
                    <a:lnTo>
                      <a:pt x="204" y="118"/>
                    </a:lnTo>
                    <a:lnTo>
                      <a:pt x="200" y="121"/>
                    </a:lnTo>
                    <a:lnTo>
                      <a:pt x="204" y="121"/>
                    </a:lnTo>
                    <a:lnTo>
                      <a:pt x="209" y="121"/>
                    </a:lnTo>
                    <a:lnTo>
                      <a:pt x="206" y="125"/>
                    </a:lnTo>
                    <a:lnTo>
                      <a:pt x="206" y="130"/>
                    </a:lnTo>
                    <a:lnTo>
                      <a:pt x="204" y="127"/>
                    </a:lnTo>
                    <a:lnTo>
                      <a:pt x="204" y="127"/>
                    </a:lnTo>
                    <a:lnTo>
                      <a:pt x="204" y="130"/>
                    </a:lnTo>
                    <a:lnTo>
                      <a:pt x="204" y="135"/>
                    </a:lnTo>
                    <a:lnTo>
                      <a:pt x="204" y="139"/>
                    </a:lnTo>
                    <a:lnTo>
                      <a:pt x="197" y="127"/>
                    </a:lnTo>
                    <a:lnTo>
                      <a:pt x="193" y="121"/>
                    </a:lnTo>
                    <a:lnTo>
                      <a:pt x="192" y="118"/>
                    </a:lnTo>
                    <a:lnTo>
                      <a:pt x="192" y="114"/>
                    </a:lnTo>
                    <a:lnTo>
                      <a:pt x="192" y="116"/>
                    </a:lnTo>
                    <a:lnTo>
                      <a:pt x="186" y="120"/>
                    </a:lnTo>
                    <a:lnTo>
                      <a:pt x="186" y="121"/>
                    </a:lnTo>
                    <a:lnTo>
                      <a:pt x="183" y="125"/>
                    </a:lnTo>
                    <a:lnTo>
                      <a:pt x="183" y="125"/>
                    </a:lnTo>
                    <a:lnTo>
                      <a:pt x="181" y="125"/>
                    </a:lnTo>
                    <a:lnTo>
                      <a:pt x="178" y="127"/>
                    </a:lnTo>
                    <a:lnTo>
                      <a:pt x="174" y="130"/>
                    </a:lnTo>
                    <a:lnTo>
                      <a:pt x="174" y="135"/>
                    </a:lnTo>
                    <a:lnTo>
                      <a:pt x="174" y="144"/>
                    </a:lnTo>
                    <a:lnTo>
                      <a:pt x="178" y="144"/>
                    </a:lnTo>
                    <a:lnTo>
                      <a:pt x="178" y="148"/>
                    </a:lnTo>
                    <a:lnTo>
                      <a:pt x="174" y="149"/>
                    </a:lnTo>
                    <a:lnTo>
                      <a:pt x="172" y="153"/>
                    </a:lnTo>
                    <a:lnTo>
                      <a:pt x="167" y="153"/>
                    </a:lnTo>
                    <a:lnTo>
                      <a:pt x="169" y="156"/>
                    </a:lnTo>
                    <a:lnTo>
                      <a:pt x="164" y="158"/>
                    </a:lnTo>
                    <a:lnTo>
                      <a:pt x="164" y="163"/>
                    </a:lnTo>
                    <a:lnTo>
                      <a:pt x="162" y="165"/>
                    </a:lnTo>
                    <a:lnTo>
                      <a:pt x="157" y="174"/>
                    </a:lnTo>
                    <a:lnTo>
                      <a:pt x="146" y="179"/>
                    </a:lnTo>
                    <a:lnTo>
                      <a:pt x="138" y="179"/>
                    </a:lnTo>
                    <a:lnTo>
                      <a:pt x="134" y="181"/>
                    </a:lnTo>
                    <a:lnTo>
                      <a:pt x="129" y="181"/>
                    </a:lnTo>
                    <a:lnTo>
                      <a:pt x="124" y="181"/>
                    </a:lnTo>
                    <a:lnTo>
                      <a:pt x="122" y="181"/>
                    </a:lnTo>
                    <a:lnTo>
                      <a:pt x="115" y="182"/>
                    </a:lnTo>
                    <a:lnTo>
                      <a:pt x="115" y="186"/>
                    </a:lnTo>
                    <a:lnTo>
                      <a:pt x="112" y="187"/>
                    </a:lnTo>
                    <a:lnTo>
                      <a:pt x="101" y="187"/>
                    </a:lnTo>
                    <a:lnTo>
                      <a:pt x="96" y="189"/>
                    </a:lnTo>
                    <a:lnTo>
                      <a:pt x="96" y="193"/>
                    </a:lnTo>
                    <a:lnTo>
                      <a:pt x="91" y="194"/>
                    </a:lnTo>
                    <a:lnTo>
                      <a:pt x="84" y="194"/>
                    </a:lnTo>
                    <a:lnTo>
                      <a:pt x="82" y="194"/>
                    </a:lnTo>
                    <a:lnTo>
                      <a:pt x="79" y="194"/>
                    </a:lnTo>
                    <a:lnTo>
                      <a:pt x="77" y="193"/>
                    </a:lnTo>
                    <a:lnTo>
                      <a:pt x="77" y="194"/>
                    </a:lnTo>
                    <a:lnTo>
                      <a:pt x="73" y="198"/>
                    </a:lnTo>
                    <a:lnTo>
                      <a:pt x="65" y="198"/>
                    </a:lnTo>
                    <a:lnTo>
                      <a:pt x="65" y="201"/>
                    </a:lnTo>
                    <a:lnTo>
                      <a:pt x="63" y="201"/>
                    </a:lnTo>
                    <a:lnTo>
                      <a:pt x="56" y="205"/>
                    </a:lnTo>
                    <a:lnTo>
                      <a:pt x="51" y="208"/>
                    </a:lnTo>
                    <a:lnTo>
                      <a:pt x="40" y="212"/>
                    </a:lnTo>
                    <a:lnTo>
                      <a:pt x="35" y="217"/>
                    </a:lnTo>
                    <a:lnTo>
                      <a:pt x="35" y="224"/>
                    </a:lnTo>
                    <a:lnTo>
                      <a:pt x="32" y="226"/>
                    </a:lnTo>
                    <a:lnTo>
                      <a:pt x="28" y="224"/>
                    </a:lnTo>
                    <a:lnTo>
                      <a:pt x="32" y="224"/>
                    </a:lnTo>
                    <a:lnTo>
                      <a:pt x="32" y="221"/>
                    </a:lnTo>
                    <a:lnTo>
                      <a:pt x="32" y="215"/>
                    </a:lnTo>
                    <a:lnTo>
                      <a:pt x="32" y="212"/>
                    </a:lnTo>
                    <a:lnTo>
                      <a:pt x="25" y="217"/>
                    </a:lnTo>
                    <a:lnTo>
                      <a:pt x="25" y="221"/>
                    </a:lnTo>
                    <a:lnTo>
                      <a:pt x="20" y="229"/>
                    </a:lnTo>
                    <a:lnTo>
                      <a:pt x="23" y="234"/>
                    </a:lnTo>
                    <a:lnTo>
                      <a:pt x="23" y="238"/>
                    </a:lnTo>
                    <a:lnTo>
                      <a:pt x="23" y="247"/>
                    </a:lnTo>
                    <a:lnTo>
                      <a:pt x="16" y="254"/>
                    </a:lnTo>
                    <a:lnTo>
                      <a:pt x="13" y="266"/>
                    </a:lnTo>
                    <a:lnTo>
                      <a:pt x="14" y="271"/>
                    </a:lnTo>
                    <a:lnTo>
                      <a:pt x="14" y="280"/>
                    </a:lnTo>
                    <a:lnTo>
                      <a:pt x="20" y="290"/>
                    </a:lnTo>
                    <a:lnTo>
                      <a:pt x="20" y="294"/>
                    </a:lnTo>
                    <a:lnTo>
                      <a:pt x="23" y="297"/>
                    </a:lnTo>
                    <a:lnTo>
                      <a:pt x="20" y="301"/>
                    </a:lnTo>
                    <a:lnTo>
                      <a:pt x="20" y="306"/>
                    </a:lnTo>
                    <a:lnTo>
                      <a:pt x="18" y="307"/>
                    </a:lnTo>
                    <a:lnTo>
                      <a:pt x="16" y="306"/>
                    </a:lnTo>
                    <a:lnTo>
                      <a:pt x="16" y="297"/>
                    </a:lnTo>
                    <a:lnTo>
                      <a:pt x="14" y="301"/>
                    </a:lnTo>
                    <a:lnTo>
                      <a:pt x="13" y="301"/>
                    </a:lnTo>
                    <a:lnTo>
                      <a:pt x="13" y="294"/>
                    </a:lnTo>
                    <a:lnTo>
                      <a:pt x="9" y="288"/>
                    </a:lnTo>
                    <a:lnTo>
                      <a:pt x="7" y="292"/>
                    </a:lnTo>
                    <a:lnTo>
                      <a:pt x="7" y="299"/>
                    </a:lnTo>
                    <a:lnTo>
                      <a:pt x="13" y="302"/>
                    </a:lnTo>
                    <a:lnTo>
                      <a:pt x="16" y="309"/>
                    </a:lnTo>
                    <a:lnTo>
                      <a:pt x="11" y="311"/>
                    </a:lnTo>
                    <a:lnTo>
                      <a:pt x="7" y="306"/>
                    </a:lnTo>
                    <a:lnTo>
                      <a:pt x="6" y="299"/>
                    </a:lnTo>
                    <a:lnTo>
                      <a:pt x="4" y="302"/>
                    </a:lnTo>
                    <a:lnTo>
                      <a:pt x="2" y="302"/>
                    </a:lnTo>
                    <a:lnTo>
                      <a:pt x="6" y="309"/>
                    </a:lnTo>
                    <a:lnTo>
                      <a:pt x="13" y="316"/>
                    </a:lnTo>
                    <a:lnTo>
                      <a:pt x="16" y="325"/>
                    </a:lnTo>
                    <a:lnTo>
                      <a:pt x="14" y="344"/>
                    </a:lnTo>
                    <a:lnTo>
                      <a:pt x="18" y="347"/>
                    </a:lnTo>
                    <a:lnTo>
                      <a:pt x="20" y="356"/>
                    </a:lnTo>
                    <a:lnTo>
                      <a:pt x="23" y="370"/>
                    </a:lnTo>
                    <a:lnTo>
                      <a:pt x="23" y="374"/>
                    </a:lnTo>
                    <a:lnTo>
                      <a:pt x="23" y="393"/>
                    </a:lnTo>
                    <a:lnTo>
                      <a:pt x="23" y="396"/>
                    </a:lnTo>
                    <a:lnTo>
                      <a:pt x="23" y="401"/>
                    </a:lnTo>
                    <a:lnTo>
                      <a:pt x="23" y="405"/>
                    </a:lnTo>
                    <a:lnTo>
                      <a:pt x="27" y="415"/>
                    </a:lnTo>
                    <a:lnTo>
                      <a:pt x="27" y="419"/>
                    </a:lnTo>
                    <a:lnTo>
                      <a:pt x="23" y="421"/>
                    </a:lnTo>
                    <a:lnTo>
                      <a:pt x="25" y="424"/>
                    </a:lnTo>
                    <a:lnTo>
                      <a:pt x="25" y="426"/>
                    </a:lnTo>
                    <a:lnTo>
                      <a:pt x="23" y="434"/>
                    </a:lnTo>
                    <a:lnTo>
                      <a:pt x="20" y="438"/>
                    </a:lnTo>
                    <a:lnTo>
                      <a:pt x="23" y="438"/>
                    </a:lnTo>
                    <a:lnTo>
                      <a:pt x="20" y="443"/>
                    </a:lnTo>
                    <a:lnTo>
                      <a:pt x="20" y="447"/>
                    </a:lnTo>
                    <a:lnTo>
                      <a:pt x="20" y="450"/>
                    </a:lnTo>
                    <a:lnTo>
                      <a:pt x="14" y="454"/>
                    </a:lnTo>
                    <a:lnTo>
                      <a:pt x="11" y="452"/>
                    </a:lnTo>
                    <a:lnTo>
                      <a:pt x="6" y="459"/>
                    </a:lnTo>
                    <a:lnTo>
                      <a:pt x="7" y="469"/>
                    </a:lnTo>
                    <a:lnTo>
                      <a:pt x="7" y="469"/>
                    </a:lnTo>
                    <a:lnTo>
                      <a:pt x="7" y="469"/>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203"/>
              <p:cNvSpPr>
                <a:spLocks noEditPoints="1"/>
              </p:cNvSpPr>
              <p:nvPr/>
            </p:nvSpPr>
            <p:spPr bwMode="auto">
              <a:xfrm>
                <a:off x="8705850" y="5407026"/>
                <a:ext cx="431800" cy="565150"/>
              </a:xfrm>
              <a:custGeom>
                <a:avLst/>
                <a:gdLst/>
                <a:ahLst/>
                <a:cxnLst>
                  <a:cxn ang="0">
                    <a:pos x="1" y="308"/>
                  </a:cxn>
                  <a:cxn ang="0">
                    <a:pos x="220" y="75"/>
                  </a:cxn>
                  <a:cxn ang="0">
                    <a:pos x="227" y="59"/>
                  </a:cxn>
                  <a:cxn ang="0">
                    <a:pos x="231" y="61"/>
                  </a:cxn>
                  <a:cxn ang="0">
                    <a:pos x="186" y="201"/>
                  </a:cxn>
                  <a:cxn ang="0">
                    <a:pos x="217" y="174"/>
                  </a:cxn>
                  <a:cxn ang="0">
                    <a:pos x="233" y="151"/>
                  </a:cxn>
                  <a:cxn ang="0">
                    <a:pos x="250" y="139"/>
                  </a:cxn>
                  <a:cxn ang="0">
                    <a:pos x="259" y="127"/>
                  </a:cxn>
                  <a:cxn ang="0">
                    <a:pos x="272" y="102"/>
                  </a:cxn>
                  <a:cxn ang="0">
                    <a:pos x="250" y="106"/>
                  </a:cxn>
                  <a:cxn ang="0">
                    <a:pos x="231" y="82"/>
                  </a:cxn>
                  <a:cxn ang="0">
                    <a:pos x="226" y="64"/>
                  </a:cxn>
                  <a:cxn ang="0">
                    <a:pos x="224" y="83"/>
                  </a:cxn>
                  <a:cxn ang="0">
                    <a:pos x="217" y="69"/>
                  </a:cxn>
                  <a:cxn ang="0">
                    <a:pos x="215" y="45"/>
                  </a:cxn>
                  <a:cxn ang="0">
                    <a:pos x="220" y="28"/>
                  </a:cxn>
                  <a:cxn ang="0">
                    <a:pos x="212" y="17"/>
                  </a:cxn>
                  <a:cxn ang="0">
                    <a:pos x="205" y="15"/>
                  </a:cxn>
                  <a:cxn ang="0">
                    <a:pos x="200" y="0"/>
                  </a:cxn>
                  <a:cxn ang="0">
                    <a:pos x="196" y="24"/>
                  </a:cxn>
                  <a:cxn ang="0">
                    <a:pos x="205" y="52"/>
                  </a:cxn>
                  <a:cxn ang="0">
                    <a:pos x="210" y="59"/>
                  </a:cxn>
                  <a:cxn ang="0">
                    <a:pos x="205" y="62"/>
                  </a:cxn>
                  <a:cxn ang="0">
                    <a:pos x="210" y="83"/>
                  </a:cxn>
                  <a:cxn ang="0">
                    <a:pos x="205" y="101"/>
                  </a:cxn>
                  <a:cxn ang="0">
                    <a:pos x="196" y="128"/>
                  </a:cxn>
                  <a:cxn ang="0">
                    <a:pos x="186" y="149"/>
                  </a:cxn>
                  <a:cxn ang="0">
                    <a:pos x="186" y="182"/>
                  </a:cxn>
                  <a:cxn ang="0">
                    <a:pos x="163" y="179"/>
                  </a:cxn>
                  <a:cxn ang="0">
                    <a:pos x="163" y="182"/>
                  </a:cxn>
                  <a:cxn ang="0">
                    <a:pos x="163" y="188"/>
                  </a:cxn>
                  <a:cxn ang="0">
                    <a:pos x="21" y="344"/>
                  </a:cxn>
                  <a:cxn ang="0">
                    <a:pos x="1" y="356"/>
                  </a:cxn>
                  <a:cxn ang="0">
                    <a:pos x="10" y="337"/>
                  </a:cxn>
                  <a:cxn ang="0">
                    <a:pos x="14" y="348"/>
                  </a:cxn>
                  <a:cxn ang="0">
                    <a:pos x="5" y="353"/>
                  </a:cxn>
                  <a:cxn ang="0">
                    <a:pos x="0" y="316"/>
                  </a:cxn>
                  <a:cxn ang="0">
                    <a:pos x="10" y="297"/>
                  </a:cxn>
                  <a:cxn ang="0">
                    <a:pos x="24" y="285"/>
                  </a:cxn>
                  <a:cxn ang="0">
                    <a:pos x="38" y="271"/>
                  </a:cxn>
                  <a:cxn ang="0">
                    <a:pos x="64" y="262"/>
                  </a:cxn>
                  <a:cxn ang="0">
                    <a:pos x="87" y="240"/>
                  </a:cxn>
                  <a:cxn ang="0">
                    <a:pos x="114" y="212"/>
                  </a:cxn>
                  <a:cxn ang="0">
                    <a:pos x="135" y="191"/>
                  </a:cxn>
                  <a:cxn ang="0">
                    <a:pos x="151" y="179"/>
                  </a:cxn>
                  <a:cxn ang="0">
                    <a:pos x="154" y="191"/>
                  </a:cxn>
                  <a:cxn ang="0">
                    <a:pos x="167" y="189"/>
                  </a:cxn>
                  <a:cxn ang="0">
                    <a:pos x="170" y="191"/>
                  </a:cxn>
                  <a:cxn ang="0">
                    <a:pos x="158" y="219"/>
                  </a:cxn>
                  <a:cxn ang="0">
                    <a:pos x="135" y="245"/>
                  </a:cxn>
                  <a:cxn ang="0">
                    <a:pos x="127" y="266"/>
                  </a:cxn>
                  <a:cxn ang="0">
                    <a:pos x="120" y="262"/>
                  </a:cxn>
                  <a:cxn ang="0">
                    <a:pos x="109" y="262"/>
                  </a:cxn>
                  <a:cxn ang="0">
                    <a:pos x="95" y="275"/>
                  </a:cxn>
                  <a:cxn ang="0">
                    <a:pos x="74" y="309"/>
                  </a:cxn>
                  <a:cxn ang="0">
                    <a:pos x="62" y="321"/>
                  </a:cxn>
                  <a:cxn ang="0">
                    <a:pos x="47" y="335"/>
                  </a:cxn>
                  <a:cxn ang="0">
                    <a:pos x="24" y="337"/>
                  </a:cxn>
                  <a:cxn ang="0">
                    <a:pos x="10" y="325"/>
                  </a:cxn>
                </a:cxnLst>
                <a:rect l="0" t="0" r="r" b="b"/>
                <a:pathLst>
                  <a:path w="272" h="356">
                    <a:moveTo>
                      <a:pt x="1" y="308"/>
                    </a:moveTo>
                    <a:lnTo>
                      <a:pt x="1" y="308"/>
                    </a:lnTo>
                    <a:lnTo>
                      <a:pt x="5" y="308"/>
                    </a:lnTo>
                    <a:lnTo>
                      <a:pt x="5" y="306"/>
                    </a:lnTo>
                    <a:lnTo>
                      <a:pt x="1" y="306"/>
                    </a:lnTo>
                    <a:lnTo>
                      <a:pt x="1" y="308"/>
                    </a:lnTo>
                    <a:lnTo>
                      <a:pt x="1" y="308"/>
                    </a:lnTo>
                    <a:lnTo>
                      <a:pt x="1" y="308"/>
                    </a:lnTo>
                    <a:lnTo>
                      <a:pt x="1" y="308"/>
                    </a:lnTo>
                    <a:lnTo>
                      <a:pt x="1" y="308"/>
                    </a:lnTo>
                    <a:close/>
                    <a:moveTo>
                      <a:pt x="220" y="75"/>
                    </a:moveTo>
                    <a:lnTo>
                      <a:pt x="222" y="75"/>
                    </a:lnTo>
                    <a:lnTo>
                      <a:pt x="222" y="76"/>
                    </a:lnTo>
                    <a:lnTo>
                      <a:pt x="220" y="76"/>
                    </a:lnTo>
                    <a:lnTo>
                      <a:pt x="220" y="75"/>
                    </a:lnTo>
                    <a:lnTo>
                      <a:pt x="220" y="75"/>
                    </a:lnTo>
                    <a:lnTo>
                      <a:pt x="220" y="75"/>
                    </a:lnTo>
                    <a:lnTo>
                      <a:pt x="220" y="75"/>
                    </a:lnTo>
                    <a:close/>
                    <a:moveTo>
                      <a:pt x="226" y="59"/>
                    </a:moveTo>
                    <a:lnTo>
                      <a:pt x="224" y="59"/>
                    </a:lnTo>
                    <a:lnTo>
                      <a:pt x="226" y="59"/>
                    </a:lnTo>
                    <a:lnTo>
                      <a:pt x="226" y="59"/>
                    </a:lnTo>
                    <a:lnTo>
                      <a:pt x="226" y="59"/>
                    </a:lnTo>
                    <a:lnTo>
                      <a:pt x="226" y="59"/>
                    </a:lnTo>
                    <a:lnTo>
                      <a:pt x="226" y="59"/>
                    </a:lnTo>
                    <a:close/>
                    <a:moveTo>
                      <a:pt x="231" y="61"/>
                    </a:moveTo>
                    <a:lnTo>
                      <a:pt x="227" y="59"/>
                    </a:lnTo>
                    <a:lnTo>
                      <a:pt x="231" y="55"/>
                    </a:lnTo>
                    <a:lnTo>
                      <a:pt x="231" y="55"/>
                    </a:lnTo>
                    <a:lnTo>
                      <a:pt x="231" y="59"/>
                    </a:lnTo>
                    <a:lnTo>
                      <a:pt x="231" y="59"/>
                    </a:lnTo>
                    <a:lnTo>
                      <a:pt x="231" y="61"/>
                    </a:lnTo>
                    <a:lnTo>
                      <a:pt x="231" y="61"/>
                    </a:lnTo>
                    <a:lnTo>
                      <a:pt x="231" y="61"/>
                    </a:lnTo>
                    <a:lnTo>
                      <a:pt x="231" y="61"/>
                    </a:lnTo>
                    <a:lnTo>
                      <a:pt x="231" y="61"/>
                    </a:lnTo>
                    <a:close/>
                    <a:moveTo>
                      <a:pt x="173" y="196"/>
                    </a:moveTo>
                    <a:lnTo>
                      <a:pt x="177" y="196"/>
                    </a:lnTo>
                    <a:lnTo>
                      <a:pt x="180" y="193"/>
                    </a:lnTo>
                    <a:lnTo>
                      <a:pt x="182" y="193"/>
                    </a:lnTo>
                    <a:lnTo>
                      <a:pt x="182" y="198"/>
                    </a:lnTo>
                    <a:lnTo>
                      <a:pt x="182" y="200"/>
                    </a:lnTo>
                    <a:lnTo>
                      <a:pt x="182" y="200"/>
                    </a:lnTo>
                    <a:lnTo>
                      <a:pt x="182" y="200"/>
                    </a:lnTo>
                    <a:lnTo>
                      <a:pt x="186" y="201"/>
                    </a:lnTo>
                    <a:lnTo>
                      <a:pt x="182" y="201"/>
                    </a:lnTo>
                    <a:lnTo>
                      <a:pt x="186" y="205"/>
                    </a:lnTo>
                    <a:lnTo>
                      <a:pt x="187" y="205"/>
                    </a:lnTo>
                    <a:lnTo>
                      <a:pt x="193" y="200"/>
                    </a:lnTo>
                    <a:lnTo>
                      <a:pt x="200" y="193"/>
                    </a:lnTo>
                    <a:lnTo>
                      <a:pt x="205" y="189"/>
                    </a:lnTo>
                    <a:lnTo>
                      <a:pt x="208" y="184"/>
                    </a:lnTo>
                    <a:lnTo>
                      <a:pt x="213" y="175"/>
                    </a:lnTo>
                    <a:lnTo>
                      <a:pt x="217" y="174"/>
                    </a:lnTo>
                    <a:lnTo>
                      <a:pt x="219" y="174"/>
                    </a:lnTo>
                    <a:lnTo>
                      <a:pt x="220" y="174"/>
                    </a:lnTo>
                    <a:lnTo>
                      <a:pt x="220" y="170"/>
                    </a:lnTo>
                    <a:lnTo>
                      <a:pt x="222" y="168"/>
                    </a:lnTo>
                    <a:lnTo>
                      <a:pt x="226" y="167"/>
                    </a:lnTo>
                    <a:lnTo>
                      <a:pt x="227" y="160"/>
                    </a:lnTo>
                    <a:lnTo>
                      <a:pt x="231" y="155"/>
                    </a:lnTo>
                    <a:lnTo>
                      <a:pt x="231" y="153"/>
                    </a:lnTo>
                    <a:lnTo>
                      <a:pt x="233" y="151"/>
                    </a:lnTo>
                    <a:lnTo>
                      <a:pt x="231" y="148"/>
                    </a:lnTo>
                    <a:lnTo>
                      <a:pt x="227" y="148"/>
                    </a:lnTo>
                    <a:lnTo>
                      <a:pt x="226" y="148"/>
                    </a:lnTo>
                    <a:lnTo>
                      <a:pt x="227" y="146"/>
                    </a:lnTo>
                    <a:lnTo>
                      <a:pt x="231" y="146"/>
                    </a:lnTo>
                    <a:lnTo>
                      <a:pt x="238" y="139"/>
                    </a:lnTo>
                    <a:lnTo>
                      <a:pt x="241" y="137"/>
                    </a:lnTo>
                    <a:lnTo>
                      <a:pt x="246" y="139"/>
                    </a:lnTo>
                    <a:lnTo>
                      <a:pt x="250" y="139"/>
                    </a:lnTo>
                    <a:lnTo>
                      <a:pt x="248" y="141"/>
                    </a:lnTo>
                    <a:lnTo>
                      <a:pt x="250" y="142"/>
                    </a:lnTo>
                    <a:lnTo>
                      <a:pt x="250" y="141"/>
                    </a:lnTo>
                    <a:lnTo>
                      <a:pt x="255" y="139"/>
                    </a:lnTo>
                    <a:lnTo>
                      <a:pt x="250" y="137"/>
                    </a:lnTo>
                    <a:lnTo>
                      <a:pt x="250" y="134"/>
                    </a:lnTo>
                    <a:lnTo>
                      <a:pt x="253" y="128"/>
                    </a:lnTo>
                    <a:lnTo>
                      <a:pt x="255" y="125"/>
                    </a:lnTo>
                    <a:lnTo>
                      <a:pt x="259" y="127"/>
                    </a:lnTo>
                    <a:lnTo>
                      <a:pt x="259" y="127"/>
                    </a:lnTo>
                    <a:lnTo>
                      <a:pt x="259" y="125"/>
                    </a:lnTo>
                    <a:lnTo>
                      <a:pt x="260" y="123"/>
                    </a:lnTo>
                    <a:lnTo>
                      <a:pt x="266" y="115"/>
                    </a:lnTo>
                    <a:lnTo>
                      <a:pt x="266" y="115"/>
                    </a:lnTo>
                    <a:lnTo>
                      <a:pt x="266" y="113"/>
                    </a:lnTo>
                    <a:lnTo>
                      <a:pt x="267" y="106"/>
                    </a:lnTo>
                    <a:lnTo>
                      <a:pt x="269" y="104"/>
                    </a:lnTo>
                    <a:lnTo>
                      <a:pt x="272" y="102"/>
                    </a:lnTo>
                    <a:lnTo>
                      <a:pt x="272" y="102"/>
                    </a:lnTo>
                    <a:lnTo>
                      <a:pt x="267" y="101"/>
                    </a:lnTo>
                    <a:lnTo>
                      <a:pt x="266" y="97"/>
                    </a:lnTo>
                    <a:lnTo>
                      <a:pt x="267" y="97"/>
                    </a:lnTo>
                    <a:lnTo>
                      <a:pt x="267" y="97"/>
                    </a:lnTo>
                    <a:lnTo>
                      <a:pt x="264" y="95"/>
                    </a:lnTo>
                    <a:lnTo>
                      <a:pt x="260" y="99"/>
                    </a:lnTo>
                    <a:lnTo>
                      <a:pt x="255" y="106"/>
                    </a:lnTo>
                    <a:lnTo>
                      <a:pt x="250" y="106"/>
                    </a:lnTo>
                    <a:lnTo>
                      <a:pt x="248" y="106"/>
                    </a:lnTo>
                    <a:lnTo>
                      <a:pt x="245" y="106"/>
                    </a:lnTo>
                    <a:lnTo>
                      <a:pt x="238" y="97"/>
                    </a:lnTo>
                    <a:lnTo>
                      <a:pt x="236" y="99"/>
                    </a:lnTo>
                    <a:lnTo>
                      <a:pt x="233" y="95"/>
                    </a:lnTo>
                    <a:lnTo>
                      <a:pt x="231" y="92"/>
                    </a:lnTo>
                    <a:lnTo>
                      <a:pt x="233" y="90"/>
                    </a:lnTo>
                    <a:lnTo>
                      <a:pt x="234" y="87"/>
                    </a:lnTo>
                    <a:lnTo>
                      <a:pt x="231" y="82"/>
                    </a:lnTo>
                    <a:lnTo>
                      <a:pt x="231" y="78"/>
                    </a:lnTo>
                    <a:lnTo>
                      <a:pt x="231" y="76"/>
                    </a:lnTo>
                    <a:lnTo>
                      <a:pt x="231" y="73"/>
                    </a:lnTo>
                    <a:lnTo>
                      <a:pt x="231" y="71"/>
                    </a:lnTo>
                    <a:lnTo>
                      <a:pt x="231" y="71"/>
                    </a:lnTo>
                    <a:lnTo>
                      <a:pt x="231" y="66"/>
                    </a:lnTo>
                    <a:lnTo>
                      <a:pt x="227" y="64"/>
                    </a:lnTo>
                    <a:lnTo>
                      <a:pt x="227" y="66"/>
                    </a:lnTo>
                    <a:lnTo>
                      <a:pt x="226" y="64"/>
                    </a:lnTo>
                    <a:lnTo>
                      <a:pt x="224" y="64"/>
                    </a:lnTo>
                    <a:lnTo>
                      <a:pt x="227" y="68"/>
                    </a:lnTo>
                    <a:lnTo>
                      <a:pt x="227" y="71"/>
                    </a:lnTo>
                    <a:lnTo>
                      <a:pt x="227" y="73"/>
                    </a:lnTo>
                    <a:lnTo>
                      <a:pt x="226" y="75"/>
                    </a:lnTo>
                    <a:lnTo>
                      <a:pt x="226" y="78"/>
                    </a:lnTo>
                    <a:lnTo>
                      <a:pt x="227" y="78"/>
                    </a:lnTo>
                    <a:lnTo>
                      <a:pt x="227" y="83"/>
                    </a:lnTo>
                    <a:lnTo>
                      <a:pt x="224" y="83"/>
                    </a:lnTo>
                    <a:lnTo>
                      <a:pt x="222" y="82"/>
                    </a:lnTo>
                    <a:lnTo>
                      <a:pt x="222" y="78"/>
                    </a:lnTo>
                    <a:lnTo>
                      <a:pt x="219" y="78"/>
                    </a:lnTo>
                    <a:lnTo>
                      <a:pt x="219" y="76"/>
                    </a:lnTo>
                    <a:lnTo>
                      <a:pt x="215" y="75"/>
                    </a:lnTo>
                    <a:lnTo>
                      <a:pt x="213" y="75"/>
                    </a:lnTo>
                    <a:lnTo>
                      <a:pt x="213" y="73"/>
                    </a:lnTo>
                    <a:lnTo>
                      <a:pt x="215" y="71"/>
                    </a:lnTo>
                    <a:lnTo>
                      <a:pt x="217" y="69"/>
                    </a:lnTo>
                    <a:lnTo>
                      <a:pt x="213" y="66"/>
                    </a:lnTo>
                    <a:lnTo>
                      <a:pt x="217" y="62"/>
                    </a:lnTo>
                    <a:lnTo>
                      <a:pt x="219" y="62"/>
                    </a:lnTo>
                    <a:lnTo>
                      <a:pt x="220" y="59"/>
                    </a:lnTo>
                    <a:lnTo>
                      <a:pt x="219" y="55"/>
                    </a:lnTo>
                    <a:lnTo>
                      <a:pt x="219" y="55"/>
                    </a:lnTo>
                    <a:lnTo>
                      <a:pt x="219" y="52"/>
                    </a:lnTo>
                    <a:lnTo>
                      <a:pt x="219" y="48"/>
                    </a:lnTo>
                    <a:lnTo>
                      <a:pt x="215" y="45"/>
                    </a:lnTo>
                    <a:lnTo>
                      <a:pt x="215" y="43"/>
                    </a:lnTo>
                    <a:lnTo>
                      <a:pt x="217" y="45"/>
                    </a:lnTo>
                    <a:lnTo>
                      <a:pt x="220" y="45"/>
                    </a:lnTo>
                    <a:lnTo>
                      <a:pt x="220" y="40"/>
                    </a:lnTo>
                    <a:lnTo>
                      <a:pt x="222" y="40"/>
                    </a:lnTo>
                    <a:lnTo>
                      <a:pt x="222" y="35"/>
                    </a:lnTo>
                    <a:lnTo>
                      <a:pt x="220" y="31"/>
                    </a:lnTo>
                    <a:lnTo>
                      <a:pt x="222" y="28"/>
                    </a:lnTo>
                    <a:lnTo>
                      <a:pt x="220" y="28"/>
                    </a:lnTo>
                    <a:lnTo>
                      <a:pt x="215" y="31"/>
                    </a:lnTo>
                    <a:lnTo>
                      <a:pt x="212" y="28"/>
                    </a:lnTo>
                    <a:lnTo>
                      <a:pt x="213" y="26"/>
                    </a:lnTo>
                    <a:lnTo>
                      <a:pt x="212" y="24"/>
                    </a:lnTo>
                    <a:lnTo>
                      <a:pt x="210" y="24"/>
                    </a:lnTo>
                    <a:lnTo>
                      <a:pt x="212" y="19"/>
                    </a:lnTo>
                    <a:lnTo>
                      <a:pt x="215" y="19"/>
                    </a:lnTo>
                    <a:lnTo>
                      <a:pt x="215" y="17"/>
                    </a:lnTo>
                    <a:lnTo>
                      <a:pt x="212" y="17"/>
                    </a:lnTo>
                    <a:lnTo>
                      <a:pt x="208" y="15"/>
                    </a:lnTo>
                    <a:lnTo>
                      <a:pt x="208" y="15"/>
                    </a:lnTo>
                    <a:lnTo>
                      <a:pt x="208" y="12"/>
                    </a:lnTo>
                    <a:lnTo>
                      <a:pt x="208" y="12"/>
                    </a:lnTo>
                    <a:lnTo>
                      <a:pt x="208" y="10"/>
                    </a:lnTo>
                    <a:lnTo>
                      <a:pt x="208" y="10"/>
                    </a:lnTo>
                    <a:lnTo>
                      <a:pt x="205" y="12"/>
                    </a:lnTo>
                    <a:lnTo>
                      <a:pt x="205" y="14"/>
                    </a:lnTo>
                    <a:lnTo>
                      <a:pt x="205" y="15"/>
                    </a:lnTo>
                    <a:lnTo>
                      <a:pt x="203" y="15"/>
                    </a:lnTo>
                    <a:lnTo>
                      <a:pt x="203" y="12"/>
                    </a:lnTo>
                    <a:lnTo>
                      <a:pt x="203" y="10"/>
                    </a:lnTo>
                    <a:lnTo>
                      <a:pt x="201" y="5"/>
                    </a:lnTo>
                    <a:lnTo>
                      <a:pt x="201" y="2"/>
                    </a:lnTo>
                    <a:lnTo>
                      <a:pt x="201" y="2"/>
                    </a:lnTo>
                    <a:lnTo>
                      <a:pt x="203" y="0"/>
                    </a:lnTo>
                    <a:lnTo>
                      <a:pt x="201" y="0"/>
                    </a:lnTo>
                    <a:lnTo>
                      <a:pt x="200" y="0"/>
                    </a:lnTo>
                    <a:lnTo>
                      <a:pt x="194" y="0"/>
                    </a:lnTo>
                    <a:lnTo>
                      <a:pt x="194" y="2"/>
                    </a:lnTo>
                    <a:lnTo>
                      <a:pt x="196" y="3"/>
                    </a:lnTo>
                    <a:lnTo>
                      <a:pt x="200" y="12"/>
                    </a:lnTo>
                    <a:lnTo>
                      <a:pt x="201" y="15"/>
                    </a:lnTo>
                    <a:lnTo>
                      <a:pt x="200" y="22"/>
                    </a:lnTo>
                    <a:lnTo>
                      <a:pt x="200" y="24"/>
                    </a:lnTo>
                    <a:lnTo>
                      <a:pt x="198" y="24"/>
                    </a:lnTo>
                    <a:lnTo>
                      <a:pt x="196" y="24"/>
                    </a:lnTo>
                    <a:lnTo>
                      <a:pt x="200" y="31"/>
                    </a:lnTo>
                    <a:lnTo>
                      <a:pt x="200" y="31"/>
                    </a:lnTo>
                    <a:lnTo>
                      <a:pt x="203" y="31"/>
                    </a:lnTo>
                    <a:lnTo>
                      <a:pt x="205" y="31"/>
                    </a:lnTo>
                    <a:lnTo>
                      <a:pt x="205" y="31"/>
                    </a:lnTo>
                    <a:lnTo>
                      <a:pt x="201" y="33"/>
                    </a:lnTo>
                    <a:lnTo>
                      <a:pt x="203" y="38"/>
                    </a:lnTo>
                    <a:lnTo>
                      <a:pt x="205" y="43"/>
                    </a:lnTo>
                    <a:lnTo>
                      <a:pt x="205" y="52"/>
                    </a:lnTo>
                    <a:lnTo>
                      <a:pt x="205" y="55"/>
                    </a:lnTo>
                    <a:lnTo>
                      <a:pt x="205" y="59"/>
                    </a:lnTo>
                    <a:lnTo>
                      <a:pt x="205" y="59"/>
                    </a:lnTo>
                    <a:lnTo>
                      <a:pt x="208" y="55"/>
                    </a:lnTo>
                    <a:lnTo>
                      <a:pt x="205" y="55"/>
                    </a:lnTo>
                    <a:lnTo>
                      <a:pt x="208" y="54"/>
                    </a:lnTo>
                    <a:lnTo>
                      <a:pt x="208" y="55"/>
                    </a:lnTo>
                    <a:lnTo>
                      <a:pt x="208" y="59"/>
                    </a:lnTo>
                    <a:lnTo>
                      <a:pt x="210" y="59"/>
                    </a:lnTo>
                    <a:lnTo>
                      <a:pt x="210" y="55"/>
                    </a:lnTo>
                    <a:lnTo>
                      <a:pt x="210" y="55"/>
                    </a:lnTo>
                    <a:lnTo>
                      <a:pt x="210" y="55"/>
                    </a:lnTo>
                    <a:lnTo>
                      <a:pt x="212" y="59"/>
                    </a:lnTo>
                    <a:lnTo>
                      <a:pt x="208" y="61"/>
                    </a:lnTo>
                    <a:lnTo>
                      <a:pt x="208" y="62"/>
                    </a:lnTo>
                    <a:lnTo>
                      <a:pt x="208" y="64"/>
                    </a:lnTo>
                    <a:lnTo>
                      <a:pt x="208" y="66"/>
                    </a:lnTo>
                    <a:lnTo>
                      <a:pt x="205" y="62"/>
                    </a:lnTo>
                    <a:lnTo>
                      <a:pt x="205" y="62"/>
                    </a:lnTo>
                    <a:lnTo>
                      <a:pt x="205" y="69"/>
                    </a:lnTo>
                    <a:lnTo>
                      <a:pt x="208" y="76"/>
                    </a:lnTo>
                    <a:lnTo>
                      <a:pt x="208" y="76"/>
                    </a:lnTo>
                    <a:lnTo>
                      <a:pt x="210" y="76"/>
                    </a:lnTo>
                    <a:lnTo>
                      <a:pt x="212" y="78"/>
                    </a:lnTo>
                    <a:lnTo>
                      <a:pt x="212" y="78"/>
                    </a:lnTo>
                    <a:lnTo>
                      <a:pt x="213" y="82"/>
                    </a:lnTo>
                    <a:lnTo>
                      <a:pt x="210" y="83"/>
                    </a:lnTo>
                    <a:lnTo>
                      <a:pt x="210" y="83"/>
                    </a:lnTo>
                    <a:lnTo>
                      <a:pt x="210" y="87"/>
                    </a:lnTo>
                    <a:lnTo>
                      <a:pt x="210" y="87"/>
                    </a:lnTo>
                    <a:lnTo>
                      <a:pt x="208" y="95"/>
                    </a:lnTo>
                    <a:lnTo>
                      <a:pt x="208" y="95"/>
                    </a:lnTo>
                    <a:lnTo>
                      <a:pt x="208" y="97"/>
                    </a:lnTo>
                    <a:lnTo>
                      <a:pt x="208" y="99"/>
                    </a:lnTo>
                    <a:lnTo>
                      <a:pt x="208" y="101"/>
                    </a:lnTo>
                    <a:lnTo>
                      <a:pt x="205" y="101"/>
                    </a:lnTo>
                    <a:lnTo>
                      <a:pt x="205" y="104"/>
                    </a:lnTo>
                    <a:lnTo>
                      <a:pt x="205" y="106"/>
                    </a:lnTo>
                    <a:lnTo>
                      <a:pt x="205" y="106"/>
                    </a:lnTo>
                    <a:lnTo>
                      <a:pt x="205" y="106"/>
                    </a:lnTo>
                    <a:lnTo>
                      <a:pt x="203" y="109"/>
                    </a:lnTo>
                    <a:lnTo>
                      <a:pt x="201" y="113"/>
                    </a:lnTo>
                    <a:lnTo>
                      <a:pt x="200" y="123"/>
                    </a:lnTo>
                    <a:lnTo>
                      <a:pt x="198" y="127"/>
                    </a:lnTo>
                    <a:lnTo>
                      <a:pt x="196" y="128"/>
                    </a:lnTo>
                    <a:lnTo>
                      <a:pt x="193" y="128"/>
                    </a:lnTo>
                    <a:lnTo>
                      <a:pt x="191" y="128"/>
                    </a:lnTo>
                    <a:lnTo>
                      <a:pt x="187" y="128"/>
                    </a:lnTo>
                    <a:lnTo>
                      <a:pt x="182" y="132"/>
                    </a:lnTo>
                    <a:lnTo>
                      <a:pt x="177" y="135"/>
                    </a:lnTo>
                    <a:lnTo>
                      <a:pt x="177" y="139"/>
                    </a:lnTo>
                    <a:lnTo>
                      <a:pt x="177" y="142"/>
                    </a:lnTo>
                    <a:lnTo>
                      <a:pt x="182" y="146"/>
                    </a:lnTo>
                    <a:lnTo>
                      <a:pt x="186" y="149"/>
                    </a:lnTo>
                    <a:lnTo>
                      <a:pt x="187" y="153"/>
                    </a:lnTo>
                    <a:lnTo>
                      <a:pt x="193" y="155"/>
                    </a:lnTo>
                    <a:lnTo>
                      <a:pt x="194" y="156"/>
                    </a:lnTo>
                    <a:lnTo>
                      <a:pt x="194" y="165"/>
                    </a:lnTo>
                    <a:lnTo>
                      <a:pt x="196" y="165"/>
                    </a:lnTo>
                    <a:lnTo>
                      <a:pt x="194" y="167"/>
                    </a:lnTo>
                    <a:lnTo>
                      <a:pt x="194" y="170"/>
                    </a:lnTo>
                    <a:lnTo>
                      <a:pt x="193" y="174"/>
                    </a:lnTo>
                    <a:lnTo>
                      <a:pt x="186" y="182"/>
                    </a:lnTo>
                    <a:lnTo>
                      <a:pt x="182" y="188"/>
                    </a:lnTo>
                    <a:lnTo>
                      <a:pt x="177" y="191"/>
                    </a:lnTo>
                    <a:lnTo>
                      <a:pt x="173" y="193"/>
                    </a:lnTo>
                    <a:lnTo>
                      <a:pt x="173" y="196"/>
                    </a:lnTo>
                    <a:lnTo>
                      <a:pt x="173" y="196"/>
                    </a:lnTo>
                    <a:lnTo>
                      <a:pt x="173" y="196"/>
                    </a:lnTo>
                    <a:lnTo>
                      <a:pt x="173" y="196"/>
                    </a:lnTo>
                    <a:close/>
                    <a:moveTo>
                      <a:pt x="163" y="182"/>
                    </a:moveTo>
                    <a:lnTo>
                      <a:pt x="163" y="179"/>
                    </a:lnTo>
                    <a:lnTo>
                      <a:pt x="167" y="177"/>
                    </a:lnTo>
                    <a:lnTo>
                      <a:pt x="168" y="177"/>
                    </a:lnTo>
                    <a:lnTo>
                      <a:pt x="168" y="179"/>
                    </a:lnTo>
                    <a:lnTo>
                      <a:pt x="167" y="182"/>
                    </a:lnTo>
                    <a:lnTo>
                      <a:pt x="165" y="182"/>
                    </a:lnTo>
                    <a:lnTo>
                      <a:pt x="163" y="182"/>
                    </a:lnTo>
                    <a:lnTo>
                      <a:pt x="163" y="182"/>
                    </a:lnTo>
                    <a:lnTo>
                      <a:pt x="163" y="182"/>
                    </a:lnTo>
                    <a:lnTo>
                      <a:pt x="163" y="182"/>
                    </a:lnTo>
                    <a:lnTo>
                      <a:pt x="163" y="182"/>
                    </a:lnTo>
                    <a:close/>
                    <a:moveTo>
                      <a:pt x="163" y="188"/>
                    </a:moveTo>
                    <a:lnTo>
                      <a:pt x="165" y="186"/>
                    </a:lnTo>
                    <a:lnTo>
                      <a:pt x="167" y="184"/>
                    </a:lnTo>
                    <a:lnTo>
                      <a:pt x="165" y="188"/>
                    </a:lnTo>
                    <a:lnTo>
                      <a:pt x="163" y="188"/>
                    </a:lnTo>
                    <a:lnTo>
                      <a:pt x="163" y="188"/>
                    </a:lnTo>
                    <a:lnTo>
                      <a:pt x="163" y="188"/>
                    </a:lnTo>
                    <a:lnTo>
                      <a:pt x="163" y="188"/>
                    </a:lnTo>
                    <a:close/>
                    <a:moveTo>
                      <a:pt x="160" y="186"/>
                    </a:moveTo>
                    <a:lnTo>
                      <a:pt x="163" y="186"/>
                    </a:lnTo>
                    <a:lnTo>
                      <a:pt x="163" y="186"/>
                    </a:lnTo>
                    <a:lnTo>
                      <a:pt x="163" y="184"/>
                    </a:lnTo>
                    <a:lnTo>
                      <a:pt x="160" y="186"/>
                    </a:lnTo>
                    <a:lnTo>
                      <a:pt x="160" y="186"/>
                    </a:lnTo>
                    <a:lnTo>
                      <a:pt x="160" y="186"/>
                    </a:lnTo>
                    <a:lnTo>
                      <a:pt x="160" y="186"/>
                    </a:lnTo>
                    <a:close/>
                    <a:moveTo>
                      <a:pt x="21" y="344"/>
                    </a:moveTo>
                    <a:lnTo>
                      <a:pt x="22" y="344"/>
                    </a:lnTo>
                    <a:lnTo>
                      <a:pt x="22" y="344"/>
                    </a:lnTo>
                    <a:lnTo>
                      <a:pt x="21" y="344"/>
                    </a:lnTo>
                    <a:lnTo>
                      <a:pt x="21" y="344"/>
                    </a:lnTo>
                    <a:lnTo>
                      <a:pt x="21" y="344"/>
                    </a:lnTo>
                    <a:lnTo>
                      <a:pt x="21" y="344"/>
                    </a:lnTo>
                    <a:close/>
                    <a:moveTo>
                      <a:pt x="5" y="353"/>
                    </a:moveTo>
                    <a:lnTo>
                      <a:pt x="1" y="356"/>
                    </a:lnTo>
                    <a:lnTo>
                      <a:pt x="1" y="356"/>
                    </a:lnTo>
                    <a:lnTo>
                      <a:pt x="1" y="353"/>
                    </a:lnTo>
                    <a:lnTo>
                      <a:pt x="5" y="351"/>
                    </a:lnTo>
                    <a:lnTo>
                      <a:pt x="5" y="351"/>
                    </a:lnTo>
                    <a:lnTo>
                      <a:pt x="5" y="348"/>
                    </a:lnTo>
                    <a:lnTo>
                      <a:pt x="8" y="348"/>
                    </a:lnTo>
                    <a:lnTo>
                      <a:pt x="8" y="344"/>
                    </a:lnTo>
                    <a:lnTo>
                      <a:pt x="8" y="341"/>
                    </a:lnTo>
                    <a:lnTo>
                      <a:pt x="8" y="339"/>
                    </a:lnTo>
                    <a:lnTo>
                      <a:pt x="10" y="337"/>
                    </a:lnTo>
                    <a:lnTo>
                      <a:pt x="14" y="341"/>
                    </a:lnTo>
                    <a:lnTo>
                      <a:pt x="15" y="344"/>
                    </a:lnTo>
                    <a:lnTo>
                      <a:pt x="17" y="344"/>
                    </a:lnTo>
                    <a:lnTo>
                      <a:pt x="15" y="344"/>
                    </a:lnTo>
                    <a:lnTo>
                      <a:pt x="14" y="344"/>
                    </a:lnTo>
                    <a:lnTo>
                      <a:pt x="14" y="344"/>
                    </a:lnTo>
                    <a:lnTo>
                      <a:pt x="14" y="344"/>
                    </a:lnTo>
                    <a:lnTo>
                      <a:pt x="14" y="344"/>
                    </a:lnTo>
                    <a:lnTo>
                      <a:pt x="14" y="348"/>
                    </a:lnTo>
                    <a:lnTo>
                      <a:pt x="15" y="348"/>
                    </a:lnTo>
                    <a:lnTo>
                      <a:pt x="15" y="351"/>
                    </a:lnTo>
                    <a:lnTo>
                      <a:pt x="15" y="351"/>
                    </a:lnTo>
                    <a:lnTo>
                      <a:pt x="14" y="351"/>
                    </a:lnTo>
                    <a:lnTo>
                      <a:pt x="10" y="353"/>
                    </a:lnTo>
                    <a:lnTo>
                      <a:pt x="8" y="353"/>
                    </a:lnTo>
                    <a:lnTo>
                      <a:pt x="8" y="353"/>
                    </a:lnTo>
                    <a:lnTo>
                      <a:pt x="5" y="353"/>
                    </a:lnTo>
                    <a:lnTo>
                      <a:pt x="5" y="353"/>
                    </a:lnTo>
                    <a:lnTo>
                      <a:pt x="5" y="353"/>
                    </a:lnTo>
                    <a:lnTo>
                      <a:pt x="5" y="353"/>
                    </a:lnTo>
                    <a:lnTo>
                      <a:pt x="5" y="353"/>
                    </a:lnTo>
                    <a:close/>
                    <a:moveTo>
                      <a:pt x="1" y="325"/>
                    </a:moveTo>
                    <a:lnTo>
                      <a:pt x="0" y="320"/>
                    </a:lnTo>
                    <a:lnTo>
                      <a:pt x="1" y="316"/>
                    </a:lnTo>
                    <a:lnTo>
                      <a:pt x="1" y="316"/>
                    </a:lnTo>
                    <a:lnTo>
                      <a:pt x="1" y="316"/>
                    </a:lnTo>
                    <a:lnTo>
                      <a:pt x="0" y="316"/>
                    </a:lnTo>
                    <a:lnTo>
                      <a:pt x="1" y="311"/>
                    </a:lnTo>
                    <a:lnTo>
                      <a:pt x="5" y="311"/>
                    </a:lnTo>
                    <a:lnTo>
                      <a:pt x="8" y="311"/>
                    </a:lnTo>
                    <a:lnTo>
                      <a:pt x="10" y="309"/>
                    </a:lnTo>
                    <a:lnTo>
                      <a:pt x="8" y="308"/>
                    </a:lnTo>
                    <a:lnTo>
                      <a:pt x="5" y="306"/>
                    </a:lnTo>
                    <a:lnTo>
                      <a:pt x="5" y="304"/>
                    </a:lnTo>
                    <a:lnTo>
                      <a:pt x="8" y="299"/>
                    </a:lnTo>
                    <a:lnTo>
                      <a:pt x="10" y="297"/>
                    </a:lnTo>
                    <a:lnTo>
                      <a:pt x="10" y="297"/>
                    </a:lnTo>
                    <a:lnTo>
                      <a:pt x="14" y="297"/>
                    </a:lnTo>
                    <a:lnTo>
                      <a:pt x="14" y="299"/>
                    </a:lnTo>
                    <a:lnTo>
                      <a:pt x="15" y="297"/>
                    </a:lnTo>
                    <a:lnTo>
                      <a:pt x="15" y="292"/>
                    </a:lnTo>
                    <a:lnTo>
                      <a:pt x="17" y="288"/>
                    </a:lnTo>
                    <a:lnTo>
                      <a:pt x="19" y="288"/>
                    </a:lnTo>
                    <a:lnTo>
                      <a:pt x="24" y="285"/>
                    </a:lnTo>
                    <a:lnTo>
                      <a:pt x="24" y="285"/>
                    </a:lnTo>
                    <a:lnTo>
                      <a:pt x="27" y="283"/>
                    </a:lnTo>
                    <a:lnTo>
                      <a:pt x="27" y="280"/>
                    </a:lnTo>
                    <a:lnTo>
                      <a:pt x="27" y="278"/>
                    </a:lnTo>
                    <a:lnTo>
                      <a:pt x="31" y="276"/>
                    </a:lnTo>
                    <a:lnTo>
                      <a:pt x="33" y="278"/>
                    </a:lnTo>
                    <a:lnTo>
                      <a:pt x="33" y="280"/>
                    </a:lnTo>
                    <a:lnTo>
                      <a:pt x="33" y="275"/>
                    </a:lnTo>
                    <a:lnTo>
                      <a:pt x="36" y="271"/>
                    </a:lnTo>
                    <a:lnTo>
                      <a:pt x="38" y="271"/>
                    </a:lnTo>
                    <a:lnTo>
                      <a:pt x="43" y="269"/>
                    </a:lnTo>
                    <a:lnTo>
                      <a:pt x="45" y="264"/>
                    </a:lnTo>
                    <a:lnTo>
                      <a:pt x="50" y="261"/>
                    </a:lnTo>
                    <a:lnTo>
                      <a:pt x="54" y="261"/>
                    </a:lnTo>
                    <a:lnTo>
                      <a:pt x="55" y="261"/>
                    </a:lnTo>
                    <a:lnTo>
                      <a:pt x="59" y="261"/>
                    </a:lnTo>
                    <a:lnTo>
                      <a:pt x="59" y="261"/>
                    </a:lnTo>
                    <a:lnTo>
                      <a:pt x="61" y="261"/>
                    </a:lnTo>
                    <a:lnTo>
                      <a:pt x="64" y="262"/>
                    </a:lnTo>
                    <a:lnTo>
                      <a:pt x="64" y="261"/>
                    </a:lnTo>
                    <a:lnTo>
                      <a:pt x="62" y="257"/>
                    </a:lnTo>
                    <a:lnTo>
                      <a:pt x="62" y="255"/>
                    </a:lnTo>
                    <a:lnTo>
                      <a:pt x="69" y="252"/>
                    </a:lnTo>
                    <a:lnTo>
                      <a:pt x="73" y="250"/>
                    </a:lnTo>
                    <a:lnTo>
                      <a:pt x="78" y="245"/>
                    </a:lnTo>
                    <a:lnTo>
                      <a:pt x="83" y="241"/>
                    </a:lnTo>
                    <a:lnTo>
                      <a:pt x="87" y="241"/>
                    </a:lnTo>
                    <a:lnTo>
                      <a:pt x="87" y="240"/>
                    </a:lnTo>
                    <a:lnTo>
                      <a:pt x="92" y="238"/>
                    </a:lnTo>
                    <a:lnTo>
                      <a:pt x="95" y="238"/>
                    </a:lnTo>
                    <a:lnTo>
                      <a:pt x="100" y="233"/>
                    </a:lnTo>
                    <a:lnTo>
                      <a:pt x="109" y="224"/>
                    </a:lnTo>
                    <a:lnTo>
                      <a:pt x="109" y="222"/>
                    </a:lnTo>
                    <a:lnTo>
                      <a:pt x="109" y="219"/>
                    </a:lnTo>
                    <a:lnTo>
                      <a:pt x="109" y="215"/>
                    </a:lnTo>
                    <a:lnTo>
                      <a:pt x="113" y="212"/>
                    </a:lnTo>
                    <a:lnTo>
                      <a:pt x="114" y="212"/>
                    </a:lnTo>
                    <a:lnTo>
                      <a:pt x="114" y="210"/>
                    </a:lnTo>
                    <a:lnTo>
                      <a:pt x="116" y="205"/>
                    </a:lnTo>
                    <a:lnTo>
                      <a:pt x="120" y="205"/>
                    </a:lnTo>
                    <a:lnTo>
                      <a:pt x="123" y="205"/>
                    </a:lnTo>
                    <a:lnTo>
                      <a:pt x="127" y="201"/>
                    </a:lnTo>
                    <a:lnTo>
                      <a:pt x="127" y="201"/>
                    </a:lnTo>
                    <a:lnTo>
                      <a:pt x="132" y="196"/>
                    </a:lnTo>
                    <a:lnTo>
                      <a:pt x="132" y="193"/>
                    </a:lnTo>
                    <a:lnTo>
                      <a:pt x="135" y="191"/>
                    </a:lnTo>
                    <a:lnTo>
                      <a:pt x="137" y="182"/>
                    </a:lnTo>
                    <a:lnTo>
                      <a:pt x="139" y="177"/>
                    </a:lnTo>
                    <a:lnTo>
                      <a:pt x="142" y="175"/>
                    </a:lnTo>
                    <a:lnTo>
                      <a:pt x="144" y="174"/>
                    </a:lnTo>
                    <a:lnTo>
                      <a:pt x="149" y="170"/>
                    </a:lnTo>
                    <a:lnTo>
                      <a:pt x="151" y="174"/>
                    </a:lnTo>
                    <a:lnTo>
                      <a:pt x="149" y="174"/>
                    </a:lnTo>
                    <a:lnTo>
                      <a:pt x="149" y="177"/>
                    </a:lnTo>
                    <a:lnTo>
                      <a:pt x="151" y="179"/>
                    </a:lnTo>
                    <a:lnTo>
                      <a:pt x="151" y="179"/>
                    </a:lnTo>
                    <a:lnTo>
                      <a:pt x="154" y="177"/>
                    </a:lnTo>
                    <a:lnTo>
                      <a:pt x="154" y="179"/>
                    </a:lnTo>
                    <a:lnTo>
                      <a:pt x="154" y="182"/>
                    </a:lnTo>
                    <a:lnTo>
                      <a:pt x="154" y="182"/>
                    </a:lnTo>
                    <a:lnTo>
                      <a:pt x="154" y="182"/>
                    </a:lnTo>
                    <a:lnTo>
                      <a:pt x="151" y="184"/>
                    </a:lnTo>
                    <a:lnTo>
                      <a:pt x="151" y="186"/>
                    </a:lnTo>
                    <a:lnTo>
                      <a:pt x="154" y="191"/>
                    </a:lnTo>
                    <a:lnTo>
                      <a:pt x="154" y="193"/>
                    </a:lnTo>
                    <a:lnTo>
                      <a:pt x="158" y="189"/>
                    </a:lnTo>
                    <a:lnTo>
                      <a:pt x="160" y="188"/>
                    </a:lnTo>
                    <a:lnTo>
                      <a:pt x="163" y="188"/>
                    </a:lnTo>
                    <a:lnTo>
                      <a:pt x="163" y="188"/>
                    </a:lnTo>
                    <a:lnTo>
                      <a:pt x="163" y="189"/>
                    </a:lnTo>
                    <a:lnTo>
                      <a:pt x="165" y="193"/>
                    </a:lnTo>
                    <a:lnTo>
                      <a:pt x="167" y="189"/>
                    </a:lnTo>
                    <a:lnTo>
                      <a:pt x="167" y="189"/>
                    </a:lnTo>
                    <a:lnTo>
                      <a:pt x="165" y="188"/>
                    </a:lnTo>
                    <a:lnTo>
                      <a:pt x="167" y="184"/>
                    </a:lnTo>
                    <a:lnTo>
                      <a:pt x="170" y="184"/>
                    </a:lnTo>
                    <a:lnTo>
                      <a:pt x="170" y="188"/>
                    </a:lnTo>
                    <a:lnTo>
                      <a:pt x="172" y="188"/>
                    </a:lnTo>
                    <a:lnTo>
                      <a:pt x="168" y="191"/>
                    </a:lnTo>
                    <a:lnTo>
                      <a:pt x="165" y="193"/>
                    </a:lnTo>
                    <a:lnTo>
                      <a:pt x="168" y="193"/>
                    </a:lnTo>
                    <a:lnTo>
                      <a:pt x="170" y="191"/>
                    </a:lnTo>
                    <a:lnTo>
                      <a:pt x="167" y="196"/>
                    </a:lnTo>
                    <a:lnTo>
                      <a:pt x="167" y="196"/>
                    </a:lnTo>
                    <a:lnTo>
                      <a:pt x="165" y="200"/>
                    </a:lnTo>
                    <a:lnTo>
                      <a:pt x="165" y="201"/>
                    </a:lnTo>
                    <a:lnTo>
                      <a:pt x="167" y="205"/>
                    </a:lnTo>
                    <a:lnTo>
                      <a:pt x="167" y="210"/>
                    </a:lnTo>
                    <a:lnTo>
                      <a:pt x="168" y="210"/>
                    </a:lnTo>
                    <a:lnTo>
                      <a:pt x="165" y="210"/>
                    </a:lnTo>
                    <a:lnTo>
                      <a:pt x="158" y="219"/>
                    </a:lnTo>
                    <a:lnTo>
                      <a:pt x="154" y="221"/>
                    </a:lnTo>
                    <a:lnTo>
                      <a:pt x="151" y="228"/>
                    </a:lnTo>
                    <a:lnTo>
                      <a:pt x="151" y="228"/>
                    </a:lnTo>
                    <a:lnTo>
                      <a:pt x="147" y="228"/>
                    </a:lnTo>
                    <a:lnTo>
                      <a:pt x="144" y="233"/>
                    </a:lnTo>
                    <a:lnTo>
                      <a:pt x="144" y="235"/>
                    </a:lnTo>
                    <a:lnTo>
                      <a:pt x="139" y="238"/>
                    </a:lnTo>
                    <a:lnTo>
                      <a:pt x="139" y="241"/>
                    </a:lnTo>
                    <a:lnTo>
                      <a:pt x="135" y="245"/>
                    </a:lnTo>
                    <a:lnTo>
                      <a:pt x="128" y="245"/>
                    </a:lnTo>
                    <a:lnTo>
                      <a:pt x="128" y="247"/>
                    </a:lnTo>
                    <a:lnTo>
                      <a:pt x="127" y="252"/>
                    </a:lnTo>
                    <a:lnTo>
                      <a:pt x="127" y="257"/>
                    </a:lnTo>
                    <a:lnTo>
                      <a:pt x="125" y="257"/>
                    </a:lnTo>
                    <a:lnTo>
                      <a:pt x="128" y="257"/>
                    </a:lnTo>
                    <a:lnTo>
                      <a:pt x="128" y="261"/>
                    </a:lnTo>
                    <a:lnTo>
                      <a:pt x="128" y="264"/>
                    </a:lnTo>
                    <a:lnTo>
                      <a:pt x="127" y="266"/>
                    </a:lnTo>
                    <a:lnTo>
                      <a:pt x="127" y="264"/>
                    </a:lnTo>
                    <a:lnTo>
                      <a:pt x="127" y="261"/>
                    </a:lnTo>
                    <a:lnTo>
                      <a:pt x="125" y="261"/>
                    </a:lnTo>
                    <a:lnTo>
                      <a:pt x="125" y="261"/>
                    </a:lnTo>
                    <a:lnTo>
                      <a:pt x="125" y="264"/>
                    </a:lnTo>
                    <a:lnTo>
                      <a:pt x="123" y="266"/>
                    </a:lnTo>
                    <a:lnTo>
                      <a:pt x="121" y="264"/>
                    </a:lnTo>
                    <a:lnTo>
                      <a:pt x="118" y="264"/>
                    </a:lnTo>
                    <a:lnTo>
                      <a:pt x="120" y="262"/>
                    </a:lnTo>
                    <a:lnTo>
                      <a:pt x="120" y="262"/>
                    </a:lnTo>
                    <a:lnTo>
                      <a:pt x="118" y="261"/>
                    </a:lnTo>
                    <a:lnTo>
                      <a:pt x="116" y="262"/>
                    </a:lnTo>
                    <a:lnTo>
                      <a:pt x="116" y="264"/>
                    </a:lnTo>
                    <a:lnTo>
                      <a:pt x="113" y="264"/>
                    </a:lnTo>
                    <a:lnTo>
                      <a:pt x="113" y="264"/>
                    </a:lnTo>
                    <a:lnTo>
                      <a:pt x="111" y="261"/>
                    </a:lnTo>
                    <a:lnTo>
                      <a:pt x="109" y="261"/>
                    </a:lnTo>
                    <a:lnTo>
                      <a:pt x="109" y="262"/>
                    </a:lnTo>
                    <a:lnTo>
                      <a:pt x="111" y="264"/>
                    </a:lnTo>
                    <a:lnTo>
                      <a:pt x="109" y="269"/>
                    </a:lnTo>
                    <a:lnTo>
                      <a:pt x="106" y="269"/>
                    </a:lnTo>
                    <a:lnTo>
                      <a:pt x="104" y="269"/>
                    </a:lnTo>
                    <a:lnTo>
                      <a:pt x="104" y="271"/>
                    </a:lnTo>
                    <a:lnTo>
                      <a:pt x="100" y="271"/>
                    </a:lnTo>
                    <a:lnTo>
                      <a:pt x="99" y="269"/>
                    </a:lnTo>
                    <a:lnTo>
                      <a:pt x="99" y="273"/>
                    </a:lnTo>
                    <a:lnTo>
                      <a:pt x="95" y="275"/>
                    </a:lnTo>
                    <a:lnTo>
                      <a:pt x="92" y="278"/>
                    </a:lnTo>
                    <a:lnTo>
                      <a:pt x="92" y="281"/>
                    </a:lnTo>
                    <a:lnTo>
                      <a:pt x="90" y="283"/>
                    </a:lnTo>
                    <a:lnTo>
                      <a:pt x="87" y="288"/>
                    </a:lnTo>
                    <a:lnTo>
                      <a:pt x="87" y="292"/>
                    </a:lnTo>
                    <a:lnTo>
                      <a:pt x="87" y="297"/>
                    </a:lnTo>
                    <a:lnTo>
                      <a:pt x="78" y="301"/>
                    </a:lnTo>
                    <a:lnTo>
                      <a:pt x="76" y="304"/>
                    </a:lnTo>
                    <a:lnTo>
                      <a:pt x="74" y="309"/>
                    </a:lnTo>
                    <a:lnTo>
                      <a:pt x="71" y="315"/>
                    </a:lnTo>
                    <a:lnTo>
                      <a:pt x="67" y="316"/>
                    </a:lnTo>
                    <a:lnTo>
                      <a:pt x="67" y="320"/>
                    </a:lnTo>
                    <a:lnTo>
                      <a:pt x="67" y="320"/>
                    </a:lnTo>
                    <a:lnTo>
                      <a:pt x="66" y="320"/>
                    </a:lnTo>
                    <a:lnTo>
                      <a:pt x="69" y="320"/>
                    </a:lnTo>
                    <a:lnTo>
                      <a:pt x="69" y="320"/>
                    </a:lnTo>
                    <a:lnTo>
                      <a:pt x="67" y="321"/>
                    </a:lnTo>
                    <a:lnTo>
                      <a:pt x="62" y="321"/>
                    </a:lnTo>
                    <a:lnTo>
                      <a:pt x="59" y="325"/>
                    </a:lnTo>
                    <a:lnTo>
                      <a:pt x="55" y="327"/>
                    </a:lnTo>
                    <a:lnTo>
                      <a:pt x="55" y="330"/>
                    </a:lnTo>
                    <a:lnTo>
                      <a:pt x="52" y="332"/>
                    </a:lnTo>
                    <a:lnTo>
                      <a:pt x="52" y="330"/>
                    </a:lnTo>
                    <a:lnTo>
                      <a:pt x="50" y="328"/>
                    </a:lnTo>
                    <a:lnTo>
                      <a:pt x="50" y="332"/>
                    </a:lnTo>
                    <a:lnTo>
                      <a:pt x="50" y="334"/>
                    </a:lnTo>
                    <a:lnTo>
                      <a:pt x="47" y="335"/>
                    </a:lnTo>
                    <a:lnTo>
                      <a:pt x="41" y="339"/>
                    </a:lnTo>
                    <a:lnTo>
                      <a:pt x="36" y="342"/>
                    </a:lnTo>
                    <a:lnTo>
                      <a:pt x="33" y="342"/>
                    </a:lnTo>
                    <a:lnTo>
                      <a:pt x="27" y="342"/>
                    </a:lnTo>
                    <a:lnTo>
                      <a:pt x="27" y="339"/>
                    </a:lnTo>
                    <a:lnTo>
                      <a:pt x="24" y="342"/>
                    </a:lnTo>
                    <a:lnTo>
                      <a:pt x="24" y="342"/>
                    </a:lnTo>
                    <a:lnTo>
                      <a:pt x="27" y="339"/>
                    </a:lnTo>
                    <a:lnTo>
                      <a:pt x="24" y="337"/>
                    </a:lnTo>
                    <a:lnTo>
                      <a:pt x="21" y="335"/>
                    </a:lnTo>
                    <a:lnTo>
                      <a:pt x="21" y="332"/>
                    </a:lnTo>
                    <a:lnTo>
                      <a:pt x="19" y="330"/>
                    </a:lnTo>
                    <a:lnTo>
                      <a:pt x="15" y="330"/>
                    </a:lnTo>
                    <a:lnTo>
                      <a:pt x="14" y="328"/>
                    </a:lnTo>
                    <a:lnTo>
                      <a:pt x="15" y="327"/>
                    </a:lnTo>
                    <a:lnTo>
                      <a:pt x="14" y="325"/>
                    </a:lnTo>
                    <a:lnTo>
                      <a:pt x="14" y="325"/>
                    </a:lnTo>
                    <a:lnTo>
                      <a:pt x="10" y="325"/>
                    </a:lnTo>
                    <a:lnTo>
                      <a:pt x="8" y="325"/>
                    </a:lnTo>
                    <a:lnTo>
                      <a:pt x="8" y="325"/>
                    </a:lnTo>
                    <a:lnTo>
                      <a:pt x="8" y="325"/>
                    </a:lnTo>
                    <a:lnTo>
                      <a:pt x="5" y="325"/>
                    </a:lnTo>
                    <a:lnTo>
                      <a:pt x="1" y="325"/>
                    </a:lnTo>
                    <a:lnTo>
                      <a:pt x="1" y="325"/>
                    </a:lnTo>
                    <a:lnTo>
                      <a:pt x="1" y="325"/>
                    </a:ln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204"/>
              <p:cNvSpPr>
                <a:spLocks/>
              </p:cNvSpPr>
              <p:nvPr/>
            </p:nvSpPr>
            <p:spPr bwMode="auto">
              <a:xfrm>
                <a:off x="6200775" y="3173413"/>
                <a:ext cx="796925" cy="892175"/>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solidFill>
                <a:srgbClr val="691E7C"/>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035065112"/>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8D10BBD9-DD08-4364-93DC-9867E4CF0599}"/>
              </a:ext>
            </a:extLst>
          </p:cNvPr>
          <p:cNvGrpSpPr>
            <a:grpSpLocks noChangeAspect="1"/>
          </p:cNvGrpSpPr>
          <p:nvPr/>
        </p:nvGrpSpPr>
        <p:grpSpPr bwMode="auto">
          <a:xfrm>
            <a:off x="3363918" y="3362899"/>
            <a:ext cx="3289169" cy="3073657"/>
            <a:chOff x="-163" y="-158"/>
            <a:chExt cx="2854" cy="2667"/>
          </a:xfrm>
        </p:grpSpPr>
        <p:sp>
          <p:nvSpPr>
            <p:cNvPr id="4" name="Freeform 5">
              <a:extLst>
                <a:ext uri="{FF2B5EF4-FFF2-40B4-BE49-F238E27FC236}">
                  <a16:creationId xmlns:a16="http://schemas.microsoft.com/office/drawing/2014/main" id="{2EC297A0-D4AA-4EDF-A8F7-4A9D24D33364}"/>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 name="Freeform 6">
              <a:extLst>
                <a:ext uri="{FF2B5EF4-FFF2-40B4-BE49-F238E27FC236}">
                  <a16:creationId xmlns:a16="http://schemas.microsoft.com/office/drawing/2014/main" id="{E2516D33-EC06-478B-A7A9-5035B2483366}"/>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 name="Freeform 7">
              <a:extLst>
                <a:ext uri="{FF2B5EF4-FFF2-40B4-BE49-F238E27FC236}">
                  <a16:creationId xmlns:a16="http://schemas.microsoft.com/office/drawing/2014/main" id="{F6A2F60A-36F9-4878-A6DB-3434CF89EDE6}"/>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7" name="Freeform 8">
              <a:extLst>
                <a:ext uri="{FF2B5EF4-FFF2-40B4-BE49-F238E27FC236}">
                  <a16:creationId xmlns:a16="http://schemas.microsoft.com/office/drawing/2014/main" id="{63382951-033B-47BC-89A3-112ECEE28E3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 name="Freeform 9">
              <a:extLst>
                <a:ext uri="{FF2B5EF4-FFF2-40B4-BE49-F238E27FC236}">
                  <a16:creationId xmlns:a16="http://schemas.microsoft.com/office/drawing/2014/main" id="{6D35586C-B0A6-4DED-92F1-7AAFE5C72597}"/>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9" name="Group 12">
            <a:extLst>
              <a:ext uri="{FF2B5EF4-FFF2-40B4-BE49-F238E27FC236}">
                <a16:creationId xmlns:a16="http://schemas.microsoft.com/office/drawing/2014/main" id="{E57D0730-77E2-4BC3-A91F-BCFB0875635C}"/>
              </a:ext>
            </a:extLst>
          </p:cNvPr>
          <p:cNvGrpSpPr>
            <a:grpSpLocks noChangeAspect="1"/>
          </p:cNvGrpSpPr>
          <p:nvPr/>
        </p:nvGrpSpPr>
        <p:grpSpPr bwMode="auto">
          <a:xfrm>
            <a:off x="6533949" y="5043988"/>
            <a:ext cx="1372313" cy="1279999"/>
            <a:chOff x="-60" y="-50"/>
            <a:chExt cx="996" cy="929"/>
          </a:xfrm>
        </p:grpSpPr>
        <p:sp>
          <p:nvSpPr>
            <p:cNvPr id="10" name="Freeform 13">
              <a:extLst>
                <a:ext uri="{FF2B5EF4-FFF2-40B4-BE49-F238E27FC236}">
                  <a16:creationId xmlns:a16="http://schemas.microsoft.com/office/drawing/2014/main" id="{D1691444-3405-4932-B245-F0465CF974E4}"/>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14">
              <a:extLst>
                <a:ext uri="{FF2B5EF4-FFF2-40B4-BE49-F238E27FC236}">
                  <a16:creationId xmlns:a16="http://schemas.microsoft.com/office/drawing/2014/main" id="{B19CF6F8-81E1-46A0-B812-DC7868337160}"/>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15">
              <a:extLst>
                <a:ext uri="{FF2B5EF4-FFF2-40B4-BE49-F238E27FC236}">
                  <a16:creationId xmlns:a16="http://schemas.microsoft.com/office/drawing/2014/main" id="{C291B6F9-0B47-4EA3-B5EC-5E0183341D87}"/>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6">
              <a:extLst>
                <a:ext uri="{FF2B5EF4-FFF2-40B4-BE49-F238E27FC236}">
                  <a16:creationId xmlns:a16="http://schemas.microsoft.com/office/drawing/2014/main" id="{0A599237-1766-4B4E-8FB9-0E7BCEC8B847}"/>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4" name="Group 19">
            <a:extLst>
              <a:ext uri="{FF2B5EF4-FFF2-40B4-BE49-F238E27FC236}">
                <a16:creationId xmlns:a16="http://schemas.microsoft.com/office/drawing/2014/main" id="{B9FB932F-A129-4766-AB7A-30713AB32A45}"/>
              </a:ext>
            </a:extLst>
          </p:cNvPr>
          <p:cNvGrpSpPr>
            <a:grpSpLocks noChangeAspect="1"/>
          </p:cNvGrpSpPr>
          <p:nvPr/>
        </p:nvGrpSpPr>
        <p:grpSpPr bwMode="auto">
          <a:xfrm>
            <a:off x="3787169" y="1032794"/>
            <a:ext cx="2610829" cy="2441221"/>
            <a:chOff x="-106" y="-109"/>
            <a:chExt cx="1878" cy="1756"/>
          </a:xfrm>
        </p:grpSpPr>
        <p:sp>
          <p:nvSpPr>
            <p:cNvPr id="15" name="Freeform 20">
              <a:extLst>
                <a:ext uri="{FF2B5EF4-FFF2-40B4-BE49-F238E27FC236}">
                  <a16:creationId xmlns:a16="http://schemas.microsoft.com/office/drawing/2014/main" id="{62B54BA6-19FC-43A3-B561-59B39E3E0241}"/>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Freeform 21">
              <a:extLst>
                <a:ext uri="{FF2B5EF4-FFF2-40B4-BE49-F238E27FC236}">
                  <a16:creationId xmlns:a16="http://schemas.microsoft.com/office/drawing/2014/main" id="{1A910DD8-C987-417B-83BB-F0E0DB5480C2}"/>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7" name="Freeform 22">
              <a:extLst>
                <a:ext uri="{FF2B5EF4-FFF2-40B4-BE49-F238E27FC236}">
                  <a16:creationId xmlns:a16="http://schemas.microsoft.com/office/drawing/2014/main" id="{0386F744-3859-47E1-A176-D99282D7EC63}"/>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8" name="Group 25">
            <a:extLst>
              <a:ext uri="{FF2B5EF4-FFF2-40B4-BE49-F238E27FC236}">
                <a16:creationId xmlns:a16="http://schemas.microsoft.com/office/drawing/2014/main" id="{DCBBAF44-4FD4-4633-9D1C-646BF64F906E}"/>
              </a:ext>
            </a:extLst>
          </p:cNvPr>
          <p:cNvGrpSpPr>
            <a:grpSpLocks noChangeAspect="1"/>
          </p:cNvGrpSpPr>
          <p:nvPr/>
        </p:nvGrpSpPr>
        <p:grpSpPr bwMode="auto">
          <a:xfrm>
            <a:off x="6180817" y="501721"/>
            <a:ext cx="1186397" cy="1112051"/>
            <a:chOff x="-61" y="-66"/>
            <a:chExt cx="1133" cy="1062"/>
          </a:xfrm>
        </p:grpSpPr>
        <p:sp>
          <p:nvSpPr>
            <p:cNvPr id="19" name="Freeform 26">
              <a:extLst>
                <a:ext uri="{FF2B5EF4-FFF2-40B4-BE49-F238E27FC236}">
                  <a16:creationId xmlns:a16="http://schemas.microsoft.com/office/drawing/2014/main" id="{88A78E0E-204C-41B6-989B-E18559A70205}"/>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27">
              <a:extLst>
                <a:ext uri="{FF2B5EF4-FFF2-40B4-BE49-F238E27FC236}">
                  <a16:creationId xmlns:a16="http://schemas.microsoft.com/office/drawing/2014/main" id="{E300232E-F148-4280-A62E-F001EB522A12}"/>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1" name="Group 30">
            <a:extLst>
              <a:ext uri="{FF2B5EF4-FFF2-40B4-BE49-F238E27FC236}">
                <a16:creationId xmlns:a16="http://schemas.microsoft.com/office/drawing/2014/main" id="{575ABFB3-808F-4314-8051-4FFB8A780C95}"/>
              </a:ext>
            </a:extLst>
          </p:cNvPr>
          <p:cNvGrpSpPr>
            <a:grpSpLocks noChangeAspect="1"/>
          </p:cNvGrpSpPr>
          <p:nvPr/>
        </p:nvGrpSpPr>
        <p:grpSpPr bwMode="auto">
          <a:xfrm>
            <a:off x="6337690" y="976696"/>
            <a:ext cx="4649295" cy="4346343"/>
            <a:chOff x="-223" y="-210"/>
            <a:chExt cx="3852" cy="3601"/>
          </a:xfrm>
        </p:grpSpPr>
        <p:sp>
          <p:nvSpPr>
            <p:cNvPr id="22" name="Freeform 31">
              <a:extLst>
                <a:ext uri="{FF2B5EF4-FFF2-40B4-BE49-F238E27FC236}">
                  <a16:creationId xmlns:a16="http://schemas.microsoft.com/office/drawing/2014/main" id="{A40DEB8C-8F6C-4736-8DB4-007811665A1F}"/>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3" name="Freeform 32">
              <a:extLst>
                <a:ext uri="{FF2B5EF4-FFF2-40B4-BE49-F238E27FC236}">
                  <a16:creationId xmlns:a16="http://schemas.microsoft.com/office/drawing/2014/main" id="{3AC9467A-E750-449D-946B-35698951CD82}"/>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4" name="Freeform 33">
              <a:extLst>
                <a:ext uri="{FF2B5EF4-FFF2-40B4-BE49-F238E27FC236}">
                  <a16:creationId xmlns:a16="http://schemas.microsoft.com/office/drawing/2014/main" id="{B9565F70-A1CB-427C-8980-AFD2BAF16A1C}"/>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4">
              <a:extLst>
                <a:ext uri="{FF2B5EF4-FFF2-40B4-BE49-F238E27FC236}">
                  <a16:creationId xmlns:a16="http://schemas.microsoft.com/office/drawing/2014/main" id="{800CBEC0-B0C7-4382-9751-5923F698F615}"/>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5">
              <a:extLst>
                <a:ext uri="{FF2B5EF4-FFF2-40B4-BE49-F238E27FC236}">
                  <a16:creationId xmlns:a16="http://schemas.microsoft.com/office/drawing/2014/main" id="{5EC1D6F5-81E8-46B8-88F6-3DCF985069FE}"/>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7" name="Group 9"/>
          <p:cNvGrpSpPr>
            <a:grpSpLocks noChangeAspect="1"/>
          </p:cNvGrpSpPr>
          <p:nvPr/>
        </p:nvGrpSpPr>
        <p:grpSpPr>
          <a:xfrm>
            <a:off x="1205015" y="2736965"/>
            <a:ext cx="1027956" cy="959548"/>
            <a:chOff x="-2063751" y="3944938"/>
            <a:chExt cx="882651" cy="823913"/>
          </a:xfrm>
        </p:grpSpPr>
        <p:sp>
          <p:nvSpPr>
            <p:cNvPr id="28" name="Freeform 5"/>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19"/>
          <p:cNvGrpSpPr>
            <a:grpSpLocks noChangeAspect="1"/>
          </p:cNvGrpSpPr>
          <p:nvPr/>
        </p:nvGrpSpPr>
        <p:grpSpPr>
          <a:xfrm>
            <a:off x="1272327" y="4005115"/>
            <a:ext cx="1027956" cy="959548"/>
            <a:chOff x="-2187576" y="5018088"/>
            <a:chExt cx="882651" cy="823913"/>
          </a:xfrm>
        </p:grpSpPr>
        <p:sp>
          <p:nvSpPr>
            <p:cNvPr id="38" name="Freeform 17"/>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8"/>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9"/>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23"/>
          <p:cNvGrpSpPr>
            <a:grpSpLocks noChangeAspect="1"/>
          </p:cNvGrpSpPr>
          <p:nvPr/>
        </p:nvGrpSpPr>
        <p:grpSpPr>
          <a:xfrm>
            <a:off x="1275870" y="5273265"/>
            <a:ext cx="1031650" cy="959548"/>
            <a:chOff x="-2836862" y="6440488"/>
            <a:chExt cx="885824" cy="823913"/>
          </a:xfrm>
        </p:grpSpPr>
        <p:sp>
          <p:nvSpPr>
            <p:cNvPr id="42" name="Freeform 23"/>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4"/>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5"/>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6"/>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7"/>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8"/>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9"/>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9" name="Group 8"/>
          <p:cNvGrpSpPr/>
          <p:nvPr/>
        </p:nvGrpSpPr>
        <p:grpSpPr>
          <a:xfrm>
            <a:off x="1205015" y="1377233"/>
            <a:ext cx="1114525" cy="1051130"/>
            <a:chOff x="6460778" y="5092349"/>
            <a:chExt cx="1114525" cy="1051130"/>
          </a:xfrm>
        </p:grpSpPr>
        <p:sp>
          <p:nvSpPr>
            <p:cNvPr id="50" name="Freeform 7"/>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rgbClr val="00C3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5"/>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2" name="Group 23"/>
          <p:cNvGrpSpPr/>
          <p:nvPr/>
        </p:nvGrpSpPr>
        <p:grpSpPr>
          <a:xfrm>
            <a:off x="2523726" y="2175616"/>
            <a:ext cx="1030290" cy="958850"/>
            <a:chOff x="-3076576" y="4076701"/>
            <a:chExt cx="1465263" cy="1363663"/>
          </a:xfrm>
        </p:grpSpPr>
        <p:sp>
          <p:nvSpPr>
            <p:cNvPr id="53" name="Freeform 5"/>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rgbClr val="FF63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6"/>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itre 1"/>
          <p:cNvSpPr>
            <a:spLocks noGrp="1"/>
          </p:cNvSpPr>
          <p:nvPr>
            <p:ph type="title"/>
          </p:nvPr>
        </p:nvSpPr>
        <p:spPr/>
        <p:txBody>
          <a:bodyPr/>
          <a:lstStyle/>
          <a:p>
            <a:r>
              <a:rPr lang="en-US" dirty="0"/>
              <a:t>Icons</a:t>
            </a:r>
          </a:p>
        </p:txBody>
      </p:sp>
    </p:spTree>
    <p:extLst>
      <p:ext uri="{BB962C8B-B14F-4D97-AF65-F5344CB8AC3E}">
        <p14:creationId xmlns:p14="http://schemas.microsoft.com/office/powerpoint/2010/main" val="27698352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 name="Titre 303">
            <a:extLst>
              <a:ext uri="{FF2B5EF4-FFF2-40B4-BE49-F238E27FC236}">
                <a16:creationId xmlns:a16="http://schemas.microsoft.com/office/drawing/2014/main" id="{9819F4CC-EC8B-48D8-AD79-9EF793271014}"/>
              </a:ext>
            </a:extLst>
          </p:cNvPr>
          <p:cNvSpPr>
            <a:spLocks noGrp="1"/>
          </p:cNvSpPr>
          <p:nvPr>
            <p:ph type="title"/>
          </p:nvPr>
        </p:nvSpPr>
        <p:spPr>
          <a:xfrm>
            <a:off x="227349" y="0"/>
            <a:ext cx="11125236" cy="1104900"/>
          </a:xfrm>
        </p:spPr>
        <p:txBody>
          <a:bodyPr/>
          <a:lstStyle/>
          <a:p>
            <a:r>
              <a:rPr lang="fr-FR" dirty="0" err="1"/>
              <a:t>Icons</a:t>
            </a:r>
            <a:endParaRPr lang="fr-FR" dirty="0"/>
          </a:p>
        </p:txBody>
      </p:sp>
      <p:grpSp>
        <p:nvGrpSpPr>
          <p:cNvPr id="595" name="Group 594"/>
          <p:cNvGrpSpPr/>
          <p:nvPr/>
        </p:nvGrpSpPr>
        <p:grpSpPr>
          <a:xfrm>
            <a:off x="8836025" y="4348931"/>
            <a:ext cx="841375" cy="793751"/>
            <a:chOff x="10010775" y="4583115"/>
            <a:chExt cx="841375" cy="793751"/>
          </a:xfrm>
        </p:grpSpPr>
        <p:sp>
          <p:nvSpPr>
            <p:cNvPr id="297" name="Freeform 190"/>
            <p:cNvSpPr>
              <a:spLocks/>
            </p:cNvSpPr>
            <p:nvPr/>
          </p:nvSpPr>
          <p:spPr bwMode="auto">
            <a:xfrm>
              <a:off x="10010775" y="4583115"/>
              <a:ext cx="841375" cy="793751"/>
            </a:xfrm>
            <a:custGeom>
              <a:avLst/>
              <a:gdLst>
                <a:gd name="T0" fmla="*/ 63 w 438"/>
                <a:gd name="T1" fmla="*/ 321 h 410"/>
                <a:gd name="T2" fmla="*/ 105 w 438"/>
                <a:gd name="T3" fmla="*/ 62 h 410"/>
                <a:gd name="T4" fmla="*/ 375 w 438"/>
                <a:gd name="T5" fmla="*/ 100 h 410"/>
                <a:gd name="T6" fmla="*/ 326 w 438"/>
                <a:gd name="T7" fmla="*/ 349 h 410"/>
                <a:gd name="T8" fmla="*/ 63 w 438"/>
                <a:gd name="T9" fmla="*/ 321 h 410"/>
              </a:gdLst>
              <a:ahLst/>
              <a:cxnLst>
                <a:cxn ang="0">
                  <a:pos x="T0" y="T1"/>
                </a:cxn>
                <a:cxn ang="0">
                  <a:pos x="T2" y="T3"/>
                </a:cxn>
                <a:cxn ang="0">
                  <a:pos x="T4" y="T5"/>
                </a:cxn>
                <a:cxn ang="0">
                  <a:pos x="T6" y="T7"/>
                </a:cxn>
                <a:cxn ang="0">
                  <a:pos x="T8" y="T9"/>
                </a:cxn>
              </a:cxnLst>
              <a:rect l="0" t="0" r="r" b="b"/>
              <a:pathLst>
                <a:path w="438" h="410">
                  <a:moveTo>
                    <a:pt x="63" y="321"/>
                  </a:moveTo>
                  <a:cubicBezTo>
                    <a:pt x="0" y="239"/>
                    <a:pt x="19" y="123"/>
                    <a:pt x="105" y="62"/>
                  </a:cubicBezTo>
                  <a:cubicBezTo>
                    <a:pt x="191" y="0"/>
                    <a:pt x="312" y="18"/>
                    <a:pt x="375" y="100"/>
                  </a:cubicBezTo>
                  <a:cubicBezTo>
                    <a:pt x="438" y="182"/>
                    <a:pt x="412" y="288"/>
                    <a:pt x="326" y="349"/>
                  </a:cubicBezTo>
                  <a:cubicBezTo>
                    <a:pt x="240" y="410"/>
                    <a:pt x="126" y="403"/>
                    <a:pt x="63" y="321"/>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98" name="Oval 191"/>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Oval 192"/>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93"/>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01" name="Freeform 194"/>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95"/>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96"/>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69" name="Group 368"/>
          <p:cNvGrpSpPr/>
          <p:nvPr/>
        </p:nvGrpSpPr>
        <p:grpSpPr>
          <a:xfrm>
            <a:off x="3965278" y="1223384"/>
            <a:ext cx="835025" cy="784225"/>
            <a:chOff x="3956051" y="1420813"/>
            <a:chExt cx="835025" cy="784225"/>
          </a:xfrm>
        </p:grpSpPr>
        <p:sp>
          <p:nvSpPr>
            <p:cNvPr id="31" name="Freeform 21"/>
            <p:cNvSpPr>
              <a:spLocks/>
            </p:cNvSpPr>
            <p:nvPr/>
          </p:nvSpPr>
          <p:spPr bwMode="auto">
            <a:xfrm>
              <a:off x="3956051" y="1420813"/>
              <a:ext cx="835025" cy="784225"/>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22"/>
            <p:cNvSpPr>
              <a:spLocks noEditPoints="1"/>
            </p:cNvSpPr>
            <p:nvPr/>
          </p:nvSpPr>
          <p:spPr bwMode="auto">
            <a:xfrm>
              <a:off x="4129089" y="1676400"/>
              <a:ext cx="471488" cy="215900"/>
            </a:xfrm>
            <a:custGeom>
              <a:avLst/>
              <a:gdLst>
                <a:gd name="T0" fmla="*/ 184 w 248"/>
                <a:gd name="T1" fmla="*/ 47 h 113"/>
                <a:gd name="T2" fmla="*/ 147 w 248"/>
                <a:gd name="T3" fmla="*/ 5 h 113"/>
                <a:gd name="T4" fmla="*/ 109 w 248"/>
                <a:gd name="T5" fmla="*/ 0 h 113"/>
                <a:gd name="T6" fmla="*/ 66 w 248"/>
                <a:gd name="T7" fmla="*/ 5 h 113"/>
                <a:gd name="T8" fmla="*/ 29 w 248"/>
                <a:gd name="T9" fmla="*/ 48 h 113"/>
                <a:gd name="T10" fmla="*/ 6 w 248"/>
                <a:gd name="T11" fmla="*/ 50 h 113"/>
                <a:gd name="T12" fmla="*/ 2 w 248"/>
                <a:gd name="T13" fmla="*/ 105 h 113"/>
                <a:gd name="T14" fmla="*/ 3 w 248"/>
                <a:gd name="T15" fmla="*/ 107 h 113"/>
                <a:gd name="T16" fmla="*/ 5 w 248"/>
                <a:gd name="T17" fmla="*/ 108 h 113"/>
                <a:gd name="T18" fmla="*/ 27 w 248"/>
                <a:gd name="T19" fmla="*/ 108 h 113"/>
                <a:gd name="T20" fmla="*/ 27 w 248"/>
                <a:gd name="T21" fmla="*/ 108 h 113"/>
                <a:gd name="T22" fmla="*/ 60 w 248"/>
                <a:gd name="T23" fmla="*/ 75 h 113"/>
                <a:gd name="T24" fmla="*/ 93 w 248"/>
                <a:gd name="T25" fmla="*/ 108 h 113"/>
                <a:gd name="T26" fmla="*/ 93 w 248"/>
                <a:gd name="T27" fmla="*/ 108 h 113"/>
                <a:gd name="T28" fmla="*/ 141 w 248"/>
                <a:gd name="T29" fmla="*/ 108 h 113"/>
                <a:gd name="T30" fmla="*/ 141 w 248"/>
                <a:gd name="T31" fmla="*/ 108 h 113"/>
                <a:gd name="T32" fmla="*/ 174 w 248"/>
                <a:gd name="T33" fmla="*/ 75 h 113"/>
                <a:gd name="T34" fmla="*/ 207 w 248"/>
                <a:gd name="T35" fmla="*/ 108 h 113"/>
                <a:gd name="T36" fmla="*/ 207 w 248"/>
                <a:gd name="T37" fmla="*/ 108 h 113"/>
                <a:gd name="T38" fmla="*/ 226 w 248"/>
                <a:gd name="T39" fmla="*/ 107 h 113"/>
                <a:gd name="T40" fmla="*/ 247 w 248"/>
                <a:gd name="T41" fmla="*/ 113 h 113"/>
                <a:gd name="T42" fmla="*/ 247 w 248"/>
                <a:gd name="T43" fmla="*/ 90 h 113"/>
                <a:gd name="T44" fmla="*/ 236 w 248"/>
                <a:gd name="T45" fmla="*/ 59 h 113"/>
                <a:gd name="T46" fmla="*/ 184 w 248"/>
                <a:gd name="T47" fmla="*/ 47 h 113"/>
                <a:gd name="T48" fmla="*/ 104 w 248"/>
                <a:gd name="T49" fmla="*/ 48 h 113"/>
                <a:gd name="T50" fmla="*/ 102 w 248"/>
                <a:gd name="T51" fmla="*/ 49 h 113"/>
                <a:gd name="T52" fmla="*/ 42 w 248"/>
                <a:gd name="T53" fmla="*/ 49 h 113"/>
                <a:gd name="T54" fmla="*/ 41 w 248"/>
                <a:gd name="T55" fmla="*/ 48 h 113"/>
                <a:gd name="T56" fmla="*/ 41 w 248"/>
                <a:gd name="T57" fmla="*/ 47 h 113"/>
                <a:gd name="T58" fmla="*/ 71 w 248"/>
                <a:gd name="T59" fmla="*/ 11 h 113"/>
                <a:gd name="T60" fmla="*/ 72 w 248"/>
                <a:gd name="T61" fmla="*/ 10 h 113"/>
                <a:gd name="T62" fmla="*/ 103 w 248"/>
                <a:gd name="T63" fmla="*/ 10 h 113"/>
                <a:gd name="T64" fmla="*/ 104 w 248"/>
                <a:gd name="T65" fmla="*/ 12 h 113"/>
                <a:gd name="T66" fmla="*/ 104 w 248"/>
                <a:gd name="T67" fmla="*/ 48 h 113"/>
                <a:gd name="T68" fmla="*/ 171 w 248"/>
                <a:gd name="T69" fmla="*/ 48 h 113"/>
                <a:gd name="T70" fmla="*/ 170 w 248"/>
                <a:gd name="T71" fmla="*/ 49 h 113"/>
                <a:gd name="T72" fmla="*/ 112 w 248"/>
                <a:gd name="T73" fmla="*/ 49 h 113"/>
                <a:gd name="T74" fmla="*/ 111 w 248"/>
                <a:gd name="T75" fmla="*/ 48 h 113"/>
                <a:gd name="T76" fmla="*/ 111 w 248"/>
                <a:gd name="T77" fmla="*/ 12 h 113"/>
                <a:gd name="T78" fmla="*/ 112 w 248"/>
                <a:gd name="T79" fmla="*/ 11 h 113"/>
                <a:gd name="T80" fmla="*/ 144 w 248"/>
                <a:gd name="T81" fmla="*/ 11 h 113"/>
                <a:gd name="T82" fmla="*/ 144 w 248"/>
                <a:gd name="T83" fmla="*/ 11 h 113"/>
                <a:gd name="T84" fmla="*/ 171 w 248"/>
                <a:gd name="T85" fmla="*/ 47 h 113"/>
                <a:gd name="T86" fmla="*/ 171 w 248"/>
                <a:gd name="T87" fmla="*/ 4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8" h="113">
                  <a:moveTo>
                    <a:pt x="184" y="47"/>
                  </a:moveTo>
                  <a:cubicBezTo>
                    <a:pt x="184" y="47"/>
                    <a:pt x="152" y="7"/>
                    <a:pt x="147" y="5"/>
                  </a:cubicBezTo>
                  <a:cubicBezTo>
                    <a:pt x="142" y="2"/>
                    <a:pt x="126" y="0"/>
                    <a:pt x="109" y="0"/>
                  </a:cubicBezTo>
                  <a:cubicBezTo>
                    <a:pt x="92" y="0"/>
                    <a:pt x="70" y="2"/>
                    <a:pt x="66" y="5"/>
                  </a:cubicBezTo>
                  <a:cubicBezTo>
                    <a:pt x="62" y="9"/>
                    <a:pt x="39" y="36"/>
                    <a:pt x="29" y="48"/>
                  </a:cubicBezTo>
                  <a:cubicBezTo>
                    <a:pt x="28" y="50"/>
                    <a:pt x="12" y="50"/>
                    <a:pt x="6" y="50"/>
                  </a:cubicBezTo>
                  <a:cubicBezTo>
                    <a:pt x="0" y="50"/>
                    <a:pt x="2" y="105"/>
                    <a:pt x="2" y="105"/>
                  </a:cubicBezTo>
                  <a:cubicBezTo>
                    <a:pt x="2" y="105"/>
                    <a:pt x="2" y="106"/>
                    <a:pt x="3" y="107"/>
                  </a:cubicBezTo>
                  <a:cubicBezTo>
                    <a:pt x="3" y="107"/>
                    <a:pt x="4" y="108"/>
                    <a:pt x="5" y="108"/>
                  </a:cubicBezTo>
                  <a:cubicBezTo>
                    <a:pt x="27" y="108"/>
                    <a:pt x="27" y="108"/>
                    <a:pt x="27" y="108"/>
                  </a:cubicBezTo>
                  <a:cubicBezTo>
                    <a:pt x="27" y="108"/>
                    <a:pt x="27" y="108"/>
                    <a:pt x="27" y="108"/>
                  </a:cubicBezTo>
                  <a:cubicBezTo>
                    <a:pt x="27" y="89"/>
                    <a:pt x="41" y="75"/>
                    <a:pt x="60" y="75"/>
                  </a:cubicBezTo>
                  <a:cubicBezTo>
                    <a:pt x="78" y="75"/>
                    <a:pt x="93" y="89"/>
                    <a:pt x="93" y="108"/>
                  </a:cubicBezTo>
                  <a:cubicBezTo>
                    <a:pt x="93" y="108"/>
                    <a:pt x="93" y="108"/>
                    <a:pt x="93" y="108"/>
                  </a:cubicBezTo>
                  <a:cubicBezTo>
                    <a:pt x="141" y="108"/>
                    <a:pt x="141" y="108"/>
                    <a:pt x="141" y="108"/>
                  </a:cubicBezTo>
                  <a:cubicBezTo>
                    <a:pt x="141" y="108"/>
                    <a:pt x="141" y="108"/>
                    <a:pt x="141" y="108"/>
                  </a:cubicBezTo>
                  <a:cubicBezTo>
                    <a:pt x="141" y="89"/>
                    <a:pt x="156" y="75"/>
                    <a:pt x="174" y="75"/>
                  </a:cubicBezTo>
                  <a:cubicBezTo>
                    <a:pt x="192" y="75"/>
                    <a:pt x="207" y="89"/>
                    <a:pt x="207" y="108"/>
                  </a:cubicBezTo>
                  <a:cubicBezTo>
                    <a:pt x="207" y="108"/>
                    <a:pt x="207" y="108"/>
                    <a:pt x="207" y="108"/>
                  </a:cubicBezTo>
                  <a:cubicBezTo>
                    <a:pt x="226" y="107"/>
                    <a:pt x="226" y="107"/>
                    <a:pt x="226" y="107"/>
                  </a:cubicBezTo>
                  <a:cubicBezTo>
                    <a:pt x="235" y="106"/>
                    <a:pt x="247" y="110"/>
                    <a:pt x="247" y="113"/>
                  </a:cubicBezTo>
                  <a:cubicBezTo>
                    <a:pt x="247" y="113"/>
                    <a:pt x="248" y="93"/>
                    <a:pt x="247" y="90"/>
                  </a:cubicBezTo>
                  <a:cubicBezTo>
                    <a:pt x="247" y="90"/>
                    <a:pt x="246" y="68"/>
                    <a:pt x="236" y="59"/>
                  </a:cubicBezTo>
                  <a:cubicBezTo>
                    <a:pt x="227" y="51"/>
                    <a:pt x="184" y="47"/>
                    <a:pt x="184" y="47"/>
                  </a:cubicBezTo>
                  <a:moveTo>
                    <a:pt x="104" y="48"/>
                  </a:moveTo>
                  <a:cubicBezTo>
                    <a:pt x="104" y="48"/>
                    <a:pt x="103" y="49"/>
                    <a:pt x="102" y="49"/>
                  </a:cubicBezTo>
                  <a:cubicBezTo>
                    <a:pt x="42" y="49"/>
                    <a:pt x="42" y="49"/>
                    <a:pt x="42" y="49"/>
                  </a:cubicBezTo>
                  <a:cubicBezTo>
                    <a:pt x="41" y="49"/>
                    <a:pt x="41" y="49"/>
                    <a:pt x="41" y="48"/>
                  </a:cubicBezTo>
                  <a:cubicBezTo>
                    <a:pt x="41" y="48"/>
                    <a:pt x="41" y="47"/>
                    <a:pt x="41" y="47"/>
                  </a:cubicBezTo>
                  <a:cubicBezTo>
                    <a:pt x="71" y="11"/>
                    <a:pt x="71" y="11"/>
                    <a:pt x="71" y="11"/>
                  </a:cubicBezTo>
                  <a:cubicBezTo>
                    <a:pt x="71" y="11"/>
                    <a:pt x="72" y="10"/>
                    <a:pt x="72" y="10"/>
                  </a:cubicBezTo>
                  <a:cubicBezTo>
                    <a:pt x="103" y="10"/>
                    <a:pt x="103" y="10"/>
                    <a:pt x="103" y="10"/>
                  </a:cubicBezTo>
                  <a:cubicBezTo>
                    <a:pt x="103" y="10"/>
                    <a:pt x="104" y="11"/>
                    <a:pt x="104" y="12"/>
                  </a:cubicBezTo>
                  <a:lnTo>
                    <a:pt x="104" y="48"/>
                  </a:lnTo>
                  <a:close/>
                  <a:moveTo>
                    <a:pt x="171" y="48"/>
                  </a:moveTo>
                  <a:cubicBezTo>
                    <a:pt x="171" y="49"/>
                    <a:pt x="171" y="49"/>
                    <a:pt x="170" y="49"/>
                  </a:cubicBezTo>
                  <a:cubicBezTo>
                    <a:pt x="112" y="49"/>
                    <a:pt x="112" y="49"/>
                    <a:pt x="112" y="49"/>
                  </a:cubicBezTo>
                  <a:cubicBezTo>
                    <a:pt x="111" y="49"/>
                    <a:pt x="111" y="48"/>
                    <a:pt x="111" y="48"/>
                  </a:cubicBezTo>
                  <a:cubicBezTo>
                    <a:pt x="111" y="12"/>
                    <a:pt x="111" y="12"/>
                    <a:pt x="111" y="12"/>
                  </a:cubicBezTo>
                  <a:cubicBezTo>
                    <a:pt x="111" y="11"/>
                    <a:pt x="111" y="11"/>
                    <a:pt x="112" y="11"/>
                  </a:cubicBezTo>
                  <a:cubicBezTo>
                    <a:pt x="144" y="11"/>
                    <a:pt x="144" y="11"/>
                    <a:pt x="144" y="11"/>
                  </a:cubicBezTo>
                  <a:cubicBezTo>
                    <a:pt x="144" y="11"/>
                    <a:pt x="144" y="11"/>
                    <a:pt x="144" y="11"/>
                  </a:cubicBezTo>
                  <a:cubicBezTo>
                    <a:pt x="171" y="47"/>
                    <a:pt x="171" y="47"/>
                    <a:pt x="171" y="47"/>
                  </a:cubicBezTo>
                  <a:cubicBezTo>
                    <a:pt x="171" y="47"/>
                    <a:pt x="172" y="48"/>
                    <a:pt x="171" y="48"/>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23"/>
            <p:cNvSpPr>
              <a:spLocks noEditPoints="1"/>
            </p:cNvSpPr>
            <p:nvPr/>
          </p:nvSpPr>
          <p:spPr bwMode="auto">
            <a:xfrm>
              <a:off x="4406901" y="1830388"/>
              <a:ext cx="106363" cy="104775"/>
            </a:xfrm>
            <a:custGeom>
              <a:avLst/>
              <a:gdLst>
                <a:gd name="T0" fmla="*/ 28 w 56"/>
                <a:gd name="T1" fmla="*/ 0 h 55"/>
                <a:gd name="T2" fmla="*/ 0 w 56"/>
                <a:gd name="T3" fmla="*/ 28 h 55"/>
                <a:gd name="T4" fmla="*/ 28 w 56"/>
                <a:gd name="T5" fmla="*/ 55 h 55"/>
                <a:gd name="T6" fmla="*/ 56 w 56"/>
                <a:gd name="T7" fmla="*/ 28 h 55"/>
                <a:gd name="T8" fmla="*/ 28 w 56"/>
                <a:gd name="T9" fmla="*/ 0 h 55"/>
                <a:gd name="T10" fmla="*/ 28 w 56"/>
                <a:gd name="T11" fmla="*/ 39 h 55"/>
                <a:gd name="T12" fmla="*/ 17 w 56"/>
                <a:gd name="T13" fmla="*/ 28 h 55"/>
                <a:gd name="T14" fmla="*/ 28 w 56"/>
                <a:gd name="T15" fmla="*/ 16 h 55"/>
                <a:gd name="T16" fmla="*/ 39 w 56"/>
                <a:gd name="T17" fmla="*/ 28 h 55"/>
                <a:gd name="T18" fmla="*/ 28 w 56"/>
                <a:gd name="T19" fmla="*/ 3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5">
                  <a:moveTo>
                    <a:pt x="28" y="0"/>
                  </a:moveTo>
                  <a:cubicBezTo>
                    <a:pt x="13" y="0"/>
                    <a:pt x="0" y="12"/>
                    <a:pt x="0" y="28"/>
                  </a:cubicBezTo>
                  <a:cubicBezTo>
                    <a:pt x="0" y="43"/>
                    <a:pt x="13" y="55"/>
                    <a:pt x="28" y="55"/>
                  </a:cubicBezTo>
                  <a:cubicBezTo>
                    <a:pt x="43" y="55"/>
                    <a:pt x="56" y="43"/>
                    <a:pt x="56" y="28"/>
                  </a:cubicBezTo>
                  <a:cubicBezTo>
                    <a:pt x="56" y="12"/>
                    <a:pt x="43" y="0"/>
                    <a:pt x="28" y="0"/>
                  </a:cubicBezTo>
                  <a:moveTo>
                    <a:pt x="28" y="39"/>
                  </a:moveTo>
                  <a:cubicBezTo>
                    <a:pt x="22" y="39"/>
                    <a:pt x="17" y="34"/>
                    <a:pt x="17" y="28"/>
                  </a:cubicBezTo>
                  <a:cubicBezTo>
                    <a:pt x="17" y="21"/>
                    <a:pt x="22" y="16"/>
                    <a:pt x="28" y="16"/>
                  </a:cubicBezTo>
                  <a:cubicBezTo>
                    <a:pt x="34" y="16"/>
                    <a:pt x="39" y="21"/>
                    <a:pt x="39" y="28"/>
                  </a:cubicBezTo>
                  <a:cubicBezTo>
                    <a:pt x="39" y="34"/>
                    <a:pt x="34" y="39"/>
                    <a:pt x="28" y="3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4"/>
            <p:cNvSpPr>
              <a:spLocks noEditPoints="1"/>
            </p:cNvSpPr>
            <p:nvPr/>
          </p:nvSpPr>
          <p:spPr bwMode="auto">
            <a:xfrm>
              <a:off x="4189414" y="1830388"/>
              <a:ext cx="104775" cy="104775"/>
            </a:xfrm>
            <a:custGeom>
              <a:avLst/>
              <a:gdLst>
                <a:gd name="T0" fmla="*/ 28 w 55"/>
                <a:gd name="T1" fmla="*/ 0 h 55"/>
                <a:gd name="T2" fmla="*/ 0 w 55"/>
                <a:gd name="T3" fmla="*/ 28 h 55"/>
                <a:gd name="T4" fmla="*/ 28 w 55"/>
                <a:gd name="T5" fmla="*/ 55 h 55"/>
                <a:gd name="T6" fmla="*/ 55 w 55"/>
                <a:gd name="T7" fmla="*/ 28 h 55"/>
                <a:gd name="T8" fmla="*/ 28 w 55"/>
                <a:gd name="T9" fmla="*/ 0 h 55"/>
                <a:gd name="T10" fmla="*/ 28 w 55"/>
                <a:gd name="T11" fmla="*/ 39 h 55"/>
                <a:gd name="T12" fmla="*/ 16 w 55"/>
                <a:gd name="T13" fmla="*/ 28 h 55"/>
                <a:gd name="T14" fmla="*/ 28 w 55"/>
                <a:gd name="T15" fmla="*/ 16 h 55"/>
                <a:gd name="T16" fmla="*/ 39 w 55"/>
                <a:gd name="T17" fmla="*/ 28 h 55"/>
                <a:gd name="T18" fmla="*/ 28 w 55"/>
                <a:gd name="T19" fmla="*/ 3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8" y="0"/>
                  </a:moveTo>
                  <a:cubicBezTo>
                    <a:pt x="12" y="0"/>
                    <a:pt x="0" y="12"/>
                    <a:pt x="0" y="28"/>
                  </a:cubicBezTo>
                  <a:cubicBezTo>
                    <a:pt x="0" y="43"/>
                    <a:pt x="12" y="55"/>
                    <a:pt x="28" y="55"/>
                  </a:cubicBezTo>
                  <a:cubicBezTo>
                    <a:pt x="43" y="55"/>
                    <a:pt x="55" y="43"/>
                    <a:pt x="55" y="28"/>
                  </a:cubicBezTo>
                  <a:cubicBezTo>
                    <a:pt x="55" y="12"/>
                    <a:pt x="43" y="0"/>
                    <a:pt x="28" y="0"/>
                  </a:cubicBezTo>
                  <a:moveTo>
                    <a:pt x="28" y="39"/>
                  </a:moveTo>
                  <a:cubicBezTo>
                    <a:pt x="21" y="39"/>
                    <a:pt x="16" y="34"/>
                    <a:pt x="16" y="28"/>
                  </a:cubicBezTo>
                  <a:cubicBezTo>
                    <a:pt x="16" y="21"/>
                    <a:pt x="21" y="16"/>
                    <a:pt x="28" y="16"/>
                  </a:cubicBezTo>
                  <a:cubicBezTo>
                    <a:pt x="34" y="16"/>
                    <a:pt x="39" y="21"/>
                    <a:pt x="39" y="28"/>
                  </a:cubicBezTo>
                  <a:cubicBezTo>
                    <a:pt x="39" y="34"/>
                    <a:pt x="34" y="39"/>
                    <a:pt x="28" y="3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8" name="Group 367"/>
          <p:cNvGrpSpPr/>
          <p:nvPr/>
        </p:nvGrpSpPr>
        <p:grpSpPr>
          <a:xfrm>
            <a:off x="2759516" y="1223384"/>
            <a:ext cx="835025" cy="784225"/>
            <a:chOff x="2771776" y="1420813"/>
            <a:chExt cx="835025" cy="784225"/>
          </a:xfrm>
        </p:grpSpPr>
        <p:sp>
          <p:nvSpPr>
            <p:cNvPr id="35" name="Freeform 25"/>
            <p:cNvSpPr>
              <a:spLocks/>
            </p:cNvSpPr>
            <p:nvPr/>
          </p:nvSpPr>
          <p:spPr bwMode="auto">
            <a:xfrm>
              <a:off x="2771776" y="1420813"/>
              <a:ext cx="835025" cy="784225"/>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26"/>
            <p:cNvSpPr>
              <a:spLocks/>
            </p:cNvSpPr>
            <p:nvPr/>
          </p:nvSpPr>
          <p:spPr bwMode="auto">
            <a:xfrm>
              <a:off x="3235326" y="1773238"/>
              <a:ext cx="93663" cy="255588"/>
            </a:xfrm>
            <a:custGeom>
              <a:avLst/>
              <a:gdLst>
                <a:gd name="T0" fmla="*/ 48 w 49"/>
                <a:gd name="T1" fmla="*/ 87 h 134"/>
                <a:gd name="T2" fmla="*/ 40 w 49"/>
                <a:gd name="T3" fmla="*/ 1 h 134"/>
                <a:gd name="T4" fmla="*/ 39 w 49"/>
                <a:gd name="T5" fmla="*/ 0 h 134"/>
                <a:gd name="T6" fmla="*/ 38 w 49"/>
                <a:gd name="T7" fmla="*/ 1 h 134"/>
                <a:gd name="T8" fmla="*/ 0 w 49"/>
                <a:gd name="T9" fmla="*/ 41 h 134"/>
                <a:gd name="T10" fmla="*/ 0 w 49"/>
                <a:gd name="T11" fmla="*/ 42 h 134"/>
                <a:gd name="T12" fmla="*/ 17 w 49"/>
                <a:gd name="T13" fmla="*/ 113 h 134"/>
                <a:gd name="T14" fmla="*/ 19 w 49"/>
                <a:gd name="T15" fmla="*/ 123 h 134"/>
                <a:gd name="T16" fmla="*/ 20 w 49"/>
                <a:gd name="T17" fmla="*/ 134 h 134"/>
                <a:gd name="T18" fmla="*/ 23 w 49"/>
                <a:gd name="T19" fmla="*/ 131 h 134"/>
                <a:gd name="T20" fmla="*/ 42 w 49"/>
                <a:gd name="T21" fmla="*/ 110 h 134"/>
                <a:gd name="T22" fmla="*/ 48 w 49"/>
                <a:gd name="T23" fmla="*/ 8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134">
                  <a:moveTo>
                    <a:pt x="48" y="87"/>
                  </a:moveTo>
                  <a:cubicBezTo>
                    <a:pt x="40" y="1"/>
                    <a:pt x="40" y="1"/>
                    <a:pt x="40" y="1"/>
                  </a:cubicBezTo>
                  <a:cubicBezTo>
                    <a:pt x="40" y="1"/>
                    <a:pt x="40" y="0"/>
                    <a:pt x="39" y="0"/>
                  </a:cubicBezTo>
                  <a:cubicBezTo>
                    <a:pt x="39" y="0"/>
                    <a:pt x="39" y="0"/>
                    <a:pt x="38" y="1"/>
                  </a:cubicBezTo>
                  <a:cubicBezTo>
                    <a:pt x="0" y="41"/>
                    <a:pt x="0" y="41"/>
                    <a:pt x="0" y="41"/>
                  </a:cubicBezTo>
                  <a:cubicBezTo>
                    <a:pt x="0" y="41"/>
                    <a:pt x="0" y="42"/>
                    <a:pt x="0" y="42"/>
                  </a:cubicBezTo>
                  <a:cubicBezTo>
                    <a:pt x="17" y="113"/>
                    <a:pt x="17" y="113"/>
                    <a:pt x="17" y="113"/>
                  </a:cubicBezTo>
                  <a:cubicBezTo>
                    <a:pt x="17" y="113"/>
                    <a:pt x="18" y="118"/>
                    <a:pt x="19" y="123"/>
                  </a:cubicBezTo>
                  <a:cubicBezTo>
                    <a:pt x="20" y="129"/>
                    <a:pt x="20" y="134"/>
                    <a:pt x="20" y="134"/>
                  </a:cubicBezTo>
                  <a:cubicBezTo>
                    <a:pt x="20" y="134"/>
                    <a:pt x="23" y="131"/>
                    <a:pt x="23" y="131"/>
                  </a:cubicBezTo>
                  <a:cubicBezTo>
                    <a:pt x="42" y="110"/>
                    <a:pt x="42" y="110"/>
                    <a:pt x="42" y="110"/>
                  </a:cubicBezTo>
                  <a:cubicBezTo>
                    <a:pt x="42" y="110"/>
                    <a:pt x="49" y="105"/>
                    <a:pt x="48" y="8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7"/>
            <p:cNvSpPr>
              <a:spLocks/>
            </p:cNvSpPr>
            <p:nvPr/>
          </p:nvSpPr>
          <p:spPr bwMode="auto">
            <a:xfrm>
              <a:off x="2984501" y="1611313"/>
              <a:ext cx="393700" cy="404813"/>
            </a:xfrm>
            <a:custGeom>
              <a:avLst/>
              <a:gdLst>
                <a:gd name="T0" fmla="*/ 200 w 207"/>
                <a:gd name="T1" fmla="*/ 6 h 211"/>
                <a:gd name="T2" fmla="*/ 183 w 207"/>
                <a:gd name="T3" fmla="*/ 0 h 211"/>
                <a:gd name="T4" fmla="*/ 159 w 207"/>
                <a:gd name="T5" fmla="*/ 8 h 211"/>
                <a:gd name="T6" fmla="*/ 43 w 207"/>
                <a:gd name="T7" fmla="*/ 132 h 211"/>
                <a:gd name="T8" fmla="*/ 10 w 207"/>
                <a:gd name="T9" fmla="*/ 129 h 211"/>
                <a:gd name="T10" fmla="*/ 9 w 207"/>
                <a:gd name="T11" fmla="*/ 130 h 211"/>
                <a:gd name="T12" fmla="*/ 0 w 207"/>
                <a:gd name="T13" fmla="*/ 145 h 211"/>
                <a:gd name="T14" fmla="*/ 0 w 207"/>
                <a:gd name="T15" fmla="*/ 146 h 211"/>
                <a:gd name="T16" fmla="*/ 0 w 207"/>
                <a:gd name="T17" fmla="*/ 146 h 211"/>
                <a:gd name="T18" fmla="*/ 46 w 207"/>
                <a:gd name="T19" fmla="*/ 165 h 211"/>
                <a:gd name="T20" fmla="*/ 60 w 207"/>
                <a:gd name="T21" fmla="*/ 211 h 211"/>
                <a:gd name="T22" fmla="*/ 60 w 207"/>
                <a:gd name="T23" fmla="*/ 211 h 211"/>
                <a:gd name="T24" fmla="*/ 61 w 207"/>
                <a:gd name="T25" fmla="*/ 211 h 211"/>
                <a:gd name="T26" fmla="*/ 61 w 207"/>
                <a:gd name="T27" fmla="*/ 211 h 211"/>
                <a:gd name="T28" fmla="*/ 80 w 207"/>
                <a:gd name="T29" fmla="*/ 203 h 211"/>
                <a:gd name="T30" fmla="*/ 81 w 207"/>
                <a:gd name="T31" fmla="*/ 202 h 211"/>
                <a:gd name="T32" fmla="*/ 78 w 207"/>
                <a:gd name="T33" fmla="*/ 168 h 211"/>
                <a:gd name="T34" fmla="*/ 199 w 207"/>
                <a:gd name="T35" fmla="*/ 47 h 211"/>
                <a:gd name="T36" fmla="*/ 206 w 207"/>
                <a:gd name="T37" fmla="*/ 28 h 211"/>
                <a:gd name="T38" fmla="*/ 200 w 207"/>
                <a:gd name="T39" fmla="*/ 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11">
                  <a:moveTo>
                    <a:pt x="200" y="6"/>
                  </a:moveTo>
                  <a:cubicBezTo>
                    <a:pt x="195" y="1"/>
                    <a:pt x="188" y="0"/>
                    <a:pt x="183" y="0"/>
                  </a:cubicBezTo>
                  <a:cubicBezTo>
                    <a:pt x="173" y="0"/>
                    <a:pt x="164" y="3"/>
                    <a:pt x="159" y="8"/>
                  </a:cubicBezTo>
                  <a:cubicBezTo>
                    <a:pt x="153" y="14"/>
                    <a:pt x="59" y="115"/>
                    <a:pt x="43" y="132"/>
                  </a:cubicBezTo>
                  <a:cubicBezTo>
                    <a:pt x="10" y="129"/>
                    <a:pt x="10" y="129"/>
                    <a:pt x="10" y="129"/>
                  </a:cubicBezTo>
                  <a:cubicBezTo>
                    <a:pt x="9" y="129"/>
                    <a:pt x="9" y="129"/>
                    <a:pt x="9" y="130"/>
                  </a:cubicBezTo>
                  <a:cubicBezTo>
                    <a:pt x="0" y="145"/>
                    <a:pt x="0" y="145"/>
                    <a:pt x="0" y="145"/>
                  </a:cubicBezTo>
                  <a:cubicBezTo>
                    <a:pt x="0" y="145"/>
                    <a:pt x="0" y="146"/>
                    <a:pt x="0" y="146"/>
                  </a:cubicBezTo>
                  <a:cubicBezTo>
                    <a:pt x="0" y="146"/>
                    <a:pt x="0" y="146"/>
                    <a:pt x="0" y="146"/>
                  </a:cubicBezTo>
                  <a:cubicBezTo>
                    <a:pt x="46" y="165"/>
                    <a:pt x="46" y="165"/>
                    <a:pt x="46" y="165"/>
                  </a:cubicBezTo>
                  <a:cubicBezTo>
                    <a:pt x="60" y="211"/>
                    <a:pt x="60" y="211"/>
                    <a:pt x="60" y="211"/>
                  </a:cubicBezTo>
                  <a:cubicBezTo>
                    <a:pt x="60" y="211"/>
                    <a:pt x="60" y="211"/>
                    <a:pt x="60" y="211"/>
                  </a:cubicBezTo>
                  <a:cubicBezTo>
                    <a:pt x="60" y="211"/>
                    <a:pt x="61" y="211"/>
                    <a:pt x="61" y="211"/>
                  </a:cubicBezTo>
                  <a:cubicBezTo>
                    <a:pt x="61" y="211"/>
                    <a:pt x="61" y="211"/>
                    <a:pt x="61" y="211"/>
                  </a:cubicBezTo>
                  <a:cubicBezTo>
                    <a:pt x="80" y="203"/>
                    <a:pt x="80" y="203"/>
                    <a:pt x="80" y="203"/>
                  </a:cubicBezTo>
                  <a:cubicBezTo>
                    <a:pt x="81" y="203"/>
                    <a:pt x="81" y="203"/>
                    <a:pt x="81" y="202"/>
                  </a:cubicBezTo>
                  <a:cubicBezTo>
                    <a:pt x="78" y="168"/>
                    <a:pt x="78" y="168"/>
                    <a:pt x="78" y="168"/>
                  </a:cubicBezTo>
                  <a:cubicBezTo>
                    <a:pt x="95" y="151"/>
                    <a:pt x="192" y="54"/>
                    <a:pt x="199" y="47"/>
                  </a:cubicBezTo>
                  <a:cubicBezTo>
                    <a:pt x="203" y="44"/>
                    <a:pt x="206" y="36"/>
                    <a:pt x="206" y="28"/>
                  </a:cubicBezTo>
                  <a:cubicBezTo>
                    <a:pt x="207" y="18"/>
                    <a:pt x="204" y="11"/>
                    <a:pt x="200" y="6"/>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28"/>
            <p:cNvSpPr>
              <a:spLocks/>
            </p:cNvSpPr>
            <p:nvPr/>
          </p:nvSpPr>
          <p:spPr bwMode="auto">
            <a:xfrm>
              <a:off x="2946401" y="1673225"/>
              <a:ext cx="266700" cy="96838"/>
            </a:xfrm>
            <a:custGeom>
              <a:avLst/>
              <a:gdLst>
                <a:gd name="T0" fmla="*/ 49 w 140"/>
                <a:gd name="T1" fmla="*/ 1 h 51"/>
                <a:gd name="T2" fmla="*/ 139 w 140"/>
                <a:gd name="T3" fmla="*/ 8 h 51"/>
                <a:gd name="T4" fmla="*/ 140 w 140"/>
                <a:gd name="T5" fmla="*/ 9 h 51"/>
                <a:gd name="T6" fmla="*/ 139 w 140"/>
                <a:gd name="T7" fmla="*/ 10 h 51"/>
                <a:gd name="T8" fmla="*/ 97 w 140"/>
                <a:gd name="T9" fmla="*/ 51 h 51"/>
                <a:gd name="T10" fmla="*/ 96 w 140"/>
                <a:gd name="T11" fmla="*/ 51 h 51"/>
                <a:gd name="T12" fmla="*/ 22 w 140"/>
                <a:gd name="T13" fmla="*/ 34 h 51"/>
                <a:gd name="T14" fmla="*/ 11 w 140"/>
                <a:gd name="T15" fmla="*/ 31 h 51"/>
                <a:gd name="T16" fmla="*/ 0 w 140"/>
                <a:gd name="T17" fmla="*/ 30 h 51"/>
                <a:gd name="T18" fmla="*/ 3 w 140"/>
                <a:gd name="T19" fmla="*/ 27 h 51"/>
                <a:gd name="T20" fmla="*/ 24 w 140"/>
                <a:gd name="T21" fmla="*/ 7 h 51"/>
                <a:gd name="T22" fmla="*/ 49 w 140"/>
                <a:gd name="T23"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51">
                  <a:moveTo>
                    <a:pt x="49" y="1"/>
                  </a:moveTo>
                  <a:cubicBezTo>
                    <a:pt x="139" y="8"/>
                    <a:pt x="139" y="8"/>
                    <a:pt x="139" y="8"/>
                  </a:cubicBezTo>
                  <a:cubicBezTo>
                    <a:pt x="139" y="8"/>
                    <a:pt x="139" y="9"/>
                    <a:pt x="140" y="9"/>
                  </a:cubicBezTo>
                  <a:cubicBezTo>
                    <a:pt x="140" y="10"/>
                    <a:pt x="140" y="10"/>
                    <a:pt x="139" y="10"/>
                  </a:cubicBezTo>
                  <a:cubicBezTo>
                    <a:pt x="97" y="51"/>
                    <a:pt x="97" y="51"/>
                    <a:pt x="97" y="51"/>
                  </a:cubicBezTo>
                  <a:cubicBezTo>
                    <a:pt x="97" y="51"/>
                    <a:pt x="96" y="51"/>
                    <a:pt x="96" y="51"/>
                  </a:cubicBezTo>
                  <a:cubicBezTo>
                    <a:pt x="22" y="34"/>
                    <a:pt x="22" y="34"/>
                    <a:pt x="22" y="34"/>
                  </a:cubicBezTo>
                  <a:cubicBezTo>
                    <a:pt x="22" y="33"/>
                    <a:pt x="16" y="32"/>
                    <a:pt x="11" y="31"/>
                  </a:cubicBezTo>
                  <a:cubicBezTo>
                    <a:pt x="5" y="30"/>
                    <a:pt x="0" y="30"/>
                    <a:pt x="0" y="30"/>
                  </a:cubicBezTo>
                  <a:cubicBezTo>
                    <a:pt x="0" y="30"/>
                    <a:pt x="3" y="27"/>
                    <a:pt x="3" y="27"/>
                  </a:cubicBezTo>
                  <a:cubicBezTo>
                    <a:pt x="24" y="7"/>
                    <a:pt x="24" y="7"/>
                    <a:pt x="24" y="7"/>
                  </a:cubicBezTo>
                  <a:cubicBezTo>
                    <a:pt x="24" y="7"/>
                    <a:pt x="30" y="0"/>
                    <a:pt x="4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E89BABD7-279B-4882-A740-4C9331455A5A}"/>
              </a:ext>
            </a:extLst>
          </p:cNvPr>
          <p:cNvGrpSpPr/>
          <p:nvPr/>
        </p:nvGrpSpPr>
        <p:grpSpPr>
          <a:xfrm>
            <a:off x="1562383" y="1223384"/>
            <a:ext cx="868261" cy="813816"/>
            <a:chOff x="1500189" y="1362075"/>
            <a:chExt cx="868261" cy="813816"/>
          </a:xfrm>
        </p:grpSpPr>
        <p:sp>
          <p:nvSpPr>
            <p:cNvPr id="39" name="Freeform 29"/>
            <p:cNvSpPr>
              <a:spLocks noChangeAspect="1"/>
            </p:cNvSpPr>
            <p:nvPr/>
          </p:nvSpPr>
          <p:spPr bwMode="auto">
            <a:xfrm>
              <a:off x="1500189" y="1362075"/>
              <a:ext cx="868261" cy="813816"/>
            </a:xfrm>
            <a:custGeom>
              <a:avLst/>
              <a:gdLst>
                <a:gd name="T0" fmla="*/ 73 w 505"/>
                <a:gd name="T1" fmla="*/ 369 h 472"/>
                <a:gd name="T2" fmla="*/ 121 w 505"/>
                <a:gd name="T3" fmla="*/ 70 h 472"/>
                <a:gd name="T4" fmla="*/ 433 w 505"/>
                <a:gd name="T5" fmla="*/ 114 h 472"/>
                <a:gd name="T6" fmla="*/ 376 w 505"/>
                <a:gd name="T7" fmla="*/ 402 h 472"/>
                <a:gd name="T8" fmla="*/ 73 w 505"/>
                <a:gd name="T9" fmla="*/ 369 h 472"/>
              </a:gdLst>
              <a:ahLst/>
              <a:cxnLst>
                <a:cxn ang="0">
                  <a:pos x="T0" y="T1"/>
                </a:cxn>
                <a:cxn ang="0">
                  <a:pos x="T2" y="T3"/>
                </a:cxn>
                <a:cxn ang="0">
                  <a:pos x="T4" y="T5"/>
                </a:cxn>
                <a:cxn ang="0">
                  <a:pos x="T6" y="T7"/>
                </a:cxn>
                <a:cxn ang="0">
                  <a:pos x="T8" y="T9"/>
                </a:cxn>
              </a:cxnLst>
              <a:rect l="0" t="0" r="r" b="b"/>
              <a:pathLst>
                <a:path w="505" h="472">
                  <a:moveTo>
                    <a:pt x="73" y="369"/>
                  </a:moveTo>
                  <a:cubicBezTo>
                    <a:pt x="0" y="274"/>
                    <a:pt x="22" y="141"/>
                    <a:pt x="121" y="70"/>
                  </a:cubicBezTo>
                  <a:cubicBezTo>
                    <a:pt x="221" y="0"/>
                    <a:pt x="360" y="19"/>
                    <a:pt x="433" y="114"/>
                  </a:cubicBezTo>
                  <a:cubicBezTo>
                    <a:pt x="505" y="209"/>
                    <a:pt x="476" y="331"/>
                    <a:pt x="376" y="402"/>
                  </a:cubicBezTo>
                  <a:cubicBezTo>
                    <a:pt x="277" y="472"/>
                    <a:pt x="145" y="464"/>
                    <a:pt x="73" y="369"/>
                  </a:cubicBezTo>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0"/>
            <p:cNvSpPr>
              <a:spLocks/>
            </p:cNvSpPr>
            <p:nvPr/>
          </p:nvSpPr>
          <p:spPr bwMode="auto">
            <a:xfrm>
              <a:off x="1709234" y="1588583"/>
              <a:ext cx="450850" cy="369888"/>
            </a:xfrm>
            <a:custGeom>
              <a:avLst/>
              <a:gdLst>
                <a:gd name="T0" fmla="*/ 237 w 237"/>
                <a:gd name="T1" fmla="*/ 96 h 193"/>
                <a:gd name="T2" fmla="*/ 231 w 237"/>
                <a:gd name="T3" fmla="*/ 107 h 193"/>
                <a:gd name="T4" fmla="*/ 211 w 237"/>
                <a:gd name="T5" fmla="*/ 114 h 193"/>
                <a:gd name="T6" fmla="*/ 168 w 237"/>
                <a:gd name="T7" fmla="*/ 116 h 193"/>
                <a:gd name="T8" fmla="*/ 159 w 237"/>
                <a:gd name="T9" fmla="*/ 121 h 193"/>
                <a:gd name="T10" fmla="*/ 129 w 237"/>
                <a:gd name="T11" fmla="*/ 177 h 193"/>
                <a:gd name="T12" fmla="*/ 103 w 237"/>
                <a:gd name="T13" fmla="*/ 193 h 193"/>
                <a:gd name="T14" fmla="*/ 99 w 237"/>
                <a:gd name="T15" fmla="*/ 193 h 193"/>
                <a:gd name="T16" fmla="*/ 111 w 237"/>
                <a:gd name="T17" fmla="*/ 115 h 193"/>
                <a:gd name="T18" fmla="*/ 36 w 237"/>
                <a:gd name="T19" fmla="*/ 109 h 193"/>
                <a:gd name="T20" fmla="*/ 26 w 237"/>
                <a:gd name="T21" fmla="*/ 123 h 193"/>
                <a:gd name="T22" fmla="*/ 12 w 237"/>
                <a:gd name="T23" fmla="*/ 130 h 193"/>
                <a:gd name="T24" fmla="*/ 0 w 237"/>
                <a:gd name="T25" fmla="*/ 130 h 193"/>
                <a:gd name="T26" fmla="*/ 17 w 237"/>
                <a:gd name="T27" fmla="*/ 96 h 193"/>
                <a:gd name="T28" fmla="*/ 0 w 237"/>
                <a:gd name="T29" fmla="*/ 63 h 193"/>
                <a:gd name="T30" fmla="*/ 12 w 237"/>
                <a:gd name="T31" fmla="*/ 63 h 193"/>
                <a:gd name="T32" fmla="*/ 26 w 237"/>
                <a:gd name="T33" fmla="*/ 70 h 193"/>
                <a:gd name="T34" fmla="*/ 36 w 237"/>
                <a:gd name="T35" fmla="*/ 84 h 193"/>
                <a:gd name="T36" fmla="*/ 111 w 237"/>
                <a:gd name="T37" fmla="*/ 78 h 193"/>
                <a:gd name="T38" fmla="*/ 99 w 237"/>
                <a:gd name="T39" fmla="*/ 0 h 193"/>
                <a:gd name="T40" fmla="*/ 103 w 237"/>
                <a:gd name="T41" fmla="*/ 0 h 193"/>
                <a:gd name="T42" fmla="*/ 129 w 237"/>
                <a:gd name="T43" fmla="*/ 16 h 193"/>
                <a:gd name="T44" fmla="*/ 159 w 237"/>
                <a:gd name="T45" fmla="*/ 72 h 193"/>
                <a:gd name="T46" fmla="*/ 168 w 237"/>
                <a:gd name="T47" fmla="*/ 77 h 193"/>
                <a:gd name="T48" fmla="*/ 211 w 237"/>
                <a:gd name="T49" fmla="*/ 79 h 193"/>
                <a:gd name="T50" fmla="*/ 231 w 237"/>
                <a:gd name="T51" fmla="*/ 86 h 193"/>
                <a:gd name="T52" fmla="*/ 237 w 237"/>
                <a:gd name="T53" fmla="*/ 9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7" h="193">
                  <a:moveTo>
                    <a:pt x="237" y="96"/>
                  </a:moveTo>
                  <a:cubicBezTo>
                    <a:pt x="237" y="100"/>
                    <a:pt x="234" y="104"/>
                    <a:pt x="231" y="107"/>
                  </a:cubicBezTo>
                  <a:cubicBezTo>
                    <a:pt x="225" y="111"/>
                    <a:pt x="217" y="114"/>
                    <a:pt x="211" y="114"/>
                  </a:cubicBezTo>
                  <a:cubicBezTo>
                    <a:pt x="168" y="116"/>
                    <a:pt x="168" y="116"/>
                    <a:pt x="168" y="116"/>
                  </a:cubicBezTo>
                  <a:cubicBezTo>
                    <a:pt x="164" y="116"/>
                    <a:pt x="160" y="118"/>
                    <a:pt x="159" y="121"/>
                  </a:cubicBezTo>
                  <a:cubicBezTo>
                    <a:pt x="129" y="177"/>
                    <a:pt x="129" y="177"/>
                    <a:pt x="129" y="177"/>
                  </a:cubicBezTo>
                  <a:cubicBezTo>
                    <a:pt x="123" y="187"/>
                    <a:pt x="114" y="193"/>
                    <a:pt x="103" y="193"/>
                  </a:cubicBezTo>
                  <a:cubicBezTo>
                    <a:pt x="99" y="193"/>
                    <a:pt x="99" y="193"/>
                    <a:pt x="99" y="193"/>
                  </a:cubicBezTo>
                  <a:cubicBezTo>
                    <a:pt x="111" y="115"/>
                    <a:pt x="111" y="115"/>
                    <a:pt x="111" y="115"/>
                  </a:cubicBezTo>
                  <a:cubicBezTo>
                    <a:pt x="36" y="109"/>
                    <a:pt x="36" y="109"/>
                    <a:pt x="36" y="109"/>
                  </a:cubicBezTo>
                  <a:cubicBezTo>
                    <a:pt x="26" y="123"/>
                    <a:pt x="26" y="123"/>
                    <a:pt x="26" y="123"/>
                  </a:cubicBezTo>
                  <a:cubicBezTo>
                    <a:pt x="22" y="127"/>
                    <a:pt x="17" y="130"/>
                    <a:pt x="12" y="130"/>
                  </a:cubicBezTo>
                  <a:cubicBezTo>
                    <a:pt x="12" y="130"/>
                    <a:pt x="10" y="130"/>
                    <a:pt x="0" y="130"/>
                  </a:cubicBezTo>
                  <a:cubicBezTo>
                    <a:pt x="17" y="96"/>
                    <a:pt x="17" y="96"/>
                    <a:pt x="17" y="96"/>
                  </a:cubicBezTo>
                  <a:cubicBezTo>
                    <a:pt x="0" y="63"/>
                    <a:pt x="0" y="63"/>
                    <a:pt x="0" y="63"/>
                  </a:cubicBezTo>
                  <a:cubicBezTo>
                    <a:pt x="10" y="63"/>
                    <a:pt x="12" y="63"/>
                    <a:pt x="12" y="63"/>
                  </a:cubicBezTo>
                  <a:cubicBezTo>
                    <a:pt x="17" y="63"/>
                    <a:pt x="22" y="66"/>
                    <a:pt x="26" y="70"/>
                  </a:cubicBezTo>
                  <a:cubicBezTo>
                    <a:pt x="36" y="84"/>
                    <a:pt x="36" y="84"/>
                    <a:pt x="36" y="84"/>
                  </a:cubicBezTo>
                  <a:cubicBezTo>
                    <a:pt x="111" y="78"/>
                    <a:pt x="111" y="78"/>
                    <a:pt x="111" y="78"/>
                  </a:cubicBezTo>
                  <a:cubicBezTo>
                    <a:pt x="99" y="0"/>
                    <a:pt x="99" y="0"/>
                    <a:pt x="99" y="0"/>
                  </a:cubicBezTo>
                  <a:cubicBezTo>
                    <a:pt x="103" y="0"/>
                    <a:pt x="103" y="0"/>
                    <a:pt x="103" y="0"/>
                  </a:cubicBezTo>
                  <a:cubicBezTo>
                    <a:pt x="114" y="0"/>
                    <a:pt x="123" y="6"/>
                    <a:pt x="129" y="16"/>
                  </a:cubicBezTo>
                  <a:cubicBezTo>
                    <a:pt x="159" y="72"/>
                    <a:pt x="159" y="72"/>
                    <a:pt x="159" y="72"/>
                  </a:cubicBezTo>
                  <a:cubicBezTo>
                    <a:pt x="160" y="75"/>
                    <a:pt x="164" y="77"/>
                    <a:pt x="168" y="77"/>
                  </a:cubicBezTo>
                  <a:cubicBezTo>
                    <a:pt x="211" y="79"/>
                    <a:pt x="211" y="79"/>
                    <a:pt x="211" y="79"/>
                  </a:cubicBezTo>
                  <a:cubicBezTo>
                    <a:pt x="217" y="79"/>
                    <a:pt x="225" y="82"/>
                    <a:pt x="231" y="86"/>
                  </a:cubicBezTo>
                  <a:cubicBezTo>
                    <a:pt x="234" y="89"/>
                    <a:pt x="237" y="93"/>
                    <a:pt x="237" y="9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6" name="Group 365"/>
          <p:cNvGrpSpPr/>
          <p:nvPr/>
        </p:nvGrpSpPr>
        <p:grpSpPr>
          <a:xfrm>
            <a:off x="356395" y="1223384"/>
            <a:ext cx="868363" cy="815975"/>
            <a:chOff x="358776" y="1404938"/>
            <a:chExt cx="868363" cy="815975"/>
          </a:xfrm>
        </p:grpSpPr>
        <p:sp>
          <p:nvSpPr>
            <p:cNvPr id="41" name="Freeform 31"/>
            <p:cNvSpPr>
              <a:spLocks/>
            </p:cNvSpPr>
            <p:nvPr/>
          </p:nvSpPr>
          <p:spPr bwMode="auto">
            <a:xfrm>
              <a:off x="358776" y="1404938"/>
              <a:ext cx="868363" cy="815975"/>
            </a:xfrm>
            <a:custGeom>
              <a:avLst/>
              <a:gdLst>
                <a:gd name="T0" fmla="*/ 65 w 456"/>
                <a:gd name="T1" fmla="*/ 333 h 426"/>
                <a:gd name="T2" fmla="*/ 109 w 456"/>
                <a:gd name="T3" fmla="*/ 63 h 426"/>
                <a:gd name="T4" fmla="*/ 391 w 456"/>
                <a:gd name="T5" fmla="*/ 103 h 426"/>
                <a:gd name="T6" fmla="*/ 340 w 456"/>
                <a:gd name="T7" fmla="*/ 363 h 426"/>
                <a:gd name="T8" fmla="*/ 65 w 456"/>
                <a:gd name="T9" fmla="*/ 333 h 426"/>
              </a:gdLst>
              <a:ahLst/>
              <a:cxnLst>
                <a:cxn ang="0">
                  <a:pos x="T0" y="T1"/>
                </a:cxn>
                <a:cxn ang="0">
                  <a:pos x="T2" y="T3"/>
                </a:cxn>
                <a:cxn ang="0">
                  <a:pos x="T4" y="T5"/>
                </a:cxn>
                <a:cxn ang="0">
                  <a:pos x="T6" y="T7"/>
                </a:cxn>
                <a:cxn ang="0">
                  <a:pos x="T8" y="T9"/>
                </a:cxn>
              </a:cxnLst>
              <a:rect l="0" t="0" r="r" b="b"/>
              <a:pathLst>
                <a:path w="456" h="426">
                  <a:moveTo>
                    <a:pt x="65" y="333"/>
                  </a:moveTo>
                  <a:cubicBezTo>
                    <a:pt x="0" y="248"/>
                    <a:pt x="19" y="127"/>
                    <a:pt x="109" y="63"/>
                  </a:cubicBezTo>
                  <a:cubicBezTo>
                    <a:pt x="199" y="0"/>
                    <a:pt x="325" y="17"/>
                    <a:pt x="391" y="103"/>
                  </a:cubicBezTo>
                  <a:cubicBezTo>
                    <a:pt x="456" y="189"/>
                    <a:pt x="429" y="299"/>
                    <a:pt x="340" y="363"/>
                  </a:cubicBezTo>
                  <a:cubicBezTo>
                    <a:pt x="250" y="426"/>
                    <a:pt x="131" y="419"/>
                    <a:pt x="65" y="33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 name="Freeform 32"/>
            <p:cNvSpPr>
              <a:spLocks/>
            </p:cNvSpPr>
            <p:nvPr/>
          </p:nvSpPr>
          <p:spPr bwMode="auto">
            <a:xfrm>
              <a:off x="720726" y="1635125"/>
              <a:ext cx="149225" cy="160338"/>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3"/>
            <p:cNvSpPr>
              <a:spLocks/>
            </p:cNvSpPr>
            <p:nvPr/>
          </p:nvSpPr>
          <p:spPr bwMode="auto">
            <a:xfrm>
              <a:off x="654051" y="1814513"/>
              <a:ext cx="280988" cy="185738"/>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46" name="Group 545"/>
          <p:cNvGrpSpPr/>
          <p:nvPr/>
        </p:nvGrpSpPr>
        <p:grpSpPr>
          <a:xfrm>
            <a:off x="638970" y="2086502"/>
            <a:ext cx="303213" cy="100013"/>
            <a:chOff x="604838" y="2265385"/>
            <a:chExt cx="303213" cy="100013"/>
          </a:xfrm>
        </p:grpSpPr>
        <p:sp>
          <p:nvSpPr>
            <p:cNvPr id="375" name="Freeform 5"/>
            <p:cNvSpPr>
              <a:spLocks noEditPoints="1"/>
            </p:cNvSpPr>
            <p:nvPr/>
          </p:nvSpPr>
          <p:spPr bwMode="auto">
            <a:xfrm>
              <a:off x="604838" y="2273323"/>
              <a:ext cx="47625" cy="71438"/>
            </a:xfrm>
            <a:custGeom>
              <a:avLst/>
              <a:gdLst>
                <a:gd name="T0" fmla="*/ 10 w 26"/>
                <a:gd name="T1" fmla="*/ 0 h 39"/>
                <a:gd name="T2" fmla="*/ 22 w 26"/>
                <a:gd name="T3" fmla="*/ 3 h 39"/>
                <a:gd name="T4" fmla="*/ 26 w 26"/>
                <a:gd name="T5" fmla="*/ 12 h 39"/>
                <a:gd name="T6" fmla="*/ 25 w 26"/>
                <a:gd name="T7" fmla="*/ 18 h 39"/>
                <a:gd name="T8" fmla="*/ 22 w 26"/>
                <a:gd name="T9" fmla="*/ 22 h 39"/>
                <a:gd name="T10" fmla="*/ 17 w 26"/>
                <a:gd name="T11" fmla="*/ 24 h 39"/>
                <a:gd name="T12" fmla="*/ 9 w 26"/>
                <a:gd name="T13" fmla="*/ 24 h 39"/>
                <a:gd name="T14" fmla="*/ 4 w 26"/>
                <a:gd name="T15" fmla="*/ 24 h 39"/>
                <a:gd name="T16" fmla="*/ 4 w 26"/>
                <a:gd name="T17" fmla="*/ 39 h 39"/>
                <a:gd name="T18" fmla="*/ 0 w 26"/>
                <a:gd name="T19" fmla="*/ 39 h 39"/>
                <a:gd name="T20" fmla="*/ 0 w 26"/>
                <a:gd name="T21" fmla="*/ 1 h 39"/>
                <a:gd name="T22" fmla="*/ 5 w 26"/>
                <a:gd name="T23" fmla="*/ 1 h 39"/>
                <a:gd name="T24" fmla="*/ 10 w 26"/>
                <a:gd name="T25" fmla="*/ 0 h 39"/>
                <a:gd name="T26" fmla="*/ 10 w 26"/>
                <a:gd name="T27" fmla="*/ 4 h 39"/>
                <a:gd name="T28" fmla="*/ 7 w 26"/>
                <a:gd name="T29" fmla="*/ 4 h 39"/>
                <a:gd name="T30" fmla="*/ 4 w 26"/>
                <a:gd name="T31" fmla="*/ 4 h 39"/>
                <a:gd name="T32" fmla="*/ 4 w 26"/>
                <a:gd name="T33" fmla="*/ 21 h 39"/>
                <a:gd name="T34" fmla="*/ 9 w 26"/>
                <a:gd name="T35" fmla="*/ 21 h 39"/>
                <a:gd name="T36" fmla="*/ 15 w 26"/>
                <a:gd name="T37" fmla="*/ 21 h 39"/>
                <a:gd name="T38" fmla="*/ 19 w 26"/>
                <a:gd name="T39" fmla="*/ 19 h 39"/>
                <a:gd name="T40" fmla="*/ 22 w 26"/>
                <a:gd name="T41" fmla="*/ 17 h 39"/>
                <a:gd name="T42" fmla="*/ 22 w 26"/>
                <a:gd name="T43" fmla="*/ 12 h 39"/>
                <a:gd name="T44" fmla="*/ 21 w 26"/>
                <a:gd name="T45" fmla="*/ 8 h 39"/>
                <a:gd name="T46" fmla="*/ 19 w 26"/>
                <a:gd name="T47" fmla="*/ 5 h 39"/>
                <a:gd name="T48" fmla="*/ 15 w 26"/>
                <a:gd name="T49" fmla="*/ 4 h 39"/>
                <a:gd name="T50" fmla="*/ 10 w 26"/>
                <a:gd name="T51"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10" y="0"/>
                  </a:moveTo>
                  <a:cubicBezTo>
                    <a:pt x="16" y="0"/>
                    <a:pt x="20" y="1"/>
                    <a:pt x="22" y="3"/>
                  </a:cubicBezTo>
                  <a:cubicBezTo>
                    <a:pt x="25" y="6"/>
                    <a:pt x="26" y="9"/>
                    <a:pt x="26" y="12"/>
                  </a:cubicBezTo>
                  <a:cubicBezTo>
                    <a:pt x="26" y="15"/>
                    <a:pt x="26" y="16"/>
                    <a:pt x="25" y="18"/>
                  </a:cubicBezTo>
                  <a:cubicBezTo>
                    <a:pt x="24" y="20"/>
                    <a:pt x="23" y="21"/>
                    <a:pt x="22" y="22"/>
                  </a:cubicBezTo>
                  <a:cubicBezTo>
                    <a:pt x="20" y="23"/>
                    <a:pt x="19" y="23"/>
                    <a:pt x="17" y="24"/>
                  </a:cubicBezTo>
                  <a:cubicBezTo>
                    <a:pt x="14" y="24"/>
                    <a:pt x="12" y="24"/>
                    <a:pt x="9" y="24"/>
                  </a:cubicBezTo>
                  <a:cubicBezTo>
                    <a:pt x="4" y="24"/>
                    <a:pt x="4" y="24"/>
                    <a:pt x="4" y="24"/>
                  </a:cubicBezTo>
                  <a:cubicBezTo>
                    <a:pt x="4" y="39"/>
                    <a:pt x="4" y="39"/>
                    <a:pt x="4" y="39"/>
                  </a:cubicBezTo>
                  <a:cubicBezTo>
                    <a:pt x="0" y="39"/>
                    <a:pt x="0" y="39"/>
                    <a:pt x="0" y="39"/>
                  </a:cubicBezTo>
                  <a:cubicBezTo>
                    <a:pt x="0" y="1"/>
                    <a:pt x="0" y="1"/>
                    <a:pt x="0" y="1"/>
                  </a:cubicBezTo>
                  <a:cubicBezTo>
                    <a:pt x="2" y="1"/>
                    <a:pt x="3" y="1"/>
                    <a:pt x="5" y="1"/>
                  </a:cubicBezTo>
                  <a:cubicBezTo>
                    <a:pt x="7" y="0"/>
                    <a:pt x="9" y="0"/>
                    <a:pt x="10" y="0"/>
                  </a:cubicBezTo>
                  <a:close/>
                  <a:moveTo>
                    <a:pt x="10" y="4"/>
                  </a:moveTo>
                  <a:cubicBezTo>
                    <a:pt x="9" y="4"/>
                    <a:pt x="8" y="4"/>
                    <a:pt x="7" y="4"/>
                  </a:cubicBezTo>
                  <a:cubicBezTo>
                    <a:pt x="6" y="4"/>
                    <a:pt x="5" y="4"/>
                    <a:pt x="4" y="4"/>
                  </a:cubicBezTo>
                  <a:cubicBezTo>
                    <a:pt x="4" y="21"/>
                    <a:pt x="4" y="21"/>
                    <a:pt x="4" y="21"/>
                  </a:cubicBezTo>
                  <a:cubicBezTo>
                    <a:pt x="9" y="21"/>
                    <a:pt x="9" y="21"/>
                    <a:pt x="9" y="21"/>
                  </a:cubicBezTo>
                  <a:cubicBezTo>
                    <a:pt x="11" y="21"/>
                    <a:pt x="13" y="21"/>
                    <a:pt x="15" y="21"/>
                  </a:cubicBezTo>
                  <a:cubicBezTo>
                    <a:pt x="16" y="21"/>
                    <a:pt x="18" y="20"/>
                    <a:pt x="19" y="19"/>
                  </a:cubicBezTo>
                  <a:cubicBezTo>
                    <a:pt x="20" y="19"/>
                    <a:pt x="21" y="18"/>
                    <a:pt x="22" y="17"/>
                  </a:cubicBezTo>
                  <a:cubicBezTo>
                    <a:pt x="22" y="16"/>
                    <a:pt x="22" y="14"/>
                    <a:pt x="22" y="12"/>
                  </a:cubicBezTo>
                  <a:cubicBezTo>
                    <a:pt x="22" y="11"/>
                    <a:pt x="22" y="9"/>
                    <a:pt x="21" y="8"/>
                  </a:cubicBezTo>
                  <a:cubicBezTo>
                    <a:pt x="21" y="7"/>
                    <a:pt x="20" y="6"/>
                    <a:pt x="19" y="5"/>
                  </a:cubicBezTo>
                  <a:cubicBezTo>
                    <a:pt x="18" y="5"/>
                    <a:pt x="16" y="4"/>
                    <a:pt x="15" y="4"/>
                  </a:cubicBezTo>
                  <a:cubicBezTo>
                    <a:pt x="13" y="4"/>
                    <a:pt x="12" y="4"/>
                    <a:pt x="10" y="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6"/>
            <p:cNvSpPr>
              <a:spLocks noEditPoints="1"/>
            </p:cNvSpPr>
            <p:nvPr/>
          </p:nvSpPr>
          <p:spPr bwMode="auto">
            <a:xfrm>
              <a:off x="660401" y="2290785"/>
              <a:ext cx="46038" cy="55563"/>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5"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6"/>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7"/>
            <p:cNvSpPr>
              <a:spLocks noEditPoints="1"/>
            </p:cNvSpPr>
            <p:nvPr/>
          </p:nvSpPr>
          <p:spPr bwMode="auto">
            <a:xfrm>
              <a:off x="717551" y="2290785"/>
              <a:ext cx="47625" cy="55563"/>
            </a:xfrm>
            <a:custGeom>
              <a:avLst/>
              <a:gdLst>
                <a:gd name="T0" fmla="*/ 26 w 26"/>
                <a:gd name="T1" fmla="*/ 15 h 30"/>
                <a:gd name="T2" fmla="*/ 26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6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6"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6"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2"/>
                    <a:pt x="6" y="24"/>
                  </a:cubicBezTo>
                  <a:cubicBezTo>
                    <a:pt x="8" y="26"/>
                    <a:pt x="10" y="27"/>
                    <a:pt x="13" y="27"/>
                  </a:cubicBezTo>
                  <a:cubicBezTo>
                    <a:pt x="16" y="27"/>
                    <a:pt x="18"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8"/>
            <p:cNvSpPr>
              <a:spLocks noEditPoints="1"/>
            </p:cNvSpPr>
            <p:nvPr/>
          </p:nvSpPr>
          <p:spPr bwMode="auto">
            <a:xfrm>
              <a:off x="779463" y="2290785"/>
              <a:ext cx="46038" cy="74613"/>
            </a:xfrm>
            <a:custGeom>
              <a:avLst/>
              <a:gdLst>
                <a:gd name="T0" fmla="*/ 4 w 25"/>
                <a:gd name="T1" fmla="*/ 40 h 40"/>
                <a:gd name="T2" fmla="*/ 0 w 25"/>
                <a:gd name="T3" fmla="*/ 40 h 40"/>
                <a:gd name="T4" fmla="*/ 0 w 25"/>
                <a:gd name="T5" fmla="*/ 2 h 40"/>
                <a:gd name="T6" fmla="*/ 5 w 25"/>
                <a:gd name="T7" fmla="*/ 0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29 h 40"/>
                <a:gd name="T28" fmla="*/ 4 w 25"/>
                <a:gd name="T29" fmla="*/ 28 h 40"/>
                <a:gd name="T30" fmla="*/ 4 w 25"/>
                <a:gd name="T31" fmla="*/ 40 h 40"/>
                <a:gd name="T32" fmla="*/ 4 w 25"/>
                <a:gd name="T33" fmla="*/ 24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3 h 40"/>
                <a:gd name="T46" fmla="*/ 21 w 25"/>
                <a:gd name="T47" fmla="*/ 20 h 40"/>
                <a:gd name="T48" fmla="*/ 21 w 25"/>
                <a:gd name="T49" fmla="*/ 15 h 40"/>
                <a:gd name="T50" fmla="*/ 18 w 25"/>
                <a:gd name="T51" fmla="*/ 6 h 40"/>
                <a:gd name="T52" fmla="*/ 11 w 25"/>
                <a:gd name="T53" fmla="*/ 3 h 40"/>
                <a:gd name="T54" fmla="*/ 7 w 25"/>
                <a:gd name="T55" fmla="*/ 3 h 40"/>
                <a:gd name="T56" fmla="*/ 4 w 25"/>
                <a:gd name="T57" fmla="*/ 4 h 40"/>
                <a:gd name="T58" fmla="*/ 4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1" y="1"/>
                    <a:pt x="3" y="1"/>
                    <a:pt x="5" y="0"/>
                  </a:cubicBezTo>
                  <a:cubicBezTo>
                    <a:pt x="6" y="0"/>
                    <a:pt x="8" y="0"/>
                    <a:pt x="11" y="0"/>
                  </a:cubicBezTo>
                  <a:cubicBezTo>
                    <a:pt x="13" y="0"/>
                    <a:pt x="15" y="0"/>
                    <a:pt x="17" y="1"/>
                  </a:cubicBezTo>
                  <a:cubicBezTo>
                    <a:pt x="18" y="2"/>
                    <a:pt x="20" y="3"/>
                    <a:pt x="21" y="4"/>
                  </a:cubicBezTo>
                  <a:cubicBezTo>
                    <a:pt x="22" y="5"/>
                    <a:pt x="23" y="7"/>
                    <a:pt x="24" y="9"/>
                  </a:cubicBezTo>
                  <a:cubicBezTo>
                    <a:pt x="25" y="11"/>
                    <a:pt x="25" y="13"/>
                    <a:pt x="25" y="15"/>
                  </a:cubicBezTo>
                  <a:cubicBezTo>
                    <a:pt x="25" y="17"/>
                    <a:pt x="25" y="19"/>
                    <a:pt x="24" y="21"/>
                  </a:cubicBezTo>
                  <a:cubicBezTo>
                    <a:pt x="24" y="23"/>
                    <a:pt x="23" y="25"/>
                    <a:pt x="22" y="26"/>
                  </a:cubicBezTo>
                  <a:cubicBezTo>
                    <a:pt x="21" y="27"/>
                    <a:pt x="19" y="28"/>
                    <a:pt x="18" y="29"/>
                  </a:cubicBezTo>
                  <a:cubicBezTo>
                    <a:pt x="16" y="30"/>
                    <a:pt x="14" y="30"/>
                    <a:pt x="12" y="30"/>
                  </a:cubicBezTo>
                  <a:cubicBezTo>
                    <a:pt x="10" y="30"/>
                    <a:pt x="8" y="30"/>
                    <a:pt x="7" y="29"/>
                  </a:cubicBezTo>
                  <a:cubicBezTo>
                    <a:pt x="6" y="29"/>
                    <a:pt x="5" y="28"/>
                    <a:pt x="4" y="28"/>
                  </a:cubicBezTo>
                  <a:lnTo>
                    <a:pt x="4" y="40"/>
                  </a:lnTo>
                  <a:close/>
                  <a:moveTo>
                    <a:pt x="4" y="24"/>
                  </a:moveTo>
                  <a:cubicBezTo>
                    <a:pt x="4" y="25"/>
                    <a:pt x="5" y="25"/>
                    <a:pt x="5" y="25"/>
                  </a:cubicBezTo>
                  <a:cubicBezTo>
                    <a:pt x="6" y="25"/>
                    <a:pt x="6" y="26"/>
                    <a:pt x="7" y="26"/>
                  </a:cubicBezTo>
                  <a:cubicBezTo>
                    <a:pt x="8" y="26"/>
                    <a:pt x="8" y="26"/>
                    <a:pt x="9" y="27"/>
                  </a:cubicBezTo>
                  <a:cubicBezTo>
                    <a:pt x="10" y="27"/>
                    <a:pt x="11" y="27"/>
                    <a:pt x="12" y="27"/>
                  </a:cubicBezTo>
                  <a:cubicBezTo>
                    <a:pt x="13" y="27"/>
                    <a:pt x="15" y="27"/>
                    <a:pt x="16" y="26"/>
                  </a:cubicBezTo>
                  <a:cubicBezTo>
                    <a:pt x="17" y="25"/>
                    <a:pt x="18" y="24"/>
                    <a:pt x="19" y="23"/>
                  </a:cubicBezTo>
                  <a:cubicBezTo>
                    <a:pt x="20" y="22"/>
                    <a:pt x="20" y="21"/>
                    <a:pt x="21" y="20"/>
                  </a:cubicBezTo>
                  <a:cubicBezTo>
                    <a:pt x="21" y="18"/>
                    <a:pt x="21" y="17"/>
                    <a:pt x="21" y="15"/>
                  </a:cubicBezTo>
                  <a:cubicBezTo>
                    <a:pt x="21" y="11"/>
                    <a:pt x="20" y="8"/>
                    <a:pt x="18" y="6"/>
                  </a:cubicBezTo>
                  <a:cubicBezTo>
                    <a:pt x="17" y="4"/>
                    <a:pt x="14" y="3"/>
                    <a:pt x="11" y="3"/>
                  </a:cubicBezTo>
                  <a:cubicBezTo>
                    <a:pt x="9" y="3"/>
                    <a:pt x="8" y="3"/>
                    <a:pt x="7" y="3"/>
                  </a:cubicBezTo>
                  <a:cubicBezTo>
                    <a:pt x="5" y="4"/>
                    <a:pt x="5" y="4"/>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9"/>
            <p:cNvSpPr>
              <a:spLocks/>
            </p:cNvSpPr>
            <p:nvPr/>
          </p:nvSpPr>
          <p:spPr bwMode="auto">
            <a:xfrm>
              <a:off x="839788" y="2265385"/>
              <a:ext cx="14288" cy="80963"/>
            </a:xfrm>
            <a:custGeom>
              <a:avLst/>
              <a:gdLst>
                <a:gd name="T0" fmla="*/ 7 w 8"/>
                <a:gd name="T1" fmla="*/ 44 h 44"/>
                <a:gd name="T2" fmla="*/ 4 w 8"/>
                <a:gd name="T3" fmla="*/ 43 h 44"/>
                <a:gd name="T4" fmla="*/ 2 w 8"/>
                <a:gd name="T5" fmla="*/ 42 h 44"/>
                <a:gd name="T6" fmla="*/ 0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4" y="40"/>
                    <a:pt x="5"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10"/>
            <p:cNvSpPr>
              <a:spLocks noEditPoints="1"/>
            </p:cNvSpPr>
            <p:nvPr/>
          </p:nvSpPr>
          <p:spPr bwMode="auto">
            <a:xfrm>
              <a:off x="863601" y="2290785"/>
              <a:ext cx="44450" cy="55563"/>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3" y="16"/>
                    <a:pt x="3" y="16"/>
                    <a:pt x="3" y="16"/>
                  </a:cubicBezTo>
                  <a:cubicBezTo>
                    <a:pt x="4" y="19"/>
                    <a:pt x="4" y="22"/>
                    <a:pt x="6" y="24"/>
                  </a:cubicBezTo>
                  <a:cubicBezTo>
                    <a:pt x="8" y="26"/>
                    <a:pt x="10" y="27"/>
                    <a:pt x="14" y="27"/>
                  </a:cubicBezTo>
                  <a:cubicBezTo>
                    <a:pt x="16" y="27"/>
                    <a:pt x="17" y="27"/>
                    <a:pt x="19" y="26"/>
                  </a:cubicBezTo>
                  <a:cubicBezTo>
                    <a:pt x="20" y="26"/>
                    <a:pt x="21" y="26"/>
                    <a:pt x="21" y="25"/>
                  </a:cubicBezTo>
                  <a:cubicBezTo>
                    <a:pt x="22" y="28"/>
                    <a:pt x="22" y="28"/>
                    <a:pt x="22" y="28"/>
                  </a:cubicBezTo>
                  <a:cubicBezTo>
                    <a:pt x="21" y="29"/>
                    <a:pt x="20" y="29"/>
                    <a:pt x="19" y="29"/>
                  </a:cubicBezTo>
                  <a:cubicBezTo>
                    <a:pt x="17" y="30"/>
                    <a:pt x="16" y="30"/>
                    <a:pt x="14" y="30"/>
                  </a:cubicBezTo>
                  <a:cubicBezTo>
                    <a:pt x="11" y="30"/>
                    <a:pt x="9" y="30"/>
                    <a:pt x="7" y="29"/>
                  </a:cubicBezTo>
                  <a:cubicBezTo>
                    <a:pt x="6"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7" name="Group 546"/>
          <p:cNvGrpSpPr/>
          <p:nvPr/>
        </p:nvGrpSpPr>
        <p:grpSpPr>
          <a:xfrm>
            <a:off x="1809188" y="2086502"/>
            <a:ext cx="374651" cy="100013"/>
            <a:chOff x="1700213" y="2265385"/>
            <a:chExt cx="374651" cy="100013"/>
          </a:xfrm>
        </p:grpSpPr>
        <p:sp>
          <p:nvSpPr>
            <p:cNvPr id="381" name="Freeform 11"/>
            <p:cNvSpPr>
              <a:spLocks noEditPoints="1"/>
            </p:cNvSpPr>
            <p:nvPr/>
          </p:nvSpPr>
          <p:spPr bwMode="auto">
            <a:xfrm>
              <a:off x="1700213" y="2274910"/>
              <a:ext cx="63500" cy="69851"/>
            </a:xfrm>
            <a:custGeom>
              <a:avLst/>
              <a:gdLst>
                <a:gd name="T0" fmla="*/ 31 w 35"/>
                <a:gd name="T1" fmla="*/ 38 h 38"/>
                <a:gd name="T2" fmla="*/ 29 w 35"/>
                <a:gd name="T3" fmla="*/ 33 h 38"/>
                <a:gd name="T4" fmla="*/ 27 w 35"/>
                <a:gd name="T5" fmla="*/ 28 h 38"/>
                <a:gd name="T6" fmla="*/ 8 w 35"/>
                <a:gd name="T7" fmla="*/ 28 h 38"/>
                <a:gd name="T8" fmla="*/ 6 w 35"/>
                <a:gd name="T9" fmla="*/ 33 h 38"/>
                <a:gd name="T10" fmla="*/ 4 w 35"/>
                <a:gd name="T11" fmla="*/ 38 h 38"/>
                <a:gd name="T12" fmla="*/ 0 w 35"/>
                <a:gd name="T13" fmla="*/ 38 h 38"/>
                <a:gd name="T14" fmla="*/ 5 w 35"/>
                <a:gd name="T15" fmla="*/ 27 h 38"/>
                <a:gd name="T16" fmla="*/ 8 w 35"/>
                <a:gd name="T17" fmla="*/ 17 h 38"/>
                <a:gd name="T18" fmla="*/ 12 w 35"/>
                <a:gd name="T19" fmla="*/ 8 h 38"/>
                <a:gd name="T20" fmla="*/ 16 w 35"/>
                <a:gd name="T21" fmla="*/ 0 h 38"/>
                <a:gd name="T22" fmla="*/ 20 w 35"/>
                <a:gd name="T23" fmla="*/ 0 h 38"/>
                <a:gd name="T24" fmla="*/ 23 w 35"/>
                <a:gd name="T25" fmla="*/ 8 h 38"/>
                <a:gd name="T26" fmla="*/ 27 w 35"/>
                <a:gd name="T27" fmla="*/ 17 h 38"/>
                <a:gd name="T28" fmla="*/ 31 w 35"/>
                <a:gd name="T29" fmla="*/ 27 h 38"/>
                <a:gd name="T30" fmla="*/ 35 w 35"/>
                <a:gd name="T31" fmla="*/ 38 h 38"/>
                <a:gd name="T32" fmla="*/ 31 w 35"/>
                <a:gd name="T33" fmla="*/ 38 h 38"/>
                <a:gd name="T34" fmla="*/ 18 w 35"/>
                <a:gd name="T35" fmla="*/ 4 h 38"/>
                <a:gd name="T36" fmla="*/ 14 w 35"/>
                <a:gd name="T37" fmla="*/ 14 h 38"/>
                <a:gd name="T38" fmla="*/ 9 w 35"/>
                <a:gd name="T39" fmla="*/ 25 h 38"/>
                <a:gd name="T40" fmla="*/ 26 w 35"/>
                <a:gd name="T41" fmla="*/ 25 h 38"/>
                <a:gd name="T42" fmla="*/ 22 w 35"/>
                <a:gd name="T43" fmla="*/ 14 h 38"/>
                <a:gd name="T44" fmla="*/ 18 w 35"/>
                <a:gd name="T4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8">
                  <a:moveTo>
                    <a:pt x="31" y="38"/>
                  </a:moveTo>
                  <a:cubicBezTo>
                    <a:pt x="30" y="37"/>
                    <a:pt x="30" y="35"/>
                    <a:pt x="29" y="33"/>
                  </a:cubicBezTo>
                  <a:cubicBezTo>
                    <a:pt x="28" y="31"/>
                    <a:pt x="28" y="29"/>
                    <a:pt x="27" y="28"/>
                  </a:cubicBezTo>
                  <a:cubicBezTo>
                    <a:pt x="8" y="28"/>
                    <a:pt x="8" y="28"/>
                    <a:pt x="8" y="28"/>
                  </a:cubicBezTo>
                  <a:cubicBezTo>
                    <a:pt x="8" y="29"/>
                    <a:pt x="7" y="31"/>
                    <a:pt x="6" y="33"/>
                  </a:cubicBezTo>
                  <a:cubicBezTo>
                    <a:pt x="6" y="35"/>
                    <a:pt x="5" y="37"/>
                    <a:pt x="4" y="38"/>
                  </a:cubicBezTo>
                  <a:cubicBezTo>
                    <a:pt x="0" y="38"/>
                    <a:pt x="0" y="38"/>
                    <a:pt x="0" y="38"/>
                  </a:cubicBezTo>
                  <a:cubicBezTo>
                    <a:pt x="2" y="34"/>
                    <a:pt x="3" y="31"/>
                    <a:pt x="5" y="27"/>
                  </a:cubicBezTo>
                  <a:cubicBezTo>
                    <a:pt x="6" y="24"/>
                    <a:pt x="7" y="20"/>
                    <a:pt x="8" y="17"/>
                  </a:cubicBezTo>
                  <a:cubicBezTo>
                    <a:pt x="10" y="14"/>
                    <a:pt x="11" y="11"/>
                    <a:pt x="12" y="8"/>
                  </a:cubicBezTo>
                  <a:cubicBezTo>
                    <a:pt x="13" y="5"/>
                    <a:pt x="15" y="3"/>
                    <a:pt x="16" y="0"/>
                  </a:cubicBezTo>
                  <a:cubicBezTo>
                    <a:pt x="20" y="0"/>
                    <a:pt x="20" y="0"/>
                    <a:pt x="20" y="0"/>
                  </a:cubicBezTo>
                  <a:cubicBezTo>
                    <a:pt x="21" y="3"/>
                    <a:pt x="22" y="5"/>
                    <a:pt x="23" y="8"/>
                  </a:cubicBezTo>
                  <a:cubicBezTo>
                    <a:pt x="25" y="11"/>
                    <a:pt x="26" y="14"/>
                    <a:pt x="27" y="17"/>
                  </a:cubicBezTo>
                  <a:cubicBezTo>
                    <a:pt x="28" y="20"/>
                    <a:pt x="30" y="24"/>
                    <a:pt x="31" y="27"/>
                  </a:cubicBezTo>
                  <a:cubicBezTo>
                    <a:pt x="32" y="31"/>
                    <a:pt x="34" y="34"/>
                    <a:pt x="35" y="38"/>
                  </a:cubicBezTo>
                  <a:lnTo>
                    <a:pt x="31" y="38"/>
                  </a:lnTo>
                  <a:close/>
                  <a:moveTo>
                    <a:pt x="18" y="4"/>
                  </a:moveTo>
                  <a:cubicBezTo>
                    <a:pt x="16" y="7"/>
                    <a:pt x="15" y="11"/>
                    <a:pt x="14" y="14"/>
                  </a:cubicBezTo>
                  <a:cubicBezTo>
                    <a:pt x="12" y="17"/>
                    <a:pt x="11" y="21"/>
                    <a:pt x="9" y="25"/>
                  </a:cubicBezTo>
                  <a:cubicBezTo>
                    <a:pt x="26" y="25"/>
                    <a:pt x="26" y="25"/>
                    <a:pt x="26" y="25"/>
                  </a:cubicBezTo>
                  <a:cubicBezTo>
                    <a:pt x="25" y="21"/>
                    <a:pt x="23" y="17"/>
                    <a:pt x="22" y="14"/>
                  </a:cubicBezTo>
                  <a:cubicBezTo>
                    <a:pt x="21" y="10"/>
                    <a:pt x="19" y="7"/>
                    <a:pt x="18" y="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12"/>
            <p:cNvSpPr>
              <a:spLocks noEditPoints="1"/>
            </p:cNvSpPr>
            <p:nvPr/>
          </p:nvSpPr>
          <p:spPr bwMode="auto">
            <a:xfrm>
              <a:off x="1773238" y="2271735"/>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1 w 5"/>
                <a:gd name="T21" fmla="*/ 40 h 40"/>
                <a:gd name="T22" fmla="*/ 1 w 5"/>
                <a:gd name="T23" fmla="*/ 12 h 40"/>
                <a:gd name="T24" fmla="*/ 4 w 5"/>
                <a:gd name="T25" fmla="*/ 12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1" y="40"/>
                    <a:pt x="1" y="40"/>
                    <a:pt x="1" y="40"/>
                  </a:cubicBezTo>
                  <a:cubicBezTo>
                    <a:pt x="1" y="12"/>
                    <a:pt x="1" y="12"/>
                    <a:pt x="1" y="12"/>
                  </a:cubicBezTo>
                  <a:cubicBezTo>
                    <a:pt x="4" y="12"/>
                    <a:pt x="4" y="12"/>
                    <a:pt x="4" y="12"/>
                  </a:cubicBezTo>
                  <a:lnTo>
                    <a:pt x="4"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3"/>
            <p:cNvSpPr>
              <a:spLocks/>
            </p:cNvSpPr>
            <p:nvPr/>
          </p:nvSpPr>
          <p:spPr bwMode="auto">
            <a:xfrm>
              <a:off x="1798638" y="2290785"/>
              <a:ext cx="26988" cy="53976"/>
            </a:xfrm>
            <a:custGeom>
              <a:avLst/>
              <a:gdLst>
                <a:gd name="T0" fmla="*/ 10 w 15"/>
                <a:gd name="T1" fmla="*/ 0 h 29"/>
                <a:gd name="T2" fmla="*/ 13 w 15"/>
                <a:gd name="T3" fmla="*/ 0 h 29"/>
                <a:gd name="T4" fmla="*/ 15 w 15"/>
                <a:gd name="T5" fmla="*/ 1 h 29"/>
                <a:gd name="T6" fmla="*/ 15 w 15"/>
                <a:gd name="T7" fmla="*/ 4 h 29"/>
                <a:gd name="T8" fmla="*/ 13 w 15"/>
                <a:gd name="T9" fmla="*/ 3 h 29"/>
                <a:gd name="T10" fmla="*/ 9 w 15"/>
                <a:gd name="T11" fmla="*/ 3 h 29"/>
                <a:gd name="T12" fmla="*/ 5 w 15"/>
                <a:gd name="T13" fmla="*/ 4 h 29"/>
                <a:gd name="T14" fmla="*/ 4 w 15"/>
                <a:gd name="T15" fmla="*/ 4 h 29"/>
                <a:gd name="T16" fmla="*/ 4 w 15"/>
                <a:gd name="T17" fmla="*/ 29 h 29"/>
                <a:gd name="T18" fmla="*/ 0 w 15"/>
                <a:gd name="T19" fmla="*/ 29 h 29"/>
                <a:gd name="T20" fmla="*/ 0 w 15"/>
                <a:gd name="T21" fmla="*/ 2 h 29"/>
                <a:gd name="T22" fmla="*/ 4 w 15"/>
                <a:gd name="T23" fmla="*/ 1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1"/>
                    <a:pt x="15" y="1"/>
                  </a:cubicBezTo>
                  <a:cubicBezTo>
                    <a:pt x="15" y="4"/>
                    <a:pt x="15" y="4"/>
                    <a:pt x="15" y="4"/>
                  </a:cubicBezTo>
                  <a:cubicBezTo>
                    <a:pt x="14" y="4"/>
                    <a:pt x="14" y="4"/>
                    <a:pt x="13" y="3"/>
                  </a:cubicBezTo>
                  <a:cubicBezTo>
                    <a:pt x="12" y="3"/>
                    <a:pt x="11" y="3"/>
                    <a:pt x="9" y="3"/>
                  </a:cubicBezTo>
                  <a:cubicBezTo>
                    <a:pt x="8" y="3"/>
                    <a:pt x="6" y="3"/>
                    <a:pt x="5" y="4"/>
                  </a:cubicBezTo>
                  <a:cubicBezTo>
                    <a:pt x="4" y="4"/>
                    <a:pt x="4" y="4"/>
                    <a:pt x="4" y="4"/>
                  </a:cubicBezTo>
                  <a:cubicBezTo>
                    <a:pt x="4" y="29"/>
                    <a:pt x="4" y="29"/>
                    <a:pt x="4" y="29"/>
                  </a:cubicBezTo>
                  <a:cubicBezTo>
                    <a:pt x="0" y="29"/>
                    <a:pt x="0" y="29"/>
                    <a:pt x="0" y="29"/>
                  </a:cubicBezTo>
                  <a:cubicBezTo>
                    <a:pt x="0" y="2"/>
                    <a:pt x="0" y="2"/>
                    <a:pt x="0" y="2"/>
                  </a:cubicBezTo>
                  <a:cubicBezTo>
                    <a:pt x="1" y="1"/>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4"/>
            <p:cNvSpPr>
              <a:spLocks noEditPoints="1"/>
            </p:cNvSpPr>
            <p:nvPr/>
          </p:nvSpPr>
          <p:spPr bwMode="auto">
            <a:xfrm>
              <a:off x="1836738" y="2290785"/>
              <a:ext cx="46038" cy="74613"/>
            </a:xfrm>
            <a:custGeom>
              <a:avLst/>
              <a:gdLst>
                <a:gd name="T0" fmla="*/ 3 w 25"/>
                <a:gd name="T1" fmla="*/ 40 h 40"/>
                <a:gd name="T2" fmla="*/ 0 w 25"/>
                <a:gd name="T3" fmla="*/ 40 h 40"/>
                <a:gd name="T4" fmla="*/ 0 w 25"/>
                <a:gd name="T5" fmla="*/ 2 h 40"/>
                <a:gd name="T6" fmla="*/ 4 w 25"/>
                <a:gd name="T7" fmla="*/ 0 h 40"/>
                <a:gd name="T8" fmla="*/ 10 w 25"/>
                <a:gd name="T9" fmla="*/ 0 h 40"/>
                <a:gd name="T10" fmla="*/ 16 w 25"/>
                <a:gd name="T11" fmla="*/ 1 h 40"/>
                <a:gd name="T12" fmla="*/ 21 w 25"/>
                <a:gd name="T13" fmla="*/ 4 h 40"/>
                <a:gd name="T14" fmla="*/ 24 w 25"/>
                <a:gd name="T15" fmla="*/ 9 h 40"/>
                <a:gd name="T16" fmla="*/ 25 w 25"/>
                <a:gd name="T17" fmla="*/ 15 h 40"/>
                <a:gd name="T18" fmla="*/ 24 w 25"/>
                <a:gd name="T19" fmla="*/ 21 h 40"/>
                <a:gd name="T20" fmla="*/ 21 w 25"/>
                <a:gd name="T21" fmla="*/ 26 h 40"/>
                <a:gd name="T22" fmla="*/ 17 w 25"/>
                <a:gd name="T23" fmla="*/ 29 h 40"/>
                <a:gd name="T24" fmla="*/ 11 w 25"/>
                <a:gd name="T25" fmla="*/ 30 h 40"/>
                <a:gd name="T26" fmla="*/ 7 w 25"/>
                <a:gd name="T27" fmla="*/ 29 h 40"/>
                <a:gd name="T28" fmla="*/ 3 w 25"/>
                <a:gd name="T29" fmla="*/ 28 h 40"/>
                <a:gd name="T30" fmla="*/ 3 w 25"/>
                <a:gd name="T31" fmla="*/ 40 h 40"/>
                <a:gd name="T32" fmla="*/ 3 w 25"/>
                <a:gd name="T33" fmla="*/ 24 h 40"/>
                <a:gd name="T34" fmla="*/ 5 w 25"/>
                <a:gd name="T35" fmla="*/ 25 h 40"/>
                <a:gd name="T36" fmla="*/ 6 w 25"/>
                <a:gd name="T37" fmla="*/ 26 h 40"/>
                <a:gd name="T38" fmla="*/ 9 w 25"/>
                <a:gd name="T39" fmla="*/ 27 h 40"/>
                <a:gd name="T40" fmla="*/ 11 w 25"/>
                <a:gd name="T41" fmla="*/ 27 h 40"/>
                <a:gd name="T42" fmla="*/ 16 w 25"/>
                <a:gd name="T43" fmla="*/ 26 h 40"/>
                <a:gd name="T44" fmla="*/ 19 w 25"/>
                <a:gd name="T45" fmla="*/ 23 h 40"/>
                <a:gd name="T46" fmla="*/ 20 w 25"/>
                <a:gd name="T47" fmla="*/ 20 h 40"/>
                <a:gd name="T48" fmla="*/ 21 w 25"/>
                <a:gd name="T49" fmla="*/ 15 h 40"/>
                <a:gd name="T50" fmla="*/ 18 w 25"/>
                <a:gd name="T51" fmla="*/ 6 h 40"/>
                <a:gd name="T52" fmla="*/ 10 w 25"/>
                <a:gd name="T53" fmla="*/ 3 h 40"/>
                <a:gd name="T54" fmla="*/ 6 w 25"/>
                <a:gd name="T55" fmla="*/ 3 h 40"/>
                <a:gd name="T56" fmla="*/ 3 w 25"/>
                <a:gd name="T57" fmla="*/ 4 h 40"/>
                <a:gd name="T58" fmla="*/ 3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3" y="40"/>
                  </a:moveTo>
                  <a:cubicBezTo>
                    <a:pt x="0" y="40"/>
                    <a:pt x="0" y="40"/>
                    <a:pt x="0" y="40"/>
                  </a:cubicBezTo>
                  <a:cubicBezTo>
                    <a:pt x="0" y="2"/>
                    <a:pt x="0" y="2"/>
                    <a:pt x="0" y="2"/>
                  </a:cubicBezTo>
                  <a:cubicBezTo>
                    <a:pt x="1" y="1"/>
                    <a:pt x="2" y="1"/>
                    <a:pt x="4" y="0"/>
                  </a:cubicBezTo>
                  <a:cubicBezTo>
                    <a:pt x="6" y="0"/>
                    <a:pt x="8" y="0"/>
                    <a:pt x="10" y="0"/>
                  </a:cubicBezTo>
                  <a:cubicBezTo>
                    <a:pt x="12" y="0"/>
                    <a:pt x="14" y="0"/>
                    <a:pt x="16" y="1"/>
                  </a:cubicBezTo>
                  <a:cubicBezTo>
                    <a:pt x="18" y="2"/>
                    <a:pt x="19" y="3"/>
                    <a:pt x="21" y="4"/>
                  </a:cubicBezTo>
                  <a:cubicBezTo>
                    <a:pt x="22" y="5"/>
                    <a:pt x="23" y="7"/>
                    <a:pt x="24" y="9"/>
                  </a:cubicBezTo>
                  <a:cubicBezTo>
                    <a:pt x="24" y="11"/>
                    <a:pt x="25" y="13"/>
                    <a:pt x="25" y="15"/>
                  </a:cubicBezTo>
                  <a:cubicBezTo>
                    <a:pt x="25" y="17"/>
                    <a:pt x="24" y="19"/>
                    <a:pt x="24" y="21"/>
                  </a:cubicBezTo>
                  <a:cubicBezTo>
                    <a:pt x="23" y="23"/>
                    <a:pt x="22" y="25"/>
                    <a:pt x="21" y="26"/>
                  </a:cubicBezTo>
                  <a:cubicBezTo>
                    <a:pt x="20" y="27"/>
                    <a:pt x="19" y="28"/>
                    <a:pt x="17" y="29"/>
                  </a:cubicBezTo>
                  <a:cubicBezTo>
                    <a:pt x="15" y="30"/>
                    <a:pt x="14" y="30"/>
                    <a:pt x="11" y="30"/>
                  </a:cubicBezTo>
                  <a:cubicBezTo>
                    <a:pt x="10" y="30"/>
                    <a:pt x="8" y="30"/>
                    <a:pt x="7" y="29"/>
                  </a:cubicBezTo>
                  <a:cubicBezTo>
                    <a:pt x="5" y="29"/>
                    <a:pt x="4" y="28"/>
                    <a:pt x="3" y="28"/>
                  </a:cubicBezTo>
                  <a:lnTo>
                    <a:pt x="3" y="40"/>
                  </a:lnTo>
                  <a:close/>
                  <a:moveTo>
                    <a:pt x="3" y="24"/>
                  </a:moveTo>
                  <a:cubicBezTo>
                    <a:pt x="4" y="25"/>
                    <a:pt x="4" y="25"/>
                    <a:pt x="5" y="25"/>
                  </a:cubicBezTo>
                  <a:cubicBezTo>
                    <a:pt x="5" y="25"/>
                    <a:pt x="6" y="26"/>
                    <a:pt x="6" y="26"/>
                  </a:cubicBezTo>
                  <a:cubicBezTo>
                    <a:pt x="7" y="26"/>
                    <a:pt x="8" y="26"/>
                    <a:pt x="9" y="27"/>
                  </a:cubicBezTo>
                  <a:cubicBezTo>
                    <a:pt x="9" y="27"/>
                    <a:pt x="10" y="27"/>
                    <a:pt x="11" y="27"/>
                  </a:cubicBezTo>
                  <a:cubicBezTo>
                    <a:pt x="13" y="27"/>
                    <a:pt x="14" y="27"/>
                    <a:pt x="16" y="26"/>
                  </a:cubicBezTo>
                  <a:cubicBezTo>
                    <a:pt x="17" y="25"/>
                    <a:pt x="18" y="24"/>
                    <a:pt x="19" y="23"/>
                  </a:cubicBezTo>
                  <a:cubicBezTo>
                    <a:pt x="19" y="22"/>
                    <a:pt x="20" y="21"/>
                    <a:pt x="20" y="20"/>
                  </a:cubicBezTo>
                  <a:cubicBezTo>
                    <a:pt x="21" y="18"/>
                    <a:pt x="21" y="17"/>
                    <a:pt x="21" y="15"/>
                  </a:cubicBezTo>
                  <a:cubicBezTo>
                    <a:pt x="21" y="11"/>
                    <a:pt x="20"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5"/>
            <p:cNvSpPr>
              <a:spLocks/>
            </p:cNvSpPr>
            <p:nvPr/>
          </p:nvSpPr>
          <p:spPr bwMode="auto">
            <a:xfrm>
              <a:off x="1895476" y="2265385"/>
              <a:ext cx="14288" cy="80963"/>
            </a:xfrm>
            <a:custGeom>
              <a:avLst/>
              <a:gdLst>
                <a:gd name="T0" fmla="*/ 8 w 8"/>
                <a:gd name="T1" fmla="*/ 44 h 44"/>
                <a:gd name="T2" fmla="*/ 5 w 8"/>
                <a:gd name="T3" fmla="*/ 43 h 44"/>
                <a:gd name="T4" fmla="*/ 2 w 8"/>
                <a:gd name="T5" fmla="*/ 42 h 44"/>
                <a:gd name="T6" fmla="*/ 1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7" y="44"/>
                    <a:pt x="5" y="44"/>
                    <a:pt x="5" y="43"/>
                  </a:cubicBezTo>
                  <a:cubicBezTo>
                    <a:pt x="4" y="43"/>
                    <a:pt x="3" y="43"/>
                    <a:pt x="2" y="42"/>
                  </a:cubicBezTo>
                  <a:cubicBezTo>
                    <a:pt x="2" y="42"/>
                    <a:pt x="1" y="41"/>
                    <a:pt x="1" y="40"/>
                  </a:cubicBezTo>
                  <a:cubicBezTo>
                    <a:pt x="1"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5" y="40"/>
                    <a:pt x="5" y="40"/>
                  </a:cubicBezTo>
                  <a:cubicBezTo>
                    <a:pt x="5" y="40"/>
                    <a:pt x="6" y="40"/>
                    <a:pt x="6" y="41"/>
                  </a:cubicBezTo>
                  <a:cubicBezTo>
                    <a:pt x="7" y="41"/>
                    <a:pt x="8" y="41"/>
                    <a:pt x="8" y="41"/>
                  </a:cubicBezTo>
                  <a:lnTo>
                    <a:pt x="8"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noEditPoints="1"/>
            </p:cNvSpPr>
            <p:nvPr/>
          </p:nvSpPr>
          <p:spPr bwMode="auto">
            <a:xfrm>
              <a:off x="1919288" y="2290785"/>
              <a:ext cx="38100" cy="55563"/>
            </a:xfrm>
            <a:custGeom>
              <a:avLst/>
              <a:gdLst>
                <a:gd name="T0" fmla="*/ 11 w 21"/>
                <a:gd name="T1" fmla="*/ 0 h 30"/>
                <a:gd name="T2" fmla="*/ 15 w 21"/>
                <a:gd name="T3" fmla="*/ 1 h 30"/>
                <a:gd name="T4" fmla="*/ 19 w 21"/>
                <a:gd name="T5" fmla="*/ 3 h 30"/>
                <a:gd name="T6" fmla="*/ 20 w 21"/>
                <a:gd name="T7" fmla="*/ 6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3 w 21"/>
                <a:gd name="T37" fmla="*/ 12 h 30"/>
                <a:gd name="T38" fmla="*/ 15 w 21"/>
                <a:gd name="T39" fmla="*/ 12 h 30"/>
                <a:gd name="T40" fmla="*/ 16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4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1"/>
                    <a:pt x="18" y="2"/>
                    <a:pt x="19" y="3"/>
                  </a:cubicBezTo>
                  <a:cubicBezTo>
                    <a:pt x="19" y="4"/>
                    <a:pt x="20" y="5"/>
                    <a:pt x="20" y="6"/>
                  </a:cubicBezTo>
                  <a:cubicBezTo>
                    <a:pt x="21" y="8"/>
                    <a:pt x="21" y="9"/>
                    <a:pt x="21" y="11"/>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1" y="30"/>
                    <a:pt x="10" y="30"/>
                  </a:cubicBezTo>
                  <a:cubicBezTo>
                    <a:pt x="9" y="30"/>
                    <a:pt x="7" y="30"/>
                    <a:pt x="6" y="30"/>
                  </a:cubicBezTo>
                  <a:cubicBezTo>
                    <a:pt x="5" y="29"/>
                    <a:pt x="4" y="29"/>
                    <a:pt x="3" y="28"/>
                  </a:cubicBezTo>
                  <a:cubicBezTo>
                    <a:pt x="2" y="27"/>
                    <a:pt x="1" y="26"/>
                    <a:pt x="0" y="25"/>
                  </a:cubicBezTo>
                  <a:cubicBezTo>
                    <a:pt x="0" y="24"/>
                    <a:pt x="0" y="23"/>
                    <a:pt x="0" y="21"/>
                  </a:cubicBezTo>
                  <a:cubicBezTo>
                    <a:pt x="0" y="19"/>
                    <a:pt x="0" y="18"/>
                    <a:pt x="1" y="17"/>
                  </a:cubicBezTo>
                  <a:cubicBezTo>
                    <a:pt x="1" y="16"/>
                    <a:pt x="2" y="15"/>
                    <a:pt x="3" y="14"/>
                  </a:cubicBezTo>
                  <a:cubicBezTo>
                    <a:pt x="4" y="13"/>
                    <a:pt x="5" y="13"/>
                    <a:pt x="7" y="13"/>
                  </a:cubicBezTo>
                  <a:cubicBezTo>
                    <a:pt x="8" y="12"/>
                    <a:pt x="10" y="12"/>
                    <a:pt x="12" y="12"/>
                  </a:cubicBezTo>
                  <a:cubicBezTo>
                    <a:pt x="12" y="12"/>
                    <a:pt x="13" y="12"/>
                    <a:pt x="13" y="12"/>
                  </a:cubicBezTo>
                  <a:cubicBezTo>
                    <a:pt x="14" y="12"/>
                    <a:pt x="15" y="12"/>
                    <a:pt x="15" y="12"/>
                  </a:cubicBezTo>
                  <a:cubicBezTo>
                    <a:pt x="16" y="12"/>
                    <a:pt x="16" y="13"/>
                    <a:pt x="16"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4"/>
                  </a:cubicBezTo>
                  <a:cubicBezTo>
                    <a:pt x="5" y="4"/>
                    <a:pt x="4" y="4"/>
                    <a:pt x="3" y="4"/>
                  </a:cubicBezTo>
                  <a:cubicBezTo>
                    <a:pt x="3" y="1"/>
                    <a:pt x="3" y="1"/>
                    <a:pt x="3" y="1"/>
                  </a:cubicBezTo>
                  <a:cubicBezTo>
                    <a:pt x="3" y="1"/>
                    <a:pt x="4" y="0"/>
                    <a:pt x="6" y="0"/>
                  </a:cubicBezTo>
                  <a:cubicBezTo>
                    <a:pt x="7" y="0"/>
                    <a:pt x="9" y="0"/>
                    <a:pt x="11" y="0"/>
                  </a:cubicBezTo>
                  <a:close/>
                  <a:moveTo>
                    <a:pt x="11" y="27"/>
                  </a:moveTo>
                  <a:cubicBezTo>
                    <a:pt x="12" y="27"/>
                    <a:pt x="14" y="27"/>
                    <a:pt x="15" y="27"/>
                  </a:cubicBezTo>
                  <a:cubicBezTo>
                    <a:pt x="16" y="27"/>
                    <a:pt x="17" y="26"/>
                    <a:pt x="17" y="26"/>
                  </a:cubicBezTo>
                  <a:cubicBezTo>
                    <a:pt x="17" y="16"/>
                    <a:pt x="17" y="16"/>
                    <a:pt x="17" y="16"/>
                  </a:cubicBezTo>
                  <a:cubicBezTo>
                    <a:pt x="17" y="16"/>
                    <a:pt x="16" y="16"/>
                    <a:pt x="15" y="16"/>
                  </a:cubicBezTo>
                  <a:cubicBezTo>
                    <a:pt x="14"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p:cNvSpPr>
            <p:nvPr/>
          </p:nvSpPr>
          <p:spPr bwMode="auto">
            <a:xfrm>
              <a:off x="1974851" y="2290785"/>
              <a:ext cx="41275" cy="53976"/>
            </a:xfrm>
            <a:custGeom>
              <a:avLst/>
              <a:gdLst>
                <a:gd name="T0" fmla="*/ 0 w 23"/>
                <a:gd name="T1" fmla="*/ 2 h 29"/>
                <a:gd name="T2" fmla="*/ 5 w 23"/>
                <a:gd name="T3" fmla="*/ 1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6 h 29"/>
                <a:gd name="T24" fmla="*/ 15 w 23"/>
                <a:gd name="T25" fmla="*/ 4 h 29"/>
                <a:gd name="T26" fmla="*/ 11 w 23"/>
                <a:gd name="T27" fmla="*/ 3 h 29"/>
                <a:gd name="T28" fmla="*/ 6 w 23"/>
                <a:gd name="T29" fmla="*/ 4 h 29"/>
                <a:gd name="T30" fmla="*/ 4 w 23"/>
                <a:gd name="T31" fmla="*/ 4 h 29"/>
                <a:gd name="T32" fmla="*/ 4 w 23"/>
                <a:gd name="T33" fmla="*/ 29 h 29"/>
                <a:gd name="T34" fmla="*/ 0 w 23"/>
                <a:gd name="T35" fmla="*/ 29 h 29"/>
                <a:gd name="T36" fmla="*/ 0 w 23"/>
                <a:gd name="T37"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2"/>
                  </a:moveTo>
                  <a:cubicBezTo>
                    <a:pt x="1" y="1"/>
                    <a:pt x="3" y="1"/>
                    <a:pt x="5" y="1"/>
                  </a:cubicBezTo>
                  <a:cubicBezTo>
                    <a:pt x="6" y="0"/>
                    <a:pt x="9" y="0"/>
                    <a:pt x="11" y="0"/>
                  </a:cubicBezTo>
                  <a:cubicBezTo>
                    <a:pt x="14" y="0"/>
                    <a:pt x="15" y="0"/>
                    <a:pt x="17" y="1"/>
                  </a:cubicBezTo>
                  <a:cubicBezTo>
                    <a:pt x="18" y="2"/>
                    <a:pt x="20" y="2"/>
                    <a:pt x="20"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8" y="8"/>
                    <a:pt x="18" y="7"/>
                    <a:pt x="17" y="6"/>
                  </a:cubicBezTo>
                  <a:cubicBezTo>
                    <a:pt x="17" y="5"/>
                    <a:pt x="16" y="4"/>
                    <a:pt x="15" y="4"/>
                  </a:cubicBezTo>
                  <a:cubicBezTo>
                    <a:pt x="14" y="3"/>
                    <a:pt x="12" y="3"/>
                    <a:pt x="11" y="3"/>
                  </a:cubicBezTo>
                  <a:cubicBezTo>
                    <a:pt x="9" y="3"/>
                    <a:pt x="8" y="3"/>
                    <a:pt x="6" y="4"/>
                  </a:cubicBezTo>
                  <a:cubicBezTo>
                    <a:pt x="5" y="4"/>
                    <a:pt x="4" y="4"/>
                    <a:pt x="4" y="4"/>
                  </a:cubicBezTo>
                  <a:cubicBezTo>
                    <a:pt x="4" y="29"/>
                    <a:pt x="4" y="29"/>
                    <a:pt x="4" y="29"/>
                  </a:cubicBezTo>
                  <a:cubicBezTo>
                    <a:pt x="0" y="29"/>
                    <a:pt x="0" y="29"/>
                    <a:pt x="0" y="29"/>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noEditPoints="1"/>
            </p:cNvSpPr>
            <p:nvPr/>
          </p:nvSpPr>
          <p:spPr bwMode="auto">
            <a:xfrm>
              <a:off x="2028826" y="2290785"/>
              <a:ext cx="46038" cy="55563"/>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5"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6"/>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9" name="Group 548"/>
          <p:cNvGrpSpPr/>
          <p:nvPr/>
        </p:nvGrpSpPr>
        <p:grpSpPr>
          <a:xfrm>
            <a:off x="4309765" y="2086502"/>
            <a:ext cx="146050" cy="73026"/>
            <a:chOff x="4133852" y="2273323"/>
            <a:chExt cx="146050" cy="73026"/>
          </a:xfrm>
        </p:grpSpPr>
        <p:sp>
          <p:nvSpPr>
            <p:cNvPr id="197" name="Freeform 19"/>
            <p:cNvSpPr>
              <a:spLocks/>
            </p:cNvSpPr>
            <p:nvPr/>
          </p:nvSpPr>
          <p:spPr bwMode="auto">
            <a:xfrm>
              <a:off x="4133852" y="2273323"/>
              <a:ext cx="52388" cy="73026"/>
            </a:xfrm>
            <a:custGeom>
              <a:avLst/>
              <a:gdLst>
                <a:gd name="T0" fmla="*/ 18 w 29"/>
                <a:gd name="T1" fmla="*/ 40 h 40"/>
                <a:gd name="T2" fmla="*/ 11 w 29"/>
                <a:gd name="T3" fmla="*/ 39 h 40"/>
                <a:gd name="T4" fmla="*/ 5 w 29"/>
                <a:gd name="T5" fmla="*/ 35 h 40"/>
                <a:gd name="T6" fmla="*/ 2 w 29"/>
                <a:gd name="T7" fmla="*/ 29 h 40"/>
                <a:gd name="T8" fmla="*/ 0 w 29"/>
                <a:gd name="T9" fmla="*/ 20 h 40"/>
                <a:gd name="T10" fmla="*/ 2 w 29"/>
                <a:gd name="T11" fmla="*/ 11 h 40"/>
                <a:gd name="T12" fmla="*/ 6 w 29"/>
                <a:gd name="T13" fmla="*/ 5 h 40"/>
                <a:gd name="T14" fmla="*/ 11 w 29"/>
                <a:gd name="T15" fmla="*/ 1 h 40"/>
                <a:gd name="T16" fmla="*/ 18 w 29"/>
                <a:gd name="T17" fmla="*/ 0 h 40"/>
                <a:gd name="T18" fmla="*/ 22 w 29"/>
                <a:gd name="T19" fmla="*/ 0 h 40"/>
                <a:gd name="T20" fmla="*/ 25 w 29"/>
                <a:gd name="T21" fmla="*/ 1 h 40"/>
                <a:gd name="T22" fmla="*/ 28 w 29"/>
                <a:gd name="T23" fmla="*/ 2 h 40"/>
                <a:gd name="T24" fmla="*/ 29 w 29"/>
                <a:gd name="T25" fmla="*/ 2 h 40"/>
                <a:gd name="T26" fmla="*/ 28 w 29"/>
                <a:gd name="T27" fmla="*/ 6 h 40"/>
                <a:gd name="T28" fmla="*/ 24 w 29"/>
                <a:gd name="T29" fmla="*/ 4 h 40"/>
                <a:gd name="T30" fmla="*/ 19 w 29"/>
                <a:gd name="T31" fmla="*/ 3 h 40"/>
                <a:gd name="T32" fmla="*/ 13 w 29"/>
                <a:gd name="T33" fmla="*/ 4 h 40"/>
                <a:gd name="T34" fmla="*/ 8 w 29"/>
                <a:gd name="T35" fmla="*/ 8 h 40"/>
                <a:gd name="T36" fmla="*/ 5 w 29"/>
                <a:gd name="T37" fmla="*/ 13 h 40"/>
                <a:gd name="T38" fmla="*/ 4 w 29"/>
                <a:gd name="T39" fmla="*/ 20 h 40"/>
                <a:gd name="T40" fmla="*/ 5 w 29"/>
                <a:gd name="T41" fmla="*/ 27 h 40"/>
                <a:gd name="T42" fmla="*/ 8 w 29"/>
                <a:gd name="T43" fmla="*/ 32 h 40"/>
                <a:gd name="T44" fmla="*/ 12 w 29"/>
                <a:gd name="T45" fmla="*/ 36 h 40"/>
                <a:gd name="T46" fmla="*/ 18 w 29"/>
                <a:gd name="T47" fmla="*/ 37 h 40"/>
                <a:gd name="T48" fmla="*/ 24 w 29"/>
                <a:gd name="T49" fmla="*/ 36 h 40"/>
                <a:gd name="T50" fmla="*/ 28 w 29"/>
                <a:gd name="T51" fmla="*/ 35 h 40"/>
                <a:gd name="T52" fmla="*/ 29 w 29"/>
                <a:gd name="T53" fmla="*/ 38 h 40"/>
                <a:gd name="T54" fmla="*/ 28 w 29"/>
                <a:gd name="T55" fmla="*/ 39 h 40"/>
                <a:gd name="T56" fmla="*/ 26 w 29"/>
                <a:gd name="T57" fmla="*/ 39 h 40"/>
                <a:gd name="T58" fmla="*/ 22 w 29"/>
                <a:gd name="T59" fmla="*/ 40 h 40"/>
                <a:gd name="T60" fmla="*/ 18 w 29"/>
                <a:gd name="T6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0">
                  <a:moveTo>
                    <a:pt x="18" y="40"/>
                  </a:moveTo>
                  <a:cubicBezTo>
                    <a:pt x="15" y="40"/>
                    <a:pt x="13" y="40"/>
                    <a:pt x="11" y="39"/>
                  </a:cubicBezTo>
                  <a:cubicBezTo>
                    <a:pt x="9" y="38"/>
                    <a:pt x="7" y="37"/>
                    <a:pt x="5" y="35"/>
                  </a:cubicBezTo>
                  <a:cubicBezTo>
                    <a:pt x="4" y="33"/>
                    <a:pt x="3" y="31"/>
                    <a:pt x="2"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0" y="0"/>
                    <a:pt x="21" y="0"/>
                    <a:pt x="22" y="0"/>
                  </a:cubicBezTo>
                  <a:cubicBezTo>
                    <a:pt x="23" y="0"/>
                    <a:pt x="24" y="1"/>
                    <a:pt x="25" y="1"/>
                  </a:cubicBezTo>
                  <a:cubicBezTo>
                    <a:pt x="26" y="1"/>
                    <a:pt x="27" y="1"/>
                    <a:pt x="28" y="2"/>
                  </a:cubicBezTo>
                  <a:cubicBezTo>
                    <a:pt x="28" y="2"/>
                    <a:pt x="29" y="2"/>
                    <a:pt x="29" y="2"/>
                  </a:cubicBezTo>
                  <a:cubicBezTo>
                    <a:pt x="28" y="6"/>
                    <a:pt x="28" y="6"/>
                    <a:pt x="28" y="6"/>
                  </a:cubicBezTo>
                  <a:cubicBezTo>
                    <a:pt x="27" y="5"/>
                    <a:pt x="26" y="5"/>
                    <a:pt x="24" y="4"/>
                  </a:cubicBezTo>
                  <a:cubicBezTo>
                    <a:pt x="23" y="3"/>
                    <a:pt x="21" y="3"/>
                    <a:pt x="19" y="3"/>
                  </a:cubicBezTo>
                  <a:cubicBezTo>
                    <a:pt x="16" y="3"/>
                    <a:pt x="14" y="4"/>
                    <a:pt x="13" y="4"/>
                  </a:cubicBezTo>
                  <a:cubicBezTo>
                    <a:pt x="11" y="5"/>
                    <a:pt x="9" y="6"/>
                    <a:pt x="8" y="8"/>
                  </a:cubicBezTo>
                  <a:cubicBezTo>
                    <a:pt x="7" y="9"/>
                    <a:pt x="6" y="11"/>
                    <a:pt x="5" y="13"/>
                  </a:cubicBezTo>
                  <a:cubicBezTo>
                    <a:pt x="5" y="15"/>
                    <a:pt x="4" y="18"/>
                    <a:pt x="4" y="20"/>
                  </a:cubicBezTo>
                  <a:cubicBezTo>
                    <a:pt x="4" y="23"/>
                    <a:pt x="5" y="25"/>
                    <a:pt x="5" y="27"/>
                  </a:cubicBezTo>
                  <a:cubicBezTo>
                    <a:pt x="6" y="29"/>
                    <a:pt x="7" y="31"/>
                    <a:pt x="8" y="32"/>
                  </a:cubicBezTo>
                  <a:cubicBezTo>
                    <a:pt x="9" y="34"/>
                    <a:pt x="11" y="35"/>
                    <a:pt x="12" y="36"/>
                  </a:cubicBezTo>
                  <a:cubicBezTo>
                    <a:pt x="14" y="36"/>
                    <a:pt x="16" y="37"/>
                    <a:pt x="18" y="37"/>
                  </a:cubicBezTo>
                  <a:cubicBezTo>
                    <a:pt x="21" y="37"/>
                    <a:pt x="23" y="37"/>
                    <a:pt x="24" y="36"/>
                  </a:cubicBezTo>
                  <a:cubicBezTo>
                    <a:pt x="26" y="36"/>
                    <a:pt x="27" y="35"/>
                    <a:pt x="28" y="35"/>
                  </a:cubicBezTo>
                  <a:cubicBezTo>
                    <a:pt x="29" y="38"/>
                    <a:pt x="29" y="38"/>
                    <a:pt x="29" y="38"/>
                  </a:cubicBezTo>
                  <a:cubicBezTo>
                    <a:pt x="29" y="38"/>
                    <a:pt x="29" y="38"/>
                    <a:pt x="28" y="39"/>
                  </a:cubicBezTo>
                  <a:cubicBezTo>
                    <a:pt x="27" y="39"/>
                    <a:pt x="27" y="39"/>
                    <a:pt x="26" y="39"/>
                  </a:cubicBezTo>
                  <a:cubicBezTo>
                    <a:pt x="25" y="40"/>
                    <a:pt x="23" y="40"/>
                    <a:pt x="22" y="40"/>
                  </a:cubicBezTo>
                  <a:cubicBezTo>
                    <a:pt x="21" y="40"/>
                    <a:pt x="20" y="40"/>
                    <a:pt x="18" y="4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20"/>
            <p:cNvSpPr>
              <a:spLocks noEditPoints="1"/>
            </p:cNvSpPr>
            <p:nvPr/>
          </p:nvSpPr>
          <p:spPr bwMode="auto">
            <a:xfrm>
              <a:off x="4195764" y="2290785"/>
              <a:ext cx="39688" cy="55563"/>
            </a:xfrm>
            <a:custGeom>
              <a:avLst/>
              <a:gdLst>
                <a:gd name="T0" fmla="*/ 11 w 21"/>
                <a:gd name="T1" fmla="*/ 0 h 30"/>
                <a:gd name="T2" fmla="*/ 15 w 21"/>
                <a:gd name="T3" fmla="*/ 1 h 30"/>
                <a:gd name="T4" fmla="*/ 19 w 21"/>
                <a:gd name="T5" fmla="*/ 3 h 30"/>
                <a:gd name="T6" fmla="*/ 20 w 21"/>
                <a:gd name="T7" fmla="*/ 6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0 w 21"/>
                <a:gd name="T29" fmla="*/ 17 h 30"/>
                <a:gd name="T30" fmla="*/ 3 w 21"/>
                <a:gd name="T31" fmla="*/ 14 h 30"/>
                <a:gd name="T32" fmla="*/ 7 w 21"/>
                <a:gd name="T33" fmla="*/ 13 h 30"/>
                <a:gd name="T34" fmla="*/ 12 w 21"/>
                <a:gd name="T35" fmla="*/ 12 h 30"/>
                <a:gd name="T36" fmla="*/ 13 w 21"/>
                <a:gd name="T37" fmla="*/ 12 h 30"/>
                <a:gd name="T38" fmla="*/ 15 w 21"/>
                <a:gd name="T39" fmla="*/ 12 h 30"/>
                <a:gd name="T40" fmla="*/ 16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4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1"/>
                    <a:pt x="18" y="2"/>
                    <a:pt x="19" y="3"/>
                  </a:cubicBezTo>
                  <a:cubicBezTo>
                    <a:pt x="19" y="4"/>
                    <a:pt x="20" y="5"/>
                    <a:pt x="20" y="6"/>
                  </a:cubicBezTo>
                  <a:cubicBezTo>
                    <a:pt x="21" y="8"/>
                    <a:pt x="21" y="9"/>
                    <a:pt x="21" y="11"/>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1" y="30"/>
                    <a:pt x="10" y="30"/>
                  </a:cubicBezTo>
                  <a:cubicBezTo>
                    <a:pt x="9" y="30"/>
                    <a:pt x="7" y="30"/>
                    <a:pt x="6" y="30"/>
                  </a:cubicBezTo>
                  <a:cubicBezTo>
                    <a:pt x="5" y="29"/>
                    <a:pt x="4" y="29"/>
                    <a:pt x="3" y="28"/>
                  </a:cubicBezTo>
                  <a:cubicBezTo>
                    <a:pt x="2" y="27"/>
                    <a:pt x="1" y="26"/>
                    <a:pt x="0" y="25"/>
                  </a:cubicBezTo>
                  <a:cubicBezTo>
                    <a:pt x="0" y="24"/>
                    <a:pt x="0" y="23"/>
                    <a:pt x="0" y="21"/>
                  </a:cubicBezTo>
                  <a:cubicBezTo>
                    <a:pt x="0" y="19"/>
                    <a:pt x="0" y="18"/>
                    <a:pt x="0" y="17"/>
                  </a:cubicBezTo>
                  <a:cubicBezTo>
                    <a:pt x="1" y="16"/>
                    <a:pt x="2" y="15"/>
                    <a:pt x="3" y="14"/>
                  </a:cubicBezTo>
                  <a:cubicBezTo>
                    <a:pt x="4" y="13"/>
                    <a:pt x="5" y="13"/>
                    <a:pt x="7" y="13"/>
                  </a:cubicBezTo>
                  <a:cubicBezTo>
                    <a:pt x="8" y="12"/>
                    <a:pt x="10" y="12"/>
                    <a:pt x="12" y="12"/>
                  </a:cubicBezTo>
                  <a:cubicBezTo>
                    <a:pt x="12" y="12"/>
                    <a:pt x="13" y="12"/>
                    <a:pt x="13" y="12"/>
                  </a:cubicBezTo>
                  <a:cubicBezTo>
                    <a:pt x="14" y="12"/>
                    <a:pt x="15" y="12"/>
                    <a:pt x="15" y="12"/>
                  </a:cubicBezTo>
                  <a:cubicBezTo>
                    <a:pt x="16" y="12"/>
                    <a:pt x="16" y="13"/>
                    <a:pt x="16"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4"/>
                  </a:cubicBezTo>
                  <a:cubicBezTo>
                    <a:pt x="5" y="4"/>
                    <a:pt x="4" y="4"/>
                    <a:pt x="3" y="4"/>
                  </a:cubicBezTo>
                  <a:cubicBezTo>
                    <a:pt x="3" y="1"/>
                    <a:pt x="3" y="1"/>
                    <a:pt x="3" y="1"/>
                  </a:cubicBezTo>
                  <a:cubicBezTo>
                    <a:pt x="3" y="1"/>
                    <a:pt x="4" y="0"/>
                    <a:pt x="6" y="0"/>
                  </a:cubicBezTo>
                  <a:cubicBezTo>
                    <a:pt x="7" y="0"/>
                    <a:pt x="9" y="0"/>
                    <a:pt x="11" y="0"/>
                  </a:cubicBezTo>
                  <a:close/>
                  <a:moveTo>
                    <a:pt x="11" y="27"/>
                  </a:moveTo>
                  <a:cubicBezTo>
                    <a:pt x="12" y="27"/>
                    <a:pt x="13" y="27"/>
                    <a:pt x="15" y="27"/>
                  </a:cubicBezTo>
                  <a:cubicBezTo>
                    <a:pt x="16" y="27"/>
                    <a:pt x="17" y="26"/>
                    <a:pt x="17" y="26"/>
                  </a:cubicBezTo>
                  <a:cubicBezTo>
                    <a:pt x="17" y="16"/>
                    <a:pt x="17" y="16"/>
                    <a:pt x="17" y="16"/>
                  </a:cubicBezTo>
                  <a:cubicBezTo>
                    <a:pt x="17" y="16"/>
                    <a:pt x="16" y="16"/>
                    <a:pt x="15" y="16"/>
                  </a:cubicBezTo>
                  <a:cubicBezTo>
                    <a:pt x="14"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21"/>
            <p:cNvSpPr>
              <a:spLocks/>
            </p:cNvSpPr>
            <p:nvPr/>
          </p:nvSpPr>
          <p:spPr bwMode="auto">
            <a:xfrm>
              <a:off x="4251327" y="2290785"/>
              <a:ext cx="28575" cy="53976"/>
            </a:xfrm>
            <a:custGeom>
              <a:avLst/>
              <a:gdLst>
                <a:gd name="T0" fmla="*/ 10 w 16"/>
                <a:gd name="T1" fmla="*/ 0 h 29"/>
                <a:gd name="T2" fmla="*/ 13 w 16"/>
                <a:gd name="T3" fmla="*/ 0 h 29"/>
                <a:gd name="T4" fmla="*/ 16 w 16"/>
                <a:gd name="T5" fmla="*/ 1 h 29"/>
                <a:gd name="T6" fmla="*/ 15 w 16"/>
                <a:gd name="T7" fmla="*/ 4 h 29"/>
                <a:gd name="T8" fmla="*/ 13 w 16"/>
                <a:gd name="T9" fmla="*/ 3 h 29"/>
                <a:gd name="T10" fmla="*/ 10 w 16"/>
                <a:gd name="T11" fmla="*/ 3 h 29"/>
                <a:gd name="T12" fmla="*/ 6 w 16"/>
                <a:gd name="T13" fmla="*/ 4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3"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4"/>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8" name="Group 547"/>
          <p:cNvGrpSpPr/>
          <p:nvPr/>
        </p:nvGrpSpPr>
        <p:grpSpPr>
          <a:xfrm>
            <a:off x="2936522" y="2086502"/>
            <a:ext cx="481012" cy="100013"/>
            <a:chOff x="2874964" y="2265385"/>
            <a:chExt cx="481012" cy="100013"/>
          </a:xfrm>
        </p:grpSpPr>
        <p:sp>
          <p:nvSpPr>
            <p:cNvPr id="200" name="Freeform 22"/>
            <p:cNvSpPr>
              <a:spLocks noEditPoints="1"/>
            </p:cNvSpPr>
            <p:nvPr/>
          </p:nvSpPr>
          <p:spPr bwMode="auto">
            <a:xfrm>
              <a:off x="2874964" y="2274910"/>
              <a:ext cx="63500" cy="69851"/>
            </a:xfrm>
            <a:custGeom>
              <a:avLst/>
              <a:gdLst>
                <a:gd name="T0" fmla="*/ 31 w 35"/>
                <a:gd name="T1" fmla="*/ 38 h 38"/>
                <a:gd name="T2" fmla="*/ 29 w 35"/>
                <a:gd name="T3" fmla="*/ 33 h 38"/>
                <a:gd name="T4" fmla="*/ 27 w 35"/>
                <a:gd name="T5" fmla="*/ 28 h 38"/>
                <a:gd name="T6" fmla="*/ 8 w 35"/>
                <a:gd name="T7" fmla="*/ 28 h 38"/>
                <a:gd name="T8" fmla="*/ 6 w 35"/>
                <a:gd name="T9" fmla="*/ 33 h 38"/>
                <a:gd name="T10" fmla="*/ 4 w 35"/>
                <a:gd name="T11" fmla="*/ 38 h 38"/>
                <a:gd name="T12" fmla="*/ 0 w 35"/>
                <a:gd name="T13" fmla="*/ 38 h 38"/>
                <a:gd name="T14" fmla="*/ 4 w 35"/>
                <a:gd name="T15" fmla="*/ 27 h 38"/>
                <a:gd name="T16" fmla="*/ 8 w 35"/>
                <a:gd name="T17" fmla="*/ 17 h 38"/>
                <a:gd name="T18" fmla="*/ 12 w 35"/>
                <a:gd name="T19" fmla="*/ 8 h 38"/>
                <a:gd name="T20" fmla="*/ 16 w 35"/>
                <a:gd name="T21" fmla="*/ 0 h 38"/>
                <a:gd name="T22" fmla="*/ 19 w 35"/>
                <a:gd name="T23" fmla="*/ 0 h 38"/>
                <a:gd name="T24" fmla="*/ 23 w 35"/>
                <a:gd name="T25" fmla="*/ 8 h 38"/>
                <a:gd name="T26" fmla="*/ 27 w 35"/>
                <a:gd name="T27" fmla="*/ 17 h 38"/>
                <a:gd name="T28" fmla="*/ 31 w 35"/>
                <a:gd name="T29" fmla="*/ 27 h 38"/>
                <a:gd name="T30" fmla="*/ 35 w 35"/>
                <a:gd name="T31" fmla="*/ 38 h 38"/>
                <a:gd name="T32" fmla="*/ 31 w 35"/>
                <a:gd name="T33" fmla="*/ 38 h 38"/>
                <a:gd name="T34" fmla="*/ 17 w 35"/>
                <a:gd name="T35" fmla="*/ 4 h 38"/>
                <a:gd name="T36" fmla="*/ 13 w 35"/>
                <a:gd name="T37" fmla="*/ 14 h 38"/>
                <a:gd name="T38" fmla="*/ 9 w 35"/>
                <a:gd name="T39" fmla="*/ 25 h 38"/>
                <a:gd name="T40" fmla="*/ 26 w 35"/>
                <a:gd name="T41" fmla="*/ 25 h 38"/>
                <a:gd name="T42" fmla="*/ 22 w 35"/>
                <a:gd name="T43" fmla="*/ 14 h 38"/>
                <a:gd name="T44" fmla="*/ 17 w 35"/>
                <a:gd name="T4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8">
                  <a:moveTo>
                    <a:pt x="31" y="38"/>
                  </a:moveTo>
                  <a:cubicBezTo>
                    <a:pt x="30" y="37"/>
                    <a:pt x="29" y="35"/>
                    <a:pt x="29" y="33"/>
                  </a:cubicBezTo>
                  <a:cubicBezTo>
                    <a:pt x="28" y="31"/>
                    <a:pt x="27" y="29"/>
                    <a:pt x="27" y="28"/>
                  </a:cubicBezTo>
                  <a:cubicBezTo>
                    <a:pt x="8" y="28"/>
                    <a:pt x="8" y="28"/>
                    <a:pt x="8" y="28"/>
                  </a:cubicBezTo>
                  <a:cubicBezTo>
                    <a:pt x="7" y="29"/>
                    <a:pt x="7" y="31"/>
                    <a:pt x="6" y="33"/>
                  </a:cubicBezTo>
                  <a:cubicBezTo>
                    <a:pt x="5" y="35"/>
                    <a:pt x="5" y="37"/>
                    <a:pt x="4" y="38"/>
                  </a:cubicBezTo>
                  <a:cubicBezTo>
                    <a:pt x="0" y="38"/>
                    <a:pt x="0" y="38"/>
                    <a:pt x="0" y="38"/>
                  </a:cubicBezTo>
                  <a:cubicBezTo>
                    <a:pt x="2" y="34"/>
                    <a:pt x="3" y="31"/>
                    <a:pt x="4" y="27"/>
                  </a:cubicBezTo>
                  <a:cubicBezTo>
                    <a:pt x="6" y="24"/>
                    <a:pt x="7" y="20"/>
                    <a:pt x="8" y="17"/>
                  </a:cubicBezTo>
                  <a:cubicBezTo>
                    <a:pt x="9" y="14"/>
                    <a:pt x="11" y="11"/>
                    <a:pt x="12" y="8"/>
                  </a:cubicBezTo>
                  <a:cubicBezTo>
                    <a:pt x="13" y="5"/>
                    <a:pt x="14" y="3"/>
                    <a:pt x="16" y="0"/>
                  </a:cubicBezTo>
                  <a:cubicBezTo>
                    <a:pt x="19" y="0"/>
                    <a:pt x="19" y="0"/>
                    <a:pt x="19" y="0"/>
                  </a:cubicBezTo>
                  <a:cubicBezTo>
                    <a:pt x="21" y="3"/>
                    <a:pt x="22" y="5"/>
                    <a:pt x="23" y="8"/>
                  </a:cubicBezTo>
                  <a:cubicBezTo>
                    <a:pt x="24" y="11"/>
                    <a:pt x="26" y="14"/>
                    <a:pt x="27" y="17"/>
                  </a:cubicBezTo>
                  <a:cubicBezTo>
                    <a:pt x="28" y="20"/>
                    <a:pt x="29" y="24"/>
                    <a:pt x="31" y="27"/>
                  </a:cubicBezTo>
                  <a:cubicBezTo>
                    <a:pt x="32" y="31"/>
                    <a:pt x="33" y="34"/>
                    <a:pt x="35" y="38"/>
                  </a:cubicBezTo>
                  <a:lnTo>
                    <a:pt x="31" y="38"/>
                  </a:lnTo>
                  <a:close/>
                  <a:moveTo>
                    <a:pt x="17" y="4"/>
                  </a:moveTo>
                  <a:cubicBezTo>
                    <a:pt x="16" y="7"/>
                    <a:pt x="15" y="11"/>
                    <a:pt x="13" y="14"/>
                  </a:cubicBezTo>
                  <a:cubicBezTo>
                    <a:pt x="12" y="17"/>
                    <a:pt x="11" y="21"/>
                    <a:pt x="9" y="25"/>
                  </a:cubicBezTo>
                  <a:cubicBezTo>
                    <a:pt x="26" y="25"/>
                    <a:pt x="26" y="25"/>
                    <a:pt x="26" y="25"/>
                  </a:cubicBezTo>
                  <a:cubicBezTo>
                    <a:pt x="24" y="21"/>
                    <a:pt x="23" y="17"/>
                    <a:pt x="22" y="14"/>
                  </a:cubicBezTo>
                  <a:cubicBezTo>
                    <a:pt x="20" y="10"/>
                    <a:pt x="19" y="7"/>
                    <a:pt x="17" y="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23"/>
            <p:cNvSpPr>
              <a:spLocks noEditPoints="1"/>
            </p:cNvSpPr>
            <p:nvPr/>
          </p:nvSpPr>
          <p:spPr bwMode="auto">
            <a:xfrm>
              <a:off x="2946401" y="2271735"/>
              <a:ext cx="11113" cy="73026"/>
            </a:xfrm>
            <a:custGeom>
              <a:avLst/>
              <a:gdLst>
                <a:gd name="T0" fmla="*/ 6 w 6"/>
                <a:gd name="T1" fmla="*/ 3 h 40"/>
                <a:gd name="T2" fmla="*/ 5 w 6"/>
                <a:gd name="T3" fmla="*/ 5 h 40"/>
                <a:gd name="T4" fmla="*/ 3 w 6"/>
                <a:gd name="T5" fmla="*/ 6 h 40"/>
                <a:gd name="T6" fmla="*/ 1 w 6"/>
                <a:gd name="T7" fmla="*/ 5 h 40"/>
                <a:gd name="T8" fmla="*/ 0 w 6"/>
                <a:gd name="T9" fmla="*/ 3 h 40"/>
                <a:gd name="T10" fmla="*/ 1 w 6"/>
                <a:gd name="T11" fmla="*/ 1 h 40"/>
                <a:gd name="T12" fmla="*/ 3 w 6"/>
                <a:gd name="T13" fmla="*/ 0 h 40"/>
                <a:gd name="T14" fmla="*/ 5 w 6"/>
                <a:gd name="T15" fmla="*/ 1 h 40"/>
                <a:gd name="T16" fmla="*/ 6 w 6"/>
                <a:gd name="T17" fmla="*/ 3 h 40"/>
                <a:gd name="T18" fmla="*/ 5 w 6"/>
                <a:gd name="T19" fmla="*/ 40 h 40"/>
                <a:gd name="T20" fmla="*/ 1 w 6"/>
                <a:gd name="T21" fmla="*/ 40 h 40"/>
                <a:gd name="T22" fmla="*/ 1 w 6"/>
                <a:gd name="T23" fmla="*/ 12 h 40"/>
                <a:gd name="T24" fmla="*/ 5 w 6"/>
                <a:gd name="T25" fmla="*/ 12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3"/>
                  </a:moveTo>
                  <a:cubicBezTo>
                    <a:pt x="6" y="4"/>
                    <a:pt x="5" y="4"/>
                    <a:pt x="5" y="5"/>
                  </a:cubicBezTo>
                  <a:cubicBezTo>
                    <a:pt x="4" y="5"/>
                    <a:pt x="4" y="6"/>
                    <a:pt x="3" y="6"/>
                  </a:cubicBezTo>
                  <a:cubicBezTo>
                    <a:pt x="2" y="6"/>
                    <a:pt x="2" y="5"/>
                    <a:pt x="1" y="5"/>
                  </a:cubicBezTo>
                  <a:cubicBezTo>
                    <a:pt x="1" y="4"/>
                    <a:pt x="0" y="4"/>
                    <a:pt x="0" y="3"/>
                  </a:cubicBezTo>
                  <a:cubicBezTo>
                    <a:pt x="0" y="2"/>
                    <a:pt x="1" y="1"/>
                    <a:pt x="1" y="1"/>
                  </a:cubicBezTo>
                  <a:cubicBezTo>
                    <a:pt x="2" y="0"/>
                    <a:pt x="2" y="0"/>
                    <a:pt x="3" y="0"/>
                  </a:cubicBezTo>
                  <a:cubicBezTo>
                    <a:pt x="4" y="0"/>
                    <a:pt x="4" y="0"/>
                    <a:pt x="5" y="1"/>
                  </a:cubicBezTo>
                  <a:cubicBezTo>
                    <a:pt x="5" y="1"/>
                    <a:pt x="6" y="2"/>
                    <a:pt x="6" y="3"/>
                  </a:cubicBezTo>
                  <a:close/>
                  <a:moveTo>
                    <a:pt x="5" y="40"/>
                  </a:moveTo>
                  <a:cubicBezTo>
                    <a:pt x="1" y="40"/>
                    <a:pt x="1" y="40"/>
                    <a:pt x="1" y="40"/>
                  </a:cubicBezTo>
                  <a:cubicBezTo>
                    <a:pt x="1" y="12"/>
                    <a:pt x="1" y="12"/>
                    <a:pt x="1" y="12"/>
                  </a:cubicBezTo>
                  <a:cubicBezTo>
                    <a:pt x="5" y="12"/>
                    <a:pt x="5" y="12"/>
                    <a:pt x="5" y="12"/>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24"/>
            <p:cNvSpPr>
              <a:spLocks/>
            </p:cNvSpPr>
            <p:nvPr/>
          </p:nvSpPr>
          <p:spPr bwMode="auto">
            <a:xfrm>
              <a:off x="2973389" y="2290785"/>
              <a:ext cx="26988" cy="53976"/>
            </a:xfrm>
            <a:custGeom>
              <a:avLst/>
              <a:gdLst>
                <a:gd name="T0" fmla="*/ 9 w 15"/>
                <a:gd name="T1" fmla="*/ 0 h 29"/>
                <a:gd name="T2" fmla="*/ 13 w 15"/>
                <a:gd name="T3" fmla="*/ 0 h 29"/>
                <a:gd name="T4" fmla="*/ 15 w 15"/>
                <a:gd name="T5" fmla="*/ 1 h 29"/>
                <a:gd name="T6" fmla="*/ 14 w 15"/>
                <a:gd name="T7" fmla="*/ 4 h 29"/>
                <a:gd name="T8" fmla="*/ 12 w 15"/>
                <a:gd name="T9" fmla="*/ 3 h 29"/>
                <a:gd name="T10" fmla="*/ 9 w 15"/>
                <a:gd name="T11" fmla="*/ 3 h 29"/>
                <a:gd name="T12" fmla="*/ 5 w 15"/>
                <a:gd name="T13" fmla="*/ 4 h 29"/>
                <a:gd name="T14" fmla="*/ 3 w 15"/>
                <a:gd name="T15" fmla="*/ 4 h 29"/>
                <a:gd name="T16" fmla="*/ 3 w 15"/>
                <a:gd name="T17" fmla="*/ 29 h 29"/>
                <a:gd name="T18" fmla="*/ 0 w 15"/>
                <a:gd name="T19" fmla="*/ 29 h 29"/>
                <a:gd name="T20" fmla="*/ 0 w 15"/>
                <a:gd name="T21" fmla="*/ 2 h 29"/>
                <a:gd name="T22" fmla="*/ 3 w 15"/>
                <a:gd name="T23" fmla="*/ 1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1"/>
                    <a:pt x="15" y="1"/>
                  </a:cubicBezTo>
                  <a:cubicBezTo>
                    <a:pt x="14" y="4"/>
                    <a:pt x="14" y="4"/>
                    <a:pt x="14" y="4"/>
                  </a:cubicBezTo>
                  <a:cubicBezTo>
                    <a:pt x="14" y="4"/>
                    <a:pt x="13" y="4"/>
                    <a:pt x="12" y="3"/>
                  </a:cubicBezTo>
                  <a:cubicBezTo>
                    <a:pt x="11" y="3"/>
                    <a:pt x="10" y="3"/>
                    <a:pt x="9" y="3"/>
                  </a:cubicBezTo>
                  <a:cubicBezTo>
                    <a:pt x="7" y="3"/>
                    <a:pt x="6" y="3"/>
                    <a:pt x="5" y="4"/>
                  </a:cubicBezTo>
                  <a:cubicBezTo>
                    <a:pt x="4" y="4"/>
                    <a:pt x="3" y="4"/>
                    <a:pt x="3" y="4"/>
                  </a:cubicBezTo>
                  <a:cubicBezTo>
                    <a:pt x="3" y="29"/>
                    <a:pt x="3" y="29"/>
                    <a:pt x="3" y="29"/>
                  </a:cubicBezTo>
                  <a:cubicBezTo>
                    <a:pt x="0" y="29"/>
                    <a:pt x="0" y="29"/>
                    <a:pt x="0" y="29"/>
                  </a:cubicBezTo>
                  <a:cubicBezTo>
                    <a:pt x="0" y="2"/>
                    <a:pt x="0" y="2"/>
                    <a:pt x="0" y="2"/>
                  </a:cubicBezTo>
                  <a:cubicBezTo>
                    <a:pt x="0" y="1"/>
                    <a:pt x="2" y="1"/>
                    <a:pt x="3" y="1"/>
                  </a:cubicBezTo>
                  <a:cubicBezTo>
                    <a:pt x="5" y="0"/>
                    <a:pt x="7" y="0"/>
                    <a:pt x="9"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25"/>
            <p:cNvSpPr>
              <a:spLocks noEditPoints="1"/>
            </p:cNvSpPr>
            <p:nvPr/>
          </p:nvSpPr>
          <p:spPr bwMode="auto">
            <a:xfrm>
              <a:off x="3009901" y="2290785"/>
              <a:ext cx="46038" cy="74613"/>
            </a:xfrm>
            <a:custGeom>
              <a:avLst/>
              <a:gdLst>
                <a:gd name="T0" fmla="*/ 4 w 25"/>
                <a:gd name="T1" fmla="*/ 40 h 40"/>
                <a:gd name="T2" fmla="*/ 0 w 25"/>
                <a:gd name="T3" fmla="*/ 40 h 40"/>
                <a:gd name="T4" fmla="*/ 0 w 25"/>
                <a:gd name="T5" fmla="*/ 2 h 40"/>
                <a:gd name="T6" fmla="*/ 5 w 25"/>
                <a:gd name="T7" fmla="*/ 0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29 h 40"/>
                <a:gd name="T28" fmla="*/ 4 w 25"/>
                <a:gd name="T29" fmla="*/ 28 h 40"/>
                <a:gd name="T30" fmla="*/ 4 w 25"/>
                <a:gd name="T31" fmla="*/ 40 h 40"/>
                <a:gd name="T32" fmla="*/ 4 w 25"/>
                <a:gd name="T33" fmla="*/ 24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3 h 40"/>
                <a:gd name="T46" fmla="*/ 21 w 25"/>
                <a:gd name="T47" fmla="*/ 20 h 40"/>
                <a:gd name="T48" fmla="*/ 21 w 25"/>
                <a:gd name="T49" fmla="*/ 15 h 40"/>
                <a:gd name="T50" fmla="*/ 18 w 25"/>
                <a:gd name="T51" fmla="*/ 6 h 40"/>
                <a:gd name="T52" fmla="*/ 11 w 25"/>
                <a:gd name="T53" fmla="*/ 3 h 40"/>
                <a:gd name="T54" fmla="*/ 7 w 25"/>
                <a:gd name="T55" fmla="*/ 3 h 40"/>
                <a:gd name="T56" fmla="*/ 4 w 25"/>
                <a:gd name="T57" fmla="*/ 4 h 40"/>
                <a:gd name="T58" fmla="*/ 4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2" y="1"/>
                    <a:pt x="3" y="1"/>
                    <a:pt x="5" y="0"/>
                  </a:cubicBezTo>
                  <a:cubicBezTo>
                    <a:pt x="6" y="0"/>
                    <a:pt x="8" y="0"/>
                    <a:pt x="11" y="0"/>
                  </a:cubicBezTo>
                  <a:cubicBezTo>
                    <a:pt x="13" y="0"/>
                    <a:pt x="15" y="0"/>
                    <a:pt x="17" y="1"/>
                  </a:cubicBezTo>
                  <a:cubicBezTo>
                    <a:pt x="19" y="2"/>
                    <a:pt x="20" y="3"/>
                    <a:pt x="21" y="4"/>
                  </a:cubicBezTo>
                  <a:cubicBezTo>
                    <a:pt x="23" y="5"/>
                    <a:pt x="23" y="7"/>
                    <a:pt x="24" y="9"/>
                  </a:cubicBezTo>
                  <a:cubicBezTo>
                    <a:pt x="25" y="11"/>
                    <a:pt x="25" y="13"/>
                    <a:pt x="25" y="15"/>
                  </a:cubicBezTo>
                  <a:cubicBezTo>
                    <a:pt x="25" y="17"/>
                    <a:pt x="25" y="19"/>
                    <a:pt x="24" y="21"/>
                  </a:cubicBezTo>
                  <a:cubicBezTo>
                    <a:pt x="24" y="23"/>
                    <a:pt x="23" y="25"/>
                    <a:pt x="22" y="26"/>
                  </a:cubicBezTo>
                  <a:cubicBezTo>
                    <a:pt x="21" y="27"/>
                    <a:pt x="19" y="28"/>
                    <a:pt x="18" y="29"/>
                  </a:cubicBezTo>
                  <a:cubicBezTo>
                    <a:pt x="16" y="30"/>
                    <a:pt x="14" y="30"/>
                    <a:pt x="12" y="30"/>
                  </a:cubicBezTo>
                  <a:cubicBezTo>
                    <a:pt x="10" y="30"/>
                    <a:pt x="9" y="30"/>
                    <a:pt x="7" y="29"/>
                  </a:cubicBezTo>
                  <a:cubicBezTo>
                    <a:pt x="6" y="29"/>
                    <a:pt x="5" y="28"/>
                    <a:pt x="4" y="28"/>
                  </a:cubicBezTo>
                  <a:lnTo>
                    <a:pt x="4" y="40"/>
                  </a:lnTo>
                  <a:close/>
                  <a:moveTo>
                    <a:pt x="4" y="24"/>
                  </a:moveTo>
                  <a:cubicBezTo>
                    <a:pt x="4" y="25"/>
                    <a:pt x="5" y="25"/>
                    <a:pt x="5" y="25"/>
                  </a:cubicBezTo>
                  <a:cubicBezTo>
                    <a:pt x="6" y="25"/>
                    <a:pt x="6" y="26"/>
                    <a:pt x="7" y="26"/>
                  </a:cubicBezTo>
                  <a:cubicBezTo>
                    <a:pt x="8" y="26"/>
                    <a:pt x="9" y="26"/>
                    <a:pt x="9" y="27"/>
                  </a:cubicBezTo>
                  <a:cubicBezTo>
                    <a:pt x="10" y="27"/>
                    <a:pt x="11" y="27"/>
                    <a:pt x="12" y="27"/>
                  </a:cubicBezTo>
                  <a:cubicBezTo>
                    <a:pt x="14" y="27"/>
                    <a:pt x="15" y="27"/>
                    <a:pt x="16" y="26"/>
                  </a:cubicBezTo>
                  <a:cubicBezTo>
                    <a:pt x="17" y="25"/>
                    <a:pt x="18" y="24"/>
                    <a:pt x="19" y="23"/>
                  </a:cubicBezTo>
                  <a:cubicBezTo>
                    <a:pt x="20" y="22"/>
                    <a:pt x="20" y="21"/>
                    <a:pt x="21" y="20"/>
                  </a:cubicBezTo>
                  <a:cubicBezTo>
                    <a:pt x="21" y="18"/>
                    <a:pt x="21" y="17"/>
                    <a:pt x="21" y="15"/>
                  </a:cubicBezTo>
                  <a:cubicBezTo>
                    <a:pt x="21" y="11"/>
                    <a:pt x="20" y="8"/>
                    <a:pt x="18" y="6"/>
                  </a:cubicBezTo>
                  <a:cubicBezTo>
                    <a:pt x="17" y="4"/>
                    <a:pt x="14" y="3"/>
                    <a:pt x="11" y="3"/>
                  </a:cubicBezTo>
                  <a:cubicBezTo>
                    <a:pt x="9" y="3"/>
                    <a:pt x="8" y="3"/>
                    <a:pt x="7" y="3"/>
                  </a:cubicBezTo>
                  <a:cubicBezTo>
                    <a:pt x="5" y="4"/>
                    <a:pt x="5" y="4"/>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26"/>
            <p:cNvSpPr>
              <a:spLocks/>
            </p:cNvSpPr>
            <p:nvPr/>
          </p:nvSpPr>
          <p:spPr bwMode="auto">
            <a:xfrm>
              <a:off x="3070226" y="2265385"/>
              <a:ext cx="15875" cy="80963"/>
            </a:xfrm>
            <a:custGeom>
              <a:avLst/>
              <a:gdLst>
                <a:gd name="T0" fmla="*/ 7 w 8"/>
                <a:gd name="T1" fmla="*/ 44 h 44"/>
                <a:gd name="T2" fmla="*/ 4 w 8"/>
                <a:gd name="T3" fmla="*/ 43 h 44"/>
                <a:gd name="T4" fmla="*/ 2 w 8"/>
                <a:gd name="T5" fmla="*/ 42 h 44"/>
                <a:gd name="T6" fmla="*/ 1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3" y="43"/>
                    <a:pt x="2" y="42"/>
                  </a:cubicBezTo>
                  <a:cubicBezTo>
                    <a:pt x="1" y="42"/>
                    <a:pt x="1" y="41"/>
                    <a:pt x="1" y="40"/>
                  </a:cubicBezTo>
                  <a:cubicBezTo>
                    <a:pt x="0"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4" y="40"/>
                    <a:pt x="5" y="40"/>
                  </a:cubicBezTo>
                  <a:cubicBezTo>
                    <a:pt x="5" y="40"/>
                    <a:pt x="5" y="40"/>
                    <a:pt x="6" y="41"/>
                  </a:cubicBezTo>
                  <a:cubicBezTo>
                    <a:pt x="7"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27"/>
            <p:cNvSpPr>
              <a:spLocks noEditPoints="1"/>
            </p:cNvSpPr>
            <p:nvPr/>
          </p:nvSpPr>
          <p:spPr bwMode="auto">
            <a:xfrm>
              <a:off x="3092451" y="2290785"/>
              <a:ext cx="41275" cy="55563"/>
            </a:xfrm>
            <a:custGeom>
              <a:avLst/>
              <a:gdLst>
                <a:gd name="T0" fmla="*/ 11 w 22"/>
                <a:gd name="T1" fmla="*/ 0 h 30"/>
                <a:gd name="T2" fmla="*/ 16 w 22"/>
                <a:gd name="T3" fmla="*/ 1 h 30"/>
                <a:gd name="T4" fmla="*/ 19 w 22"/>
                <a:gd name="T5" fmla="*/ 3 h 30"/>
                <a:gd name="T6" fmla="*/ 21 w 22"/>
                <a:gd name="T7" fmla="*/ 6 h 30"/>
                <a:gd name="T8" fmla="*/ 22 w 22"/>
                <a:gd name="T9" fmla="*/ 11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4 h 30"/>
                <a:gd name="T56" fmla="*/ 4 w 22"/>
                <a:gd name="T57" fmla="*/ 4 h 30"/>
                <a:gd name="T58" fmla="*/ 3 w 22"/>
                <a:gd name="T59" fmla="*/ 1 h 30"/>
                <a:gd name="T60" fmla="*/ 6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7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1"/>
                  </a:cubicBezTo>
                  <a:cubicBezTo>
                    <a:pt x="22" y="29"/>
                    <a:pt x="22" y="29"/>
                    <a:pt x="22" y="29"/>
                  </a:cubicBezTo>
                  <a:cubicBezTo>
                    <a:pt x="21" y="29"/>
                    <a:pt x="21" y="29"/>
                    <a:pt x="20" y="29"/>
                  </a:cubicBezTo>
                  <a:cubicBezTo>
                    <a:pt x="19" y="29"/>
                    <a:pt x="18" y="29"/>
                    <a:pt x="17"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3"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2" y="3"/>
                    <a:pt x="11" y="3"/>
                  </a:cubicBezTo>
                  <a:cubicBezTo>
                    <a:pt x="9" y="3"/>
                    <a:pt x="7" y="3"/>
                    <a:pt x="6" y="4"/>
                  </a:cubicBezTo>
                  <a:cubicBezTo>
                    <a:pt x="5" y="4"/>
                    <a:pt x="4" y="4"/>
                    <a:pt x="4" y="4"/>
                  </a:cubicBezTo>
                  <a:cubicBezTo>
                    <a:pt x="3" y="1"/>
                    <a:pt x="3" y="1"/>
                    <a:pt x="3" y="1"/>
                  </a:cubicBezTo>
                  <a:cubicBezTo>
                    <a:pt x="4" y="1"/>
                    <a:pt x="5" y="0"/>
                    <a:pt x="6"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0" y="15"/>
                    <a:pt x="9"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7" y="26"/>
                    <a:pt x="8" y="27"/>
                  </a:cubicBezTo>
                  <a:cubicBezTo>
                    <a:pt x="9" y="27"/>
                    <a:pt x="10"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28"/>
            <p:cNvSpPr>
              <a:spLocks/>
            </p:cNvSpPr>
            <p:nvPr/>
          </p:nvSpPr>
          <p:spPr bwMode="auto">
            <a:xfrm>
              <a:off x="3149601" y="2290785"/>
              <a:ext cx="39688" cy="53976"/>
            </a:xfrm>
            <a:custGeom>
              <a:avLst/>
              <a:gdLst>
                <a:gd name="T0" fmla="*/ 0 w 22"/>
                <a:gd name="T1" fmla="*/ 2 h 29"/>
                <a:gd name="T2" fmla="*/ 4 w 22"/>
                <a:gd name="T3" fmla="*/ 1 h 29"/>
                <a:gd name="T4" fmla="*/ 11 w 22"/>
                <a:gd name="T5" fmla="*/ 0 h 29"/>
                <a:gd name="T6" fmla="*/ 16 w 22"/>
                <a:gd name="T7" fmla="*/ 1 h 29"/>
                <a:gd name="T8" fmla="*/ 20 w 22"/>
                <a:gd name="T9" fmla="*/ 4 h 29"/>
                <a:gd name="T10" fmla="*/ 22 w 22"/>
                <a:gd name="T11" fmla="*/ 8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6 h 29"/>
                <a:gd name="T24" fmla="*/ 14 w 22"/>
                <a:gd name="T25" fmla="*/ 4 h 29"/>
                <a:gd name="T26" fmla="*/ 10 w 22"/>
                <a:gd name="T27" fmla="*/ 3 h 29"/>
                <a:gd name="T28" fmla="*/ 6 w 22"/>
                <a:gd name="T29" fmla="*/ 4 h 29"/>
                <a:gd name="T30" fmla="*/ 4 w 22"/>
                <a:gd name="T31" fmla="*/ 4 h 29"/>
                <a:gd name="T32" fmla="*/ 4 w 22"/>
                <a:gd name="T33" fmla="*/ 29 h 29"/>
                <a:gd name="T34" fmla="*/ 0 w 22"/>
                <a:gd name="T35" fmla="*/ 29 h 29"/>
                <a:gd name="T36" fmla="*/ 0 w 22"/>
                <a:gd name="T37"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2"/>
                  </a:moveTo>
                  <a:cubicBezTo>
                    <a:pt x="1" y="1"/>
                    <a:pt x="2" y="1"/>
                    <a:pt x="4" y="1"/>
                  </a:cubicBezTo>
                  <a:cubicBezTo>
                    <a:pt x="6" y="0"/>
                    <a:pt x="8" y="0"/>
                    <a:pt x="11" y="0"/>
                  </a:cubicBezTo>
                  <a:cubicBezTo>
                    <a:pt x="13" y="0"/>
                    <a:pt x="15" y="0"/>
                    <a:pt x="16" y="1"/>
                  </a:cubicBezTo>
                  <a:cubicBezTo>
                    <a:pt x="18" y="2"/>
                    <a:pt x="19" y="2"/>
                    <a:pt x="20" y="4"/>
                  </a:cubicBezTo>
                  <a:cubicBezTo>
                    <a:pt x="21" y="5"/>
                    <a:pt x="22" y="6"/>
                    <a:pt x="22" y="8"/>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9" y="11"/>
                    <a:pt x="18" y="9"/>
                  </a:cubicBezTo>
                  <a:cubicBezTo>
                    <a:pt x="18" y="8"/>
                    <a:pt x="18" y="7"/>
                    <a:pt x="17" y="6"/>
                  </a:cubicBezTo>
                  <a:cubicBezTo>
                    <a:pt x="16" y="5"/>
                    <a:pt x="15" y="4"/>
                    <a:pt x="14" y="4"/>
                  </a:cubicBezTo>
                  <a:cubicBezTo>
                    <a:pt x="13" y="3"/>
                    <a:pt x="12" y="3"/>
                    <a:pt x="10" y="3"/>
                  </a:cubicBezTo>
                  <a:cubicBezTo>
                    <a:pt x="9" y="3"/>
                    <a:pt x="7" y="3"/>
                    <a:pt x="6" y="4"/>
                  </a:cubicBezTo>
                  <a:cubicBezTo>
                    <a:pt x="5" y="4"/>
                    <a:pt x="4" y="4"/>
                    <a:pt x="4" y="4"/>
                  </a:cubicBezTo>
                  <a:cubicBezTo>
                    <a:pt x="4" y="29"/>
                    <a:pt x="4" y="29"/>
                    <a:pt x="4" y="29"/>
                  </a:cubicBezTo>
                  <a:cubicBezTo>
                    <a:pt x="0" y="29"/>
                    <a:pt x="0" y="29"/>
                    <a:pt x="0" y="29"/>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29"/>
            <p:cNvSpPr>
              <a:spLocks noEditPoints="1"/>
            </p:cNvSpPr>
            <p:nvPr/>
          </p:nvSpPr>
          <p:spPr bwMode="auto">
            <a:xfrm>
              <a:off x="3205164" y="2290785"/>
              <a:ext cx="42863" cy="55563"/>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8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6"/>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4" y="27"/>
                    <a:pt x="3" y="26"/>
                  </a:cubicBezTo>
                  <a:cubicBezTo>
                    <a:pt x="2" y="24"/>
                    <a:pt x="1" y="23"/>
                    <a:pt x="1" y="21"/>
                  </a:cubicBezTo>
                  <a:cubicBezTo>
                    <a:pt x="0" y="19"/>
                    <a:pt x="0" y="17"/>
                    <a:pt x="0" y="15"/>
                  </a:cubicBezTo>
                  <a:close/>
                  <a:moveTo>
                    <a:pt x="21" y="13"/>
                  </a:moveTo>
                  <a:cubicBezTo>
                    <a:pt x="20" y="10"/>
                    <a:pt x="20" y="7"/>
                    <a:pt x="18" y="6"/>
                  </a:cubicBezTo>
                  <a:cubicBezTo>
                    <a:pt x="17" y="4"/>
                    <a:pt x="15" y="3"/>
                    <a:pt x="13" y="3"/>
                  </a:cubicBezTo>
                  <a:cubicBezTo>
                    <a:pt x="11"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30"/>
            <p:cNvSpPr>
              <a:spLocks noChangeArrowheads="1"/>
            </p:cNvSpPr>
            <p:nvPr/>
          </p:nvSpPr>
          <p:spPr bwMode="auto">
            <a:xfrm>
              <a:off x="3281364" y="2311423"/>
              <a:ext cx="23813" cy="793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31"/>
            <p:cNvSpPr>
              <a:spLocks/>
            </p:cNvSpPr>
            <p:nvPr/>
          </p:nvSpPr>
          <p:spPr bwMode="auto">
            <a:xfrm>
              <a:off x="3314701" y="2273323"/>
              <a:ext cx="41275" cy="71438"/>
            </a:xfrm>
            <a:custGeom>
              <a:avLst/>
              <a:gdLst>
                <a:gd name="T0" fmla="*/ 22 w 23"/>
                <a:gd name="T1" fmla="*/ 10 h 39"/>
                <a:gd name="T2" fmla="*/ 21 w 23"/>
                <a:gd name="T3" fmla="*/ 14 h 39"/>
                <a:gd name="T4" fmla="*/ 19 w 23"/>
                <a:gd name="T5" fmla="*/ 18 h 39"/>
                <a:gd name="T6" fmla="*/ 16 w 23"/>
                <a:gd name="T7" fmla="*/ 22 h 39"/>
                <a:gd name="T8" fmla="*/ 12 w 23"/>
                <a:gd name="T9" fmla="*/ 25 h 39"/>
                <a:gd name="T10" fmla="*/ 10 w 23"/>
                <a:gd name="T11" fmla="*/ 28 h 39"/>
                <a:gd name="T12" fmla="*/ 7 w 23"/>
                <a:gd name="T13" fmla="*/ 31 h 39"/>
                <a:gd name="T14" fmla="*/ 5 w 23"/>
                <a:gd name="T15" fmla="*/ 33 h 39"/>
                <a:gd name="T16" fmla="*/ 5 w 23"/>
                <a:gd name="T17" fmla="*/ 36 h 39"/>
                <a:gd name="T18" fmla="*/ 5 w 23"/>
                <a:gd name="T19" fmla="*/ 36 h 39"/>
                <a:gd name="T20" fmla="*/ 23 w 23"/>
                <a:gd name="T21" fmla="*/ 36 h 39"/>
                <a:gd name="T22" fmla="*/ 23 w 23"/>
                <a:gd name="T23" fmla="*/ 39 h 39"/>
                <a:gd name="T24" fmla="*/ 1 w 23"/>
                <a:gd name="T25" fmla="*/ 39 h 39"/>
                <a:gd name="T26" fmla="*/ 1 w 23"/>
                <a:gd name="T27" fmla="*/ 39 h 39"/>
                <a:gd name="T28" fmla="*/ 1 w 23"/>
                <a:gd name="T29" fmla="*/ 38 h 39"/>
                <a:gd name="T30" fmla="*/ 2 w 23"/>
                <a:gd name="T31" fmla="*/ 33 h 39"/>
                <a:gd name="T32" fmla="*/ 4 w 23"/>
                <a:gd name="T33" fmla="*/ 29 h 39"/>
                <a:gd name="T34" fmla="*/ 7 w 23"/>
                <a:gd name="T35" fmla="*/ 25 h 39"/>
                <a:gd name="T36" fmla="*/ 11 w 23"/>
                <a:gd name="T37" fmla="*/ 22 h 39"/>
                <a:gd name="T38" fmla="*/ 14 w 23"/>
                <a:gd name="T39" fmla="*/ 19 h 39"/>
                <a:gd name="T40" fmla="*/ 16 w 23"/>
                <a:gd name="T41" fmla="*/ 17 h 39"/>
                <a:gd name="T42" fmla="*/ 17 w 23"/>
                <a:gd name="T43" fmla="*/ 14 h 39"/>
                <a:gd name="T44" fmla="*/ 18 w 23"/>
                <a:gd name="T45" fmla="*/ 10 h 39"/>
                <a:gd name="T46" fmla="*/ 16 w 23"/>
                <a:gd name="T47" fmla="*/ 5 h 39"/>
                <a:gd name="T48" fmla="*/ 10 w 23"/>
                <a:gd name="T49" fmla="*/ 3 h 39"/>
                <a:gd name="T50" fmla="*/ 7 w 23"/>
                <a:gd name="T51" fmla="*/ 4 h 39"/>
                <a:gd name="T52" fmla="*/ 5 w 23"/>
                <a:gd name="T53" fmla="*/ 5 h 39"/>
                <a:gd name="T54" fmla="*/ 3 w 23"/>
                <a:gd name="T55" fmla="*/ 6 h 39"/>
                <a:gd name="T56" fmla="*/ 2 w 23"/>
                <a:gd name="T57" fmla="*/ 7 h 39"/>
                <a:gd name="T58" fmla="*/ 0 w 23"/>
                <a:gd name="T59" fmla="*/ 4 h 39"/>
                <a:gd name="T60" fmla="*/ 1 w 23"/>
                <a:gd name="T61" fmla="*/ 3 h 39"/>
                <a:gd name="T62" fmla="*/ 3 w 23"/>
                <a:gd name="T63" fmla="*/ 2 h 39"/>
                <a:gd name="T64" fmla="*/ 6 w 23"/>
                <a:gd name="T65" fmla="*/ 0 h 39"/>
                <a:gd name="T66" fmla="*/ 10 w 23"/>
                <a:gd name="T67" fmla="*/ 0 h 39"/>
                <a:gd name="T68" fmla="*/ 19 w 23"/>
                <a:gd name="T69" fmla="*/ 3 h 39"/>
                <a:gd name="T70" fmla="*/ 22 w 23"/>
                <a:gd name="T71"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9">
                  <a:moveTo>
                    <a:pt x="22" y="10"/>
                  </a:moveTo>
                  <a:cubicBezTo>
                    <a:pt x="22" y="12"/>
                    <a:pt x="21" y="13"/>
                    <a:pt x="21" y="14"/>
                  </a:cubicBezTo>
                  <a:cubicBezTo>
                    <a:pt x="20" y="16"/>
                    <a:pt x="20" y="17"/>
                    <a:pt x="19" y="18"/>
                  </a:cubicBezTo>
                  <a:cubicBezTo>
                    <a:pt x="18" y="19"/>
                    <a:pt x="17" y="20"/>
                    <a:pt x="16" y="22"/>
                  </a:cubicBezTo>
                  <a:cubicBezTo>
                    <a:pt x="15" y="23"/>
                    <a:pt x="14" y="24"/>
                    <a:pt x="12" y="25"/>
                  </a:cubicBezTo>
                  <a:cubicBezTo>
                    <a:pt x="11" y="26"/>
                    <a:pt x="11" y="27"/>
                    <a:pt x="10" y="28"/>
                  </a:cubicBezTo>
                  <a:cubicBezTo>
                    <a:pt x="9" y="29"/>
                    <a:pt x="8" y="30"/>
                    <a:pt x="7" y="31"/>
                  </a:cubicBezTo>
                  <a:cubicBezTo>
                    <a:pt x="6" y="32"/>
                    <a:pt x="6" y="33"/>
                    <a:pt x="5" y="33"/>
                  </a:cubicBezTo>
                  <a:cubicBezTo>
                    <a:pt x="5" y="34"/>
                    <a:pt x="5" y="35"/>
                    <a:pt x="5" y="36"/>
                  </a:cubicBezTo>
                  <a:cubicBezTo>
                    <a:pt x="5" y="36"/>
                    <a:pt x="5" y="36"/>
                    <a:pt x="5" y="36"/>
                  </a:cubicBezTo>
                  <a:cubicBezTo>
                    <a:pt x="23" y="36"/>
                    <a:pt x="23" y="36"/>
                    <a:pt x="23" y="36"/>
                  </a:cubicBezTo>
                  <a:cubicBezTo>
                    <a:pt x="23" y="39"/>
                    <a:pt x="23" y="39"/>
                    <a:pt x="23" y="39"/>
                  </a:cubicBezTo>
                  <a:cubicBezTo>
                    <a:pt x="1" y="39"/>
                    <a:pt x="1" y="39"/>
                    <a:pt x="1" y="39"/>
                  </a:cubicBezTo>
                  <a:cubicBezTo>
                    <a:pt x="1" y="39"/>
                    <a:pt x="1" y="39"/>
                    <a:pt x="1" y="39"/>
                  </a:cubicBezTo>
                  <a:cubicBezTo>
                    <a:pt x="1" y="39"/>
                    <a:pt x="1" y="39"/>
                    <a:pt x="1" y="38"/>
                  </a:cubicBezTo>
                  <a:cubicBezTo>
                    <a:pt x="1" y="36"/>
                    <a:pt x="1" y="35"/>
                    <a:pt x="2" y="33"/>
                  </a:cubicBezTo>
                  <a:cubicBezTo>
                    <a:pt x="2" y="32"/>
                    <a:pt x="3" y="30"/>
                    <a:pt x="4" y="29"/>
                  </a:cubicBezTo>
                  <a:cubicBezTo>
                    <a:pt x="5" y="28"/>
                    <a:pt x="6" y="26"/>
                    <a:pt x="7" y="25"/>
                  </a:cubicBezTo>
                  <a:cubicBezTo>
                    <a:pt x="9" y="24"/>
                    <a:pt x="10" y="23"/>
                    <a:pt x="11" y="22"/>
                  </a:cubicBezTo>
                  <a:cubicBezTo>
                    <a:pt x="12" y="21"/>
                    <a:pt x="13" y="20"/>
                    <a:pt x="14" y="19"/>
                  </a:cubicBezTo>
                  <a:cubicBezTo>
                    <a:pt x="14" y="18"/>
                    <a:pt x="15" y="18"/>
                    <a:pt x="16" y="17"/>
                  </a:cubicBezTo>
                  <a:cubicBezTo>
                    <a:pt x="16" y="16"/>
                    <a:pt x="17" y="15"/>
                    <a:pt x="17" y="14"/>
                  </a:cubicBezTo>
                  <a:cubicBezTo>
                    <a:pt x="18" y="13"/>
                    <a:pt x="18" y="12"/>
                    <a:pt x="18" y="10"/>
                  </a:cubicBezTo>
                  <a:cubicBezTo>
                    <a:pt x="18" y="8"/>
                    <a:pt x="17" y="6"/>
                    <a:pt x="16" y="5"/>
                  </a:cubicBezTo>
                  <a:cubicBezTo>
                    <a:pt x="14" y="4"/>
                    <a:pt x="13" y="3"/>
                    <a:pt x="10" y="3"/>
                  </a:cubicBezTo>
                  <a:cubicBezTo>
                    <a:pt x="9" y="3"/>
                    <a:pt x="8" y="3"/>
                    <a:pt x="7" y="4"/>
                  </a:cubicBezTo>
                  <a:cubicBezTo>
                    <a:pt x="6" y="4"/>
                    <a:pt x="5" y="4"/>
                    <a:pt x="5" y="5"/>
                  </a:cubicBezTo>
                  <a:cubicBezTo>
                    <a:pt x="4" y="5"/>
                    <a:pt x="3" y="5"/>
                    <a:pt x="3" y="6"/>
                  </a:cubicBezTo>
                  <a:cubicBezTo>
                    <a:pt x="3" y="6"/>
                    <a:pt x="2" y="7"/>
                    <a:pt x="2" y="7"/>
                  </a:cubicBezTo>
                  <a:cubicBezTo>
                    <a:pt x="0" y="4"/>
                    <a:pt x="0" y="4"/>
                    <a:pt x="0" y="4"/>
                  </a:cubicBezTo>
                  <a:cubicBezTo>
                    <a:pt x="0" y="4"/>
                    <a:pt x="1" y="4"/>
                    <a:pt x="1" y="3"/>
                  </a:cubicBezTo>
                  <a:cubicBezTo>
                    <a:pt x="2" y="3"/>
                    <a:pt x="3" y="2"/>
                    <a:pt x="3" y="2"/>
                  </a:cubicBezTo>
                  <a:cubicBezTo>
                    <a:pt x="4" y="1"/>
                    <a:pt x="5" y="1"/>
                    <a:pt x="6" y="0"/>
                  </a:cubicBezTo>
                  <a:cubicBezTo>
                    <a:pt x="8" y="0"/>
                    <a:pt x="9" y="0"/>
                    <a:pt x="10" y="0"/>
                  </a:cubicBezTo>
                  <a:cubicBezTo>
                    <a:pt x="14" y="0"/>
                    <a:pt x="17" y="1"/>
                    <a:pt x="19" y="3"/>
                  </a:cubicBezTo>
                  <a:cubicBezTo>
                    <a:pt x="21" y="4"/>
                    <a:pt x="22" y="7"/>
                    <a:pt x="22" y="1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1" name="Group 620">
            <a:extLst>
              <a:ext uri="{FF2B5EF4-FFF2-40B4-BE49-F238E27FC236}">
                <a16:creationId xmlns:a16="http://schemas.microsoft.com/office/drawing/2014/main" id="{A7F14753-226D-4EBC-A378-AB7EFBB8BECA}"/>
              </a:ext>
            </a:extLst>
          </p:cNvPr>
          <p:cNvGrpSpPr/>
          <p:nvPr/>
        </p:nvGrpSpPr>
        <p:grpSpPr>
          <a:xfrm>
            <a:off x="368301" y="2286896"/>
            <a:ext cx="844550" cy="793750"/>
            <a:chOff x="355601" y="2425587"/>
            <a:chExt cx="844550" cy="793750"/>
          </a:xfrm>
        </p:grpSpPr>
        <p:sp>
          <p:nvSpPr>
            <p:cNvPr id="47" name="Freeform 37"/>
            <p:cNvSpPr>
              <a:spLocks/>
            </p:cNvSpPr>
            <p:nvPr/>
          </p:nvSpPr>
          <p:spPr bwMode="auto">
            <a:xfrm>
              <a:off x="35560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38"/>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39"/>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0"/>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0" name="Group 619">
            <a:extLst>
              <a:ext uri="{FF2B5EF4-FFF2-40B4-BE49-F238E27FC236}">
                <a16:creationId xmlns:a16="http://schemas.microsoft.com/office/drawing/2014/main" id="{80E79E00-8E7F-43C7-B088-6AADE8AD4826}"/>
              </a:ext>
            </a:extLst>
          </p:cNvPr>
          <p:cNvGrpSpPr/>
          <p:nvPr/>
        </p:nvGrpSpPr>
        <p:grpSpPr>
          <a:xfrm>
            <a:off x="1574238" y="2286896"/>
            <a:ext cx="844550" cy="793750"/>
            <a:chOff x="1555751" y="2425587"/>
            <a:chExt cx="844550" cy="793750"/>
          </a:xfrm>
        </p:grpSpPr>
        <p:sp>
          <p:nvSpPr>
            <p:cNvPr id="51" name="Freeform 41"/>
            <p:cNvSpPr>
              <a:spLocks/>
            </p:cNvSpPr>
            <p:nvPr/>
          </p:nvSpPr>
          <p:spPr bwMode="auto">
            <a:xfrm>
              <a:off x="155575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42"/>
            <p:cNvSpPr>
              <a:spLocks/>
            </p:cNvSpPr>
            <p:nvPr/>
          </p:nvSpPr>
          <p:spPr bwMode="auto">
            <a:xfrm>
              <a:off x="1890714" y="2597037"/>
              <a:ext cx="174625" cy="455613"/>
            </a:xfrm>
            <a:custGeom>
              <a:avLst/>
              <a:gdLst>
                <a:gd name="T0" fmla="*/ 59 w 91"/>
                <a:gd name="T1" fmla="*/ 235 h 235"/>
                <a:gd name="T2" fmla="*/ 53 w 91"/>
                <a:gd name="T3" fmla="*/ 232 h 235"/>
                <a:gd name="T4" fmla="*/ 53 w 91"/>
                <a:gd name="T5" fmla="*/ 219 h 235"/>
                <a:gd name="T6" fmla="*/ 58 w 91"/>
                <a:gd name="T7" fmla="*/ 171 h 235"/>
                <a:gd name="T8" fmla="*/ 30 w 91"/>
                <a:gd name="T9" fmla="*/ 113 h 235"/>
                <a:gd name="T10" fmla="*/ 6 w 91"/>
                <a:gd name="T11" fmla="*/ 52 h 235"/>
                <a:gd name="T12" fmla="*/ 18 w 91"/>
                <a:gd name="T13" fmla="*/ 4 h 235"/>
                <a:gd name="T14" fmla="*/ 31 w 91"/>
                <a:gd name="T15" fmla="*/ 3 h 235"/>
                <a:gd name="T16" fmla="*/ 32 w 91"/>
                <a:gd name="T17" fmla="*/ 15 h 235"/>
                <a:gd name="T18" fmla="*/ 23 w 91"/>
                <a:gd name="T19" fmla="*/ 48 h 235"/>
                <a:gd name="T20" fmla="*/ 23 w 91"/>
                <a:gd name="T21" fmla="*/ 49 h 235"/>
                <a:gd name="T22" fmla="*/ 46 w 91"/>
                <a:gd name="T23" fmla="*/ 104 h 235"/>
                <a:gd name="T24" fmla="*/ 74 w 91"/>
                <a:gd name="T25" fmla="*/ 164 h 235"/>
                <a:gd name="T26" fmla="*/ 65 w 91"/>
                <a:gd name="T27" fmla="*/ 232 h 235"/>
                <a:gd name="T28" fmla="*/ 59 w 91"/>
                <a:gd name="T2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235">
                  <a:moveTo>
                    <a:pt x="59" y="235"/>
                  </a:moveTo>
                  <a:cubicBezTo>
                    <a:pt x="57" y="235"/>
                    <a:pt x="54" y="234"/>
                    <a:pt x="53" y="232"/>
                  </a:cubicBezTo>
                  <a:cubicBezTo>
                    <a:pt x="50" y="228"/>
                    <a:pt x="50" y="223"/>
                    <a:pt x="53" y="219"/>
                  </a:cubicBezTo>
                  <a:cubicBezTo>
                    <a:pt x="54" y="219"/>
                    <a:pt x="70" y="203"/>
                    <a:pt x="58" y="171"/>
                  </a:cubicBezTo>
                  <a:cubicBezTo>
                    <a:pt x="48" y="147"/>
                    <a:pt x="39" y="129"/>
                    <a:pt x="30" y="113"/>
                  </a:cubicBezTo>
                  <a:cubicBezTo>
                    <a:pt x="18" y="90"/>
                    <a:pt x="9" y="73"/>
                    <a:pt x="6" y="52"/>
                  </a:cubicBezTo>
                  <a:cubicBezTo>
                    <a:pt x="0" y="26"/>
                    <a:pt x="18" y="5"/>
                    <a:pt x="18" y="4"/>
                  </a:cubicBezTo>
                  <a:cubicBezTo>
                    <a:pt x="22" y="0"/>
                    <a:pt x="27" y="0"/>
                    <a:pt x="31" y="3"/>
                  </a:cubicBezTo>
                  <a:cubicBezTo>
                    <a:pt x="34" y="6"/>
                    <a:pt x="35" y="12"/>
                    <a:pt x="32" y="15"/>
                  </a:cubicBezTo>
                  <a:cubicBezTo>
                    <a:pt x="31" y="16"/>
                    <a:pt x="19" y="31"/>
                    <a:pt x="23" y="48"/>
                  </a:cubicBezTo>
                  <a:cubicBezTo>
                    <a:pt x="23" y="49"/>
                    <a:pt x="23" y="49"/>
                    <a:pt x="23" y="49"/>
                  </a:cubicBezTo>
                  <a:cubicBezTo>
                    <a:pt x="26" y="67"/>
                    <a:pt x="35" y="83"/>
                    <a:pt x="46" y="104"/>
                  </a:cubicBezTo>
                  <a:cubicBezTo>
                    <a:pt x="54" y="121"/>
                    <a:pt x="64" y="140"/>
                    <a:pt x="74" y="164"/>
                  </a:cubicBezTo>
                  <a:cubicBezTo>
                    <a:pt x="91" y="208"/>
                    <a:pt x="66" y="231"/>
                    <a:pt x="65" y="232"/>
                  </a:cubicBezTo>
                  <a:cubicBezTo>
                    <a:pt x="63" y="234"/>
                    <a:pt x="61" y="235"/>
                    <a:pt x="59" y="2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43"/>
            <p:cNvSpPr>
              <a:spLocks/>
            </p:cNvSpPr>
            <p:nvPr/>
          </p:nvSpPr>
          <p:spPr bwMode="auto">
            <a:xfrm>
              <a:off x="1968501" y="2630375"/>
              <a:ext cx="119063" cy="50800"/>
            </a:xfrm>
            <a:custGeom>
              <a:avLst/>
              <a:gdLst>
                <a:gd name="T0" fmla="*/ 52 w 62"/>
                <a:gd name="T1" fmla="*/ 26 h 26"/>
                <a:gd name="T2" fmla="*/ 51 w 62"/>
                <a:gd name="T3" fmla="*/ 26 h 26"/>
                <a:gd name="T4" fmla="*/ 7 w 62"/>
                <a:gd name="T5" fmla="*/ 18 h 26"/>
                <a:gd name="T6" fmla="*/ 1 w 62"/>
                <a:gd name="T7" fmla="*/ 8 h 26"/>
                <a:gd name="T8" fmla="*/ 11 w 62"/>
                <a:gd name="T9" fmla="*/ 1 h 26"/>
                <a:gd name="T10" fmla="*/ 54 w 62"/>
                <a:gd name="T11" fmla="*/ 9 h 26"/>
                <a:gd name="T12" fmla="*/ 61 w 62"/>
                <a:gd name="T13" fmla="*/ 19 h 26"/>
                <a:gd name="T14" fmla="*/ 52 w 62"/>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6">
                  <a:moveTo>
                    <a:pt x="52" y="26"/>
                  </a:moveTo>
                  <a:cubicBezTo>
                    <a:pt x="52" y="26"/>
                    <a:pt x="51" y="26"/>
                    <a:pt x="51" y="26"/>
                  </a:cubicBezTo>
                  <a:cubicBezTo>
                    <a:pt x="7" y="18"/>
                    <a:pt x="7" y="18"/>
                    <a:pt x="7" y="18"/>
                  </a:cubicBezTo>
                  <a:cubicBezTo>
                    <a:pt x="3" y="17"/>
                    <a:pt x="0" y="12"/>
                    <a:pt x="1" y="8"/>
                  </a:cubicBezTo>
                  <a:cubicBezTo>
                    <a:pt x="1" y="3"/>
                    <a:pt x="6" y="0"/>
                    <a:pt x="11" y="1"/>
                  </a:cubicBezTo>
                  <a:cubicBezTo>
                    <a:pt x="54" y="9"/>
                    <a:pt x="54" y="9"/>
                    <a:pt x="54" y="9"/>
                  </a:cubicBezTo>
                  <a:cubicBezTo>
                    <a:pt x="59" y="10"/>
                    <a:pt x="62" y="14"/>
                    <a:pt x="61" y="19"/>
                  </a:cubicBezTo>
                  <a:cubicBezTo>
                    <a:pt x="60" y="23"/>
                    <a:pt x="56" y="26"/>
                    <a:pt x="52" y="26"/>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44"/>
            <p:cNvSpPr>
              <a:spLocks/>
            </p:cNvSpPr>
            <p:nvPr/>
          </p:nvSpPr>
          <p:spPr bwMode="auto">
            <a:xfrm>
              <a:off x="1951039" y="2673237"/>
              <a:ext cx="141288" cy="65088"/>
            </a:xfrm>
            <a:custGeom>
              <a:avLst/>
              <a:gdLst>
                <a:gd name="T0" fmla="*/ 65 w 74"/>
                <a:gd name="T1" fmla="*/ 34 h 34"/>
                <a:gd name="T2" fmla="*/ 62 w 74"/>
                <a:gd name="T3" fmla="*/ 33 h 34"/>
                <a:gd name="T4" fmla="*/ 7 w 74"/>
                <a:gd name="T5" fmla="*/ 18 h 34"/>
                <a:gd name="T6" fmla="*/ 1 w 74"/>
                <a:gd name="T7" fmla="*/ 7 h 34"/>
                <a:gd name="T8" fmla="*/ 12 w 74"/>
                <a:gd name="T9" fmla="*/ 1 h 34"/>
                <a:gd name="T10" fmla="*/ 67 w 74"/>
                <a:gd name="T11" fmla="*/ 16 h 34"/>
                <a:gd name="T12" fmla="*/ 73 w 74"/>
                <a:gd name="T13" fmla="*/ 27 h 34"/>
                <a:gd name="T14" fmla="*/ 65 w 7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34">
                  <a:moveTo>
                    <a:pt x="65" y="34"/>
                  </a:moveTo>
                  <a:cubicBezTo>
                    <a:pt x="64" y="34"/>
                    <a:pt x="63" y="33"/>
                    <a:pt x="62" y="33"/>
                  </a:cubicBezTo>
                  <a:cubicBezTo>
                    <a:pt x="7" y="18"/>
                    <a:pt x="7" y="18"/>
                    <a:pt x="7" y="18"/>
                  </a:cubicBezTo>
                  <a:cubicBezTo>
                    <a:pt x="2" y="17"/>
                    <a:pt x="0" y="12"/>
                    <a:pt x="1" y="7"/>
                  </a:cubicBezTo>
                  <a:cubicBezTo>
                    <a:pt x="2" y="3"/>
                    <a:pt x="7" y="0"/>
                    <a:pt x="12" y="1"/>
                  </a:cubicBezTo>
                  <a:cubicBezTo>
                    <a:pt x="67" y="16"/>
                    <a:pt x="67" y="16"/>
                    <a:pt x="67" y="16"/>
                  </a:cubicBezTo>
                  <a:cubicBezTo>
                    <a:pt x="72" y="18"/>
                    <a:pt x="74" y="23"/>
                    <a:pt x="73" y="27"/>
                  </a:cubicBezTo>
                  <a:cubicBezTo>
                    <a:pt x="72" y="31"/>
                    <a:pt x="69" y="34"/>
                    <a:pt x="65" y="34"/>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45"/>
            <p:cNvSpPr>
              <a:spLocks/>
            </p:cNvSpPr>
            <p:nvPr/>
          </p:nvSpPr>
          <p:spPr bwMode="auto">
            <a:xfrm>
              <a:off x="1965326" y="2717687"/>
              <a:ext cx="88900" cy="57150"/>
            </a:xfrm>
            <a:custGeom>
              <a:avLst/>
              <a:gdLst>
                <a:gd name="T0" fmla="*/ 36 w 46"/>
                <a:gd name="T1" fmla="*/ 30 h 30"/>
                <a:gd name="T2" fmla="*/ 32 w 46"/>
                <a:gd name="T3" fmla="*/ 30 h 30"/>
                <a:gd name="T4" fmla="*/ 6 w 46"/>
                <a:gd name="T5" fmla="*/ 18 h 30"/>
                <a:gd name="T6" fmla="*/ 2 w 46"/>
                <a:gd name="T7" fmla="*/ 7 h 30"/>
                <a:gd name="T8" fmla="*/ 13 w 46"/>
                <a:gd name="T9" fmla="*/ 2 h 30"/>
                <a:gd name="T10" fmla="*/ 39 w 46"/>
                <a:gd name="T11" fmla="*/ 14 h 30"/>
                <a:gd name="T12" fmla="*/ 44 w 46"/>
                <a:gd name="T13" fmla="*/ 25 h 30"/>
                <a:gd name="T14" fmla="*/ 36 w 46"/>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0">
                  <a:moveTo>
                    <a:pt x="36" y="30"/>
                  </a:moveTo>
                  <a:cubicBezTo>
                    <a:pt x="35" y="30"/>
                    <a:pt x="34" y="30"/>
                    <a:pt x="32" y="30"/>
                  </a:cubicBezTo>
                  <a:cubicBezTo>
                    <a:pt x="6" y="18"/>
                    <a:pt x="6" y="18"/>
                    <a:pt x="6" y="18"/>
                  </a:cubicBezTo>
                  <a:cubicBezTo>
                    <a:pt x="2" y="16"/>
                    <a:pt x="0" y="11"/>
                    <a:pt x="2" y="7"/>
                  </a:cubicBezTo>
                  <a:cubicBezTo>
                    <a:pt x="4" y="2"/>
                    <a:pt x="9" y="0"/>
                    <a:pt x="13" y="2"/>
                  </a:cubicBezTo>
                  <a:cubicBezTo>
                    <a:pt x="39" y="14"/>
                    <a:pt x="39" y="14"/>
                    <a:pt x="39" y="14"/>
                  </a:cubicBezTo>
                  <a:cubicBezTo>
                    <a:pt x="44" y="16"/>
                    <a:pt x="46" y="21"/>
                    <a:pt x="44" y="25"/>
                  </a:cubicBezTo>
                  <a:cubicBezTo>
                    <a:pt x="42" y="28"/>
                    <a:pt x="39" y="30"/>
                    <a:pt x="36" y="30"/>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46"/>
            <p:cNvSpPr>
              <a:spLocks/>
            </p:cNvSpPr>
            <p:nvPr/>
          </p:nvSpPr>
          <p:spPr bwMode="auto">
            <a:xfrm>
              <a:off x="1881189" y="2878025"/>
              <a:ext cx="95250" cy="53975"/>
            </a:xfrm>
            <a:custGeom>
              <a:avLst/>
              <a:gdLst>
                <a:gd name="T0" fmla="*/ 40 w 49"/>
                <a:gd name="T1" fmla="*/ 28 h 28"/>
                <a:gd name="T2" fmla="*/ 37 w 49"/>
                <a:gd name="T3" fmla="*/ 27 h 28"/>
                <a:gd name="T4" fmla="*/ 7 w 49"/>
                <a:gd name="T5" fmla="*/ 18 h 28"/>
                <a:gd name="T6" fmla="*/ 2 w 49"/>
                <a:gd name="T7" fmla="*/ 7 h 28"/>
                <a:gd name="T8" fmla="*/ 13 w 49"/>
                <a:gd name="T9" fmla="*/ 1 h 28"/>
                <a:gd name="T10" fmla="*/ 42 w 49"/>
                <a:gd name="T11" fmla="*/ 10 h 28"/>
                <a:gd name="T12" fmla="*/ 48 w 49"/>
                <a:gd name="T13" fmla="*/ 21 h 28"/>
                <a:gd name="T14" fmla="*/ 40 w 4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8">
                  <a:moveTo>
                    <a:pt x="40" y="28"/>
                  </a:moveTo>
                  <a:cubicBezTo>
                    <a:pt x="39" y="28"/>
                    <a:pt x="38" y="27"/>
                    <a:pt x="37" y="27"/>
                  </a:cubicBezTo>
                  <a:cubicBezTo>
                    <a:pt x="7" y="18"/>
                    <a:pt x="7" y="18"/>
                    <a:pt x="7" y="18"/>
                  </a:cubicBezTo>
                  <a:cubicBezTo>
                    <a:pt x="3" y="17"/>
                    <a:pt x="0" y="12"/>
                    <a:pt x="2" y="7"/>
                  </a:cubicBezTo>
                  <a:cubicBezTo>
                    <a:pt x="3" y="3"/>
                    <a:pt x="8" y="0"/>
                    <a:pt x="13" y="1"/>
                  </a:cubicBezTo>
                  <a:cubicBezTo>
                    <a:pt x="42" y="10"/>
                    <a:pt x="42" y="10"/>
                    <a:pt x="42" y="10"/>
                  </a:cubicBezTo>
                  <a:cubicBezTo>
                    <a:pt x="47" y="12"/>
                    <a:pt x="49" y="17"/>
                    <a:pt x="48" y="21"/>
                  </a:cubicBezTo>
                  <a:cubicBezTo>
                    <a:pt x="47" y="25"/>
                    <a:pt x="43" y="28"/>
                    <a:pt x="40" y="28"/>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47"/>
            <p:cNvSpPr>
              <a:spLocks/>
            </p:cNvSpPr>
            <p:nvPr/>
          </p:nvSpPr>
          <p:spPr bwMode="auto">
            <a:xfrm>
              <a:off x="1839914" y="2919300"/>
              <a:ext cx="150813" cy="61913"/>
            </a:xfrm>
            <a:custGeom>
              <a:avLst/>
              <a:gdLst>
                <a:gd name="T0" fmla="*/ 70 w 79"/>
                <a:gd name="T1" fmla="*/ 32 h 32"/>
                <a:gd name="T2" fmla="*/ 68 w 79"/>
                <a:gd name="T3" fmla="*/ 32 h 32"/>
                <a:gd name="T4" fmla="*/ 8 w 79"/>
                <a:gd name="T5" fmla="*/ 18 h 32"/>
                <a:gd name="T6" fmla="*/ 1 w 79"/>
                <a:gd name="T7" fmla="*/ 8 h 32"/>
                <a:gd name="T8" fmla="*/ 12 w 79"/>
                <a:gd name="T9" fmla="*/ 1 h 32"/>
                <a:gd name="T10" fmla="*/ 72 w 79"/>
                <a:gd name="T11" fmla="*/ 15 h 32"/>
                <a:gd name="T12" fmla="*/ 78 w 79"/>
                <a:gd name="T13" fmla="*/ 25 h 32"/>
                <a:gd name="T14" fmla="*/ 70 w 79"/>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32">
                  <a:moveTo>
                    <a:pt x="70" y="32"/>
                  </a:moveTo>
                  <a:cubicBezTo>
                    <a:pt x="69" y="32"/>
                    <a:pt x="69" y="32"/>
                    <a:pt x="68" y="32"/>
                  </a:cubicBezTo>
                  <a:cubicBezTo>
                    <a:pt x="8" y="18"/>
                    <a:pt x="8" y="18"/>
                    <a:pt x="8" y="18"/>
                  </a:cubicBezTo>
                  <a:cubicBezTo>
                    <a:pt x="3" y="17"/>
                    <a:pt x="0" y="13"/>
                    <a:pt x="1" y="8"/>
                  </a:cubicBezTo>
                  <a:cubicBezTo>
                    <a:pt x="2" y="3"/>
                    <a:pt x="7" y="0"/>
                    <a:pt x="12" y="1"/>
                  </a:cubicBezTo>
                  <a:cubicBezTo>
                    <a:pt x="72" y="15"/>
                    <a:pt x="72" y="15"/>
                    <a:pt x="72" y="15"/>
                  </a:cubicBezTo>
                  <a:cubicBezTo>
                    <a:pt x="76" y="16"/>
                    <a:pt x="79" y="21"/>
                    <a:pt x="78" y="25"/>
                  </a:cubicBezTo>
                  <a:cubicBezTo>
                    <a:pt x="77" y="29"/>
                    <a:pt x="74" y="32"/>
                    <a:pt x="70" y="32"/>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48"/>
            <p:cNvSpPr>
              <a:spLocks/>
            </p:cNvSpPr>
            <p:nvPr/>
          </p:nvSpPr>
          <p:spPr bwMode="auto">
            <a:xfrm>
              <a:off x="1849439" y="2968512"/>
              <a:ext cx="123825" cy="57150"/>
            </a:xfrm>
            <a:custGeom>
              <a:avLst/>
              <a:gdLst>
                <a:gd name="T0" fmla="*/ 55 w 65"/>
                <a:gd name="T1" fmla="*/ 29 h 29"/>
                <a:gd name="T2" fmla="*/ 53 w 65"/>
                <a:gd name="T3" fmla="*/ 29 h 29"/>
                <a:gd name="T4" fmla="*/ 8 w 65"/>
                <a:gd name="T5" fmla="*/ 18 h 29"/>
                <a:gd name="T6" fmla="*/ 1 w 65"/>
                <a:gd name="T7" fmla="*/ 8 h 29"/>
                <a:gd name="T8" fmla="*/ 12 w 65"/>
                <a:gd name="T9" fmla="*/ 1 h 29"/>
                <a:gd name="T10" fmla="*/ 57 w 65"/>
                <a:gd name="T11" fmla="*/ 12 h 29"/>
                <a:gd name="T12" fmla="*/ 63 w 65"/>
                <a:gd name="T13" fmla="*/ 22 h 29"/>
                <a:gd name="T14" fmla="*/ 55 w 6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9">
                  <a:moveTo>
                    <a:pt x="55" y="29"/>
                  </a:moveTo>
                  <a:cubicBezTo>
                    <a:pt x="54" y="29"/>
                    <a:pt x="54" y="29"/>
                    <a:pt x="53" y="29"/>
                  </a:cubicBezTo>
                  <a:cubicBezTo>
                    <a:pt x="8" y="18"/>
                    <a:pt x="8" y="18"/>
                    <a:pt x="8" y="18"/>
                  </a:cubicBezTo>
                  <a:cubicBezTo>
                    <a:pt x="3" y="17"/>
                    <a:pt x="0" y="13"/>
                    <a:pt x="1" y="8"/>
                  </a:cubicBezTo>
                  <a:cubicBezTo>
                    <a:pt x="2" y="3"/>
                    <a:pt x="7" y="0"/>
                    <a:pt x="12" y="1"/>
                  </a:cubicBezTo>
                  <a:cubicBezTo>
                    <a:pt x="57" y="12"/>
                    <a:pt x="57" y="12"/>
                    <a:pt x="57" y="12"/>
                  </a:cubicBezTo>
                  <a:cubicBezTo>
                    <a:pt x="62" y="13"/>
                    <a:pt x="65" y="18"/>
                    <a:pt x="63" y="22"/>
                  </a:cubicBezTo>
                  <a:cubicBezTo>
                    <a:pt x="63" y="26"/>
                    <a:pt x="59" y="29"/>
                    <a:pt x="55" y="29"/>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9"/>
            <p:cNvSpPr>
              <a:spLocks/>
            </p:cNvSpPr>
            <p:nvPr/>
          </p:nvSpPr>
          <p:spPr bwMode="auto">
            <a:xfrm>
              <a:off x="1778001" y="2822462"/>
              <a:ext cx="171450" cy="206375"/>
            </a:xfrm>
            <a:custGeom>
              <a:avLst/>
              <a:gdLst>
                <a:gd name="T0" fmla="*/ 23 w 89"/>
                <a:gd name="T1" fmla="*/ 107 h 107"/>
                <a:gd name="T2" fmla="*/ 15 w 89"/>
                <a:gd name="T3" fmla="*/ 101 h 107"/>
                <a:gd name="T4" fmla="*/ 18 w 89"/>
                <a:gd name="T5" fmla="*/ 33 h 107"/>
                <a:gd name="T6" fmla="*/ 78 w 89"/>
                <a:gd name="T7" fmla="*/ 1 h 107"/>
                <a:gd name="T8" fmla="*/ 88 w 89"/>
                <a:gd name="T9" fmla="*/ 8 h 107"/>
                <a:gd name="T10" fmla="*/ 81 w 89"/>
                <a:gd name="T11" fmla="*/ 18 h 107"/>
                <a:gd name="T12" fmla="*/ 81 w 89"/>
                <a:gd name="T13" fmla="*/ 18 h 107"/>
                <a:gd name="T14" fmla="*/ 33 w 89"/>
                <a:gd name="T15" fmla="*/ 43 h 107"/>
                <a:gd name="T16" fmla="*/ 31 w 89"/>
                <a:gd name="T17" fmla="*/ 95 h 107"/>
                <a:gd name="T18" fmla="*/ 26 w 89"/>
                <a:gd name="T19" fmla="*/ 106 h 107"/>
                <a:gd name="T20" fmla="*/ 23 w 89"/>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107">
                  <a:moveTo>
                    <a:pt x="23" y="107"/>
                  </a:moveTo>
                  <a:cubicBezTo>
                    <a:pt x="19" y="107"/>
                    <a:pt x="16" y="105"/>
                    <a:pt x="15" y="101"/>
                  </a:cubicBezTo>
                  <a:cubicBezTo>
                    <a:pt x="14" y="99"/>
                    <a:pt x="0" y="59"/>
                    <a:pt x="18" y="33"/>
                  </a:cubicBezTo>
                  <a:cubicBezTo>
                    <a:pt x="36" y="8"/>
                    <a:pt x="76" y="1"/>
                    <a:pt x="78" y="1"/>
                  </a:cubicBezTo>
                  <a:cubicBezTo>
                    <a:pt x="83" y="0"/>
                    <a:pt x="87" y="3"/>
                    <a:pt x="88" y="8"/>
                  </a:cubicBezTo>
                  <a:cubicBezTo>
                    <a:pt x="89" y="12"/>
                    <a:pt x="85" y="17"/>
                    <a:pt x="81" y="18"/>
                  </a:cubicBezTo>
                  <a:cubicBezTo>
                    <a:pt x="81" y="18"/>
                    <a:pt x="81" y="18"/>
                    <a:pt x="81" y="18"/>
                  </a:cubicBezTo>
                  <a:cubicBezTo>
                    <a:pt x="80" y="18"/>
                    <a:pt x="46" y="24"/>
                    <a:pt x="33" y="43"/>
                  </a:cubicBezTo>
                  <a:cubicBezTo>
                    <a:pt x="22" y="58"/>
                    <a:pt x="28" y="86"/>
                    <a:pt x="31" y="95"/>
                  </a:cubicBezTo>
                  <a:cubicBezTo>
                    <a:pt x="33" y="100"/>
                    <a:pt x="30" y="105"/>
                    <a:pt x="26" y="106"/>
                  </a:cubicBezTo>
                  <a:cubicBezTo>
                    <a:pt x="25" y="107"/>
                    <a:pt x="24" y="107"/>
                    <a:pt x="23"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0"/>
            <p:cNvSpPr>
              <a:spLocks/>
            </p:cNvSpPr>
            <p:nvPr/>
          </p:nvSpPr>
          <p:spPr bwMode="auto">
            <a:xfrm>
              <a:off x="1998664" y="2622437"/>
              <a:ext cx="174625" cy="207963"/>
            </a:xfrm>
            <a:custGeom>
              <a:avLst/>
              <a:gdLst>
                <a:gd name="T0" fmla="*/ 9 w 91"/>
                <a:gd name="T1" fmla="*/ 107 h 107"/>
                <a:gd name="T2" fmla="*/ 0 w 91"/>
                <a:gd name="T3" fmla="*/ 99 h 107"/>
                <a:gd name="T4" fmla="*/ 8 w 91"/>
                <a:gd name="T5" fmla="*/ 90 h 107"/>
                <a:gd name="T6" fmla="*/ 56 w 91"/>
                <a:gd name="T7" fmla="*/ 64 h 107"/>
                <a:gd name="T8" fmla="*/ 57 w 91"/>
                <a:gd name="T9" fmla="*/ 14 h 107"/>
                <a:gd name="T10" fmla="*/ 61 w 91"/>
                <a:gd name="T11" fmla="*/ 2 h 107"/>
                <a:gd name="T12" fmla="*/ 73 w 91"/>
                <a:gd name="T13" fmla="*/ 6 h 107"/>
                <a:gd name="T14" fmla="*/ 70 w 91"/>
                <a:gd name="T15" fmla="*/ 73 h 107"/>
                <a:gd name="T16" fmla="*/ 9 w 91"/>
                <a:gd name="T17" fmla="*/ 107 h 107"/>
                <a:gd name="T18" fmla="*/ 9 w 91"/>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07">
                  <a:moveTo>
                    <a:pt x="9" y="107"/>
                  </a:moveTo>
                  <a:cubicBezTo>
                    <a:pt x="4" y="107"/>
                    <a:pt x="0" y="104"/>
                    <a:pt x="0" y="99"/>
                  </a:cubicBezTo>
                  <a:cubicBezTo>
                    <a:pt x="0" y="94"/>
                    <a:pt x="4" y="90"/>
                    <a:pt x="8" y="90"/>
                  </a:cubicBezTo>
                  <a:cubicBezTo>
                    <a:pt x="9" y="90"/>
                    <a:pt x="39" y="89"/>
                    <a:pt x="56" y="64"/>
                  </a:cubicBezTo>
                  <a:cubicBezTo>
                    <a:pt x="71" y="40"/>
                    <a:pt x="57" y="14"/>
                    <a:pt x="57" y="14"/>
                  </a:cubicBezTo>
                  <a:cubicBezTo>
                    <a:pt x="55" y="10"/>
                    <a:pt x="57" y="4"/>
                    <a:pt x="61" y="2"/>
                  </a:cubicBezTo>
                  <a:cubicBezTo>
                    <a:pt x="65" y="0"/>
                    <a:pt x="70" y="1"/>
                    <a:pt x="73" y="6"/>
                  </a:cubicBezTo>
                  <a:cubicBezTo>
                    <a:pt x="73" y="7"/>
                    <a:pt x="91" y="41"/>
                    <a:pt x="70" y="73"/>
                  </a:cubicBezTo>
                  <a:cubicBezTo>
                    <a:pt x="49" y="106"/>
                    <a:pt x="10" y="107"/>
                    <a:pt x="9" y="107"/>
                  </a:cubicBezTo>
                  <a:cubicBezTo>
                    <a:pt x="9" y="107"/>
                    <a:pt x="9" y="107"/>
                    <a:pt x="9"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1" name="Group 580">
            <a:extLst>
              <a:ext uri="{FF2B5EF4-FFF2-40B4-BE49-F238E27FC236}">
                <a16:creationId xmlns:a16="http://schemas.microsoft.com/office/drawing/2014/main" id="{9EAF4B0D-6D3F-4C75-BF0E-682E32E50A8D}"/>
              </a:ext>
            </a:extLst>
          </p:cNvPr>
          <p:cNvGrpSpPr/>
          <p:nvPr/>
        </p:nvGrpSpPr>
        <p:grpSpPr>
          <a:xfrm>
            <a:off x="3961309" y="2286896"/>
            <a:ext cx="842963" cy="793750"/>
            <a:chOff x="3956051" y="2425587"/>
            <a:chExt cx="842963" cy="793750"/>
          </a:xfrm>
        </p:grpSpPr>
        <p:sp>
          <p:nvSpPr>
            <p:cNvPr id="65" name="Freeform 51"/>
            <p:cNvSpPr>
              <a:spLocks/>
            </p:cNvSpPr>
            <p:nvPr/>
          </p:nvSpPr>
          <p:spPr bwMode="auto">
            <a:xfrm>
              <a:off x="3956051" y="2425587"/>
              <a:ext cx="842963" cy="793750"/>
            </a:xfrm>
            <a:custGeom>
              <a:avLst/>
              <a:gdLst>
                <a:gd name="T0" fmla="*/ 51 w 440"/>
                <a:gd name="T1" fmla="*/ 298 h 410"/>
                <a:gd name="T2" fmla="*/ 127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7" y="48"/>
                  </a:cubicBezTo>
                  <a:cubicBezTo>
                    <a:pt x="221" y="0"/>
                    <a:pt x="338" y="33"/>
                    <a:pt x="389" y="122"/>
                  </a:cubicBezTo>
                  <a:cubicBezTo>
                    <a:pt x="440" y="212"/>
                    <a:pt x="400" y="313"/>
                    <a:pt x="307" y="362"/>
                  </a:cubicBezTo>
                  <a:cubicBezTo>
                    <a:pt x="213"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52"/>
            <p:cNvSpPr>
              <a:spLocks/>
            </p:cNvSpPr>
            <p:nvPr/>
          </p:nvSpPr>
          <p:spPr bwMode="auto">
            <a:xfrm>
              <a:off x="4184651" y="2654187"/>
              <a:ext cx="404813" cy="347663"/>
            </a:xfrm>
            <a:custGeom>
              <a:avLst/>
              <a:gdLst>
                <a:gd name="T0" fmla="*/ 199 w 211"/>
                <a:gd name="T1" fmla="*/ 146 h 180"/>
                <a:gd name="T2" fmla="*/ 30 w 211"/>
                <a:gd name="T3" fmla="*/ 152 h 180"/>
                <a:gd name="T4" fmla="*/ 26 w 211"/>
                <a:gd name="T5" fmla="*/ 13 h 180"/>
                <a:gd name="T6" fmla="*/ 0 w 211"/>
                <a:gd name="T7" fmla="*/ 12 h 180"/>
                <a:gd name="T8" fmla="*/ 5 w 211"/>
                <a:gd name="T9" fmla="*/ 171 h 180"/>
                <a:gd name="T10" fmla="*/ 6 w 211"/>
                <a:gd name="T11" fmla="*/ 171 h 180"/>
                <a:gd name="T12" fmla="*/ 5 w 211"/>
                <a:gd name="T13" fmla="*/ 174 h 180"/>
                <a:gd name="T14" fmla="*/ 197 w 211"/>
                <a:gd name="T15" fmla="*/ 172 h 180"/>
                <a:gd name="T16" fmla="*/ 199 w 211"/>
                <a:gd name="T17" fmla="*/ 14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80">
                  <a:moveTo>
                    <a:pt x="199" y="146"/>
                  </a:moveTo>
                  <a:cubicBezTo>
                    <a:pt x="193" y="155"/>
                    <a:pt x="61" y="154"/>
                    <a:pt x="30" y="152"/>
                  </a:cubicBezTo>
                  <a:cubicBezTo>
                    <a:pt x="31" y="126"/>
                    <a:pt x="33" y="22"/>
                    <a:pt x="26" y="13"/>
                  </a:cubicBezTo>
                  <a:cubicBezTo>
                    <a:pt x="18" y="0"/>
                    <a:pt x="0" y="12"/>
                    <a:pt x="0" y="12"/>
                  </a:cubicBezTo>
                  <a:cubicBezTo>
                    <a:pt x="13" y="20"/>
                    <a:pt x="5" y="171"/>
                    <a:pt x="5" y="171"/>
                  </a:cubicBezTo>
                  <a:cubicBezTo>
                    <a:pt x="6" y="171"/>
                    <a:pt x="6" y="171"/>
                    <a:pt x="6" y="171"/>
                  </a:cubicBezTo>
                  <a:cubicBezTo>
                    <a:pt x="5" y="174"/>
                    <a:pt x="5" y="174"/>
                    <a:pt x="5" y="174"/>
                  </a:cubicBezTo>
                  <a:cubicBezTo>
                    <a:pt x="5" y="174"/>
                    <a:pt x="184" y="180"/>
                    <a:pt x="197" y="172"/>
                  </a:cubicBezTo>
                  <a:cubicBezTo>
                    <a:pt x="211" y="164"/>
                    <a:pt x="199" y="146"/>
                    <a:pt x="199" y="14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3"/>
            <p:cNvSpPr>
              <a:spLocks/>
            </p:cNvSpPr>
            <p:nvPr/>
          </p:nvSpPr>
          <p:spPr bwMode="auto">
            <a:xfrm>
              <a:off x="4281489" y="2689112"/>
              <a:ext cx="307975" cy="212725"/>
            </a:xfrm>
            <a:custGeom>
              <a:avLst/>
              <a:gdLst>
                <a:gd name="T0" fmla="*/ 102 w 160"/>
                <a:gd name="T1" fmla="*/ 4 h 110"/>
                <a:gd name="T2" fmla="*/ 103 w 160"/>
                <a:gd name="T3" fmla="*/ 4 h 110"/>
                <a:gd name="T4" fmla="*/ 159 w 160"/>
                <a:gd name="T5" fmla="*/ 0 h 110"/>
                <a:gd name="T6" fmla="*/ 160 w 160"/>
                <a:gd name="T7" fmla="*/ 0 h 110"/>
                <a:gd name="T8" fmla="*/ 150 w 160"/>
                <a:gd name="T9" fmla="*/ 56 h 110"/>
                <a:gd name="T10" fmla="*/ 134 w 160"/>
                <a:gd name="T11" fmla="*/ 39 h 110"/>
                <a:gd name="T12" fmla="*/ 84 w 160"/>
                <a:gd name="T13" fmla="*/ 84 h 110"/>
                <a:gd name="T14" fmla="*/ 74 w 160"/>
                <a:gd name="T15" fmla="*/ 77 h 110"/>
                <a:gd name="T16" fmla="*/ 64 w 160"/>
                <a:gd name="T17" fmla="*/ 70 h 110"/>
                <a:gd name="T18" fmla="*/ 15 w 160"/>
                <a:gd name="T19" fmla="*/ 110 h 110"/>
                <a:gd name="T20" fmla="*/ 0 w 160"/>
                <a:gd name="T21" fmla="*/ 91 h 110"/>
                <a:gd name="T22" fmla="*/ 0 w 160"/>
                <a:gd name="T23" fmla="*/ 91 h 110"/>
                <a:gd name="T24" fmla="*/ 62 w 160"/>
                <a:gd name="T25" fmla="*/ 41 h 110"/>
                <a:gd name="T26" fmla="*/ 73 w 160"/>
                <a:gd name="T27" fmla="*/ 46 h 110"/>
                <a:gd name="T28" fmla="*/ 83 w 160"/>
                <a:gd name="T29" fmla="*/ 53 h 110"/>
                <a:gd name="T30" fmla="*/ 118 w 160"/>
                <a:gd name="T31" fmla="*/ 21 h 110"/>
                <a:gd name="T32" fmla="*/ 102 w 160"/>
                <a:gd name="T3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110">
                  <a:moveTo>
                    <a:pt x="102" y="4"/>
                  </a:moveTo>
                  <a:cubicBezTo>
                    <a:pt x="102" y="4"/>
                    <a:pt x="103" y="4"/>
                    <a:pt x="103" y="4"/>
                  </a:cubicBezTo>
                  <a:cubicBezTo>
                    <a:pt x="121" y="3"/>
                    <a:pt x="141" y="1"/>
                    <a:pt x="159" y="0"/>
                  </a:cubicBezTo>
                  <a:cubicBezTo>
                    <a:pt x="159" y="0"/>
                    <a:pt x="160" y="0"/>
                    <a:pt x="160" y="0"/>
                  </a:cubicBezTo>
                  <a:cubicBezTo>
                    <a:pt x="159" y="18"/>
                    <a:pt x="158" y="36"/>
                    <a:pt x="150" y="56"/>
                  </a:cubicBezTo>
                  <a:cubicBezTo>
                    <a:pt x="145" y="51"/>
                    <a:pt x="139" y="47"/>
                    <a:pt x="134" y="39"/>
                  </a:cubicBezTo>
                  <a:cubicBezTo>
                    <a:pt x="118" y="54"/>
                    <a:pt x="101" y="69"/>
                    <a:pt x="84" y="84"/>
                  </a:cubicBezTo>
                  <a:cubicBezTo>
                    <a:pt x="81" y="82"/>
                    <a:pt x="78" y="80"/>
                    <a:pt x="74" y="77"/>
                  </a:cubicBezTo>
                  <a:cubicBezTo>
                    <a:pt x="71" y="75"/>
                    <a:pt x="67" y="72"/>
                    <a:pt x="64" y="70"/>
                  </a:cubicBezTo>
                  <a:cubicBezTo>
                    <a:pt x="48" y="84"/>
                    <a:pt x="31" y="97"/>
                    <a:pt x="15" y="110"/>
                  </a:cubicBezTo>
                  <a:cubicBezTo>
                    <a:pt x="12" y="103"/>
                    <a:pt x="1" y="100"/>
                    <a:pt x="0" y="91"/>
                  </a:cubicBezTo>
                  <a:cubicBezTo>
                    <a:pt x="0" y="91"/>
                    <a:pt x="0" y="91"/>
                    <a:pt x="0" y="91"/>
                  </a:cubicBezTo>
                  <a:cubicBezTo>
                    <a:pt x="21" y="74"/>
                    <a:pt x="41" y="58"/>
                    <a:pt x="62" y="41"/>
                  </a:cubicBezTo>
                  <a:cubicBezTo>
                    <a:pt x="66" y="40"/>
                    <a:pt x="68" y="43"/>
                    <a:pt x="73" y="46"/>
                  </a:cubicBezTo>
                  <a:cubicBezTo>
                    <a:pt x="76" y="49"/>
                    <a:pt x="79" y="52"/>
                    <a:pt x="83" y="53"/>
                  </a:cubicBezTo>
                  <a:cubicBezTo>
                    <a:pt x="94" y="43"/>
                    <a:pt x="106" y="32"/>
                    <a:pt x="118" y="21"/>
                  </a:cubicBezTo>
                  <a:cubicBezTo>
                    <a:pt x="110" y="17"/>
                    <a:pt x="107" y="10"/>
                    <a:pt x="10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 name="Group 5">
            <a:extLst>
              <a:ext uri="{FF2B5EF4-FFF2-40B4-BE49-F238E27FC236}">
                <a16:creationId xmlns:a16="http://schemas.microsoft.com/office/drawing/2014/main" id="{64C668C6-3C17-4CC8-951B-B522FA7E7F6B}"/>
              </a:ext>
            </a:extLst>
          </p:cNvPr>
          <p:cNvGrpSpPr/>
          <p:nvPr/>
        </p:nvGrpSpPr>
        <p:grpSpPr>
          <a:xfrm>
            <a:off x="5187553" y="2286896"/>
            <a:ext cx="844550" cy="793750"/>
            <a:chOff x="5154614" y="2425587"/>
            <a:chExt cx="844550" cy="793750"/>
          </a:xfrm>
        </p:grpSpPr>
        <p:sp>
          <p:nvSpPr>
            <p:cNvPr id="68" name="Freeform 54"/>
            <p:cNvSpPr>
              <a:spLocks/>
            </p:cNvSpPr>
            <p:nvPr/>
          </p:nvSpPr>
          <p:spPr bwMode="auto">
            <a:xfrm>
              <a:off x="5154614"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55"/>
            <p:cNvSpPr>
              <a:spLocks noEditPoints="1"/>
            </p:cNvSpPr>
            <p:nvPr/>
          </p:nvSpPr>
          <p:spPr bwMode="auto">
            <a:xfrm>
              <a:off x="5354639" y="2595450"/>
              <a:ext cx="454025" cy="442913"/>
            </a:xfrm>
            <a:custGeom>
              <a:avLst/>
              <a:gdLst>
                <a:gd name="T0" fmla="*/ 17 w 237"/>
                <a:gd name="T1" fmla="*/ 220 h 229"/>
                <a:gd name="T2" fmla="*/ 51 w 237"/>
                <a:gd name="T3" fmla="*/ 220 h 229"/>
                <a:gd name="T4" fmla="*/ 122 w 237"/>
                <a:gd name="T5" fmla="*/ 149 h 229"/>
                <a:gd name="T6" fmla="*/ 208 w 237"/>
                <a:gd name="T7" fmla="*/ 135 h 229"/>
                <a:gd name="T8" fmla="*/ 208 w 237"/>
                <a:gd name="T9" fmla="*/ 29 h 229"/>
                <a:gd name="T10" fmla="*/ 103 w 237"/>
                <a:gd name="T11" fmla="*/ 29 h 229"/>
                <a:gd name="T12" fmla="*/ 89 w 237"/>
                <a:gd name="T13" fmla="*/ 116 h 229"/>
                <a:gd name="T14" fmla="*/ 0 w 237"/>
                <a:gd name="T15" fmla="*/ 205 h 229"/>
                <a:gd name="T16" fmla="*/ 116 w 237"/>
                <a:gd name="T17" fmla="*/ 43 h 229"/>
                <a:gd name="T18" fmla="*/ 195 w 237"/>
                <a:gd name="T19" fmla="*/ 43 h 229"/>
                <a:gd name="T20" fmla="*/ 195 w 237"/>
                <a:gd name="T21" fmla="*/ 122 h 229"/>
                <a:gd name="T22" fmla="*/ 116 w 237"/>
                <a:gd name="T23" fmla="*/ 122 h 229"/>
                <a:gd name="T24" fmla="*/ 116 w 237"/>
                <a:gd name="T25"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229">
                  <a:moveTo>
                    <a:pt x="17" y="220"/>
                  </a:moveTo>
                  <a:cubicBezTo>
                    <a:pt x="27" y="229"/>
                    <a:pt x="41" y="229"/>
                    <a:pt x="51" y="220"/>
                  </a:cubicBezTo>
                  <a:cubicBezTo>
                    <a:pt x="122" y="149"/>
                    <a:pt x="122" y="149"/>
                    <a:pt x="122" y="149"/>
                  </a:cubicBezTo>
                  <a:cubicBezTo>
                    <a:pt x="150" y="163"/>
                    <a:pt x="185" y="158"/>
                    <a:pt x="208" y="135"/>
                  </a:cubicBezTo>
                  <a:cubicBezTo>
                    <a:pt x="237" y="106"/>
                    <a:pt x="237" y="59"/>
                    <a:pt x="208" y="29"/>
                  </a:cubicBezTo>
                  <a:cubicBezTo>
                    <a:pt x="179" y="0"/>
                    <a:pt x="132" y="0"/>
                    <a:pt x="103" y="29"/>
                  </a:cubicBezTo>
                  <a:cubicBezTo>
                    <a:pt x="79" y="53"/>
                    <a:pt x="75" y="88"/>
                    <a:pt x="89" y="116"/>
                  </a:cubicBezTo>
                  <a:cubicBezTo>
                    <a:pt x="0" y="205"/>
                    <a:pt x="0" y="205"/>
                    <a:pt x="0" y="205"/>
                  </a:cubicBezTo>
                  <a:moveTo>
                    <a:pt x="116" y="43"/>
                  </a:moveTo>
                  <a:cubicBezTo>
                    <a:pt x="138" y="21"/>
                    <a:pt x="173" y="21"/>
                    <a:pt x="195" y="43"/>
                  </a:cubicBezTo>
                  <a:cubicBezTo>
                    <a:pt x="217" y="64"/>
                    <a:pt x="217" y="100"/>
                    <a:pt x="195" y="122"/>
                  </a:cubicBezTo>
                  <a:cubicBezTo>
                    <a:pt x="173" y="144"/>
                    <a:pt x="138" y="144"/>
                    <a:pt x="116" y="122"/>
                  </a:cubicBezTo>
                  <a:cubicBezTo>
                    <a:pt x="94" y="100"/>
                    <a:pt x="94" y="64"/>
                    <a:pt x="116" y="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56"/>
            <p:cNvSpPr>
              <a:spLocks/>
            </p:cNvSpPr>
            <p:nvPr/>
          </p:nvSpPr>
          <p:spPr bwMode="auto">
            <a:xfrm>
              <a:off x="5575301" y="2673237"/>
              <a:ext cx="155575" cy="157163"/>
            </a:xfrm>
            <a:custGeom>
              <a:avLst/>
              <a:gdLst>
                <a:gd name="T0" fmla="*/ 11 w 81"/>
                <a:gd name="T1" fmla="*/ 27 h 81"/>
                <a:gd name="T2" fmla="*/ 27 w 81"/>
                <a:gd name="T3" fmla="*/ 27 h 81"/>
                <a:gd name="T4" fmla="*/ 27 w 81"/>
                <a:gd name="T5" fmla="*/ 11 h 81"/>
                <a:gd name="T6" fmla="*/ 37 w 81"/>
                <a:gd name="T7" fmla="*/ 0 h 81"/>
                <a:gd name="T8" fmla="*/ 44 w 81"/>
                <a:gd name="T9" fmla="*/ 0 h 81"/>
                <a:gd name="T10" fmla="*/ 55 w 81"/>
                <a:gd name="T11" fmla="*/ 11 h 81"/>
                <a:gd name="T12" fmla="*/ 55 w 81"/>
                <a:gd name="T13" fmla="*/ 27 h 81"/>
                <a:gd name="T14" fmla="*/ 71 w 81"/>
                <a:gd name="T15" fmla="*/ 27 h 81"/>
                <a:gd name="T16" fmla="*/ 81 w 81"/>
                <a:gd name="T17" fmla="*/ 37 h 81"/>
                <a:gd name="T18" fmla="*/ 81 w 81"/>
                <a:gd name="T19" fmla="*/ 44 h 81"/>
                <a:gd name="T20" fmla="*/ 71 w 81"/>
                <a:gd name="T21" fmla="*/ 55 h 81"/>
                <a:gd name="T22" fmla="*/ 55 w 81"/>
                <a:gd name="T23" fmla="*/ 55 h 81"/>
                <a:gd name="T24" fmla="*/ 55 w 81"/>
                <a:gd name="T25" fmla="*/ 71 h 81"/>
                <a:gd name="T26" fmla="*/ 44 w 81"/>
                <a:gd name="T27" fmla="*/ 81 h 81"/>
                <a:gd name="T28" fmla="*/ 37 w 81"/>
                <a:gd name="T29" fmla="*/ 81 h 81"/>
                <a:gd name="T30" fmla="*/ 27 w 81"/>
                <a:gd name="T31" fmla="*/ 71 h 81"/>
                <a:gd name="T32" fmla="*/ 27 w 81"/>
                <a:gd name="T33" fmla="*/ 55 h 81"/>
                <a:gd name="T34" fmla="*/ 11 w 81"/>
                <a:gd name="T35" fmla="*/ 55 h 81"/>
                <a:gd name="T36" fmla="*/ 0 w 81"/>
                <a:gd name="T37" fmla="*/ 44 h 81"/>
                <a:gd name="T38" fmla="*/ 0 w 81"/>
                <a:gd name="T39" fmla="*/ 37 h 81"/>
                <a:gd name="T40" fmla="*/ 11 w 81"/>
                <a:gd name="T41" fmla="*/ 2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11" y="27"/>
                  </a:moveTo>
                  <a:cubicBezTo>
                    <a:pt x="27" y="27"/>
                    <a:pt x="27" y="27"/>
                    <a:pt x="27" y="27"/>
                  </a:cubicBezTo>
                  <a:cubicBezTo>
                    <a:pt x="27" y="11"/>
                    <a:pt x="27" y="11"/>
                    <a:pt x="27" y="11"/>
                  </a:cubicBezTo>
                  <a:cubicBezTo>
                    <a:pt x="27" y="5"/>
                    <a:pt x="31" y="0"/>
                    <a:pt x="37" y="0"/>
                  </a:cubicBezTo>
                  <a:cubicBezTo>
                    <a:pt x="44" y="0"/>
                    <a:pt x="44" y="0"/>
                    <a:pt x="44" y="0"/>
                  </a:cubicBezTo>
                  <a:cubicBezTo>
                    <a:pt x="50" y="0"/>
                    <a:pt x="55" y="5"/>
                    <a:pt x="55" y="11"/>
                  </a:cubicBezTo>
                  <a:cubicBezTo>
                    <a:pt x="55" y="27"/>
                    <a:pt x="55" y="27"/>
                    <a:pt x="55" y="27"/>
                  </a:cubicBezTo>
                  <a:cubicBezTo>
                    <a:pt x="71" y="27"/>
                    <a:pt x="71" y="27"/>
                    <a:pt x="71" y="27"/>
                  </a:cubicBezTo>
                  <a:cubicBezTo>
                    <a:pt x="77" y="27"/>
                    <a:pt x="81" y="31"/>
                    <a:pt x="81" y="37"/>
                  </a:cubicBezTo>
                  <a:cubicBezTo>
                    <a:pt x="81" y="44"/>
                    <a:pt x="81" y="44"/>
                    <a:pt x="81" y="44"/>
                  </a:cubicBezTo>
                  <a:cubicBezTo>
                    <a:pt x="81" y="50"/>
                    <a:pt x="77" y="55"/>
                    <a:pt x="71" y="55"/>
                  </a:cubicBezTo>
                  <a:cubicBezTo>
                    <a:pt x="55" y="55"/>
                    <a:pt x="55" y="55"/>
                    <a:pt x="55" y="55"/>
                  </a:cubicBezTo>
                  <a:cubicBezTo>
                    <a:pt x="55" y="71"/>
                    <a:pt x="55" y="71"/>
                    <a:pt x="55" y="71"/>
                  </a:cubicBezTo>
                  <a:cubicBezTo>
                    <a:pt x="55" y="77"/>
                    <a:pt x="50" y="81"/>
                    <a:pt x="44" y="81"/>
                  </a:cubicBezTo>
                  <a:cubicBezTo>
                    <a:pt x="37" y="81"/>
                    <a:pt x="37" y="81"/>
                    <a:pt x="37" y="81"/>
                  </a:cubicBezTo>
                  <a:cubicBezTo>
                    <a:pt x="31" y="81"/>
                    <a:pt x="27" y="77"/>
                    <a:pt x="27" y="71"/>
                  </a:cubicBezTo>
                  <a:cubicBezTo>
                    <a:pt x="27" y="55"/>
                    <a:pt x="27" y="55"/>
                    <a:pt x="27" y="55"/>
                  </a:cubicBezTo>
                  <a:cubicBezTo>
                    <a:pt x="11" y="55"/>
                    <a:pt x="11" y="55"/>
                    <a:pt x="11" y="55"/>
                  </a:cubicBezTo>
                  <a:cubicBezTo>
                    <a:pt x="5" y="55"/>
                    <a:pt x="0" y="50"/>
                    <a:pt x="0" y="44"/>
                  </a:cubicBezTo>
                  <a:cubicBezTo>
                    <a:pt x="0" y="37"/>
                    <a:pt x="0" y="37"/>
                    <a:pt x="0" y="37"/>
                  </a:cubicBezTo>
                  <a:cubicBezTo>
                    <a:pt x="0" y="31"/>
                    <a:pt x="5" y="27"/>
                    <a:pt x="11"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2" name="Group 621">
            <a:extLst>
              <a:ext uri="{FF2B5EF4-FFF2-40B4-BE49-F238E27FC236}">
                <a16:creationId xmlns:a16="http://schemas.microsoft.com/office/drawing/2014/main" id="{9E2FA66B-F699-4E5A-B930-9D6FEA5DF80E}"/>
              </a:ext>
            </a:extLst>
          </p:cNvPr>
          <p:cNvGrpSpPr/>
          <p:nvPr/>
        </p:nvGrpSpPr>
        <p:grpSpPr>
          <a:xfrm>
            <a:off x="8794953" y="2286896"/>
            <a:ext cx="844550" cy="793750"/>
            <a:chOff x="8753476" y="2425587"/>
            <a:chExt cx="844550" cy="793750"/>
          </a:xfrm>
        </p:grpSpPr>
        <p:sp>
          <p:nvSpPr>
            <p:cNvPr id="71" name="Freeform 57"/>
            <p:cNvSpPr>
              <a:spLocks/>
            </p:cNvSpPr>
            <p:nvPr/>
          </p:nvSpPr>
          <p:spPr bwMode="auto">
            <a:xfrm>
              <a:off x="8753476"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 name="Group 2">
              <a:extLst>
                <a:ext uri="{FF2B5EF4-FFF2-40B4-BE49-F238E27FC236}">
                  <a16:creationId xmlns:a16="http://schemas.microsoft.com/office/drawing/2014/main" id="{5E3D89F7-3D3D-42E2-8F47-1834CC771843}"/>
                </a:ext>
              </a:extLst>
            </p:cNvPr>
            <p:cNvGrpSpPr/>
            <p:nvPr/>
          </p:nvGrpSpPr>
          <p:grpSpPr>
            <a:xfrm>
              <a:off x="8894764" y="2566875"/>
              <a:ext cx="566738" cy="542925"/>
              <a:chOff x="8894764" y="2566875"/>
              <a:chExt cx="566738" cy="542925"/>
            </a:xfrm>
          </p:grpSpPr>
          <p:sp>
            <p:nvSpPr>
              <p:cNvPr id="72" name="Oval 58"/>
              <p:cNvSpPr>
                <a:spLocks noChangeArrowheads="1"/>
              </p:cNvSpPr>
              <p:nvPr/>
            </p:nvSpPr>
            <p:spPr bwMode="auto">
              <a:xfrm>
                <a:off x="8953501" y="2593862"/>
                <a:ext cx="449263" cy="4508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9"/>
              <p:cNvSpPr>
                <a:spLocks noEditPoints="1"/>
              </p:cNvSpPr>
              <p:nvPr/>
            </p:nvSpPr>
            <p:spPr bwMode="auto">
              <a:xfrm>
                <a:off x="8894764" y="2566875"/>
                <a:ext cx="566738" cy="542925"/>
              </a:xfrm>
              <a:custGeom>
                <a:avLst/>
                <a:gdLst>
                  <a:gd name="T0" fmla="*/ 259 w 296"/>
                  <a:gd name="T1" fmla="*/ 181 h 281"/>
                  <a:gd name="T2" fmla="*/ 54 w 296"/>
                  <a:gd name="T3" fmla="*/ 217 h 281"/>
                  <a:gd name="T4" fmla="*/ 27 w 296"/>
                  <a:gd name="T5" fmla="*/ 76 h 281"/>
                  <a:gd name="T6" fmla="*/ 162 w 296"/>
                  <a:gd name="T7" fmla="*/ 8 h 281"/>
                  <a:gd name="T8" fmla="*/ 259 w 296"/>
                  <a:gd name="T9" fmla="*/ 181 h 281"/>
                  <a:gd name="T10" fmla="*/ 157 w 296"/>
                  <a:gd name="T11" fmla="*/ 27 h 281"/>
                  <a:gd name="T12" fmla="*/ 37 w 296"/>
                  <a:gd name="T13" fmla="*/ 144 h 281"/>
                  <a:gd name="T14" fmla="*/ 130 w 296"/>
                  <a:gd name="T15" fmla="*/ 232 h 281"/>
                  <a:gd name="T16" fmla="*/ 244 w 296"/>
                  <a:gd name="T17" fmla="*/ 97 h 281"/>
                  <a:gd name="T18" fmla="*/ 157 w 296"/>
                  <a:gd name="T19" fmla="*/ 2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81">
                    <a:moveTo>
                      <a:pt x="259" y="181"/>
                    </a:moveTo>
                    <a:cubicBezTo>
                      <a:pt x="227" y="246"/>
                      <a:pt x="122" y="281"/>
                      <a:pt x="54" y="217"/>
                    </a:cubicBezTo>
                    <a:cubicBezTo>
                      <a:pt x="24" y="189"/>
                      <a:pt x="0" y="132"/>
                      <a:pt x="27" y="76"/>
                    </a:cubicBezTo>
                    <a:cubicBezTo>
                      <a:pt x="48" y="32"/>
                      <a:pt x="96" y="0"/>
                      <a:pt x="162" y="8"/>
                    </a:cubicBezTo>
                    <a:cubicBezTo>
                      <a:pt x="240" y="18"/>
                      <a:pt x="296" y="102"/>
                      <a:pt x="259" y="181"/>
                    </a:cubicBezTo>
                    <a:close/>
                    <a:moveTo>
                      <a:pt x="157" y="27"/>
                    </a:moveTo>
                    <a:cubicBezTo>
                      <a:pt x="92" y="19"/>
                      <a:pt x="27" y="66"/>
                      <a:pt x="37" y="144"/>
                    </a:cubicBezTo>
                    <a:cubicBezTo>
                      <a:pt x="43" y="192"/>
                      <a:pt x="89" y="227"/>
                      <a:pt x="130" y="232"/>
                    </a:cubicBezTo>
                    <a:cubicBezTo>
                      <a:pt x="194" y="238"/>
                      <a:pt x="271" y="179"/>
                      <a:pt x="244" y="97"/>
                    </a:cubicBezTo>
                    <a:cubicBezTo>
                      <a:pt x="233" y="64"/>
                      <a:pt x="204" y="33"/>
                      <a:pt x="157" y="2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60"/>
              <p:cNvSpPr>
                <a:spLocks/>
              </p:cNvSpPr>
              <p:nvPr/>
            </p:nvSpPr>
            <p:spPr bwMode="auto">
              <a:xfrm>
                <a:off x="9155114" y="2649425"/>
                <a:ext cx="28575" cy="46038"/>
              </a:xfrm>
              <a:custGeom>
                <a:avLst/>
                <a:gdLst>
                  <a:gd name="T0" fmla="*/ 8 w 15"/>
                  <a:gd name="T1" fmla="*/ 0 h 24"/>
                  <a:gd name="T2" fmla="*/ 2 w 15"/>
                  <a:gd name="T3" fmla="*/ 1 h 24"/>
                  <a:gd name="T4" fmla="*/ 5 w 15"/>
                  <a:gd name="T5" fmla="*/ 24 h 24"/>
                  <a:gd name="T6" fmla="*/ 12 w 15"/>
                  <a:gd name="T7" fmla="*/ 1 h 24"/>
                  <a:gd name="T8" fmla="*/ 8 w 15"/>
                  <a:gd name="T9" fmla="*/ 0 h 24"/>
                </a:gdLst>
                <a:ahLst/>
                <a:cxnLst>
                  <a:cxn ang="0">
                    <a:pos x="T0" y="T1"/>
                  </a:cxn>
                  <a:cxn ang="0">
                    <a:pos x="T2" y="T3"/>
                  </a:cxn>
                  <a:cxn ang="0">
                    <a:pos x="T4" y="T5"/>
                  </a:cxn>
                  <a:cxn ang="0">
                    <a:pos x="T6" y="T7"/>
                  </a:cxn>
                  <a:cxn ang="0">
                    <a:pos x="T8" y="T9"/>
                  </a:cxn>
                </a:cxnLst>
                <a:rect l="0" t="0" r="r" b="b"/>
                <a:pathLst>
                  <a:path w="15" h="24">
                    <a:moveTo>
                      <a:pt x="8" y="0"/>
                    </a:moveTo>
                    <a:cubicBezTo>
                      <a:pt x="6" y="0"/>
                      <a:pt x="5" y="2"/>
                      <a:pt x="2" y="1"/>
                    </a:cubicBezTo>
                    <a:cubicBezTo>
                      <a:pt x="3" y="9"/>
                      <a:pt x="0" y="20"/>
                      <a:pt x="5" y="24"/>
                    </a:cubicBezTo>
                    <a:cubicBezTo>
                      <a:pt x="15" y="24"/>
                      <a:pt x="11" y="10"/>
                      <a:pt x="12" y="1"/>
                    </a:cubicBezTo>
                    <a:cubicBezTo>
                      <a:pt x="10" y="2"/>
                      <a:pt x="9" y="1"/>
                      <a:pt x="8"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61"/>
              <p:cNvSpPr>
                <a:spLocks/>
              </p:cNvSpPr>
              <p:nvPr/>
            </p:nvSpPr>
            <p:spPr bwMode="auto">
              <a:xfrm>
                <a:off x="9221789" y="2671650"/>
                <a:ext cx="42863" cy="39688"/>
              </a:xfrm>
              <a:custGeom>
                <a:avLst/>
                <a:gdLst>
                  <a:gd name="T0" fmla="*/ 16 w 22"/>
                  <a:gd name="T1" fmla="*/ 0 h 21"/>
                  <a:gd name="T2" fmla="*/ 4 w 22"/>
                  <a:gd name="T3" fmla="*/ 21 h 21"/>
                  <a:gd name="T4" fmla="*/ 16 w 22"/>
                  <a:gd name="T5" fmla="*/ 0 h 21"/>
                </a:gdLst>
                <a:ahLst/>
                <a:cxnLst>
                  <a:cxn ang="0">
                    <a:pos x="T0" y="T1"/>
                  </a:cxn>
                  <a:cxn ang="0">
                    <a:pos x="T2" y="T3"/>
                  </a:cxn>
                  <a:cxn ang="0">
                    <a:pos x="T4" y="T5"/>
                  </a:cxn>
                </a:cxnLst>
                <a:rect l="0" t="0" r="r" b="b"/>
                <a:pathLst>
                  <a:path w="22" h="21">
                    <a:moveTo>
                      <a:pt x="16" y="0"/>
                    </a:moveTo>
                    <a:cubicBezTo>
                      <a:pt x="7" y="1"/>
                      <a:pt x="0" y="12"/>
                      <a:pt x="4" y="21"/>
                    </a:cubicBezTo>
                    <a:cubicBezTo>
                      <a:pt x="14" y="21"/>
                      <a:pt x="22" y="6"/>
                      <a:pt x="1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62"/>
              <p:cNvSpPr>
                <a:spLocks/>
              </p:cNvSpPr>
              <p:nvPr/>
            </p:nvSpPr>
            <p:spPr bwMode="auto">
              <a:xfrm>
                <a:off x="9075739" y="2658950"/>
                <a:ext cx="39688" cy="52388"/>
              </a:xfrm>
              <a:custGeom>
                <a:avLst/>
                <a:gdLst>
                  <a:gd name="T0" fmla="*/ 0 w 20"/>
                  <a:gd name="T1" fmla="*/ 9 h 27"/>
                  <a:gd name="T2" fmla="*/ 16 w 20"/>
                  <a:gd name="T3" fmla="*/ 27 h 27"/>
                  <a:gd name="T4" fmla="*/ 0 w 20"/>
                  <a:gd name="T5" fmla="*/ 9 h 27"/>
                </a:gdLst>
                <a:ahLst/>
                <a:cxnLst>
                  <a:cxn ang="0">
                    <a:pos x="T0" y="T1"/>
                  </a:cxn>
                  <a:cxn ang="0">
                    <a:pos x="T2" y="T3"/>
                  </a:cxn>
                  <a:cxn ang="0">
                    <a:pos x="T4" y="T5"/>
                  </a:cxn>
                </a:cxnLst>
                <a:rect l="0" t="0" r="r" b="b"/>
                <a:pathLst>
                  <a:path w="20" h="27">
                    <a:moveTo>
                      <a:pt x="0" y="9"/>
                    </a:moveTo>
                    <a:cubicBezTo>
                      <a:pt x="4" y="16"/>
                      <a:pt x="5" y="27"/>
                      <a:pt x="16" y="27"/>
                    </a:cubicBezTo>
                    <a:cubicBezTo>
                      <a:pt x="20" y="18"/>
                      <a:pt x="9" y="0"/>
                      <a:pt x="0" y="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63"/>
              <p:cNvSpPr>
                <a:spLocks/>
              </p:cNvSpPr>
              <p:nvPr/>
            </p:nvSpPr>
            <p:spPr bwMode="auto">
              <a:xfrm>
                <a:off x="9136064" y="2724037"/>
                <a:ext cx="127000" cy="120650"/>
              </a:xfrm>
              <a:custGeom>
                <a:avLst/>
                <a:gdLst>
                  <a:gd name="T0" fmla="*/ 66 w 66"/>
                  <a:gd name="T1" fmla="*/ 0 h 63"/>
                  <a:gd name="T2" fmla="*/ 63 w 66"/>
                  <a:gd name="T3" fmla="*/ 2 h 63"/>
                  <a:gd name="T4" fmla="*/ 28 w 66"/>
                  <a:gd name="T5" fmla="*/ 23 h 63"/>
                  <a:gd name="T6" fmla="*/ 1 w 66"/>
                  <a:gd name="T7" fmla="*/ 51 h 63"/>
                  <a:gd name="T8" fmla="*/ 16 w 66"/>
                  <a:gd name="T9" fmla="*/ 63 h 63"/>
                  <a:gd name="T10" fmla="*/ 66 w 66"/>
                  <a:gd name="T11" fmla="*/ 0 h 63"/>
                </a:gdLst>
                <a:ahLst/>
                <a:cxnLst>
                  <a:cxn ang="0">
                    <a:pos x="T0" y="T1"/>
                  </a:cxn>
                  <a:cxn ang="0">
                    <a:pos x="T2" y="T3"/>
                  </a:cxn>
                  <a:cxn ang="0">
                    <a:pos x="T4" y="T5"/>
                  </a:cxn>
                  <a:cxn ang="0">
                    <a:pos x="T6" y="T7"/>
                  </a:cxn>
                  <a:cxn ang="0">
                    <a:pos x="T8" y="T9"/>
                  </a:cxn>
                  <a:cxn ang="0">
                    <a:pos x="T10" y="T11"/>
                  </a:cxn>
                </a:cxnLst>
                <a:rect l="0" t="0" r="r" b="b"/>
                <a:pathLst>
                  <a:path w="66" h="63">
                    <a:moveTo>
                      <a:pt x="66" y="0"/>
                    </a:moveTo>
                    <a:cubicBezTo>
                      <a:pt x="64" y="0"/>
                      <a:pt x="63" y="0"/>
                      <a:pt x="63" y="2"/>
                    </a:cubicBezTo>
                    <a:cubicBezTo>
                      <a:pt x="50" y="8"/>
                      <a:pt x="42" y="13"/>
                      <a:pt x="28" y="23"/>
                    </a:cubicBezTo>
                    <a:cubicBezTo>
                      <a:pt x="19" y="29"/>
                      <a:pt x="0" y="37"/>
                      <a:pt x="1" y="51"/>
                    </a:cubicBezTo>
                    <a:cubicBezTo>
                      <a:pt x="2" y="58"/>
                      <a:pt x="8" y="63"/>
                      <a:pt x="16" y="63"/>
                    </a:cubicBezTo>
                    <a:cubicBezTo>
                      <a:pt x="33" y="62"/>
                      <a:pt x="55" y="14"/>
                      <a:pt x="6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Freeform 64"/>
              <p:cNvSpPr>
                <a:spLocks/>
              </p:cNvSpPr>
              <p:nvPr/>
            </p:nvSpPr>
            <p:spPr bwMode="auto">
              <a:xfrm>
                <a:off x="9274176" y="2724037"/>
                <a:ext cx="41275" cy="47625"/>
              </a:xfrm>
              <a:custGeom>
                <a:avLst/>
                <a:gdLst>
                  <a:gd name="T0" fmla="*/ 0 w 22"/>
                  <a:gd name="T1" fmla="*/ 13 h 25"/>
                  <a:gd name="T2" fmla="*/ 22 w 22"/>
                  <a:gd name="T3" fmla="*/ 5 h 25"/>
                  <a:gd name="T4" fmla="*/ 0 w 22"/>
                  <a:gd name="T5" fmla="*/ 13 h 25"/>
                </a:gdLst>
                <a:ahLst/>
                <a:cxnLst>
                  <a:cxn ang="0">
                    <a:pos x="T0" y="T1"/>
                  </a:cxn>
                  <a:cxn ang="0">
                    <a:pos x="T2" y="T3"/>
                  </a:cxn>
                  <a:cxn ang="0">
                    <a:pos x="T4" y="T5"/>
                  </a:cxn>
                </a:cxnLst>
                <a:rect l="0" t="0" r="r" b="b"/>
                <a:pathLst>
                  <a:path w="22" h="25">
                    <a:moveTo>
                      <a:pt x="0" y="13"/>
                    </a:moveTo>
                    <a:cubicBezTo>
                      <a:pt x="3" y="25"/>
                      <a:pt x="22" y="14"/>
                      <a:pt x="22" y="5"/>
                    </a:cubicBezTo>
                    <a:cubicBezTo>
                      <a:pt x="14" y="0"/>
                      <a:pt x="5" y="8"/>
                      <a:pt x="0" y="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65"/>
              <p:cNvSpPr>
                <a:spLocks/>
              </p:cNvSpPr>
              <p:nvPr/>
            </p:nvSpPr>
            <p:spPr bwMode="auto">
              <a:xfrm>
                <a:off x="9018589" y="2725625"/>
                <a:ext cx="42863" cy="34925"/>
              </a:xfrm>
              <a:custGeom>
                <a:avLst/>
                <a:gdLst>
                  <a:gd name="T0" fmla="*/ 0 w 22"/>
                  <a:gd name="T1" fmla="*/ 4 h 18"/>
                  <a:gd name="T2" fmla="*/ 19 w 22"/>
                  <a:gd name="T3" fmla="*/ 18 h 18"/>
                  <a:gd name="T4" fmla="*/ 22 w 22"/>
                  <a:gd name="T5" fmla="*/ 13 h 18"/>
                  <a:gd name="T6" fmla="*/ 0 w 22"/>
                  <a:gd name="T7" fmla="*/ 4 h 18"/>
                </a:gdLst>
                <a:ahLst/>
                <a:cxnLst>
                  <a:cxn ang="0">
                    <a:pos x="T0" y="T1"/>
                  </a:cxn>
                  <a:cxn ang="0">
                    <a:pos x="T2" y="T3"/>
                  </a:cxn>
                  <a:cxn ang="0">
                    <a:pos x="T4" y="T5"/>
                  </a:cxn>
                  <a:cxn ang="0">
                    <a:pos x="T6" y="T7"/>
                  </a:cxn>
                </a:cxnLst>
                <a:rect l="0" t="0" r="r" b="b"/>
                <a:pathLst>
                  <a:path w="22" h="18">
                    <a:moveTo>
                      <a:pt x="0" y="4"/>
                    </a:moveTo>
                    <a:cubicBezTo>
                      <a:pt x="1" y="14"/>
                      <a:pt x="10" y="16"/>
                      <a:pt x="19" y="18"/>
                    </a:cubicBezTo>
                    <a:cubicBezTo>
                      <a:pt x="20" y="16"/>
                      <a:pt x="22" y="15"/>
                      <a:pt x="22" y="13"/>
                    </a:cubicBezTo>
                    <a:cubicBezTo>
                      <a:pt x="19" y="7"/>
                      <a:pt x="9" y="0"/>
                      <a:pt x="0" y="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66"/>
              <p:cNvSpPr>
                <a:spLocks/>
              </p:cNvSpPr>
              <p:nvPr/>
            </p:nvSpPr>
            <p:spPr bwMode="auto">
              <a:xfrm>
                <a:off x="9286876" y="2798650"/>
                <a:ext cx="55563" cy="26988"/>
              </a:xfrm>
              <a:custGeom>
                <a:avLst/>
                <a:gdLst>
                  <a:gd name="T0" fmla="*/ 3 w 29"/>
                  <a:gd name="T1" fmla="*/ 12 h 14"/>
                  <a:gd name="T2" fmla="*/ 27 w 29"/>
                  <a:gd name="T3" fmla="*/ 12 h 14"/>
                  <a:gd name="T4" fmla="*/ 3 w 29"/>
                  <a:gd name="T5" fmla="*/ 12 h 14"/>
                </a:gdLst>
                <a:ahLst/>
                <a:cxnLst>
                  <a:cxn ang="0">
                    <a:pos x="T0" y="T1"/>
                  </a:cxn>
                  <a:cxn ang="0">
                    <a:pos x="T2" y="T3"/>
                  </a:cxn>
                  <a:cxn ang="0">
                    <a:pos x="T4" y="T5"/>
                  </a:cxn>
                </a:cxnLst>
                <a:rect l="0" t="0" r="r" b="b"/>
                <a:pathLst>
                  <a:path w="29" h="14">
                    <a:moveTo>
                      <a:pt x="3" y="12"/>
                    </a:moveTo>
                    <a:cubicBezTo>
                      <a:pt x="8" y="14"/>
                      <a:pt x="22" y="14"/>
                      <a:pt x="27" y="12"/>
                    </a:cubicBezTo>
                    <a:cubicBezTo>
                      <a:pt x="29" y="0"/>
                      <a:pt x="0" y="0"/>
                      <a:pt x="3" y="1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67"/>
              <p:cNvSpPr>
                <a:spLocks/>
              </p:cNvSpPr>
              <p:nvPr/>
            </p:nvSpPr>
            <p:spPr bwMode="auto">
              <a:xfrm>
                <a:off x="8991601" y="2798650"/>
                <a:ext cx="57150" cy="26988"/>
              </a:xfrm>
              <a:custGeom>
                <a:avLst/>
                <a:gdLst>
                  <a:gd name="T0" fmla="*/ 3 w 30"/>
                  <a:gd name="T1" fmla="*/ 12 h 14"/>
                  <a:gd name="T2" fmla="*/ 27 w 30"/>
                  <a:gd name="T3" fmla="*/ 12 h 14"/>
                  <a:gd name="T4" fmla="*/ 3 w 30"/>
                  <a:gd name="T5" fmla="*/ 12 h 14"/>
                </a:gdLst>
                <a:ahLst/>
                <a:cxnLst>
                  <a:cxn ang="0">
                    <a:pos x="T0" y="T1"/>
                  </a:cxn>
                  <a:cxn ang="0">
                    <a:pos x="T2" y="T3"/>
                  </a:cxn>
                  <a:cxn ang="0">
                    <a:pos x="T4" y="T5"/>
                  </a:cxn>
                </a:cxnLst>
                <a:rect l="0" t="0" r="r" b="b"/>
                <a:pathLst>
                  <a:path w="30" h="14">
                    <a:moveTo>
                      <a:pt x="3" y="12"/>
                    </a:moveTo>
                    <a:cubicBezTo>
                      <a:pt x="8" y="14"/>
                      <a:pt x="22" y="14"/>
                      <a:pt x="27" y="12"/>
                    </a:cubicBezTo>
                    <a:cubicBezTo>
                      <a:pt x="30" y="0"/>
                      <a:pt x="0" y="0"/>
                      <a:pt x="3" y="1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4" name="Group 3">
            <a:extLst>
              <a:ext uri="{FF2B5EF4-FFF2-40B4-BE49-F238E27FC236}">
                <a16:creationId xmlns:a16="http://schemas.microsoft.com/office/drawing/2014/main" id="{22ACA8A2-C665-4B1F-9D81-4CEFB525C99E}"/>
              </a:ext>
            </a:extLst>
          </p:cNvPr>
          <p:cNvGrpSpPr/>
          <p:nvPr/>
        </p:nvGrpSpPr>
        <p:grpSpPr>
          <a:xfrm>
            <a:off x="7591039" y="2286896"/>
            <a:ext cx="842963" cy="790575"/>
            <a:chOff x="7556501" y="2425587"/>
            <a:chExt cx="842963" cy="790575"/>
          </a:xfrm>
        </p:grpSpPr>
        <p:sp>
          <p:nvSpPr>
            <p:cNvPr id="84" name="Freeform 68"/>
            <p:cNvSpPr>
              <a:spLocks/>
            </p:cNvSpPr>
            <p:nvPr/>
          </p:nvSpPr>
          <p:spPr bwMode="auto">
            <a:xfrm>
              <a:off x="7556501" y="2425587"/>
              <a:ext cx="842963" cy="790575"/>
            </a:xfrm>
            <a:custGeom>
              <a:avLst/>
              <a:gdLst>
                <a:gd name="T0" fmla="*/ 63 w 439"/>
                <a:gd name="T1" fmla="*/ 320 h 409"/>
                <a:gd name="T2" fmla="*/ 105 w 439"/>
                <a:gd name="T3" fmla="*/ 61 h 409"/>
                <a:gd name="T4" fmla="*/ 376 w 439"/>
                <a:gd name="T5" fmla="*/ 99 h 409"/>
                <a:gd name="T6" fmla="*/ 326 w 439"/>
                <a:gd name="T7" fmla="*/ 348 h 409"/>
                <a:gd name="T8" fmla="*/ 63 w 439"/>
                <a:gd name="T9" fmla="*/ 320 h 409"/>
              </a:gdLst>
              <a:ahLst/>
              <a:cxnLst>
                <a:cxn ang="0">
                  <a:pos x="T0" y="T1"/>
                </a:cxn>
                <a:cxn ang="0">
                  <a:pos x="T2" y="T3"/>
                </a:cxn>
                <a:cxn ang="0">
                  <a:pos x="T4" y="T5"/>
                </a:cxn>
                <a:cxn ang="0">
                  <a:pos x="T6" y="T7"/>
                </a:cxn>
                <a:cxn ang="0">
                  <a:pos x="T8" y="T9"/>
                </a:cxn>
              </a:cxnLst>
              <a:rect l="0" t="0" r="r" b="b"/>
              <a:pathLst>
                <a:path w="439" h="409">
                  <a:moveTo>
                    <a:pt x="63" y="320"/>
                  </a:moveTo>
                  <a:cubicBezTo>
                    <a:pt x="0" y="238"/>
                    <a:pt x="19" y="122"/>
                    <a:pt x="105" y="61"/>
                  </a:cubicBezTo>
                  <a:cubicBezTo>
                    <a:pt x="192" y="0"/>
                    <a:pt x="313" y="17"/>
                    <a:pt x="376" y="99"/>
                  </a:cubicBezTo>
                  <a:cubicBezTo>
                    <a:pt x="439" y="181"/>
                    <a:pt x="413" y="287"/>
                    <a:pt x="326" y="348"/>
                  </a:cubicBezTo>
                  <a:cubicBezTo>
                    <a:pt x="240" y="409"/>
                    <a:pt x="126" y="402"/>
                    <a:pt x="63" y="320"/>
                  </a:cubicBezTo>
                </a:path>
              </a:pathLst>
            </a:custGeom>
            <a:solidFill>
              <a:srgbClr val="CB2980"/>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69"/>
            <p:cNvSpPr>
              <a:spLocks/>
            </p:cNvSpPr>
            <p:nvPr/>
          </p:nvSpPr>
          <p:spPr bwMode="auto">
            <a:xfrm>
              <a:off x="7864476" y="2571637"/>
              <a:ext cx="365125" cy="368300"/>
            </a:xfrm>
            <a:custGeom>
              <a:avLst/>
              <a:gdLst>
                <a:gd name="T0" fmla="*/ 157 w 191"/>
                <a:gd name="T1" fmla="*/ 156 h 190"/>
                <a:gd name="T2" fmla="*/ 157 w 191"/>
                <a:gd name="T3" fmla="*/ 33 h 190"/>
                <a:gd name="T4" fmla="*/ 34 w 191"/>
                <a:gd name="T5" fmla="*/ 33 h 190"/>
                <a:gd name="T6" fmla="*/ 34 w 191"/>
                <a:gd name="T7" fmla="*/ 156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91" y="122"/>
                    <a:pt x="191" y="67"/>
                    <a:pt x="157" y="33"/>
                  </a:cubicBezTo>
                  <a:cubicBezTo>
                    <a:pt x="123" y="0"/>
                    <a:pt x="68" y="0"/>
                    <a:pt x="34" y="33"/>
                  </a:cubicBezTo>
                  <a:cubicBezTo>
                    <a:pt x="0" y="67"/>
                    <a:pt x="0" y="122"/>
                    <a:pt x="34" y="156"/>
                  </a:cubicBezTo>
                  <a:cubicBezTo>
                    <a:pt x="68" y="190"/>
                    <a:pt x="123" y="190"/>
                    <a:pt x="157" y="15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0"/>
            <p:cNvSpPr>
              <a:spLocks/>
            </p:cNvSpPr>
            <p:nvPr/>
          </p:nvSpPr>
          <p:spPr bwMode="auto">
            <a:xfrm>
              <a:off x="7904164" y="2611325"/>
              <a:ext cx="287338" cy="290513"/>
            </a:xfrm>
            <a:custGeom>
              <a:avLst/>
              <a:gdLst>
                <a:gd name="T0" fmla="*/ 123 w 150"/>
                <a:gd name="T1" fmla="*/ 123 h 150"/>
                <a:gd name="T2" fmla="*/ 123 w 150"/>
                <a:gd name="T3" fmla="*/ 26 h 150"/>
                <a:gd name="T4" fmla="*/ 26 w 150"/>
                <a:gd name="T5" fmla="*/ 26 h 150"/>
                <a:gd name="T6" fmla="*/ 26 w 150"/>
                <a:gd name="T7" fmla="*/ 123 h 150"/>
                <a:gd name="T8" fmla="*/ 123 w 150"/>
                <a:gd name="T9" fmla="*/ 123 h 150"/>
              </a:gdLst>
              <a:ahLst/>
              <a:cxnLst>
                <a:cxn ang="0">
                  <a:pos x="T0" y="T1"/>
                </a:cxn>
                <a:cxn ang="0">
                  <a:pos x="T2" y="T3"/>
                </a:cxn>
                <a:cxn ang="0">
                  <a:pos x="T4" y="T5"/>
                </a:cxn>
                <a:cxn ang="0">
                  <a:pos x="T6" y="T7"/>
                </a:cxn>
                <a:cxn ang="0">
                  <a:pos x="T8" y="T9"/>
                </a:cxn>
              </a:cxnLst>
              <a:rect l="0" t="0" r="r" b="b"/>
              <a:pathLst>
                <a:path w="150" h="150">
                  <a:moveTo>
                    <a:pt x="123" y="123"/>
                  </a:moveTo>
                  <a:cubicBezTo>
                    <a:pt x="150" y="96"/>
                    <a:pt x="150" y="53"/>
                    <a:pt x="123" y="26"/>
                  </a:cubicBezTo>
                  <a:cubicBezTo>
                    <a:pt x="96" y="0"/>
                    <a:pt x="53" y="0"/>
                    <a:pt x="26" y="26"/>
                  </a:cubicBezTo>
                  <a:cubicBezTo>
                    <a:pt x="0" y="53"/>
                    <a:pt x="0" y="96"/>
                    <a:pt x="26" y="123"/>
                  </a:cubicBezTo>
                  <a:cubicBezTo>
                    <a:pt x="53" y="150"/>
                    <a:pt x="96" y="150"/>
                    <a:pt x="123"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71"/>
            <p:cNvSpPr>
              <a:spLocks/>
            </p:cNvSpPr>
            <p:nvPr/>
          </p:nvSpPr>
          <p:spPr bwMode="auto">
            <a:xfrm>
              <a:off x="7896226" y="2844687"/>
              <a:ext cx="63500" cy="65088"/>
            </a:xfrm>
            <a:custGeom>
              <a:avLst/>
              <a:gdLst>
                <a:gd name="T0" fmla="*/ 23 w 40"/>
                <a:gd name="T1" fmla="*/ 41 h 41"/>
                <a:gd name="T2" fmla="*/ 0 w 40"/>
                <a:gd name="T3" fmla="*/ 17 h 41"/>
                <a:gd name="T4" fmla="*/ 17 w 40"/>
                <a:gd name="T5" fmla="*/ 0 h 41"/>
                <a:gd name="T6" fmla="*/ 40 w 40"/>
                <a:gd name="T7" fmla="*/ 23 h 41"/>
                <a:gd name="T8" fmla="*/ 23 w 40"/>
                <a:gd name="T9" fmla="*/ 41 h 41"/>
              </a:gdLst>
              <a:ahLst/>
              <a:cxnLst>
                <a:cxn ang="0">
                  <a:pos x="T0" y="T1"/>
                </a:cxn>
                <a:cxn ang="0">
                  <a:pos x="T2" y="T3"/>
                </a:cxn>
                <a:cxn ang="0">
                  <a:pos x="T4" y="T5"/>
                </a:cxn>
                <a:cxn ang="0">
                  <a:pos x="T6" y="T7"/>
                </a:cxn>
                <a:cxn ang="0">
                  <a:pos x="T8" y="T9"/>
                </a:cxn>
              </a:cxnLst>
              <a:rect l="0" t="0" r="r" b="b"/>
              <a:pathLst>
                <a:path w="40" h="41">
                  <a:moveTo>
                    <a:pt x="23" y="41"/>
                  </a:moveTo>
                  <a:lnTo>
                    <a:pt x="0" y="17"/>
                  </a:lnTo>
                  <a:lnTo>
                    <a:pt x="17" y="0"/>
                  </a:lnTo>
                  <a:lnTo>
                    <a:pt x="40" y="23"/>
                  </a:lnTo>
                  <a:lnTo>
                    <a:pt x="23" y="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2"/>
            <p:cNvSpPr>
              <a:spLocks/>
            </p:cNvSpPr>
            <p:nvPr/>
          </p:nvSpPr>
          <p:spPr bwMode="auto">
            <a:xfrm>
              <a:off x="7856539" y="2866912"/>
              <a:ext cx="82550" cy="80963"/>
            </a:xfrm>
            <a:custGeom>
              <a:avLst/>
              <a:gdLst>
                <a:gd name="T0" fmla="*/ 30 w 52"/>
                <a:gd name="T1" fmla="*/ 51 h 51"/>
                <a:gd name="T2" fmla="*/ 0 w 52"/>
                <a:gd name="T3" fmla="*/ 20 h 51"/>
                <a:gd name="T4" fmla="*/ 21 w 52"/>
                <a:gd name="T5" fmla="*/ 0 h 51"/>
                <a:gd name="T6" fmla="*/ 52 w 52"/>
                <a:gd name="T7" fmla="*/ 30 h 51"/>
                <a:gd name="T8" fmla="*/ 30 w 52"/>
                <a:gd name="T9" fmla="*/ 51 h 51"/>
              </a:gdLst>
              <a:ahLst/>
              <a:cxnLst>
                <a:cxn ang="0">
                  <a:pos x="T0" y="T1"/>
                </a:cxn>
                <a:cxn ang="0">
                  <a:pos x="T2" y="T3"/>
                </a:cxn>
                <a:cxn ang="0">
                  <a:pos x="T4" y="T5"/>
                </a:cxn>
                <a:cxn ang="0">
                  <a:pos x="T6" y="T7"/>
                </a:cxn>
                <a:cxn ang="0">
                  <a:pos x="T8" y="T9"/>
                </a:cxn>
              </a:cxnLst>
              <a:rect l="0" t="0" r="r" b="b"/>
              <a:pathLst>
                <a:path w="52" h="51">
                  <a:moveTo>
                    <a:pt x="30" y="51"/>
                  </a:moveTo>
                  <a:lnTo>
                    <a:pt x="0" y="20"/>
                  </a:lnTo>
                  <a:lnTo>
                    <a:pt x="21" y="0"/>
                  </a:lnTo>
                  <a:lnTo>
                    <a:pt x="52" y="30"/>
                  </a:lnTo>
                  <a:lnTo>
                    <a:pt x="30" y="5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73"/>
            <p:cNvSpPr>
              <a:spLocks/>
            </p:cNvSpPr>
            <p:nvPr/>
          </p:nvSpPr>
          <p:spPr bwMode="auto">
            <a:xfrm>
              <a:off x="8074026" y="2649425"/>
              <a:ext cx="79375" cy="79375"/>
            </a:xfrm>
            <a:custGeom>
              <a:avLst/>
              <a:gdLst>
                <a:gd name="T0" fmla="*/ 31 w 41"/>
                <a:gd name="T1" fmla="*/ 39 h 41"/>
                <a:gd name="T2" fmla="*/ 30 w 41"/>
                <a:gd name="T3" fmla="*/ 37 h 41"/>
                <a:gd name="T4" fmla="*/ 20 w 41"/>
                <a:gd name="T5" fmla="*/ 21 h 41"/>
                <a:gd name="T6" fmla="*/ 4 w 41"/>
                <a:gd name="T7" fmla="*/ 11 h 41"/>
                <a:gd name="T8" fmla="*/ 0 w 41"/>
                <a:gd name="T9" fmla="*/ 4 h 41"/>
                <a:gd name="T10" fmla="*/ 7 w 41"/>
                <a:gd name="T11" fmla="*/ 1 h 41"/>
                <a:gd name="T12" fmla="*/ 27 w 41"/>
                <a:gd name="T13" fmla="*/ 13 h 41"/>
                <a:gd name="T14" fmla="*/ 40 w 41"/>
                <a:gd name="T15" fmla="*/ 34 h 41"/>
                <a:gd name="T16" fmla="*/ 36 w 41"/>
                <a:gd name="T17" fmla="*/ 41 h 41"/>
                <a:gd name="T18" fmla="*/ 31 w 41"/>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1" y="39"/>
                  </a:moveTo>
                  <a:cubicBezTo>
                    <a:pt x="30" y="39"/>
                    <a:pt x="30" y="38"/>
                    <a:pt x="30" y="37"/>
                  </a:cubicBezTo>
                  <a:cubicBezTo>
                    <a:pt x="28" y="31"/>
                    <a:pt x="25" y="25"/>
                    <a:pt x="20" y="21"/>
                  </a:cubicBezTo>
                  <a:cubicBezTo>
                    <a:pt x="15" y="16"/>
                    <a:pt x="10" y="13"/>
                    <a:pt x="4" y="11"/>
                  </a:cubicBezTo>
                  <a:cubicBezTo>
                    <a:pt x="1" y="10"/>
                    <a:pt x="0" y="7"/>
                    <a:pt x="0" y="4"/>
                  </a:cubicBezTo>
                  <a:cubicBezTo>
                    <a:pt x="1" y="2"/>
                    <a:pt x="4" y="0"/>
                    <a:pt x="7" y="1"/>
                  </a:cubicBezTo>
                  <a:cubicBezTo>
                    <a:pt x="15" y="3"/>
                    <a:pt x="22" y="7"/>
                    <a:pt x="27" y="13"/>
                  </a:cubicBezTo>
                  <a:cubicBezTo>
                    <a:pt x="33" y="19"/>
                    <a:pt x="37" y="26"/>
                    <a:pt x="40" y="34"/>
                  </a:cubicBezTo>
                  <a:cubicBezTo>
                    <a:pt x="41" y="37"/>
                    <a:pt x="39" y="40"/>
                    <a:pt x="36" y="41"/>
                  </a:cubicBezTo>
                  <a:cubicBezTo>
                    <a:pt x="34" y="41"/>
                    <a:pt x="32" y="40"/>
                    <a:pt x="31" y="3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4"/>
            <p:cNvSpPr>
              <a:spLocks/>
            </p:cNvSpPr>
            <p:nvPr/>
          </p:nvSpPr>
          <p:spPr bwMode="auto">
            <a:xfrm>
              <a:off x="7739064" y="2898662"/>
              <a:ext cx="165100" cy="163513"/>
            </a:xfrm>
            <a:custGeom>
              <a:avLst/>
              <a:gdLst>
                <a:gd name="T0" fmla="*/ 79 w 86"/>
                <a:gd name="T1" fmla="*/ 18 h 84"/>
                <a:gd name="T2" fmla="*/ 68 w 86"/>
                <a:gd name="T3" fmla="*/ 7 h 84"/>
                <a:gd name="T4" fmla="*/ 61 w 86"/>
                <a:gd name="T5" fmla="*/ 0 h 84"/>
                <a:gd name="T6" fmla="*/ 54 w 86"/>
                <a:gd name="T7" fmla="*/ 7 h 84"/>
                <a:gd name="T8" fmla="*/ 7 w 86"/>
                <a:gd name="T9" fmla="*/ 55 h 84"/>
                <a:gd name="T10" fmla="*/ 0 w 86"/>
                <a:gd name="T11" fmla="*/ 62 h 84"/>
                <a:gd name="T12" fmla="*/ 7 w 86"/>
                <a:gd name="T13" fmla="*/ 69 h 84"/>
                <a:gd name="T14" fmla="*/ 12 w 86"/>
                <a:gd name="T15" fmla="*/ 74 h 84"/>
                <a:gd name="T16" fmla="*/ 18 w 86"/>
                <a:gd name="T17" fmla="*/ 80 h 84"/>
                <a:gd name="T18" fmla="*/ 32 w 86"/>
                <a:gd name="T19" fmla="*/ 80 h 84"/>
                <a:gd name="T20" fmla="*/ 76 w 86"/>
                <a:gd name="T21" fmla="*/ 36 h 84"/>
                <a:gd name="T22" fmla="*/ 79 w 86"/>
                <a:gd name="T23" fmla="*/ 33 h 84"/>
                <a:gd name="T24" fmla="*/ 86 w 86"/>
                <a:gd name="T25" fmla="*/ 25 h 84"/>
                <a:gd name="T26" fmla="*/ 79 w 86"/>
                <a:gd name="T27"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84">
                  <a:moveTo>
                    <a:pt x="79" y="18"/>
                  </a:moveTo>
                  <a:cubicBezTo>
                    <a:pt x="68" y="7"/>
                    <a:pt x="68" y="7"/>
                    <a:pt x="68" y="7"/>
                  </a:cubicBezTo>
                  <a:cubicBezTo>
                    <a:pt x="61" y="0"/>
                    <a:pt x="61" y="0"/>
                    <a:pt x="61" y="0"/>
                  </a:cubicBezTo>
                  <a:cubicBezTo>
                    <a:pt x="54" y="7"/>
                    <a:pt x="54" y="7"/>
                    <a:pt x="54" y="7"/>
                  </a:cubicBezTo>
                  <a:cubicBezTo>
                    <a:pt x="7" y="55"/>
                    <a:pt x="7" y="55"/>
                    <a:pt x="7" y="55"/>
                  </a:cubicBezTo>
                  <a:cubicBezTo>
                    <a:pt x="0" y="62"/>
                    <a:pt x="0" y="62"/>
                    <a:pt x="0" y="62"/>
                  </a:cubicBezTo>
                  <a:cubicBezTo>
                    <a:pt x="7" y="69"/>
                    <a:pt x="7" y="69"/>
                    <a:pt x="7" y="69"/>
                  </a:cubicBezTo>
                  <a:cubicBezTo>
                    <a:pt x="12" y="74"/>
                    <a:pt x="12" y="74"/>
                    <a:pt x="12" y="74"/>
                  </a:cubicBezTo>
                  <a:cubicBezTo>
                    <a:pt x="18" y="80"/>
                    <a:pt x="18" y="80"/>
                    <a:pt x="18" y="80"/>
                  </a:cubicBezTo>
                  <a:cubicBezTo>
                    <a:pt x="22" y="84"/>
                    <a:pt x="28" y="84"/>
                    <a:pt x="32" y="80"/>
                  </a:cubicBezTo>
                  <a:cubicBezTo>
                    <a:pt x="76" y="36"/>
                    <a:pt x="76" y="36"/>
                    <a:pt x="76" y="36"/>
                  </a:cubicBezTo>
                  <a:cubicBezTo>
                    <a:pt x="79" y="33"/>
                    <a:pt x="79" y="33"/>
                    <a:pt x="79" y="33"/>
                  </a:cubicBezTo>
                  <a:cubicBezTo>
                    <a:pt x="86" y="25"/>
                    <a:pt x="86" y="25"/>
                    <a:pt x="86" y="25"/>
                  </a:cubicBezTo>
                  <a:lnTo>
                    <a:pt x="79"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oup 4">
            <a:extLst>
              <a:ext uri="{FF2B5EF4-FFF2-40B4-BE49-F238E27FC236}">
                <a16:creationId xmlns:a16="http://schemas.microsoft.com/office/drawing/2014/main" id="{9FA9DCEA-58A6-4F3D-AFC9-022E52A42ECC}"/>
              </a:ext>
            </a:extLst>
          </p:cNvPr>
          <p:cNvGrpSpPr/>
          <p:nvPr/>
        </p:nvGrpSpPr>
        <p:grpSpPr>
          <a:xfrm>
            <a:off x="6386116" y="2286896"/>
            <a:ext cx="846138" cy="793750"/>
            <a:chOff x="6353176" y="2425587"/>
            <a:chExt cx="846138" cy="793750"/>
          </a:xfrm>
        </p:grpSpPr>
        <p:sp>
          <p:nvSpPr>
            <p:cNvPr id="93" name="Freeform 75"/>
            <p:cNvSpPr>
              <a:spLocks/>
            </p:cNvSpPr>
            <p:nvPr/>
          </p:nvSpPr>
          <p:spPr bwMode="auto">
            <a:xfrm>
              <a:off x="6353176" y="2425587"/>
              <a:ext cx="846138" cy="793750"/>
            </a:xfrm>
            <a:custGeom>
              <a:avLst/>
              <a:gdLst>
                <a:gd name="T0" fmla="*/ 51 w 441"/>
                <a:gd name="T1" fmla="*/ 298 h 410"/>
                <a:gd name="T2" fmla="*/ 128 w 441"/>
                <a:gd name="T3" fmla="*/ 48 h 410"/>
                <a:gd name="T4" fmla="*/ 390 w 441"/>
                <a:gd name="T5" fmla="*/ 122 h 410"/>
                <a:gd name="T6" fmla="*/ 307 w 441"/>
                <a:gd name="T7" fmla="*/ 362 h 410"/>
                <a:gd name="T8" fmla="*/ 51 w 441"/>
                <a:gd name="T9" fmla="*/ 298 h 410"/>
              </a:gdLst>
              <a:ahLst/>
              <a:cxnLst>
                <a:cxn ang="0">
                  <a:pos x="T0" y="T1"/>
                </a:cxn>
                <a:cxn ang="0">
                  <a:pos x="T2" y="T3"/>
                </a:cxn>
                <a:cxn ang="0">
                  <a:pos x="T4" y="T5"/>
                </a:cxn>
                <a:cxn ang="0">
                  <a:pos x="T6" y="T7"/>
                </a:cxn>
                <a:cxn ang="0">
                  <a:pos x="T8" y="T9"/>
                </a:cxn>
              </a:cxnLst>
              <a:rect l="0" t="0" r="r" b="b"/>
              <a:pathLst>
                <a:path w="441" h="410">
                  <a:moveTo>
                    <a:pt x="51" y="298"/>
                  </a:moveTo>
                  <a:cubicBezTo>
                    <a:pt x="0" y="209"/>
                    <a:pt x="35" y="97"/>
                    <a:pt x="128" y="48"/>
                  </a:cubicBezTo>
                  <a:cubicBezTo>
                    <a:pt x="221" y="0"/>
                    <a:pt x="339" y="33"/>
                    <a:pt x="390" y="122"/>
                  </a:cubicBezTo>
                  <a:cubicBezTo>
                    <a:pt x="441" y="212"/>
                    <a:pt x="401" y="313"/>
                    <a:pt x="307" y="362"/>
                  </a:cubicBezTo>
                  <a:cubicBezTo>
                    <a:pt x="214" y="410"/>
                    <a:pt x="102" y="388"/>
                    <a:pt x="51" y="29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94" name="Freeform 76"/>
            <p:cNvSpPr>
              <a:spLocks/>
            </p:cNvSpPr>
            <p:nvPr/>
          </p:nvSpPr>
          <p:spPr bwMode="auto">
            <a:xfrm>
              <a:off x="6546851" y="2678000"/>
              <a:ext cx="296863" cy="334963"/>
            </a:xfrm>
            <a:custGeom>
              <a:avLst/>
              <a:gdLst>
                <a:gd name="T0" fmla="*/ 0 w 154"/>
                <a:gd name="T1" fmla="*/ 77 h 173"/>
                <a:gd name="T2" fmla="*/ 0 w 154"/>
                <a:gd name="T3" fmla="*/ 77 h 173"/>
                <a:gd name="T4" fmla="*/ 84 w 154"/>
                <a:gd name="T5" fmla="*/ 5 h 173"/>
                <a:gd name="T6" fmla="*/ 149 w 154"/>
                <a:gd name="T7" fmla="*/ 70 h 173"/>
                <a:gd name="T8" fmla="*/ 74 w 154"/>
                <a:gd name="T9" fmla="*/ 154 h 173"/>
                <a:gd name="T10" fmla="*/ 74 w 154"/>
                <a:gd name="T11" fmla="*/ 154 h 173"/>
                <a:gd name="T12" fmla="*/ 74 w 154"/>
                <a:gd name="T13" fmla="*/ 170 h 173"/>
                <a:gd name="T14" fmla="*/ 71 w 154"/>
                <a:gd name="T15" fmla="*/ 172 h 173"/>
                <a:gd name="T16" fmla="*/ 5 w 154"/>
                <a:gd name="T17" fmla="*/ 107 h 173"/>
                <a:gd name="T18" fmla="*/ 0 w 154"/>
                <a:gd name="T19" fmla="*/ 79 h 173"/>
                <a:gd name="T20" fmla="*/ 0 w 154"/>
                <a:gd name="T21" fmla="*/ 78 h 173"/>
                <a:gd name="T22" fmla="*/ 0 w 154"/>
                <a:gd name="T23" fmla="*/ 7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73">
                  <a:moveTo>
                    <a:pt x="0" y="77"/>
                  </a:moveTo>
                  <a:cubicBezTo>
                    <a:pt x="0" y="77"/>
                    <a:pt x="0" y="77"/>
                    <a:pt x="0" y="77"/>
                  </a:cubicBezTo>
                  <a:cubicBezTo>
                    <a:pt x="1" y="34"/>
                    <a:pt x="39" y="0"/>
                    <a:pt x="84" y="5"/>
                  </a:cubicBezTo>
                  <a:cubicBezTo>
                    <a:pt x="118" y="9"/>
                    <a:pt x="145" y="36"/>
                    <a:pt x="149" y="70"/>
                  </a:cubicBezTo>
                  <a:cubicBezTo>
                    <a:pt x="154" y="116"/>
                    <a:pt x="119" y="154"/>
                    <a:pt x="74" y="154"/>
                  </a:cubicBezTo>
                  <a:cubicBezTo>
                    <a:pt x="74" y="154"/>
                    <a:pt x="74" y="154"/>
                    <a:pt x="74" y="154"/>
                  </a:cubicBezTo>
                  <a:cubicBezTo>
                    <a:pt x="74" y="170"/>
                    <a:pt x="74" y="170"/>
                    <a:pt x="74" y="170"/>
                  </a:cubicBezTo>
                  <a:cubicBezTo>
                    <a:pt x="74" y="172"/>
                    <a:pt x="73" y="173"/>
                    <a:pt x="71" y="172"/>
                  </a:cubicBezTo>
                  <a:cubicBezTo>
                    <a:pt x="59" y="166"/>
                    <a:pt x="19" y="146"/>
                    <a:pt x="5" y="107"/>
                  </a:cubicBezTo>
                  <a:cubicBezTo>
                    <a:pt x="2" y="98"/>
                    <a:pt x="0" y="89"/>
                    <a:pt x="0" y="79"/>
                  </a:cubicBezTo>
                  <a:cubicBezTo>
                    <a:pt x="0" y="79"/>
                    <a:pt x="0" y="78"/>
                    <a:pt x="0" y="78"/>
                  </a:cubicBezTo>
                  <a:cubicBezTo>
                    <a:pt x="0" y="78"/>
                    <a:pt x="0" y="77"/>
                    <a:pt x="0" y="7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77"/>
            <p:cNvSpPr>
              <a:spLocks/>
            </p:cNvSpPr>
            <p:nvPr/>
          </p:nvSpPr>
          <p:spPr bwMode="auto">
            <a:xfrm>
              <a:off x="6699251" y="2624025"/>
              <a:ext cx="295275" cy="334963"/>
            </a:xfrm>
            <a:custGeom>
              <a:avLst/>
              <a:gdLst>
                <a:gd name="T0" fmla="*/ 154 w 154"/>
                <a:gd name="T1" fmla="*/ 77 h 173"/>
                <a:gd name="T2" fmla="*/ 154 w 154"/>
                <a:gd name="T3" fmla="*/ 77 h 173"/>
                <a:gd name="T4" fmla="*/ 71 w 154"/>
                <a:gd name="T5" fmla="*/ 5 h 173"/>
                <a:gd name="T6" fmla="*/ 5 w 154"/>
                <a:gd name="T7" fmla="*/ 71 h 173"/>
                <a:gd name="T8" fmla="*/ 80 w 154"/>
                <a:gd name="T9" fmla="*/ 154 h 173"/>
                <a:gd name="T10" fmla="*/ 80 w 154"/>
                <a:gd name="T11" fmla="*/ 154 h 173"/>
                <a:gd name="T12" fmla="*/ 80 w 154"/>
                <a:gd name="T13" fmla="*/ 170 h 173"/>
                <a:gd name="T14" fmla="*/ 83 w 154"/>
                <a:gd name="T15" fmla="*/ 172 h 173"/>
                <a:gd name="T16" fmla="*/ 149 w 154"/>
                <a:gd name="T17" fmla="*/ 107 h 173"/>
                <a:gd name="T18" fmla="*/ 154 w 154"/>
                <a:gd name="T19" fmla="*/ 79 h 173"/>
                <a:gd name="T20" fmla="*/ 154 w 154"/>
                <a:gd name="T21" fmla="*/ 78 h 173"/>
                <a:gd name="T22" fmla="*/ 154 w 154"/>
                <a:gd name="T23" fmla="*/ 7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73">
                  <a:moveTo>
                    <a:pt x="154" y="77"/>
                  </a:moveTo>
                  <a:cubicBezTo>
                    <a:pt x="154" y="77"/>
                    <a:pt x="154" y="77"/>
                    <a:pt x="154" y="77"/>
                  </a:cubicBezTo>
                  <a:cubicBezTo>
                    <a:pt x="153" y="34"/>
                    <a:pt x="115" y="0"/>
                    <a:pt x="71" y="5"/>
                  </a:cubicBezTo>
                  <a:cubicBezTo>
                    <a:pt x="37" y="9"/>
                    <a:pt x="9" y="37"/>
                    <a:pt x="5" y="71"/>
                  </a:cubicBezTo>
                  <a:cubicBezTo>
                    <a:pt x="0" y="116"/>
                    <a:pt x="36" y="154"/>
                    <a:pt x="80" y="154"/>
                  </a:cubicBezTo>
                  <a:cubicBezTo>
                    <a:pt x="80" y="154"/>
                    <a:pt x="80" y="154"/>
                    <a:pt x="80" y="154"/>
                  </a:cubicBezTo>
                  <a:cubicBezTo>
                    <a:pt x="80" y="170"/>
                    <a:pt x="80" y="170"/>
                    <a:pt x="80" y="170"/>
                  </a:cubicBezTo>
                  <a:cubicBezTo>
                    <a:pt x="80" y="172"/>
                    <a:pt x="82" y="173"/>
                    <a:pt x="83" y="172"/>
                  </a:cubicBezTo>
                  <a:cubicBezTo>
                    <a:pt x="96" y="166"/>
                    <a:pt x="135" y="146"/>
                    <a:pt x="149" y="107"/>
                  </a:cubicBezTo>
                  <a:cubicBezTo>
                    <a:pt x="153" y="98"/>
                    <a:pt x="154" y="89"/>
                    <a:pt x="154" y="79"/>
                  </a:cubicBezTo>
                  <a:cubicBezTo>
                    <a:pt x="154" y="79"/>
                    <a:pt x="154" y="79"/>
                    <a:pt x="154" y="78"/>
                  </a:cubicBezTo>
                  <a:cubicBezTo>
                    <a:pt x="154" y="78"/>
                    <a:pt x="154" y="77"/>
                    <a:pt x="154" y="7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19" name="Group 618">
            <a:extLst>
              <a:ext uri="{FF2B5EF4-FFF2-40B4-BE49-F238E27FC236}">
                <a16:creationId xmlns:a16="http://schemas.microsoft.com/office/drawing/2014/main" id="{064B22C2-5ACB-495D-86AE-0A24CBC7F4E3}"/>
              </a:ext>
            </a:extLst>
          </p:cNvPr>
          <p:cNvGrpSpPr/>
          <p:nvPr/>
        </p:nvGrpSpPr>
        <p:grpSpPr>
          <a:xfrm>
            <a:off x="2753959" y="2286896"/>
            <a:ext cx="846138" cy="793750"/>
            <a:chOff x="2754314" y="2425587"/>
            <a:chExt cx="846138" cy="793750"/>
          </a:xfrm>
        </p:grpSpPr>
        <p:sp>
          <p:nvSpPr>
            <p:cNvPr id="128" name="Freeform 78"/>
            <p:cNvSpPr>
              <a:spLocks/>
            </p:cNvSpPr>
            <p:nvPr/>
          </p:nvSpPr>
          <p:spPr bwMode="auto">
            <a:xfrm>
              <a:off x="2754314" y="2425587"/>
              <a:ext cx="846138" cy="793750"/>
            </a:xfrm>
            <a:custGeom>
              <a:avLst/>
              <a:gdLst>
                <a:gd name="T0" fmla="*/ 52 w 441"/>
                <a:gd name="T1" fmla="*/ 298 h 410"/>
                <a:gd name="T2" fmla="*/ 128 w 441"/>
                <a:gd name="T3" fmla="*/ 48 h 410"/>
                <a:gd name="T4" fmla="*/ 390 w 441"/>
                <a:gd name="T5" fmla="*/ 122 h 410"/>
                <a:gd name="T6" fmla="*/ 307 w 441"/>
                <a:gd name="T7" fmla="*/ 362 h 410"/>
                <a:gd name="T8" fmla="*/ 52 w 441"/>
                <a:gd name="T9" fmla="*/ 298 h 410"/>
              </a:gdLst>
              <a:ahLst/>
              <a:cxnLst>
                <a:cxn ang="0">
                  <a:pos x="T0" y="T1"/>
                </a:cxn>
                <a:cxn ang="0">
                  <a:pos x="T2" y="T3"/>
                </a:cxn>
                <a:cxn ang="0">
                  <a:pos x="T4" y="T5"/>
                </a:cxn>
                <a:cxn ang="0">
                  <a:pos x="T6" y="T7"/>
                </a:cxn>
                <a:cxn ang="0">
                  <a:pos x="T8" y="T9"/>
                </a:cxn>
              </a:cxnLst>
              <a:rect l="0" t="0" r="r" b="b"/>
              <a:pathLst>
                <a:path w="441" h="410">
                  <a:moveTo>
                    <a:pt x="52" y="298"/>
                  </a:moveTo>
                  <a:cubicBezTo>
                    <a:pt x="0" y="209"/>
                    <a:pt x="35" y="97"/>
                    <a:pt x="128" y="48"/>
                  </a:cubicBezTo>
                  <a:cubicBezTo>
                    <a:pt x="222" y="0"/>
                    <a:pt x="339" y="33"/>
                    <a:pt x="390" y="122"/>
                  </a:cubicBezTo>
                  <a:cubicBezTo>
                    <a:pt x="441" y="212"/>
                    <a:pt x="401" y="313"/>
                    <a:pt x="307" y="362"/>
                  </a:cubicBezTo>
                  <a:cubicBezTo>
                    <a:pt x="214" y="410"/>
                    <a:pt x="103" y="388"/>
                    <a:pt x="52"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79"/>
            <p:cNvSpPr>
              <a:spLocks/>
            </p:cNvSpPr>
            <p:nvPr/>
          </p:nvSpPr>
          <p:spPr bwMode="auto">
            <a:xfrm>
              <a:off x="2919414" y="2574812"/>
              <a:ext cx="554038" cy="566738"/>
            </a:xfrm>
            <a:custGeom>
              <a:avLst/>
              <a:gdLst>
                <a:gd name="T0" fmla="*/ 81 w 289"/>
                <a:gd name="T1" fmla="*/ 16 h 293"/>
                <a:gd name="T2" fmla="*/ 10 w 289"/>
                <a:gd name="T3" fmla="*/ 89 h 293"/>
                <a:gd name="T4" fmla="*/ 11 w 289"/>
                <a:gd name="T5" fmla="*/ 193 h 293"/>
                <a:gd name="T6" fmla="*/ 221 w 289"/>
                <a:gd name="T7" fmla="*/ 250 h 293"/>
                <a:gd name="T8" fmla="*/ 266 w 289"/>
                <a:gd name="T9" fmla="*/ 89 h 293"/>
                <a:gd name="T10" fmla="*/ 179 w 289"/>
                <a:gd name="T11" fmla="*/ 10 h 293"/>
                <a:gd name="T12" fmla="*/ 81 w 289"/>
                <a:gd name="T13" fmla="*/ 16 h 293"/>
              </a:gdLst>
              <a:ahLst/>
              <a:cxnLst>
                <a:cxn ang="0">
                  <a:pos x="T0" y="T1"/>
                </a:cxn>
                <a:cxn ang="0">
                  <a:pos x="T2" y="T3"/>
                </a:cxn>
                <a:cxn ang="0">
                  <a:pos x="T4" y="T5"/>
                </a:cxn>
                <a:cxn ang="0">
                  <a:pos x="T6" y="T7"/>
                </a:cxn>
                <a:cxn ang="0">
                  <a:pos x="T8" y="T9"/>
                </a:cxn>
                <a:cxn ang="0">
                  <a:pos x="T10" y="T11"/>
                </a:cxn>
                <a:cxn ang="0">
                  <a:pos x="T12" y="T13"/>
                </a:cxn>
              </a:cxnLst>
              <a:rect l="0" t="0" r="r" b="b"/>
              <a:pathLst>
                <a:path w="289" h="293">
                  <a:moveTo>
                    <a:pt x="81" y="16"/>
                  </a:moveTo>
                  <a:cubicBezTo>
                    <a:pt x="50" y="32"/>
                    <a:pt x="22" y="56"/>
                    <a:pt x="10" y="89"/>
                  </a:cubicBezTo>
                  <a:cubicBezTo>
                    <a:pt x="0" y="117"/>
                    <a:pt x="0" y="166"/>
                    <a:pt x="11" y="193"/>
                  </a:cubicBezTo>
                  <a:cubicBezTo>
                    <a:pt x="42" y="265"/>
                    <a:pt x="158" y="293"/>
                    <a:pt x="221" y="250"/>
                  </a:cubicBezTo>
                  <a:cubicBezTo>
                    <a:pt x="267" y="219"/>
                    <a:pt x="289" y="140"/>
                    <a:pt x="266" y="89"/>
                  </a:cubicBezTo>
                  <a:cubicBezTo>
                    <a:pt x="248" y="52"/>
                    <a:pt x="219" y="19"/>
                    <a:pt x="179" y="10"/>
                  </a:cubicBezTo>
                  <a:cubicBezTo>
                    <a:pt x="149" y="2"/>
                    <a:pt x="108" y="0"/>
                    <a:pt x="81" y="1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Freeform 80"/>
            <p:cNvSpPr>
              <a:spLocks/>
            </p:cNvSpPr>
            <p:nvPr/>
          </p:nvSpPr>
          <p:spPr bwMode="auto">
            <a:xfrm>
              <a:off x="3048001" y="2577987"/>
              <a:ext cx="152400" cy="53975"/>
            </a:xfrm>
            <a:custGeom>
              <a:avLst/>
              <a:gdLst>
                <a:gd name="T0" fmla="*/ 79 w 79"/>
                <a:gd name="T1" fmla="*/ 3 h 28"/>
                <a:gd name="T2" fmla="*/ 50 w 79"/>
                <a:gd name="T3" fmla="*/ 17 h 28"/>
                <a:gd name="T4" fmla="*/ 0 w 79"/>
                <a:gd name="T5" fmla="*/ 22 h 28"/>
                <a:gd name="T6" fmla="*/ 79 w 79"/>
                <a:gd name="T7" fmla="*/ 3 h 28"/>
              </a:gdLst>
              <a:ahLst/>
              <a:cxnLst>
                <a:cxn ang="0">
                  <a:pos x="T0" y="T1"/>
                </a:cxn>
                <a:cxn ang="0">
                  <a:pos x="T2" y="T3"/>
                </a:cxn>
                <a:cxn ang="0">
                  <a:pos x="T4" y="T5"/>
                </a:cxn>
                <a:cxn ang="0">
                  <a:pos x="T6" y="T7"/>
                </a:cxn>
              </a:cxnLst>
              <a:rect l="0" t="0" r="r" b="b"/>
              <a:pathLst>
                <a:path w="79" h="28">
                  <a:moveTo>
                    <a:pt x="79" y="3"/>
                  </a:moveTo>
                  <a:cubicBezTo>
                    <a:pt x="72" y="10"/>
                    <a:pt x="61" y="15"/>
                    <a:pt x="50" y="17"/>
                  </a:cubicBezTo>
                  <a:cubicBezTo>
                    <a:pt x="34" y="21"/>
                    <a:pt x="20" y="28"/>
                    <a:pt x="0" y="22"/>
                  </a:cubicBezTo>
                  <a:cubicBezTo>
                    <a:pt x="20" y="10"/>
                    <a:pt x="37" y="0"/>
                    <a:pt x="79" y="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81"/>
            <p:cNvSpPr>
              <a:spLocks/>
            </p:cNvSpPr>
            <p:nvPr/>
          </p:nvSpPr>
          <p:spPr bwMode="auto">
            <a:xfrm>
              <a:off x="3144839" y="2604975"/>
              <a:ext cx="277813" cy="430213"/>
            </a:xfrm>
            <a:custGeom>
              <a:avLst/>
              <a:gdLst>
                <a:gd name="T0" fmla="*/ 133 w 145"/>
                <a:gd name="T1" fmla="*/ 144 h 222"/>
                <a:gd name="T2" fmla="*/ 136 w 145"/>
                <a:gd name="T3" fmla="*/ 165 h 222"/>
                <a:gd name="T4" fmla="*/ 80 w 145"/>
                <a:gd name="T5" fmla="*/ 222 h 222"/>
                <a:gd name="T6" fmla="*/ 68 w 145"/>
                <a:gd name="T7" fmla="*/ 200 h 222"/>
                <a:gd name="T8" fmla="*/ 54 w 145"/>
                <a:gd name="T9" fmla="*/ 163 h 222"/>
                <a:gd name="T10" fmla="*/ 62 w 145"/>
                <a:gd name="T11" fmla="*/ 142 h 222"/>
                <a:gd name="T12" fmla="*/ 96 w 145"/>
                <a:gd name="T13" fmla="*/ 132 h 222"/>
                <a:gd name="T14" fmla="*/ 93 w 145"/>
                <a:gd name="T15" fmla="*/ 110 h 222"/>
                <a:gd name="T16" fmla="*/ 88 w 145"/>
                <a:gd name="T17" fmla="*/ 103 h 222"/>
                <a:gd name="T18" fmla="*/ 91 w 145"/>
                <a:gd name="T19" fmla="*/ 96 h 222"/>
                <a:gd name="T20" fmla="*/ 71 w 145"/>
                <a:gd name="T21" fmla="*/ 67 h 222"/>
                <a:gd name="T22" fmla="*/ 45 w 145"/>
                <a:gd name="T23" fmla="*/ 78 h 222"/>
                <a:gd name="T24" fmla="*/ 15 w 145"/>
                <a:gd name="T25" fmla="*/ 66 h 222"/>
                <a:gd name="T26" fmla="*/ 9 w 145"/>
                <a:gd name="T27" fmla="*/ 61 h 222"/>
                <a:gd name="T28" fmla="*/ 0 w 145"/>
                <a:gd name="T29" fmla="*/ 69 h 222"/>
                <a:gd name="T30" fmla="*/ 15 w 145"/>
                <a:gd name="T31" fmla="*/ 30 h 222"/>
                <a:gd name="T32" fmla="*/ 49 w 145"/>
                <a:gd name="T33" fmla="*/ 7 h 222"/>
                <a:gd name="T34" fmla="*/ 69 w 145"/>
                <a:gd name="T35" fmla="*/ 1 h 222"/>
                <a:gd name="T36" fmla="*/ 93 w 145"/>
                <a:gd name="T37" fmla="*/ 13 h 222"/>
                <a:gd name="T38" fmla="*/ 127 w 145"/>
                <a:gd name="T39" fmla="*/ 50 h 222"/>
                <a:gd name="T40" fmla="*/ 134 w 145"/>
                <a:gd name="T41" fmla="*/ 87 h 222"/>
                <a:gd name="T42" fmla="*/ 114 w 145"/>
                <a:gd name="T43" fmla="*/ 98 h 222"/>
                <a:gd name="T44" fmla="*/ 111 w 145"/>
                <a:gd name="T45" fmla="*/ 126 h 222"/>
                <a:gd name="T46" fmla="*/ 133 w 145"/>
                <a:gd name="T47" fmla="*/ 14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222">
                  <a:moveTo>
                    <a:pt x="133" y="144"/>
                  </a:moveTo>
                  <a:cubicBezTo>
                    <a:pt x="134" y="152"/>
                    <a:pt x="132" y="159"/>
                    <a:pt x="136" y="165"/>
                  </a:cubicBezTo>
                  <a:cubicBezTo>
                    <a:pt x="122" y="189"/>
                    <a:pt x="98" y="202"/>
                    <a:pt x="80" y="222"/>
                  </a:cubicBezTo>
                  <a:cubicBezTo>
                    <a:pt x="73" y="217"/>
                    <a:pt x="72" y="210"/>
                    <a:pt x="68" y="200"/>
                  </a:cubicBezTo>
                  <a:cubicBezTo>
                    <a:pt x="64" y="188"/>
                    <a:pt x="49" y="179"/>
                    <a:pt x="54" y="163"/>
                  </a:cubicBezTo>
                  <a:cubicBezTo>
                    <a:pt x="67" y="160"/>
                    <a:pt x="71" y="152"/>
                    <a:pt x="62" y="142"/>
                  </a:cubicBezTo>
                  <a:cubicBezTo>
                    <a:pt x="70" y="135"/>
                    <a:pt x="83" y="127"/>
                    <a:pt x="96" y="132"/>
                  </a:cubicBezTo>
                  <a:cubicBezTo>
                    <a:pt x="103" y="125"/>
                    <a:pt x="97" y="115"/>
                    <a:pt x="93" y="110"/>
                  </a:cubicBezTo>
                  <a:cubicBezTo>
                    <a:pt x="93" y="108"/>
                    <a:pt x="88" y="104"/>
                    <a:pt x="88" y="103"/>
                  </a:cubicBezTo>
                  <a:cubicBezTo>
                    <a:pt x="88" y="102"/>
                    <a:pt x="91" y="99"/>
                    <a:pt x="91" y="96"/>
                  </a:cubicBezTo>
                  <a:cubicBezTo>
                    <a:pt x="91" y="90"/>
                    <a:pt x="77" y="67"/>
                    <a:pt x="71" y="67"/>
                  </a:cubicBezTo>
                  <a:cubicBezTo>
                    <a:pt x="62" y="66"/>
                    <a:pt x="55" y="78"/>
                    <a:pt x="45" y="78"/>
                  </a:cubicBezTo>
                  <a:cubicBezTo>
                    <a:pt x="33" y="77"/>
                    <a:pt x="29" y="59"/>
                    <a:pt x="15" y="66"/>
                  </a:cubicBezTo>
                  <a:cubicBezTo>
                    <a:pt x="11" y="66"/>
                    <a:pt x="12" y="61"/>
                    <a:pt x="9" y="61"/>
                  </a:cubicBezTo>
                  <a:cubicBezTo>
                    <a:pt x="4" y="61"/>
                    <a:pt x="2" y="69"/>
                    <a:pt x="0" y="69"/>
                  </a:cubicBezTo>
                  <a:cubicBezTo>
                    <a:pt x="2" y="52"/>
                    <a:pt x="15" y="47"/>
                    <a:pt x="15" y="30"/>
                  </a:cubicBezTo>
                  <a:cubicBezTo>
                    <a:pt x="26" y="22"/>
                    <a:pt x="46" y="23"/>
                    <a:pt x="49" y="7"/>
                  </a:cubicBezTo>
                  <a:cubicBezTo>
                    <a:pt x="55" y="5"/>
                    <a:pt x="62" y="0"/>
                    <a:pt x="69" y="1"/>
                  </a:cubicBezTo>
                  <a:cubicBezTo>
                    <a:pt x="77" y="1"/>
                    <a:pt x="87" y="8"/>
                    <a:pt x="93" y="13"/>
                  </a:cubicBezTo>
                  <a:cubicBezTo>
                    <a:pt x="108" y="24"/>
                    <a:pt x="117" y="33"/>
                    <a:pt x="127" y="50"/>
                  </a:cubicBezTo>
                  <a:cubicBezTo>
                    <a:pt x="134" y="61"/>
                    <a:pt x="145" y="77"/>
                    <a:pt x="134" y="87"/>
                  </a:cubicBezTo>
                  <a:cubicBezTo>
                    <a:pt x="127" y="93"/>
                    <a:pt x="118" y="90"/>
                    <a:pt x="114" y="98"/>
                  </a:cubicBezTo>
                  <a:cubicBezTo>
                    <a:pt x="111" y="104"/>
                    <a:pt x="109" y="120"/>
                    <a:pt x="111" y="126"/>
                  </a:cubicBezTo>
                  <a:cubicBezTo>
                    <a:pt x="113" y="136"/>
                    <a:pt x="128" y="138"/>
                    <a:pt x="133" y="14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32" name="Freeform 82"/>
            <p:cNvSpPr>
              <a:spLocks/>
            </p:cNvSpPr>
            <p:nvPr/>
          </p:nvSpPr>
          <p:spPr bwMode="auto">
            <a:xfrm>
              <a:off x="2911476" y="2701812"/>
              <a:ext cx="147638" cy="249238"/>
            </a:xfrm>
            <a:custGeom>
              <a:avLst/>
              <a:gdLst>
                <a:gd name="T0" fmla="*/ 57 w 77"/>
                <a:gd name="T1" fmla="*/ 103 h 129"/>
                <a:gd name="T2" fmla="*/ 54 w 77"/>
                <a:gd name="T3" fmla="*/ 98 h 129"/>
                <a:gd name="T4" fmla="*/ 66 w 77"/>
                <a:gd name="T5" fmla="*/ 76 h 129"/>
                <a:gd name="T6" fmla="*/ 59 w 77"/>
                <a:gd name="T7" fmla="*/ 60 h 129"/>
                <a:gd name="T8" fmla="*/ 76 w 77"/>
                <a:gd name="T9" fmla="*/ 47 h 129"/>
                <a:gd name="T10" fmla="*/ 75 w 77"/>
                <a:gd name="T11" fmla="*/ 34 h 129"/>
                <a:gd name="T12" fmla="*/ 76 w 77"/>
                <a:gd name="T13" fmla="*/ 23 h 129"/>
                <a:gd name="T14" fmla="*/ 25 w 77"/>
                <a:gd name="T15" fmla="*/ 1 h 129"/>
                <a:gd name="T16" fmla="*/ 16 w 77"/>
                <a:gd name="T17" fmla="*/ 129 h 129"/>
                <a:gd name="T18" fmla="*/ 51 w 77"/>
                <a:gd name="T19" fmla="*/ 111 h 129"/>
                <a:gd name="T20" fmla="*/ 57 w 77"/>
                <a:gd name="T21"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9">
                  <a:moveTo>
                    <a:pt x="57" y="103"/>
                  </a:moveTo>
                  <a:cubicBezTo>
                    <a:pt x="56" y="102"/>
                    <a:pt x="55" y="100"/>
                    <a:pt x="54" y="98"/>
                  </a:cubicBezTo>
                  <a:cubicBezTo>
                    <a:pt x="54" y="88"/>
                    <a:pt x="66" y="86"/>
                    <a:pt x="66" y="76"/>
                  </a:cubicBezTo>
                  <a:cubicBezTo>
                    <a:pt x="66" y="69"/>
                    <a:pt x="60" y="69"/>
                    <a:pt x="59" y="60"/>
                  </a:cubicBezTo>
                  <a:cubicBezTo>
                    <a:pt x="65" y="56"/>
                    <a:pt x="73" y="54"/>
                    <a:pt x="76" y="47"/>
                  </a:cubicBezTo>
                  <a:cubicBezTo>
                    <a:pt x="77" y="43"/>
                    <a:pt x="75" y="40"/>
                    <a:pt x="75" y="34"/>
                  </a:cubicBezTo>
                  <a:cubicBezTo>
                    <a:pt x="75" y="30"/>
                    <a:pt x="76" y="26"/>
                    <a:pt x="76" y="23"/>
                  </a:cubicBezTo>
                  <a:cubicBezTo>
                    <a:pt x="72" y="6"/>
                    <a:pt x="46" y="0"/>
                    <a:pt x="25" y="1"/>
                  </a:cubicBezTo>
                  <a:cubicBezTo>
                    <a:pt x="1" y="30"/>
                    <a:pt x="0" y="91"/>
                    <a:pt x="16" y="129"/>
                  </a:cubicBezTo>
                  <a:cubicBezTo>
                    <a:pt x="26" y="120"/>
                    <a:pt x="38" y="114"/>
                    <a:pt x="51" y="111"/>
                  </a:cubicBezTo>
                  <a:cubicBezTo>
                    <a:pt x="53" y="108"/>
                    <a:pt x="55" y="106"/>
                    <a:pt x="57" y="10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33" name="Freeform 83"/>
            <p:cNvSpPr>
              <a:spLocks/>
            </p:cNvSpPr>
            <p:nvPr/>
          </p:nvSpPr>
          <p:spPr bwMode="auto">
            <a:xfrm>
              <a:off x="2947989" y="2909775"/>
              <a:ext cx="295275" cy="201613"/>
            </a:xfrm>
            <a:custGeom>
              <a:avLst/>
              <a:gdLst>
                <a:gd name="T0" fmla="*/ 154 w 154"/>
                <a:gd name="T1" fmla="*/ 64 h 105"/>
                <a:gd name="T2" fmla="*/ 128 w 154"/>
                <a:gd name="T3" fmla="*/ 38 h 105"/>
                <a:gd name="T4" fmla="*/ 121 w 154"/>
                <a:gd name="T5" fmla="*/ 39 h 105"/>
                <a:gd name="T6" fmla="*/ 81 w 154"/>
                <a:gd name="T7" fmla="*/ 0 h 105"/>
                <a:gd name="T8" fmla="*/ 40 w 154"/>
                <a:gd name="T9" fmla="*/ 41 h 105"/>
                <a:gd name="T10" fmla="*/ 40 w 154"/>
                <a:gd name="T11" fmla="*/ 42 h 105"/>
                <a:gd name="T12" fmla="*/ 26 w 154"/>
                <a:gd name="T13" fmla="*/ 38 h 105"/>
                <a:gd name="T14" fmla="*/ 0 w 154"/>
                <a:gd name="T15" fmla="*/ 65 h 105"/>
                <a:gd name="T16" fmla="*/ 0 w 154"/>
                <a:gd name="T17" fmla="*/ 91 h 105"/>
                <a:gd name="T18" fmla="*/ 68 w 154"/>
                <a:gd name="T19" fmla="*/ 98 h 105"/>
                <a:gd name="T20" fmla="*/ 125 w 154"/>
                <a:gd name="T21" fmla="*/ 89 h 105"/>
                <a:gd name="T22" fmla="*/ 128 w 154"/>
                <a:gd name="T23" fmla="*/ 89 h 105"/>
                <a:gd name="T24" fmla="*/ 135 w 154"/>
                <a:gd name="T25" fmla="*/ 88 h 105"/>
                <a:gd name="T26" fmla="*/ 154 w 154"/>
                <a:gd name="T27" fmla="*/ 6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05">
                  <a:moveTo>
                    <a:pt x="154" y="64"/>
                  </a:moveTo>
                  <a:cubicBezTo>
                    <a:pt x="154" y="50"/>
                    <a:pt x="142" y="38"/>
                    <a:pt x="128" y="38"/>
                  </a:cubicBezTo>
                  <a:cubicBezTo>
                    <a:pt x="126" y="38"/>
                    <a:pt x="123" y="39"/>
                    <a:pt x="121" y="39"/>
                  </a:cubicBezTo>
                  <a:cubicBezTo>
                    <a:pt x="120" y="18"/>
                    <a:pt x="102" y="0"/>
                    <a:pt x="81" y="0"/>
                  </a:cubicBezTo>
                  <a:cubicBezTo>
                    <a:pt x="58" y="0"/>
                    <a:pt x="40" y="18"/>
                    <a:pt x="40" y="41"/>
                  </a:cubicBezTo>
                  <a:cubicBezTo>
                    <a:pt x="40" y="41"/>
                    <a:pt x="40" y="42"/>
                    <a:pt x="40" y="42"/>
                  </a:cubicBezTo>
                  <a:cubicBezTo>
                    <a:pt x="36" y="40"/>
                    <a:pt x="32" y="38"/>
                    <a:pt x="26" y="38"/>
                  </a:cubicBezTo>
                  <a:cubicBezTo>
                    <a:pt x="12" y="38"/>
                    <a:pt x="0" y="50"/>
                    <a:pt x="0" y="65"/>
                  </a:cubicBezTo>
                  <a:cubicBezTo>
                    <a:pt x="0" y="91"/>
                    <a:pt x="0" y="91"/>
                    <a:pt x="0" y="91"/>
                  </a:cubicBezTo>
                  <a:cubicBezTo>
                    <a:pt x="0" y="91"/>
                    <a:pt x="43" y="105"/>
                    <a:pt x="68" y="98"/>
                  </a:cubicBezTo>
                  <a:cubicBezTo>
                    <a:pt x="93" y="92"/>
                    <a:pt x="104" y="88"/>
                    <a:pt x="125" y="89"/>
                  </a:cubicBezTo>
                  <a:cubicBezTo>
                    <a:pt x="126" y="89"/>
                    <a:pt x="127" y="89"/>
                    <a:pt x="128" y="89"/>
                  </a:cubicBezTo>
                  <a:cubicBezTo>
                    <a:pt x="131" y="89"/>
                    <a:pt x="133" y="89"/>
                    <a:pt x="135" y="88"/>
                  </a:cubicBezTo>
                  <a:cubicBezTo>
                    <a:pt x="146" y="85"/>
                    <a:pt x="154" y="75"/>
                    <a:pt x="154" y="6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0" name="Group 549"/>
          <p:cNvGrpSpPr/>
          <p:nvPr/>
        </p:nvGrpSpPr>
        <p:grpSpPr>
          <a:xfrm>
            <a:off x="588963" y="3125510"/>
            <a:ext cx="403226" cy="74614"/>
            <a:chOff x="554038" y="3408396"/>
            <a:chExt cx="403226" cy="74614"/>
          </a:xfrm>
        </p:grpSpPr>
        <p:sp>
          <p:nvSpPr>
            <p:cNvPr id="211" name="Freeform 32"/>
            <p:cNvSpPr>
              <a:spLocks noEditPoints="1"/>
            </p:cNvSpPr>
            <p:nvPr/>
          </p:nvSpPr>
          <p:spPr bwMode="auto">
            <a:xfrm>
              <a:off x="554038" y="3409984"/>
              <a:ext cx="57150" cy="73026"/>
            </a:xfrm>
            <a:custGeom>
              <a:avLst/>
              <a:gdLst>
                <a:gd name="T0" fmla="*/ 31 w 31"/>
                <a:gd name="T1" fmla="*/ 20 h 40"/>
                <a:gd name="T2" fmla="*/ 29 w 31"/>
                <a:gd name="T3" fmla="*/ 29 h 40"/>
                <a:gd name="T4" fmla="*/ 25 w 31"/>
                <a:gd name="T5" fmla="*/ 35 h 40"/>
                <a:gd name="T6" fmla="*/ 18 w 31"/>
                <a:gd name="T7" fmla="*/ 39 h 40"/>
                <a:gd name="T8" fmla="*/ 10 w 31"/>
                <a:gd name="T9" fmla="*/ 40 h 40"/>
                <a:gd name="T10" fmla="*/ 5 w 31"/>
                <a:gd name="T11" fmla="*/ 40 h 40"/>
                <a:gd name="T12" fmla="*/ 0 w 31"/>
                <a:gd name="T13" fmla="*/ 39 h 40"/>
                <a:gd name="T14" fmla="*/ 0 w 31"/>
                <a:gd name="T15" fmla="*/ 1 h 40"/>
                <a:gd name="T16" fmla="*/ 5 w 31"/>
                <a:gd name="T17" fmla="*/ 1 h 40"/>
                <a:gd name="T18" fmla="*/ 10 w 31"/>
                <a:gd name="T19" fmla="*/ 0 h 40"/>
                <a:gd name="T20" fmla="*/ 18 w 31"/>
                <a:gd name="T21" fmla="*/ 2 h 40"/>
                <a:gd name="T22" fmla="*/ 25 w 31"/>
                <a:gd name="T23" fmla="*/ 5 h 40"/>
                <a:gd name="T24" fmla="*/ 29 w 31"/>
                <a:gd name="T25" fmla="*/ 11 h 40"/>
                <a:gd name="T26" fmla="*/ 31 w 31"/>
                <a:gd name="T27" fmla="*/ 20 h 40"/>
                <a:gd name="T28" fmla="*/ 4 w 31"/>
                <a:gd name="T29" fmla="*/ 36 h 40"/>
                <a:gd name="T30" fmla="*/ 6 w 31"/>
                <a:gd name="T31" fmla="*/ 36 h 40"/>
                <a:gd name="T32" fmla="*/ 10 w 31"/>
                <a:gd name="T33" fmla="*/ 36 h 40"/>
                <a:gd name="T34" fmla="*/ 17 w 31"/>
                <a:gd name="T35" fmla="*/ 35 h 40"/>
                <a:gd name="T36" fmla="*/ 23 w 31"/>
                <a:gd name="T37" fmla="*/ 32 h 40"/>
                <a:gd name="T38" fmla="*/ 26 w 31"/>
                <a:gd name="T39" fmla="*/ 27 h 40"/>
                <a:gd name="T40" fmla="*/ 27 w 31"/>
                <a:gd name="T41" fmla="*/ 20 h 40"/>
                <a:gd name="T42" fmla="*/ 26 w 31"/>
                <a:gd name="T43" fmla="*/ 13 h 40"/>
                <a:gd name="T44" fmla="*/ 23 w 31"/>
                <a:gd name="T45" fmla="*/ 8 h 40"/>
                <a:gd name="T46" fmla="*/ 17 w 31"/>
                <a:gd name="T47" fmla="*/ 5 h 40"/>
                <a:gd name="T48" fmla="*/ 10 w 31"/>
                <a:gd name="T49" fmla="*/ 4 h 40"/>
                <a:gd name="T50" fmla="*/ 6 w 31"/>
                <a:gd name="T51" fmla="*/ 4 h 40"/>
                <a:gd name="T52" fmla="*/ 4 w 31"/>
                <a:gd name="T53" fmla="*/ 4 h 40"/>
                <a:gd name="T54" fmla="*/ 4 w 31"/>
                <a:gd name="T55"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40">
                  <a:moveTo>
                    <a:pt x="31" y="20"/>
                  </a:moveTo>
                  <a:cubicBezTo>
                    <a:pt x="31" y="23"/>
                    <a:pt x="30" y="26"/>
                    <a:pt x="29" y="29"/>
                  </a:cubicBezTo>
                  <a:cubicBezTo>
                    <a:pt x="28" y="31"/>
                    <a:pt x="27" y="33"/>
                    <a:pt x="25" y="35"/>
                  </a:cubicBezTo>
                  <a:cubicBezTo>
                    <a:pt x="23" y="36"/>
                    <a:pt x="21" y="38"/>
                    <a:pt x="18" y="39"/>
                  </a:cubicBezTo>
                  <a:cubicBezTo>
                    <a:pt x="16" y="39"/>
                    <a:pt x="13" y="40"/>
                    <a:pt x="10" y="40"/>
                  </a:cubicBezTo>
                  <a:cubicBezTo>
                    <a:pt x="8" y="40"/>
                    <a:pt x="6" y="40"/>
                    <a:pt x="5" y="40"/>
                  </a:cubicBezTo>
                  <a:cubicBezTo>
                    <a:pt x="3" y="39"/>
                    <a:pt x="1" y="39"/>
                    <a:pt x="0" y="39"/>
                  </a:cubicBezTo>
                  <a:cubicBezTo>
                    <a:pt x="0" y="1"/>
                    <a:pt x="0" y="1"/>
                    <a:pt x="0" y="1"/>
                  </a:cubicBezTo>
                  <a:cubicBezTo>
                    <a:pt x="1" y="1"/>
                    <a:pt x="3" y="1"/>
                    <a:pt x="5" y="1"/>
                  </a:cubicBezTo>
                  <a:cubicBezTo>
                    <a:pt x="6" y="0"/>
                    <a:pt x="8" y="0"/>
                    <a:pt x="10" y="0"/>
                  </a:cubicBezTo>
                  <a:cubicBezTo>
                    <a:pt x="13" y="0"/>
                    <a:pt x="16" y="1"/>
                    <a:pt x="18" y="2"/>
                  </a:cubicBezTo>
                  <a:cubicBezTo>
                    <a:pt x="21" y="2"/>
                    <a:pt x="23" y="4"/>
                    <a:pt x="25" y="5"/>
                  </a:cubicBezTo>
                  <a:cubicBezTo>
                    <a:pt x="27" y="7"/>
                    <a:pt x="28" y="9"/>
                    <a:pt x="29" y="11"/>
                  </a:cubicBezTo>
                  <a:cubicBezTo>
                    <a:pt x="30" y="14"/>
                    <a:pt x="31" y="17"/>
                    <a:pt x="31" y="20"/>
                  </a:cubicBezTo>
                  <a:close/>
                  <a:moveTo>
                    <a:pt x="4" y="36"/>
                  </a:moveTo>
                  <a:cubicBezTo>
                    <a:pt x="4" y="36"/>
                    <a:pt x="5" y="36"/>
                    <a:pt x="6" y="36"/>
                  </a:cubicBezTo>
                  <a:cubicBezTo>
                    <a:pt x="7" y="36"/>
                    <a:pt x="8" y="36"/>
                    <a:pt x="10" y="36"/>
                  </a:cubicBezTo>
                  <a:cubicBezTo>
                    <a:pt x="13" y="36"/>
                    <a:pt x="15" y="36"/>
                    <a:pt x="17" y="35"/>
                  </a:cubicBezTo>
                  <a:cubicBezTo>
                    <a:pt x="19" y="35"/>
                    <a:pt x="21" y="33"/>
                    <a:pt x="23" y="32"/>
                  </a:cubicBezTo>
                  <a:cubicBezTo>
                    <a:pt x="24" y="31"/>
                    <a:pt x="25" y="29"/>
                    <a:pt x="26" y="27"/>
                  </a:cubicBezTo>
                  <a:cubicBezTo>
                    <a:pt x="27" y="25"/>
                    <a:pt x="27" y="23"/>
                    <a:pt x="27" y="20"/>
                  </a:cubicBezTo>
                  <a:cubicBezTo>
                    <a:pt x="27" y="17"/>
                    <a:pt x="27" y="15"/>
                    <a:pt x="26" y="13"/>
                  </a:cubicBezTo>
                  <a:cubicBezTo>
                    <a:pt x="25" y="11"/>
                    <a:pt x="24" y="9"/>
                    <a:pt x="23" y="8"/>
                  </a:cubicBezTo>
                  <a:cubicBezTo>
                    <a:pt x="21" y="7"/>
                    <a:pt x="19" y="5"/>
                    <a:pt x="17" y="5"/>
                  </a:cubicBezTo>
                  <a:cubicBezTo>
                    <a:pt x="15" y="4"/>
                    <a:pt x="13" y="4"/>
                    <a:pt x="10" y="4"/>
                  </a:cubicBezTo>
                  <a:cubicBezTo>
                    <a:pt x="8" y="4"/>
                    <a:pt x="7" y="4"/>
                    <a:pt x="6" y="4"/>
                  </a:cubicBezTo>
                  <a:cubicBezTo>
                    <a:pt x="5" y="4"/>
                    <a:pt x="4" y="4"/>
                    <a:pt x="4" y="4"/>
                  </a:cubicBezTo>
                  <a:lnTo>
                    <a:pt x="4" y="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33"/>
            <p:cNvSpPr>
              <a:spLocks noEditPoints="1"/>
            </p:cNvSpPr>
            <p:nvPr/>
          </p:nvSpPr>
          <p:spPr bwMode="auto">
            <a:xfrm>
              <a:off x="623888" y="3408396"/>
              <a:ext cx="11113" cy="73026"/>
            </a:xfrm>
            <a:custGeom>
              <a:avLst/>
              <a:gdLst>
                <a:gd name="T0" fmla="*/ 6 w 6"/>
                <a:gd name="T1" fmla="*/ 3 h 40"/>
                <a:gd name="T2" fmla="*/ 5 w 6"/>
                <a:gd name="T3" fmla="*/ 5 h 40"/>
                <a:gd name="T4" fmla="*/ 3 w 6"/>
                <a:gd name="T5" fmla="*/ 6 h 40"/>
                <a:gd name="T6" fmla="*/ 1 w 6"/>
                <a:gd name="T7" fmla="*/ 5 h 40"/>
                <a:gd name="T8" fmla="*/ 0 w 6"/>
                <a:gd name="T9" fmla="*/ 3 h 40"/>
                <a:gd name="T10" fmla="*/ 1 w 6"/>
                <a:gd name="T11" fmla="*/ 1 h 40"/>
                <a:gd name="T12" fmla="*/ 3 w 6"/>
                <a:gd name="T13" fmla="*/ 0 h 40"/>
                <a:gd name="T14" fmla="*/ 5 w 6"/>
                <a:gd name="T15" fmla="*/ 1 h 40"/>
                <a:gd name="T16" fmla="*/ 6 w 6"/>
                <a:gd name="T17" fmla="*/ 3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3"/>
                  </a:moveTo>
                  <a:cubicBezTo>
                    <a:pt x="6" y="4"/>
                    <a:pt x="5" y="4"/>
                    <a:pt x="5" y="5"/>
                  </a:cubicBezTo>
                  <a:cubicBezTo>
                    <a:pt x="4" y="5"/>
                    <a:pt x="4" y="6"/>
                    <a:pt x="3" y="6"/>
                  </a:cubicBezTo>
                  <a:cubicBezTo>
                    <a:pt x="2" y="6"/>
                    <a:pt x="2" y="5"/>
                    <a:pt x="1" y="5"/>
                  </a:cubicBezTo>
                  <a:cubicBezTo>
                    <a:pt x="1" y="4"/>
                    <a:pt x="0" y="4"/>
                    <a:pt x="0" y="3"/>
                  </a:cubicBezTo>
                  <a:cubicBezTo>
                    <a:pt x="0" y="2"/>
                    <a:pt x="1" y="1"/>
                    <a:pt x="1" y="1"/>
                  </a:cubicBezTo>
                  <a:cubicBezTo>
                    <a:pt x="2" y="0"/>
                    <a:pt x="2" y="0"/>
                    <a:pt x="3" y="0"/>
                  </a:cubicBezTo>
                  <a:cubicBezTo>
                    <a:pt x="4" y="0"/>
                    <a:pt x="4" y="0"/>
                    <a:pt x="5" y="1"/>
                  </a:cubicBezTo>
                  <a:cubicBezTo>
                    <a:pt x="5" y="1"/>
                    <a:pt x="6" y="2"/>
                    <a:pt x="6" y="3"/>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34"/>
            <p:cNvSpPr>
              <a:spLocks/>
            </p:cNvSpPr>
            <p:nvPr/>
          </p:nvSpPr>
          <p:spPr bwMode="auto">
            <a:xfrm>
              <a:off x="649288"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2" y="0"/>
                    <a:pt x="13" y="0"/>
                    <a:pt x="14" y="0"/>
                  </a:cubicBezTo>
                  <a:cubicBezTo>
                    <a:pt x="15" y="0"/>
                    <a:pt x="16"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35"/>
            <p:cNvSpPr>
              <a:spLocks noEditPoints="1"/>
            </p:cNvSpPr>
            <p:nvPr/>
          </p:nvSpPr>
          <p:spPr bwMode="auto">
            <a:xfrm>
              <a:off x="685801" y="3429034"/>
              <a:ext cx="44450" cy="53976"/>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0" y="27"/>
                    <a:pt x="14" y="27"/>
                  </a:cubicBezTo>
                  <a:cubicBezTo>
                    <a:pt x="16" y="27"/>
                    <a:pt x="18" y="27"/>
                    <a:pt x="19" y="26"/>
                  </a:cubicBezTo>
                  <a:cubicBezTo>
                    <a:pt x="20" y="26"/>
                    <a:pt x="21" y="25"/>
                    <a:pt x="21" y="25"/>
                  </a:cubicBezTo>
                  <a:cubicBezTo>
                    <a:pt x="22" y="28"/>
                    <a:pt x="22" y="28"/>
                    <a:pt x="22" y="28"/>
                  </a:cubicBezTo>
                  <a:cubicBezTo>
                    <a:pt x="21" y="29"/>
                    <a:pt x="20" y="29"/>
                    <a:pt x="19" y="29"/>
                  </a:cubicBezTo>
                  <a:cubicBezTo>
                    <a:pt x="18" y="30"/>
                    <a:pt x="16" y="30"/>
                    <a:pt x="14" y="30"/>
                  </a:cubicBezTo>
                  <a:cubicBezTo>
                    <a:pt x="11" y="30"/>
                    <a:pt x="9" y="30"/>
                    <a:pt x="7" y="29"/>
                  </a:cubicBezTo>
                  <a:cubicBezTo>
                    <a:pt x="6"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36"/>
            <p:cNvSpPr>
              <a:spLocks/>
            </p:cNvSpPr>
            <p:nvPr/>
          </p:nvSpPr>
          <p:spPr bwMode="auto">
            <a:xfrm>
              <a:off x="741363" y="3429034"/>
              <a:ext cx="39688" cy="53976"/>
            </a:xfrm>
            <a:custGeom>
              <a:avLst/>
              <a:gdLst>
                <a:gd name="T0" fmla="*/ 14 w 22"/>
                <a:gd name="T1" fmla="*/ 30 h 30"/>
                <a:gd name="T2" fmla="*/ 8 w 22"/>
                <a:gd name="T3" fmla="*/ 29 h 30"/>
                <a:gd name="T4" fmla="*/ 4 w 22"/>
                <a:gd name="T5" fmla="*/ 26 h 30"/>
                <a:gd name="T6" fmla="*/ 1 w 22"/>
                <a:gd name="T7" fmla="*/ 21 h 30"/>
                <a:gd name="T8" fmla="*/ 0 w 22"/>
                <a:gd name="T9" fmla="*/ 15 h 30"/>
                <a:gd name="T10" fmla="*/ 1 w 22"/>
                <a:gd name="T11" fmla="*/ 9 h 30"/>
                <a:gd name="T12" fmla="*/ 4 w 22"/>
                <a:gd name="T13" fmla="*/ 4 h 30"/>
                <a:gd name="T14" fmla="*/ 8 w 22"/>
                <a:gd name="T15" fmla="*/ 1 h 30"/>
                <a:gd name="T16" fmla="*/ 14 w 22"/>
                <a:gd name="T17" fmla="*/ 0 h 30"/>
                <a:gd name="T18" fmla="*/ 18 w 22"/>
                <a:gd name="T19" fmla="*/ 0 h 30"/>
                <a:gd name="T20" fmla="*/ 21 w 22"/>
                <a:gd name="T21" fmla="*/ 1 h 30"/>
                <a:gd name="T22" fmla="*/ 20 w 22"/>
                <a:gd name="T23" fmla="*/ 4 h 30"/>
                <a:gd name="T24" fmla="*/ 18 w 22"/>
                <a:gd name="T25" fmla="*/ 3 h 30"/>
                <a:gd name="T26" fmla="*/ 14 w 22"/>
                <a:gd name="T27" fmla="*/ 3 h 30"/>
                <a:gd name="T28" fmla="*/ 7 w 22"/>
                <a:gd name="T29" fmla="*/ 6 h 30"/>
                <a:gd name="T30" fmla="*/ 4 w 22"/>
                <a:gd name="T31" fmla="*/ 15 h 30"/>
                <a:gd name="T32" fmla="*/ 5 w 22"/>
                <a:gd name="T33" fmla="*/ 20 h 30"/>
                <a:gd name="T34" fmla="*/ 7 w 22"/>
                <a:gd name="T35" fmla="*/ 23 h 30"/>
                <a:gd name="T36" fmla="*/ 10 w 22"/>
                <a:gd name="T37" fmla="*/ 26 h 30"/>
                <a:gd name="T38" fmla="*/ 15 w 22"/>
                <a:gd name="T39" fmla="*/ 27 h 30"/>
                <a:gd name="T40" fmla="*/ 19 w 22"/>
                <a:gd name="T41" fmla="*/ 26 h 30"/>
                <a:gd name="T42" fmla="*/ 21 w 22"/>
                <a:gd name="T43" fmla="*/ 25 h 30"/>
                <a:gd name="T44" fmla="*/ 22 w 22"/>
                <a:gd name="T45" fmla="*/ 28 h 30"/>
                <a:gd name="T46" fmla="*/ 19 w 22"/>
                <a:gd name="T47" fmla="*/ 30 h 30"/>
                <a:gd name="T48" fmla="*/ 14 w 22"/>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30">
                  <a:moveTo>
                    <a:pt x="14" y="30"/>
                  </a:moveTo>
                  <a:cubicBezTo>
                    <a:pt x="12" y="30"/>
                    <a:pt x="10" y="30"/>
                    <a:pt x="8" y="29"/>
                  </a:cubicBezTo>
                  <a:cubicBezTo>
                    <a:pt x="6"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7" y="2"/>
                    <a:pt x="8" y="1"/>
                  </a:cubicBezTo>
                  <a:cubicBezTo>
                    <a:pt x="10" y="0"/>
                    <a:pt x="12" y="0"/>
                    <a:pt x="14" y="0"/>
                  </a:cubicBezTo>
                  <a:cubicBezTo>
                    <a:pt x="15" y="0"/>
                    <a:pt x="17" y="0"/>
                    <a:pt x="18" y="0"/>
                  </a:cubicBezTo>
                  <a:cubicBezTo>
                    <a:pt x="19" y="0"/>
                    <a:pt x="21" y="1"/>
                    <a:pt x="21" y="1"/>
                  </a:cubicBezTo>
                  <a:cubicBezTo>
                    <a:pt x="20" y="4"/>
                    <a:pt x="20" y="4"/>
                    <a:pt x="20" y="4"/>
                  </a:cubicBezTo>
                  <a:cubicBezTo>
                    <a:pt x="20" y="4"/>
                    <a:pt x="19" y="4"/>
                    <a:pt x="18" y="3"/>
                  </a:cubicBezTo>
                  <a:cubicBezTo>
                    <a:pt x="17" y="3"/>
                    <a:pt x="16" y="3"/>
                    <a:pt x="14" y="3"/>
                  </a:cubicBezTo>
                  <a:cubicBezTo>
                    <a:pt x="11" y="3"/>
                    <a:pt x="8" y="4"/>
                    <a:pt x="7" y="6"/>
                  </a:cubicBezTo>
                  <a:cubicBezTo>
                    <a:pt x="5" y="8"/>
                    <a:pt x="4" y="11"/>
                    <a:pt x="4" y="15"/>
                  </a:cubicBezTo>
                  <a:cubicBezTo>
                    <a:pt x="4" y="17"/>
                    <a:pt x="4" y="18"/>
                    <a:pt x="5" y="20"/>
                  </a:cubicBezTo>
                  <a:cubicBezTo>
                    <a:pt x="5" y="21"/>
                    <a:pt x="6" y="22"/>
                    <a:pt x="7" y="23"/>
                  </a:cubicBezTo>
                  <a:cubicBezTo>
                    <a:pt x="7" y="24"/>
                    <a:pt x="9" y="25"/>
                    <a:pt x="10" y="26"/>
                  </a:cubicBezTo>
                  <a:cubicBezTo>
                    <a:pt x="11" y="26"/>
                    <a:pt x="13" y="27"/>
                    <a:pt x="15" y="27"/>
                  </a:cubicBezTo>
                  <a:cubicBezTo>
                    <a:pt x="16" y="27"/>
                    <a:pt x="18" y="27"/>
                    <a:pt x="19" y="26"/>
                  </a:cubicBezTo>
                  <a:cubicBezTo>
                    <a:pt x="20" y="26"/>
                    <a:pt x="20" y="26"/>
                    <a:pt x="21" y="25"/>
                  </a:cubicBezTo>
                  <a:cubicBezTo>
                    <a:pt x="22" y="28"/>
                    <a:pt x="22" y="28"/>
                    <a:pt x="22" y="28"/>
                  </a:cubicBezTo>
                  <a:cubicBezTo>
                    <a:pt x="21" y="29"/>
                    <a:pt x="20" y="29"/>
                    <a:pt x="19" y="30"/>
                  </a:cubicBezTo>
                  <a:cubicBezTo>
                    <a:pt x="17" y="30"/>
                    <a:pt x="16" y="30"/>
                    <a:pt x="14"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37"/>
            <p:cNvSpPr>
              <a:spLocks/>
            </p:cNvSpPr>
            <p:nvPr/>
          </p:nvSpPr>
          <p:spPr bwMode="auto">
            <a:xfrm>
              <a:off x="792163" y="3411571"/>
              <a:ext cx="28575" cy="71438"/>
            </a:xfrm>
            <a:custGeom>
              <a:avLst/>
              <a:gdLst>
                <a:gd name="T0" fmla="*/ 3 w 16"/>
                <a:gd name="T1" fmla="*/ 9 h 39"/>
                <a:gd name="T2" fmla="*/ 15 w 16"/>
                <a:gd name="T3" fmla="*/ 9 h 39"/>
                <a:gd name="T4" fmla="*/ 15 w 16"/>
                <a:gd name="T5" fmla="*/ 13 h 39"/>
                <a:gd name="T6" fmla="*/ 3 w 16"/>
                <a:gd name="T7" fmla="*/ 13 h 39"/>
                <a:gd name="T8" fmla="*/ 3 w 16"/>
                <a:gd name="T9" fmla="*/ 28 h 39"/>
                <a:gd name="T10" fmla="*/ 4 w 16"/>
                <a:gd name="T11" fmla="*/ 32 h 39"/>
                <a:gd name="T12" fmla="*/ 5 w 16"/>
                <a:gd name="T13" fmla="*/ 34 h 39"/>
                <a:gd name="T14" fmla="*/ 7 w 16"/>
                <a:gd name="T15" fmla="*/ 35 h 39"/>
                <a:gd name="T16" fmla="*/ 9 w 16"/>
                <a:gd name="T17" fmla="*/ 36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3 h 39"/>
                <a:gd name="T34" fmla="*/ 0 w 16"/>
                <a:gd name="T35" fmla="*/ 28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3"/>
                    <a:pt x="15" y="13"/>
                    <a:pt x="15" y="13"/>
                  </a:cubicBezTo>
                  <a:cubicBezTo>
                    <a:pt x="3" y="13"/>
                    <a:pt x="3" y="13"/>
                    <a:pt x="3" y="13"/>
                  </a:cubicBezTo>
                  <a:cubicBezTo>
                    <a:pt x="3" y="28"/>
                    <a:pt x="3" y="28"/>
                    <a:pt x="3" y="28"/>
                  </a:cubicBezTo>
                  <a:cubicBezTo>
                    <a:pt x="3" y="30"/>
                    <a:pt x="3" y="31"/>
                    <a:pt x="4" y="32"/>
                  </a:cubicBezTo>
                  <a:cubicBezTo>
                    <a:pt x="4" y="33"/>
                    <a:pt x="4" y="34"/>
                    <a:pt x="5" y="34"/>
                  </a:cubicBezTo>
                  <a:cubicBezTo>
                    <a:pt x="5" y="35"/>
                    <a:pt x="6" y="35"/>
                    <a:pt x="7" y="35"/>
                  </a:cubicBezTo>
                  <a:cubicBezTo>
                    <a:pt x="8" y="36"/>
                    <a:pt x="8" y="36"/>
                    <a:pt x="9" y="36"/>
                  </a:cubicBezTo>
                  <a:cubicBezTo>
                    <a:pt x="11" y="36"/>
                    <a:pt x="12" y="36"/>
                    <a:pt x="13" y="35"/>
                  </a:cubicBezTo>
                  <a:cubicBezTo>
                    <a:pt x="14" y="35"/>
                    <a:pt x="15" y="35"/>
                    <a:pt x="15" y="34"/>
                  </a:cubicBezTo>
                  <a:cubicBezTo>
                    <a:pt x="16" y="37"/>
                    <a:pt x="16" y="37"/>
                    <a:pt x="16" y="37"/>
                  </a:cubicBezTo>
                  <a:cubicBezTo>
                    <a:pt x="16" y="38"/>
                    <a:pt x="15" y="38"/>
                    <a:pt x="13" y="38"/>
                  </a:cubicBezTo>
                  <a:cubicBezTo>
                    <a:pt x="12" y="39"/>
                    <a:pt x="11" y="39"/>
                    <a:pt x="9" y="39"/>
                  </a:cubicBezTo>
                  <a:cubicBezTo>
                    <a:pt x="7" y="39"/>
                    <a:pt x="6" y="39"/>
                    <a:pt x="5" y="38"/>
                  </a:cubicBezTo>
                  <a:cubicBezTo>
                    <a:pt x="3" y="38"/>
                    <a:pt x="2" y="37"/>
                    <a:pt x="2" y="36"/>
                  </a:cubicBezTo>
                  <a:cubicBezTo>
                    <a:pt x="1" y="35"/>
                    <a:pt x="0" y="34"/>
                    <a:pt x="0" y="33"/>
                  </a:cubicBezTo>
                  <a:cubicBezTo>
                    <a:pt x="0" y="31"/>
                    <a:pt x="0" y="30"/>
                    <a:pt x="0" y="28"/>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38"/>
            <p:cNvSpPr>
              <a:spLocks noEditPoints="1"/>
            </p:cNvSpPr>
            <p:nvPr/>
          </p:nvSpPr>
          <p:spPr bwMode="auto">
            <a:xfrm>
              <a:off x="830263" y="3408396"/>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1 w 5"/>
                <a:gd name="T21" fmla="*/ 40 h 40"/>
                <a:gd name="T22" fmla="*/ 1 w 5"/>
                <a:gd name="T23" fmla="*/ 11 h 40"/>
                <a:gd name="T24" fmla="*/ 4 w 5"/>
                <a:gd name="T25" fmla="*/ 11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1" y="40"/>
                    <a:pt x="1" y="40"/>
                    <a:pt x="1" y="40"/>
                  </a:cubicBezTo>
                  <a:cubicBezTo>
                    <a:pt x="1" y="11"/>
                    <a:pt x="1" y="11"/>
                    <a:pt x="1" y="11"/>
                  </a:cubicBezTo>
                  <a:cubicBezTo>
                    <a:pt x="4" y="11"/>
                    <a:pt x="4" y="11"/>
                    <a:pt x="4" y="11"/>
                  </a:cubicBezTo>
                  <a:lnTo>
                    <a:pt x="4"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39"/>
            <p:cNvSpPr>
              <a:spLocks noEditPoints="1"/>
            </p:cNvSpPr>
            <p:nvPr/>
          </p:nvSpPr>
          <p:spPr bwMode="auto">
            <a:xfrm>
              <a:off x="852488" y="3429034"/>
              <a:ext cx="47625" cy="53976"/>
            </a:xfrm>
            <a:custGeom>
              <a:avLst/>
              <a:gdLst>
                <a:gd name="T0" fmla="*/ 26 w 26"/>
                <a:gd name="T1" fmla="*/ 15 h 30"/>
                <a:gd name="T2" fmla="*/ 26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6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6"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6"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1"/>
                    <a:pt x="6" y="24"/>
                  </a:cubicBezTo>
                  <a:cubicBezTo>
                    <a:pt x="8" y="26"/>
                    <a:pt x="10" y="27"/>
                    <a:pt x="13" y="27"/>
                  </a:cubicBezTo>
                  <a:cubicBezTo>
                    <a:pt x="16" y="27"/>
                    <a:pt x="18" y="26"/>
                    <a:pt x="20" y="24"/>
                  </a:cubicBezTo>
                  <a:cubicBezTo>
                    <a:pt x="22" y="21"/>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40"/>
            <p:cNvSpPr>
              <a:spLocks/>
            </p:cNvSpPr>
            <p:nvPr/>
          </p:nvSpPr>
          <p:spPr bwMode="auto">
            <a:xfrm>
              <a:off x="914401" y="3429034"/>
              <a:ext cx="42863" cy="52388"/>
            </a:xfrm>
            <a:custGeom>
              <a:avLst/>
              <a:gdLst>
                <a:gd name="T0" fmla="*/ 0 w 23"/>
                <a:gd name="T1" fmla="*/ 1 h 29"/>
                <a:gd name="T2" fmla="*/ 5 w 23"/>
                <a:gd name="T3" fmla="*/ 0 h 29"/>
                <a:gd name="T4" fmla="*/ 11 w 23"/>
                <a:gd name="T5" fmla="*/ 0 h 29"/>
                <a:gd name="T6" fmla="*/ 17 w 23"/>
                <a:gd name="T7" fmla="*/ 1 h 29"/>
                <a:gd name="T8" fmla="*/ 21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8 w 23"/>
                <a:gd name="T23" fmla="*/ 6 h 29"/>
                <a:gd name="T24" fmla="*/ 15 w 23"/>
                <a:gd name="T25" fmla="*/ 4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1"/>
                    <a:pt x="5" y="0"/>
                  </a:cubicBezTo>
                  <a:cubicBezTo>
                    <a:pt x="7" y="0"/>
                    <a:pt x="9" y="0"/>
                    <a:pt x="11" y="0"/>
                  </a:cubicBezTo>
                  <a:cubicBezTo>
                    <a:pt x="14" y="0"/>
                    <a:pt x="16" y="0"/>
                    <a:pt x="17" y="1"/>
                  </a:cubicBezTo>
                  <a:cubicBezTo>
                    <a:pt x="18" y="1"/>
                    <a:pt x="20" y="2"/>
                    <a:pt x="21"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9" y="8"/>
                    <a:pt x="18" y="7"/>
                    <a:pt x="18" y="6"/>
                  </a:cubicBezTo>
                  <a:cubicBezTo>
                    <a:pt x="17" y="5"/>
                    <a:pt x="16" y="4"/>
                    <a:pt x="15" y="4"/>
                  </a:cubicBezTo>
                  <a:cubicBezTo>
                    <a:pt x="14" y="3"/>
                    <a:pt x="13" y="3"/>
                    <a:pt x="11" y="3"/>
                  </a:cubicBezTo>
                  <a:cubicBezTo>
                    <a:pt x="9" y="3"/>
                    <a:pt x="8"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1" name="Group 550"/>
          <p:cNvGrpSpPr/>
          <p:nvPr/>
        </p:nvGrpSpPr>
        <p:grpSpPr>
          <a:xfrm>
            <a:off x="1755213" y="3125510"/>
            <a:ext cx="482600" cy="79376"/>
            <a:chOff x="1649413" y="3403634"/>
            <a:chExt cx="482600" cy="79376"/>
          </a:xfrm>
        </p:grpSpPr>
        <p:sp>
          <p:nvSpPr>
            <p:cNvPr id="220" name="Freeform 41"/>
            <p:cNvSpPr>
              <a:spLocks/>
            </p:cNvSpPr>
            <p:nvPr/>
          </p:nvSpPr>
          <p:spPr bwMode="auto">
            <a:xfrm>
              <a:off x="1649413" y="3411571"/>
              <a:ext cx="53975" cy="69851"/>
            </a:xfrm>
            <a:custGeom>
              <a:avLst/>
              <a:gdLst>
                <a:gd name="T0" fmla="*/ 29 w 34"/>
                <a:gd name="T1" fmla="*/ 0 h 44"/>
                <a:gd name="T2" fmla="*/ 34 w 34"/>
                <a:gd name="T3" fmla="*/ 0 h 44"/>
                <a:gd name="T4" fmla="*/ 34 w 34"/>
                <a:gd name="T5" fmla="*/ 44 h 44"/>
                <a:gd name="T6" fmla="*/ 29 w 34"/>
                <a:gd name="T7" fmla="*/ 44 h 44"/>
                <a:gd name="T8" fmla="*/ 29 w 34"/>
                <a:gd name="T9" fmla="*/ 24 h 44"/>
                <a:gd name="T10" fmla="*/ 5 w 34"/>
                <a:gd name="T11" fmla="*/ 24 h 44"/>
                <a:gd name="T12" fmla="*/ 5 w 34"/>
                <a:gd name="T13" fmla="*/ 44 h 44"/>
                <a:gd name="T14" fmla="*/ 0 w 34"/>
                <a:gd name="T15" fmla="*/ 44 h 44"/>
                <a:gd name="T16" fmla="*/ 0 w 34"/>
                <a:gd name="T17" fmla="*/ 0 h 44"/>
                <a:gd name="T18" fmla="*/ 5 w 34"/>
                <a:gd name="T19" fmla="*/ 0 h 44"/>
                <a:gd name="T20" fmla="*/ 5 w 34"/>
                <a:gd name="T21" fmla="*/ 19 h 44"/>
                <a:gd name="T22" fmla="*/ 29 w 34"/>
                <a:gd name="T23" fmla="*/ 19 h 44"/>
                <a:gd name="T24" fmla="*/ 29 w 34"/>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44">
                  <a:moveTo>
                    <a:pt x="29" y="0"/>
                  </a:moveTo>
                  <a:lnTo>
                    <a:pt x="34" y="0"/>
                  </a:lnTo>
                  <a:lnTo>
                    <a:pt x="34" y="44"/>
                  </a:lnTo>
                  <a:lnTo>
                    <a:pt x="29" y="44"/>
                  </a:lnTo>
                  <a:lnTo>
                    <a:pt x="29" y="24"/>
                  </a:lnTo>
                  <a:lnTo>
                    <a:pt x="5" y="24"/>
                  </a:lnTo>
                  <a:lnTo>
                    <a:pt x="5" y="44"/>
                  </a:lnTo>
                  <a:lnTo>
                    <a:pt x="0" y="44"/>
                  </a:lnTo>
                  <a:lnTo>
                    <a:pt x="0" y="0"/>
                  </a:lnTo>
                  <a:lnTo>
                    <a:pt x="5" y="0"/>
                  </a:lnTo>
                  <a:lnTo>
                    <a:pt x="5" y="19"/>
                  </a:lnTo>
                  <a:lnTo>
                    <a:pt x="29" y="19"/>
                  </a:lnTo>
                  <a:lnTo>
                    <a:pt x="2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42"/>
            <p:cNvSpPr>
              <a:spLocks noEditPoints="1"/>
            </p:cNvSpPr>
            <p:nvPr/>
          </p:nvSpPr>
          <p:spPr bwMode="auto">
            <a:xfrm>
              <a:off x="1717676"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9"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9" y="30"/>
                    <a:pt x="8" y="29"/>
                  </a:cubicBezTo>
                  <a:cubicBezTo>
                    <a:pt x="6" y="28"/>
                    <a:pt x="4" y="27"/>
                    <a:pt x="3" y="26"/>
                  </a:cubicBezTo>
                  <a:cubicBezTo>
                    <a:pt x="2" y="24"/>
                    <a:pt x="1" y="23"/>
                    <a:pt x="1" y="21"/>
                  </a:cubicBezTo>
                  <a:cubicBezTo>
                    <a:pt x="0" y="19"/>
                    <a:pt x="0" y="17"/>
                    <a:pt x="0" y="15"/>
                  </a:cubicBezTo>
                  <a:close/>
                  <a:moveTo>
                    <a:pt x="20" y="13"/>
                  </a:moveTo>
                  <a:cubicBezTo>
                    <a:pt x="20" y="10"/>
                    <a:pt x="20" y="7"/>
                    <a:pt x="18" y="6"/>
                  </a:cubicBezTo>
                  <a:cubicBezTo>
                    <a:pt x="17" y="4"/>
                    <a:pt x="15" y="3"/>
                    <a:pt x="13" y="3"/>
                  </a:cubicBezTo>
                  <a:cubicBezTo>
                    <a:pt x="11" y="3"/>
                    <a:pt x="10" y="3"/>
                    <a:pt x="9" y="4"/>
                  </a:cubicBezTo>
                  <a:cubicBezTo>
                    <a:pt x="8" y="4"/>
                    <a:pt x="7" y="5"/>
                    <a:pt x="6" y="6"/>
                  </a:cubicBezTo>
                  <a:cubicBezTo>
                    <a:pt x="6" y="7"/>
                    <a:pt x="5" y="8"/>
                    <a:pt x="5"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43"/>
            <p:cNvSpPr>
              <a:spLocks noEditPoints="1"/>
            </p:cNvSpPr>
            <p:nvPr/>
          </p:nvSpPr>
          <p:spPr bwMode="auto">
            <a:xfrm>
              <a:off x="1773238" y="3429034"/>
              <a:ext cx="39688"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3 w 22"/>
                <a:gd name="T59" fmla="*/ 1 h 30"/>
                <a:gd name="T60" fmla="*/ 6 w 22"/>
                <a:gd name="T61" fmla="*/ 0 h 30"/>
                <a:gd name="T62" fmla="*/ 11 w 22"/>
                <a:gd name="T63" fmla="*/ 0 h 30"/>
                <a:gd name="T64" fmla="*/ 11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6 h 30"/>
                <a:gd name="T90" fmla="*/ 11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7"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3"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0" y="15"/>
                    <a:pt x="9"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44"/>
            <p:cNvSpPr>
              <a:spLocks/>
            </p:cNvSpPr>
            <p:nvPr/>
          </p:nvSpPr>
          <p:spPr bwMode="auto">
            <a:xfrm>
              <a:off x="1830388" y="3403634"/>
              <a:ext cx="14288" cy="79376"/>
            </a:xfrm>
            <a:custGeom>
              <a:avLst/>
              <a:gdLst>
                <a:gd name="T0" fmla="*/ 7 w 8"/>
                <a:gd name="T1" fmla="*/ 44 h 44"/>
                <a:gd name="T2" fmla="*/ 4 w 8"/>
                <a:gd name="T3" fmla="*/ 43 h 44"/>
                <a:gd name="T4" fmla="*/ 2 w 8"/>
                <a:gd name="T5" fmla="*/ 42 h 44"/>
                <a:gd name="T6" fmla="*/ 0 w 8"/>
                <a:gd name="T7" fmla="*/ 40 h 44"/>
                <a:gd name="T8" fmla="*/ 0 w 8"/>
                <a:gd name="T9" fmla="*/ 36 h 44"/>
                <a:gd name="T10" fmla="*/ 0 w 8"/>
                <a:gd name="T11" fmla="*/ 1 h 44"/>
                <a:gd name="T12" fmla="*/ 3 w 8"/>
                <a:gd name="T13" fmla="*/ 0 h 44"/>
                <a:gd name="T14" fmla="*/ 3 w 8"/>
                <a:gd name="T15" fmla="*/ 36 h 44"/>
                <a:gd name="T16" fmla="*/ 4 w 8"/>
                <a:gd name="T17" fmla="*/ 39 h 44"/>
                <a:gd name="T18" fmla="*/ 4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6"/>
                  </a:cubicBezTo>
                  <a:cubicBezTo>
                    <a:pt x="0" y="1"/>
                    <a:pt x="0" y="1"/>
                    <a:pt x="0" y="1"/>
                  </a:cubicBezTo>
                  <a:cubicBezTo>
                    <a:pt x="3" y="0"/>
                    <a:pt x="3" y="0"/>
                    <a:pt x="3" y="0"/>
                  </a:cubicBezTo>
                  <a:cubicBezTo>
                    <a:pt x="3" y="36"/>
                    <a:pt x="3" y="36"/>
                    <a:pt x="3" y="36"/>
                  </a:cubicBezTo>
                  <a:cubicBezTo>
                    <a:pt x="3" y="37"/>
                    <a:pt x="4" y="38"/>
                    <a:pt x="4" y="39"/>
                  </a:cubicBezTo>
                  <a:cubicBezTo>
                    <a:pt x="4" y="39"/>
                    <a:pt x="4" y="39"/>
                    <a:pt x="4"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45"/>
            <p:cNvSpPr>
              <a:spLocks/>
            </p:cNvSpPr>
            <p:nvPr/>
          </p:nvSpPr>
          <p:spPr bwMode="auto">
            <a:xfrm>
              <a:off x="1855788" y="3411571"/>
              <a:ext cx="28575" cy="71438"/>
            </a:xfrm>
            <a:custGeom>
              <a:avLst/>
              <a:gdLst>
                <a:gd name="T0" fmla="*/ 4 w 16"/>
                <a:gd name="T1" fmla="*/ 9 h 39"/>
                <a:gd name="T2" fmla="*/ 15 w 16"/>
                <a:gd name="T3" fmla="*/ 9 h 39"/>
                <a:gd name="T4" fmla="*/ 15 w 16"/>
                <a:gd name="T5" fmla="*/ 13 h 39"/>
                <a:gd name="T6" fmla="*/ 4 w 16"/>
                <a:gd name="T7" fmla="*/ 13 h 39"/>
                <a:gd name="T8" fmla="*/ 4 w 16"/>
                <a:gd name="T9" fmla="*/ 28 h 39"/>
                <a:gd name="T10" fmla="*/ 4 w 16"/>
                <a:gd name="T11" fmla="*/ 32 h 39"/>
                <a:gd name="T12" fmla="*/ 5 w 16"/>
                <a:gd name="T13" fmla="*/ 34 h 39"/>
                <a:gd name="T14" fmla="*/ 7 w 16"/>
                <a:gd name="T15" fmla="*/ 35 h 39"/>
                <a:gd name="T16" fmla="*/ 10 w 16"/>
                <a:gd name="T17" fmla="*/ 36 h 39"/>
                <a:gd name="T18" fmla="*/ 13 w 16"/>
                <a:gd name="T19" fmla="*/ 35 h 39"/>
                <a:gd name="T20" fmla="*/ 15 w 16"/>
                <a:gd name="T21" fmla="*/ 34 h 39"/>
                <a:gd name="T22" fmla="*/ 16 w 16"/>
                <a:gd name="T23" fmla="*/ 37 h 39"/>
                <a:gd name="T24" fmla="*/ 14 w 16"/>
                <a:gd name="T25" fmla="*/ 38 h 39"/>
                <a:gd name="T26" fmla="*/ 9 w 16"/>
                <a:gd name="T27" fmla="*/ 39 h 39"/>
                <a:gd name="T28" fmla="*/ 5 w 16"/>
                <a:gd name="T29" fmla="*/ 38 h 39"/>
                <a:gd name="T30" fmla="*/ 2 w 16"/>
                <a:gd name="T31" fmla="*/ 36 h 39"/>
                <a:gd name="T32" fmla="*/ 0 w 16"/>
                <a:gd name="T33" fmla="*/ 33 h 39"/>
                <a:gd name="T34" fmla="*/ 0 w 16"/>
                <a:gd name="T35" fmla="*/ 28 h 39"/>
                <a:gd name="T36" fmla="*/ 0 w 16"/>
                <a:gd name="T37" fmla="*/ 1 h 39"/>
                <a:gd name="T38" fmla="*/ 4 w 16"/>
                <a:gd name="T39" fmla="*/ 0 h 39"/>
                <a:gd name="T40" fmla="*/ 4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4" y="9"/>
                  </a:moveTo>
                  <a:cubicBezTo>
                    <a:pt x="15" y="9"/>
                    <a:pt x="15" y="9"/>
                    <a:pt x="15" y="9"/>
                  </a:cubicBezTo>
                  <a:cubicBezTo>
                    <a:pt x="15" y="13"/>
                    <a:pt x="15" y="13"/>
                    <a:pt x="15" y="13"/>
                  </a:cubicBezTo>
                  <a:cubicBezTo>
                    <a:pt x="4" y="13"/>
                    <a:pt x="4" y="13"/>
                    <a:pt x="4" y="13"/>
                  </a:cubicBezTo>
                  <a:cubicBezTo>
                    <a:pt x="4" y="28"/>
                    <a:pt x="4" y="28"/>
                    <a:pt x="4" y="28"/>
                  </a:cubicBezTo>
                  <a:cubicBezTo>
                    <a:pt x="4" y="30"/>
                    <a:pt x="4" y="31"/>
                    <a:pt x="4" y="32"/>
                  </a:cubicBezTo>
                  <a:cubicBezTo>
                    <a:pt x="4" y="33"/>
                    <a:pt x="5" y="34"/>
                    <a:pt x="5" y="34"/>
                  </a:cubicBezTo>
                  <a:cubicBezTo>
                    <a:pt x="6" y="35"/>
                    <a:pt x="6" y="35"/>
                    <a:pt x="7" y="35"/>
                  </a:cubicBezTo>
                  <a:cubicBezTo>
                    <a:pt x="8" y="36"/>
                    <a:pt x="9" y="36"/>
                    <a:pt x="10" y="36"/>
                  </a:cubicBezTo>
                  <a:cubicBezTo>
                    <a:pt x="11" y="36"/>
                    <a:pt x="12" y="36"/>
                    <a:pt x="13" y="35"/>
                  </a:cubicBezTo>
                  <a:cubicBezTo>
                    <a:pt x="14" y="35"/>
                    <a:pt x="15" y="35"/>
                    <a:pt x="15" y="34"/>
                  </a:cubicBezTo>
                  <a:cubicBezTo>
                    <a:pt x="16" y="37"/>
                    <a:pt x="16" y="37"/>
                    <a:pt x="16" y="37"/>
                  </a:cubicBezTo>
                  <a:cubicBezTo>
                    <a:pt x="16" y="38"/>
                    <a:pt x="15" y="38"/>
                    <a:pt x="14" y="38"/>
                  </a:cubicBezTo>
                  <a:cubicBezTo>
                    <a:pt x="12" y="39"/>
                    <a:pt x="11" y="39"/>
                    <a:pt x="9" y="39"/>
                  </a:cubicBezTo>
                  <a:cubicBezTo>
                    <a:pt x="8" y="39"/>
                    <a:pt x="6" y="39"/>
                    <a:pt x="5" y="38"/>
                  </a:cubicBezTo>
                  <a:cubicBezTo>
                    <a:pt x="4" y="38"/>
                    <a:pt x="3" y="37"/>
                    <a:pt x="2" y="36"/>
                  </a:cubicBezTo>
                  <a:cubicBezTo>
                    <a:pt x="1" y="35"/>
                    <a:pt x="1" y="34"/>
                    <a:pt x="0" y="33"/>
                  </a:cubicBezTo>
                  <a:cubicBezTo>
                    <a:pt x="0" y="31"/>
                    <a:pt x="0" y="30"/>
                    <a:pt x="0" y="28"/>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46"/>
            <p:cNvSpPr>
              <a:spLocks/>
            </p:cNvSpPr>
            <p:nvPr/>
          </p:nvSpPr>
          <p:spPr bwMode="auto">
            <a:xfrm>
              <a:off x="1895476" y="3403634"/>
              <a:ext cx="41275" cy="77788"/>
            </a:xfrm>
            <a:custGeom>
              <a:avLst/>
              <a:gdLst>
                <a:gd name="T0" fmla="*/ 0 w 22"/>
                <a:gd name="T1" fmla="*/ 43 h 43"/>
                <a:gd name="T2" fmla="*/ 0 w 22"/>
                <a:gd name="T3" fmla="*/ 1 h 43"/>
                <a:gd name="T4" fmla="*/ 3 w 22"/>
                <a:gd name="T5" fmla="*/ 0 h 43"/>
                <a:gd name="T6" fmla="*/ 3 w 22"/>
                <a:gd name="T7" fmla="*/ 15 h 43"/>
                <a:gd name="T8" fmla="*/ 7 w 22"/>
                <a:gd name="T9" fmla="*/ 14 h 43"/>
                <a:gd name="T10" fmla="*/ 11 w 22"/>
                <a:gd name="T11" fmla="*/ 14 h 43"/>
                <a:gd name="T12" fmla="*/ 16 w 22"/>
                <a:gd name="T13" fmla="*/ 15 h 43"/>
                <a:gd name="T14" fmla="*/ 20 w 22"/>
                <a:gd name="T15" fmla="*/ 18 h 43"/>
                <a:gd name="T16" fmla="*/ 22 w 22"/>
                <a:gd name="T17" fmla="*/ 22 h 43"/>
                <a:gd name="T18" fmla="*/ 22 w 22"/>
                <a:gd name="T19" fmla="*/ 27 h 43"/>
                <a:gd name="T20" fmla="*/ 22 w 22"/>
                <a:gd name="T21" fmla="*/ 43 h 43"/>
                <a:gd name="T22" fmla="*/ 19 w 22"/>
                <a:gd name="T23" fmla="*/ 43 h 43"/>
                <a:gd name="T24" fmla="*/ 19 w 22"/>
                <a:gd name="T25" fmla="*/ 28 h 43"/>
                <a:gd name="T26" fmla="*/ 18 w 22"/>
                <a:gd name="T27" fmla="*/ 23 h 43"/>
                <a:gd name="T28" fmla="*/ 17 w 22"/>
                <a:gd name="T29" fmla="*/ 20 h 43"/>
                <a:gd name="T30" fmla="*/ 14 w 22"/>
                <a:gd name="T31" fmla="*/ 18 h 43"/>
                <a:gd name="T32" fmla="*/ 10 w 22"/>
                <a:gd name="T33" fmla="*/ 17 h 43"/>
                <a:gd name="T34" fmla="*/ 8 w 22"/>
                <a:gd name="T35" fmla="*/ 17 h 43"/>
                <a:gd name="T36" fmla="*/ 6 w 22"/>
                <a:gd name="T37" fmla="*/ 18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1"/>
                    <a:pt x="0" y="1"/>
                    <a:pt x="0" y="1"/>
                  </a:cubicBezTo>
                  <a:cubicBezTo>
                    <a:pt x="3" y="0"/>
                    <a:pt x="3" y="0"/>
                    <a:pt x="3" y="0"/>
                  </a:cubicBezTo>
                  <a:cubicBezTo>
                    <a:pt x="3" y="15"/>
                    <a:pt x="3" y="15"/>
                    <a:pt x="3" y="15"/>
                  </a:cubicBezTo>
                  <a:cubicBezTo>
                    <a:pt x="5" y="15"/>
                    <a:pt x="6" y="15"/>
                    <a:pt x="7" y="14"/>
                  </a:cubicBezTo>
                  <a:cubicBezTo>
                    <a:pt x="8" y="14"/>
                    <a:pt x="10" y="14"/>
                    <a:pt x="11" y="14"/>
                  </a:cubicBezTo>
                  <a:cubicBezTo>
                    <a:pt x="13" y="14"/>
                    <a:pt x="15" y="14"/>
                    <a:pt x="16" y="15"/>
                  </a:cubicBezTo>
                  <a:cubicBezTo>
                    <a:pt x="18" y="15"/>
                    <a:pt x="19" y="16"/>
                    <a:pt x="20" y="18"/>
                  </a:cubicBezTo>
                  <a:cubicBezTo>
                    <a:pt x="21" y="19"/>
                    <a:pt x="22" y="20"/>
                    <a:pt x="22" y="22"/>
                  </a:cubicBezTo>
                  <a:cubicBezTo>
                    <a:pt x="22" y="23"/>
                    <a:pt x="22" y="25"/>
                    <a:pt x="22" y="27"/>
                  </a:cubicBezTo>
                  <a:cubicBezTo>
                    <a:pt x="22" y="43"/>
                    <a:pt x="22" y="43"/>
                    <a:pt x="22"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5" y="18"/>
                    <a:pt x="14" y="18"/>
                  </a:cubicBezTo>
                  <a:cubicBezTo>
                    <a:pt x="13" y="17"/>
                    <a:pt x="12" y="17"/>
                    <a:pt x="10" y="17"/>
                  </a:cubicBezTo>
                  <a:cubicBezTo>
                    <a:pt x="10" y="17"/>
                    <a:pt x="9" y="17"/>
                    <a:pt x="8" y="17"/>
                  </a:cubicBezTo>
                  <a:cubicBezTo>
                    <a:pt x="7" y="17"/>
                    <a:pt x="7" y="18"/>
                    <a:pt x="6" y="18"/>
                  </a:cubicBezTo>
                  <a:cubicBezTo>
                    <a:pt x="6" y="18"/>
                    <a:pt x="5" y="18"/>
                    <a:pt x="4" y="18"/>
                  </a:cubicBezTo>
                  <a:cubicBezTo>
                    <a:pt x="4" y="18"/>
                    <a:pt x="4" y="18"/>
                    <a:pt x="3" y="18"/>
                  </a:cubicBezTo>
                  <a:cubicBezTo>
                    <a:pt x="3" y="43"/>
                    <a:pt x="3" y="43"/>
                    <a:pt x="3"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47"/>
            <p:cNvSpPr>
              <a:spLocks/>
            </p:cNvSpPr>
            <p:nvPr/>
          </p:nvSpPr>
          <p:spPr bwMode="auto">
            <a:xfrm>
              <a:off x="1951038" y="3429034"/>
              <a:ext cx="38100" cy="53976"/>
            </a:xfrm>
            <a:custGeom>
              <a:avLst/>
              <a:gdLst>
                <a:gd name="T0" fmla="*/ 14 w 21"/>
                <a:gd name="T1" fmla="*/ 30 h 30"/>
                <a:gd name="T2" fmla="*/ 8 w 21"/>
                <a:gd name="T3" fmla="*/ 29 h 30"/>
                <a:gd name="T4" fmla="*/ 3 w 21"/>
                <a:gd name="T5" fmla="*/ 26 h 30"/>
                <a:gd name="T6" fmla="*/ 1 w 21"/>
                <a:gd name="T7" fmla="*/ 21 h 30"/>
                <a:gd name="T8" fmla="*/ 0 w 21"/>
                <a:gd name="T9" fmla="*/ 15 h 30"/>
                <a:gd name="T10" fmla="*/ 1 w 21"/>
                <a:gd name="T11" fmla="*/ 9 h 30"/>
                <a:gd name="T12" fmla="*/ 4 w 21"/>
                <a:gd name="T13" fmla="*/ 4 h 30"/>
                <a:gd name="T14" fmla="*/ 8 w 21"/>
                <a:gd name="T15" fmla="*/ 1 h 30"/>
                <a:gd name="T16" fmla="*/ 13 w 21"/>
                <a:gd name="T17" fmla="*/ 0 h 30"/>
                <a:gd name="T18" fmla="*/ 18 w 21"/>
                <a:gd name="T19" fmla="*/ 0 h 30"/>
                <a:gd name="T20" fmla="*/ 21 w 21"/>
                <a:gd name="T21" fmla="*/ 1 h 30"/>
                <a:gd name="T22" fmla="*/ 20 w 21"/>
                <a:gd name="T23" fmla="*/ 4 h 30"/>
                <a:gd name="T24" fmla="*/ 17 w 21"/>
                <a:gd name="T25" fmla="*/ 3 h 30"/>
                <a:gd name="T26" fmla="*/ 14 w 21"/>
                <a:gd name="T27" fmla="*/ 3 h 30"/>
                <a:gd name="T28" fmla="*/ 6 w 21"/>
                <a:gd name="T29" fmla="*/ 6 h 30"/>
                <a:gd name="T30" fmla="*/ 4 w 21"/>
                <a:gd name="T31" fmla="*/ 15 h 30"/>
                <a:gd name="T32" fmla="*/ 4 w 21"/>
                <a:gd name="T33" fmla="*/ 20 h 30"/>
                <a:gd name="T34" fmla="*/ 6 w 21"/>
                <a:gd name="T35" fmla="*/ 23 h 30"/>
                <a:gd name="T36" fmla="*/ 9 w 21"/>
                <a:gd name="T37" fmla="*/ 26 h 30"/>
                <a:gd name="T38" fmla="*/ 14 w 21"/>
                <a:gd name="T39" fmla="*/ 27 h 30"/>
                <a:gd name="T40" fmla="*/ 18 w 21"/>
                <a:gd name="T41" fmla="*/ 26 h 30"/>
                <a:gd name="T42" fmla="*/ 21 w 21"/>
                <a:gd name="T43" fmla="*/ 25 h 30"/>
                <a:gd name="T44" fmla="*/ 21 w 21"/>
                <a:gd name="T45" fmla="*/ 28 h 30"/>
                <a:gd name="T46" fmla="*/ 18 w 21"/>
                <a:gd name="T47" fmla="*/ 30 h 30"/>
                <a:gd name="T48" fmla="*/ 14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4" y="30"/>
                  </a:moveTo>
                  <a:cubicBezTo>
                    <a:pt x="11" y="30"/>
                    <a:pt x="9" y="30"/>
                    <a:pt x="8" y="29"/>
                  </a:cubicBezTo>
                  <a:cubicBezTo>
                    <a:pt x="6" y="28"/>
                    <a:pt x="5" y="27"/>
                    <a:pt x="3" y="26"/>
                  </a:cubicBezTo>
                  <a:cubicBezTo>
                    <a:pt x="2" y="25"/>
                    <a:pt x="1" y="23"/>
                    <a:pt x="1" y="21"/>
                  </a:cubicBezTo>
                  <a:cubicBezTo>
                    <a:pt x="0" y="19"/>
                    <a:pt x="0" y="17"/>
                    <a:pt x="0" y="15"/>
                  </a:cubicBezTo>
                  <a:cubicBezTo>
                    <a:pt x="0" y="13"/>
                    <a:pt x="0" y="11"/>
                    <a:pt x="1" y="9"/>
                  </a:cubicBezTo>
                  <a:cubicBezTo>
                    <a:pt x="1" y="7"/>
                    <a:pt x="2" y="5"/>
                    <a:pt x="4" y="4"/>
                  </a:cubicBezTo>
                  <a:cubicBezTo>
                    <a:pt x="5" y="3"/>
                    <a:pt x="6" y="2"/>
                    <a:pt x="8" y="1"/>
                  </a:cubicBezTo>
                  <a:cubicBezTo>
                    <a:pt x="9" y="0"/>
                    <a:pt x="11" y="0"/>
                    <a:pt x="13" y="0"/>
                  </a:cubicBezTo>
                  <a:cubicBezTo>
                    <a:pt x="15" y="0"/>
                    <a:pt x="16" y="0"/>
                    <a:pt x="18" y="0"/>
                  </a:cubicBezTo>
                  <a:cubicBezTo>
                    <a:pt x="19" y="0"/>
                    <a:pt x="20" y="1"/>
                    <a:pt x="21" y="1"/>
                  </a:cubicBezTo>
                  <a:cubicBezTo>
                    <a:pt x="20" y="4"/>
                    <a:pt x="20" y="4"/>
                    <a:pt x="20" y="4"/>
                  </a:cubicBezTo>
                  <a:cubicBezTo>
                    <a:pt x="19" y="4"/>
                    <a:pt x="18" y="4"/>
                    <a:pt x="17" y="3"/>
                  </a:cubicBezTo>
                  <a:cubicBezTo>
                    <a:pt x="16" y="3"/>
                    <a:pt x="15" y="3"/>
                    <a:pt x="14" y="3"/>
                  </a:cubicBezTo>
                  <a:cubicBezTo>
                    <a:pt x="10" y="3"/>
                    <a:pt x="8" y="4"/>
                    <a:pt x="6" y="6"/>
                  </a:cubicBezTo>
                  <a:cubicBezTo>
                    <a:pt x="5" y="8"/>
                    <a:pt x="4" y="11"/>
                    <a:pt x="4" y="15"/>
                  </a:cubicBezTo>
                  <a:cubicBezTo>
                    <a:pt x="4" y="17"/>
                    <a:pt x="4" y="18"/>
                    <a:pt x="4" y="20"/>
                  </a:cubicBezTo>
                  <a:cubicBezTo>
                    <a:pt x="5" y="21"/>
                    <a:pt x="5" y="22"/>
                    <a:pt x="6" y="23"/>
                  </a:cubicBezTo>
                  <a:cubicBezTo>
                    <a:pt x="7" y="24"/>
                    <a:pt x="8" y="25"/>
                    <a:pt x="9" y="26"/>
                  </a:cubicBezTo>
                  <a:cubicBezTo>
                    <a:pt x="11" y="26"/>
                    <a:pt x="12" y="27"/>
                    <a:pt x="14" y="27"/>
                  </a:cubicBezTo>
                  <a:cubicBezTo>
                    <a:pt x="16" y="27"/>
                    <a:pt x="17" y="27"/>
                    <a:pt x="18" y="26"/>
                  </a:cubicBezTo>
                  <a:cubicBezTo>
                    <a:pt x="19" y="26"/>
                    <a:pt x="20" y="26"/>
                    <a:pt x="21" y="25"/>
                  </a:cubicBezTo>
                  <a:cubicBezTo>
                    <a:pt x="21" y="28"/>
                    <a:pt x="21" y="28"/>
                    <a:pt x="21" y="28"/>
                  </a:cubicBezTo>
                  <a:cubicBezTo>
                    <a:pt x="21" y="29"/>
                    <a:pt x="20" y="29"/>
                    <a:pt x="18" y="30"/>
                  </a:cubicBezTo>
                  <a:cubicBezTo>
                    <a:pt x="17" y="30"/>
                    <a:pt x="15" y="30"/>
                    <a:pt x="14"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48"/>
            <p:cNvSpPr>
              <a:spLocks noEditPoints="1"/>
            </p:cNvSpPr>
            <p:nvPr/>
          </p:nvSpPr>
          <p:spPr bwMode="auto">
            <a:xfrm>
              <a:off x="1997076" y="3429034"/>
              <a:ext cx="39688"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8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4 w 22"/>
                <a:gd name="T59" fmla="*/ 1 h 30"/>
                <a:gd name="T60" fmla="*/ 6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10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6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8"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4"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3" y="3"/>
                    <a:pt x="11" y="3"/>
                  </a:cubicBezTo>
                  <a:cubicBezTo>
                    <a:pt x="9" y="3"/>
                    <a:pt x="7" y="3"/>
                    <a:pt x="6" y="3"/>
                  </a:cubicBezTo>
                  <a:cubicBezTo>
                    <a:pt x="5" y="4"/>
                    <a:pt x="4" y="4"/>
                    <a:pt x="4" y="4"/>
                  </a:cubicBezTo>
                  <a:cubicBezTo>
                    <a:pt x="4" y="1"/>
                    <a:pt x="4" y="1"/>
                    <a:pt x="4" y="1"/>
                  </a:cubicBezTo>
                  <a:cubicBezTo>
                    <a:pt x="4" y="1"/>
                    <a:pt x="5" y="0"/>
                    <a:pt x="6"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1" y="15"/>
                    <a:pt x="10"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8" y="26"/>
                    <a:pt x="8" y="26"/>
                  </a:cubicBezTo>
                  <a:cubicBezTo>
                    <a:pt x="9" y="27"/>
                    <a:pt x="10"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49"/>
            <p:cNvSpPr>
              <a:spLocks/>
            </p:cNvSpPr>
            <p:nvPr/>
          </p:nvSpPr>
          <p:spPr bwMode="auto">
            <a:xfrm>
              <a:off x="2052638" y="3429034"/>
              <a:ext cx="28575" cy="52388"/>
            </a:xfrm>
            <a:custGeom>
              <a:avLst/>
              <a:gdLst>
                <a:gd name="T0" fmla="*/ 10 w 15"/>
                <a:gd name="T1" fmla="*/ 0 h 29"/>
                <a:gd name="T2" fmla="*/ 13 w 15"/>
                <a:gd name="T3" fmla="*/ 0 h 29"/>
                <a:gd name="T4" fmla="*/ 15 w 15"/>
                <a:gd name="T5" fmla="*/ 1 h 29"/>
                <a:gd name="T6" fmla="*/ 15 w 15"/>
                <a:gd name="T7" fmla="*/ 4 h 29"/>
                <a:gd name="T8" fmla="*/ 13 w 15"/>
                <a:gd name="T9" fmla="*/ 3 h 29"/>
                <a:gd name="T10" fmla="*/ 9 w 15"/>
                <a:gd name="T11" fmla="*/ 3 h 29"/>
                <a:gd name="T12" fmla="*/ 5 w 15"/>
                <a:gd name="T13" fmla="*/ 3 h 29"/>
                <a:gd name="T14" fmla="*/ 4 w 15"/>
                <a:gd name="T15" fmla="*/ 4 h 29"/>
                <a:gd name="T16" fmla="*/ 4 w 15"/>
                <a:gd name="T17" fmla="*/ 29 h 29"/>
                <a:gd name="T18" fmla="*/ 0 w 15"/>
                <a:gd name="T19" fmla="*/ 29 h 29"/>
                <a:gd name="T20" fmla="*/ 0 w 15"/>
                <a:gd name="T21" fmla="*/ 2 h 29"/>
                <a:gd name="T22" fmla="*/ 4 w 15"/>
                <a:gd name="T23" fmla="*/ 1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1"/>
                    <a:pt x="15" y="1"/>
                  </a:cubicBezTo>
                  <a:cubicBezTo>
                    <a:pt x="15" y="4"/>
                    <a:pt x="15" y="4"/>
                    <a:pt x="15" y="4"/>
                  </a:cubicBezTo>
                  <a:cubicBezTo>
                    <a:pt x="14" y="4"/>
                    <a:pt x="14" y="4"/>
                    <a:pt x="13" y="3"/>
                  </a:cubicBezTo>
                  <a:cubicBezTo>
                    <a:pt x="12" y="3"/>
                    <a:pt x="11" y="3"/>
                    <a:pt x="9" y="3"/>
                  </a:cubicBezTo>
                  <a:cubicBezTo>
                    <a:pt x="8" y="3"/>
                    <a:pt x="6" y="3"/>
                    <a:pt x="5" y="3"/>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50"/>
            <p:cNvSpPr>
              <a:spLocks noEditPoints="1"/>
            </p:cNvSpPr>
            <p:nvPr/>
          </p:nvSpPr>
          <p:spPr bwMode="auto">
            <a:xfrm>
              <a:off x="2087563"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1"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3" name="Group 552"/>
          <p:cNvGrpSpPr/>
          <p:nvPr/>
        </p:nvGrpSpPr>
        <p:grpSpPr>
          <a:xfrm>
            <a:off x="4038302" y="3125510"/>
            <a:ext cx="688976" cy="98426"/>
            <a:chOff x="3859214" y="3403634"/>
            <a:chExt cx="688976" cy="98426"/>
          </a:xfrm>
        </p:grpSpPr>
        <p:sp>
          <p:nvSpPr>
            <p:cNvPr id="392" name="Freeform 51"/>
            <p:cNvSpPr>
              <a:spLocks/>
            </p:cNvSpPr>
            <p:nvPr/>
          </p:nvSpPr>
          <p:spPr bwMode="auto">
            <a:xfrm>
              <a:off x="3859214" y="3409984"/>
              <a:ext cx="53975" cy="73026"/>
            </a:xfrm>
            <a:custGeom>
              <a:avLst/>
              <a:gdLst>
                <a:gd name="T0" fmla="*/ 26 w 30"/>
                <a:gd name="T1" fmla="*/ 21 h 40"/>
                <a:gd name="T2" fmla="*/ 30 w 30"/>
                <a:gd name="T3" fmla="*/ 21 h 40"/>
                <a:gd name="T4" fmla="*/ 30 w 30"/>
                <a:gd name="T5" fmla="*/ 38 h 40"/>
                <a:gd name="T6" fmla="*/ 26 w 30"/>
                <a:gd name="T7" fmla="*/ 40 h 40"/>
                <a:gd name="T8" fmla="*/ 18 w 30"/>
                <a:gd name="T9" fmla="*/ 40 h 40"/>
                <a:gd name="T10" fmla="*/ 11 w 30"/>
                <a:gd name="T11" fmla="*/ 39 h 40"/>
                <a:gd name="T12" fmla="*/ 5 w 30"/>
                <a:gd name="T13" fmla="*/ 35 h 40"/>
                <a:gd name="T14" fmla="*/ 1 w 30"/>
                <a:gd name="T15" fmla="*/ 29 h 40"/>
                <a:gd name="T16" fmla="*/ 0 w 30"/>
                <a:gd name="T17" fmla="*/ 20 h 40"/>
                <a:gd name="T18" fmla="*/ 2 w 30"/>
                <a:gd name="T19" fmla="*/ 11 h 40"/>
                <a:gd name="T20" fmla="*/ 6 w 30"/>
                <a:gd name="T21" fmla="*/ 5 h 40"/>
                <a:gd name="T22" fmla="*/ 11 w 30"/>
                <a:gd name="T23" fmla="*/ 1 h 40"/>
                <a:gd name="T24" fmla="*/ 18 w 30"/>
                <a:gd name="T25" fmla="*/ 0 h 40"/>
                <a:gd name="T26" fmla="*/ 26 w 30"/>
                <a:gd name="T27" fmla="*/ 1 h 40"/>
                <a:gd name="T28" fmla="*/ 30 w 30"/>
                <a:gd name="T29" fmla="*/ 2 h 40"/>
                <a:gd name="T30" fmla="*/ 28 w 30"/>
                <a:gd name="T31" fmla="*/ 6 h 40"/>
                <a:gd name="T32" fmla="*/ 24 w 30"/>
                <a:gd name="T33" fmla="*/ 4 h 40"/>
                <a:gd name="T34" fmla="*/ 18 w 30"/>
                <a:gd name="T35" fmla="*/ 3 h 40"/>
                <a:gd name="T36" fmla="*/ 13 w 30"/>
                <a:gd name="T37" fmla="*/ 4 h 40"/>
                <a:gd name="T38" fmla="*/ 8 w 30"/>
                <a:gd name="T39" fmla="*/ 7 h 40"/>
                <a:gd name="T40" fmla="*/ 5 w 30"/>
                <a:gd name="T41" fmla="*/ 13 h 40"/>
                <a:gd name="T42" fmla="*/ 4 w 30"/>
                <a:gd name="T43" fmla="*/ 20 h 40"/>
                <a:gd name="T44" fmla="*/ 5 w 30"/>
                <a:gd name="T45" fmla="*/ 27 h 40"/>
                <a:gd name="T46" fmla="*/ 8 w 30"/>
                <a:gd name="T47" fmla="*/ 32 h 40"/>
                <a:gd name="T48" fmla="*/ 12 w 30"/>
                <a:gd name="T49" fmla="*/ 36 h 40"/>
                <a:gd name="T50" fmla="*/ 19 w 30"/>
                <a:gd name="T51" fmla="*/ 37 h 40"/>
                <a:gd name="T52" fmla="*/ 23 w 30"/>
                <a:gd name="T53" fmla="*/ 37 h 40"/>
                <a:gd name="T54" fmla="*/ 26 w 30"/>
                <a:gd name="T55" fmla="*/ 36 h 40"/>
                <a:gd name="T56" fmla="*/ 26 w 30"/>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0">
                  <a:moveTo>
                    <a:pt x="26" y="21"/>
                  </a:moveTo>
                  <a:cubicBezTo>
                    <a:pt x="30" y="21"/>
                    <a:pt x="30" y="21"/>
                    <a:pt x="30" y="21"/>
                  </a:cubicBezTo>
                  <a:cubicBezTo>
                    <a:pt x="30" y="38"/>
                    <a:pt x="30" y="38"/>
                    <a:pt x="30" y="38"/>
                  </a:cubicBezTo>
                  <a:cubicBezTo>
                    <a:pt x="29" y="39"/>
                    <a:pt x="28" y="39"/>
                    <a:pt x="26" y="40"/>
                  </a:cubicBezTo>
                  <a:cubicBezTo>
                    <a:pt x="23" y="40"/>
                    <a:pt x="21" y="40"/>
                    <a:pt x="18" y="40"/>
                  </a:cubicBezTo>
                  <a:cubicBezTo>
                    <a:pt x="15" y="40"/>
                    <a:pt x="13" y="40"/>
                    <a:pt x="11" y="39"/>
                  </a:cubicBezTo>
                  <a:cubicBezTo>
                    <a:pt x="9" y="38"/>
                    <a:pt x="7" y="37"/>
                    <a:pt x="5" y="35"/>
                  </a:cubicBezTo>
                  <a:cubicBezTo>
                    <a:pt x="4" y="33"/>
                    <a:pt x="2" y="31"/>
                    <a:pt x="1"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1" y="0"/>
                    <a:pt x="24" y="0"/>
                    <a:pt x="26" y="1"/>
                  </a:cubicBezTo>
                  <a:cubicBezTo>
                    <a:pt x="27" y="1"/>
                    <a:pt x="29" y="2"/>
                    <a:pt x="30" y="2"/>
                  </a:cubicBezTo>
                  <a:cubicBezTo>
                    <a:pt x="28" y="6"/>
                    <a:pt x="28" y="6"/>
                    <a:pt x="28" y="6"/>
                  </a:cubicBezTo>
                  <a:cubicBezTo>
                    <a:pt x="27" y="5"/>
                    <a:pt x="26" y="4"/>
                    <a:pt x="24" y="4"/>
                  </a:cubicBezTo>
                  <a:cubicBezTo>
                    <a:pt x="22" y="3"/>
                    <a:pt x="20" y="3"/>
                    <a:pt x="18" y="3"/>
                  </a:cubicBezTo>
                  <a:cubicBezTo>
                    <a:pt x="16" y="3"/>
                    <a:pt x="14" y="4"/>
                    <a:pt x="13" y="4"/>
                  </a:cubicBezTo>
                  <a:cubicBezTo>
                    <a:pt x="11" y="5"/>
                    <a:pt x="10" y="6"/>
                    <a:pt x="8" y="7"/>
                  </a:cubicBezTo>
                  <a:cubicBezTo>
                    <a:pt x="7" y="9"/>
                    <a:pt x="6" y="11"/>
                    <a:pt x="5" y="13"/>
                  </a:cubicBezTo>
                  <a:cubicBezTo>
                    <a:pt x="5" y="15"/>
                    <a:pt x="4" y="17"/>
                    <a:pt x="4" y="20"/>
                  </a:cubicBezTo>
                  <a:cubicBezTo>
                    <a:pt x="4" y="23"/>
                    <a:pt x="4" y="25"/>
                    <a:pt x="5" y="27"/>
                  </a:cubicBezTo>
                  <a:cubicBezTo>
                    <a:pt x="6" y="29"/>
                    <a:pt x="7" y="31"/>
                    <a:pt x="8" y="32"/>
                  </a:cubicBezTo>
                  <a:cubicBezTo>
                    <a:pt x="9" y="34"/>
                    <a:pt x="11" y="35"/>
                    <a:pt x="12" y="36"/>
                  </a:cubicBezTo>
                  <a:cubicBezTo>
                    <a:pt x="14" y="36"/>
                    <a:pt x="16" y="37"/>
                    <a:pt x="19" y="37"/>
                  </a:cubicBezTo>
                  <a:cubicBezTo>
                    <a:pt x="20" y="37"/>
                    <a:pt x="22" y="37"/>
                    <a:pt x="23" y="37"/>
                  </a:cubicBezTo>
                  <a:cubicBezTo>
                    <a:pt x="25" y="36"/>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52"/>
            <p:cNvSpPr>
              <a:spLocks/>
            </p:cNvSpPr>
            <p:nvPr/>
          </p:nvSpPr>
          <p:spPr bwMode="auto">
            <a:xfrm>
              <a:off x="3929064"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53"/>
            <p:cNvSpPr>
              <a:spLocks noEditPoints="1"/>
            </p:cNvSpPr>
            <p:nvPr/>
          </p:nvSpPr>
          <p:spPr bwMode="auto">
            <a:xfrm>
              <a:off x="3965577" y="3429034"/>
              <a:ext cx="47625" cy="53976"/>
            </a:xfrm>
            <a:custGeom>
              <a:avLst/>
              <a:gdLst>
                <a:gd name="T0" fmla="*/ 26 w 26"/>
                <a:gd name="T1" fmla="*/ 15 h 30"/>
                <a:gd name="T2" fmla="*/ 25 w 26"/>
                <a:gd name="T3" fmla="*/ 21 h 30"/>
                <a:gd name="T4" fmla="*/ 22 w 26"/>
                <a:gd name="T5" fmla="*/ 26 h 30"/>
                <a:gd name="T6" fmla="*/ 18 w 26"/>
                <a:gd name="T7" fmla="*/ 29 h 30"/>
                <a:gd name="T8" fmla="*/ 13 w 26"/>
                <a:gd name="T9" fmla="*/ 30 h 30"/>
                <a:gd name="T10" fmla="*/ 7 w 26"/>
                <a:gd name="T11" fmla="*/ 29 h 30"/>
                <a:gd name="T12" fmla="*/ 3 w 26"/>
                <a:gd name="T13" fmla="*/ 26 h 30"/>
                <a:gd name="T14" fmla="*/ 1 w 26"/>
                <a:gd name="T15" fmla="*/ 21 h 30"/>
                <a:gd name="T16" fmla="*/ 0 w 26"/>
                <a:gd name="T17" fmla="*/ 15 h 30"/>
                <a:gd name="T18" fmla="*/ 1 w 26"/>
                <a:gd name="T19" fmla="*/ 9 h 30"/>
                <a:gd name="T20" fmla="*/ 3 w 26"/>
                <a:gd name="T21" fmla="*/ 4 h 30"/>
                <a:gd name="T22" fmla="*/ 7 w 26"/>
                <a:gd name="T23" fmla="*/ 1 h 30"/>
                <a:gd name="T24" fmla="*/ 13 w 26"/>
                <a:gd name="T25" fmla="*/ 0 h 30"/>
                <a:gd name="T26" fmla="*/ 18 w 26"/>
                <a:gd name="T27" fmla="*/ 1 h 30"/>
                <a:gd name="T28" fmla="*/ 22 w 26"/>
                <a:gd name="T29" fmla="*/ 4 h 30"/>
                <a:gd name="T30" fmla="*/ 25 w 26"/>
                <a:gd name="T31" fmla="*/ 9 h 30"/>
                <a:gd name="T32" fmla="*/ 26 w 26"/>
                <a:gd name="T33" fmla="*/ 15 h 30"/>
                <a:gd name="T34" fmla="*/ 22 w 26"/>
                <a:gd name="T35" fmla="*/ 15 h 30"/>
                <a:gd name="T36" fmla="*/ 20 w 26"/>
                <a:gd name="T37" fmla="*/ 6 h 30"/>
                <a:gd name="T38" fmla="*/ 13 w 26"/>
                <a:gd name="T39" fmla="*/ 3 h 30"/>
                <a:gd name="T40" fmla="*/ 6 w 26"/>
                <a:gd name="T41" fmla="*/ 6 h 30"/>
                <a:gd name="T42" fmla="*/ 3 w 26"/>
                <a:gd name="T43" fmla="*/ 15 h 30"/>
                <a:gd name="T44" fmla="*/ 6 w 26"/>
                <a:gd name="T45" fmla="*/ 24 h 30"/>
                <a:gd name="T46" fmla="*/ 13 w 26"/>
                <a:gd name="T47" fmla="*/ 27 h 30"/>
                <a:gd name="T48" fmla="*/ 20 w 26"/>
                <a:gd name="T49" fmla="*/ 24 h 30"/>
                <a:gd name="T50" fmla="*/ 22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4" y="23"/>
                    <a:pt x="23" y="25"/>
                    <a:pt x="22" y="26"/>
                  </a:cubicBezTo>
                  <a:cubicBezTo>
                    <a:pt x="21" y="27"/>
                    <a:pt x="20" y="28"/>
                    <a:pt x="18" y="29"/>
                  </a:cubicBezTo>
                  <a:cubicBezTo>
                    <a:pt x="16" y="30"/>
                    <a:pt x="15" y="30"/>
                    <a:pt x="13" y="30"/>
                  </a:cubicBezTo>
                  <a:cubicBezTo>
                    <a:pt x="11" y="30"/>
                    <a:pt x="9" y="30"/>
                    <a:pt x="7" y="29"/>
                  </a:cubicBezTo>
                  <a:cubicBezTo>
                    <a:pt x="6" y="28"/>
                    <a:pt x="4" y="27"/>
                    <a:pt x="3" y="26"/>
                  </a:cubicBezTo>
                  <a:cubicBezTo>
                    <a:pt x="2" y="25"/>
                    <a:pt x="1" y="23"/>
                    <a:pt x="1" y="21"/>
                  </a:cubicBezTo>
                  <a:cubicBezTo>
                    <a:pt x="0" y="19"/>
                    <a:pt x="0" y="17"/>
                    <a:pt x="0" y="15"/>
                  </a:cubicBezTo>
                  <a:cubicBezTo>
                    <a:pt x="0" y="13"/>
                    <a:pt x="0" y="11"/>
                    <a:pt x="1" y="9"/>
                  </a:cubicBezTo>
                  <a:cubicBezTo>
                    <a:pt x="1" y="7"/>
                    <a:pt x="2" y="5"/>
                    <a:pt x="3" y="4"/>
                  </a:cubicBezTo>
                  <a:cubicBezTo>
                    <a:pt x="4" y="3"/>
                    <a:pt x="6" y="2"/>
                    <a:pt x="7" y="1"/>
                  </a:cubicBezTo>
                  <a:cubicBezTo>
                    <a:pt x="9" y="0"/>
                    <a:pt x="11" y="0"/>
                    <a:pt x="13" y="0"/>
                  </a:cubicBezTo>
                  <a:cubicBezTo>
                    <a:pt x="15" y="0"/>
                    <a:pt x="16" y="0"/>
                    <a:pt x="18" y="1"/>
                  </a:cubicBezTo>
                  <a:cubicBezTo>
                    <a:pt x="20" y="2"/>
                    <a:pt x="21" y="3"/>
                    <a:pt x="22" y="4"/>
                  </a:cubicBezTo>
                  <a:cubicBezTo>
                    <a:pt x="23" y="5"/>
                    <a:pt x="24" y="7"/>
                    <a:pt x="25" y="9"/>
                  </a:cubicBezTo>
                  <a:cubicBezTo>
                    <a:pt x="26" y="11"/>
                    <a:pt x="26" y="13"/>
                    <a:pt x="26" y="15"/>
                  </a:cubicBezTo>
                  <a:close/>
                  <a:moveTo>
                    <a:pt x="22" y="15"/>
                  </a:moveTo>
                  <a:cubicBezTo>
                    <a:pt x="22" y="11"/>
                    <a:pt x="21" y="8"/>
                    <a:pt x="20" y="6"/>
                  </a:cubicBezTo>
                  <a:cubicBezTo>
                    <a:pt x="18" y="4"/>
                    <a:pt x="16" y="3"/>
                    <a:pt x="13" y="3"/>
                  </a:cubicBezTo>
                  <a:cubicBezTo>
                    <a:pt x="10" y="3"/>
                    <a:pt x="8" y="4"/>
                    <a:pt x="6" y="6"/>
                  </a:cubicBezTo>
                  <a:cubicBezTo>
                    <a:pt x="4" y="8"/>
                    <a:pt x="3" y="11"/>
                    <a:pt x="3" y="15"/>
                  </a:cubicBezTo>
                  <a:cubicBezTo>
                    <a:pt x="3" y="19"/>
                    <a:pt x="4" y="21"/>
                    <a:pt x="6" y="24"/>
                  </a:cubicBezTo>
                  <a:cubicBezTo>
                    <a:pt x="8" y="26"/>
                    <a:pt x="10" y="27"/>
                    <a:pt x="13" y="27"/>
                  </a:cubicBezTo>
                  <a:cubicBezTo>
                    <a:pt x="16" y="27"/>
                    <a:pt x="18" y="26"/>
                    <a:pt x="20" y="24"/>
                  </a:cubicBezTo>
                  <a:cubicBezTo>
                    <a:pt x="21" y="21"/>
                    <a:pt x="22" y="19"/>
                    <a:pt x="22"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54"/>
            <p:cNvSpPr>
              <a:spLocks/>
            </p:cNvSpPr>
            <p:nvPr/>
          </p:nvSpPr>
          <p:spPr bwMode="auto">
            <a:xfrm>
              <a:off x="4019552" y="3429034"/>
              <a:ext cx="76200" cy="52388"/>
            </a:xfrm>
            <a:custGeom>
              <a:avLst/>
              <a:gdLst>
                <a:gd name="T0" fmla="*/ 23 w 41"/>
                <a:gd name="T1" fmla="*/ 0 h 29"/>
                <a:gd name="T2" fmla="*/ 24 w 41"/>
                <a:gd name="T3" fmla="*/ 6 h 29"/>
                <a:gd name="T4" fmla="*/ 26 w 41"/>
                <a:gd name="T5" fmla="*/ 13 h 29"/>
                <a:gd name="T6" fmla="*/ 28 w 41"/>
                <a:gd name="T7" fmla="*/ 19 h 29"/>
                <a:gd name="T8" fmla="*/ 30 w 41"/>
                <a:gd name="T9" fmla="*/ 25 h 29"/>
                <a:gd name="T10" fmla="*/ 32 w 41"/>
                <a:gd name="T11" fmla="*/ 20 h 29"/>
                <a:gd name="T12" fmla="*/ 34 w 41"/>
                <a:gd name="T13" fmla="*/ 14 h 29"/>
                <a:gd name="T14" fmla="*/ 36 w 41"/>
                <a:gd name="T15" fmla="*/ 7 h 29"/>
                <a:gd name="T16" fmla="*/ 38 w 41"/>
                <a:gd name="T17" fmla="*/ 0 h 29"/>
                <a:gd name="T18" fmla="*/ 41 w 41"/>
                <a:gd name="T19" fmla="*/ 0 h 29"/>
                <a:gd name="T20" fmla="*/ 37 w 41"/>
                <a:gd name="T21" fmla="*/ 16 h 29"/>
                <a:gd name="T22" fmla="*/ 32 w 41"/>
                <a:gd name="T23" fmla="*/ 29 h 29"/>
                <a:gd name="T24" fmla="*/ 28 w 41"/>
                <a:gd name="T25" fmla="*/ 29 h 29"/>
                <a:gd name="T26" fmla="*/ 26 w 41"/>
                <a:gd name="T27" fmla="*/ 25 h 29"/>
                <a:gd name="T28" fmla="*/ 24 w 41"/>
                <a:gd name="T29" fmla="*/ 20 h 29"/>
                <a:gd name="T30" fmla="*/ 23 w 41"/>
                <a:gd name="T31" fmla="*/ 14 h 29"/>
                <a:gd name="T32" fmla="*/ 21 w 41"/>
                <a:gd name="T33" fmla="*/ 8 h 29"/>
                <a:gd name="T34" fmla="*/ 19 w 41"/>
                <a:gd name="T35" fmla="*/ 14 h 29"/>
                <a:gd name="T36" fmla="*/ 17 w 41"/>
                <a:gd name="T37" fmla="*/ 20 h 29"/>
                <a:gd name="T38" fmla="*/ 15 w 41"/>
                <a:gd name="T39" fmla="*/ 25 h 29"/>
                <a:gd name="T40" fmla="*/ 13 w 41"/>
                <a:gd name="T41" fmla="*/ 29 h 29"/>
                <a:gd name="T42" fmla="*/ 10 w 41"/>
                <a:gd name="T43" fmla="*/ 29 h 29"/>
                <a:gd name="T44" fmla="*/ 5 w 41"/>
                <a:gd name="T45" fmla="*/ 16 h 29"/>
                <a:gd name="T46" fmla="*/ 0 w 41"/>
                <a:gd name="T47" fmla="*/ 0 h 29"/>
                <a:gd name="T48" fmla="*/ 4 w 41"/>
                <a:gd name="T49" fmla="*/ 0 h 29"/>
                <a:gd name="T50" fmla="*/ 6 w 41"/>
                <a:gd name="T51" fmla="*/ 7 h 29"/>
                <a:gd name="T52" fmla="*/ 8 w 41"/>
                <a:gd name="T53" fmla="*/ 14 h 29"/>
                <a:gd name="T54" fmla="*/ 10 w 41"/>
                <a:gd name="T55" fmla="*/ 20 h 29"/>
                <a:gd name="T56" fmla="*/ 12 w 41"/>
                <a:gd name="T57" fmla="*/ 25 h 29"/>
                <a:gd name="T58" fmla="*/ 14 w 41"/>
                <a:gd name="T59" fmla="*/ 19 h 29"/>
                <a:gd name="T60" fmla="*/ 16 w 41"/>
                <a:gd name="T61" fmla="*/ 13 h 29"/>
                <a:gd name="T62" fmla="*/ 18 w 41"/>
                <a:gd name="T63" fmla="*/ 6 h 29"/>
                <a:gd name="T64" fmla="*/ 19 w 41"/>
                <a:gd name="T65" fmla="*/ 0 h 29"/>
                <a:gd name="T66" fmla="*/ 23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3" y="0"/>
                  </a:moveTo>
                  <a:cubicBezTo>
                    <a:pt x="23" y="2"/>
                    <a:pt x="23" y="4"/>
                    <a:pt x="24" y="6"/>
                  </a:cubicBezTo>
                  <a:cubicBezTo>
                    <a:pt x="24" y="9"/>
                    <a:pt x="25" y="11"/>
                    <a:pt x="26" y="13"/>
                  </a:cubicBezTo>
                  <a:cubicBezTo>
                    <a:pt x="26" y="15"/>
                    <a:pt x="27" y="17"/>
                    <a:pt x="28" y="19"/>
                  </a:cubicBezTo>
                  <a:cubicBezTo>
                    <a:pt x="28" y="21"/>
                    <a:pt x="29" y="23"/>
                    <a:pt x="30" y="25"/>
                  </a:cubicBezTo>
                  <a:cubicBezTo>
                    <a:pt x="31" y="24"/>
                    <a:pt x="31" y="22"/>
                    <a:pt x="32" y="20"/>
                  </a:cubicBezTo>
                  <a:cubicBezTo>
                    <a:pt x="33" y="18"/>
                    <a:pt x="33" y="16"/>
                    <a:pt x="34" y="14"/>
                  </a:cubicBezTo>
                  <a:cubicBezTo>
                    <a:pt x="35" y="11"/>
                    <a:pt x="35" y="9"/>
                    <a:pt x="36" y="7"/>
                  </a:cubicBezTo>
                  <a:cubicBezTo>
                    <a:pt x="37" y="5"/>
                    <a:pt x="37" y="2"/>
                    <a:pt x="38" y="0"/>
                  </a:cubicBezTo>
                  <a:cubicBezTo>
                    <a:pt x="41" y="0"/>
                    <a:pt x="41" y="0"/>
                    <a:pt x="41" y="0"/>
                  </a:cubicBezTo>
                  <a:cubicBezTo>
                    <a:pt x="40" y="6"/>
                    <a:pt x="38" y="11"/>
                    <a:pt x="37" y="16"/>
                  </a:cubicBezTo>
                  <a:cubicBezTo>
                    <a:pt x="35" y="21"/>
                    <a:pt x="33" y="25"/>
                    <a:pt x="32" y="29"/>
                  </a:cubicBezTo>
                  <a:cubicBezTo>
                    <a:pt x="28" y="29"/>
                    <a:pt x="28" y="29"/>
                    <a:pt x="28" y="29"/>
                  </a:cubicBezTo>
                  <a:cubicBezTo>
                    <a:pt x="28" y="28"/>
                    <a:pt x="27" y="27"/>
                    <a:pt x="26" y="25"/>
                  </a:cubicBezTo>
                  <a:cubicBezTo>
                    <a:pt x="26" y="23"/>
                    <a:pt x="25" y="22"/>
                    <a:pt x="24" y="20"/>
                  </a:cubicBezTo>
                  <a:cubicBezTo>
                    <a:pt x="24" y="18"/>
                    <a:pt x="23" y="16"/>
                    <a:pt x="23" y="14"/>
                  </a:cubicBezTo>
                  <a:cubicBezTo>
                    <a:pt x="22" y="12"/>
                    <a:pt x="21" y="10"/>
                    <a:pt x="21" y="8"/>
                  </a:cubicBezTo>
                  <a:cubicBezTo>
                    <a:pt x="20" y="10"/>
                    <a:pt x="20" y="12"/>
                    <a:pt x="19" y="14"/>
                  </a:cubicBezTo>
                  <a:cubicBezTo>
                    <a:pt x="18" y="16"/>
                    <a:pt x="18" y="18"/>
                    <a:pt x="17" y="20"/>
                  </a:cubicBezTo>
                  <a:cubicBezTo>
                    <a:pt x="17" y="22"/>
                    <a:pt x="16" y="23"/>
                    <a:pt x="15" y="25"/>
                  </a:cubicBezTo>
                  <a:cubicBezTo>
                    <a:pt x="15" y="27"/>
                    <a:pt x="14" y="28"/>
                    <a:pt x="13" y="29"/>
                  </a:cubicBezTo>
                  <a:cubicBezTo>
                    <a:pt x="10" y="29"/>
                    <a:pt x="10" y="29"/>
                    <a:pt x="10" y="29"/>
                  </a:cubicBezTo>
                  <a:cubicBezTo>
                    <a:pt x="8" y="25"/>
                    <a:pt x="6" y="21"/>
                    <a:pt x="5" y="16"/>
                  </a:cubicBezTo>
                  <a:cubicBezTo>
                    <a:pt x="3" y="11"/>
                    <a:pt x="2" y="6"/>
                    <a:pt x="0" y="0"/>
                  </a:cubicBezTo>
                  <a:cubicBezTo>
                    <a:pt x="4" y="0"/>
                    <a:pt x="4" y="0"/>
                    <a:pt x="4" y="0"/>
                  </a:cubicBezTo>
                  <a:cubicBezTo>
                    <a:pt x="5" y="2"/>
                    <a:pt x="5" y="5"/>
                    <a:pt x="6" y="7"/>
                  </a:cubicBezTo>
                  <a:cubicBezTo>
                    <a:pt x="6" y="9"/>
                    <a:pt x="7" y="11"/>
                    <a:pt x="8" y="14"/>
                  </a:cubicBezTo>
                  <a:cubicBezTo>
                    <a:pt x="8" y="16"/>
                    <a:pt x="9" y="18"/>
                    <a:pt x="10" y="20"/>
                  </a:cubicBezTo>
                  <a:cubicBezTo>
                    <a:pt x="11" y="22"/>
                    <a:pt x="11" y="24"/>
                    <a:pt x="12" y="25"/>
                  </a:cubicBezTo>
                  <a:cubicBezTo>
                    <a:pt x="13" y="23"/>
                    <a:pt x="13" y="21"/>
                    <a:pt x="14" y="19"/>
                  </a:cubicBezTo>
                  <a:cubicBezTo>
                    <a:pt x="15" y="17"/>
                    <a:pt x="16" y="15"/>
                    <a:pt x="16" y="13"/>
                  </a:cubicBezTo>
                  <a:cubicBezTo>
                    <a:pt x="17" y="11"/>
                    <a:pt x="17" y="9"/>
                    <a:pt x="18" y="6"/>
                  </a:cubicBezTo>
                  <a:cubicBezTo>
                    <a:pt x="18" y="4"/>
                    <a:pt x="19" y="2"/>
                    <a:pt x="19" y="0"/>
                  </a:cubicBezTo>
                  <a:lnTo>
                    <a:pt x="2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55"/>
            <p:cNvSpPr>
              <a:spLocks/>
            </p:cNvSpPr>
            <p:nvPr/>
          </p:nvSpPr>
          <p:spPr bwMode="auto">
            <a:xfrm>
              <a:off x="4106864" y="3411571"/>
              <a:ext cx="28575" cy="71438"/>
            </a:xfrm>
            <a:custGeom>
              <a:avLst/>
              <a:gdLst>
                <a:gd name="T0" fmla="*/ 4 w 16"/>
                <a:gd name="T1" fmla="*/ 9 h 39"/>
                <a:gd name="T2" fmla="*/ 15 w 16"/>
                <a:gd name="T3" fmla="*/ 9 h 39"/>
                <a:gd name="T4" fmla="*/ 15 w 16"/>
                <a:gd name="T5" fmla="*/ 13 h 39"/>
                <a:gd name="T6" fmla="*/ 4 w 16"/>
                <a:gd name="T7" fmla="*/ 13 h 39"/>
                <a:gd name="T8" fmla="*/ 4 w 16"/>
                <a:gd name="T9" fmla="*/ 28 h 39"/>
                <a:gd name="T10" fmla="*/ 4 w 16"/>
                <a:gd name="T11" fmla="*/ 32 h 39"/>
                <a:gd name="T12" fmla="*/ 5 w 16"/>
                <a:gd name="T13" fmla="*/ 34 h 39"/>
                <a:gd name="T14" fmla="*/ 7 w 16"/>
                <a:gd name="T15" fmla="*/ 35 h 39"/>
                <a:gd name="T16" fmla="*/ 10 w 16"/>
                <a:gd name="T17" fmla="*/ 36 h 39"/>
                <a:gd name="T18" fmla="*/ 13 w 16"/>
                <a:gd name="T19" fmla="*/ 35 h 39"/>
                <a:gd name="T20" fmla="*/ 16 w 16"/>
                <a:gd name="T21" fmla="*/ 34 h 39"/>
                <a:gd name="T22" fmla="*/ 16 w 16"/>
                <a:gd name="T23" fmla="*/ 37 h 39"/>
                <a:gd name="T24" fmla="*/ 14 w 16"/>
                <a:gd name="T25" fmla="*/ 38 h 39"/>
                <a:gd name="T26" fmla="*/ 9 w 16"/>
                <a:gd name="T27" fmla="*/ 39 h 39"/>
                <a:gd name="T28" fmla="*/ 5 w 16"/>
                <a:gd name="T29" fmla="*/ 38 h 39"/>
                <a:gd name="T30" fmla="*/ 2 w 16"/>
                <a:gd name="T31" fmla="*/ 36 h 39"/>
                <a:gd name="T32" fmla="*/ 1 w 16"/>
                <a:gd name="T33" fmla="*/ 33 h 39"/>
                <a:gd name="T34" fmla="*/ 0 w 16"/>
                <a:gd name="T35" fmla="*/ 28 h 39"/>
                <a:gd name="T36" fmla="*/ 0 w 16"/>
                <a:gd name="T37" fmla="*/ 1 h 39"/>
                <a:gd name="T38" fmla="*/ 4 w 16"/>
                <a:gd name="T39" fmla="*/ 0 h 39"/>
                <a:gd name="T40" fmla="*/ 4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4" y="9"/>
                  </a:moveTo>
                  <a:cubicBezTo>
                    <a:pt x="15" y="9"/>
                    <a:pt x="15" y="9"/>
                    <a:pt x="15" y="9"/>
                  </a:cubicBezTo>
                  <a:cubicBezTo>
                    <a:pt x="15" y="13"/>
                    <a:pt x="15" y="13"/>
                    <a:pt x="15" y="13"/>
                  </a:cubicBezTo>
                  <a:cubicBezTo>
                    <a:pt x="4" y="13"/>
                    <a:pt x="4" y="13"/>
                    <a:pt x="4" y="13"/>
                  </a:cubicBezTo>
                  <a:cubicBezTo>
                    <a:pt x="4" y="28"/>
                    <a:pt x="4" y="28"/>
                    <a:pt x="4" y="28"/>
                  </a:cubicBezTo>
                  <a:cubicBezTo>
                    <a:pt x="4" y="30"/>
                    <a:pt x="4" y="31"/>
                    <a:pt x="4" y="32"/>
                  </a:cubicBezTo>
                  <a:cubicBezTo>
                    <a:pt x="4" y="33"/>
                    <a:pt x="5" y="34"/>
                    <a:pt x="5" y="34"/>
                  </a:cubicBezTo>
                  <a:cubicBezTo>
                    <a:pt x="6" y="35"/>
                    <a:pt x="6" y="35"/>
                    <a:pt x="7" y="35"/>
                  </a:cubicBezTo>
                  <a:cubicBezTo>
                    <a:pt x="8" y="36"/>
                    <a:pt x="9" y="36"/>
                    <a:pt x="10" y="36"/>
                  </a:cubicBezTo>
                  <a:cubicBezTo>
                    <a:pt x="11" y="36"/>
                    <a:pt x="12" y="36"/>
                    <a:pt x="13" y="35"/>
                  </a:cubicBezTo>
                  <a:cubicBezTo>
                    <a:pt x="14" y="35"/>
                    <a:pt x="15" y="35"/>
                    <a:pt x="16" y="34"/>
                  </a:cubicBezTo>
                  <a:cubicBezTo>
                    <a:pt x="16" y="37"/>
                    <a:pt x="16" y="37"/>
                    <a:pt x="16" y="37"/>
                  </a:cubicBezTo>
                  <a:cubicBezTo>
                    <a:pt x="16" y="38"/>
                    <a:pt x="15" y="38"/>
                    <a:pt x="14" y="38"/>
                  </a:cubicBezTo>
                  <a:cubicBezTo>
                    <a:pt x="12" y="39"/>
                    <a:pt x="11" y="39"/>
                    <a:pt x="9" y="39"/>
                  </a:cubicBezTo>
                  <a:cubicBezTo>
                    <a:pt x="8" y="39"/>
                    <a:pt x="6" y="39"/>
                    <a:pt x="5" y="38"/>
                  </a:cubicBezTo>
                  <a:cubicBezTo>
                    <a:pt x="4" y="38"/>
                    <a:pt x="3" y="37"/>
                    <a:pt x="2" y="36"/>
                  </a:cubicBezTo>
                  <a:cubicBezTo>
                    <a:pt x="1" y="35"/>
                    <a:pt x="1" y="34"/>
                    <a:pt x="1" y="33"/>
                  </a:cubicBezTo>
                  <a:cubicBezTo>
                    <a:pt x="0" y="31"/>
                    <a:pt x="0" y="30"/>
                    <a:pt x="0" y="28"/>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56"/>
            <p:cNvSpPr>
              <a:spLocks/>
            </p:cNvSpPr>
            <p:nvPr/>
          </p:nvSpPr>
          <p:spPr bwMode="auto">
            <a:xfrm>
              <a:off x="4146552" y="3403634"/>
              <a:ext cx="42863" cy="77788"/>
            </a:xfrm>
            <a:custGeom>
              <a:avLst/>
              <a:gdLst>
                <a:gd name="T0" fmla="*/ 0 w 23"/>
                <a:gd name="T1" fmla="*/ 43 h 43"/>
                <a:gd name="T2" fmla="*/ 0 w 23"/>
                <a:gd name="T3" fmla="*/ 1 h 43"/>
                <a:gd name="T4" fmla="*/ 4 w 23"/>
                <a:gd name="T5" fmla="*/ 0 h 43"/>
                <a:gd name="T6" fmla="*/ 4 w 23"/>
                <a:gd name="T7" fmla="*/ 15 h 43"/>
                <a:gd name="T8" fmla="*/ 7 w 23"/>
                <a:gd name="T9" fmla="*/ 14 h 43"/>
                <a:gd name="T10" fmla="*/ 11 w 23"/>
                <a:gd name="T11" fmla="*/ 14 h 43"/>
                <a:gd name="T12" fmla="*/ 17 w 23"/>
                <a:gd name="T13" fmla="*/ 15 h 43"/>
                <a:gd name="T14" fmla="*/ 20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8 w 23"/>
                <a:gd name="T27" fmla="*/ 23 h 43"/>
                <a:gd name="T28" fmla="*/ 17 w 23"/>
                <a:gd name="T29" fmla="*/ 20 h 43"/>
                <a:gd name="T30" fmla="*/ 14 w 23"/>
                <a:gd name="T31" fmla="*/ 18 h 43"/>
                <a:gd name="T32" fmla="*/ 10 w 23"/>
                <a:gd name="T33" fmla="*/ 17 h 43"/>
                <a:gd name="T34" fmla="*/ 8 w 23"/>
                <a:gd name="T35" fmla="*/ 17 h 43"/>
                <a:gd name="T36" fmla="*/ 6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7" y="14"/>
                  </a:cubicBezTo>
                  <a:cubicBezTo>
                    <a:pt x="8" y="14"/>
                    <a:pt x="10" y="14"/>
                    <a:pt x="11" y="14"/>
                  </a:cubicBezTo>
                  <a:cubicBezTo>
                    <a:pt x="13" y="14"/>
                    <a:pt x="15" y="14"/>
                    <a:pt x="17" y="15"/>
                  </a:cubicBezTo>
                  <a:cubicBezTo>
                    <a:pt x="18" y="15"/>
                    <a:pt x="19" y="16"/>
                    <a:pt x="20" y="18"/>
                  </a:cubicBezTo>
                  <a:cubicBezTo>
                    <a:pt x="21" y="19"/>
                    <a:pt x="22" y="20"/>
                    <a:pt x="22" y="22"/>
                  </a:cubicBezTo>
                  <a:cubicBezTo>
                    <a:pt x="22" y="23"/>
                    <a:pt x="23" y="25"/>
                    <a:pt x="23" y="27"/>
                  </a:cubicBezTo>
                  <a:cubicBezTo>
                    <a:pt x="23" y="43"/>
                    <a:pt x="23" y="43"/>
                    <a:pt x="23"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6" y="18"/>
                    <a:pt x="14" y="18"/>
                  </a:cubicBezTo>
                  <a:cubicBezTo>
                    <a:pt x="13" y="17"/>
                    <a:pt x="12" y="17"/>
                    <a:pt x="10" y="17"/>
                  </a:cubicBezTo>
                  <a:cubicBezTo>
                    <a:pt x="10" y="17"/>
                    <a:pt x="9" y="17"/>
                    <a:pt x="8" y="17"/>
                  </a:cubicBezTo>
                  <a:cubicBezTo>
                    <a:pt x="8" y="17"/>
                    <a:pt x="7" y="18"/>
                    <a:pt x="6" y="18"/>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57"/>
            <p:cNvSpPr>
              <a:spLocks/>
            </p:cNvSpPr>
            <p:nvPr/>
          </p:nvSpPr>
          <p:spPr bwMode="auto">
            <a:xfrm>
              <a:off x="4216402" y="3403634"/>
              <a:ext cx="42863" cy="98426"/>
            </a:xfrm>
            <a:custGeom>
              <a:avLst/>
              <a:gdLst>
                <a:gd name="T0" fmla="*/ 5 w 27"/>
                <a:gd name="T1" fmla="*/ 62 h 62"/>
                <a:gd name="T2" fmla="*/ 0 w 27"/>
                <a:gd name="T3" fmla="*/ 62 h 62"/>
                <a:gd name="T4" fmla="*/ 23 w 27"/>
                <a:gd name="T5" fmla="*/ 0 h 62"/>
                <a:gd name="T6" fmla="*/ 27 w 27"/>
                <a:gd name="T7" fmla="*/ 0 h 62"/>
                <a:gd name="T8" fmla="*/ 5 w 27"/>
                <a:gd name="T9" fmla="*/ 62 h 62"/>
              </a:gdLst>
              <a:ahLst/>
              <a:cxnLst>
                <a:cxn ang="0">
                  <a:pos x="T0" y="T1"/>
                </a:cxn>
                <a:cxn ang="0">
                  <a:pos x="T2" y="T3"/>
                </a:cxn>
                <a:cxn ang="0">
                  <a:pos x="T4" y="T5"/>
                </a:cxn>
                <a:cxn ang="0">
                  <a:pos x="T6" y="T7"/>
                </a:cxn>
                <a:cxn ang="0">
                  <a:pos x="T8" y="T9"/>
                </a:cxn>
              </a:cxnLst>
              <a:rect l="0" t="0" r="r" b="b"/>
              <a:pathLst>
                <a:path w="27" h="62">
                  <a:moveTo>
                    <a:pt x="5" y="62"/>
                  </a:moveTo>
                  <a:lnTo>
                    <a:pt x="0" y="62"/>
                  </a:lnTo>
                  <a:lnTo>
                    <a:pt x="23" y="0"/>
                  </a:lnTo>
                  <a:lnTo>
                    <a:pt x="27" y="0"/>
                  </a:lnTo>
                  <a:lnTo>
                    <a:pt x="5" y="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58"/>
            <p:cNvSpPr>
              <a:spLocks/>
            </p:cNvSpPr>
            <p:nvPr/>
          </p:nvSpPr>
          <p:spPr bwMode="auto">
            <a:xfrm>
              <a:off x="4286252" y="3409984"/>
              <a:ext cx="53975" cy="73026"/>
            </a:xfrm>
            <a:custGeom>
              <a:avLst/>
              <a:gdLst>
                <a:gd name="T0" fmla="*/ 26 w 30"/>
                <a:gd name="T1" fmla="*/ 21 h 40"/>
                <a:gd name="T2" fmla="*/ 30 w 30"/>
                <a:gd name="T3" fmla="*/ 21 h 40"/>
                <a:gd name="T4" fmla="*/ 30 w 30"/>
                <a:gd name="T5" fmla="*/ 38 h 40"/>
                <a:gd name="T6" fmla="*/ 26 w 30"/>
                <a:gd name="T7" fmla="*/ 40 h 40"/>
                <a:gd name="T8" fmla="*/ 18 w 30"/>
                <a:gd name="T9" fmla="*/ 40 h 40"/>
                <a:gd name="T10" fmla="*/ 11 w 30"/>
                <a:gd name="T11" fmla="*/ 39 h 40"/>
                <a:gd name="T12" fmla="*/ 5 w 30"/>
                <a:gd name="T13" fmla="*/ 35 h 40"/>
                <a:gd name="T14" fmla="*/ 1 w 30"/>
                <a:gd name="T15" fmla="*/ 29 h 40"/>
                <a:gd name="T16" fmla="*/ 0 w 30"/>
                <a:gd name="T17" fmla="*/ 20 h 40"/>
                <a:gd name="T18" fmla="*/ 2 w 30"/>
                <a:gd name="T19" fmla="*/ 11 h 40"/>
                <a:gd name="T20" fmla="*/ 6 w 30"/>
                <a:gd name="T21" fmla="*/ 5 h 40"/>
                <a:gd name="T22" fmla="*/ 11 w 30"/>
                <a:gd name="T23" fmla="*/ 1 h 40"/>
                <a:gd name="T24" fmla="*/ 18 w 30"/>
                <a:gd name="T25" fmla="*/ 0 h 40"/>
                <a:gd name="T26" fmla="*/ 25 w 30"/>
                <a:gd name="T27" fmla="*/ 1 h 40"/>
                <a:gd name="T28" fmla="*/ 30 w 30"/>
                <a:gd name="T29" fmla="*/ 2 h 40"/>
                <a:gd name="T30" fmla="*/ 28 w 30"/>
                <a:gd name="T31" fmla="*/ 6 h 40"/>
                <a:gd name="T32" fmla="*/ 24 w 30"/>
                <a:gd name="T33" fmla="*/ 4 h 40"/>
                <a:gd name="T34" fmla="*/ 18 w 30"/>
                <a:gd name="T35" fmla="*/ 3 h 40"/>
                <a:gd name="T36" fmla="*/ 13 w 30"/>
                <a:gd name="T37" fmla="*/ 4 h 40"/>
                <a:gd name="T38" fmla="*/ 8 w 30"/>
                <a:gd name="T39" fmla="*/ 7 h 40"/>
                <a:gd name="T40" fmla="*/ 5 w 30"/>
                <a:gd name="T41" fmla="*/ 13 h 40"/>
                <a:gd name="T42" fmla="*/ 4 w 30"/>
                <a:gd name="T43" fmla="*/ 20 h 40"/>
                <a:gd name="T44" fmla="*/ 5 w 30"/>
                <a:gd name="T45" fmla="*/ 27 h 40"/>
                <a:gd name="T46" fmla="*/ 8 w 30"/>
                <a:gd name="T47" fmla="*/ 32 h 40"/>
                <a:gd name="T48" fmla="*/ 12 w 30"/>
                <a:gd name="T49" fmla="*/ 36 h 40"/>
                <a:gd name="T50" fmla="*/ 18 w 30"/>
                <a:gd name="T51" fmla="*/ 37 h 40"/>
                <a:gd name="T52" fmla="*/ 23 w 30"/>
                <a:gd name="T53" fmla="*/ 37 h 40"/>
                <a:gd name="T54" fmla="*/ 26 w 30"/>
                <a:gd name="T55" fmla="*/ 36 h 40"/>
                <a:gd name="T56" fmla="*/ 26 w 30"/>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0">
                  <a:moveTo>
                    <a:pt x="26" y="21"/>
                  </a:moveTo>
                  <a:cubicBezTo>
                    <a:pt x="30" y="21"/>
                    <a:pt x="30" y="21"/>
                    <a:pt x="30" y="21"/>
                  </a:cubicBezTo>
                  <a:cubicBezTo>
                    <a:pt x="30" y="38"/>
                    <a:pt x="30" y="38"/>
                    <a:pt x="30" y="38"/>
                  </a:cubicBezTo>
                  <a:cubicBezTo>
                    <a:pt x="29" y="39"/>
                    <a:pt x="28" y="39"/>
                    <a:pt x="26" y="40"/>
                  </a:cubicBezTo>
                  <a:cubicBezTo>
                    <a:pt x="23" y="40"/>
                    <a:pt x="21" y="40"/>
                    <a:pt x="18" y="40"/>
                  </a:cubicBezTo>
                  <a:cubicBezTo>
                    <a:pt x="15" y="40"/>
                    <a:pt x="13" y="40"/>
                    <a:pt x="11" y="39"/>
                  </a:cubicBezTo>
                  <a:cubicBezTo>
                    <a:pt x="9" y="38"/>
                    <a:pt x="7" y="37"/>
                    <a:pt x="5" y="35"/>
                  </a:cubicBezTo>
                  <a:cubicBezTo>
                    <a:pt x="4" y="33"/>
                    <a:pt x="2" y="31"/>
                    <a:pt x="1"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1" y="0"/>
                    <a:pt x="24" y="0"/>
                    <a:pt x="25" y="1"/>
                  </a:cubicBezTo>
                  <a:cubicBezTo>
                    <a:pt x="27" y="1"/>
                    <a:pt x="29" y="2"/>
                    <a:pt x="30" y="2"/>
                  </a:cubicBezTo>
                  <a:cubicBezTo>
                    <a:pt x="28" y="6"/>
                    <a:pt x="28" y="6"/>
                    <a:pt x="28" y="6"/>
                  </a:cubicBezTo>
                  <a:cubicBezTo>
                    <a:pt x="27" y="5"/>
                    <a:pt x="26" y="4"/>
                    <a:pt x="24" y="4"/>
                  </a:cubicBezTo>
                  <a:cubicBezTo>
                    <a:pt x="22" y="3"/>
                    <a:pt x="20" y="3"/>
                    <a:pt x="18" y="3"/>
                  </a:cubicBezTo>
                  <a:cubicBezTo>
                    <a:pt x="16" y="3"/>
                    <a:pt x="14" y="4"/>
                    <a:pt x="13" y="4"/>
                  </a:cubicBezTo>
                  <a:cubicBezTo>
                    <a:pt x="11" y="5"/>
                    <a:pt x="10" y="6"/>
                    <a:pt x="8" y="7"/>
                  </a:cubicBezTo>
                  <a:cubicBezTo>
                    <a:pt x="7" y="9"/>
                    <a:pt x="6" y="11"/>
                    <a:pt x="5" y="13"/>
                  </a:cubicBezTo>
                  <a:cubicBezTo>
                    <a:pt x="5" y="15"/>
                    <a:pt x="4" y="17"/>
                    <a:pt x="4" y="20"/>
                  </a:cubicBezTo>
                  <a:cubicBezTo>
                    <a:pt x="4" y="23"/>
                    <a:pt x="4" y="25"/>
                    <a:pt x="5" y="27"/>
                  </a:cubicBezTo>
                  <a:cubicBezTo>
                    <a:pt x="6" y="29"/>
                    <a:pt x="7" y="31"/>
                    <a:pt x="8" y="32"/>
                  </a:cubicBezTo>
                  <a:cubicBezTo>
                    <a:pt x="9" y="34"/>
                    <a:pt x="10" y="35"/>
                    <a:pt x="12" y="36"/>
                  </a:cubicBezTo>
                  <a:cubicBezTo>
                    <a:pt x="14" y="36"/>
                    <a:pt x="16" y="37"/>
                    <a:pt x="18" y="37"/>
                  </a:cubicBezTo>
                  <a:cubicBezTo>
                    <a:pt x="20" y="37"/>
                    <a:pt x="22" y="37"/>
                    <a:pt x="23" y="37"/>
                  </a:cubicBezTo>
                  <a:cubicBezTo>
                    <a:pt x="25" y="36"/>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59"/>
            <p:cNvSpPr>
              <a:spLocks/>
            </p:cNvSpPr>
            <p:nvPr/>
          </p:nvSpPr>
          <p:spPr bwMode="auto">
            <a:xfrm>
              <a:off x="435610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60"/>
            <p:cNvSpPr>
              <a:spLocks noEditPoints="1"/>
            </p:cNvSpPr>
            <p:nvPr/>
          </p:nvSpPr>
          <p:spPr bwMode="auto">
            <a:xfrm>
              <a:off x="4391027" y="3429034"/>
              <a:ext cx="38100" cy="53976"/>
            </a:xfrm>
            <a:custGeom>
              <a:avLst/>
              <a:gdLst>
                <a:gd name="T0" fmla="*/ 11 w 21"/>
                <a:gd name="T1" fmla="*/ 0 h 30"/>
                <a:gd name="T2" fmla="*/ 16 w 21"/>
                <a:gd name="T3" fmla="*/ 1 h 30"/>
                <a:gd name="T4" fmla="*/ 19 w 21"/>
                <a:gd name="T5" fmla="*/ 3 h 30"/>
                <a:gd name="T6" fmla="*/ 21 w 21"/>
                <a:gd name="T7" fmla="*/ 6 h 30"/>
                <a:gd name="T8" fmla="*/ 21 w 21"/>
                <a:gd name="T9" fmla="*/ 10 h 30"/>
                <a:gd name="T10" fmla="*/ 21 w 21"/>
                <a:gd name="T11" fmla="*/ 29 h 30"/>
                <a:gd name="T12" fmla="*/ 20 w 21"/>
                <a:gd name="T13" fmla="*/ 29 h 30"/>
                <a:gd name="T14" fmla="*/ 17 w 21"/>
                <a:gd name="T15" fmla="*/ 30 h 30"/>
                <a:gd name="T16" fmla="*/ 14 w 21"/>
                <a:gd name="T17" fmla="*/ 30 h 30"/>
                <a:gd name="T18" fmla="*/ 11 w 21"/>
                <a:gd name="T19" fmla="*/ 30 h 30"/>
                <a:gd name="T20" fmla="*/ 7 w 21"/>
                <a:gd name="T21" fmla="*/ 30 h 30"/>
                <a:gd name="T22" fmla="*/ 3 w 21"/>
                <a:gd name="T23" fmla="*/ 28 h 30"/>
                <a:gd name="T24" fmla="*/ 1 w 21"/>
                <a:gd name="T25" fmla="*/ 25 h 30"/>
                <a:gd name="T26" fmla="*/ 0 w 21"/>
                <a:gd name="T27" fmla="*/ 21 h 30"/>
                <a:gd name="T28" fmla="*/ 1 w 21"/>
                <a:gd name="T29" fmla="*/ 17 h 30"/>
                <a:gd name="T30" fmla="*/ 4 w 21"/>
                <a:gd name="T31" fmla="*/ 14 h 30"/>
                <a:gd name="T32" fmla="*/ 7 w 21"/>
                <a:gd name="T33" fmla="*/ 13 h 30"/>
                <a:gd name="T34" fmla="*/ 12 w 21"/>
                <a:gd name="T35" fmla="*/ 12 h 30"/>
                <a:gd name="T36" fmla="*/ 14 w 21"/>
                <a:gd name="T37" fmla="*/ 12 h 30"/>
                <a:gd name="T38" fmla="*/ 16 w 21"/>
                <a:gd name="T39" fmla="*/ 12 h 30"/>
                <a:gd name="T40" fmla="*/ 17 w 21"/>
                <a:gd name="T41" fmla="*/ 13 h 30"/>
                <a:gd name="T42" fmla="*/ 18 w 21"/>
                <a:gd name="T43" fmla="*/ 13 h 30"/>
                <a:gd name="T44" fmla="*/ 18 w 21"/>
                <a:gd name="T45" fmla="*/ 11 h 30"/>
                <a:gd name="T46" fmla="*/ 18 w 21"/>
                <a:gd name="T47" fmla="*/ 8 h 30"/>
                <a:gd name="T48" fmla="*/ 17 w 21"/>
                <a:gd name="T49" fmla="*/ 6 h 30"/>
                <a:gd name="T50" fmla="*/ 14 w 21"/>
                <a:gd name="T51" fmla="*/ 4 h 30"/>
                <a:gd name="T52" fmla="*/ 11 w 21"/>
                <a:gd name="T53" fmla="*/ 3 h 30"/>
                <a:gd name="T54" fmla="*/ 6 w 21"/>
                <a:gd name="T55" fmla="*/ 3 h 30"/>
                <a:gd name="T56" fmla="*/ 4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8 w 21"/>
                <a:gd name="T69" fmla="*/ 26 h 30"/>
                <a:gd name="T70" fmla="*/ 18 w 21"/>
                <a:gd name="T71" fmla="*/ 16 h 30"/>
                <a:gd name="T72" fmla="*/ 16 w 21"/>
                <a:gd name="T73" fmla="*/ 16 h 30"/>
                <a:gd name="T74" fmla="*/ 12 w 21"/>
                <a:gd name="T75" fmla="*/ 15 h 30"/>
                <a:gd name="T76" fmla="*/ 9 w 21"/>
                <a:gd name="T77" fmla="*/ 15 h 30"/>
                <a:gd name="T78" fmla="*/ 7 w 21"/>
                <a:gd name="T79" fmla="*/ 16 h 30"/>
                <a:gd name="T80" fmla="*/ 5 w 21"/>
                <a:gd name="T81" fmla="*/ 18 h 30"/>
                <a:gd name="T82" fmla="*/ 4 w 21"/>
                <a:gd name="T83" fmla="*/ 21 h 30"/>
                <a:gd name="T84" fmla="*/ 4 w 21"/>
                <a:gd name="T85" fmla="*/ 24 h 30"/>
                <a:gd name="T86" fmla="*/ 6 w 21"/>
                <a:gd name="T87" fmla="*/ 26 h 30"/>
                <a:gd name="T88" fmla="*/ 8 w 21"/>
                <a:gd name="T89" fmla="*/ 26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5" y="0"/>
                    <a:pt x="16" y="1"/>
                  </a:cubicBezTo>
                  <a:cubicBezTo>
                    <a:pt x="17" y="1"/>
                    <a:pt x="18" y="2"/>
                    <a:pt x="19" y="3"/>
                  </a:cubicBezTo>
                  <a:cubicBezTo>
                    <a:pt x="20" y="4"/>
                    <a:pt x="21" y="5"/>
                    <a:pt x="21" y="6"/>
                  </a:cubicBezTo>
                  <a:cubicBezTo>
                    <a:pt x="21" y="8"/>
                    <a:pt x="21" y="9"/>
                    <a:pt x="21" y="10"/>
                  </a:cubicBezTo>
                  <a:cubicBezTo>
                    <a:pt x="21" y="29"/>
                    <a:pt x="21" y="29"/>
                    <a:pt x="21" y="29"/>
                  </a:cubicBezTo>
                  <a:cubicBezTo>
                    <a:pt x="21" y="29"/>
                    <a:pt x="21" y="29"/>
                    <a:pt x="20" y="29"/>
                  </a:cubicBezTo>
                  <a:cubicBezTo>
                    <a:pt x="19" y="29"/>
                    <a:pt x="18" y="29"/>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7"/>
                    <a:pt x="1" y="26"/>
                    <a:pt x="1" y="25"/>
                  </a:cubicBezTo>
                  <a:cubicBezTo>
                    <a:pt x="0" y="24"/>
                    <a:pt x="0" y="23"/>
                    <a:pt x="0" y="21"/>
                  </a:cubicBezTo>
                  <a:cubicBezTo>
                    <a:pt x="0" y="19"/>
                    <a:pt x="0" y="18"/>
                    <a:pt x="1" y="17"/>
                  </a:cubicBezTo>
                  <a:cubicBezTo>
                    <a:pt x="2" y="16"/>
                    <a:pt x="2" y="15"/>
                    <a:pt x="4" y="14"/>
                  </a:cubicBezTo>
                  <a:cubicBezTo>
                    <a:pt x="5" y="13"/>
                    <a:pt x="6" y="13"/>
                    <a:pt x="7" y="13"/>
                  </a:cubicBezTo>
                  <a:cubicBezTo>
                    <a:pt x="9" y="12"/>
                    <a:pt x="11" y="12"/>
                    <a:pt x="12" y="12"/>
                  </a:cubicBezTo>
                  <a:cubicBezTo>
                    <a:pt x="13" y="12"/>
                    <a:pt x="13" y="12"/>
                    <a:pt x="14" y="12"/>
                  </a:cubicBezTo>
                  <a:cubicBezTo>
                    <a:pt x="15" y="12"/>
                    <a:pt x="15" y="12"/>
                    <a:pt x="16" y="12"/>
                  </a:cubicBezTo>
                  <a:cubicBezTo>
                    <a:pt x="16" y="12"/>
                    <a:pt x="17" y="13"/>
                    <a:pt x="17" y="13"/>
                  </a:cubicBezTo>
                  <a:cubicBezTo>
                    <a:pt x="17" y="13"/>
                    <a:pt x="18" y="13"/>
                    <a:pt x="18" y="13"/>
                  </a:cubicBezTo>
                  <a:cubicBezTo>
                    <a:pt x="18" y="11"/>
                    <a:pt x="18" y="11"/>
                    <a:pt x="18" y="11"/>
                  </a:cubicBezTo>
                  <a:cubicBezTo>
                    <a:pt x="18" y="10"/>
                    <a:pt x="18" y="9"/>
                    <a:pt x="18" y="8"/>
                  </a:cubicBezTo>
                  <a:cubicBezTo>
                    <a:pt x="17" y="7"/>
                    <a:pt x="17" y="6"/>
                    <a:pt x="17" y="6"/>
                  </a:cubicBezTo>
                  <a:cubicBezTo>
                    <a:pt x="16" y="5"/>
                    <a:pt x="15" y="4"/>
                    <a:pt x="14"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7" y="16"/>
                    <a:pt x="17" y="16"/>
                    <a:pt x="16" y="16"/>
                  </a:cubicBezTo>
                  <a:cubicBezTo>
                    <a:pt x="15" y="15"/>
                    <a:pt x="14" y="15"/>
                    <a:pt x="12" y="15"/>
                  </a:cubicBezTo>
                  <a:cubicBezTo>
                    <a:pt x="11" y="15"/>
                    <a:pt x="10" y="15"/>
                    <a:pt x="9" y="15"/>
                  </a:cubicBezTo>
                  <a:cubicBezTo>
                    <a:pt x="8" y="16"/>
                    <a:pt x="7" y="16"/>
                    <a:pt x="7" y="16"/>
                  </a:cubicBezTo>
                  <a:cubicBezTo>
                    <a:pt x="6" y="17"/>
                    <a:pt x="5" y="17"/>
                    <a:pt x="5" y="18"/>
                  </a:cubicBezTo>
                  <a:cubicBezTo>
                    <a:pt x="4" y="19"/>
                    <a:pt x="4" y="20"/>
                    <a:pt x="4" y="21"/>
                  </a:cubicBezTo>
                  <a:cubicBezTo>
                    <a:pt x="4" y="22"/>
                    <a:pt x="4" y="23"/>
                    <a:pt x="4"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61"/>
            <p:cNvSpPr>
              <a:spLocks noEditPoints="1"/>
            </p:cNvSpPr>
            <p:nvPr/>
          </p:nvSpPr>
          <p:spPr bwMode="auto">
            <a:xfrm>
              <a:off x="4446589" y="3429034"/>
              <a:ext cx="46038" cy="73026"/>
            </a:xfrm>
            <a:custGeom>
              <a:avLst/>
              <a:gdLst>
                <a:gd name="T0" fmla="*/ 3 w 25"/>
                <a:gd name="T1" fmla="*/ 40 h 40"/>
                <a:gd name="T2" fmla="*/ 0 w 25"/>
                <a:gd name="T3" fmla="*/ 40 h 40"/>
                <a:gd name="T4" fmla="*/ 0 w 25"/>
                <a:gd name="T5" fmla="*/ 1 h 40"/>
                <a:gd name="T6" fmla="*/ 4 w 25"/>
                <a:gd name="T7" fmla="*/ 0 h 40"/>
                <a:gd name="T8" fmla="*/ 10 w 25"/>
                <a:gd name="T9" fmla="*/ 0 h 40"/>
                <a:gd name="T10" fmla="*/ 16 w 25"/>
                <a:gd name="T11" fmla="*/ 1 h 40"/>
                <a:gd name="T12" fmla="*/ 21 w 25"/>
                <a:gd name="T13" fmla="*/ 4 h 40"/>
                <a:gd name="T14" fmla="*/ 23 w 25"/>
                <a:gd name="T15" fmla="*/ 9 h 40"/>
                <a:gd name="T16" fmla="*/ 25 w 25"/>
                <a:gd name="T17" fmla="*/ 15 h 40"/>
                <a:gd name="T18" fmla="*/ 24 w 25"/>
                <a:gd name="T19" fmla="*/ 21 h 40"/>
                <a:gd name="T20" fmla="*/ 21 w 25"/>
                <a:gd name="T21" fmla="*/ 26 h 40"/>
                <a:gd name="T22" fmla="*/ 17 w 25"/>
                <a:gd name="T23" fmla="*/ 29 h 40"/>
                <a:gd name="T24" fmla="*/ 11 w 25"/>
                <a:gd name="T25" fmla="*/ 30 h 40"/>
                <a:gd name="T26" fmla="*/ 6 w 25"/>
                <a:gd name="T27" fmla="*/ 29 h 40"/>
                <a:gd name="T28" fmla="*/ 3 w 25"/>
                <a:gd name="T29" fmla="*/ 28 h 40"/>
                <a:gd name="T30" fmla="*/ 3 w 25"/>
                <a:gd name="T31" fmla="*/ 40 h 40"/>
                <a:gd name="T32" fmla="*/ 3 w 25"/>
                <a:gd name="T33" fmla="*/ 24 h 40"/>
                <a:gd name="T34" fmla="*/ 5 w 25"/>
                <a:gd name="T35" fmla="*/ 25 h 40"/>
                <a:gd name="T36" fmla="*/ 6 w 25"/>
                <a:gd name="T37" fmla="*/ 26 h 40"/>
                <a:gd name="T38" fmla="*/ 9 w 25"/>
                <a:gd name="T39" fmla="*/ 27 h 40"/>
                <a:gd name="T40" fmla="*/ 11 w 25"/>
                <a:gd name="T41" fmla="*/ 27 h 40"/>
                <a:gd name="T42" fmla="*/ 16 w 25"/>
                <a:gd name="T43" fmla="*/ 26 h 40"/>
                <a:gd name="T44" fmla="*/ 19 w 25"/>
                <a:gd name="T45" fmla="*/ 23 h 40"/>
                <a:gd name="T46" fmla="*/ 20 w 25"/>
                <a:gd name="T47" fmla="*/ 20 h 40"/>
                <a:gd name="T48" fmla="*/ 21 w 25"/>
                <a:gd name="T49" fmla="*/ 15 h 40"/>
                <a:gd name="T50" fmla="*/ 18 w 25"/>
                <a:gd name="T51" fmla="*/ 6 h 40"/>
                <a:gd name="T52" fmla="*/ 10 w 25"/>
                <a:gd name="T53" fmla="*/ 3 h 40"/>
                <a:gd name="T54" fmla="*/ 6 w 25"/>
                <a:gd name="T55" fmla="*/ 3 h 40"/>
                <a:gd name="T56" fmla="*/ 3 w 25"/>
                <a:gd name="T57" fmla="*/ 4 h 40"/>
                <a:gd name="T58" fmla="*/ 3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3" y="40"/>
                  </a:moveTo>
                  <a:cubicBezTo>
                    <a:pt x="0" y="40"/>
                    <a:pt x="0" y="40"/>
                    <a:pt x="0" y="40"/>
                  </a:cubicBezTo>
                  <a:cubicBezTo>
                    <a:pt x="0" y="1"/>
                    <a:pt x="0" y="1"/>
                    <a:pt x="0" y="1"/>
                  </a:cubicBezTo>
                  <a:cubicBezTo>
                    <a:pt x="1" y="1"/>
                    <a:pt x="2" y="1"/>
                    <a:pt x="4" y="0"/>
                  </a:cubicBezTo>
                  <a:cubicBezTo>
                    <a:pt x="6" y="0"/>
                    <a:pt x="8" y="0"/>
                    <a:pt x="10" y="0"/>
                  </a:cubicBezTo>
                  <a:cubicBezTo>
                    <a:pt x="12" y="0"/>
                    <a:pt x="14" y="0"/>
                    <a:pt x="16" y="1"/>
                  </a:cubicBezTo>
                  <a:cubicBezTo>
                    <a:pt x="18" y="2"/>
                    <a:pt x="19" y="3"/>
                    <a:pt x="21" y="4"/>
                  </a:cubicBezTo>
                  <a:cubicBezTo>
                    <a:pt x="22" y="5"/>
                    <a:pt x="23" y="7"/>
                    <a:pt x="23" y="9"/>
                  </a:cubicBezTo>
                  <a:cubicBezTo>
                    <a:pt x="24" y="11"/>
                    <a:pt x="25" y="13"/>
                    <a:pt x="25" y="15"/>
                  </a:cubicBezTo>
                  <a:cubicBezTo>
                    <a:pt x="25" y="17"/>
                    <a:pt x="24" y="19"/>
                    <a:pt x="24" y="21"/>
                  </a:cubicBezTo>
                  <a:cubicBezTo>
                    <a:pt x="23" y="23"/>
                    <a:pt x="22" y="25"/>
                    <a:pt x="21" y="26"/>
                  </a:cubicBezTo>
                  <a:cubicBezTo>
                    <a:pt x="20" y="27"/>
                    <a:pt x="19" y="28"/>
                    <a:pt x="17" y="29"/>
                  </a:cubicBezTo>
                  <a:cubicBezTo>
                    <a:pt x="15" y="30"/>
                    <a:pt x="13" y="30"/>
                    <a:pt x="11" y="30"/>
                  </a:cubicBezTo>
                  <a:cubicBezTo>
                    <a:pt x="9" y="30"/>
                    <a:pt x="8" y="30"/>
                    <a:pt x="6" y="29"/>
                  </a:cubicBezTo>
                  <a:cubicBezTo>
                    <a:pt x="5" y="29"/>
                    <a:pt x="4" y="28"/>
                    <a:pt x="3" y="28"/>
                  </a:cubicBezTo>
                  <a:lnTo>
                    <a:pt x="3" y="40"/>
                  </a:lnTo>
                  <a:close/>
                  <a:moveTo>
                    <a:pt x="3" y="24"/>
                  </a:moveTo>
                  <a:cubicBezTo>
                    <a:pt x="4" y="24"/>
                    <a:pt x="4" y="25"/>
                    <a:pt x="5" y="25"/>
                  </a:cubicBezTo>
                  <a:cubicBezTo>
                    <a:pt x="5" y="25"/>
                    <a:pt x="6" y="26"/>
                    <a:pt x="6" y="26"/>
                  </a:cubicBezTo>
                  <a:cubicBezTo>
                    <a:pt x="7" y="26"/>
                    <a:pt x="8" y="26"/>
                    <a:pt x="9" y="27"/>
                  </a:cubicBezTo>
                  <a:cubicBezTo>
                    <a:pt x="9" y="27"/>
                    <a:pt x="10" y="27"/>
                    <a:pt x="11" y="27"/>
                  </a:cubicBezTo>
                  <a:cubicBezTo>
                    <a:pt x="13" y="27"/>
                    <a:pt x="14" y="26"/>
                    <a:pt x="16" y="26"/>
                  </a:cubicBezTo>
                  <a:cubicBezTo>
                    <a:pt x="17" y="25"/>
                    <a:pt x="18" y="24"/>
                    <a:pt x="19" y="23"/>
                  </a:cubicBezTo>
                  <a:cubicBezTo>
                    <a:pt x="19" y="22"/>
                    <a:pt x="20" y="21"/>
                    <a:pt x="20" y="20"/>
                  </a:cubicBezTo>
                  <a:cubicBezTo>
                    <a:pt x="20" y="18"/>
                    <a:pt x="21" y="17"/>
                    <a:pt x="21" y="15"/>
                  </a:cubicBezTo>
                  <a:cubicBezTo>
                    <a:pt x="21" y="11"/>
                    <a:pt x="20"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62"/>
            <p:cNvSpPr>
              <a:spLocks/>
            </p:cNvSpPr>
            <p:nvPr/>
          </p:nvSpPr>
          <p:spPr bwMode="auto">
            <a:xfrm>
              <a:off x="4505327" y="3403634"/>
              <a:ext cx="42863" cy="77788"/>
            </a:xfrm>
            <a:custGeom>
              <a:avLst/>
              <a:gdLst>
                <a:gd name="T0" fmla="*/ 0 w 23"/>
                <a:gd name="T1" fmla="*/ 43 h 43"/>
                <a:gd name="T2" fmla="*/ 0 w 23"/>
                <a:gd name="T3" fmla="*/ 1 h 43"/>
                <a:gd name="T4" fmla="*/ 4 w 23"/>
                <a:gd name="T5" fmla="*/ 0 h 43"/>
                <a:gd name="T6" fmla="*/ 4 w 23"/>
                <a:gd name="T7" fmla="*/ 15 h 43"/>
                <a:gd name="T8" fmla="*/ 8 w 23"/>
                <a:gd name="T9" fmla="*/ 14 h 43"/>
                <a:gd name="T10" fmla="*/ 11 w 23"/>
                <a:gd name="T11" fmla="*/ 14 h 43"/>
                <a:gd name="T12" fmla="*/ 17 w 23"/>
                <a:gd name="T13" fmla="*/ 15 h 43"/>
                <a:gd name="T14" fmla="*/ 21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9 w 23"/>
                <a:gd name="T27" fmla="*/ 23 h 43"/>
                <a:gd name="T28" fmla="*/ 18 w 23"/>
                <a:gd name="T29" fmla="*/ 20 h 43"/>
                <a:gd name="T30" fmla="*/ 15 w 23"/>
                <a:gd name="T31" fmla="*/ 18 h 43"/>
                <a:gd name="T32" fmla="*/ 11 w 23"/>
                <a:gd name="T33" fmla="*/ 17 h 43"/>
                <a:gd name="T34" fmla="*/ 9 w 23"/>
                <a:gd name="T35" fmla="*/ 17 h 43"/>
                <a:gd name="T36" fmla="*/ 7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8" y="14"/>
                  </a:cubicBezTo>
                  <a:cubicBezTo>
                    <a:pt x="9" y="14"/>
                    <a:pt x="10" y="14"/>
                    <a:pt x="11" y="14"/>
                  </a:cubicBezTo>
                  <a:cubicBezTo>
                    <a:pt x="14" y="14"/>
                    <a:pt x="15" y="14"/>
                    <a:pt x="17" y="15"/>
                  </a:cubicBezTo>
                  <a:cubicBezTo>
                    <a:pt x="18" y="15"/>
                    <a:pt x="20" y="16"/>
                    <a:pt x="21" y="18"/>
                  </a:cubicBezTo>
                  <a:cubicBezTo>
                    <a:pt x="21" y="19"/>
                    <a:pt x="22" y="20"/>
                    <a:pt x="22" y="22"/>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5"/>
                    <a:pt x="19" y="23"/>
                  </a:cubicBezTo>
                  <a:cubicBezTo>
                    <a:pt x="19" y="22"/>
                    <a:pt x="18" y="21"/>
                    <a:pt x="18" y="20"/>
                  </a:cubicBezTo>
                  <a:cubicBezTo>
                    <a:pt x="17" y="19"/>
                    <a:pt x="16" y="18"/>
                    <a:pt x="15" y="18"/>
                  </a:cubicBezTo>
                  <a:cubicBezTo>
                    <a:pt x="14" y="17"/>
                    <a:pt x="12" y="17"/>
                    <a:pt x="11" y="17"/>
                  </a:cubicBezTo>
                  <a:cubicBezTo>
                    <a:pt x="10" y="17"/>
                    <a:pt x="10" y="17"/>
                    <a:pt x="9" y="17"/>
                  </a:cubicBezTo>
                  <a:cubicBezTo>
                    <a:pt x="8" y="17"/>
                    <a:pt x="7" y="18"/>
                    <a:pt x="7" y="18"/>
                  </a:cubicBezTo>
                  <a:cubicBezTo>
                    <a:pt x="6" y="18"/>
                    <a:pt x="6" y="18"/>
                    <a:pt x="5" y="18"/>
                  </a:cubicBezTo>
                  <a:cubicBezTo>
                    <a:pt x="5"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2" name="Group 551"/>
          <p:cNvGrpSpPr/>
          <p:nvPr/>
        </p:nvGrpSpPr>
        <p:grpSpPr>
          <a:xfrm>
            <a:off x="3049234" y="3125510"/>
            <a:ext cx="255588" cy="79376"/>
            <a:chOff x="2992439" y="3403634"/>
            <a:chExt cx="255588" cy="79376"/>
          </a:xfrm>
        </p:grpSpPr>
        <p:sp>
          <p:nvSpPr>
            <p:cNvPr id="404" name="Freeform 63"/>
            <p:cNvSpPr>
              <a:spLocks/>
            </p:cNvSpPr>
            <p:nvPr/>
          </p:nvSpPr>
          <p:spPr bwMode="auto">
            <a:xfrm>
              <a:off x="2992439" y="3409984"/>
              <a:ext cx="52388" cy="73026"/>
            </a:xfrm>
            <a:custGeom>
              <a:avLst/>
              <a:gdLst>
                <a:gd name="T0" fmla="*/ 25 w 29"/>
                <a:gd name="T1" fmla="*/ 21 h 40"/>
                <a:gd name="T2" fmla="*/ 29 w 29"/>
                <a:gd name="T3" fmla="*/ 21 h 40"/>
                <a:gd name="T4" fmla="*/ 29 w 29"/>
                <a:gd name="T5" fmla="*/ 38 h 40"/>
                <a:gd name="T6" fmla="*/ 25 w 29"/>
                <a:gd name="T7" fmla="*/ 40 h 40"/>
                <a:gd name="T8" fmla="*/ 17 w 29"/>
                <a:gd name="T9" fmla="*/ 40 h 40"/>
                <a:gd name="T10" fmla="*/ 10 w 29"/>
                <a:gd name="T11" fmla="*/ 39 h 40"/>
                <a:gd name="T12" fmla="*/ 5 w 29"/>
                <a:gd name="T13" fmla="*/ 35 h 40"/>
                <a:gd name="T14" fmla="*/ 1 w 29"/>
                <a:gd name="T15" fmla="*/ 29 h 40"/>
                <a:gd name="T16" fmla="*/ 0 w 29"/>
                <a:gd name="T17" fmla="*/ 20 h 40"/>
                <a:gd name="T18" fmla="*/ 1 w 29"/>
                <a:gd name="T19" fmla="*/ 11 h 40"/>
                <a:gd name="T20" fmla="*/ 5 w 29"/>
                <a:gd name="T21" fmla="*/ 5 h 40"/>
                <a:gd name="T22" fmla="*/ 11 w 29"/>
                <a:gd name="T23" fmla="*/ 1 h 40"/>
                <a:gd name="T24" fmla="*/ 18 w 29"/>
                <a:gd name="T25" fmla="*/ 0 h 40"/>
                <a:gd name="T26" fmla="*/ 25 w 29"/>
                <a:gd name="T27" fmla="*/ 1 h 40"/>
                <a:gd name="T28" fmla="*/ 29 w 29"/>
                <a:gd name="T29" fmla="*/ 2 h 40"/>
                <a:gd name="T30" fmla="*/ 28 w 29"/>
                <a:gd name="T31" fmla="*/ 6 h 40"/>
                <a:gd name="T32" fmla="*/ 23 w 29"/>
                <a:gd name="T33" fmla="*/ 4 h 40"/>
                <a:gd name="T34" fmla="*/ 18 w 29"/>
                <a:gd name="T35" fmla="*/ 3 h 40"/>
                <a:gd name="T36" fmla="*/ 12 w 29"/>
                <a:gd name="T37" fmla="*/ 4 h 40"/>
                <a:gd name="T38" fmla="*/ 8 w 29"/>
                <a:gd name="T39" fmla="*/ 7 h 40"/>
                <a:gd name="T40" fmla="*/ 5 w 29"/>
                <a:gd name="T41" fmla="*/ 13 h 40"/>
                <a:gd name="T42" fmla="*/ 4 w 29"/>
                <a:gd name="T43" fmla="*/ 20 h 40"/>
                <a:gd name="T44" fmla="*/ 5 w 29"/>
                <a:gd name="T45" fmla="*/ 27 h 40"/>
                <a:gd name="T46" fmla="*/ 7 w 29"/>
                <a:gd name="T47" fmla="*/ 32 h 40"/>
                <a:gd name="T48" fmla="*/ 12 w 29"/>
                <a:gd name="T49" fmla="*/ 36 h 40"/>
                <a:gd name="T50" fmla="*/ 18 w 29"/>
                <a:gd name="T51" fmla="*/ 37 h 40"/>
                <a:gd name="T52" fmla="*/ 23 w 29"/>
                <a:gd name="T53" fmla="*/ 37 h 40"/>
                <a:gd name="T54" fmla="*/ 25 w 29"/>
                <a:gd name="T55" fmla="*/ 36 h 40"/>
                <a:gd name="T56" fmla="*/ 25 w 29"/>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0">
                  <a:moveTo>
                    <a:pt x="25" y="21"/>
                  </a:moveTo>
                  <a:cubicBezTo>
                    <a:pt x="29" y="21"/>
                    <a:pt x="29" y="21"/>
                    <a:pt x="29" y="21"/>
                  </a:cubicBezTo>
                  <a:cubicBezTo>
                    <a:pt x="29" y="38"/>
                    <a:pt x="29" y="38"/>
                    <a:pt x="29" y="38"/>
                  </a:cubicBezTo>
                  <a:cubicBezTo>
                    <a:pt x="28" y="39"/>
                    <a:pt x="27" y="39"/>
                    <a:pt x="25" y="40"/>
                  </a:cubicBezTo>
                  <a:cubicBezTo>
                    <a:pt x="23" y="40"/>
                    <a:pt x="20" y="40"/>
                    <a:pt x="17" y="40"/>
                  </a:cubicBezTo>
                  <a:cubicBezTo>
                    <a:pt x="15" y="40"/>
                    <a:pt x="12" y="40"/>
                    <a:pt x="10" y="39"/>
                  </a:cubicBezTo>
                  <a:cubicBezTo>
                    <a:pt x="8" y="38"/>
                    <a:pt x="6" y="37"/>
                    <a:pt x="5" y="35"/>
                  </a:cubicBezTo>
                  <a:cubicBezTo>
                    <a:pt x="3" y="33"/>
                    <a:pt x="2" y="31"/>
                    <a:pt x="1" y="29"/>
                  </a:cubicBezTo>
                  <a:cubicBezTo>
                    <a:pt x="0" y="26"/>
                    <a:pt x="0" y="23"/>
                    <a:pt x="0" y="20"/>
                  </a:cubicBezTo>
                  <a:cubicBezTo>
                    <a:pt x="0" y="17"/>
                    <a:pt x="0" y="14"/>
                    <a:pt x="1" y="11"/>
                  </a:cubicBezTo>
                  <a:cubicBezTo>
                    <a:pt x="2" y="9"/>
                    <a:pt x="3" y="7"/>
                    <a:pt x="5" y="5"/>
                  </a:cubicBezTo>
                  <a:cubicBezTo>
                    <a:pt x="7" y="3"/>
                    <a:pt x="9" y="2"/>
                    <a:pt x="11" y="1"/>
                  </a:cubicBezTo>
                  <a:cubicBezTo>
                    <a:pt x="13" y="0"/>
                    <a:pt x="15" y="0"/>
                    <a:pt x="18" y="0"/>
                  </a:cubicBezTo>
                  <a:cubicBezTo>
                    <a:pt x="21" y="0"/>
                    <a:pt x="23" y="0"/>
                    <a:pt x="25" y="1"/>
                  </a:cubicBezTo>
                  <a:cubicBezTo>
                    <a:pt x="27" y="1"/>
                    <a:pt x="28" y="2"/>
                    <a:pt x="29" y="2"/>
                  </a:cubicBezTo>
                  <a:cubicBezTo>
                    <a:pt x="28" y="6"/>
                    <a:pt x="28" y="6"/>
                    <a:pt x="28" y="6"/>
                  </a:cubicBezTo>
                  <a:cubicBezTo>
                    <a:pt x="27" y="5"/>
                    <a:pt x="25" y="4"/>
                    <a:pt x="23" y="4"/>
                  </a:cubicBezTo>
                  <a:cubicBezTo>
                    <a:pt x="22" y="3"/>
                    <a:pt x="20" y="3"/>
                    <a:pt x="18" y="3"/>
                  </a:cubicBezTo>
                  <a:cubicBezTo>
                    <a:pt x="16" y="3"/>
                    <a:pt x="14" y="4"/>
                    <a:pt x="12" y="4"/>
                  </a:cubicBezTo>
                  <a:cubicBezTo>
                    <a:pt x="10" y="5"/>
                    <a:pt x="9" y="6"/>
                    <a:pt x="8" y="7"/>
                  </a:cubicBezTo>
                  <a:cubicBezTo>
                    <a:pt x="6" y="9"/>
                    <a:pt x="5" y="11"/>
                    <a:pt x="5" y="13"/>
                  </a:cubicBezTo>
                  <a:cubicBezTo>
                    <a:pt x="4" y="15"/>
                    <a:pt x="4" y="17"/>
                    <a:pt x="4" y="20"/>
                  </a:cubicBezTo>
                  <a:cubicBezTo>
                    <a:pt x="4" y="23"/>
                    <a:pt x="4" y="25"/>
                    <a:pt x="5" y="27"/>
                  </a:cubicBezTo>
                  <a:cubicBezTo>
                    <a:pt x="5" y="29"/>
                    <a:pt x="6" y="31"/>
                    <a:pt x="7" y="32"/>
                  </a:cubicBezTo>
                  <a:cubicBezTo>
                    <a:pt x="8" y="34"/>
                    <a:pt x="10" y="35"/>
                    <a:pt x="12" y="36"/>
                  </a:cubicBezTo>
                  <a:cubicBezTo>
                    <a:pt x="14" y="36"/>
                    <a:pt x="16" y="37"/>
                    <a:pt x="18" y="37"/>
                  </a:cubicBezTo>
                  <a:cubicBezTo>
                    <a:pt x="20" y="37"/>
                    <a:pt x="21" y="37"/>
                    <a:pt x="23" y="37"/>
                  </a:cubicBezTo>
                  <a:cubicBezTo>
                    <a:pt x="24" y="36"/>
                    <a:pt x="25" y="36"/>
                    <a:pt x="25" y="36"/>
                  </a:cubicBezTo>
                  <a:lnTo>
                    <a:pt x="25"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64"/>
            <p:cNvSpPr>
              <a:spLocks/>
            </p:cNvSpPr>
            <p:nvPr/>
          </p:nvSpPr>
          <p:spPr bwMode="auto">
            <a:xfrm>
              <a:off x="3062289" y="3403634"/>
              <a:ext cx="14288" cy="79376"/>
            </a:xfrm>
            <a:custGeom>
              <a:avLst/>
              <a:gdLst>
                <a:gd name="T0" fmla="*/ 7 w 8"/>
                <a:gd name="T1" fmla="*/ 44 h 44"/>
                <a:gd name="T2" fmla="*/ 4 w 8"/>
                <a:gd name="T3" fmla="*/ 43 h 44"/>
                <a:gd name="T4" fmla="*/ 2 w 8"/>
                <a:gd name="T5" fmla="*/ 42 h 44"/>
                <a:gd name="T6" fmla="*/ 0 w 8"/>
                <a:gd name="T7" fmla="*/ 40 h 44"/>
                <a:gd name="T8" fmla="*/ 0 w 8"/>
                <a:gd name="T9" fmla="*/ 36 h 44"/>
                <a:gd name="T10" fmla="*/ 0 w 8"/>
                <a:gd name="T11" fmla="*/ 1 h 44"/>
                <a:gd name="T12" fmla="*/ 3 w 8"/>
                <a:gd name="T13" fmla="*/ 0 h 44"/>
                <a:gd name="T14" fmla="*/ 3 w 8"/>
                <a:gd name="T15" fmla="*/ 36 h 44"/>
                <a:gd name="T16" fmla="*/ 4 w 8"/>
                <a:gd name="T17" fmla="*/ 39 h 44"/>
                <a:gd name="T18" fmla="*/ 4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6"/>
                  </a:cubicBezTo>
                  <a:cubicBezTo>
                    <a:pt x="0" y="1"/>
                    <a:pt x="0" y="1"/>
                    <a:pt x="0" y="1"/>
                  </a:cubicBezTo>
                  <a:cubicBezTo>
                    <a:pt x="3" y="0"/>
                    <a:pt x="3" y="0"/>
                    <a:pt x="3" y="0"/>
                  </a:cubicBezTo>
                  <a:cubicBezTo>
                    <a:pt x="3" y="36"/>
                    <a:pt x="3" y="36"/>
                    <a:pt x="3" y="36"/>
                  </a:cubicBezTo>
                  <a:cubicBezTo>
                    <a:pt x="3" y="37"/>
                    <a:pt x="3" y="38"/>
                    <a:pt x="4" y="39"/>
                  </a:cubicBezTo>
                  <a:cubicBezTo>
                    <a:pt x="4" y="39"/>
                    <a:pt x="4" y="39"/>
                    <a:pt x="4"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65"/>
            <p:cNvSpPr>
              <a:spLocks noEditPoints="1"/>
            </p:cNvSpPr>
            <p:nvPr/>
          </p:nvSpPr>
          <p:spPr bwMode="auto">
            <a:xfrm>
              <a:off x="3082926" y="3429034"/>
              <a:ext cx="50800" cy="53976"/>
            </a:xfrm>
            <a:custGeom>
              <a:avLst/>
              <a:gdLst>
                <a:gd name="T0" fmla="*/ 27 w 27"/>
                <a:gd name="T1" fmla="*/ 15 h 30"/>
                <a:gd name="T2" fmla="*/ 26 w 27"/>
                <a:gd name="T3" fmla="*/ 21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1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6 h 30"/>
                <a:gd name="T38" fmla="*/ 14 w 27"/>
                <a:gd name="T39" fmla="*/ 3 h 30"/>
                <a:gd name="T40" fmla="*/ 7 w 27"/>
                <a:gd name="T41" fmla="*/ 6 h 30"/>
                <a:gd name="T42" fmla="*/ 4 w 27"/>
                <a:gd name="T43" fmla="*/ 15 h 30"/>
                <a:gd name="T44" fmla="*/ 7 w 27"/>
                <a:gd name="T45" fmla="*/ 24 h 30"/>
                <a:gd name="T46" fmla="*/ 14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7"/>
                    <a:pt x="26" y="19"/>
                    <a:pt x="26" y="21"/>
                  </a:cubicBezTo>
                  <a:cubicBezTo>
                    <a:pt x="25" y="23"/>
                    <a:pt x="24" y="25"/>
                    <a:pt x="23" y="26"/>
                  </a:cubicBezTo>
                  <a:cubicBezTo>
                    <a:pt x="22" y="27"/>
                    <a:pt x="20" y="28"/>
                    <a:pt x="19" y="29"/>
                  </a:cubicBezTo>
                  <a:cubicBezTo>
                    <a:pt x="17" y="30"/>
                    <a:pt x="15" y="30"/>
                    <a:pt x="14" y="30"/>
                  </a:cubicBezTo>
                  <a:cubicBezTo>
                    <a:pt x="12" y="30"/>
                    <a:pt x="10" y="30"/>
                    <a:pt x="8" y="29"/>
                  </a:cubicBezTo>
                  <a:cubicBezTo>
                    <a:pt x="7"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7" y="2"/>
                    <a:pt x="8" y="1"/>
                  </a:cubicBezTo>
                  <a:cubicBezTo>
                    <a:pt x="10" y="0"/>
                    <a:pt x="12" y="0"/>
                    <a:pt x="14" y="0"/>
                  </a:cubicBezTo>
                  <a:cubicBezTo>
                    <a:pt x="15" y="0"/>
                    <a:pt x="17" y="0"/>
                    <a:pt x="19" y="1"/>
                  </a:cubicBezTo>
                  <a:cubicBezTo>
                    <a:pt x="20" y="2"/>
                    <a:pt x="22" y="3"/>
                    <a:pt x="23" y="4"/>
                  </a:cubicBezTo>
                  <a:cubicBezTo>
                    <a:pt x="24" y="5"/>
                    <a:pt x="25" y="7"/>
                    <a:pt x="26" y="9"/>
                  </a:cubicBezTo>
                  <a:cubicBezTo>
                    <a:pt x="26" y="11"/>
                    <a:pt x="27" y="13"/>
                    <a:pt x="27" y="15"/>
                  </a:cubicBezTo>
                  <a:close/>
                  <a:moveTo>
                    <a:pt x="23" y="15"/>
                  </a:moveTo>
                  <a:cubicBezTo>
                    <a:pt x="23" y="11"/>
                    <a:pt x="22" y="8"/>
                    <a:pt x="20" y="6"/>
                  </a:cubicBezTo>
                  <a:cubicBezTo>
                    <a:pt x="19" y="4"/>
                    <a:pt x="16" y="3"/>
                    <a:pt x="14" y="3"/>
                  </a:cubicBezTo>
                  <a:cubicBezTo>
                    <a:pt x="11" y="3"/>
                    <a:pt x="8" y="4"/>
                    <a:pt x="7" y="6"/>
                  </a:cubicBezTo>
                  <a:cubicBezTo>
                    <a:pt x="5" y="8"/>
                    <a:pt x="4" y="11"/>
                    <a:pt x="4" y="15"/>
                  </a:cubicBezTo>
                  <a:cubicBezTo>
                    <a:pt x="4" y="19"/>
                    <a:pt x="5" y="21"/>
                    <a:pt x="7" y="24"/>
                  </a:cubicBezTo>
                  <a:cubicBezTo>
                    <a:pt x="8" y="26"/>
                    <a:pt x="11" y="27"/>
                    <a:pt x="14" y="27"/>
                  </a:cubicBezTo>
                  <a:cubicBezTo>
                    <a:pt x="16" y="27"/>
                    <a:pt x="19" y="26"/>
                    <a:pt x="20" y="24"/>
                  </a:cubicBezTo>
                  <a:cubicBezTo>
                    <a:pt x="22" y="21"/>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66"/>
            <p:cNvSpPr>
              <a:spLocks noEditPoints="1"/>
            </p:cNvSpPr>
            <p:nvPr/>
          </p:nvSpPr>
          <p:spPr bwMode="auto">
            <a:xfrm>
              <a:off x="3148014" y="3403634"/>
              <a:ext cx="44450" cy="79376"/>
            </a:xfrm>
            <a:custGeom>
              <a:avLst/>
              <a:gdLst>
                <a:gd name="T0" fmla="*/ 3 w 24"/>
                <a:gd name="T1" fmla="*/ 16 h 44"/>
                <a:gd name="T2" fmla="*/ 6 w 24"/>
                <a:gd name="T3" fmla="*/ 15 h 44"/>
                <a:gd name="T4" fmla="*/ 11 w 24"/>
                <a:gd name="T5" fmla="*/ 14 h 44"/>
                <a:gd name="T6" fmla="*/ 17 w 24"/>
                <a:gd name="T7" fmla="*/ 15 h 44"/>
                <a:gd name="T8" fmla="*/ 21 w 24"/>
                <a:gd name="T9" fmla="*/ 18 h 44"/>
                <a:gd name="T10" fmla="*/ 24 w 24"/>
                <a:gd name="T11" fmla="*/ 23 h 44"/>
                <a:gd name="T12" fmla="*/ 24 w 24"/>
                <a:gd name="T13" fmla="*/ 29 h 44"/>
                <a:gd name="T14" fmla="*/ 23 w 24"/>
                <a:gd name="T15" fmla="*/ 35 h 44"/>
                <a:gd name="T16" fmla="*/ 20 w 24"/>
                <a:gd name="T17" fmla="*/ 40 h 44"/>
                <a:gd name="T18" fmla="*/ 16 w 24"/>
                <a:gd name="T19" fmla="*/ 43 h 44"/>
                <a:gd name="T20" fmla="*/ 10 w 24"/>
                <a:gd name="T21" fmla="*/ 44 h 44"/>
                <a:gd name="T22" fmla="*/ 4 w 24"/>
                <a:gd name="T23" fmla="*/ 44 h 44"/>
                <a:gd name="T24" fmla="*/ 0 w 24"/>
                <a:gd name="T25" fmla="*/ 43 h 44"/>
                <a:gd name="T26" fmla="*/ 0 w 24"/>
                <a:gd name="T27" fmla="*/ 1 h 44"/>
                <a:gd name="T28" fmla="*/ 3 w 24"/>
                <a:gd name="T29" fmla="*/ 0 h 44"/>
                <a:gd name="T30" fmla="*/ 3 w 24"/>
                <a:gd name="T31" fmla="*/ 16 h 44"/>
                <a:gd name="T32" fmla="*/ 3 w 24"/>
                <a:gd name="T33" fmla="*/ 40 h 44"/>
                <a:gd name="T34" fmla="*/ 6 w 24"/>
                <a:gd name="T35" fmla="*/ 41 h 44"/>
                <a:gd name="T36" fmla="*/ 10 w 24"/>
                <a:gd name="T37" fmla="*/ 41 h 44"/>
                <a:gd name="T38" fmla="*/ 18 w 24"/>
                <a:gd name="T39" fmla="*/ 38 h 44"/>
                <a:gd name="T40" fmla="*/ 21 w 24"/>
                <a:gd name="T41" fmla="*/ 29 h 44"/>
                <a:gd name="T42" fmla="*/ 20 w 24"/>
                <a:gd name="T43" fmla="*/ 24 h 44"/>
                <a:gd name="T44" fmla="*/ 18 w 24"/>
                <a:gd name="T45" fmla="*/ 21 h 44"/>
                <a:gd name="T46" fmla="*/ 15 w 24"/>
                <a:gd name="T47" fmla="*/ 18 h 44"/>
                <a:gd name="T48" fmla="*/ 11 w 24"/>
                <a:gd name="T49" fmla="*/ 17 h 44"/>
                <a:gd name="T50" fmla="*/ 8 w 24"/>
                <a:gd name="T51" fmla="*/ 17 h 44"/>
                <a:gd name="T52" fmla="*/ 6 w 24"/>
                <a:gd name="T53" fmla="*/ 18 h 44"/>
                <a:gd name="T54" fmla="*/ 5 w 24"/>
                <a:gd name="T55" fmla="*/ 19 h 44"/>
                <a:gd name="T56" fmla="*/ 3 w 24"/>
                <a:gd name="T57" fmla="*/ 20 h 44"/>
                <a:gd name="T58" fmla="*/ 3 w 24"/>
                <a:gd name="T5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4">
                  <a:moveTo>
                    <a:pt x="3" y="16"/>
                  </a:moveTo>
                  <a:cubicBezTo>
                    <a:pt x="4" y="16"/>
                    <a:pt x="5" y="15"/>
                    <a:pt x="6" y="15"/>
                  </a:cubicBezTo>
                  <a:cubicBezTo>
                    <a:pt x="8" y="14"/>
                    <a:pt x="9" y="14"/>
                    <a:pt x="11" y="14"/>
                  </a:cubicBezTo>
                  <a:cubicBezTo>
                    <a:pt x="13" y="14"/>
                    <a:pt x="15" y="14"/>
                    <a:pt x="17" y="15"/>
                  </a:cubicBezTo>
                  <a:cubicBezTo>
                    <a:pt x="18" y="16"/>
                    <a:pt x="20" y="17"/>
                    <a:pt x="21" y="18"/>
                  </a:cubicBezTo>
                  <a:cubicBezTo>
                    <a:pt x="22" y="19"/>
                    <a:pt x="23" y="21"/>
                    <a:pt x="24" y="23"/>
                  </a:cubicBezTo>
                  <a:cubicBezTo>
                    <a:pt x="24" y="25"/>
                    <a:pt x="24" y="27"/>
                    <a:pt x="24" y="29"/>
                  </a:cubicBezTo>
                  <a:cubicBezTo>
                    <a:pt x="24" y="31"/>
                    <a:pt x="24" y="33"/>
                    <a:pt x="23" y="35"/>
                  </a:cubicBezTo>
                  <a:cubicBezTo>
                    <a:pt x="23" y="37"/>
                    <a:pt x="22" y="39"/>
                    <a:pt x="20" y="40"/>
                  </a:cubicBezTo>
                  <a:cubicBezTo>
                    <a:pt x="19" y="41"/>
                    <a:pt x="18" y="42"/>
                    <a:pt x="16" y="43"/>
                  </a:cubicBezTo>
                  <a:cubicBezTo>
                    <a:pt x="14" y="44"/>
                    <a:pt x="12" y="44"/>
                    <a:pt x="10" y="44"/>
                  </a:cubicBezTo>
                  <a:cubicBezTo>
                    <a:pt x="8" y="44"/>
                    <a:pt x="5" y="44"/>
                    <a:pt x="4" y="44"/>
                  </a:cubicBezTo>
                  <a:cubicBezTo>
                    <a:pt x="2" y="43"/>
                    <a:pt x="1" y="43"/>
                    <a:pt x="0" y="43"/>
                  </a:cubicBezTo>
                  <a:cubicBezTo>
                    <a:pt x="0" y="1"/>
                    <a:pt x="0" y="1"/>
                    <a:pt x="0" y="1"/>
                  </a:cubicBezTo>
                  <a:cubicBezTo>
                    <a:pt x="3" y="0"/>
                    <a:pt x="3" y="0"/>
                    <a:pt x="3" y="0"/>
                  </a:cubicBezTo>
                  <a:lnTo>
                    <a:pt x="3" y="16"/>
                  </a:lnTo>
                  <a:close/>
                  <a:moveTo>
                    <a:pt x="3" y="40"/>
                  </a:moveTo>
                  <a:cubicBezTo>
                    <a:pt x="4" y="40"/>
                    <a:pt x="5" y="40"/>
                    <a:pt x="6" y="41"/>
                  </a:cubicBezTo>
                  <a:cubicBezTo>
                    <a:pt x="7" y="41"/>
                    <a:pt x="8" y="41"/>
                    <a:pt x="10" y="41"/>
                  </a:cubicBezTo>
                  <a:cubicBezTo>
                    <a:pt x="13" y="41"/>
                    <a:pt x="16" y="40"/>
                    <a:pt x="18" y="38"/>
                  </a:cubicBezTo>
                  <a:cubicBezTo>
                    <a:pt x="20" y="36"/>
                    <a:pt x="21" y="33"/>
                    <a:pt x="21" y="29"/>
                  </a:cubicBezTo>
                  <a:cubicBezTo>
                    <a:pt x="21" y="27"/>
                    <a:pt x="20" y="26"/>
                    <a:pt x="20" y="24"/>
                  </a:cubicBezTo>
                  <a:cubicBezTo>
                    <a:pt x="20" y="23"/>
                    <a:pt x="19" y="22"/>
                    <a:pt x="18" y="21"/>
                  </a:cubicBezTo>
                  <a:cubicBezTo>
                    <a:pt x="18" y="20"/>
                    <a:pt x="17" y="19"/>
                    <a:pt x="15" y="18"/>
                  </a:cubicBezTo>
                  <a:cubicBezTo>
                    <a:pt x="14" y="17"/>
                    <a:pt x="13" y="17"/>
                    <a:pt x="11" y="17"/>
                  </a:cubicBezTo>
                  <a:cubicBezTo>
                    <a:pt x="10" y="17"/>
                    <a:pt x="9" y="17"/>
                    <a:pt x="8" y="17"/>
                  </a:cubicBezTo>
                  <a:cubicBezTo>
                    <a:pt x="8" y="18"/>
                    <a:pt x="7" y="18"/>
                    <a:pt x="6" y="18"/>
                  </a:cubicBezTo>
                  <a:cubicBezTo>
                    <a:pt x="6" y="18"/>
                    <a:pt x="5" y="19"/>
                    <a:pt x="5" y="19"/>
                  </a:cubicBezTo>
                  <a:cubicBezTo>
                    <a:pt x="4" y="19"/>
                    <a:pt x="4" y="19"/>
                    <a:pt x="3" y="20"/>
                  </a:cubicBezTo>
                  <a:lnTo>
                    <a:pt x="3"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67"/>
            <p:cNvSpPr>
              <a:spLocks noEditPoints="1"/>
            </p:cNvSpPr>
            <p:nvPr/>
          </p:nvSpPr>
          <p:spPr bwMode="auto">
            <a:xfrm>
              <a:off x="3205164" y="3429034"/>
              <a:ext cx="42863" cy="53976"/>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3" y="16"/>
                    <a:pt x="3" y="16"/>
                    <a:pt x="3" y="16"/>
                  </a:cubicBezTo>
                  <a:cubicBezTo>
                    <a:pt x="4" y="19"/>
                    <a:pt x="4" y="22"/>
                    <a:pt x="6" y="24"/>
                  </a:cubicBezTo>
                  <a:cubicBezTo>
                    <a:pt x="8" y="26"/>
                    <a:pt x="10" y="27"/>
                    <a:pt x="14" y="27"/>
                  </a:cubicBezTo>
                  <a:cubicBezTo>
                    <a:pt x="16" y="27"/>
                    <a:pt x="17" y="27"/>
                    <a:pt x="19" y="26"/>
                  </a:cubicBezTo>
                  <a:cubicBezTo>
                    <a:pt x="20" y="26"/>
                    <a:pt x="21" y="25"/>
                    <a:pt x="21" y="25"/>
                  </a:cubicBezTo>
                  <a:cubicBezTo>
                    <a:pt x="22" y="28"/>
                    <a:pt x="22" y="28"/>
                    <a:pt x="22" y="28"/>
                  </a:cubicBezTo>
                  <a:cubicBezTo>
                    <a:pt x="21" y="29"/>
                    <a:pt x="20" y="29"/>
                    <a:pt x="19" y="29"/>
                  </a:cubicBezTo>
                  <a:cubicBezTo>
                    <a:pt x="17" y="30"/>
                    <a:pt x="16" y="30"/>
                    <a:pt x="14" y="30"/>
                  </a:cubicBezTo>
                  <a:cubicBezTo>
                    <a:pt x="11" y="30"/>
                    <a:pt x="9" y="30"/>
                    <a:pt x="7" y="29"/>
                  </a:cubicBezTo>
                  <a:cubicBezTo>
                    <a:pt x="5"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4" name="Group 553"/>
          <p:cNvGrpSpPr/>
          <p:nvPr/>
        </p:nvGrpSpPr>
        <p:grpSpPr>
          <a:xfrm>
            <a:off x="5462190" y="3125510"/>
            <a:ext cx="295276" cy="79376"/>
            <a:chOff x="5199064" y="3403634"/>
            <a:chExt cx="295276" cy="79376"/>
          </a:xfrm>
        </p:grpSpPr>
        <p:sp>
          <p:nvSpPr>
            <p:cNvPr id="409" name="Freeform 68"/>
            <p:cNvSpPr>
              <a:spLocks/>
            </p:cNvSpPr>
            <p:nvPr/>
          </p:nvSpPr>
          <p:spPr bwMode="auto">
            <a:xfrm>
              <a:off x="5199064" y="3409984"/>
              <a:ext cx="46038" cy="73026"/>
            </a:xfrm>
            <a:custGeom>
              <a:avLst/>
              <a:gdLst>
                <a:gd name="T0" fmla="*/ 12 w 25"/>
                <a:gd name="T1" fmla="*/ 37 h 40"/>
                <a:gd name="T2" fmla="*/ 19 w 25"/>
                <a:gd name="T3" fmla="*/ 35 h 40"/>
                <a:gd name="T4" fmla="*/ 21 w 25"/>
                <a:gd name="T5" fmla="*/ 30 h 40"/>
                <a:gd name="T6" fmla="*/ 21 w 25"/>
                <a:gd name="T7" fmla="*/ 26 h 40"/>
                <a:gd name="T8" fmla="*/ 18 w 25"/>
                <a:gd name="T9" fmla="*/ 24 h 40"/>
                <a:gd name="T10" fmla="*/ 15 w 25"/>
                <a:gd name="T11" fmla="*/ 22 h 40"/>
                <a:gd name="T12" fmla="*/ 12 w 25"/>
                <a:gd name="T13" fmla="*/ 21 h 40"/>
                <a:gd name="T14" fmla="*/ 7 w 25"/>
                <a:gd name="T15" fmla="*/ 19 h 40"/>
                <a:gd name="T16" fmla="*/ 4 w 25"/>
                <a:gd name="T17" fmla="*/ 17 h 40"/>
                <a:gd name="T18" fmla="*/ 2 w 25"/>
                <a:gd name="T19" fmla="*/ 14 h 40"/>
                <a:gd name="T20" fmla="*/ 1 w 25"/>
                <a:gd name="T21" fmla="*/ 10 h 40"/>
                <a:gd name="T22" fmla="*/ 5 w 25"/>
                <a:gd name="T23" fmla="*/ 2 h 40"/>
                <a:gd name="T24" fmla="*/ 14 w 25"/>
                <a:gd name="T25" fmla="*/ 0 h 40"/>
                <a:gd name="T26" fmla="*/ 17 w 25"/>
                <a:gd name="T27" fmla="*/ 0 h 40"/>
                <a:gd name="T28" fmla="*/ 20 w 25"/>
                <a:gd name="T29" fmla="*/ 1 h 40"/>
                <a:gd name="T30" fmla="*/ 22 w 25"/>
                <a:gd name="T31" fmla="*/ 1 h 40"/>
                <a:gd name="T32" fmla="*/ 24 w 25"/>
                <a:gd name="T33" fmla="*/ 2 h 40"/>
                <a:gd name="T34" fmla="*/ 23 w 25"/>
                <a:gd name="T35" fmla="*/ 6 h 40"/>
                <a:gd name="T36" fmla="*/ 19 w 25"/>
                <a:gd name="T37" fmla="*/ 4 h 40"/>
                <a:gd name="T38" fmla="*/ 14 w 25"/>
                <a:gd name="T39" fmla="*/ 3 h 40"/>
                <a:gd name="T40" fmla="*/ 10 w 25"/>
                <a:gd name="T41" fmla="*/ 3 h 40"/>
                <a:gd name="T42" fmla="*/ 8 w 25"/>
                <a:gd name="T43" fmla="*/ 5 h 40"/>
                <a:gd name="T44" fmla="*/ 6 w 25"/>
                <a:gd name="T45" fmla="*/ 7 h 40"/>
                <a:gd name="T46" fmla="*/ 5 w 25"/>
                <a:gd name="T47" fmla="*/ 10 h 40"/>
                <a:gd name="T48" fmla="*/ 6 w 25"/>
                <a:gd name="T49" fmla="*/ 13 h 40"/>
                <a:gd name="T50" fmla="*/ 8 w 25"/>
                <a:gd name="T51" fmla="*/ 15 h 40"/>
                <a:gd name="T52" fmla="*/ 11 w 25"/>
                <a:gd name="T53" fmla="*/ 16 h 40"/>
                <a:gd name="T54" fmla="*/ 14 w 25"/>
                <a:gd name="T55" fmla="*/ 18 h 40"/>
                <a:gd name="T56" fmla="*/ 18 w 25"/>
                <a:gd name="T57" fmla="*/ 20 h 40"/>
                <a:gd name="T58" fmla="*/ 22 w 25"/>
                <a:gd name="T59" fmla="*/ 22 h 40"/>
                <a:gd name="T60" fmla="*/ 24 w 25"/>
                <a:gd name="T61" fmla="*/ 25 h 40"/>
                <a:gd name="T62" fmla="*/ 25 w 25"/>
                <a:gd name="T63" fmla="*/ 30 h 40"/>
                <a:gd name="T64" fmla="*/ 22 w 25"/>
                <a:gd name="T65" fmla="*/ 38 h 40"/>
                <a:gd name="T66" fmla="*/ 12 w 25"/>
                <a:gd name="T67" fmla="*/ 40 h 40"/>
                <a:gd name="T68" fmla="*/ 8 w 25"/>
                <a:gd name="T69" fmla="*/ 40 h 40"/>
                <a:gd name="T70" fmla="*/ 4 w 25"/>
                <a:gd name="T71" fmla="*/ 39 h 40"/>
                <a:gd name="T72" fmla="*/ 2 w 25"/>
                <a:gd name="T73" fmla="*/ 38 h 40"/>
                <a:gd name="T74" fmla="*/ 0 w 25"/>
                <a:gd name="T75" fmla="*/ 38 h 40"/>
                <a:gd name="T76" fmla="*/ 2 w 25"/>
                <a:gd name="T77" fmla="*/ 34 h 40"/>
                <a:gd name="T78" fmla="*/ 3 w 25"/>
                <a:gd name="T79" fmla="*/ 35 h 40"/>
                <a:gd name="T80" fmla="*/ 5 w 25"/>
                <a:gd name="T81" fmla="*/ 36 h 40"/>
                <a:gd name="T82" fmla="*/ 8 w 25"/>
                <a:gd name="T83" fmla="*/ 37 h 40"/>
                <a:gd name="T84" fmla="*/ 12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2" y="37"/>
                  </a:moveTo>
                  <a:cubicBezTo>
                    <a:pt x="15" y="37"/>
                    <a:pt x="17" y="36"/>
                    <a:pt x="19" y="35"/>
                  </a:cubicBezTo>
                  <a:cubicBezTo>
                    <a:pt x="20" y="34"/>
                    <a:pt x="21" y="32"/>
                    <a:pt x="21" y="30"/>
                  </a:cubicBezTo>
                  <a:cubicBezTo>
                    <a:pt x="21" y="29"/>
                    <a:pt x="21" y="27"/>
                    <a:pt x="21" y="26"/>
                  </a:cubicBezTo>
                  <a:cubicBezTo>
                    <a:pt x="20" y="25"/>
                    <a:pt x="19" y="25"/>
                    <a:pt x="18" y="24"/>
                  </a:cubicBezTo>
                  <a:cubicBezTo>
                    <a:pt x="17" y="23"/>
                    <a:pt x="16" y="23"/>
                    <a:pt x="15" y="22"/>
                  </a:cubicBezTo>
                  <a:cubicBezTo>
                    <a:pt x="14" y="22"/>
                    <a:pt x="13" y="21"/>
                    <a:pt x="12" y="21"/>
                  </a:cubicBezTo>
                  <a:cubicBezTo>
                    <a:pt x="10" y="20"/>
                    <a:pt x="9" y="20"/>
                    <a:pt x="7" y="19"/>
                  </a:cubicBezTo>
                  <a:cubicBezTo>
                    <a:pt x="6" y="18"/>
                    <a:pt x="5" y="17"/>
                    <a:pt x="4" y="17"/>
                  </a:cubicBezTo>
                  <a:cubicBezTo>
                    <a:pt x="3" y="16"/>
                    <a:pt x="3" y="15"/>
                    <a:pt x="2" y="14"/>
                  </a:cubicBezTo>
                  <a:cubicBezTo>
                    <a:pt x="2" y="13"/>
                    <a:pt x="1" y="11"/>
                    <a:pt x="1" y="10"/>
                  </a:cubicBezTo>
                  <a:cubicBezTo>
                    <a:pt x="1" y="7"/>
                    <a:pt x="2" y="4"/>
                    <a:pt x="5" y="2"/>
                  </a:cubicBezTo>
                  <a:cubicBezTo>
                    <a:pt x="7" y="1"/>
                    <a:pt x="10" y="0"/>
                    <a:pt x="14" y="0"/>
                  </a:cubicBezTo>
                  <a:cubicBezTo>
                    <a:pt x="15" y="0"/>
                    <a:pt x="16" y="0"/>
                    <a:pt x="17" y="0"/>
                  </a:cubicBezTo>
                  <a:cubicBezTo>
                    <a:pt x="18" y="0"/>
                    <a:pt x="19" y="0"/>
                    <a:pt x="20" y="1"/>
                  </a:cubicBezTo>
                  <a:cubicBezTo>
                    <a:pt x="21" y="1"/>
                    <a:pt x="21" y="1"/>
                    <a:pt x="22" y="1"/>
                  </a:cubicBezTo>
                  <a:cubicBezTo>
                    <a:pt x="23" y="2"/>
                    <a:pt x="23" y="2"/>
                    <a:pt x="24" y="2"/>
                  </a:cubicBezTo>
                  <a:cubicBezTo>
                    <a:pt x="23" y="6"/>
                    <a:pt x="23" y="6"/>
                    <a:pt x="23" y="6"/>
                  </a:cubicBezTo>
                  <a:cubicBezTo>
                    <a:pt x="22" y="5"/>
                    <a:pt x="20" y="4"/>
                    <a:pt x="19" y="4"/>
                  </a:cubicBezTo>
                  <a:cubicBezTo>
                    <a:pt x="17" y="3"/>
                    <a:pt x="15" y="3"/>
                    <a:pt x="14" y="3"/>
                  </a:cubicBezTo>
                  <a:cubicBezTo>
                    <a:pt x="12" y="3"/>
                    <a:pt x="11" y="3"/>
                    <a:pt x="10" y="3"/>
                  </a:cubicBezTo>
                  <a:cubicBezTo>
                    <a:pt x="9" y="4"/>
                    <a:pt x="8" y="4"/>
                    <a:pt x="8" y="5"/>
                  </a:cubicBezTo>
                  <a:cubicBezTo>
                    <a:pt x="7" y="5"/>
                    <a:pt x="6" y="6"/>
                    <a:pt x="6" y="7"/>
                  </a:cubicBezTo>
                  <a:cubicBezTo>
                    <a:pt x="5" y="7"/>
                    <a:pt x="5" y="8"/>
                    <a:pt x="5" y="10"/>
                  </a:cubicBezTo>
                  <a:cubicBezTo>
                    <a:pt x="5" y="11"/>
                    <a:pt x="5" y="12"/>
                    <a:pt x="6" y="13"/>
                  </a:cubicBezTo>
                  <a:cubicBezTo>
                    <a:pt x="6" y="13"/>
                    <a:pt x="7" y="14"/>
                    <a:pt x="8" y="15"/>
                  </a:cubicBezTo>
                  <a:cubicBezTo>
                    <a:pt x="9" y="15"/>
                    <a:pt x="10" y="16"/>
                    <a:pt x="11" y="16"/>
                  </a:cubicBezTo>
                  <a:cubicBezTo>
                    <a:pt x="12" y="17"/>
                    <a:pt x="13" y="17"/>
                    <a:pt x="14" y="18"/>
                  </a:cubicBezTo>
                  <a:cubicBezTo>
                    <a:pt x="16" y="19"/>
                    <a:pt x="17" y="19"/>
                    <a:pt x="18" y="20"/>
                  </a:cubicBezTo>
                  <a:cubicBezTo>
                    <a:pt x="20" y="20"/>
                    <a:pt x="21" y="21"/>
                    <a:pt x="22" y="22"/>
                  </a:cubicBezTo>
                  <a:cubicBezTo>
                    <a:pt x="23" y="23"/>
                    <a:pt x="24" y="24"/>
                    <a:pt x="24" y="25"/>
                  </a:cubicBezTo>
                  <a:cubicBezTo>
                    <a:pt x="25" y="26"/>
                    <a:pt x="25" y="28"/>
                    <a:pt x="25" y="30"/>
                  </a:cubicBezTo>
                  <a:cubicBezTo>
                    <a:pt x="25" y="33"/>
                    <a:pt x="24" y="36"/>
                    <a:pt x="22" y="38"/>
                  </a:cubicBezTo>
                  <a:cubicBezTo>
                    <a:pt x="19" y="39"/>
                    <a:pt x="16" y="40"/>
                    <a:pt x="12" y="40"/>
                  </a:cubicBezTo>
                  <a:cubicBezTo>
                    <a:pt x="10" y="40"/>
                    <a:pt x="9" y="40"/>
                    <a:pt x="8" y="40"/>
                  </a:cubicBezTo>
                  <a:cubicBezTo>
                    <a:pt x="6" y="40"/>
                    <a:pt x="5" y="40"/>
                    <a:pt x="4" y="39"/>
                  </a:cubicBezTo>
                  <a:cubicBezTo>
                    <a:pt x="3" y="39"/>
                    <a:pt x="3" y="39"/>
                    <a:pt x="2" y="38"/>
                  </a:cubicBezTo>
                  <a:cubicBezTo>
                    <a:pt x="1" y="38"/>
                    <a:pt x="1" y="38"/>
                    <a:pt x="0" y="38"/>
                  </a:cubicBezTo>
                  <a:cubicBezTo>
                    <a:pt x="2" y="34"/>
                    <a:pt x="2" y="34"/>
                    <a:pt x="2" y="34"/>
                  </a:cubicBezTo>
                  <a:cubicBezTo>
                    <a:pt x="2" y="35"/>
                    <a:pt x="2" y="35"/>
                    <a:pt x="3" y="35"/>
                  </a:cubicBezTo>
                  <a:cubicBezTo>
                    <a:pt x="4" y="35"/>
                    <a:pt x="4" y="36"/>
                    <a:pt x="5" y="36"/>
                  </a:cubicBezTo>
                  <a:cubicBezTo>
                    <a:pt x="6" y="36"/>
                    <a:pt x="7" y="36"/>
                    <a:pt x="8" y="37"/>
                  </a:cubicBezTo>
                  <a:cubicBezTo>
                    <a:pt x="9" y="37"/>
                    <a:pt x="10" y="37"/>
                    <a:pt x="12"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69"/>
            <p:cNvSpPr>
              <a:spLocks noEditPoints="1"/>
            </p:cNvSpPr>
            <p:nvPr/>
          </p:nvSpPr>
          <p:spPr bwMode="auto">
            <a:xfrm>
              <a:off x="5254627" y="3429034"/>
              <a:ext cx="44450" cy="53976"/>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6"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5"/>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70"/>
            <p:cNvSpPr>
              <a:spLocks noEditPoints="1"/>
            </p:cNvSpPr>
            <p:nvPr/>
          </p:nvSpPr>
          <p:spPr bwMode="auto">
            <a:xfrm>
              <a:off x="5310189" y="3429034"/>
              <a:ext cx="39688" cy="53976"/>
            </a:xfrm>
            <a:custGeom>
              <a:avLst/>
              <a:gdLst>
                <a:gd name="T0" fmla="*/ 11 w 21"/>
                <a:gd name="T1" fmla="*/ 0 h 30"/>
                <a:gd name="T2" fmla="*/ 15 w 21"/>
                <a:gd name="T3" fmla="*/ 1 h 30"/>
                <a:gd name="T4" fmla="*/ 19 w 21"/>
                <a:gd name="T5" fmla="*/ 3 h 30"/>
                <a:gd name="T6" fmla="*/ 20 w 21"/>
                <a:gd name="T7" fmla="*/ 6 h 30"/>
                <a:gd name="T8" fmla="*/ 21 w 21"/>
                <a:gd name="T9" fmla="*/ 10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4 w 21"/>
                <a:gd name="T37" fmla="*/ 12 h 30"/>
                <a:gd name="T38" fmla="*/ 15 w 21"/>
                <a:gd name="T39" fmla="*/ 12 h 30"/>
                <a:gd name="T40" fmla="*/ 17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3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6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5" y="1"/>
                  </a:cubicBezTo>
                  <a:cubicBezTo>
                    <a:pt x="17" y="1"/>
                    <a:pt x="18" y="2"/>
                    <a:pt x="19" y="3"/>
                  </a:cubicBezTo>
                  <a:cubicBezTo>
                    <a:pt x="20" y="4"/>
                    <a:pt x="20" y="5"/>
                    <a:pt x="20" y="6"/>
                  </a:cubicBezTo>
                  <a:cubicBezTo>
                    <a:pt x="21" y="8"/>
                    <a:pt x="21" y="9"/>
                    <a:pt x="21" y="10"/>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2" y="30"/>
                    <a:pt x="10" y="30"/>
                  </a:cubicBezTo>
                  <a:cubicBezTo>
                    <a:pt x="9" y="30"/>
                    <a:pt x="7" y="30"/>
                    <a:pt x="6" y="30"/>
                  </a:cubicBezTo>
                  <a:cubicBezTo>
                    <a:pt x="5" y="29"/>
                    <a:pt x="4" y="29"/>
                    <a:pt x="3" y="28"/>
                  </a:cubicBezTo>
                  <a:cubicBezTo>
                    <a:pt x="2" y="27"/>
                    <a:pt x="1" y="26"/>
                    <a:pt x="1" y="25"/>
                  </a:cubicBezTo>
                  <a:cubicBezTo>
                    <a:pt x="0" y="24"/>
                    <a:pt x="0" y="23"/>
                    <a:pt x="0" y="21"/>
                  </a:cubicBezTo>
                  <a:cubicBezTo>
                    <a:pt x="0" y="19"/>
                    <a:pt x="0" y="18"/>
                    <a:pt x="1" y="17"/>
                  </a:cubicBezTo>
                  <a:cubicBezTo>
                    <a:pt x="1" y="16"/>
                    <a:pt x="2" y="15"/>
                    <a:pt x="3" y="14"/>
                  </a:cubicBezTo>
                  <a:cubicBezTo>
                    <a:pt x="4" y="13"/>
                    <a:pt x="5" y="13"/>
                    <a:pt x="7" y="13"/>
                  </a:cubicBezTo>
                  <a:cubicBezTo>
                    <a:pt x="8" y="12"/>
                    <a:pt x="10" y="12"/>
                    <a:pt x="12" y="12"/>
                  </a:cubicBezTo>
                  <a:cubicBezTo>
                    <a:pt x="12" y="12"/>
                    <a:pt x="13" y="12"/>
                    <a:pt x="14" y="12"/>
                  </a:cubicBezTo>
                  <a:cubicBezTo>
                    <a:pt x="14" y="12"/>
                    <a:pt x="15" y="12"/>
                    <a:pt x="15" y="12"/>
                  </a:cubicBezTo>
                  <a:cubicBezTo>
                    <a:pt x="16" y="12"/>
                    <a:pt x="16" y="13"/>
                    <a:pt x="17"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3"/>
                  </a:cubicBezTo>
                  <a:cubicBezTo>
                    <a:pt x="5" y="4"/>
                    <a:pt x="4" y="4"/>
                    <a:pt x="3" y="4"/>
                  </a:cubicBezTo>
                  <a:cubicBezTo>
                    <a:pt x="3" y="1"/>
                    <a:pt x="3" y="1"/>
                    <a:pt x="3" y="1"/>
                  </a:cubicBezTo>
                  <a:cubicBezTo>
                    <a:pt x="4" y="1"/>
                    <a:pt x="5" y="0"/>
                    <a:pt x="6" y="0"/>
                  </a:cubicBezTo>
                  <a:cubicBezTo>
                    <a:pt x="7" y="0"/>
                    <a:pt x="9" y="0"/>
                    <a:pt x="11" y="0"/>
                  </a:cubicBezTo>
                  <a:close/>
                  <a:moveTo>
                    <a:pt x="11" y="27"/>
                  </a:moveTo>
                  <a:cubicBezTo>
                    <a:pt x="12" y="27"/>
                    <a:pt x="14" y="27"/>
                    <a:pt x="15" y="27"/>
                  </a:cubicBezTo>
                  <a:cubicBezTo>
                    <a:pt x="16" y="27"/>
                    <a:pt x="17" y="26"/>
                    <a:pt x="17" y="26"/>
                  </a:cubicBezTo>
                  <a:cubicBezTo>
                    <a:pt x="17" y="16"/>
                    <a:pt x="17" y="16"/>
                    <a:pt x="17" y="16"/>
                  </a:cubicBezTo>
                  <a:cubicBezTo>
                    <a:pt x="17" y="16"/>
                    <a:pt x="16" y="16"/>
                    <a:pt x="15" y="16"/>
                  </a:cubicBezTo>
                  <a:cubicBezTo>
                    <a:pt x="15"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71"/>
            <p:cNvSpPr>
              <a:spLocks/>
            </p:cNvSpPr>
            <p:nvPr/>
          </p:nvSpPr>
          <p:spPr bwMode="auto">
            <a:xfrm>
              <a:off x="536575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72"/>
            <p:cNvSpPr>
              <a:spLocks/>
            </p:cNvSpPr>
            <p:nvPr/>
          </p:nvSpPr>
          <p:spPr bwMode="auto">
            <a:xfrm>
              <a:off x="5402265" y="3429034"/>
              <a:ext cx="38100" cy="53976"/>
            </a:xfrm>
            <a:custGeom>
              <a:avLst/>
              <a:gdLst>
                <a:gd name="T0" fmla="*/ 13 w 21"/>
                <a:gd name="T1" fmla="*/ 30 h 30"/>
                <a:gd name="T2" fmla="*/ 7 w 21"/>
                <a:gd name="T3" fmla="*/ 29 h 30"/>
                <a:gd name="T4" fmla="*/ 3 w 21"/>
                <a:gd name="T5" fmla="*/ 26 h 30"/>
                <a:gd name="T6" fmla="*/ 0 w 21"/>
                <a:gd name="T7" fmla="*/ 21 h 30"/>
                <a:gd name="T8" fmla="*/ 0 w 21"/>
                <a:gd name="T9" fmla="*/ 15 h 30"/>
                <a:gd name="T10" fmla="*/ 0 w 21"/>
                <a:gd name="T11" fmla="*/ 9 h 30"/>
                <a:gd name="T12" fmla="*/ 3 w 21"/>
                <a:gd name="T13" fmla="*/ 4 h 30"/>
                <a:gd name="T14" fmla="*/ 7 w 21"/>
                <a:gd name="T15" fmla="*/ 1 h 30"/>
                <a:gd name="T16" fmla="*/ 13 w 21"/>
                <a:gd name="T17" fmla="*/ 0 h 30"/>
                <a:gd name="T18" fmla="*/ 17 w 21"/>
                <a:gd name="T19" fmla="*/ 0 h 30"/>
                <a:gd name="T20" fmla="*/ 20 w 21"/>
                <a:gd name="T21" fmla="*/ 1 h 30"/>
                <a:gd name="T22" fmla="*/ 19 w 21"/>
                <a:gd name="T23" fmla="*/ 4 h 30"/>
                <a:gd name="T24" fmla="*/ 17 w 21"/>
                <a:gd name="T25" fmla="*/ 3 h 30"/>
                <a:gd name="T26" fmla="*/ 13 w 21"/>
                <a:gd name="T27" fmla="*/ 3 h 30"/>
                <a:gd name="T28" fmla="*/ 6 w 21"/>
                <a:gd name="T29" fmla="*/ 6 h 30"/>
                <a:gd name="T30" fmla="*/ 3 w 21"/>
                <a:gd name="T31" fmla="*/ 15 h 30"/>
                <a:gd name="T32" fmla="*/ 4 w 21"/>
                <a:gd name="T33" fmla="*/ 20 h 30"/>
                <a:gd name="T34" fmla="*/ 6 w 21"/>
                <a:gd name="T35" fmla="*/ 23 h 30"/>
                <a:gd name="T36" fmla="*/ 9 w 21"/>
                <a:gd name="T37" fmla="*/ 26 h 30"/>
                <a:gd name="T38" fmla="*/ 14 w 21"/>
                <a:gd name="T39" fmla="*/ 27 h 30"/>
                <a:gd name="T40" fmla="*/ 18 w 21"/>
                <a:gd name="T41" fmla="*/ 26 h 30"/>
                <a:gd name="T42" fmla="*/ 20 w 21"/>
                <a:gd name="T43" fmla="*/ 25 h 30"/>
                <a:gd name="T44" fmla="*/ 21 w 21"/>
                <a:gd name="T45" fmla="*/ 28 h 30"/>
                <a:gd name="T46" fmla="*/ 18 w 21"/>
                <a:gd name="T47" fmla="*/ 30 h 30"/>
                <a:gd name="T48" fmla="*/ 13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3" y="30"/>
                  </a:moveTo>
                  <a:cubicBezTo>
                    <a:pt x="11" y="30"/>
                    <a:pt x="9" y="30"/>
                    <a:pt x="7" y="29"/>
                  </a:cubicBezTo>
                  <a:cubicBezTo>
                    <a:pt x="6" y="28"/>
                    <a:pt x="4" y="27"/>
                    <a:pt x="3" y="26"/>
                  </a:cubicBezTo>
                  <a:cubicBezTo>
                    <a:pt x="2" y="25"/>
                    <a:pt x="1" y="23"/>
                    <a:pt x="0" y="21"/>
                  </a:cubicBezTo>
                  <a:cubicBezTo>
                    <a:pt x="0" y="19"/>
                    <a:pt x="0" y="17"/>
                    <a:pt x="0" y="15"/>
                  </a:cubicBezTo>
                  <a:cubicBezTo>
                    <a:pt x="0" y="13"/>
                    <a:pt x="0" y="11"/>
                    <a:pt x="0" y="9"/>
                  </a:cubicBezTo>
                  <a:cubicBezTo>
                    <a:pt x="1" y="7"/>
                    <a:pt x="2" y="5"/>
                    <a:pt x="3" y="4"/>
                  </a:cubicBezTo>
                  <a:cubicBezTo>
                    <a:pt x="4" y="3"/>
                    <a:pt x="6" y="2"/>
                    <a:pt x="7" y="1"/>
                  </a:cubicBezTo>
                  <a:cubicBezTo>
                    <a:pt x="9" y="0"/>
                    <a:pt x="11" y="0"/>
                    <a:pt x="13" y="0"/>
                  </a:cubicBezTo>
                  <a:cubicBezTo>
                    <a:pt x="14" y="0"/>
                    <a:pt x="16" y="0"/>
                    <a:pt x="17" y="0"/>
                  </a:cubicBezTo>
                  <a:cubicBezTo>
                    <a:pt x="19" y="0"/>
                    <a:pt x="20" y="1"/>
                    <a:pt x="20" y="1"/>
                  </a:cubicBezTo>
                  <a:cubicBezTo>
                    <a:pt x="19" y="4"/>
                    <a:pt x="19" y="4"/>
                    <a:pt x="19" y="4"/>
                  </a:cubicBezTo>
                  <a:cubicBezTo>
                    <a:pt x="19" y="4"/>
                    <a:pt x="18" y="4"/>
                    <a:pt x="17" y="3"/>
                  </a:cubicBezTo>
                  <a:cubicBezTo>
                    <a:pt x="16" y="3"/>
                    <a:pt x="15" y="3"/>
                    <a:pt x="13" y="3"/>
                  </a:cubicBezTo>
                  <a:cubicBezTo>
                    <a:pt x="10" y="3"/>
                    <a:pt x="8" y="4"/>
                    <a:pt x="6" y="6"/>
                  </a:cubicBezTo>
                  <a:cubicBezTo>
                    <a:pt x="4" y="8"/>
                    <a:pt x="3" y="11"/>
                    <a:pt x="3" y="15"/>
                  </a:cubicBezTo>
                  <a:cubicBezTo>
                    <a:pt x="3" y="17"/>
                    <a:pt x="4" y="18"/>
                    <a:pt x="4" y="20"/>
                  </a:cubicBezTo>
                  <a:cubicBezTo>
                    <a:pt x="4" y="21"/>
                    <a:pt x="5" y="22"/>
                    <a:pt x="6" y="23"/>
                  </a:cubicBezTo>
                  <a:cubicBezTo>
                    <a:pt x="7" y="24"/>
                    <a:pt x="8" y="25"/>
                    <a:pt x="9" y="26"/>
                  </a:cubicBezTo>
                  <a:cubicBezTo>
                    <a:pt x="10" y="26"/>
                    <a:pt x="12" y="27"/>
                    <a:pt x="14" y="27"/>
                  </a:cubicBezTo>
                  <a:cubicBezTo>
                    <a:pt x="15" y="27"/>
                    <a:pt x="17" y="27"/>
                    <a:pt x="18" y="26"/>
                  </a:cubicBezTo>
                  <a:cubicBezTo>
                    <a:pt x="19" y="26"/>
                    <a:pt x="20" y="26"/>
                    <a:pt x="20" y="25"/>
                  </a:cubicBezTo>
                  <a:cubicBezTo>
                    <a:pt x="21" y="28"/>
                    <a:pt x="21" y="28"/>
                    <a:pt x="21" y="28"/>
                  </a:cubicBezTo>
                  <a:cubicBezTo>
                    <a:pt x="20" y="29"/>
                    <a:pt x="19" y="29"/>
                    <a:pt x="18" y="30"/>
                  </a:cubicBezTo>
                  <a:cubicBezTo>
                    <a:pt x="16" y="30"/>
                    <a:pt x="15" y="30"/>
                    <a:pt x="13"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73"/>
            <p:cNvSpPr>
              <a:spLocks/>
            </p:cNvSpPr>
            <p:nvPr/>
          </p:nvSpPr>
          <p:spPr bwMode="auto">
            <a:xfrm>
              <a:off x="5451477" y="3403634"/>
              <a:ext cx="42863" cy="77788"/>
            </a:xfrm>
            <a:custGeom>
              <a:avLst/>
              <a:gdLst>
                <a:gd name="T0" fmla="*/ 0 w 23"/>
                <a:gd name="T1" fmla="*/ 43 h 43"/>
                <a:gd name="T2" fmla="*/ 0 w 23"/>
                <a:gd name="T3" fmla="*/ 1 h 43"/>
                <a:gd name="T4" fmla="*/ 4 w 23"/>
                <a:gd name="T5" fmla="*/ 0 h 43"/>
                <a:gd name="T6" fmla="*/ 4 w 23"/>
                <a:gd name="T7" fmla="*/ 15 h 43"/>
                <a:gd name="T8" fmla="*/ 7 w 23"/>
                <a:gd name="T9" fmla="*/ 14 h 43"/>
                <a:gd name="T10" fmla="*/ 11 w 23"/>
                <a:gd name="T11" fmla="*/ 14 h 43"/>
                <a:gd name="T12" fmla="*/ 17 w 23"/>
                <a:gd name="T13" fmla="*/ 15 h 43"/>
                <a:gd name="T14" fmla="*/ 20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9 w 23"/>
                <a:gd name="T27" fmla="*/ 23 h 43"/>
                <a:gd name="T28" fmla="*/ 17 w 23"/>
                <a:gd name="T29" fmla="*/ 20 h 43"/>
                <a:gd name="T30" fmla="*/ 15 w 23"/>
                <a:gd name="T31" fmla="*/ 18 h 43"/>
                <a:gd name="T32" fmla="*/ 10 w 23"/>
                <a:gd name="T33" fmla="*/ 17 h 43"/>
                <a:gd name="T34" fmla="*/ 8 w 23"/>
                <a:gd name="T35" fmla="*/ 17 h 43"/>
                <a:gd name="T36" fmla="*/ 6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7" y="14"/>
                  </a:cubicBezTo>
                  <a:cubicBezTo>
                    <a:pt x="9" y="14"/>
                    <a:pt x="10" y="14"/>
                    <a:pt x="11" y="14"/>
                  </a:cubicBezTo>
                  <a:cubicBezTo>
                    <a:pt x="13" y="14"/>
                    <a:pt x="15" y="14"/>
                    <a:pt x="17" y="15"/>
                  </a:cubicBezTo>
                  <a:cubicBezTo>
                    <a:pt x="18" y="15"/>
                    <a:pt x="19" y="16"/>
                    <a:pt x="20" y="18"/>
                  </a:cubicBezTo>
                  <a:cubicBezTo>
                    <a:pt x="21" y="19"/>
                    <a:pt x="22" y="20"/>
                    <a:pt x="22" y="22"/>
                  </a:cubicBezTo>
                  <a:cubicBezTo>
                    <a:pt x="22" y="23"/>
                    <a:pt x="23" y="25"/>
                    <a:pt x="23" y="27"/>
                  </a:cubicBezTo>
                  <a:cubicBezTo>
                    <a:pt x="23" y="43"/>
                    <a:pt x="23" y="43"/>
                    <a:pt x="23" y="43"/>
                  </a:cubicBezTo>
                  <a:cubicBezTo>
                    <a:pt x="19" y="43"/>
                    <a:pt x="19" y="43"/>
                    <a:pt x="19" y="43"/>
                  </a:cubicBezTo>
                  <a:cubicBezTo>
                    <a:pt x="19" y="28"/>
                    <a:pt x="19" y="28"/>
                    <a:pt x="19" y="28"/>
                  </a:cubicBezTo>
                  <a:cubicBezTo>
                    <a:pt x="19" y="26"/>
                    <a:pt x="19" y="25"/>
                    <a:pt x="19" y="23"/>
                  </a:cubicBezTo>
                  <a:cubicBezTo>
                    <a:pt x="18" y="22"/>
                    <a:pt x="18" y="21"/>
                    <a:pt x="17" y="20"/>
                  </a:cubicBezTo>
                  <a:cubicBezTo>
                    <a:pt x="16" y="19"/>
                    <a:pt x="16" y="18"/>
                    <a:pt x="15" y="18"/>
                  </a:cubicBezTo>
                  <a:cubicBezTo>
                    <a:pt x="13" y="17"/>
                    <a:pt x="12" y="17"/>
                    <a:pt x="10" y="17"/>
                  </a:cubicBezTo>
                  <a:cubicBezTo>
                    <a:pt x="10" y="17"/>
                    <a:pt x="9" y="17"/>
                    <a:pt x="8" y="17"/>
                  </a:cubicBezTo>
                  <a:cubicBezTo>
                    <a:pt x="8" y="17"/>
                    <a:pt x="7" y="18"/>
                    <a:pt x="6" y="18"/>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5" name="Group 554"/>
          <p:cNvGrpSpPr/>
          <p:nvPr/>
        </p:nvGrpSpPr>
        <p:grpSpPr>
          <a:xfrm>
            <a:off x="6514704" y="3125510"/>
            <a:ext cx="588963" cy="74614"/>
            <a:chOff x="6188077" y="3408396"/>
            <a:chExt cx="588963" cy="74614"/>
          </a:xfrm>
        </p:grpSpPr>
        <p:sp>
          <p:nvSpPr>
            <p:cNvPr id="415" name="Freeform 74"/>
            <p:cNvSpPr>
              <a:spLocks/>
            </p:cNvSpPr>
            <p:nvPr/>
          </p:nvSpPr>
          <p:spPr bwMode="auto">
            <a:xfrm>
              <a:off x="6188077" y="3409984"/>
              <a:ext cx="53975" cy="73026"/>
            </a:xfrm>
            <a:custGeom>
              <a:avLst/>
              <a:gdLst>
                <a:gd name="T0" fmla="*/ 18 w 29"/>
                <a:gd name="T1" fmla="*/ 40 h 40"/>
                <a:gd name="T2" fmla="*/ 11 w 29"/>
                <a:gd name="T3" fmla="*/ 39 h 40"/>
                <a:gd name="T4" fmla="*/ 5 w 29"/>
                <a:gd name="T5" fmla="*/ 35 h 40"/>
                <a:gd name="T6" fmla="*/ 1 w 29"/>
                <a:gd name="T7" fmla="*/ 29 h 40"/>
                <a:gd name="T8" fmla="*/ 0 w 29"/>
                <a:gd name="T9" fmla="*/ 20 h 40"/>
                <a:gd name="T10" fmla="*/ 1 w 29"/>
                <a:gd name="T11" fmla="*/ 11 h 40"/>
                <a:gd name="T12" fmla="*/ 5 w 29"/>
                <a:gd name="T13" fmla="*/ 5 h 40"/>
                <a:gd name="T14" fmla="*/ 11 w 29"/>
                <a:gd name="T15" fmla="*/ 1 h 40"/>
                <a:gd name="T16" fmla="*/ 18 w 29"/>
                <a:gd name="T17" fmla="*/ 0 h 40"/>
                <a:gd name="T18" fmla="*/ 22 w 29"/>
                <a:gd name="T19" fmla="*/ 0 h 40"/>
                <a:gd name="T20" fmla="*/ 25 w 29"/>
                <a:gd name="T21" fmla="*/ 1 h 40"/>
                <a:gd name="T22" fmla="*/ 27 w 29"/>
                <a:gd name="T23" fmla="*/ 2 h 40"/>
                <a:gd name="T24" fmla="*/ 29 w 29"/>
                <a:gd name="T25" fmla="*/ 2 h 40"/>
                <a:gd name="T26" fmla="*/ 27 w 29"/>
                <a:gd name="T27" fmla="*/ 6 h 40"/>
                <a:gd name="T28" fmla="*/ 24 w 29"/>
                <a:gd name="T29" fmla="*/ 4 h 40"/>
                <a:gd name="T30" fmla="*/ 19 w 29"/>
                <a:gd name="T31" fmla="*/ 3 h 40"/>
                <a:gd name="T32" fmla="*/ 12 w 29"/>
                <a:gd name="T33" fmla="*/ 4 h 40"/>
                <a:gd name="T34" fmla="*/ 8 w 29"/>
                <a:gd name="T35" fmla="*/ 8 h 40"/>
                <a:gd name="T36" fmla="*/ 5 w 29"/>
                <a:gd name="T37" fmla="*/ 13 h 40"/>
                <a:gd name="T38" fmla="*/ 4 w 29"/>
                <a:gd name="T39" fmla="*/ 20 h 40"/>
                <a:gd name="T40" fmla="*/ 5 w 29"/>
                <a:gd name="T41" fmla="*/ 27 h 40"/>
                <a:gd name="T42" fmla="*/ 8 w 29"/>
                <a:gd name="T43" fmla="*/ 32 h 40"/>
                <a:gd name="T44" fmla="*/ 12 w 29"/>
                <a:gd name="T45" fmla="*/ 36 h 40"/>
                <a:gd name="T46" fmla="*/ 18 w 29"/>
                <a:gd name="T47" fmla="*/ 37 h 40"/>
                <a:gd name="T48" fmla="*/ 24 w 29"/>
                <a:gd name="T49" fmla="*/ 36 h 40"/>
                <a:gd name="T50" fmla="*/ 28 w 29"/>
                <a:gd name="T51" fmla="*/ 35 h 40"/>
                <a:gd name="T52" fmla="*/ 29 w 29"/>
                <a:gd name="T53" fmla="*/ 38 h 40"/>
                <a:gd name="T54" fmla="*/ 28 w 29"/>
                <a:gd name="T55" fmla="*/ 39 h 40"/>
                <a:gd name="T56" fmla="*/ 25 w 29"/>
                <a:gd name="T57" fmla="*/ 39 h 40"/>
                <a:gd name="T58" fmla="*/ 22 w 29"/>
                <a:gd name="T59" fmla="*/ 40 h 40"/>
                <a:gd name="T60" fmla="*/ 18 w 29"/>
                <a:gd name="T6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0">
                  <a:moveTo>
                    <a:pt x="18" y="40"/>
                  </a:moveTo>
                  <a:cubicBezTo>
                    <a:pt x="15" y="40"/>
                    <a:pt x="13" y="40"/>
                    <a:pt x="11" y="39"/>
                  </a:cubicBezTo>
                  <a:cubicBezTo>
                    <a:pt x="8" y="38"/>
                    <a:pt x="7" y="37"/>
                    <a:pt x="5" y="35"/>
                  </a:cubicBezTo>
                  <a:cubicBezTo>
                    <a:pt x="3" y="33"/>
                    <a:pt x="2" y="31"/>
                    <a:pt x="1" y="29"/>
                  </a:cubicBezTo>
                  <a:cubicBezTo>
                    <a:pt x="0" y="26"/>
                    <a:pt x="0" y="23"/>
                    <a:pt x="0" y="20"/>
                  </a:cubicBezTo>
                  <a:cubicBezTo>
                    <a:pt x="0" y="17"/>
                    <a:pt x="0" y="14"/>
                    <a:pt x="1" y="11"/>
                  </a:cubicBezTo>
                  <a:cubicBezTo>
                    <a:pt x="2" y="9"/>
                    <a:pt x="4" y="7"/>
                    <a:pt x="5" y="5"/>
                  </a:cubicBezTo>
                  <a:cubicBezTo>
                    <a:pt x="7" y="3"/>
                    <a:pt x="9" y="2"/>
                    <a:pt x="11" y="1"/>
                  </a:cubicBezTo>
                  <a:cubicBezTo>
                    <a:pt x="13" y="0"/>
                    <a:pt x="15" y="0"/>
                    <a:pt x="18" y="0"/>
                  </a:cubicBezTo>
                  <a:cubicBezTo>
                    <a:pt x="19" y="0"/>
                    <a:pt x="21" y="0"/>
                    <a:pt x="22" y="0"/>
                  </a:cubicBezTo>
                  <a:cubicBezTo>
                    <a:pt x="23" y="0"/>
                    <a:pt x="24" y="0"/>
                    <a:pt x="25" y="1"/>
                  </a:cubicBezTo>
                  <a:cubicBezTo>
                    <a:pt x="26" y="1"/>
                    <a:pt x="27" y="1"/>
                    <a:pt x="27" y="2"/>
                  </a:cubicBezTo>
                  <a:cubicBezTo>
                    <a:pt x="28" y="2"/>
                    <a:pt x="28" y="2"/>
                    <a:pt x="29" y="2"/>
                  </a:cubicBezTo>
                  <a:cubicBezTo>
                    <a:pt x="27" y="6"/>
                    <a:pt x="27" y="6"/>
                    <a:pt x="27" y="6"/>
                  </a:cubicBezTo>
                  <a:cubicBezTo>
                    <a:pt x="27" y="5"/>
                    <a:pt x="25" y="5"/>
                    <a:pt x="24" y="4"/>
                  </a:cubicBezTo>
                  <a:cubicBezTo>
                    <a:pt x="22" y="3"/>
                    <a:pt x="21" y="3"/>
                    <a:pt x="19" y="3"/>
                  </a:cubicBezTo>
                  <a:cubicBezTo>
                    <a:pt x="16" y="3"/>
                    <a:pt x="14" y="4"/>
                    <a:pt x="12" y="4"/>
                  </a:cubicBezTo>
                  <a:cubicBezTo>
                    <a:pt x="10" y="5"/>
                    <a:pt x="9" y="6"/>
                    <a:pt x="8" y="8"/>
                  </a:cubicBezTo>
                  <a:cubicBezTo>
                    <a:pt x="6" y="9"/>
                    <a:pt x="5" y="11"/>
                    <a:pt x="5" y="13"/>
                  </a:cubicBezTo>
                  <a:cubicBezTo>
                    <a:pt x="4" y="15"/>
                    <a:pt x="4" y="18"/>
                    <a:pt x="4" y="20"/>
                  </a:cubicBezTo>
                  <a:cubicBezTo>
                    <a:pt x="4" y="23"/>
                    <a:pt x="4" y="25"/>
                    <a:pt x="5" y="27"/>
                  </a:cubicBezTo>
                  <a:cubicBezTo>
                    <a:pt x="5" y="29"/>
                    <a:pt x="6" y="31"/>
                    <a:pt x="8" y="32"/>
                  </a:cubicBezTo>
                  <a:cubicBezTo>
                    <a:pt x="9" y="34"/>
                    <a:pt x="10" y="35"/>
                    <a:pt x="12" y="36"/>
                  </a:cubicBezTo>
                  <a:cubicBezTo>
                    <a:pt x="14" y="36"/>
                    <a:pt x="16" y="37"/>
                    <a:pt x="18" y="37"/>
                  </a:cubicBezTo>
                  <a:cubicBezTo>
                    <a:pt x="20" y="37"/>
                    <a:pt x="22" y="37"/>
                    <a:pt x="24" y="36"/>
                  </a:cubicBezTo>
                  <a:cubicBezTo>
                    <a:pt x="26" y="36"/>
                    <a:pt x="27" y="35"/>
                    <a:pt x="28" y="35"/>
                  </a:cubicBezTo>
                  <a:cubicBezTo>
                    <a:pt x="29" y="38"/>
                    <a:pt x="29" y="38"/>
                    <a:pt x="29" y="38"/>
                  </a:cubicBezTo>
                  <a:cubicBezTo>
                    <a:pt x="29" y="38"/>
                    <a:pt x="28" y="38"/>
                    <a:pt x="28" y="39"/>
                  </a:cubicBezTo>
                  <a:cubicBezTo>
                    <a:pt x="27" y="39"/>
                    <a:pt x="26" y="39"/>
                    <a:pt x="25" y="39"/>
                  </a:cubicBezTo>
                  <a:cubicBezTo>
                    <a:pt x="24" y="40"/>
                    <a:pt x="23" y="40"/>
                    <a:pt x="22" y="40"/>
                  </a:cubicBezTo>
                  <a:cubicBezTo>
                    <a:pt x="21" y="40"/>
                    <a:pt x="19" y="40"/>
                    <a:pt x="18" y="4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75"/>
            <p:cNvSpPr>
              <a:spLocks noEditPoints="1"/>
            </p:cNvSpPr>
            <p:nvPr/>
          </p:nvSpPr>
          <p:spPr bwMode="auto">
            <a:xfrm>
              <a:off x="6251577" y="3429034"/>
              <a:ext cx="47625" cy="53976"/>
            </a:xfrm>
            <a:custGeom>
              <a:avLst/>
              <a:gdLst>
                <a:gd name="T0" fmla="*/ 26 w 26"/>
                <a:gd name="T1" fmla="*/ 15 h 30"/>
                <a:gd name="T2" fmla="*/ 25 w 26"/>
                <a:gd name="T3" fmla="*/ 21 h 30"/>
                <a:gd name="T4" fmla="*/ 22 w 26"/>
                <a:gd name="T5" fmla="*/ 26 h 30"/>
                <a:gd name="T6" fmla="*/ 18 w 26"/>
                <a:gd name="T7" fmla="*/ 29 h 30"/>
                <a:gd name="T8" fmla="*/ 13 w 26"/>
                <a:gd name="T9" fmla="*/ 30 h 30"/>
                <a:gd name="T10" fmla="*/ 8 w 26"/>
                <a:gd name="T11" fmla="*/ 29 h 30"/>
                <a:gd name="T12" fmla="*/ 3 w 26"/>
                <a:gd name="T13" fmla="*/ 26 h 30"/>
                <a:gd name="T14" fmla="*/ 1 w 26"/>
                <a:gd name="T15" fmla="*/ 21 h 30"/>
                <a:gd name="T16" fmla="*/ 0 w 26"/>
                <a:gd name="T17" fmla="*/ 15 h 30"/>
                <a:gd name="T18" fmla="*/ 1 w 26"/>
                <a:gd name="T19" fmla="*/ 9 h 30"/>
                <a:gd name="T20" fmla="*/ 3 w 26"/>
                <a:gd name="T21" fmla="*/ 4 h 30"/>
                <a:gd name="T22" fmla="*/ 8 w 26"/>
                <a:gd name="T23" fmla="*/ 1 h 30"/>
                <a:gd name="T24" fmla="*/ 13 w 26"/>
                <a:gd name="T25" fmla="*/ 0 h 30"/>
                <a:gd name="T26" fmla="*/ 18 w 26"/>
                <a:gd name="T27" fmla="*/ 1 h 30"/>
                <a:gd name="T28" fmla="*/ 22 w 26"/>
                <a:gd name="T29" fmla="*/ 4 h 30"/>
                <a:gd name="T30" fmla="*/ 25 w 26"/>
                <a:gd name="T31" fmla="*/ 9 h 30"/>
                <a:gd name="T32" fmla="*/ 26 w 26"/>
                <a:gd name="T33" fmla="*/ 15 h 30"/>
                <a:gd name="T34" fmla="*/ 22 w 26"/>
                <a:gd name="T35" fmla="*/ 15 h 30"/>
                <a:gd name="T36" fmla="*/ 20 w 26"/>
                <a:gd name="T37" fmla="*/ 6 h 30"/>
                <a:gd name="T38" fmla="*/ 13 w 26"/>
                <a:gd name="T39" fmla="*/ 3 h 30"/>
                <a:gd name="T40" fmla="*/ 6 w 26"/>
                <a:gd name="T41" fmla="*/ 6 h 30"/>
                <a:gd name="T42" fmla="*/ 3 w 26"/>
                <a:gd name="T43" fmla="*/ 15 h 30"/>
                <a:gd name="T44" fmla="*/ 6 w 26"/>
                <a:gd name="T45" fmla="*/ 24 h 30"/>
                <a:gd name="T46" fmla="*/ 13 w 26"/>
                <a:gd name="T47" fmla="*/ 27 h 30"/>
                <a:gd name="T48" fmla="*/ 20 w 26"/>
                <a:gd name="T49" fmla="*/ 24 h 30"/>
                <a:gd name="T50" fmla="*/ 22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4" y="23"/>
                    <a:pt x="24" y="25"/>
                    <a:pt x="22" y="26"/>
                  </a:cubicBezTo>
                  <a:cubicBezTo>
                    <a:pt x="21" y="27"/>
                    <a:pt x="20" y="28"/>
                    <a:pt x="18" y="29"/>
                  </a:cubicBezTo>
                  <a:cubicBezTo>
                    <a:pt x="17" y="30"/>
                    <a:pt x="15" y="30"/>
                    <a:pt x="13" y="30"/>
                  </a:cubicBezTo>
                  <a:cubicBezTo>
                    <a:pt x="11" y="30"/>
                    <a:pt x="9" y="30"/>
                    <a:pt x="8" y="29"/>
                  </a:cubicBezTo>
                  <a:cubicBezTo>
                    <a:pt x="6" y="28"/>
                    <a:pt x="5" y="27"/>
                    <a:pt x="3" y="26"/>
                  </a:cubicBezTo>
                  <a:cubicBezTo>
                    <a:pt x="2" y="25"/>
                    <a:pt x="1" y="23"/>
                    <a:pt x="1" y="21"/>
                  </a:cubicBezTo>
                  <a:cubicBezTo>
                    <a:pt x="0" y="19"/>
                    <a:pt x="0" y="17"/>
                    <a:pt x="0" y="15"/>
                  </a:cubicBezTo>
                  <a:cubicBezTo>
                    <a:pt x="0" y="13"/>
                    <a:pt x="0" y="11"/>
                    <a:pt x="1" y="9"/>
                  </a:cubicBezTo>
                  <a:cubicBezTo>
                    <a:pt x="1" y="7"/>
                    <a:pt x="2" y="5"/>
                    <a:pt x="3" y="4"/>
                  </a:cubicBezTo>
                  <a:cubicBezTo>
                    <a:pt x="5" y="3"/>
                    <a:pt x="6" y="2"/>
                    <a:pt x="8" y="1"/>
                  </a:cubicBezTo>
                  <a:cubicBezTo>
                    <a:pt x="9" y="0"/>
                    <a:pt x="11" y="0"/>
                    <a:pt x="13" y="0"/>
                  </a:cubicBezTo>
                  <a:cubicBezTo>
                    <a:pt x="15" y="0"/>
                    <a:pt x="17" y="0"/>
                    <a:pt x="18" y="1"/>
                  </a:cubicBezTo>
                  <a:cubicBezTo>
                    <a:pt x="20" y="2"/>
                    <a:pt x="21" y="3"/>
                    <a:pt x="22" y="4"/>
                  </a:cubicBezTo>
                  <a:cubicBezTo>
                    <a:pt x="24" y="5"/>
                    <a:pt x="24" y="7"/>
                    <a:pt x="25" y="9"/>
                  </a:cubicBezTo>
                  <a:cubicBezTo>
                    <a:pt x="26" y="11"/>
                    <a:pt x="26" y="13"/>
                    <a:pt x="26" y="15"/>
                  </a:cubicBezTo>
                  <a:close/>
                  <a:moveTo>
                    <a:pt x="22" y="15"/>
                  </a:moveTo>
                  <a:cubicBezTo>
                    <a:pt x="22" y="11"/>
                    <a:pt x="21" y="8"/>
                    <a:pt x="20" y="6"/>
                  </a:cubicBezTo>
                  <a:cubicBezTo>
                    <a:pt x="18" y="4"/>
                    <a:pt x="16" y="3"/>
                    <a:pt x="13" y="3"/>
                  </a:cubicBezTo>
                  <a:cubicBezTo>
                    <a:pt x="10" y="3"/>
                    <a:pt x="8" y="4"/>
                    <a:pt x="6" y="6"/>
                  </a:cubicBezTo>
                  <a:cubicBezTo>
                    <a:pt x="4" y="8"/>
                    <a:pt x="3" y="11"/>
                    <a:pt x="3" y="15"/>
                  </a:cubicBezTo>
                  <a:cubicBezTo>
                    <a:pt x="3" y="19"/>
                    <a:pt x="4" y="21"/>
                    <a:pt x="6" y="24"/>
                  </a:cubicBezTo>
                  <a:cubicBezTo>
                    <a:pt x="8" y="26"/>
                    <a:pt x="10" y="27"/>
                    <a:pt x="13" y="27"/>
                  </a:cubicBezTo>
                  <a:cubicBezTo>
                    <a:pt x="16" y="27"/>
                    <a:pt x="18" y="26"/>
                    <a:pt x="20" y="24"/>
                  </a:cubicBezTo>
                  <a:cubicBezTo>
                    <a:pt x="21" y="21"/>
                    <a:pt x="22" y="19"/>
                    <a:pt x="22"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76"/>
            <p:cNvSpPr>
              <a:spLocks/>
            </p:cNvSpPr>
            <p:nvPr/>
          </p:nvSpPr>
          <p:spPr bwMode="auto">
            <a:xfrm>
              <a:off x="6313490" y="3429034"/>
              <a:ext cx="42863" cy="52388"/>
            </a:xfrm>
            <a:custGeom>
              <a:avLst/>
              <a:gdLst>
                <a:gd name="T0" fmla="*/ 0 w 23"/>
                <a:gd name="T1" fmla="*/ 1 h 29"/>
                <a:gd name="T2" fmla="*/ 4 w 23"/>
                <a:gd name="T3" fmla="*/ 0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8 w 23"/>
                <a:gd name="T21" fmla="*/ 9 h 29"/>
                <a:gd name="T22" fmla="*/ 17 w 23"/>
                <a:gd name="T23" fmla="*/ 6 h 29"/>
                <a:gd name="T24" fmla="*/ 14 w 23"/>
                <a:gd name="T25" fmla="*/ 4 h 29"/>
                <a:gd name="T26" fmla="*/ 10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2" y="1"/>
                    <a:pt x="4" y="0"/>
                  </a:cubicBezTo>
                  <a:cubicBezTo>
                    <a:pt x="6" y="0"/>
                    <a:pt x="8" y="0"/>
                    <a:pt x="11" y="0"/>
                  </a:cubicBezTo>
                  <a:cubicBezTo>
                    <a:pt x="13" y="0"/>
                    <a:pt x="15" y="0"/>
                    <a:pt x="17" y="1"/>
                  </a:cubicBezTo>
                  <a:cubicBezTo>
                    <a:pt x="18" y="1"/>
                    <a:pt x="19" y="2"/>
                    <a:pt x="20" y="4"/>
                  </a:cubicBezTo>
                  <a:cubicBezTo>
                    <a:pt x="21" y="5"/>
                    <a:pt x="22" y="6"/>
                    <a:pt x="22" y="8"/>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1"/>
                    <a:pt x="18" y="9"/>
                  </a:cubicBezTo>
                  <a:cubicBezTo>
                    <a:pt x="18" y="8"/>
                    <a:pt x="18" y="7"/>
                    <a:pt x="17" y="6"/>
                  </a:cubicBezTo>
                  <a:cubicBezTo>
                    <a:pt x="16" y="5"/>
                    <a:pt x="16" y="4"/>
                    <a:pt x="14" y="4"/>
                  </a:cubicBezTo>
                  <a:cubicBezTo>
                    <a:pt x="13" y="3"/>
                    <a:pt x="12" y="3"/>
                    <a:pt x="10" y="3"/>
                  </a:cubicBezTo>
                  <a:cubicBezTo>
                    <a:pt x="9" y="3"/>
                    <a:pt x="7"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77"/>
            <p:cNvSpPr>
              <a:spLocks/>
            </p:cNvSpPr>
            <p:nvPr/>
          </p:nvSpPr>
          <p:spPr bwMode="auto">
            <a:xfrm>
              <a:off x="6364290" y="3429034"/>
              <a:ext cx="46038" cy="52388"/>
            </a:xfrm>
            <a:custGeom>
              <a:avLst/>
              <a:gdLst>
                <a:gd name="T0" fmla="*/ 13 w 25"/>
                <a:gd name="T1" fmla="*/ 26 h 29"/>
                <a:gd name="T2" fmla="*/ 15 w 25"/>
                <a:gd name="T3" fmla="*/ 20 h 29"/>
                <a:gd name="T4" fmla="*/ 17 w 25"/>
                <a:gd name="T5" fmla="*/ 14 h 29"/>
                <a:gd name="T6" fmla="*/ 20 w 25"/>
                <a:gd name="T7" fmla="*/ 7 h 29"/>
                <a:gd name="T8" fmla="*/ 21 w 25"/>
                <a:gd name="T9" fmla="*/ 0 h 29"/>
                <a:gd name="T10" fmla="*/ 25 w 25"/>
                <a:gd name="T11" fmla="*/ 0 h 29"/>
                <a:gd name="T12" fmla="*/ 23 w 25"/>
                <a:gd name="T13" fmla="*/ 8 h 29"/>
                <a:gd name="T14" fmla="*/ 20 w 25"/>
                <a:gd name="T15" fmla="*/ 16 h 29"/>
                <a:gd name="T16" fmla="*/ 17 w 25"/>
                <a:gd name="T17" fmla="*/ 23 h 29"/>
                <a:gd name="T18" fmla="*/ 14 w 25"/>
                <a:gd name="T19" fmla="*/ 29 h 29"/>
                <a:gd name="T20" fmla="*/ 11 w 25"/>
                <a:gd name="T21" fmla="*/ 29 h 29"/>
                <a:gd name="T22" fmla="*/ 8 w 25"/>
                <a:gd name="T23" fmla="*/ 23 h 29"/>
                <a:gd name="T24" fmla="*/ 5 w 25"/>
                <a:gd name="T25" fmla="*/ 16 h 29"/>
                <a:gd name="T26" fmla="*/ 2 w 25"/>
                <a:gd name="T27" fmla="*/ 8 h 29"/>
                <a:gd name="T28" fmla="*/ 0 w 25"/>
                <a:gd name="T29" fmla="*/ 0 h 29"/>
                <a:gd name="T30" fmla="*/ 4 w 25"/>
                <a:gd name="T31" fmla="*/ 0 h 29"/>
                <a:gd name="T32" fmla="*/ 6 w 25"/>
                <a:gd name="T33" fmla="*/ 7 h 29"/>
                <a:gd name="T34" fmla="*/ 8 w 25"/>
                <a:gd name="T35" fmla="*/ 14 h 29"/>
                <a:gd name="T36" fmla="*/ 10 w 25"/>
                <a:gd name="T37" fmla="*/ 20 h 29"/>
                <a:gd name="T38" fmla="*/ 13 w 25"/>
                <a:gd name="T39"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9">
                  <a:moveTo>
                    <a:pt x="13" y="26"/>
                  </a:moveTo>
                  <a:cubicBezTo>
                    <a:pt x="13" y="24"/>
                    <a:pt x="14" y="22"/>
                    <a:pt x="15" y="20"/>
                  </a:cubicBezTo>
                  <a:cubicBezTo>
                    <a:pt x="16" y="18"/>
                    <a:pt x="17" y="16"/>
                    <a:pt x="17" y="14"/>
                  </a:cubicBezTo>
                  <a:cubicBezTo>
                    <a:pt x="18" y="11"/>
                    <a:pt x="19" y="9"/>
                    <a:pt x="20" y="7"/>
                  </a:cubicBezTo>
                  <a:cubicBezTo>
                    <a:pt x="20" y="5"/>
                    <a:pt x="21" y="2"/>
                    <a:pt x="21" y="0"/>
                  </a:cubicBezTo>
                  <a:cubicBezTo>
                    <a:pt x="25" y="0"/>
                    <a:pt x="25" y="0"/>
                    <a:pt x="25" y="0"/>
                  </a:cubicBezTo>
                  <a:cubicBezTo>
                    <a:pt x="24" y="3"/>
                    <a:pt x="23" y="6"/>
                    <a:pt x="23" y="8"/>
                  </a:cubicBezTo>
                  <a:cubicBezTo>
                    <a:pt x="22" y="11"/>
                    <a:pt x="21" y="13"/>
                    <a:pt x="20" y="16"/>
                  </a:cubicBezTo>
                  <a:cubicBezTo>
                    <a:pt x="19" y="18"/>
                    <a:pt x="18" y="21"/>
                    <a:pt x="17" y="23"/>
                  </a:cubicBezTo>
                  <a:cubicBezTo>
                    <a:pt x="16" y="25"/>
                    <a:pt x="15" y="27"/>
                    <a:pt x="14" y="29"/>
                  </a:cubicBezTo>
                  <a:cubicBezTo>
                    <a:pt x="11" y="29"/>
                    <a:pt x="11" y="29"/>
                    <a:pt x="11" y="29"/>
                  </a:cubicBezTo>
                  <a:cubicBezTo>
                    <a:pt x="10" y="27"/>
                    <a:pt x="9" y="25"/>
                    <a:pt x="8" y="23"/>
                  </a:cubicBezTo>
                  <a:cubicBezTo>
                    <a:pt x="7" y="21"/>
                    <a:pt x="6" y="18"/>
                    <a:pt x="5" y="16"/>
                  </a:cubicBezTo>
                  <a:cubicBezTo>
                    <a:pt x="4" y="13"/>
                    <a:pt x="3" y="11"/>
                    <a:pt x="2" y="8"/>
                  </a:cubicBezTo>
                  <a:cubicBezTo>
                    <a:pt x="2" y="6"/>
                    <a:pt x="1" y="3"/>
                    <a:pt x="0" y="0"/>
                  </a:cubicBezTo>
                  <a:cubicBezTo>
                    <a:pt x="4" y="0"/>
                    <a:pt x="4" y="0"/>
                    <a:pt x="4" y="0"/>
                  </a:cubicBezTo>
                  <a:cubicBezTo>
                    <a:pt x="4" y="2"/>
                    <a:pt x="5" y="5"/>
                    <a:pt x="6" y="7"/>
                  </a:cubicBezTo>
                  <a:cubicBezTo>
                    <a:pt x="6" y="9"/>
                    <a:pt x="7" y="11"/>
                    <a:pt x="8" y="14"/>
                  </a:cubicBezTo>
                  <a:cubicBezTo>
                    <a:pt x="9" y="16"/>
                    <a:pt x="9" y="18"/>
                    <a:pt x="10" y="20"/>
                  </a:cubicBezTo>
                  <a:cubicBezTo>
                    <a:pt x="11" y="22"/>
                    <a:pt x="12" y="24"/>
                    <a:pt x="13" y="2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78"/>
            <p:cNvSpPr>
              <a:spLocks noEditPoints="1"/>
            </p:cNvSpPr>
            <p:nvPr/>
          </p:nvSpPr>
          <p:spPr bwMode="auto">
            <a:xfrm>
              <a:off x="6418265"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9"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9" y="30"/>
                    <a:pt x="8" y="29"/>
                  </a:cubicBezTo>
                  <a:cubicBezTo>
                    <a:pt x="6" y="28"/>
                    <a:pt x="4" y="27"/>
                    <a:pt x="3" y="26"/>
                  </a:cubicBezTo>
                  <a:cubicBezTo>
                    <a:pt x="2" y="24"/>
                    <a:pt x="1" y="23"/>
                    <a:pt x="1" y="21"/>
                  </a:cubicBezTo>
                  <a:cubicBezTo>
                    <a:pt x="0" y="19"/>
                    <a:pt x="0" y="17"/>
                    <a:pt x="0" y="15"/>
                  </a:cubicBezTo>
                  <a:close/>
                  <a:moveTo>
                    <a:pt x="21" y="13"/>
                  </a:moveTo>
                  <a:cubicBezTo>
                    <a:pt x="20" y="10"/>
                    <a:pt x="20" y="7"/>
                    <a:pt x="18" y="6"/>
                  </a:cubicBezTo>
                  <a:cubicBezTo>
                    <a:pt x="17" y="4"/>
                    <a:pt x="15" y="3"/>
                    <a:pt x="13" y="3"/>
                  </a:cubicBezTo>
                  <a:cubicBezTo>
                    <a:pt x="11" y="3"/>
                    <a:pt x="10" y="3"/>
                    <a:pt x="9" y="4"/>
                  </a:cubicBezTo>
                  <a:cubicBezTo>
                    <a:pt x="8" y="4"/>
                    <a:pt x="7" y="5"/>
                    <a:pt x="6"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79"/>
            <p:cNvSpPr>
              <a:spLocks/>
            </p:cNvSpPr>
            <p:nvPr/>
          </p:nvSpPr>
          <p:spPr bwMode="auto">
            <a:xfrm>
              <a:off x="647700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80"/>
            <p:cNvSpPr>
              <a:spLocks/>
            </p:cNvSpPr>
            <p:nvPr/>
          </p:nvSpPr>
          <p:spPr bwMode="auto">
            <a:xfrm>
              <a:off x="6511927" y="3429034"/>
              <a:ext cx="34925" cy="53976"/>
            </a:xfrm>
            <a:custGeom>
              <a:avLst/>
              <a:gdLst>
                <a:gd name="T0" fmla="*/ 8 w 19"/>
                <a:gd name="T1" fmla="*/ 27 h 30"/>
                <a:gd name="T2" fmla="*/ 13 w 19"/>
                <a:gd name="T3" fmla="*/ 26 h 30"/>
                <a:gd name="T4" fmla="*/ 15 w 19"/>
                <a:gd name="T5" fmla="*/ 22 h 30"/>
                <a:gd name="T6" fmla="*/ 15 w 19"/>
                <a:gd name="T7" fmla="*/ 20 h 30"/>
                <a:gd name="T8" fmla="*/ 14 w 19"/>
                <a:gd name="T9" fmla="*/ 19 h 30"/>
                <a:gd name="T10" fmla="*/ 12 w 19"/>
                <a:gd name="T11" fmla="*/ 17 h 30"/>
                <a:gd name="T12" fmla="*/ 8 w 19"/>
                <a:gd name="T13" fmla="*/ 16 h 30"/>
                <a:gd name="T14" fmla="*/ 5 w 19"/>
                <a:gd name="T15" fmla="*/ 15 h 30"/>
                <a:gd name="T16" fmla="*/ 3 w 19"/>
                <a:gd name="T17" fmla="*/ 13 h 30"/>
                <a:gd name="T18" fmla="*/ 1 w 19"/>
                <a:gd name="T19" fmla="*/ 11 h 30"/>
                <a:gd name="T20" fmla="*/ 0 w 19"/>
                <a:gd name="T21" fmla="*/ 8 h 30"/>
                <a:gd name="T22" fmla="*/ 3 w 19"/>
                <a:gd name="T23" fmla="*/ 2 h 30"/>
                <a:gd name="T24" fmla="*/ 10 w 19"/>
                <a:gd name="T25" fmla="*/ 0 h 30"/>
                <a:gd name="T26" fmla="*/ 15 w 19"/>
                <a:gd name="T27" fmla="*/ 0 h 30"/>
                <a:gd name="T28" fmla="*/ 18 w 19"/>
                <a:gd name="T29" fmla="*/ 1 h 30"/>
                <a:gd name="T30" fmla="*/ 17 w 19"/>
                <a:gd name="T31" fmla="*/ 4 h 30"/>
                <a:gd name="T32" fmla="*/ 15 w 19"/>
                <a:gd name="T33" fmla="*/ 4 h 30"/>
                <a:gd name="T34" fmla="*/ 10 w 19"/>
                <a:gd name="T35" fmla="*/ 3 h 30"/>
                <a:gd name="T36" fmla="*/ 8 w 19"/>
                <a:gd name="T37" fmla="*/ 3 h 30"/>
                <a:gd name="T38" fmla="*/ 6 w 19"/>
                <a:gd name="T39" fmla="*/ 4 h 30"/>
                <a:gd name="T40" fmla="*/ 4 w 19"/>
                <a:gd name="T41" fmla="*/ 5 h 30"/>
                <a:gd name="T42" fmla="*/ 4 w 19"/>
                <a:gd name="T43" fmla="*/ 7 h 30"/>
                <a:gd name="T44" fmla="*/ 4 w 19"/>
                <a:gd name="T45" fmla="*/ 9 h 30"/>
                <a:gd name="T46" fmla="*/ 6 w 19"/>
                <a:gd name="T47" fmla="*/ 11 h 30"/>
                <a:gd name="T48" fmla="*/ 8 w 19"/>
                <a:gd name="T49" fmla="*/ 12 h 30"/>
                <a:gd name="T50" fmla="*/ 11 w 19"/>
                <a:gd name="T51" fmla="*/ 13 h 30"/>
                <a:gd name="T52" fmla="*/ 14 w 19"/>
                <a:gd name="T53" fmla="*/ 15 h 30"/>
                <a:gd name="T54" fmla="*/ 17 w 19"/>
                <a:gd name="T55" fmla="*/ 16 h 30"/>
                <a:gd name="T56" fmla="*/ 19 w 19"/>
                <a:gd name="T57" fmla="*/ 19 h 30"/>
                <a:gd name="T58" fmla="*/ 19 w 19"/>
                <a:gd name="T59" fmla="*/ 22 h 30"/>
                <a:gd name="T60" fmla="*/ 16 w 19"/>
                <a:gd name="T61" fmla="*/ 28 h 30"/>
                <a:gd name="T62" fmla="*/ 8 w 19"/>
                <a:gd name="T63" fmla="*/ 30 h 30"/>
                <a:gd name="T64" fmla="*/ 2 w 19"/>
                <a:gd name="T65" fmla="*/ 29 h 30"/>
                <a:gd name="T66" fmla="*/ 0 w 19"/>
                <a:gd name="T67" fmla="*/ 28 h 30"/>
                <a:gd name="T68" fmla="*/ 1 w 19"/>
                <a:gd name="T69" fmla="*/ 25 h 30"/>
                <a:gd name="T70" fmla="*/ 1 w 19"/>
                <a:gd name="T71" fmla="*/ 26 h 30"/>
                <a:gd name="T72" fmla="*/ 3 w 19"/>
                <a:gd name="T73" fmla="*/ 26 h 30"/>
                <a:gd name="T74" fmla="*/ 5 w 19"/>
                <a:gd name="T75" fmla="*/ 27 h 30"/>
                <a:gd name="T76" fmla="*/ 8 w 19"/>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0">
                  <a:moveTo>
                    <a:pt x="8" y="27"/>
                  </a:moveTo>
                  <a:cubicBezTo>
                    <a:pt x="10" y="27"/>
                    <a:pt x="12" y="27"/>
                    <a:pt x="13" y="26"/>
                  </a:cubicBezTo>
                  <a:cubicBezTo>
                    <a:pt x="15" y="25"/>
                    <a:pt x="15" y="24"/>
                    <a:pt x="15" y="22"/>
                  </a:cubicBezTo>
                  <a:cubicBezTo>
                    <a:pt x="15" y="22"/>
                    <a:pt x="15" y="21"/>
                    <a:pt x="15" y="20"/>
                  </a:cubicBezTo>
                  <a:cubicBezTo>
                    <a:pt x="15" y="20"/>
                    <a:pt x="14" y="19"/>
                    <a:pt x="14" y="19"/>
                  </a:cubicBezTo>
                  <a:cubicBezTo>
                    <a:pt x="13" y="18"/>
                    <a:pt x="13" y="18"/>
                    <a:pt x="12" y="17"/>
                  </a:cubicBezTo>
                  <a:cubicBezTo>
                    <a:pt x="11" y="17"/>
                    <a:pt x="10" y="17"/>
                    <a:pt x="8" y="16"/>
                  </a:cubicBezTo>
                  <a:cubicBezTo>
                    <a:pt x="7" y="16"/>
                    <a:pt x="6" y="15"/>
                    <a:pt x="5" y="15"/>
                  </a:cubicBezTo>
                  <a:cubicBezTo>
                    <a:pt x="4" y="14"/>
                    <a:pt x="3" y="14"/>
                    <a:pt x="3" y="13"/>
                  </a:cubicBezTo>
                  <a:cubicBezTo>
                    <a:pt x="2" y="12"/>
                    <a:pt x="1" y="12"/>
                    <a:pt x="1" y="11"/>
                  </a:cubicBezTo>
                  <a:cubicBezTo>
                    <a:pt x="0" y="10"/>
                    <a:pt x="0" y="9"/>
                    <a:pt x="0" y="8"/>
                  </a:cubicBezTo>
                  <a:cubicBezTo>
                    <a:pt x="0" y="5"/>
                    <a:pt x="1" y="3"/>
                    <a:pt x="3" y="2"/>
                  </a:cubicBezTo>
                  <a:cubicBezTo>
                    <a:pt x="5" y="1"/>
                    <a:pt x="7" y="0"/>
                    <a:pt x="10" y="0"/>
                  </a:cubicBezTo>
                  <a:cubicBezTo>
                    <a:pt x="12" y="0"/>
                    <a:pt x="14" y="0"/>
                    <a:pt x="15" y="0"/>
                  </a:cubicBezTo>
                  <a:cubicBezTo>
                    <a:pt x="16" y="1"/>
                    <a:pt x="17" y="1"/>
                    <a:pt x="18" y="1"/>
                  </a:cubicBezTo>
                  <a:cubicBezTo>
                    <a:pt x="17" y="4"/>
                    <a:pt x="17" y="4"/>
                    <a:pt x="17" y="4"/>
                  </a:cubicBezTo>
                  <a:cubicBezTo>
                    <a:pt x="16" y="4"/>
                    <a:pt x="16" y="4"/>
                    <a:pt x="15" y="4"/>
                  </a:cubicBezTo>
                  <a:cubicBezTo>
                    <a:pt x="14" y="3"/>
                    <a:pt x="12" y="3"/>
                    <a:pt x="10" y="3"/>
                  </a:cubicBezTo>
                  <a:cubicBezTo>
                    <a:pt x="9" y="3"/>
                    <a:pt x="8" y="3"/>
                    <a:pt x="8" y="3"/>
                  </a:cubicBezTo>
                  <a:cubicBezTo>
                    <a:pt x="7" y="3"/>
                    <a:pt x="6" y="4"/>
                    <a:pt x="6" y="4"/>
                  </a:cubicBezTo>
                  <a:cubicBezTo>
                    <a:pt x="5" y="4"/>
                    <a:pt x="5" y="5"/>
                    <a:pt x="4" y="5"/>
                  </a:cubicBezTo>
                  <a:cubicBezTo>
                    <a:pt x="4" y="6"/>
                    <a:pt x="4" y="7"/>
                    <a:pt x="4" y="7"/>
                  </a:cubicBezTo>
                  <a:cubicBezTo>
                    <a:pt x="4" y="8"/>
                    <a:pt x="4" y="9"/>
                    <a:pt x="4" y="9"/>
                  </a:cubicBezTo>
                  <a:cubicBezTo>
                    <a:pt x="5" y="10"/>
                    <a:pt x="5" y="10"/>
                    <a:pt x="6" y="11"/>
                  </a:cubicBezTo>
                  <a:cubicBezTo>
                    <a:pt x="6" y="11"/>
                    <a:pt x="7" y="12"/>
                    <a:pt x="8" y="12"/>
                  </a:cubicBezTo>
                  <a:cubicBezTo>
                    <a:pt x="9" y="12"/>
                    <a:pt x="10" y="13"/>
                    <a:pt x="11" y="13"/>
                  </a:cubicBezTo>
                  <a:cubicBezTo>
                    <a:pt x="12" y="14"/>
                    <a:pt x="13" y="14"/>
                    <a:pt x="14" y="15"/>
                  </a:cubicBezTo>
                  <a:cubicBezTo>
                    <a:pt x="15" y="15"/>
                    <a:pt x="16" y="16"/>
                    <a:pt x="17" y="16"/>
                  </a:cubicBezTo>
                  <a:cubicBezTo>
                    <a:pt x="17" y="17"/>
                    <a:pt x="18" y="18"/>
                    <a:pt x="19" y="19"/>
                  </a:cubicBezTo>
                  <a:cubicBezTo>
                    <a:pt x="19" y="20"/>
                    <a:pt x="19" y="21"/>
                    <a:pt x="19" y="22"/>
                  </a:cubicBezTo>
                  <a:cubicBezTo>
                    <a:pt x="19" y="25"/>
                    <a:pt x="18" y="27"/>
                    <a:pt x="16" y="28"/>
                  </a:cubicBezTo>
                  <a:cubicBezTo>
                    <a:pt x="14" y="29"/>
                    <a:pt x="12" y="30"/>
                    <a:pt x="8" y="30"/>
                  </a:cubicBezTo>
                  <a:cubicBezTo>
                    <a:pt x="6" y="30"/>
                    <a:pt x="4" y="30"/>
                    <a:pt x="2" y="29"/>
                  </a:cubicBezTo>
                  <a:cubicBezTo>
                    <a:pt x="1" y="29"/>
                    <a:pt x="0" y="29"/>
                    <a:pt x="0" y="28"/>
                  </a:cubicBezTo>
                  <a:cubicBezTo>
                    <a:pt x="1" y="25"/>
                    <a:pt x="1" y="25"/>
                    <a:pt x="1" y="25"/>
                  </a:cubicBezTo>
                  <a:cubicBezTo>
                    <a:pt x="1" y="25"/>
                    <a:pt x="1" y="25"/>
                    <a:pt x="1" y="26"/>
                  </a:cubicBezTo>
                  <a:cubicBezTo>
                    <a:pt x="2" y="26"/>
                    <a:pt x="2" y="26"/>
                    <a:pt x="3" y="26"/>
                  </a:cubicBezTo>
                  <a:cubicBezTo>
                    <a:pt x="4" y="26"/>
                    <a:pt x="4" y="26"/>
                    <a:pt x="5" y="27"/>
                  </a:cubicBezTo>
                  <a:cubicBezTo>
                    <a:pt x="6" y="27"/>
                    <a:pt x="7" y="27"/>
                    <a:pt x="8"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81"/>
            <p:cNvSpPr>
              <a:spLocks noEditPoints="1"/>
            </p:cNvSpPr>
            <p:nvPr/>
          </p:nvSpPr>
          <p:spPr bwMode="auto">
            <a:xfrm>
              <a:off x="6554790" y="3429034"/>
              <a:ext cx="41275"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7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3 w 22"/>
                <a:gd name="T59" fmla="*/ 1 h 30"/>
                <a:gd name="T60" fmla="*/ 6 w 22"/>
                <a:gd name="T61" fmla="*/ 0 h 30"/>
                <a:gd name="T62" fmla="*/ 11 w 22"/>
                <a:gd name="T63" fmla="*/ 0 h 30"/>
                <a:gd name="T64" fmla="*/ 11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4 w 22"/>
                <a:gd name="T85" fmla="*/ 24 h 30"/>
                <a:gd name="T86" fmla="*/ 6 w 22"/>
                <a:gd name="T87" fmla="*/ 26 h 30"/>
                <a:gd name="T88" fmla="*/ 8 w 22"/>
                <a:gd name="T89" fmla="*/ 26 h 30"/>
                <a:gd name="T90" fmla="*/ 11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7"/>
                    <a:pt x="2" y="26"/>
                    <a:pt x="1" y="25"/>
                  </a:cubicBezTo>
                  <a:cubicBezTo>
                    <a:pt x="0" y="24"/>
                    <a:pt x="0" y="23"/>
                    <a:pt x="0" y="21"/>
                  </a:cubicBezTo>
                  <a:cubicBezTo>
                    <a:pt x="0" y="19"/>
                    <a:pt x="0" y="18"/>
                    <a:pt x="1" y="17"/>
                  </a:cubicBezTo>
                  <a:cubicBezTo>
                    <a:pt x="2" y="16"/>
                    <a:pt x="2" y="15"/>
                    <a:pt x="4" y="14"/>
                  </a:cubicBezTo>
                  <a:cubicBezTo>
                    <a:pt x="5" y="13"/>
                    <a:pt x="6" y="13"/>
                    <a:pt x="7" y="13"/>
                  </a:cubicBezTo>
                  <a:cubicBezTo>
                    <a:pt x="9" y="12"/>
                    <a:pt x="11" y="12"/>
                    <a:pt x="12" y="12"/>
                  </a:cubicBezTo>
                  <a:cubicBezTo>
                    <a:pt x="13" y="12"/>
                    <a:pt x="13" y="12"/>
                    <a:pt x="14" y="12"/>
                  </a:cubicBezTo>
                  <a:cubicBezTo>
                    <a:pt x="15" y="12"/>
                    <a:pt x="15" y="12"/>
                    <a:pt x="16" y="12"/>
                  </a:cubicBezTo>
                  <a:cubicBezTo>
                    <a:pt x="16" y="12"/>
                    <a:pt x="17" y="13"/>
                    <a:pt x="17" y="13"/>
                  </a:cubicBezTo>
                  <a:cubicBezTo>
                    <a:pt x="17" y="13"/>
                    <a:pt x="18" y="13"/>
                    <a:pt x="18" y="13"/>
                  </a:cubicBezTo>
                  <a:cubicBezTo>
                    <a:pt x="18" y="11"/>
                    <a:pt x="18" y="11"/>
                    <a:pt x="18" y="11"/>
                  </a:cubicBezTo>
                  <a:cubicBezTo>
                    <a:pt x="18" y="10"/>
                    <a:pt x="18" y="9"/>
                    <a:pt x="18" y="8"/>
                  </a:cubicBezTo>
                  <a:cubicBezTo>
                    <a:pt x="17" y="7"/>
                    <a:pt x="17" y="6"/>
                    <a:pt x="17" y="6"/>
                  </a:cubicBezTo>
                  <a:cubicBezTo>
                    <a:pt x="16" y="5"/>
                    <a:pt x="15" y="4"/>
                    <a:pt x="15"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7" y="16"/>
                    <a:pt x="17" y="16"/>
                    <a:pt x="16" y="16"/>
                  </a:cubicBezTo>
                  <a:cubicBezTo>
                    <a:pt x="15" y="15"/>
                    <a:pt x="14" y="15"/>
                    <a:pt x="12" y="15"/>
                  </a:cubicBezTo>
                  <a:cubicBezTo>
                    <a:pt x="11" y="15"/>
                    <a:pt x="10" y="15"/>
                    <a:pt x="9" y="15"/>
                  </a:cubicBezTo>
                  <a:cubicBezTo>
                    <a:pt x="8" y="16"/>
                    <a:pt x="8" y="16"/>
                    <a:pt x="7" y="16"/>
                  </a:cubicBezTo>
                  <a:cubicBezTo>
                    <a:pt x="6" y="17"/>
                    <a:pt x="5" y="17"/>
                    <a:pt x="5" y="18"/>
                  </a:cubicBezTo>
                  <a:cubicBezTo>
                    <a:pt x="4" y="19"/>
                    <a:pt x="4" y="20"/>
                    <a:pt x="4" y="21"/>
                  </a:cubicBezTo>
                  <a:cubicBezTo>
                    <a:pt x="4" y="22"/>
                    <a:pt x="4" y="23"/>
                    <a:pt x="4"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82"/>
            <p:cNvSpPr>
              <a:spLocks/>
            </p:cNvSpPr>
            <p:nvPr/>
          </p:nvSpPr>
          <p:spPr bwMode="auto">
            <a:xfrm>
              <a:off x="6611940" y="3411571"/>
              <a:ext cx="30163" cy="71438"/>
            </a:xfrm>
            <a:custGeom>
              <a:avLst/>
              <a:gdLst>
                <a:gd name="T0" fmla="*/ 3 w 16"/>
                <a:gd name="T1" fmla="*/ 9 h 39"/>
                <a:gd name="T2" fmla="*/ 15 w 16"/>
                <a:gd name="T3" fmla="*/ 9 h 39"/>
                <a:gd name="T4" fmla="*/ 15 w 16"/>
                <a:gd name="T5" fmla="*/ 13 h 39"/>
                <a:gd name="T6" fmla="*/ 3 w 16"/>
                <a:gd name="T7" fmla="*/ 13 h 39"/>
                <a:gd name="T8" fmla="*/ 3 w 16"/>
                <a:gd name="T9" fmla="*/ 28 h 39"/>
                <a:gd name="T10" fmla="*/ 4 w 16"/>
                <a:gd name="T11" fmla="*/ 32 h 39"/>
                <a:gd name="T12" fmla="*/ 5 w 16"/>
                <a:gd name="T13" fmla="*/ 34 h 39"/>
                <a:gd name="T14" fmla="*/ 7 w 16"/>
                <a:gd name="T15" fmla="*/ 35 h 39"/>
                <a:gd name="T16" fmla="*/ 9 w 16"/>
                <a:gd name="T17" fmla="*/ 36 h 39"/>
                <a:gd name="T18" fmla="*/ 13 w 16"/>
                <a:gd name="T19" fmla="*/ 35 h 39"/>
                <a:gd name="T20" fmla="*/ 15 w 16"/>
                <a:gd name="T21" fmla="*/ 34 h 39"/>
                <a:gd name="T22" fmla="*/ 16 w 16"/>
                <a:gd name="T23" fmla="*/ 37 h 39"/>
                <a:gd name="T24" fmla="*/ 13 w 16"/>
                <a:gd name="T25" fmla="*/ 38 h 39"/>
                <a:gd name="T26" fmla="*/ 9 w 16"/>
                <a:gd name="T27" fmla="*/ 39 h 39"/>
                <a:gd name="T28" fmla="*/ 4 w 16"/>
                <a:gd name="T29" fmla="*/ 38 h 39"/>
                <a:gd name="T30" fmla="*/ 2 w 16"/>
                <a:gd name="T31" fmla="*/ 36 h 39"/>
                <a:gd name="T32" fmla="*/ 0 w 16"/>
                <a:gd name="T33" fmla="*/ 33 h 39"/>
                <a:gd name="T34" fmla="*/ 0 w 16"/>
                <a:gd name="T35" fmla="*/ 28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3"/>
                    <a:pt x="15" y="13"/>
                    <a:pt x="15" y="13"/>
                  </a:cubicBezTo>
                  <a:cubicBezTo>
                    <a:pt x="3" y="13"/>
                    <a:pt x="3" y="13"/>
                    <a:pt x="3" y="13"/>
                  </a:cubicBezTo>
                  <a:cubicBezTo>
                    <a:pt x="3" y="28"/>
                    <a:pt x="3" y="28"/>
                    <a:pt x="3" y="28"/>
                  </a:cubicBezTo>
                  <a:cubicBezTo>
                    <a:pt x="3" y="30"/>
                    <a:pt x="3" y="31"/>
                    <a:pt x="4" y="32"/>
                  </a:cubicBezTo>
                  <a:cubicBezTo>
                    <a:pt x="4" y="33"/>
                    <a:pt x="4" y="34"/>
                    <a:pt x="5" y="34"/>
                  </a:cubicBezTo>
                  <a:cubicBezTo>
                    <a:pt x="5" y="35"/>
                    <a:pt x="6" y="35"/>
                    <a:pt x="7" y="35"/>
                  </a:cubicBezTo>
                  <a:cubicBezTo>
                    <a:pt x="7" y="36"/>
                    <a:pt x="8" y="36"/>
                    <a:pt x="9" y="36"/>
                  </a:cubicBezTo>
                  <a:cubicBezTo>
                    <a:pt x="11" y="36"/>
                    <a:pt x="12" y="36"/>
                    <a:pt x="13" y="35"/>
                  </a:cubicBezTo>
                  <a:cubicBezTo>
                    <a:pt x="14" y="35"/>
                    <a:pt x="15" y="35"/>
                    <a:pt x="15" y="34"/>
                  </a:cubicBezTo>
                  <a:cubicBezTo>
                    <a:pt x="16" y="37"/>
                    <a:pt x="16" y="37"/>
                    <a:pt x="16" y="37"/>
                  </a:cubicBezTo>
                  <a:cubicBezTo>
                    <a:pt x="15" y="38"/>
                    <a:pt x="15" y="38"/>
                    <a:pt x="13" y="38"/>
                  </a:cubicBezTo>
                  <a:cubicBezTo>
                    <a:pt x="12" y="39"/>
                    <a:pt x="11" y="39"/>
                    <a:pt x="9" y="39"/>
                  </a:cubicBezTo>
                  <a:cubicBezTo>
                    <a:pt x="7" y="39"/>
                    <a:pt x="6" y="39"/>
                    <a:pt x="4" y="38"/>
                  </a:cubicBezTo>
                  <a:cubicBezTo>
                    <a:pt x="3" y="38"/>
                    <a:pt x="2" y="37"/>
                    <a:pt x="2" y="36"/>
                  </a:cubicBezTo>
                  <a:cubicBezTo>
                    <a:pt x="1" y="35"/>
                    <a:pt x="0" y="34"/>
                    <a:pt x="0" y="33"/>
                  </a:cubicBezTo>
                  <a:cubicBezTo>
                    <a:pt x="0" y="31"/>
                    <a:pt x="0" y="30"/>
                    <a:pt x="0" y="28"/>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83"/>
            <p:cNvSpPr>
              <a:spLocks noEditPoints="1"/>
            </p:cNvSpPr>
            <p:nvPr/>
          </p:nvSpPr>
          <p:spPr bwMode="auto">
            <a:xfrm>
              <a:off x="6650040" y="3408396"/>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0 w 5"/>
                <a:gd name="T21" fmla="*/ 40 h 40"/>
                <a:gd name="T22" fmla="*/ 0 w 5"/>
                <a:gd name="T23" fmla="*/ 11 h 40"/>
                <a:gd name="T24" fmla="*/ 4 w 5"/>
                <a:gd name="T25" fmla="*/ 11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0" y="40"/>
                    <a:pt x="0" y="40"/>
                    <a:pt x="0" y="40"/>
                  </a:cubicBezTo>
                  <a:cubicBezTo>
                    <a:pt x="0" y="11"/>
                    <a:pt x="0" y="11"/>
                    <a:pt x="0" y="11"/>
                  </a:cubicBezTo>
                  <a:cubicBezTo>
                    <a:pt x="4" y="11"/>
                    <a:pt x="4" y="11"/>
                    <a:pt x="4" y="11"/>
                  </a:cubicBezTo>
                  <a:lnTo>
                    <a:pt x="4"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84"/>
            <p:cNvSpPr>
              <a:spLocks noEditPoints="1"/>
            </p:cNvSpPr>
            <p:nvPr/>
          </p:nvSpPr>
          <p:spPr bwMode="auto">
            <a:xfrm>
              <a:off x="6672265" y="3429034"/>
              <a:ext cx="47625" cy="53976"/>
            </a:xfrm>
            <a:custGeom>
              <a:avLst/>
              <a:gdLst>
                <a:gd name="T0" fmla="*/ 26 w 26"/>
                <a:gd name="T1" fmla="*/ 15 h 30"/>
                <a:gd name="T2" fmla="*/ 25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5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5"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1"/>
                    <a:pt x="6" y="24"/>
                  </a:cubicBezTo>
                  <a:cubicBezTo>
                    <a:pt x="8" y="26"/>
                    <a:pt x="10" y="27"/>
                    <a:pt x="13" y="27"/>
                  </a:cubicBezTo>
                  <a:cubicBezTo>
                    <a:pt x="16" y="27"/>
                    <a:pt x="18" y="26"/>
                    <a:pt x="20" y="24"/>
                  </a:cubicBezTo>
                  <a:cubicBezTo>
                    <a:pt x="22" y="21"/>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85"/>
            <p:cNvSpPr>
              <a:spLocks/>
            </p:cNvSpPr>
            <p:nvPr/>
          </p:nvSpPr>
          <p:spPr bwMode="auto">
            <a:xfrm>
              <a:off x="6735765" y="3429034"/>
              <a:ext cx="41275" cy="52388"/>
            </a:xfrm>
            <a:custGeom>
              <a:avLst/>
              <a:gdLst>
                <a:gd name="T0" fmla="*/ 0 w 23"/>
                <a:gd name="T1" fmla="*/ 1 h 29"/>
                <a:gd name="T2" fmla="*/ 5 w 23"/>
                <a:gd name="T3" fmla="*/ 0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6 h 29"/>
                <a:gd name="T24" fmla="*/ 15 w 23"/>
                <a:gd name="T25" fmla="*/ 4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1"/>
                    <a:pt x="5" y="0"/>
                  </a:cubicBezTo>
                  <a:cubicBezTo>
                    <a:pt x="7" y="0"/>
                    <a:pt x="9" y="0"/>
                    <a:pt x="11" y="0"/>
                  </a:cubicBezTo>
                  <a:cubicBezTo>
                    <a:pt x="14" y="0"/>
                    <a:pt x="15" y="0"/>
                    <a:pt x="17" y="1"/>
                  </a:cubicBezTo>
                  <a:cubicBezTo>
                    <a:pt x="18" y="1"/>
                    <a:pt x="20" y="2"/>
                    <a:pt x="20"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9" y="8"/>
                    <a:pt x="18" y="7"/>
                    <a:pt x="17" y="6"/>
                  </a:cubicBezTo>
                  <a:cubicBezTo>
                    <a:pt x="17" y="5"/>
                    <a:pt x="16" y="4"/>
                    <a:pt x="15" y="4"/>
                  </a:cubicBezTo>
                  <a:cubicBezTo>
                    <a:pt x="14" y="3"/>
                    <a:pt x="12" y="3"/>
                    <a:pt x="11" y="3"/>
                  </a:cubicBezTo>
                  <a:cubicBezTo>
                    <a:pt x="9" y="3"/>
                    <a:pt x="8"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7" name="Group 556"/>
          <p:cNvGrpSpPr/>
          <p:nvPr/>
        </p:nvGrpSpPr>
        <p:grpSpPr>
          <a:xfrm>
            <a:off x="9080703" y="3125510"/>
            <a:ext cx="273050" cy="98426"/>
            <a:chOff x="8659816" y="3403634"/>
            <a:chExt cx="273050" cy="98426"/>
          </a:xfrm>
        </p:grpSpPr>
        <p:sp>
          <p:nvSpPr>
            <p:cNvPr id="427" name="Freeform 86"/>
            <p:cNvSpPr>
              <a:spLocks/>
            </p:cNvSpPr>
            <p:nvPr/>
          </p:nvSpPr>
          <p:spPr bwMode="auto">
            <a:xfrm>
              <a:off x="8659816" y="3409984"/>
              <a:ext cx="46038" cy="73026"/>
            </a:xfrm>
            <a:custGeom>
              <a:avLst/>
              <a:gdLst>
                <a:gd name="T0" fmla="*/ 11 w 25"/>
                <a:gd name="T1" fmla="*/ 37 h 40"/>
                <a:gd name="T2" fmla="*/ 18 w 25"/>
                <a:gd name="T3" fmla="*/ 35 h 40"/>
                <a:gd name="T4" fmla="*/ 21 w 25"/>
                <a:gd name="T5" fmla="*/ 30 h 40"/>
                <a:gd name="T6" fmla="*/ 20 w 25"/>
                <a:gd name="T7" fmla="*/ 26 h 40"/>
                <a:gd name="T8" fmla="*/ 18 w 25"/>
                <a:gd name="T9" fmla="*/ 24 h 40"/>
                <a:gd name="T10" fmla="*/ 15 w 25"/>
                <a:gd name="T11" fmla="*/ 22 h 40"/>
                <a:gd name="T12" fmla="*/ 11 w 25"/>
                <a:gd name="T13" fmla="*/ 21 h 40"/>
                <a:gd name="T14" fmla="*/ 7 w 25"/>
                <a:gd name="T15" fmla="*/ 19 h 40"/>
                <a:gd name="T16" fmla="*/ 3 w 25"/>
                <a:gd name="T17" fmla="*/ 17 h 40"/>
                <a:gd name="T18" fmla="*/ 1 w 25"/>
                <a:gd name="T19" fmla="*/ 14 h 40"/>
                <a:gd name="T20" fmla="*/ 1 w 25"/>
                <a:gd name="T21" fmla="*/ 10 h 40"/>
                <a:gd name="T22" fmla="*/ 4 w 25"/>
                <a:gd name="T23" fmla="*/ 2 h 40"/>
                <a:gd name="T24" fmla="*/ 13 w 25"/>
                <a:gd name="T25" fmla="*/ 0 h 40"/>
                <a:gd name="T26" fmla="*/ 16 w 25"/>
                <a:gd name="T27" fmla="*/ 0 h 40"/>
                <a:gd name="T28" fmla="*/ 19 w 25"/>
                <a:gd name="T29" fmla="*/ 1 h 40"/>
                <a:gd name="T30" fmla="*/ 22 w 25"/>
                <a:gd name="T31" fmla="*/ 1 h 40"/>
                <a:gd name="T32" fmla="*/ 23 w 25"/>
                <a:gd name="T33" fmla="*/ 2 h 40"/>
                <a:gd name="T34" fmla="*/ 22 w 25"/>
                <a:gd name="T35" fmla="*/ 6 h 40"/>
                <a:gd name="T36" fmla="*/ 18 w 25"/>
                <a:gd name="T37" fmla="*/ 4 h 40"/>
                <a:gd name="T38" fmla="*/ 13 w 25"/>
                <a:gd name="T39" fmla="*/ 3 h 40"/>
                <a:gd name="T40" fmla="*/ 10 w 25"/>
                <a:gd name="T41" fmla="*/ 3 h 40"/>
                <a:gd name="T42" fmla="*/ 7 w 25"/>
                <a:gd name="T43" fmla="*/ 5 h 40"/>
                <a:gd name="T44" fmla="*/ 5 w 25"/>
                <a:gd name="T45" fmla="*/ 7 h 40"/>
                <a:gd name="T46" fmla="*/ 5 w 25"/>
                <a:gd name="T47" fmla="*/ 10 h 40"/>
                <a:gd name="T48" fmla="*/ 5 w 25"/>
                <a:gd name="T49" fmla="*/ 13 h 40"/>
                <a:gd name="T50" fmla="*/ 7 w 25"/>
                <a:gd name="T51" fmla="*/ 15 h 40"/>
                <a:gd name="T52" fmla="*/ 10 w 25"/>
                <a:gd name="T53" fmla="*/ 16 h 40"/>
                <a:gd name="T54" fmla="*/ 13 w 25"/>
                <a:gd name="T55" fmla="*/ 18 h 40"/>
                <a:gd name="T56" fmla="*/ 18 w 25"/>
                <a:gd name="T57" fmla="*/ 20 h 40"/>
                <a:gd name="T58" fmla="*/ 21 w 25"/>
                <a:gd name="T59" fmla="*/ 22 h 40"/>
                <a:gd name="T60" fmla="*/ 24 w 25"/>
                <a:gd name="T61" fmla="*/ 25 h 40"/>
                <a:gd name="T62" fmla="*/ 25 w 25"/>
                <a:gd name="T63" fmla="*/ 30 h 40"/>
                <a:gd name="T64" fmla="*/ 21 w 25"/>
                <a:gd name="T65" fmla="*/ 38 h 40"/>
                <a:gd name="T66" fmla="*/ 11 w 25"/>
                <a:gd name="T67" fmla="*/ 40 h 40"/>
                <a:gd name="T68" fmla="*/ 7 w 25"/>
                <a:gd name="T69" fmla="*/ 40 h 40"/>
                <a:gd name="T70" fmla="*/ 4 w 25"/>
                <a:gd name="T71" fmla="*/ 39 h 40"/>
                <a:gd name="T72" fmla="*/ 1 w 25"/>
                <a:gd name="T73" fmla="*/ 38 h 40"/>
                <a:gd name="T74" fmla="*/ 0 w 25"/>
                <a:gd name="T75" fmla="*/ 38 h 40"/>
                <a:gd name="T76" fmla="*/ 1 w 25"/>
                <a:gd name="T77" fmla="*/ 34 h 40"/>
                <a:gd name="T78" fmla="*/ 2 w 25"/>
                <a:gd name="T79" fmla="*/ 35 h 40"/>
                <a:gd name="T80" fmla="*/ 5 w 25"/>
                <a:gd name="T81" fmla="*/ 36 h 40"/>
                <a:gd name="T82" fmla="*/ 8 w 25"/>
                <a:gd name="T83" fmla="*/ 37 h 40"/>
                <a:gd name="T84" fmla="*/ 11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1" y="37"/>
                  </a:moveTo>
                  <a:cubicBezTo>
                    <a:pt x="14" y="37"/>
                    <a:pt x="16" y="36"/>
                    <a:pt x="18" y="35"/>
                  </a:cubicBezTo>
                  <a:cubicBezTo>
                    <a:pt x="20" y="34"/>
                    <a:pt x="21" y="32"/>
                    <a:pt x="21" y="30"/>
                  </a:cubicBezTo>
                  <a:cubicBezTo>
                    <a:pt x="21" y="29"/>
                    <a:pt x="20" y="27"/>
                    <a:pt x="20" y="26"/>
                  </a:cubicBezTo>
                  <a:cubicBezTo>
                    <a:pt x="19" y="25"/>
                    <a:pt x="19" y="25"/>
                    <a:pt x="18" y="24"/>
                  </a:cubicBezTo>
                  <a:cubicBezTo>
                    <a:pt x="17" y="23"/>
                    <a:pt x="16" y="23"/>
                    <a:pt x="15" y="22"/>
                  </a:cubicBezTo>
                  <a:cubicBezTo>
                    <a:pt x="13" y="22"/>
                    <a:pt x="12" y="21"/>
                    <a:pt x="11" y="21"/>
                  </a:cubicBezTo>
                  <a:cubicBezTo>
                    <a:pt x="9" y="20"/>
                    <a:pt x="8" y="20"/>
                    <a:pt x="7" y="19"/>
                  </a:cubicBezTo>
                  <a:cubicBezTo>
                    <a:pt x="5" y="18"/>
                    <a:pt x="4" y="17"/>
                    <a:pt x="3" y="17"/>
                  </a:cubicBezTo>
                  <a:cubicBezTo>
                    <a:pt x="3" y="16"/>
                    <a:pt x="2" y="15"/>
                    <a:pt x="1" y="14"/>
                  </a:cubicBezTo>
                  <a:cubicBezTo>
                    <a:pt x="1" y="13"/>
                    <a:pt x="1" y="11"/>
                    <a:pt x="1" y="10"/>
                  </a:cubicBezTo>
                  <a:cubicBezTo>
                    <a:pt x="1" y="7"/>
                    <a:pt x="2" y="4"/>
                    <a:pt x="4" y="2"/>
                  </a:cubicBezTo>
                  <a:cubicBezTo>
                    <a:pt x="6" y="1"/>
                    <a:pt x="9" y="0"/>
                    <a:pt x="13" y="0"/>
                  </a:cubicBezTo>
                  <a:cubicBezTo>
                    <a:pt x="14" y="0"/>
                    <a:pt x="15" y="0"/>
                    <a:pt x="16" y="0"/>
                  </a:cubicBezTo>
                  <a:cubicBezTo>
                    <a:pt x="17" y="0"/>
                    <a:pt x="18" y="0"/>
                    <a:pt x="19" y="1"/>
                  </a:cubicBezTo>
                  <a:cubicBezTo>
                    <a:pt x="20" y="1"/>
                    <a:pt x="21" y="1"/>
                    <a:pt x="22" y="1"/>
                  </a:cubicBezTo>
                  <a:cubicBezTo>
                    <a:pt x="22" y="2"/>
                    <a:pt x="23" y="2"/>
                    <a:pt x="23" y="2"/>
                  </a:cubicBezTo>
                  <a:cubicBezTo>
                    <a:pt x="22" y="6"/>
                    <a:pt x="22" y="6"/>
                    <a:pt x="22" y="6"/>
                  </a:cubicBezTo>
                  <a:cubicBezTo>
                    <a:pt x="21" y="5"/>
                    <a:pt x="20" y="4"/>
                    <a:pt x="18" y="4"/>
                  </a:cubicBezTo>
                  <a:cubicBezTo>
                    <a:pt x="16" y="3"/>
                    <a:pt x="15" y="3"/>
                    <a:pt x="13" y="3"/>
                  </a:cubicBezTo>
                  <a:cubicBezTo>
                    <a:pt x="12" y="3"/>
                    <a:pt x="11" y="3"/>
                    <a:pt x="10" y="3"/>
                  </a:cubicBezTo>
                  <a:cubicBezTo>
                    <a:pt x="9" y="4"/>
                    <a:pt x="8" y="4"/>
                    <a:pt x="7" y="5"/>
                  </a:cubicBezTo>
                  <a:cubicBezTo>
                    <a:pt x="6" y="5"/>
                    <a:pt x="6" y="6"/>
                    <a:pt x="5" y="7"/>
                  </a:cubicBezTo>
                  <a:cubicBezTo>
                    <a:pt x="5" y="7"/>
                    <a:pt x="5" y="8"/>
                    <a:pt x="5" y="10"/>
                  </a:cubicBezTo>
                  <a:cubicBezTo>
                    <a:pt x="5" y="11"/>
                    <a:pt x="5" y="12"/>
                    <a:pt x="5" y="13"/>
                  </a:cubicBezTo>
                  <a:cubicBezTo>
                    <a:pt x="6" y="13"/>
                    <a:pt x="6" y="14"/>
                    <a:pt x="7" y="15"/>
                  </a:cubicBezTo>
                  <a:cubicBezTo>
                    <a:pt x="8" y="15"/>
                    <a:pt x="9" y="16"/>
                    <a:pt x="10" y="16"/>
                  </a:cubicBezTo>
                  <a:cubicBezTo>
                    <a:pt x="11" y="17"/>
                    <a:pt x="12" y="17"/>
                    <a:pt x="13" y="18"/>
                  </a:cubicBezTo>
                  <a:cubicBezTo>
                    <a:pt x="15" y="19"/>
                    <a:pt x="16" y="19"/>
                    <a:pt x="18" y="20"/>
                  </a:cubicBezTo>
                  <a:cubicBezTo>
                    <a:pt x="19" y="20"/>
                    <a:pt x="20" y="21"/>
                    <a:pt x="21" y="22"/>
                  </a:cubicBezTo>
                  <a:cubicBezTo>
                    <a:pt x="22" y="23"/>
                    <a:pt x="23" y="24"/>
                    <a:pt x="24" y="25"/>
                  </a:cubicBezTo>
                  <a:cubicBezTo>
                    <a:pt x="24" y="26"/>
                    <a:pt x="25" y="28"/>
                    <a:pt x="25" y="30"/>
                  </a:cubicBezTo>
                  <a:cubicBezTo>
                    <a:pt x="25" y="33"/>
                    <a:pt x="23" y="36"/>
                    <a:pt x="21" y="38"/>
                  </a:cubicBezTo>
                  <a:cubicBezTo>
                    <a:pt x="19" y="39"/>
                    <a:pt x="15" y="40"/>
                    <a:pt x="11" y="40"/>
                  </a:cubicBezTo>
                  <a:cubicBezTo>
                    <a:pt x="10" y="40"/>
                    <a:pt x="8" y="40"/>
                    <a:pt x="7" y="40"/>
                  </a:cubicBezTo>
                  <a:cubicBezTo>
                    <a:pt x="6" y="40"/>
                    <a:pt x="5" y="40"/>
                    <a:pt x="4" y="39"/>
                  </a:cubicBezTo>
                  <a:cubicBezTo>
                    <a:pt x="3" y="39"/>
                    <a:pt x="2" y="39"/>
                    <a:pt x="1" y="38"/>
                  </a:cubicBezTo>
                  <a:cubicBezTo>
                    <a:pt x="1" y="38"/>
                    <a:pt x="0" y="38"/>
                    <a:pt x="0" y="38"/>
                  </a:cubicBezTo>
                  <a:cubicBezTo>
                    <a:pt x="1" y="34"/>
                    <a:pt x="1" y="34"/>
                    <a:pt x="1" y="34"/>
                  </a:cubicBezTo>
                  <a:cubicBezTo>
                    <a:pt x="1" y="35"/>
                    <a:pt x="2" y="35"/>
                    <a:pt x="2" y="35"/>
                  </a:cubicBezTo>
                  <a:cubicBezTo>
                    <a:pt x="3" y="35"/>
                    <a:pt x="4" y="36"/>
                    <a:pt x="5" y="36"/>
                  </a:cubicBezTo>
                  <a:cubicBezTo>
                    <a:pt x="5" y="36"/>
                    <a:pt x="6" y="36"/>
                    <a:pt x="8" y="37"/>
                  </a:cubicBezTo>
                  <a:cubicBezTo>
                    <a:pt x="9" y="37"/>
                    <a:pt x="10" y="37"/>
                    <a:pt x="11"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87"/>
            <p:cNvSpPr>
              <a:spLocks noEditPoints="1"/>
            </p:cNvSpPr>
            <p:nvPr/>
          </p:nvSpPr>
          <p:spPr bwMode="auto">
            <a:xfrm>
              <a:off x="8718553" y="3429034"/>
              <a:ext cx="44450" cy="73026"/>
            </a:xfrm>
            <a:custGeom>
              <a:avLst/>
              <a:gdLst>
                <a:gd name="T0" fmla="*/ 3 w 24"/>
                <a:gd name="T1" fmla="*/ 40 h 40"/>
                <a:gd name="T2" fmla="*/ 0 w 24"/>
                <a:gd name="T3" fmla="*/ 40 h 40"/>
                <a:gd name="T4" fmla="*/ 0 w 24"/>
                <a:gd name="T5" fmla="*/ 1 h 40"/>
                <a:gd name="T6" fmla="*/ 4 w 24"/>
                <a:gd name="T7" fmla="*/ 0 h 40"/>
                <a:gd name="T8" fmla="*/ 10 w 24"/>
                <a:gd name="T9" fmla="*/ 0 h 40"/>
                <a:gd name="T10" fmla="*/ 16 w 24"/>
                <a:gd name="T11" fmla="*/ 1 h 40"/>
                <a:gd name="T12" fmla="*/ 20 w 24"/>
                <a:gd name="T13" fmla="*/ 4 h 40"/>
                <a:gd name="T14" fmla="*/ 23 w 24"/>
                <a:gd name="T15" fmla="*/ 9 h 40"/>
                <a:gd name="T16" fmla="*/ 24 w 24"/>
                <a:gd name="T17" fmla="*/ 15 h 40"/>
                <a:gd name="T18" fmla="*/ 23 w 24"/>
                <a:gd name="T19" fmla="*/ 21 h 40"/>
                <a:gd name="T20" fmla="*/ 21 w 24"/>
                <a:gd name="T21" fmla="*/ 26 h 40"/>
                <a:gd name="T22" fmla="*/ 17 w 24"/>
                <a:gd name="T23" fmla="*/ 29 h 40"/>
                <a:gd name="T24" fmla="*/ 11 w 24"/>
                <a:gd name="T25" fmla="*/ 30 h 40"/>
                <a:gd name="T26" fmla="*/ 6 w 24"/>
                <a:gd name="T27" fmla="*/ 29 h 40"/>
                <a:gd name="T28" fmla="*/ 3 w 24"/>
                <a:gd name="T29" fmla="*/ 28 h 40"/>
                <a:gd name="T30" fmla="*/ 3 w 24"/>
                <a:gd name="T31" fmla="*/ 40 h 40"/>
                <a:gd name="T32" fmla="*/ 3 w 24"/>
                <a:gd name="T33" fmla="*/ 24 h 40"/>
                <a:gd name="T34" fmla="*/ 4 w 24"/>
                <a:gd name="T35" fmla="*/ 25 h 40"/>
                <a:gd name="T36" fmla="*/ 6 w 24"/>
                <a:gd name="T37" fmla="*/ 26 h 40"/>
                <a:gd name="T38" fmla="*/ 8 w 24"/>
                <a:gd name="T39" fmla="*/ 27 h 40"/>
                <a:gd name="T40" fmla="*/ 11 w 24"/>
                <a:gd name="T41" fmla="*/ 27 h 40"/>
                <a:gd name="T42" fmla="*/ 15 w 24"/>
                <a:gd name="T43" fmla="*/ 26 h 40"/>
                <a:gd name="T44" fmla="*/ 18 w 24"/>
                <a:gd name="T45" fmla="*/ 23 h 40"/>
                <a:gd name="T46" fmla="*/ 20 w 24"/>
                <a:gd name="T47" fmla="*/ 20 h 40"/>
                <a:gd name="T48" fmla="*/ 20 w 24"/>
                <a:gd name="T49" fmla="*/ 15 h 40"/>
                <a:gd name="T50" fmla="*/ 18 w 24"/>
                <a:gd name="T51" fmla="*/ 6 h 40"/>
                <a:gd name="T52" fmla="*/ 10 w 24"/>
                <a:gd name="T53" fmla="*/ 3 h 40"/>
                <a:gd name="T54" fmla="*/ 6 w 24"/>
                <a:gd name="T55" fmla="*/ 3 h 40"/>
                <a:gd name="T56" fmla="*/ 3 w 24"/>
                <a:gd name="T57" fmla="*/ 4 h 40"/>
                <a:gd name="T58" fmla="*/ 3 w 24"/>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0">
                  <a:moveTo>
                    <a:pt x="3" y="40"/>
                  </a:moveTo>
                  <a:cubicBezTo>
                    <a:pt x="0" y="40"/>
                    <a:pt x="0" y="40"/>
                    <a:pt x="0" y="40"/>
                  </a:cubicBezTo>
                  <a:cubicBezTo>
                    <a:pt x="0" y="1"/>
                    <a:pt x="0" y="1"/>
                    <a:pt x="0" y="1"/>
                  </a:cubicBezTo>
                  <a:cubicBezTo>
                    <a:pt x="1" y="1"/>
                    <a:pt x="2" y="1"/>
                    <a:pt x="4" y="0"/>
                  </a:cubicBezTo>
                  <a:cubicBezTo>
                    <a:pt x="5" y="0"/>
                    <a:pt x="7" y="0"/>
                    <a:pt x="10" y="0"/>
                  </a:cubicBezTo>
                  <a:cubicBezTo>
                    <a:pt x="12" y="0"/>
                    <a:pt x="14" y="0"/>
                    <a:pt x="16" y="1"/>
                  </a:cubicBezTo>
                  <a:cubicBezTo>
                    <a:pt x="18" y="2"/>
                    <a:pt x="19" y="3"/>
                    <a:pt x="20" y="4"/>
                  </a:cubicBezTo>
                  <a:cubicBezTo>
                    <a:pt x="22" y="5"/>
                    <a:pt x="23" y="7"/>
                    <a:pt x="23" y="9"/>
                  </a:cubicBezTo>
                  <a:cubicBezTo>
                    <a:pt x="24" y="11"/>
                    <a:pt x="24" y="13"/>
                    <a:pt x="24" y="15"/>
                  </a:cubicBezTo>
                  <a:cubicBezTo>
                    <a:pt x="24" y="17"/>
                    <a:pt x="24" y="19"/>
                    <a:pt x="23" y="21"/>
                  </a:cubicBezTo>
                  <a:cubicBezTo>
                    <a:pt x="23" y="23"/>
                    <a:pt x="22" y="25"/>
                    <a:pt x="21" y="26"/>
                  </a:cubicBezTo>
                  <a:cubicBezTo>
                    <a:pt x="20" y="27"/>
                    <a:pt x="18" y="28"/>
                    <a:pt x="17" y="29"/>
                  </a:cubicBezTo>
                  <a:cubicBezTo>
                    <a:pt x="15" y="30"/>
                    <a:pt x="13" y="30"/>
                    <a:pt x="11" y="30"/>
                  </a:cubicBezTo>
                  <a:cubicBezTo>
                    <a:pt x="9" y="30"/>
                    <a:pt x="8" y="30"/>
                    <a:pt x="6" y="29"/>
                  </a:cubicBezTo>
                  <a:cubicBezTo>
                    <a:pt x="5" y="29"/>
                    <a:pt x="4" y="28"/>
                    <a:pt x="3" y="28"/>
                  </a:cubicBezTo>
                  <a:lnTo>
                    <a:pt x="3" y="40"/>
                  </a:lnTo>
                  <a:close/>
                  <a:moveTo>
                    <a:pt x="3" y="24"/>
                  </a:moveTo>
                  <a:cubicBezTo>
                    <a:pt x="3" y="24"/>
                    <a:pt x="4" y="25"/>
                    <a:pt x="4" y="25"/>
                  </a:cubicBezTo>
                  <a:cubicBezTo>
                    <a:pt x="5" y="25"/>
                    <a:pt x="5" y="26"/>
                    <a:pt x="6" y="26"/>
                  </a:cubicBezTo>
                  <a:cubicBezTo>
                    <a:pt x="7" y="26"/>
                    <a:pt x="8" y="26"/>
                    <a:pt x="8" y="27"/>
                  </a:cubicBezTo>
                  <a:cubicBezTo>
                    <a:pt x="9" y="27"/>
                    <a:pt x="10" y="27"/>
                    <a:pt x="11" y="27"/>
                  </a:cubicBezTo>
                  <a:cubicBezTo>
                    <a:pt x="13" y="27"/>
                    <a:pt x="14" y="26"/>
                    <a:pt x="15" y="26"/>
                  </a:cubicBezTo>
                  <a:cubicBezTo>
                    <a:pt x="17" y="25"/>
                    <a:pt x="18" y="24"/>
                    <a:pt x="18" y="23"/>
                  </a:cubicBezTo>
                  <a:cubicBezTo>
                    <a:pt x="19" y="22"/>
                    <a:pt x="20" y="21"/>
                    <a:pt x="20" y="20"/>
                  </a:cubicBezTo>
                  <a:cubicBezTo>
                    <a:pt x="20" y="18"/>
                    <a:pt x="20" y="17"/>
                    <a:pt x="20" y="15"/>
                  </a:cubicBezTo>
                  <a:cubicBezTo>
                    <a:pt x="20" y="11"/>
                    <a:pt x="19"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88"/>
            <p:cNvSpPr>
              <a:spLocks noEditPoints="1"/>
            </p:cNvSpPr>
            <p:nvPr/>
          </p:nvSpPr>
          <p:spPr bwMode="auto">
            <a:xfrm>
              <a:off x="8774116" y="3429034"/>
              <a:ext cx="46038" cy="53976"/>
            </a:xfrm>
            <a:custGeom>
              <a:avLst/>
              <a:gdLst>
                <a:gd name="T0" fmla="*/ 0 w 25"/>
                <a:gd name="T1" fmla="*/ 15 h 30"/>
                <a:gd name="T2" fmla="*/ 2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2" y="8"/>
                  </a:cubicBezTo>
                  <a:cubicBezTo>
                    <a:pt x="2" y="6"/>
                    <a:pt x="3" y="5"/>
                    <a:pt x="4" y="4"/>
                  </a:cubicBezTo>
                  <a:cubicBezTo>
                    <a:pt x="6"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5"/>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89"/>
            <p:cNvSpPr>
              <a:spLocks noEditPoints="1"/>
            </p:cNvSpPr>
            <p:nvPr/>
          </p:nvSpPr>
          <p:spPr bwMode="auto">
            <a:xfrm>
              <a:off x="8829678"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90"/>
            <p:cNvSpPr>
              <a:spLocks noEditPoints="1"/>
            </p:cNvSpPr>
            <p:nvPr/>
          </p:nvSpPr>
          <p:spPr bwMode="auto">
            <a:xfrm>
              <a:off x="8886828" y="3403634"/>
              <a:ext cx="46038" cy="79376"/>
            </a:xfrm>
            <a:custGeom>
              <a:avLst/>
              <a:gdLst>
                <a:gd name="T0" fmla="*/ 25 w 25"/>
                <a:gd name="T1" fmla="*/ 43 h 44"/>
                <a:gd name="T2" fmla="*/ 20 w 25"/>
                <a:gd name="T3" fmla="*/ 44 h 44"/>
                <a:gd name="T4" fmla="*/ 14 w 25"/>
                <a:gd name="T5" fmla="*/ 44 h 44"/>
                <a:gd name="T6" fmla="*/ 8 w 25"/>
                <a:gd name="T7" fmla="*/ 43 h 44"/>
                <a:gd name="T8" fmla="*/ 4 w 25"/>
                <a:gd name="T9" fmla="*/ 40 h 44"/>
                <a:gd name="T10" fmla="*/ 1 w 25"/>
                <a:gd name="T11" fmla="*/ 35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6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7 h 44"/>
                <a:gd name="T40" fmla="*/ 13 w 25"/>
                <a:gd name="T41" fmla="*/ 17 h 44"/>
                <a:gd name="T42" fmla="*/ 9 w 25"/>
                <a:gd name="T43" fmla="*/ 18 h 44"/>
                <a:gd name="T44" fmla="*/ 6 w 25"/>
                <a:gd name="T45" fmla="*/ 21 h 44"/>
                <a:gd name="T46" fmla="*/ 4 w 25"/>
                <a:gd name="T47" fmla="*/ 24 h 44"/>
                <a:gd name="T48" fmla="*/ 4 w 25"/>
                <a:gd name="T49" fmla="*/ 29 h 44"/>
                <a:gd name="T50" fmla="*/ 7 w 25"/>
                <a:gd name="T51" fmla="*/ 38 h 44"/>
                <a:gd name="T52" fmla="*/ 14 w 25"/>
                <a:gd name="T53" fmla="*/ 41 h 44"/>
                <a:gd name="T54" fmla="*/ 18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3" y="43"/>
                    <a:pt x="22" y="43"/>
                    <a:pt x="20" y="44"/>
                  </a:cubicBezTo>
                  <a:cubicBezTo>
                    <a:pt x="19" y="44"/>
                    <a:pt x="17" y="44"/>
                    <a:pt x="14" y="44"/>
                  </a:cubicBezTo>
                  <a:cubicBezTo>
                    <a:pt x="12" y="44"/>
                    <a:pt x="10" y="44"/>
                    <a:pt x="8" y="43"/>
                  </a:cubicBezTo>
                  <a:cubicBezTo>
                    <a:pt x="6" y="42"/>
                    <a:pt x="5" y="41"/>
                    <a:pt x="4" y="40"/>
                  </a:cubicBezTo>
                  <a:cubicBezTo>
                    <a:pt x="2" y="39"/>
                    <a:pt x="2" y="37"/>
                    <a:pt x="1" y="35"/>
                  </a:cubicBezTo>
                  <a:cubicBezTo>
                    <a:pt x="0" y="33"/>
                    <a:pt x="0" y="31"/>
                    <a:pt x="0" y="29"/>
                  </a:cubicBezTo>
                  <a:cubicBezTo>
                    <a:pt x="0" y="27"/>
                    <a:pt x="0" y="25"/>
                    <a:pt x="1" y="23"/>
                  </a:cubicBezTo>
                  <a:cubicBezTo>
                    <a:pt x="1" y="21"/>
                    <a:pt x="2" y="19"/>
                    <a:pt x="3" y="18"/>
                  </a:cubicBezTo>
                  <a:cubicBezTo>
                    <a:pt x="4" y="17"/>
                    <a:pt x="6" y="16"/>
                    <a:pt x="7" y="15"/>
                  </a:cubicBezTo>
                  <a:cubicBezTo>
                    <a:pt x="9" y="14"/>
                    <a:pt x="11" y="14"/>
                    <a:pt x="13" y="14"/>
                  </a:cubicBezTo>
                  <a:cubicBezTo>
                    <a:pt x="15" y="14"/>
                    <a:pt x="16" y="14"/>
                    <a:pt x="18" y="15"/>
                  </a:cubicBezTo>
                  <a:cubicBezTo>
                    <a:pt x="19" y="15"/>
                    <a:pt x="20" y="16"/>
                    <a:pt x="21" y="16"/>
                  </a:cubicBezTo>
                  <a:cubicBezTo>
                    <a:pt x="21" y="1"/>
                    <a:pt x="21" y="1"/>
                    <a:pt x="21" y="1"/>
                  </a:cubicBezTo>
                  <a:cubicBezTo>
                    <a:pt x="25" y="0"/>
                    <a:pt x="25" y="0"/>
                    <a:pt x="25" y="0"/>
                  </a:cubicBezTo>
                  <a:lnTo>
                    <a:pt x="25" y="43"/>
                  </a:lnTo>
                  <a:close/>
                  <a:moveTo>
                    <a:pt x="21" y="20"/>
                  </a:moveTo>
                  <a:cubicBezTo>
                    <a:pt x="21" y="19"/>
                    <a:pt x="20" y="19"/>
                    <a:pt x="20" y="19"/>
                  </a:cubicBezTo>
                  <a:cubicBezTo>
                    <a:pt x="19" y="19"/>
                    <a:pt x="19" y="18"/>
                    <a:pt x="18" y="18"/>
                  </a:cubicBezTo>
                  <a:cubicBezTo>
                    <a:pt x="17" y="18"/>
                    <a:pt x="16" y="18"/>
                    <a:pt x="16" y="17"/>
                  </a:cubicBezTo>
                  <a:cubicBezTo>
                    <a:pt x="15" y="17"/>
                    <a:pt x="14" y="17"/>
                    <a:pt x="13" y="17"/>
                  </a:cubicBezTo>
                  <a:cubicBezTo>
                    <a:pt x="11" y="17"/>
                    <a:pt x="10" y="17"/>
                    <a:pt x="9" y="18"/>
                  </a:cubicBezTo>
                  <a:cubicBezTo>
                    <a:pt x="8" y="19"/>
                    <a:pt x="7" y="20"/>
                    <a:pt x="6" y="21"/>
                  </a:cubicBezTo>
                  <a:cubicBezTo>
                    <a:pt x="5" y="22"/>
                    <a:pt x="4" y="23"/>
                    <a:pt x="4" y="24"/>
                  </a:cubicBezTo>
                  <a:cubicBezTo>
                    <a:pt x="4" y="26"/>
                    <a:pt x="4" y="27"/>
                    <a:pt x="4" y="29"/>
                  </a:cubicBezTo>
                  <a:cubicBezTo>
                    <a:pt x="4" y="33"/>
                    <a:pt x="5" y="36"/>
                    <a:pt x="7" y="38"/>
                  </a:cubicBezTo>
                  <a:cubicBezTo>
                    <a:pt x="8" y="40"/>
                    <a:pt x="11" y="41"/>
                    <a:pt x="14" y="41"/>
                  </a:cubicBezTo>
                  <a:cubicBezTo>
                    <a:pt x="16" y="41"/>
                    <a:pt x="17" y="41"/>
                    <a:pt x="18" y="41"/>
                  </a:cubicBezTo>
                  <a:cubicBezTo>
                    <a:pt x="20" y="40"/>
                    <a:pt x="20" y="40"/>
                    <a:pt x="21" y="40"/>
                  </a:cubicBezTo>
                  <a:lnTo>
                    <a:pt x="21"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6" name="Group 555"/>
          <p:cNvGrpSpPr/>
          <p:nvPr/>
        </p:nvGrpSpPr>
        <p:grpSpPr>
          <a:xfrm>
            <a:off x="7825195" y="3125510"/>
            <a:ext cx="374651" cy="79376"/>
            <a:chOff x="7523165" y="3403634"/>
            <a:chExt cx="374651" cy="79376"/>
          </a:xfrm>
        </p:grpSpPr>
        <p:sp>
          <p:nvSpPr>
            <p:cNvPr id="438" name="Freeform 97"/>
            <p:cNvSpPr>
              <a:spLocks/>
            </p:cNvSpPr>
            <p:nvPr/>
          </p:nvSpPr>
          <p:spPr bwMode="auto">
            <a:xfrm>
              <a:off x="7523165" y="3409984"/>
              <a:ext cx="46038" cy="73026"/>
            </a:xfrm>
            <a:custGeom>
              <a:avLst/>
              <a:gdLst>
                <a:gd name="T0" fmla="*/ 11 w 25"/>
                <a:gd name="T1" fmla="*/ 37 h 40"/>
                <a:gd name="T2" fmla="*/ 19 w 25"/>
                <a:gd name="T3" fmla="*/ 35 h 40"/>
                <a:gd name="T4" fmla="*/ 21 w 25"/>
                <a:gd name="T5" fmla="*/ 30 h 40"/>
                <a:gd name="T6" fmla="*/ 20 w 25"/>
                <a:gd name="T7" fmla="*/ 26 h 40"/>
                <a:gd name="T8" fmla="*/ 18 w 25"/>
                <a:gd name="T9" fmla="*/ 24 h 40"/>
                <a:gd name="T10" fmla="*/ 15 w 25"/>
                <a:gd name="T11" fmla="*/ 22 h 40"/>
                <a:gd name="T12" fmla="*/ 11 w 25"/>
                <a:gd name="T13" fmla="*/ 21 h 40"/>
                <a:gd name="T14" fmla="*/ 7 w 25"/>
                <a:gd name="T15" fmla="*/ 19 h 40"/>
                <a:gd name="T16" fmla="*/ 4 w 25"/>
                <a:gd name="T17" fmla="*/ 17 h 40"/>
                <a:gd name="T18" fmla="*/ 2 w 25"/>
                <a:gd name="T19" fmla="*/ 14 h 40"/>
                <a:gd name="T20" fmla="*/ 1 w 25"/>
                <a:gd name="T21" fmla="*/ 10 h 40"/>
                <a:gd name="T22" fmla="*/ 4 w 25"/>
                <a:gd name="T23" fmla="*/ 2 h 40"/>
                <a:gd name="T24" fmla="*/ 14 w 25"/>
                <a:gd name="T25" fmla="*/ 0 h 40"/>
                <a:gd name="T26" fmla="*/ 17 w 25"/>
                <a:gd name="T27" fmla="*/ 0 h 40"/>
                <a:gd name="T28" fmla="*/ 19 w 25"/>
                <a:gd name="T29" fmla="*/ 1 h 40"/>
                <a:gd name="T30" fmla="*/ 22 w 25"/>
                <a:gd name="T31" fmla="*/ 1 h 40"/>
                <a:gd name="T32" fmla="*/ 24 w 25"/>
                <a:gd name="T33" fmla="*/ 2 h 40"/>
                <a:gd name="T34" fmla="*/ 22 w 25"/>
                <a:gd name="T35" fmla="*/ 6 h 40"/>
                <a:gd name="T36" fmla="*/ 18 w 25"/>
                <a:gd name="T37" fmla="*/ 4 h 40"/>
                <a:gd name="T38" fmla="*/ 13 w 25"/>
                <a:gd name="T39" fmla="*/ 3 h 40"/>
                <a:gd name="T40" fmla="*/ 10 w 25"/>
                <a:gd name="T41" fmla="*/ 3 h 40"/>
                <a:gd name="T42" fmla="*/ 7 w 25"/>
                <a:gd name="T43" fmla="*/ 5 h 40"/>
                <a:gd name="T44" fmla="*/ 6 w 25"/>
                <a:gd name="T45" fmla="*/ 7 h 40"/>
                <a:gd name="T46" fmla="*/ 5 w 25"/>
                <a:gd name="T47" fmla="*/ 10 h 40"/>
                <a:gd name="T48" fmla="*/ 6 w 25"/>
                <a:gd name="T49" fmla="*/ 13 h 40"/>
                <a:gd name="T50" fmla="*/ 7 w 25"/>
                <a:gd name="T51" fmla="*/ 15 h 40"/>
                <a:gd name="T52" fmla="*/ 10 w 25"/>
                <a:gd name="T53" fmla="*/ 16 h 40"/>
                <a:gd name="T54" fmla="*/ 14 w 25"/>
                <a:gd name="T55" fmla="*/ 18 h 40"/>
                <a:gd name="T56" fmla="*/ 18 w 25"/>
                <a:gd name="T57" fmla="*/ 20 h 40"/>
                <a:gd name="T58" fmla="*/ 22 w 25"/>
                <a:gd name="T59" fmla="*/ 22 h 40"/>
                <a:gd name="T60" fmla="*/ 24 w 25"/>
                <a:gd name="T61" fmla="*/ 25 h 40"/>
                <a:gd name="T62" fmla="*/ 25 w 25"/>
                <a:gd name="T63" fmla="*/ 30 h 40"/>
                <a:gd name="T64" fmla="*/ 21 w 25"/>
                <a:gd name="T65" fmla="*/ 38 h 40"/>
                <a:gd name="T66" fmla="*/ 11 w 25"/>
                <a:gd name="T67" fmla="*/ 40 h 40"/>
                <a:gd name="T68" fmla="*/ 7 w 25"/>
                <a:gd name="T69" fmla="*/ 40 h 40"/>
                <a:gd name="T70" fmla="*/ 4 w 25"/>
                <a:gd name="T71" fmla="*/ 39 h 40"/>
                <a:gd name="T72" fmla="*/ 2 w 25"/>
                <a:gd name="T73" fmla="*/ 38 h 40"/>
                <a:gd name="T74" fmla="*/ 0 w 25"/>
                <a:gd name="T75" fmla="*/ 38 h 40"/>
                <a:gd name="T76" fmla="*/ 1 w 25"/>
                <a:gd name="T77" fmla="*/ 34 h 40"/>
                <a:gd name="T78" fmla="*/ 3 w 25"/>
                <a:gd name="T79" fmla="*/ 35 h 40"/>
                <a:gd name="T80" fmla="*/ 5 w 25"/>
                <a:gd name="T81" fmla="*/ 36 h 40"/>
                <a:gd name="T82" fmla="*/ 8 w 25"/>
                <a:gd name="T83" fmla="*/ 37 h 40"/>
                <a:gd name="T84" fmla="*/ 11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1" y="37"/>
                  </a:moveTo>
                  <a:cubicBezTo>
                    <a:pt x="14" y="37"/>
                    <a:pt x="17" y="36"/>
                    <a:pt x="19" y="35"/>
                  </a:cubicBezTo>
                  <a:cubicBezTo>
                    <a:pt x="20" y="34"/>
                    <a:pt x="21" y="32"/>
                    <a:pt x="21" y="30"/>
                  </a:cubicBezTo>
                  <a:cubicBezTo>
                    <a:pt x="21" y="29"/>
                    <a:pt x="21" y="27"/>
                    <a:pt x="20" y="26"/>
                  </a:cubicBezTo>
                  <a:cubicBezTo>
                    <a:pt x="20" y="25"/>
                    <a:pt x="19" y="25"/>
                    <a:pt x="18" y="24"/>
                  </a:cubicBezTo>
                  <a:cubicBezTo>
                    <a:pt x="17" y="23"/>
                    <a:pt x="16" y="23"/>
                    <a:pt x="15" y="22"/>
                  </a:cubicBezTo>
                  <a:cubicBezTo>
                    <a:pt x="14" y="22"/>
                    <a:pt x="13" y="21"/>
                    <a:pt x="11" y="21"/>
                  </a:cubicBezTo>
                  <a:cubicBezTo>
                    <a:pt x="10" y="20"/>
                    <a:pt x="8" y="20"/>
                    <a:pt x="7" y="19"/>
                  </a:cubicBezTo>
                  <a:cubicBezTo>
                    <a:pt x="6" y="18"/>
                    <a:pt x="5" y="17"/>
                    <a:pt x="4" y="17"/>
                  </a:cubicBezTo>
                  <a:cubicBezTo>
                    <a:pt x="3" y="16"/>
                    <a:pt x="2" y="15"/>
                    <a:pt x="2" y="14"/>
                  </a:cubicBezTo>
                  <a:cubicBezTo>
                    <a:pt x="1" y="13"/>
                    <a:pt x="1" y="11"/>
                    <a:pt x="1" y="10"/>
                  </a:cubicBezTo>
                  <a:cubicBezTo>
                    <a:pt x="1" y="7"/>
                    <a:pt x="2" y="4"/>
                    <a:pt x="4" y="2"/>
                  </a:cubicBezTo>
                  <a:cubicBezTo>
                    <a:pt x="7" y="1"/>
                    <a:pt x="10" y="0"/>
                    <a:pt x="14" y="0"/>
                  </a:cubicBezTo>
                  <a:cubicBezTo>
                    <a:pt x="15" y="0"/>
                    <a:pt x="16" y="0"/>
                    <a:pt x="17" y="0"/>
                  </a:cubicBezTo>
                  <a:cubicBezTo>
                    <a:pt x="18" y="0"/>
                    <a:pt x="19" y="0"/>
                    <a:pt x="19" y="1"/>
                  </a:cubicBezTo>
                  <a:cubicBezTo>
                    <a:pt x="20" y="1"/>
                    <a:pt x="21" y="1"/>
                    <a:pt x="22" y="1"/>
                  </a:cubicBezTo>
                  <a:cubicBezTo>
                    <a:pt x="23" y="2"/>
                    <a:pt x="23" y="2"/>
                    <a:pt x="24" y="2"/>
                  </a:cubicBezTo>
                  <a:cubicBezTo>
                    <a:pt x="22" y="6"/>
                    <a:pt x="22" y="6"/>
                    <a:pt x="22" y="6"/>
                  </a:cubicBezTo>
                  <a:cubicBezTo>
                    <a:pt x="21" y="5"/>
                    <a:pt x="20" y="4"/>
                    <a:pt x="18" y="4"/>
                  </a:cubicBezTo>
                  <a:cubicBezTo>
                    <a:pt x="17" y="3"/>
                    <a:pt x="15" y="3"/>
                    <a:pt x="13" y="3"/>
                  </a:cubicBezTo>
                  <a:cubicBezTo>
                    <a:pt x="12" y="3"/>
                    <a:pt x="11" y="3"/>
                    <a:pt x="10" y="3"/>
                  </a:cubicBezTo>
                  <a:cubicBezTo>
                    <a:pt x="9" y="4"/>
                    <a:pt x="8" y="4"/>
                    <a:pt x="7" y="5"/>
                  </a:cubicBezTo>
                  <a:cubicBezTo>
                    <a:pt x="7" y="5"/>
                    <a:pt x="6" y="6"/>
                    <a:pt x="6" y="7"/>
                  </a:cubicBezTo>
                  <a:cubicBezTo>
                    <a:pt x="5" y="7"/>
                    <a:pt x="5" y="8"/>
                    <a:pt x="5" y="10"/>
                  </a:cubicBezTo>
                  <a:cubicBezTo>
                    <a:pt x="5" y="11"/>
                    <a:pt x="5" y="12"/>
                    <a:pt x="6" y="13"/>
                  </a:cubicBezTo>
                  <a:cubicBezTo>
                    <a:pt x="6" y="13"/>
                    <a:pt x="7" y="14"/>
                    <a:pt x="7" y="15"/>
                  </a:cubicBezTo>
                  <a:cubicBezTo>
                    <a:pt x="8" y="15"/>
                    <a:pt x="9" y="16"/>
                    <a:pt x="10" y="16"/>
                  </a:cubicBezTo>
                  <a:cubicBezTo>
                    <a:pt x="11" y="17"/>
                    <a:pt x="13" y="17"/>
                    <a:pt x="14" y="18"/>
                  </a:cubicBezTo>
                  <a:cubicBezTo>
                    <a:pt x="15" y="19"/>
                    <a:pt x="17" y="19"/>
                    <a:pt x="18" y="20"/>
                  </a:cubicBezTo>
                  <a:cubicBezTo>
                    <a:pt x="20" y="20"/>
                    <a:pt x="21" y="21"/>
                    <a:pt x="22" y="22"/>
                  </a:cubicBezTo>
                  <a:cubicBezTo>
                    <a:pt x="23" y="23"/>
                    <a:pt x="24" y="24"/>
                    <a:pt x="24" y="25"/>
                  </a:cubicBezTo>
                  <a:cubicBezTo>
                    <a:pt x="25" y="26"/>
                    <a:pt x="25" y="28"/>
                    <a:pt x="25" y="30"/>
                  </a:cubicBezTo>
                  <a:cubicBezTo>
                    <a:pt x="25" y="33"/>
                    <a:pt x="24" y="36"/>
                    <a:pt x="21" y="38"/>
                  </a:cubicBezTo>
                  <a:cubicBezTo>
                    <a:pt x="19" y="39"/>
                    <a:pt x="16" y="40"/>
                    <a:pt x="11" y="40"/>
                  </a:cubicBezTo>
                  <a:cubicBezTo>
                    <a:pt x="10" y="40"/>
                    <a:pt x="9" y="40"/>
                    <a:pt x="7" y="40"/>
                  </a:cubicBezTo>
                  <a:cubicBezTo>
                    <a:pt x="6" y="40"/>
                    <a:pt x="5" y="40"/>
                    <a:pt x="4" y="39"/>
                  </a:cubicBezTo>
                  <a:cubicBezTo>
                    <a:pt x="3" y="39"/>
                    <a:pt x="2" y="39"/>
                    <a:pt x="2" y="38"/>
                  </a:cubicBezTo>
                  <a:cubicBezTo>
                    <a:pt x="1" y="38"/>
                    <a:pt x="0" y="38"/>
                    <a:pt x="0" y="38"/>
                  </a:cubicBezTo>
                  <a:cubicBezTo>
                    <a:pt x="1" y="34"/>
                    <a:pt x="1" y="34"/>
                    <a:pt x="1" y="34"/>
                  </a:cubicBezTo>
                  <a:cubicBezTo>
                    <a:pt x="2" y="35"/>
                    <a:pt x="2" y="35"/>
                    <a:pt x="3" y="35"/>
                  </a:cubicBezTo>
                  <a:cubicBezTo>
                    <a:pt x="3" y="35"/>
                    <a:pt x="4" y="36"/>
                    <a:pt x="5" y="36"/>
                  </a:cubicBezTo>
                  <a:cubicBezTo>
                    <a:pt x="6" y="36"/>
                    <a:pt x="7" y="36"/>
                    <a:pt x="8" y="37"/>
                  </a:cubicBezTo>
                  <a:cubicBezTo>
                    <a:pt x="9" y="37"/>
                    <a:pt x="10" y="37"/>
                    <a:pt x="11"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98"/>
            <p:cNvSpPr>
              <a:spLocks noEditPoints="1"/>
            </p:cNvSpPr>
            <p:nvPr/>
          </p:nvSpPr>
          <p:spPr bwMode="auto">
            <a:xfrm>
              <a:off x="7578728" y="3429034"/>
              <a:ext cx="42863"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99"/>
            <p:cNvSpPr>
              <a:spLocks noEditPoints="1"/>
            </p:cNvSpPr>
            <p:nvPr/>
          </p:nvSpPr>
          <p:spPr bwMode="auto">
            <a:xfrm>
              <a:off x="7632703" y="3429034"/>
              <a:ext cx="41275"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8 w 22"/>
                <a:gd name="T15" fmla="*/ 30 h 30"/>
                <a:gd name="T16" fmla="*/ 15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3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4 w 22"/>
                <a:gd name="T59" fmla="*/ 1 h 30"/>
                <a:gd name="T60" fmla="*/ 7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10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9 w 22"/>
                <a:gd name="T89" fmla="*/ 26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8" y="1"/>
                    <a:pt x="19" y="2"/>
                    <a:pt x="19" y="3"/>
                  </a:cubicBezTo>
                  <a:cubicBezTo>
                    <a:pt x="20" y="4"/>
                    <a:pt x="21" y="5"/>
                    <a:pt x="21" y="6"/>
                  </a:cubicBezTo>
                  <a:cubicBezTo>
                    <a:pt x="22" y="8"/>
                    <a:pt x="22" y="9"/>
                    <a:pt x="22" y="10"/>
                  </a:cubicBezTo>
                  <a:cubicBezTo>
                    <a:pt x="22" y="29"/>
                    <a:pt x="22" y="29"/>
                    <a:pt x="22" y="29"/>
                  </a:cubicBezTo>
                  <a:cubicBezTo>
                    <a:pt x="21" y="29"/>
                    <a:pt x="21" y="29"/>
                    <a:pt x="20" y="29"/>
                  </a:cubicBezTo>
                  <a:cubicBezTo>
                    <a:pt x="19" y="29"/>
                    <a:pt x="19" y="29"/>
                    <a:pt x="18" y="30"/>
                  </a:cubicBezTo>
                  <a:cubicBezTo>
                    <a:pt x="17" y="30"/>
                    <a:pt x="16" y="30"/>
                    <a:pt x="15" y="30"/>
                  </a:cubicBezTo>
                  <a:cubicBezTo>
                    <a:pt x="13" y="30"/>
                    <a:pt x="12" y="30"/>
                    <a:pt x="11" y="30"/>
                  </a:cubicBezTo>
                  <a:cubicBezTo>
                    <a:pt x="10" y="30"/>
                    <a:pt x="8" y="30"/>
                    <a:pt x="7" y="30"/>
                  </a:cubicBezTo>
                  <a:cubicBezTo>
                    <a:pt x="6" y="29"/>
                    <a:pt x="4" y="29"/>
                    <a:pt x="3" y="28"/>
                  </a:cubicBezTo>
                  <a:cubicBezTo>
                    <a:pt x="3"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3" y="12"/>
                  </a:cubicBezTo>
                  <a:cubicBezTo>
                    <a:pt x="13" y="12"/>
                    <a:pt x="14"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3" y="3"/>
                    <a:pt x="11" y="3"/>
                  </a:cubicBezTo>
                  <a:cubicBezTo>
                    <a:pt x="9" y="3"/>
                    <a:pt x="7" y="3"/>
                    <a:pt x="6" y="3"/>
                  </a:cubicBezTo>
                  <a:cubicBezTo>
                    <a:pt x="5" y="4"/>
                    <a:pt x="5" y="4"/>
                    <a:pt x="4" y="4"/>
                  </a:cubicBezTo>
                  <a:cubicBezTo>
                    <a:pt x="4" y="1"/>
                    <a:pt x="4" y="1"/>
                    <a:pt x="4" y="1"/>
                  </a:cubicBezTo>
                  <a:cubicBezTo>
                    <a:pt x="4" y="1"/>
                    <a:pt x="5" y="0"/>
                    <a:pt x="7"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2" y="15"/>
                    <a:pt x="11" y="15"/>
                    <a:pt x="10" y="15"/>
                  </a:cubicBezTo>
                  <a:cubicBezTo>
                    <a:pt x="9" y="16"/>
                    <a:pt x="8" y="16"/>
                    <a:pt x="7" y="16"/>
                  </a:cubicBezTo>
                  <a:cubicBezTo>
                    <a:pt x="6" y="17"/>
                    <a:pt x="5" y="17"/>
                    <a:pt x="5" y="18"/>
                  </a:cubicBezTo>
                  <a:cubicBezTo>
                    <a:pt x="4" y="19"/>
                    <a:pt x="4" y="20"/>
                    <a:pt x="4" y="21"/>
                  </a:cubicBezTo>
                  <a:cubicBezTo>
                    <a:pt x="4" y="22"/>
                    <a:pt x="4" y="23"/>
                    <a:pt x="5" y="24"/>
                  </a:cubicBezTo>
                  <a:cubicBezTo>
                    <a:pt x="5" y="24"/>
                    <a:pt x="6" y="25"/>
                    <a:pt x="6" y="26"/>
                  </a:cubicBezTo>
                  <a:cubicBezTo>
                    <a:pt x="7" y="26"/>
                    <a:pt x="8" y="26"/>
                    <a:pt x="9" y="26"/>
                  </a:cubicBezTo>
                  <a:cubicBezTo>
                    <a:pt x="9" y="27"/>
                    <a:pt x="11"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100"/>
            <p:cNvSpPr>
              <a:spLocks/>
            </p:cNvSpPr>
            <p:nvPr/>
          </p:nvSpPr>
          <p:spPr bwMode="auto">
            <a:xfrm>
              <a:off x="7689853" y="3429034"/>
              <a:ext cx="30163" cy="52388"/>
            </a:xfrm>
            <a:custGeom>
              <a:avLst/>
              <a:gdLst>
                <a:gd name="T0" fmla="*/ 10 w 16"/>
                <a:gd name="T1" fmla="*/ 0 h 29"/>
                <a:gd name="T2" fmla="*/ 13 w 16"/>
                <a:gd name="T3" fmla="*/ 0 h 29"/>
                <a:gd name="T4" fmla="*/ 16 w 16"/>
                <a:gd name="T5" fmla="*/ 1 h 29"/>
                <a:gd name="T6" fmla="*/ 15 w 16"/>
                <a:gd name="T7" fmla="*/ 4 h 29"/>
                <a:gd name="T8" fmla="*/ 13 w 16"/>
                <a:gd name="T9" fmla="*/ 3 h 29"/>
                <a:gd name="T10" fmla="*/ 9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3" y="0"/>
                  </a:cubicBezTo>
                  <a:cubicBezTo>
                    <a:pt x="14" y="0"/>
                    <a:pt x="15" y="1"/>
                    <a:pt x="16" y="1"/>
                  </a:cubicBezTo>
                  <a:cubicBezTo>
                    <a:pt x="15" y="4"/>
                    <a:pt x="15" y="4"/>
                    <a:pt x="15" y="4"/>
                  </a:cubicBezTo>
                  <a:cubicBezTo>
                    <a:pt x="14" y="4"/>
                    <a:pt x="14" y="4"/>
                    <a:pt x="13" y="3"/>
                  </a:cubicBezTo>
                  <a:cubicBezTo>
                    <a:pt x="12" y="3"/>
                    <a:pt x="11" y="3"/>
                    <a:pt x="9"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101"/>
            <p:cNvSpPr>
              <a:spLocks/>
            </p:cNvSpPr>
            <p:nvPr/>
          </p:nvSpPr>
          <p:spPr bwMode="auto">
            <a:xfrm>
              <a:off x="7724778" y="3429034"/>
              <a:ext cx="41275" cy="53976"/>
            </a:xfrm>
            <a:custGeom>
              <a:avLst/>
              <a:gdLst>
                <a:gd name="T0" fmla="*/ 14 w 22"/>
                <a:gd name="T1" fmla="*/ 30 h 30"/>
                <a:gd name="T2" fmla="*/ 8 w 22"/>
                <a:gd name="T3" fmla="*/ 29 h 30"/>
                <a:gd name="T4" fmla="*/ 4 w 22"/>
                <a:gd name="T5" fmla="*/ 26 h 30"/>
                <a:gd name="T6" fmla="*/ 1 w 22"/>
                <a:gd name="T7" fmla="*/ 21 h 30"/>
                <a:gd name="T8" fmla="*/ 0 w 22"/>
                <a:gd name="T9" fmla="*/ 15 h 30"/>
                <a:gd name="T10" fmla="*/ 1 w 22"/>
                <a:gd name="T11" fmla="*/ 9 h 30"/>
                <a:gd name="T12" fmla="*/ 4 w 22"/>
                <a:gd name="T13" fmla="*/ 4 h 30"/>
                <a:gd name="T14" fmla="*/ 8 w 22"/>
                <a:gd name="T15" fmla="*/ 1 h 30"/>
                <a:gd name="T16" fmla="*/ 14 w 22"/>
                <a:gd name="T17" fmla="*/ 0 h 30"/>
                <a:gd name="T18" fmla="*/ 18 w 22"/>
                <a:gd name="T19" fmla="*/ 0 h 30"/>
                <a:gd name="T20" fmla="*/ 21 w 22"/>
                <a:gd name="T21" fmla="*/ 1 h 30"/>
                <a:gd name="T22" fmla="*/ 20 w 22"/>
                <a:gd name="T23" fmla="*/ 4 h 30"/>
                <a:gd name="T24" fmla="*/ 18 w 22"/>
                <a:gd name="T25" fmla="*/ 3 h 30"/>
                <a:gd name="T26" fmla="*/ 14 w 22"/>
                <a:gd name="T27" fmla="*/ 3 h 30"/>
                <a:gd name="T28" fmla="*/ 7 w 22"/>
                <a:gd name="T29" fmla="*/ 6 h 30"/>
                <a:gd name="T30" fmla="*/ 4 w 22"/>
                <a:gd name="T31" fmla="*/ 15 h 30"/>
                <a:gd name="T32" fmla="*/ 5 w 22"/>
                <a:gd name="T33" fmla="*/ 20 h 30"/>
                <a:gd name="T34" fmla="*/ 7 w 22"/>
                <a:gd name="T35" fmla="*/ 23 h 30"/>
                <a:gd name="T36" fmla="*/ 10 w 22"/>
                <a:gd name="T37" fmla="*/ 26 h 30"/>
                <a:gd name="T38" fmla="*/ 15 w 22"/>
                <a:gd name="T39" fmla="*/ 27 h 30"/>
                <a:gd name="T40" fmla="*/ 19 w 22"/>
                <a:gd name="T41" fmla="*/ 26 h 30"/>
                <a:gd name="T42" fmla="*/ 21 w 22"/>
                <a:gd name="T43" fmla="*/ 25 h 30"/>
                <a:gd name="T44" fmla="*/ 22 w 22"/>
                <a:gd name="T45" fmla="*/ 28 h 30"/>
                <a:gd name="T46" fmla="*/ 18 w 22"/>
                <a:gd name="T47" fmla="*/ 30 h 30"/>
                <a:gd name="T48" fmla="*/ 14 w 22"/>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30">
                  <a:moveTo>
                    <a:pt x="14" y="30"/>
                  </a:moveTo>
                  <a:cubicBezTo>
                    <a:pt x="12" y="30"/>
                    <a:pt x="10" y="30"/>
                    <a:pt x="8" y="29"/>
                  </a:cubicBezTo>
                  <a:cubicBezTo>
                    <a:pt x="6"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6" y="2"/>
                    <a:pt x="8" y="1"/>
                  </a:cubicBezTo>
                  <a:cubicBezTo>
                    <a:pt x="10" y="0"/>
                    <a:pt x="12" y="0"/>
                    <a:pt x="14" y="0"/>
                  </a:cubicBezTo>
                  <a:cubicBezTo>
                    <a:pt x="15" y="0"/>
                    <a:pt x="17" y="0"/>
                    <a:pt x="18" y="0"/>
                  </a:cubicBezTo>
                  <a:cubicBezTo>
                    <a:pt x="19" y="0"/>
                    <a:pt x="20" y="1"/>
                    <a:pt x="21" y="1"/>
                  </a:cubicBezTo>
                  <a:cubicBezTo>
                    <a:pt x="20" y="4"/>
                    <a:pt x="20" y="4"/>
                    <a:pt x="20" y="4"/>
                  </a:cubicBezTo>
                  <a:cubicBezTo>
                    <a:pt x="19" y="4"/>
                    <a:pt x="19" y="4"/>
                    <a:pt x="18" y="3"/>
                  </a:cubicBezTo>
                  <a:cubicBezTo>
                    <a:pt x="17" y="3"/>
                    <a:pt x="15" y="3"/>
                    <a:pt x="14" y="3"/>
                  </a:cubicBezTo>
                  <a:cubicBezTo>
                    <a:pt x="11" y="3"/>
                    <a:pt x="8" y="4"/>
                    <a:pt x="7" y="6"/>
                  </a:cubicBezTo>
                  <a:cubicBezTo>
                    <a:pt x="5" y="8"/>
                    <a:pt x="4" y="11"/>
                    <a:pt x="4" y="15"/>
                  </a:cubicBezTo>
                  <a:cubicBezTo>
                    <a:pt x="4" y="17"/>
                    <a:pt x="4" y="18"/>
                    <a:pt x="5" y="20"/>
                  </a:cubicBezTo>
                  <a:cubicBezTo>
                    <a:pt x="5" y="21"/>
                    <a:pt x="6" y="22"/>
                    <a:pt x="7" y="23"/>
                  </a:cubicBezTo>
                  <a:cubicBezTo>
                    <a:pt x="7" y="24"/>
                    <a:pt x="8" y="25"/>
                    <a:pt x="10" y="26"/>
                  </a:cubicBezTo>
                  <a:cubicBezTo>
                    <a:pt x="11" y="26"/>
                    <a:pt x="13" y="27"/>
                    <a:pt x="15" y="27"/>
                  </a:cubicBezTo>
                  <a:cubicBezTo>
                    <a:pt x="16" y="27"/>
                    <a:pt x="17" y="27"/>
                    <a:pt x="19" y="26"/>
                  </a:cubicBezTo>
                  <a:cubicBezTo>
                    <a:pt x="20" y="26"/>
                    <a:pt x="20" y="26"/>
                    <a:pt x="21" y="25"/>
                  </a:cubicBezTo>
                  <a:cubicBezTo>
                    <a:pt x="22" y="28"/>
                    <a:pt x="22" y="28"/>
                    <a:pt x="22" y="28"/>
                  </a:cubicBezTo>
                  <a:cubicBezTo>
                    <a:pt x="21" y="29"/>
                    <a:pt x="20" y="29"/>
                    <a:pt x="18" y="30"/>
                  </a:cubicBezTo>
                  <a:cubicBezTo>
                    <a:pt x="17" y="30"/>
                    <a:pt x="16" y="30"/>
                    <a:pt x="14"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102"/>
            <p:cNvSpPr>
              <a:spLocks/>
            </p:cNvSpPr>
            <p:nvPr/>
          </p:nvSpPr>
          <p:spPr bwMode="auto">
            <a:xfrm>
              <a:off x="7775578" y="3403634"/>
              <a:ext cx="41275" cy="77788"/>
            </a:xfrm>
            <a:custGeom>
              <a:avLst/>
              <a:gdLst>
                <a:gd name="T0" fmla="*/ 0 w 22"/>
                <a:gd name="T1" fmla="*/ 43 h 43"/>
                <a:gd name="T2" fmla="*/ 0 w 22"/>
                <a:gd name="T3" fmla="*/ 1 h 43"/>
                <a:gd name="T4" fmla="*/ 3 w 22"/>
                <a:gd name="T5" fmla="*/ 0 h 43"/>
                <a:gd name="T6" fmla="*/ 3 w 22"/>
                <a:gd name="T7" fmla="*/ 15 h 43"/>
                <a:gd name="T8" fmla="*/ 7 w 22"/>
                <a:gd name="T9" fmla="*/ 14 h 43"/>
                <a:gd name="T10" fmla="*/ 11 w 22"/>
                <a:gd name="T11" fmla="*/ 14 h 43"/>
                <a:gd name="T12" fmla="*/ 16 w 22"/>
                <a:gd name="T13" fmla="*/ 15 h 43"/>
                <a:gd name="T14" fmla="*/ 20 w 22"/>
                <a:gd name="T15" fmla="*/ 18 h 43"/>
                <a:gd name="T16" fmla="*/ 22 w 22"/>
                <a:gd name="T17" fmla="*/ 22 h 43"/>
                <a:gd name="T18" fmla="*/ 22 w 22"/>
                <a:gd name="T19" fmla="*/ 27 h 43"/>
                <a:gd name="T20" fmla="*/ 22 w 22"/>
                <a:gd name="T21" fmla="*/ 43 h 43"/>
                <a:gd name="T22" fmla="*/ 19 w 22"/>
                <a:gd name="T23" fmla="*/ 43 h 43"/>
                <a:gd name="T24" fmla="*/ 19 w 22"/>
                <a:gd name="T25" fmla="*/ 28 h 43"/>
                <a:gd name="T26" fmla="*/ 18 w 22"/>
                <a:gd name="T27" fmla="*/ 23 h 43"/>
                <a:gd name="T28" fmla="*/ 17 w 22"/>
                <a:gd name="T29" fmla="*/ 20 h 43"/>
                <a:gd name="T30" fmla="*/ 14 w 22"/>
                <a:gd name="T31" fmla="*/ 18 h 43"/>
                <a:gd name="T32" fmla="*/ 10 w 22"/>
                <a:gd name="T33" fmla="*/ 17 h 43"/>
                <a:gd name="T34" fmla="*/ 8 w 22"/>
                <a:gd name="T35" fmla="*/ 17 h 43"/>
                <a:gd name="T36" fmla="*/ 6 w 22"/>
                <a:gd name="T37" fmla="*/ 18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1"/>
                    <a:pt x="0" y="1"/>
                    <a:pt x="0" y="1"/>
                  </a:cubicBezTo>
                  <a:cubicBezTo>
                    <a:pt x="3" y="0"/>
                    <a:pt x="3" y="0"/>
                    <a:pt x="3" y="0"/>
                  </a:cubicBezTo>
                  <a:cubicBezTo>
                    <a:pt x="3" y="15"/>
                    <a:pt x="3" y="15"/>
                    <a:pt x="3" y="15"/>
                  </a:cubicBezTo>
                  <a:cubicBezTo>
                    <a:pt x="5" y="15"/>
                    <a:pt x="6" y="15"/>
                    <a:pt x="7" y="14"/>
                  </a:cubicBezTo>
                  <a:cubicBezTo>
                    <a:pt x="8" y="14"/>
                    <a:pt x="9" y="14"/>
                    <a:pt x="11" y="14"/>
                  </a:cubicBezTo>
                  <a:cubicBezTo>
                    <a:pt x="13" y="14"/>
                    <a:pt x="15" y="14"/>
                    <a:pt x="16" y="15"/>
                  </a:cubicBezTo>
                  <a:cubicBezTo>
                    <a:pt x="18" y="15"/>
                    <a:pt x="19" y="16"/>
                    <a:pt x="20" y="18"/>
                  </a:cubicBezTo>
                  <a:cubicBezTo>
                    <a:pt x="21" y="19"/>
                    <a:pt x="21" y="20"/>
                    <a:pt x="22" y="22"/>
                  </a:cubicBezTo>
                  <a:cubicBezTo>
                    <a:pt x="22" y="23"/>
                    <a:pt x="22" y="25"/>
                    <a:pt x="22" y="27"/>
                  </a:cubicBezTo>
                  <a:cubicBezTo>
                    <a:pt x="22" y="43"/>
                    <a:pt x="22" y="43"/>
                    <a:pt x="22"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5" y="18"/>
                    <a:pt x="14" y="18"/>
                  </a:cubicBezTo>
                  <a:cubicBezTo>
                    <a:pt x="13" y="17"/>
                    <a:pt x="12" y="17"/>
                    <a:pt x="10" y="17"/>
                  </a:cubicBezTo>
                  <a:cubicBezTo>
                    <a:pt x="10" y="17"/>
                    <a:pt x="9" y="17"/>
                    <a:pt x="8" y="17"/>
                  </a:cubicBezTo>
                  <a:cubicBezTo>
                    <a:pt x="7" y="17"/>
                    <a:pt x="7" y="18"/>
                    <a:pt x="6" y="18"/>
                  </a:cubicBezTo>
                  <a:cubicBezTo>
                    <a:pt x="5" y="18"/>
                    <a:pt x="5" y="18"/>
                    <a:pt x="4" y="18"/>
                  </a:cubicBezTo>
                  <a:cubicBezTo>
                    <a:pt x="4" y="18"/>
                    <a:pt x="4" y="18"/>
                    <a:pt x="3" y="18"/>
                  </a:cubicBezTo>
                  <a:cubicBezTo>
                    <a:pt x="3" y="43"/>
                    <a:pt x="3" y="43"/>
                    <a:pt x="3"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103"/>
            <p:cNvSpPr>
              <a:spLocks/>
            </p:cNvSpPr>
            <p:nvPr/>
          </p:nvSpPr>
          <p:spPr bwMode="auto">
            <a:xfrm>
              <a:off x="7854953" y="3409984"/>
              <a:ext cx="42863" cy="71438"/>
            </a:xfrm>
            <a:custGeom>
              <a:avLst/>
              <a:gdLst>
                <a:gd name="T0" fmla="*/ 22 w 23"/>
                <a:gd name="T1" fmla="*/ 10 h 39"/>
                <a:gd name="T2" fmla="*/ 21 w 23"/>
                <a:gd name="T3" fmla="*/ 14 h 39"/>
                <a:gd name="T4" fmla="*/ 19 w 23"/>
                <a:gd name="T5" fmla="*/ 18 h 39"/>
                <a:gd name="T6" fmla="*/ 16 w 23"/>
                <a:gd name="T7" fmla="*/ 22 h 39"/>
                <a:gd name="T8" fmla="*/ 13 w 23"/>
                <a:gd name="T9" fmla="*/ 25 h 39"/>
                <a:gd name="T10" fmla="*/ 10 w 23"/>
                <a:gd name="T11" fmla="*/ 28 h 39"/>
                <a:gd name="T12" fmla="*/ 8 w 23"/>
                <a:gd name="T13" fmla="*/ 31 h 39"/>
                <a:gd name="T14" fmla="*/ 6 w 23"/>
                <a:gd name="T15" fmla="*/ 33 h 39"/>
                <a:gd name="T16" fmla="*/ 5 w 23"/>
                <a:gd name="T17" fmla="*/ 36 h 39"/>
                <a:gd name="T18" fmla="*/ 5 w 23"/>
                <a:gd name="T19" fmla="*/ 36 h 39"/>
                <a:gd name="T20" fmla="*/ 23 w 23"/>
                <a:gd name="T21" fmla="*/ 36 h 39"/>
                <a:gd name="T22" fmla="*/ 23 w 23"/>
                <a:gd name="T23" fmla="*/ 39 h 39"/>
                <a:gd name="T24" fmla="*/ 1 w 23"/>
                <a:gd name="T25" fmla="*/ 39 h 39"/>
                <a:gd name="T26" fmla="*/ 1 w 23"/>
                <a:gd name="T27" fmla="*/ 39 h 39"/>
                <a:gd name="T28" fmla="*/ 1 w 23"/>
                <a:gd name="T29" fmla="*/ 38 h 39"/>
                <a:gd name="T30" fmla="*/ 2 w 23"/>
                <a:gd name="T31" fmla="*/ 33 h 39"/>
                <a:gd name="T32" fmla="*/ 4 w 23"/>
                <a:gd name="T33" fmla="*/ 29 h 39"/>
                <a:gd name="T34" fmla="*/ 8 w 23"/>
                <a:gd name="T35" fmla="*/ 25 h 39"/>
                <a:gd name="T36" fmla="*/ 11 w 23"/>
                <a:gd name="T37" fmla="*/ 22 h 39"/>
                <a:gd name="T38" fmla="*/ 14 w 23"/>
                <a:gd name="T39" fmla="*/ 19 h 39"/>
                <a:gd name="T40" fmla="*/ 16 w 23"/>
                <a:gd name="T41" fmla="*/ 17 h 39"/>
                <a:gd name="T42" fmla="*/ 18 w 23"/>
                <a:gd name="T43" fmla="*/ 14 h 39"/>
                <a:gd name="T44" fmla="*/ 18 w 23"/>
                <a:gd name="T45" fmla="*/ 10 h 39"/>
                <a:gd name="T46" fmla="*/ 16 w 23"/>
                <a:gd name="T47" fmla="*/ 5 h 39"/>
                <a:gd name="T48" fmla="*/ 11 w 23"/>
                <a:gd name="T49" fmla="*/ 3 h 39"/>
                <a:gd name="T50" fmla="*/ 8 w 23"/>
                <a:gd name="T51" fmla="*/ 4 h 39"/>
                <a:gd name="T52" fmla="*/ 5 w 23"/>
                <a:gd name="T53" fmla="*/ 5 h 39"/>
                <a:gd name="T54" fmla="*/ 3 w 23"/>
                <a:gd name="T55" fmla="*/ 6 h 39"/>
                <a:gd name="T56" fmla="*/ 2 w 23"/>
                <a:gd name="T57" fmla="*/ 7 h 39"/>
                <a:gd name="T58" fmla="*/ 0 w 23"/>
                <a:gd name="T59" fmla="*/ 4 h 39"/>
                <a:gd name="T60" fmla="*/ 2 w 23"/>
                <a:gd name="T61" fmla="*/ 3 h 39"/>
                <a:gd name="T62" fmla="*/ 4 w 23"/>
                <a:gd name="T63" fmla="*/ 2 h 39"/>
                <a:gd name="T64" fmla="*/ 7 w 23"/>
                <a:gd name="T65" fmla="*/ 0 h 39"/>
                <a:gd name="T66" fmla="*/ 11 w 23"/>
                <a:gd name="T67" fmla="*/ 0 h 39"/>
                <a:gd name="T68" fmla="*/ 19 w 23"/>
                <a:gd name="T69" fmla="*/ 3 h 39"/>
                <a:gd name="T70" fmla="*/ 22 w 23"/>
                <a:gd name="T71"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9">
                  <a:moveTo>
                    <a:pt x="22" y="10"/>
                  </a:moveTo>
                  <a:cubicBezTo>
                    <a:pt x="22" y="12"/>
                    <a:pt x="22" y="13"/>
                    <a:pt x="21" y="14"/>
                  </a:cubicBezTo>
                  <a:cubicBezTo>
                    <a:pt x="21" y="16"/>
                    <a:pt x="20" y="17"/>
                    <a:pt x="19" y="18"/>
                  </a:cubicBezTo>
                  <a:cubicBezTo>
                    <a:pt x="18" y="19"/>
                    <a:pt x="17" y="20"/>
                    <a:pt x="16" y="22"/>
                  </a:cubicBezTo>
                  <a:cubicBezTo>
                    <a:pt x="15" y="23"/>
                    <a:pt x="14" y="24"/>
                    <a:pt x="13" y="25"/>
                  </a:cubicBezTo>
                  <a:cubicBezTo>
                    <a:pt x="12" y="26"/>
                    <a:pt x="11" y="27"/>
                    <a:pt x="10" y="28"/>
                  </a:cubicBezTo>
                  <a:cubicBezTo>
                    <a:pt x="9" y="29"/>
                    <a:pt x="8" y="30"/>
                    <a:pt x="8" y="31"/>
                  </a:cubicBezTo>
                  <a:cubicBezTo>
                    <a:pt x="7" y="32"/>
                    <a:pt x="6" y="32"/>
                    <a:pt x="6" y="33"/>
                  </a:cubicBezTo>
                  <a:cubicBezTo>
                    <a:pt x="5" y="34"/>
                    <a:pt x="5" y="35"/>
                    <a:pt x="5" y="36"/>
                  </a:cubicBezTo>
                  <a:cubicBezTo>
                    <a:pt x="5" y="36"/>
                    <a:pt x="5" y="36"/>
                    <a:pt x="5" y="36"/>
                  </a:cubicBezTo>
                  <a:cubicBezTo>
                    <a:pt x="23" y="36"/>
                    <a:pt x="23" y="36"/>
                    <a:pt x="23" y="36"/>
                  </a:cubicBezTo>
                  <a:cubicBezTo>
                    <a:pt x="23" y="39"/>
                    <a:pt x="23" y="39"/>
                    <a:pt x="23" y="39"/>
                  </a:cubicBezTo>
                  <a:cubicBezTo>
                    <a:pt x="1" y="39"/>
                    <a:pt x="1" y="39"/>
                    <a:pt x="1" y="39"/>
                  </a:cubicBezTo>
                  <a:cubicBezTo>
                    <a:pt x="1" y="39"/>
                    <a:pt x="1" y="39"/>
                    <a:pt x="1" y="39"/>
                  </a:cubicBezTo>
                  <a:cubicBezTo>
                    <a:pt x="1" y="39"/>
                    <a:pt x="1" y="38"/>
                    <a:pt x="1" y="38"/>
                  </a:cubicBezTo>
                  <a:cubicBezTo>
                    <a:pt x="1" y="36"/>
                    <a:pt x="1" y="35"/>
                    <a:pt x="2" y="33"/>
                  </a:cubicBezTo>
                  <a:cubicBezTo>
                    <a:pt x="3" y="32"/>
                    <a:pt x="3" y="30"/>
                    <a:pt x="4" y="29"/>
                  </a:cubicBezTo>
                  <a:cubicBezTo>
                    <a:pt x="5" y="28"/>
                    <a:pt x="7" y="26"/>
                    <a:pt x="8" y="25"/>
                  </a:cubicBezTo>
                  <a:cubicBezTo>
                    <a:pt x="9" y="24"/>
                    <a:pt x="10" y="23"/>
                    <a:pt x="11" y="22"/>
                  </a:cubicBezTo>
                  <a:cubicBezTo>
                    <a:pt x="12" y="21"/>
                    <a:pt x="13" y="20"/>
                    <a:pt x="14" y="19"/>
                  </a:cubicBezTo>
                  <a:cubicBezTo>
                    <a:pt x="15" y="18"/>
                    <a:pt x="15" y="18"/>
                    <a:pt x="16" y="17"/>
                  </a:cubicBezTo>
                  <a:cubicBezTo>
                    <a:pt x="17" y="16"/>
                    <a:pt x="17" y="15"/>
                    <a:pt x="18" y="14"/>
                  </a:cubicBezTo>
                  <a:cubicBezTo>
                    <a:pt x="18" y="13"/>
                    <a:pt x="18" y="12"/>
                    <a:pt x="18" y="10"/>
                  </a:cubicBezTo>
                  <a:cubicBezTo>
                    <a:pt x="18" y="8"/>
                    <a:pt x="17" y="6"/>
                    <a:pt x="16" y="5"/>
                  </a:cubicBezTo>
                  <a:cubicBezTo>
                    <a:pt x="15" y="4"/>
                    <a:pt x="13" y="3"/>
                    <a:pt x="11" y="3"/>
                  </a:cubicBezTo>
                  <a:cubicBezTo>
                    <a:pt x="10" y="3"/>
                    <a:pt x="9" y="3"/>
                    <a:pt x="8" y="4"/>
                  </a:cubicBezTo>
                  <a:cubicBezTo>
                    <a:pt x="7" y="4"/>
                    <a:pt x="6" y="4"/>
                    <a:pt x="5" y="5"/>
                  </a:cubicBezTo>
                  <a:cubicBezTo>
                    <a:pt x="4" y="5"/>
                    <a:pt x="4" y="5"/>
                    <a:pt x="3" y="6"/>
                  </a:cubicBezTo>
                  <a:cubicBezTo>
                    <a:pt x="3" y="6"/>
                    <a:pt x="3" y="6"/>
                    <a:pt x="2" y="7"/>
                  </a:cubicBezTo>
                  <a:cubicBezTo>
                    <a:pt x="0" y="4"/>
                    <a:pt x="0" y="4"/>
                    <a:pt x="0" y="4"/>
                  </a:cubicBezTo>
                  <a:cubicBezTo>
                    <a:pt x="1" y="4"/>
                    <a:pt x="1" y="4"/>
                    <a:pt x="2" y="3"/>
                  </a:cubicBezTo>
                  <a:cubicBezTo>
                    <a:pt x="2" y="3"/>
                    <a:pt x="3" y="2"/>
                    <a:pt x="4" y="2"/>
                  </a:cubicBezTo>
                  <a:cubicBezTo>
                    <a:pt x="5" y="1"/>
                    <a:pt x="6" y="1"/>
                    <a:pt x="7" y="0"/>
                  </a:cubicBezTo>
                  <a:cubicBezTo>
                    <a:pt x="8" y="0"/>
                    <a:pt x="9" y="0"/>
                    <a:pt x="11" y="0"/>
                  </a:cubicBezTo>
                  <a:cubicBezTo>
                    <a:pt x="15" y="0"/>
                    <a:pt x="17" y="1"/>
                    <a:pt x="19" y="3"/>
                  </a:cubicBezTo>
                  <a:cubicBezTo>
                    <a:pt x="21" y="4"/>
                    <a:pt x="22" y="7"/>
                    <a:pt x="22" y="1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7" name="Group 566"/>
          <p:cNvGrpSpPr/>
          <p:nvPr/>
        </p:nvGrpSpPr>
        <p:grpSpPr>
          <a:xfrm>
            <a:off x="373064" y="3347625"/>
            <a:ext cx="835025" cy="784225"/>
            <a:chOff x="361951" y="3562350"/>
            <a:chExt cx="835025" cy="784225"/>
          </a:xfrm>
        </p:grpSpPr>
        <p:sp>
          <p:nvSpPr>
            <p:cNvPr id="136" name="Freeform 87"/>
            <p:cNvSpPr>
              <a:spLocks/>
            </p:cNvSpPr>
            <p:nvPr/>
          </p:nvSpPr>
          <p:spPr bwMode="auto">
            <a:xfrm>
              <a:off x="361951" y="3562350"/>
              <a:ext cx="835025" cy="784225"/>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37" name="Freeform 88"/>
            <p:cNvSpPr>
              <a:spLocks/>
            </p:cNvSpPr>
            <p:nvPr/>
          </p:nvSpPr>
          <p:spPr bwMode="auto">
            <a:xfrm>
              <a:off x="558801" y="3800475"/>
              <a:ext cx="461962" cy="292100"/>
            </a:xfrm>
            <a:custGeom>
              <a:avLst/>
              <a:gdLst>
                <a:gd name="T0" fmla="*/ 233 w 240"/>
                <a:gd name="T1" fmla="*/ 70 h 150"/>
                <a:gd name="T2" fmla="*/ 171 w 240"/>
                <a:gd name="T3" fmla="*/ 41 h 150"/>
                <a:gd name="T4" fmla="*/ 111 w 240"/>
                <a:gd name="T5" fmla="*/ 2 h 150"/>
                <a:gd name="T6" fmla="*/ 48 w 240"/>
                <a:gd name="T7" fmla="*/ 52 h 150"/>
                <a:gd name="T8" fmla="*/ 1 w 240"/>
                <a:gd name="T9" fmla="*/ 90 h 150"/>
                <a:gd name="T10" fmla="*/ 1 w 240"/>
                <a:gd name="T11" fmla="*/ 90 h 150"/>
                <a:gd name="T12" fmla="*/ 95 w 240"/>
                <a:gd name="T13" fmla="*/ 138 h 150"/>
                <a:gd name="T14" fmla="*/ 95 w 240"/>
                <a:gd name="T15" fmla="*/ 138 h 150"/>
                <a:gd name="T16" fmla="*/ 207 w 240"/>
                <a:gd name="T17" fmla="*/ 115 h 150"/>
                <a:gd name="T18" fmla="*/ 231 w 240"/>
                <a:gd name="T19" fmla="*/ 118 h 150"/>
                <a:gd name="T20" fmla="*/ 233 w 240"/>
                <a:gd name="T21" fmla="*/ 7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150">
                  <a:moveTo>
                    <a:pt x="233" y="70"/>
                  </a:moveTo>
                  <a:cubicBezTo>
                    <a:pt x="223" y="47"/>
                    <a:pt x="200" y="34"/>
                    <a:pt x="171" y="41"/>
                  </a:cubicBezTo>
                  <a:cubicBezTo>
                    <a:pt x="171" y="41"/>
                    <a:pt x="157" y="0"/>
                    <a:pt x="111" y="2"/>
                  </a:cubicBezTo>
                  <a:cubicBezTo>
                    <a:pt x="73" y="4"/>
                    <a:pt x="52" y="30"/>
                    <a:pt x="48" y="52"/>
                  </a:cubicBezTo>
                  <a:cubicBezTo>
                    <a:pt x="30" y="47"/>
                    <a:pt x="0" y="61"/>
                    <a:pt x="1" y="90"/>
                  </a:cubicBezTo>
                  <a:cubicBezTo>
                    <a:pt x="1" y="90"/>
                    <a:pt x="1" y="90"/>
                    <a:pt x="1" y="90"/>
                  </a:cubicBezTo>
                  <a:cubicBezTo>
                    <a:pt x="2" y="150"/>
                    <a:pt x="78" y="141"/>
                    <a:pt x="95" y="138"/>
                  </a:cubicBezTo>
                  <a:cubicBezTo>
                    <a:pt x="95" y="138"/>
                    <a:pt x="95" y="138"/>
                    <a:pt x="95" y="138"/>
                  </a:cubicBezTo>
                  <a:cubicBezTo>
                    <a:pt x="120" y="135"/>
                    <a:pt x="162" y="115"/>
                    <a:pt x="207" y="115"/>
                  </a:cubicBezTo>
                  <a:cubicBezTo>
                    <a:pt x="216" y="115"/>
                    <a:pt x="224" y="116"/>
                    <a:pt x="231" y="118"/>
                  </a:cubicBezTo>
                  <a:cubicBezTo>
                    <a:pt x="236" y="106"/>
                    <a:pt x="240" y="89"/>
                    <a:pt x="233" y="7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8" name="Group 567"/>
          <p:cNvGrpSpPr/>
          <p:nvPr/>
        </p:nvGrpSpPr>
        <p:grpSpPr>
          <a:xfrm>
            <a:off x="1598051" y="3369850"/>
            <a:ext cx="796925" cy="746125"/>
            <a:chOff x="1584326" y="3584575"/>
            <a:chExt cx="796925" cy="746125"/>
          </a:xfrm>
        </p:grpSpPr>
        <p:sp>
          <p:nvSpPr>
            <p:cNvPr id="138" name="Freeform 89"/>
            <p:cNvSpPr>
              <a:spLocks/>
            </p:cNvSpPr>
            <p:nvPr/>
          </p:nvSpPr>
          <p:spPr bwMode="auto">
            <a:xfrm>
              <a:off x="1584326" y="3584575"/>
              <a:ext cx="796925" cy="746125"/>
            </a:xfrm>
            <a:custGeom>
              <a:avLst/>
              <a:gdLst>
                <a:gd name="T0" fmla="*/ 23 w 414"/>
                <a:gd name="T1" fmla="*/ 234 h 385"/>
                <a:gd name="T2" fmla="*/ 165 w 414"/>
                <a:gd name="T3" fmla="*/ 20 h 385"/>
                <a:gd name="T4" fmla="*/ 391 w 414"/>
                <a:gd name="T5" fmla="*/ 163 h 385"/>
                <a:gd name="T6" fmla="*/ 247 w 414"/>
                <a:gd name="T7" fmla="*/ 365 h 385"/>
                <a:gd name="T8" fmla="*/ 23 w 414"/>
                <a:gd name="T9" fmla="*/ 234 h 385"/>
              </a:gdLst>
              <a:ahLst/>
              <a:cxnLst>
                <a:cxn ang="0">
                  <a:pos x="T0" y="T1"/>
                </a:cxn>
                <a:cxn ang="0">
                  <a:pos x="T2" y="T3"/>
                </a:cxn>
                <a:cxn ang="0">
                  <a:pos x="T4" y="T5"/>
                </a:cxn>
                <a:cxn ang="0">
                  <a:pos x="T6" y="T7"/>
                </a:cxn>
                <a:cxn ang="0">
                  <a:pos x="T8" y="T9"/>
                </a:cxn>
              </a:cxnLst>
              <a:rect l="0" t="0" r="r" b="b"/>
              <a:pathLst>
                <a:path w="414" h="385">
                  <a:moveTo>
                    <a:pt x="23" y="234"/>
                  </a:moveTo>
                  <a:cubicBezTo>
                    <a:pt x="0" y="136"/>
                    <a:pt x="64" y="40"/>
                    <a:pt x="165" y="20"/>
                  </a:cubicBezTo>
                  <a:cubicBezTo>
                    <a:pt x="267" y="0"/>
                    <a:pt x="368" y="64"/>
                    <a:pt x="391" y="163"/>
                  </a:cubicBezTo>
                  <a:cubicBezTo>
                    <a:pt x="414" y="261"/>
                    <a:pt x="349" y="346"/>
                    <a:pt x="247" y="365"/>
                  </a:cubicBezTo>
                  <a:cubicBezTo>
                    <a:pt x="145" y="385"/>
                    <a:pt x="47" y="333"/>
                    <a:pt x="23" y="23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39" name="Freeform 90"/>
            <p:cNvSpPr>
              <a:spLocks/>
            </p:cNvSpPr>
            <p:nvPr/>
          </p:nvSpPr>
          <p:spPr bwMode="auto">
            <a:xfrm>
              <a:off x="1712913" y="3821113"/>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91"/>
            <p:cNvSpPr>
              <a:spLocks/>
            </p:cNvSpPr>
            <p:nvPr/>
          </p:nvSpPr>
          <p:spPr bwMode="auto">
            <a:xfrm>
              <a:off x="1665288" y="3956050"/>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92"/>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93"/>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94"/>
            <p:cNvSpPr>
              <a:spLocks/>
            </p:cNvSpPr>
            <p:nvPr/>
          </p:nvSpPr>
          <p:spPr bwMode="auto">
            <a:xfrm>
              <a:off x="1885951" y="3821113"/>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95"/>
            <p:cNvSpPr>
              <a:spLocks/>
            </p:cNvSpPr>
            <p:nvPr/>
          </p:nvSpPr>
          <p:spPr bwMode="auto">
            <a:xfrm>
              <a:off x="1814513" y="4006850"/>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9" name="Group 568"/>
          <p:cNvGrpSpPr/>
          <p:nvPr/>
        </p:nvGrpSpPr>
        <p:grpSpPr>
          <a:xfrm>
            <a:off x="2763485" y="3353975"/>
            <a:ext cx="827087" cy="774700"/>
            <a:chOff x="2776538" y="3568700"/>
            <a:chExt cx="827087" cy="774700"/>
          </a:xfrm>
        </p:grpSpPr>
        <p:sp>
          <p:nvSpPr>
            <p:cNvPr id="145" name="Freeform 96"/>
            <p:cNvSpPr>
              <a:spLocks/>
            </p:cNvSpPr>
            <p:nvPr/>
          </p:nvSpPr>
          <p:spPr bwMode="auto">
            <a:xfrm>
              <a:off x="2776538" y="3568700"/>
              <a:ext cx="827087" cy="774700"/>
            </a:xfrm>
            <a:custGeom>
              <a:avLst/>
              <a:gdLst>
                <a:gd name="T0" fmla="*/ 38 w 429"/>
                <a:gd name="T1" fmla="*/ 269 h 400"/>
                <a:gd name="T2" fmla="*/ 146 w 429"/>
                <a:gd name="T3" fmla="*/ 35 h 400"/>
                <a:gd name="T4" fmla="*/ 392 w 429"/>
                <a:gd name="T5" fmla="*/ 143 h 400"/>
                <a:gd name="T6" fmla="*/ 279 w 429"/>
                <a:gd name="T7" fmla="*/ 365 h 400"/>
                <a:gd name="T8" fmla="*/ 38 w 429"/>
                <a:gd name="T9" fmla="*/ 269 h 400"/>
              </a:gdLst>
              <a:ahLst/>
              <a:cxnLst>
                <a:cxn ang="0">
                  <a:pos x="T0" y="T1"/>
                </a:cxn>
                <a:cxn ang="0">
                  <a:pos x="T2" y="T3"/>
                </a:cxn>
                <a:cxn ang="0">
                  <a:pos x="T4" y="T5"/>
                </a:cxn>
                <a:cxn ang="0">
                  <a:pos x="T6" y="T7"/>
                </a:cxn>
                <a:cxn ang="0">
                  <a:pos x="T8" y="T9"/>
                </a:cxn>
              </a:cxnLst>
              <a:rect l="0" t="0" r="r" b="b"/>
              <a:pathLst>
                <a:path w="429" h="400">
                  <a:moveTo>
                    <a:pt x="38" y="269"/>
                  </a:moveTo>
                  <a:cubicBezTo>
                    <a:pt x="0" y="174"/>
                    <a:pt x="48" y="70"/>
                    <a:pt x="146" y="35"/>
                  </a:cubicBezTo>
                  <a:cubicBezTo>
                    <a:pt x="244" y="0"/>
                    <a:pt x="354" y="48"/>
                    <a:pt x="392" y="143"/>
                  </a:cubicBezTo>
                  <a:cubicBezTo>
                    <a:pt x="429" y="237"/>
                    <a:pt x="377" y="331"/>
                    <a:pt x="279" y="365"/>
                  </a:cubicBezTo>
                  <a:cubicBezTo>
                    <a:pt x="181" y="400"/>
                    <a:pt x="75" y="363"/>
                    <a:pt x="38" y="26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149" name="Freeform 97"/>
            <p:cNvSpPr>
              <a:spLocks/>
            </p:cNvSpPr>
            <p:nvPr/>
          </p:nvSpPr>
          <p:spPr bwMode="auto">
            <a:xfrm>
              <a:off x="3175001" y="3625850"/>
              <a:ext cx="147637" cy="198438"/>
            </a:xfrm>
            <a:custGeom>
              <a:avLst/>
              <a:gdLst>
                <a:gd name="T0" fmla="*/ 76 w 76"/>
                <a:gd name="T1" fmla="*/ 2 h 102"/>
                <a:gd name="T2" fmla="*/ 75 w 76"/>
                <a:gd name="T3" fmla="*/ 4 h 102"/>
                <a:gd name="T4" fmla="*/ 43 w 76"/>
                <a:gd name="T5" fmla="*/ 36 h 102"/>
                <a:gd name="T6" fmla="*/ 33 w 76"/>
                <a:gd name="T7" fmla="*/ 36 h 102"/>
                <a:gd name="T8" fmla="*/ 5 w 76"/>
                <a:gd name="T9" fmla="*/ 64 h 102"/>
                <a:gd name="T10" fmla="*/ 5 w 76"/>
                <a:gd name="T11" fmla="*/ 102 h 102"/>
                <a:gd name="T12" fmla="*/ 0 w 76"/>
                <a:gd name="T13" fmla="*/ 102 h 102"/>
                <a:gd name="T14" fmla="*/ 0 w 76"/>
                <a:gd name="T15" fmla="*/ 64 h 102"/>
                <a:gd name="T16" fmla="*/ 33 w 76"/>
                <a:gd name="T17" fmla="*/ 31 h 102"/>
                <a:gd name="T18" fmla="*/ 43 w 76"/>
                <a:gd name="T19" fmla="*/ 31 h 102"/>
                <a:gd name="T20" fmla="*/ 70 w 76"/>
                <a:gd name="T21" fmla="*/ 2 h 102"/>
                <a:gd name="T22" fmla="*/ 70 w 76"/>
                <a:gd name="T23" fmla="*/ 0 h 102"/>
                <a:gd name="T24" fmla="*/ 73 w 76"/>
                <a:gd name="T25" fmla="*/ 1 h 102"/>
                <a:gd name="T26" fmla="*/ 74 w 76"/>
                <a:gd name="T27" fmla="*/ 2 h 102"/>
                <a:gd name="T28" fmla="*/ 76 w 76"/>
                <a:gd name="T29"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02">
                  <a:moveTo>
                    <a:pt x="76" y="2"/>
                  </a:moveTo>
                  <a:cubicBezTo>
                    <a:pt x="75" y="4"/>
                    <a:pt x="75" y="4"/>
                    <a:pt x="75" y="4"/>
                  </a:cubicBezTo>
                  <a:cubicBezTo>
                    <a:pt x="75" y="22"/>
                    <a:pt x="61" y="36"/>
                    <a:pt x="43" y="36"/>
                  </a:cubicBezTo>
                  <a:cubicBezTo>
                    <a:pt x="33" y="36"/>
                    <a:pt x="33" y="36"/>
                    <a:pt x="33" y="36"/>
                  </a:cubicBezTo>
                  <a:cubicBezTo>
                    <a:pt x="18" y="36"/>
                    <a:pt x="5" y="49"/>
                    <a:pt x="5" y="64"/>
                  </a:cubicBezTo>
                  <a:cubicBezTo>
                    <a:pt x="5" y="102"/>
                    <a:pt x="5" y="102"/>
                    <a:pt x="5" y="102"/>
                  </a:cubicBezTo>
                  <a:cubicBezTo>
                    <a:pt x="0" y="102"/>
                    <a:pt x="0" y="102"/>
                    <a:pt x="0" y="102"/>
                  </a:cubicBezTo>
                  <a:cubicBezTo>
                    <a:pt x="0" y="64"/>
                    <a:pt x="0" y="64"/>
                    <a:pt x="0" y="64"/>
                  </a:cubicBezTo>
                  <a:cubicBezTo>
                    <a:pt x="0" y="46"/>
                    <a:pt x="15" y="31"/>
                    <a:pt x="33" y="31"/>
                  </a:cubicBezTo>
                  <a:cubicBezTo>
                    <a:pt x="43" y="31"/>
                    <a:pt x="43" y="31"/>
                    <a:pt x="43" y="31"/>
                  </a:cubicBezTo>
                  <a:cubicBezTo>
                    <a:pt x="58" y="31"/>
                    <a:pt x="70" y="18"/>
                    <a:pt x="70" y="2"/>
                  </a:cubicBezTo>
                  <a:cubicBezTo>
                    <a:pt x="70" y="0"/>
                    <a:pt x="70" y="0"/>
                    <a:pt x="70" y="0"/>
                  </a:cubicBezTo>
                  <a:cubicBezTo>
                    <a:pt x="71" y="0"/>
                    <a:pt x="72" y="1"/>
                    <a:pt x="73" y="1"/>
                  </a:cubicBezTo>
                  <a:cubicBezTo>
                    <a:pt x="73" y="1"/>
                    <a:pt x="74" y="2"/>
                    <a:pt x="74" y="2"/>
                  </a:cubicBezTo>
                  <a:cubicBezTo>
                    <a:pt x="75" y="2"/>
                    <a:pt x="75" y="2"/>
                    <a:pt x="76"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98"/>
            <p:cNvSpPr>
              <a:spLocks/>
            </p:cNvSpPr>
            <p:nvPr/>
          </p:nvSpPr>
          <p:spPr bwMode="auto">
            <a:xfrm>
              <a:off x="3063876" y="3787775"/>
              <a:ext cx="122237" cy="401638"/>
            </a:xfrm>
            <a:custGeom>
              <a:avLst/>
              <a:gdLst>
                <a:gd name="T0" fmla="*/ 63 w 63"/>
                <a:gd name="T1" fmla="*/ 157 h 207"/>
                <a:gd name="T2" fmla="*/ 63 w 63"/>
                <a:gd name="T3" fmla="*/ 125 h 207"/>
                <a:gd name="T4" fmla="*/ 63 w 63"/>
                <a:gd name="T5" fmla="*/ 0 h 207"/>
                <a:gd name="T6" fmla="*/ 63 w 63"/>
                <a:gd name="T7" fmla="*/ 0 h 207"/>
                <a:gd name="T8" fmla="*/ 3 w 63"/>
                <a:gd name="T9" fmla="*/ 56 h 207"/>
                <a:gd name="T10" fmla="*/ 3 w 63"/>
                <a:gd name="T11" fmla="*/ 156 h 207"/>
                <a:gd name="T12" fmla="*/ 63 w 63"/>
                <a:gd name="T13" fmla="*/ 206 h 207"/>
                <a:gd name="T14" fmla="*/ 63 w 63"/>
                <a:gd name="T15" fmla="*/ 206 h 207"/>
                <a:gd name="T16" fmla="*/ 63 w 63"/>
                <a:gd name="T17" fmla="*/ 15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207">
                  <a:moveTo>
                    <a:pt x="63" y="157"/>
                  </a:moveTo>
                  <a:cubicBezTo>
                    <a:pt x="63" y="125"/>
                    <a:pt x="63" y="125"/>
                    <a:pt x="63" y="125"/>
                  </a:cubicBezTo>
                  <a:cubicBezTo>
                    <a:pt x="63" y="0"/>
                    <a:pt x="63" y="0"/>
                    <a:pt x="63" y="0"/>
                  </a:cubicBezTo>
                  <a:cubicBezTo>
                    <a:pt x="63" y="0"/>
                    <a:pt x="63" y="0"/>
                    <a:pt x="63" y="0"/>
                  </a:cubicBezTo>
                  <a:cubicBezTo>
                    <a:pt x="23" y="0"/>
                    <a:pt x="0" y="26"/>
                    <a:pt x="3" y="56"/>
                  </a:cubicBezTo>
                  <a:cubicBezTo>
                    <a:pt x="7" y="115"/>
                    <a:pt x="3" y="115"/>
                    <a:pt x="3" y="156"/>
                  </a:cubicBezTo>
                  <a:cubicBezTo>
                    <a:pt x="2" y="192"/>
                    <a:pt x="25" y="207"/>
                    <a:pt x="63" y="206"/>
                  </a:cubicBezTo>
                  <a:cubicBezTo>
                    <a:pt x="63" y="206"/>
                    <a:pt x="63" y="206"/>
                    <a:pt x="63" y="206"/>
                  </a:cubicBezTo>
                  <a:lnTo>
                    <a:pt x="63" y="15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99"/>
            <p:cNvSpPr>
              <a:spLocks/>
            </p:cNvSpPr>
            <p:nvPr/>
          </p:nvSpPr>
          <p:spPr bwMode="auto">
            <a:xfrm>
              <a:off x="3179763" y="3787775"/>
              <a:ext cx="120650" cy="401638"/>
            </a:xfrm>
            <a:custGeom>
              <a:avLst/>
              <a:gdLst>
                <a:gd name="T0" fmla="*/ 59 w 63"/>
                <a:gd name="T1" fmla="*/ 74 h 207"/>
                <a:gd name="T2" fmla="*/ 59 w 63"/>
                <a:gd name="T3" fmla="*/ 112 h 207"/>
                <a:gd name="T4" fmla="*/ 60 w 63"/>
                <a:gd name="T5" fmla="*/ 156 h 207"/>
                <a:gd name="T6" fmla="*/ 0 w 63"/>
                <a:gd name="T7" fmla="*/ 206 h 207"/>
                <a:gd name="T8" fmla="*/ 0 w 63"/>
                <a:gd name="T9" fmla="*/ 0 h 207"/>
                <a:gd name="T10" fmla="*/ 60 w 63"/>
                <a:gd name="T11" fmla="*/ 56 h 207"/>
                <a:gd name="T12" fmla="*/ 59 w 63"/>
                <a:gd name="T13" fmla="*/ 74 h 207"/>
              </a:gdLst>
              <a:ahLst/>
              <a:cxnLst>
                <a:cxn ang="0">
                  <a:pos x="T0" y="T1"/>
                </a:cxn>
                <a:cxn ang="0">
                  <a:pos x="T2" y="T3"/>
                </a:cxn>
                <a:cxn ang="0">
                  <a:pos x="T4" y="T5"/>
                </a:cxn>
                <a:cxn ang="0">
                  <a:pos x="T6" y="T7"/>
                </a:cxn>
                <a:cxn ang="0">
                  <a:pos x="T8" y="T9"/>
                </a:cxn>
                <a:cxn ang="0">
                  <a:pos x="T10" y="T11"/>
                </a:cxn>
                <a:cxn ang="0">
                  <a:pos x="T12" y="T13"/>
                </a:cxn>
              </a:cxnLst>
              <a:rect l="0" t="0" r="r" b="b"/>
              <a:pathLst>
                <a:path w="63" h="207">
                  <a:moveTo>
                    <a:pt x="59" y="74"/>
                  </a:moveTo>
                  <a:cubicBezTo>
                    <a:pt x="58" y="91"/>
                    <a:pt x="58" y="102"/>
                    <a:pt x="59" y="112"/>
                  </a:cubicBezTo>
                  <a:cubicBezTo>
                    <a:pt x="59" y="125"/>
                    <a:pt x="60" y="135"/>
                    <a:pt x="60" y="156"/>
                  </a:cubicBezTo>
                  <a:cubicBezTo>
                    <a:pt x="61" y="192"/>
                    <a:pt x="38" y="207"/>
                    <a:pt x="0" y="206"/>
                  </a:cubicBezTo>
                  <a:cubicBezTo>
                    <a:pt x="0" y="0"/>
                    <a:pt x="0" y="0"/>
                    <a:pt x="0" y="0"/>
                  </a:cubicBezTo>
                  <a:cubicBezTo>
                    <a:pt x="40" y="0"/>
                    <a:pt x="63" y="26"/>
                    <a:pt x="60" y="56"/>
                  </a:cubicBezTo>
                  <a:cubicBezTo>
                    <a:pt x="60" y="63"/>
                    <a:pt x="59" y="69"/>
                    <a:pt x="59" y="7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00"/>
            <p:cNvSpPr>
              <a:spLocks/>
            </p:cNvSpPr>
            <p:nvPr/>
          </p:nvSpPr>
          <p:spPr bwMode="auto">
            <a:xfrm>
              <a:off x="3067051" y="3787775"/>
              <a:ext cx="115887" cy="144463"/>
            </a:xfrm>
            <a:custGeom>
              <a:avLst/>
              <a:gdLst>
                <a:gd name="T0" fmla="*/ 60 w 60"/>
                <a:gd name="T1" fmla="*/ 0 h 75"/>
                <a:gd name="T2" fmla="*/ 60 w 60"/>
                <a:gd name="T3" fmla="*/ 75 h 75"/>
                <a:gd name="T4" fmla="*/ 8 w 60"/>
                <a:gd name="T5" fmla="*/ 75 h 75"/>
                <a:gd name="T6" fmla="*/ 2 w 60"/>
                <a:gd name="T7" fmla="*/ 75 h 75"/>
                <a:gd name="T8" fmla="*/ 1 w 60"/>
                <a:gd name="T9" fmla="*/ 56 h 75"/>
                <a:gd name="T10" fmla="*/ 1 w 60"/>
                <a:gd name="T11" fmla="*/ 53 h 75"/>
                <a:gd name="T12" fmla="*/ 44 w 60"/>
                <a:gd name="T13" fmla="*/ 2 h 75"/>
                <a:gd name="T14" fmla="*/ 44 w 60"/>
                <a:gd name="T15" fmla="*/ 2 h 75"/>
                <a:gd name="T16" fmla="*/ 47 w 60"/>
                <a:gd name="T17" fmla="*/ 1 h 75"/>
                <a:gd name="T18" fmla="*/ 50 w 60"/>
                <a:gd name="T19" fmla="*/ 1 h 75"/>
                <a:gd name="T20" fmla="*/ 50 w 60"/>
                <a:gd name="T21" fmla="*/ 1 h 75"/>
                <a:gd name="T22" fmla="*/ 57 w 60"/>
                <a:gd name="T23" fmla="*/ 0 h 75"/>
                <a:gd name="T24" fmla="*/ 60 w 60"/>
                <a:gd name="T2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5">
                  <a:moveTo>
                    <a:pt x="60" y="0"/>
                  </a:moveTo>
                  <a:cubicBezTo>
                    <a:pt x="60" y="75"/>
                    <a:pt x="60" y="75"/>
                    <a:pt x="60" y="75"/>
                  </a:cubicBezTo>
                  <a:cubicBezTo>
                    <a:pt x="8" y="75"/>
                    <a:pt x="8" y="75"/>
                    <a:pt x="8" y="75"/>
                  </a:cubicBezTo>
                  <a:cubicBezTo>
                    <a:pt x="2" y="75"/>
                    <a:pt x="2" y="75"/>
                    <a:pt x="2" y="75"/>
                  </a:cubicBezTo>
                  <a:cubicBezTo>
                    <a:pt x="2" y="69"/>
                    <a:pt x="2" y="63"/>
                    <a:pt x="1" y="56"/>
                  </a:cubicBezTo>
                  <a:cubicBezTo>
                    <a:pt x="1" y="55"/>
                    <a:pt x="1" y="54"/>
                    <a:pt x="1" y="53"/>
                  </a:cubicBezTo>
                  <a:cubicBezTo>
                    <a:pt x="0" y="28"/>
                    <a:pt x="16" y="7"/>
                    <a:pt x="44" y="2"/>
                  </a:cubicBezTo>
                  <a:cubicBezTo>
                    <a:pt x="44" y="2"/>
                    <a:pt x="44" y="2"/>
                    <a:pt x="44" y="2"/>
                  </a:cubicBezTo>
                  <a:cubicBezTo>
                    <a:pt x="45" y="2"/>
                    <a:pt x="46" y="1"/>
                    <a:pt x="47" y="1"/>
                  </a:cubicBezTo>
                  <a:cubicBezTo>
                    <a:pt x="48" y="1"/>
                    <a:pt x="49" y="1"/>
                    <a:pt x="50" y="1"/>
                  </a:cubicBezTo>
                  <a:cubicBezTo>
                    <a:pt x="50" y="1"/>
                    <a:pt x="50" y="1"/>
                    <a:pt x="50" y="1"/>
                  </a:cubicBezTo>
                  <a:cubicBezTo>
                    <a:pt x="52" y="0"/>
                    <a:pt x="55" y="0"/>
                    <a:pt x="57" y="0"/>
                  </a:cubicBezTo>
                  <a:lnTo>
                    <a:pt x="6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53" name="Freeform 101"/>
            <p:cNvSpPr>
              <a:spLocks/>
            </p:cNvSpPr>
            <p:nvPr/>
          </p:nvSpPr>
          <p:spPr bwMode="auto">
            <a:xfrm>
              <a:off x="3182938" y="3787775"/>
              <a:ext cx="115887" cy="144463"/>
            </a:xfrm>
            <a:custGeom>
              <a:avLst/>
              <a:gdLst>
                <a:gd name="T0" fmla="*/ 59 w 60"/>
                <a:gd name="T1" fmla="*/ 56 h 75"/>
                <a:gd name="T2" fmla="*/ 57 w 60"/>
                <a:gd name="T3" fmla="*/ 75 h 75"/>
                <a:gd name="T4" fmla="*/ 0 w 60"/>
                <a:gd name="T5" fmla="*/ 75 h 75"/>
                <a:gd name="T6" fmla="*/ 0 w 60"/>
                <a:gd name="T7" fmla="*/ 0 h 75"/>
                <a:gd name="T8" fmla="*/ 2 w 60"/>
                <a:gd name="T9" fmla="*/ 0 h 75"/>
                <a:gd name="T10" fmla="*/ 10 w 60"/>
                <a:gd name="T11" fmla="*/ 1 h 75"/>
                <a:gd name="T12" fmla="*/ 49 w 60"/>
                <a:gd name="T13" fmla="*/ 22 h 75"/>
                <a:gd name="T14" fmla="*/ 59 w 60"/>
                <a:gd name="T15" fmla="*/ 56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75">
                  <a:moveTo>
                    <a:pt x="59" y="56"/>
                  </a:moveTo>
                  <a:cubicBezTo>
                    <a:pt x="58" y="63"/>
                    <a:pt x="57" y="69"/>
                    <a:pt x="57" y="75"/>
                  </a:cubicBezTo>
                  <a:cubicBezTo>
                    <a:pt x="0" y="75"/>
                    <a:pt x="0" y="75"/>
                    <a:pt x="0" y="75"/>
                  </a:cubicBezTo>
                  <a:cubicBezTo>
                    <a:pt x="0" y="0"/>
                    <a:pt x="0" y="0"/>
                    <a:pt x="0" y="0"/>
                  </a:cubicBezTo>
                  <a:cubicBezTo>
                    <a:pt x="2" y="0"/>
                    <a:pt x="2" y="0"/>
                    <a:pt x="2" y="0"/>
                  </a:cubicBezTo>
                  <a:cubicBezTo>
                    <a:pt x="5" y="0"/>
                    <a:pt x="7" y="0"/>
                    <a:pt x="10" y="1"/>
                  </a:cubicBezTo>
                  <a:cubicBezTo>
                    <a:pt x="27" y="3"/>
                    <a:pt x="41" y="11"/>
                    <a:pt x="49" y="22"/>
                  </a:cubicBezTo>
                  <a:cubicBezTo>
                    <a:pt x="56" y="31"/>
                    <a:pt x="60" y="43"/>
                    <a:pt x="59" y="5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102"/>
            <p:cNvSpPr>
              <a:spLocks/>
            </p:cNvSpPr>
            <p:nvPr/>
          </p:nvSpPr>
          <p:spPr bwMode="auto">
            <a:xfrm>
              <a:off x="3160713" y="3787775"/>
              <a:ext cx="38100" cy="138113"/>
            </a:xfrm>
            <a:custGeom>
              <a:avLst/>
              <a:gdLst>
                <a:gd name="T0" fmla="*/ 20 w 20"/>
                <a:gd name="T1" fmla="*/ 1 h 71"/>
                <a:gd name="T2" fmla="*/ 20 w 20"/>
                <a:gd name="T3" fmla="*/ 61 h 71"/>
                <a:gd name="T4" fmla="*/ 11 w 20"/>
                <a:gd name="T5" fmla="*/ 71 h 71"/>
                <a:gd name="T6" fmla="*/ 10 w 20"/>
                <a:gd name="T7" fmla="*/ 71 h 71"/>
                <a:gd name="T8" fmla="*/ 0 w 20"/>
                <a:gd name="T9" fmla="*/ 61 h 71"/>
                <a:gd name="T10" fmla="*/ 0 w 20"/>
                <a:gd name="T11" fmla="*/ 1 h 71"/>
                <a:gd name="T12" fmla="*/ 8 w 20"/>
                <a:gd name="T13" fmla="*/ 0 h 71"/>
                <a:gd name="T14" fmla="*/ 13 w 20"/>
                <a:gd name="T15" fmla="*/ 0 h 71"/>
                <a:gd name="T16" fmla="*/ 14 w 20"/>
                <a:gd name="T17" fmla="*/ 0 h 71"/>
                <a:gd name="T18" fmla="*/ 20 w 20"/>
                <a:gd name="T19"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71">
                  <a:moveTo>
                    <a:pt x="20" y="1"/>
                  </a:moveTo>
                  <a:cubicBezTo>
                    <a:pt x="20" y="61"/>
                    <a:pt x="20" y="61"/>
                    <a:pt x="20" y="61"/>
                  </a:cubicBezTo>
                  <a:cubicBezTo>
                    <a:pt x="20" y="66"/>
                    <a:pt x="16" y="71"/>
                    <a:pt x="11" y="71"/>
                  </a:cubicBezTo>
                  <a:cubicBezTo>
                    <a:pt x="10" y="71"/>
                    <a:pt x="10" y="71"/>
                    <a:pt x="10" y="71"/>
                  </a:cubicBezTo>
                  <a:cubicBezTo>
                    <a:pt x="4" y="71"/>
                    <a:pt x="0" y="66"/>
                    <a:pt x="0" y="61"/>
                  </a:cubicBezTo>
                  <a:cubicBezTo>
                    <a:pt x="0" y="1"/>
                    <a:pt x="0" y="1"/>
                    <a:pt x="0" y="1"/>
                  </a:cubicBezTo>
                  <a:cubicBezTo>
                    <a:pt x="3" y="0"/>
                    <a:pt x="5" y="0"/>
                    <a:pt x="8" y="0"/>
                  </a:cubicBezTo>
                  <a:cubicBezTo>
                    <a:pt x="13" y="0"/>
                    <a:pt x="13" y="0"/>
                    <a:pt x="13" y="0"/>
                  </a:cubicBezTo>
                  <a:cubicBezTo>
                    <a:pt x="13" y="0"/>
                    <a:pt x="13" y="0"/>
                    <a:pt x="14" y="0"/>
                  </a:cubicBezTo>
                  <a:cubicBezTo>
                    <a:pt x="16" y="0"/>
                    <a:pt x="19" y="0"/>
                    <a:pt x="20" y="1"/>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a:p>
          </p:txBody>
        </p:sp>
        <p:sp>
          <p:nvSpPr>
            <p:cNvPr id="155" name="Freeform 103"/>
            <p:cNvSpPr>
              <a:spLocks/>
            </p:cNvSpPr>
            <p:nvPr/>
          </p:nvSpPr>
          <p:spPr bwMode="auto">
            <a:xfrm>
              <a:off x="3171826" y="3821113"/>
              <a:ext cx="17462" cy="66675"/>
            </a:xfrm>
            <a:custGeom>
              <a:avLst/>
              <a:gdLst>
                <a:gd name="T0" fmla="*/ 9 w 9"/>
                <a:gd name="T1" fmla="*/ 31 h 35"/>
                <a:gd name="T2" fmla="*/ 5 w 9"/>
                <a:gd name="T3" fmla="*/ 35 h 35"/>
                <a:gd name="T4" fmla="*/ 4 w 9"/>
                <a:gd name="T5" fmla="*/ 35 h 35"/>
                <a:gd name="T6" fmla="*/ 0 w 9"/>
                <a:gd name="T7" fmla="*/ 31 h 35"/>
                <a:gd name="T8" fmla="*/ 0 w 9"/>
                <a:gd name="T9" fmla="*/ 3 h 35"/>
                <a:gd name="T10" fmla="*/ 4 w 9"/>
                <a:gd name="T11" fmla="*/ 0 h 35"/>
                <a:gd name="T12" fmla="*/ 5 w 9"/>
                <a:gd name="T13" fmla="*/ 0 h 35"/>
                <a:gd name="T14" fmla="*/ 9 w 9"/>
                <a:gd name="T15" fmla="*/ 3 h 35"/>
                <a:gd name="T16" fmla="*/ 9 w 9"/>
                <a:gd name="T17"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35">
                  <a:moveTo>
                    <a:pt x="9" y="31"/>
                  </a:moveTo>
                  <a:cubicBezTo>
                    <a:pt x="9" y="33"/>
                    <a:pt x="7" y="35"/>
                    <a:pt x="5" y="35"/>
                  </a:cubicBezTo>
                  <a:cubicBezTo>
                    <a:pt x="4" y="35"/>
                    <a:pt x="4" y="35"/>
                    <a:pt x="4" y="35"/>
                  </a:cubicBezTo>
                  <a:cubicBezTo>
                    <a:pt x="2" y="35"/>
                    <a:pt x="0" y="33"/>
                    <a:pt x="0" y="31"/>
                  </a:cubicBezTo>
                  <a:cubicBezTo>
                    <a:pt x="0" y="3"/>
                    <a:pt x="0" y="3"/>
                    <a:pt x="0" y="3"/>
                  </a:cubicBezTo>
                  <a:cubicBezTo>
                    <a:pt x="0" y="1"/>
                    <a:pt x="2" y="0"/>
                    <a:pt x="4" y="0"/>
                  </a:cubicBezTo>
                  <a:cubicBezTo>
                    <a:pt x="5" y="0"/>
                    <a:pt x="5" y="0"/>
                    <a:pt x="5" y="0"/>
                  </a:cubicBezTo>
                  <a:cubicBezTo>
                    <a:pt x="7" y="0"/>
                    <a:pt x="9" y="1"/>
                    <a:pt x="9" y="3"/>
                  </a:cubicBezTo>
                  <a:lnTo>
                    <a:pt x="9" y="31"/>
                  </a:lnTo>
                  <a:close/>
                </a:path>
              </a:pathLst>
            </a:custGeom>
            <a:solidFill>
              <a:srgbClr val="F2642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1" name="Group 570"/>
          <p:cNvGrpSpPr/>
          <p:nvPr/>
        </p:nvGrpSpPr>
        <p:grpSpPr>
          <a:xfrm>
            <a:off x="5175647" y="3330163"/>
            <a:ext cx="868362" cy="819150"/>
            <a:chOff x="5170488" y="3544888"/>
            <a:chExt cx="868362" cy="819150"/>
          </a:xfrm>
        </p:grpSpPr>
        <p:sp>
          <p:nvSpPr>
            <p:cNvPr id="156" name="Freeform 104"/>
            <p:cNvSpPr>
              <a:spLocks/>
            </p:cNvSpPr>
            <p:nvPr/>
          </p:nvSpPr>
          <p:spPr bwMode="auto">
            <a:xfrm>
              <a:off x="5170488" y="3544888"/>
              <a:ext cx="868362" cy="819150"/>
            </a:xfrm>
            <a:custGeom>
              <a:avLst/>
              <a:gdLst>
                <a:gd name="T0" fmla="*/ 65 w 451"/>
                <a:gd name="T1" fmla="*/ 330 h 422"/>
                <a:gd name="T2" fmla="*/ 108 w 451"/>
                <a:gd name="T3" fmla="*/ 63 h 422"/>
                <a:gd name="T4" fmla="*/ 386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6" y="102"/>
                  </a:cubicBezTo>
                  <a:cubicBezTo>
                    <a:pt x="451" y="187"/>
                    <a:pt x="425" y="296"/>
                    <a:pt x="336" y="359"/>
                  </a:cubicBezTo>
                  <a:cubicBezTo>
                    <a:pt x="247" y="422"/>
                    <a:pt x="130" y="414"/>
                    <a:pt x="65" y="33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105"/>
            <p:cNvSpPr>
              <a:spLocks/>
            </p:cNvSpPr>
            <p:nvPr/>
          </p:nvSpPr>
          <p:spPr bwMode="auto">
            <a:xfrm>
              <a:off x="5426076" y="3894138"/>
              <a:ext cx="323850" cy="212725"/>
            </a:xfrm>
            <a:custGeom>
              <a:avLst/>
              <a:gdLst>
                <a:gd name="T0" fmla="*/ 88 w 168"/>
                <a:gd name="T1" fmla="*/ 0 h 110"/>
                <a:gd name="T2" fmla="*/ 119 w 168"/>
                <a:gd name="T3" fmla="*/ 16 h 110"/>
                <a:gd name="T4" fmla="*/ 154 w 168"/>
                <a:gd name="T5" fmla="*/ 26 h 110"/>
                <a:gd name="T6" fmla="*/ 159 w 168"/>
                <a:gd name="T7" fmla="*/ 25 h 110"/>
                <a:gd name="T8" fmla="*/ 161 w 168"/>
                <a:gd name="T9" fmla="*/ 26 h 110"/>
                <a:gd name="T10" fmla="*/ 124 w 168"/>
                <a:gd name="T11" fmla="*/ 82 h 110"/>
                <a:gd name="T12" fmla="*/ 26 w 168"/>
                <a:gd name="T13" fmla="*/ 106 h 110"/>
                <a:gd name="T14" fmla="*/ 12 w 168"/>
                <a:gd name="T15" fmla="*/ 110 h 110"/>
                <a:gd name="T16" fmla="*/ 2 w 168"/>
                <a:gd name="T17" fmla="*/ 105 h 110"/>
                <a:gd name="T18" fmla="*/ 3 w 168"/>
                <a:gd name="T19" fmla="*/ 95 h 110"/>
                <a:gd name="T20" fmla="*/ 11 w 168"/>
                <a:gd name="T21" fmla="*/ 87 h 110"/>
                <a:gd name="T22" fmla="*/ 37 w 168"/>
                <a:gd name="T23" fmla="*/ 69 h 110"/>
                <a:gd name="T24" fmla="*/ 55 w 168"/>
                <a:gd name="T25" fmla="*/ 45 h 110"/>
                <a:gd name="T26" fmla="*/ 56 w 168"/>
                <a:gd name="T27" fmla="*/ 43 h 110"/>
                <a:gd name="T28" fmla="*/ 88 w 168"/>
                <a:gd name="T2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10">
                  <a:moveTo>
                    <a:pt x="88" y="0"/>
                  </a:moveTo>
                  <a:cubicBezTo>
                    <a:pt x="99" y="5"/>
                    <a:pt x="109" y="11"/>
                    <a:pt x="119" y="16"/>
                  </a:cubicBezTo>
                  <a:cubicBezTo>
                    <a:pt x="130" y="22"/>
                    <a:pt x="141" y="27"/>
                    <a:pt x="154" y="26"/>
                  </a:cubicBezTo>
                  <a:cubicBezTo>
                    <a:pt x="155" y="25"/>
                    <a:pt x="157" y="25"/>
                    <a:pt x="159" y="25"/>
                  </a:cubicBezTo>
                  <a:cubicBezTo>
                    <a:pt x="159" y="25"/>
                    <a:pt x="160" y="26"/>
                    <a:pt x="161" y="26"/>
                  </a:cubicBezTo>
                  <a:cubicBezTo>
                    <a:pt x="163" y="44"/>
                    <a:pt x="168" y="80"/>
                    <a:pt x="124" y="82"/>
                  </a:cubicBezTo>
                  <a:cubicBezTo>
                    <a:pt x="107" y="83"/>
                    <a:pt x="75" y="78"/>
                    <a:pt x="26" y="106"/>
                  </a:cubicBezTo>
                  <a:cubicBezTo>
                    <a:pt x="22" y="108"/>
                    <a:pt x="17" y="109"/>
                    <a:pt x="12" y="110"/>
                  </a:cubicBezTo>
                  <a:cubicBezTo>
                    <a:pt x="8" y="110"/>
                    <a:pt x="4" y="108"/>
                    <a:pt x="2" y="105"/>
                  </a:cubicBezTo>
                  <a:cubicBezTo>
                    <a:pt x="0" y="101"/>
                    <a:pt x="1" y="98"/>
                    <a:pt x="3" y="95"/>
                  </a:cubicBezTo>
                  <a:cubicBezTo>
                    <a:pt x="6" y="92"/>
                    <a:pt x="8" y="89"/>
                    <a:pt x="11" y="87"/>
                  </a:cubicBezTo>
                  <a:cubicBezTo>
                    <a:pt x="20" y="81"/>
                    <a:pt x="29" y="76"/>
                    <a:pt x="37" y="69"/>
                  </a:cubicBezTo>
                  <a:cubicBezTo>
                    <a:pt x="46" y="63"/>
                    <a:pt x="53" y="56"/>
                    <a:pt x="55" y="45"/>
                  </a:cubicBezTo>
                  <a:cubicBezTo>
                    <a:pt x="55" y="44"/>
                    <a:pt x="55" y="43"/>
                    <a:pt x="56" y="43"/>
                  </a:cubicBezTo>
                  <a:cubicBezTo>
                    <a:pt x="66" y="29"/>
                    <a:pt x="77" y="14"/>
                    <a:pt x="8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06"/>
            <p:cNvSpPr>
              <a:spLocks noEditPoints="1"/>
            </p:cNvSpPr>
            <p:nvPr/>
          </p:nvSpPr>
          <p:spPr bwMode="auto">
            <a:xfrm>
              <a:off x="5748338" y="3897313"/>
              <a:ext cx="134937" cy="198438"/>
            </a:xfrm>
            <a:custGeom>
              <a:avLst/>
              <a:gdLst>
                <a:gd name="T0" fmla="*/ 70 w 70"/>
                <a:gd name="T1" fmla="*/ 90 h 102"/>
                <a:gd name="T2" fmla="*/ 16 w 70"/>
                <a:gd name="T3" fmla="*/ 94 h 102"/>
                <a:gd name="T4" fmla="*/ 7 w 70"/>
                <a:gd name="T5" fmla="*/ 86 h 102"/>
                <a:gd name="T6" fmla="*/ 2 w 70"/>
                <a:gd name="T7" fmla="*/ 30 h 102"/>
                <a:gd name="T8" fmla="*/ 0 w 70"/>
                <a:gd name="T9" fmla="*/ 17 h 102"/>
                <a:gd name="T10" fmla="*/ 5 w 70"/>
                <a:gd name="T11" fmla="*/ 10 h 102"/>
                <a:gd name="T12" fmla="*/ 60 w 70"/>
                <a:gd name="T13" fmla="*/ 0 h 102"/>
                <a:gd name="T14" fmla="*/ 70 w 70"/>
                <a:gd name="T15" fmla="*/ 90 h 102"/>
                <a:gd name="T16" fmla="*/ 48 w 70"/>
                <a:gd name="T17" fmla="*/ 20 h 102"/>
                <a:gd name="T18" fmla="*/ 42 w 70"/>
                <a:gd name="T19" fmla="*/ 14 h 102"/>
                <a:gd name="T20" fmla="*/ 37 w 70"/>
                <a:gd name="T21" fmla="*/ 19 h 102"/>
                <a:gd name="T22" fmla="*/ 43 w 70"/>
                <a:gd name="T23" fmla="*/ 25 h 102"/>
                <a:gd name="T24" fmla="*/ 48 w 70"/>
                <a:gd name="T25"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02">
                  <a:moveTo>
                    <a:pt x="70" y="90"/>
                  </a:moveTo>
                  <a:cubicBezTo>
                    <a:pt x="55" y="86"/>
                    <a:pt x="41" y="102"/>
                    <a:pt x="16" y="94"/>
                  </a:cubicBezTo>
                  <a:cubicBezTo>
                    <a:pt x="13" y="93"/>
                    <a:pt x="8" y="89"/>
                    <a:pt x="7" y="86"/>
                  </a:cubicBezTo>
                  <a:cubicBezTo>
                    <a:pt x="5" y="67"/>
                    <a:pt x="3" y="48"/>
                    <a:pt x="2" y="30"/>
                  </a:cubicBezTo>
                  <a:cubicBezTo>
                    <a:pt x="1" y="26"/>
                    <a:pt x="1" y="22"/>
                    <a:pt x="0" y="17"/>
                  </a:cubicBezTo>
                  <a:cubicBezTo>
                    <a:pt x="0" y="14"/>
                    <a:pt x="1" y="11"/>
                    <a:pt x="5" y="10"/>
                  </a:cubicBezTo>
                  <a:cubicBezTo>
                    <a:pt x="23" y="7"/>
                    <a:pt x="41" y="4"/>
                    <a:pt x="60" y="0"/>
                  </a:cubicBezTo>
                  <a:cubicBezTo>
                    <a:pt x="63" y="30"/>
                    <a:pt x="66" y="60"/>
                    <a:pt x="70" y="90"/>
                  </a:cubicBezTo>
                  <a:close/>
                  <a:moveTo>
                    <a:pt x="48" y="20"/>
                  </a:moveTo>
                  <a:cubicBezTo>
                    <a:pt x="48" y="16"/>
                    <a:pt x="46" y="13"/>
                    <a:pt x="42" y="14"/>
                  </a:cubicBezTo>
                  <a:cubicBezTo>
                    <a:pt x="39" y="14"/>
                    <a:pt x="37" y="16"/>
                    <a:pt x="37" y="19"/>
                  </a:cubicBezTo>
                  <a:cubicBezTo>
                    <a:pt x="37" y="23"/>
                    <a:pt x="39" y="25"/>
                    <a:pt x="43" y="25"/>
                  </a:cubicBezTo>
                  <a:cubicBezTo>
                    <a:pt x="46" y="24"/>
                    <a:pt x="48" y="22"/>
                    <a:pt x="48"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59" name="Freeform 107"/>
            <p:cNvSpPr>
              <a:spLocks/>
            </p:cNvSpPr>
            <p:nvPr/>
          </p:nvSpPr>
          <p:spPr bwMode="auto">
            <a:xfrm>
              <a:off x="5386388" y="3825875"/>
              <a:ext cx="233362" cy="292100"/>
            </a:xfrm>
            <a:custGeom>
              <a:avLst/>
              <a:gdLst>
                <a:gd name="T0" fmla="*/ 104 w 121"/>
                <a:gd name="T1" fmla="*/ 0 h 150"/>
                <a:gd name="T2" fmla="*/ 121 w 121"/>
                <a:gd name="T3" fmla="*/ 13 h 150"/>
                <a:gd name="T4" fmla="*/ 100 w 121"/>
                <a:gd name="T5" fmla="*/ 41 h 150"/>
                <a:gd name="T6" fmla="*/ 54 w 121"/>
                <a:gd name="T7" fmla="*/ 102 h 150"/>
                <a:gd name="T8" fmla="*/ 47 w 121"/>
                <a:gd name="T9" fmla="*/ 108 h 150"/>
                <a:gd name="T10" fmla="*/ 30 w 121"/>
                <a:gd name="T11" fmla="*/ 120 h 150"/>
                <a:gd name="T12" fmla="*/ 26 w 121"/>
                <a:gd name="T13" fmla="*/ 123 h 150"/>
                <a:gd name="T14" fmla="*/ 22 w 121"/>
                <a:gd name="T15" fmla="*/ 144 h 150"/>
                <a:gd name="T16" fmla="*/ 18 w 121"/>
                <a:gd name="T17" fmla="*/ 150 h 150"/>
                <a:gd name="T18" fmla="*/ 0 w 121"/>
                <a:gd name="T19" fmla="*/ 137 h 150"/>
                <a:gd name="T20" fmla="*/ 104 w 121"/>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50">
                  <a:moveTo>
                    <a:pt x="104" y="0"/>
                  </a:moveTo>
                  <a:cubicBezTo>
                    <a:pt x="107" y="8"/>
                    <a:pt x="113" y="12"/>
                    <a:pt x="121" y="13"/>
                  </a:cubicBezTo>
                  <a:cubicBezTo>
                    <a:pt x="114" y="23"/>
                    <a:pt x="107" y="32"/>
                    <a:pt x="100" y="41"/>
                  </a:cubicBezTo>
                  <a:cubicBezTo>
                    <a:pt x="85" y="62"/>
                    <a:pt x="69" y="82"/>
                    <a:pt x="54" y="102"/>
                  </a:cubicBezTo>
                  <a:cubicBezTo>
                    <a:pt x="52" y="104"/>
                    <a:pt x="50" y="106"/>
                    <a:pt x="47" y="108"/>
                  </a:cubicBezTo>
                  <a:cubicBezTo>
                    <a:pt x="41" y="112"/>
                    <a:pt x="36" y="116"/>
                    <a:pt x="30" y="120"/>
                  </a:cubicBezTo>
                  <a:cubicBezTo>
                    <a:pt x="29" y="121"/>
                    <a:pt x="27" y="122"/>
                    <a:pt x="26" y="123"/>
                  </a:cubicBezTo>
                  <a:cubicBezTo>
                    <a:pt x="19" y="129"/>
                    <a:pt x="17" y="136"/>
                    <a:pt x="22" y="144"/>
                  </a:cubicBezTo>
                  <a:cubicBezTo>
                    <a:pt x="21" y="146"/>
                    <a:pt x="19" y="148"/>
                    <a:pt x="18" y="150"/>
                  </a:cubicBezTo>
                  <a:cubicBezTo>
                    <a:pt x="12" y="146"/>
                    <a:pt x="6" y="142"/>
                    <a:pt x="0" y="137"/>
                  </a:cubicBezTo>
                  <a:cubicBezTo>
                    <a:pt x="35" y="91"/>
                    <a:pt x="69" y="46"/>
                    <a:pt x="10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92" name="Freeform 108"/>
            <p:cNvSpPr>
              <a:spLocks/>
            </p:cNvSpPr>
            <p:nvPr/>
          </p:nvSpPr>
          <p:spPr bwMode="auto">
            <a:xfrm>
              <a:off x="5368926" y="3848100"/>
              <a:ext cx="177800" cy="222250"/>
            </a:xfrm>
            <a:custGeom>
              <a:avLst/>
              <a:gdLst>
                <a:gd name="T0" fmla="*/ 92 w 92"/>
                <a:gd name="T1" fmla="*/ 11 h 115"/>
                <a:gd name="T2" fmla="*/ 73 w 92"/>
                <a:gd name="T3" fmla="*/ 37 h 115"/>
                <a:gd name="T4" fmla="*/ 17 w 92"/>
                <a:gd name="T5" fmla="*/ 111 h 115"/>
                <a:gd name="T6" fmla="*/ 9 w 92"/>
                <a:gd name="T7" fmla="*/ 115 h 115"/>
                <a:gd name="T8" fmla="*/ 2 w 92"/>
                <a:gd name="T9" fmla="*/ 102 h 115"/>
                <a:gd name="T10" fmla="*/ 4 w 92"/>
                <a:gd name="T11" fmla="*/ 98 h 115"/>
                <a:gd name="T12" fmla="*/ 25 w 92"/>
                <a:gd name="T13" fmla="*/ 60 h 115"/>
                <a:gd name="T14" fmla="*/ 29 w 92"/>
                <a:gd name="T15" fmla="*/ 55 h 115"/>
                <a:gd name="T16" fmla="*/ 48 w 92"/>
                <a:gd name="T17" fmla="*/ 33 h 115"/>
                <a:gd name="T18" fmla="*/ 58 w 92"/>
                <a:gd name="T19" fmla="*/ 16 h 115"/>
                <a:gd name="T20" fmla="*/ 92 w 92"/>
                <a:gd name="T21" fmla="*/ 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11"/>
                  </a:moveTo>
                  <a:cubicBezTo>
                    <a:pt x="86" y="20"/>
                    <a:pt x="79" y="28"/>
                    <a:pt x="73" y="37"/>
                  </a:cubicBezTo>
                  <a:cubicBezTo>
                    <a:pt x="54" y="62"/>
                    <a:pt x="35" y="86"/>
                    <a:pt x="17" y="111"/>
                  </a:cubicBezTo>
                  <a:cubicBezTo>
                    <a:pt x="15" y="114"/>
                    <a:pt x="13" y="115"/>
                    <a:pt x="9" y="115"/>
                  </a:cubicBezTo>
                  <a:cubicBezTo>
                    <a:pt x="3" y="114"/>
                    <a:pt x="0" y="109"/>
                    <a:pt x="2" y="102"/>
                  </a:cubicBezTo>
                  <a:cubicBezTo>
                    <a:pt x="2" y="101"/>
                    <a:pt x="3" y="99"/>
                    <a:pt x="4" y="98"/>
                  </a:cubicBezTo>
                  <a:cubicBezTo>
                    <a:pt x="11" y="85"/>
                    <a:pt x="18" y="73"/>
                    <a:pt x="25" y="60"/>
                  </a:cubicBezTo>
                  <a:cubicBezTo>
                    <a:pt x="26" y="58"/>
                    <a:pt x="28" y="56"/>
                    <a:pt x="29" y="55"/>
                  </a:cubicBezTo>
                  <a:cubicBezTo>
                    <a:pt x="38" y="50"/>
                    <a:pt x="43" y="41"/>
                    <a:pt x="48" y="33"/>
                  </a:cubicBezTo>
                  <a:cubicBezTo>
                    <a:pt x="51" y="27"/>
                    <a:pt x="54" y="21"/>
                    <a:pt x="58" y="16"/>
                  </a:cubicBezTo>
                  <a:cubicBezTo>
                    <a:pt x="68" y="1"/>
                    <a:pt x="78" y="0"/>
                    <a:pt x="9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09"/>
            <p:cNvSpPr>
              <a:spLocks/>
            </p:cNvSpPr>
            <p:nvPr/>
          </p:nvSpPr>
          <p:spPr bwMode="auto">
            <a:xfrm>
              <a:off x="5595938" y="3683000"/>
              <a:ext cx="122237" cy="157163"/>
            </a:xfrm>
            <a:custGeom>
              <a:avLst/>
              <a:gdLst>
                <a:gd name="T0" fmla="*/ 61 w 63"/>
                <a:gd name="T1" fmla="*/ 11 h 81"/>
                <a:gd name="T2" fmla="*/ 22 w 63"/>
                <a:gd name="T3" fmla="*/ 74 h 81"/>
                <a:gd name="T4" fmla="*/ 6 w 63"/>
                <a:gd name="T5" fmla="*/ 77 h 81"/>
                <a:gd name="T6" fmla="*/ 4 w 63"/>
                <a:gd name="T7" fmla="*/ 62 h 81"/>
                <a:gd name="T8" fmla="*/ 43 w 63"/>
                <a:gd name="T9" fmla="*/ 11 h 81"/>
                <a:gd name="T10" fmla="*/ 61 w 63"/>
                <a:gd name="T11" fmla="*/ 11 h 81"/>
              </a:gdLst>
              <a:ahLst/>
              <a:cxnLst>
                <a:cxn ang="0">
                  <a:pos x="T0" y="T1"/>
                </a:cxn>
                <a:cxn ang="0">
                  <a:pos x="T2" y="T3"/>
                </a:cxn>
                <a:cxn ang="0">
                  <a:pos x="T4" y="T5"/>
                </a:cxn>
                <a:cxn ang="0">
                  <a:pos x="T6" y="T7"/>
                </a:cxn>
                <a:cxn ang="0">
                  <a:pos x="T8" y="T9"/>
                </a:cxn>
                <a:cxn ang="0">
                  <a:pos x="T10" y="T11"/>
                </a:cxn>
              </a:cxnLst>
              <a:rect l="0" t="0" r="r" b="b"/>
              <a:pathLst>
                <a:path w="63" h="81">
                  <a:moveTo>
                    <a:pt x="61" y="11"/>
                  </a:moveTo>
                  <a:cubicBezTo>
                    <a:pt x="63" y="34"/>
                    <a:pt x="38" y="40"/>
                    <a:pt x="22" y="74"/>
                  </a:cubicBezTo>
                  <a:cubicBezTo>
                    <a:pt x="17" y="80"/>
                    <a:pt x="11" y="81"/>
                    <a:pt x="6" y="77"/>
                  </a:cubicBezTo>
                  <a:cubicBezTo>
                    <a:pt x="1" y="74"/>
                    <a:pt x="0" y="67"/>
                    <a:pt x="4" y="62"/>
                  </a:cubicBezTo>
                  <a:cubicBezTo>
                    <a:pt x="17" y="45"/>
                    <a:pt x="30" y="28"/>
                    <a:pt x="43" y="11"/>
                  </a:cubicBezTo>
                  <a:cubicBezTo>
                    <a:pt x="45" y="8"/>
                    <a:pt x="61" y="0"/>
                    <a:pt x="61" y="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94" name="Freeform 110"/>
            <p:cNvSpPr>
              <a:spLocks/>
            </p:cNvSpPr>
            <p:nvPr/>
          </p:nvSpPr>
          <p:spPr bwMode="auto">
            <a:xfrm>
              <a:off x="5365751" y="4097338"/>
              <a:ext cx="50800" cy="53975"/>
            </a:xfrm>
            <a:custGeom>
              <a:avLst/>
              <a:gdLst>
                <a:gd name="T0" fmla="*/ 27 w 27"/>
                <a:gd name="T1" fmla="*/ 13 h 28"/>
                <a:gd name="T2" fmla="*/ 5 w 27"/>
                <a:gd name="T3" fmla="*/ 27 h 28"/>
                <a:gd name="T4" fmla="*/ 0 w 27"/>
                <a:gd name="T5" fmla="*/ 28 h 28"/>
                <a:gd name="T6" fmla="*/ 9 w 27"/>
                <a:gd name="T7" fmla="*/ 0 h 28"/>
                <a:gd name="T8" fmla="*/ 27 w 27"/>
                <a:gd name="T9" fmla="*/ 13 h 28"/>
              </a:gdLst>
              <a:ahLst/>
              <a:cxnLst>
                <a:cxn ang="0">
                  <a:pos x="T0" y="T1"/>
                </a:cxn>
                <a:cxn ang="0">
                  <a:pos x="T2" y="T3"/>
                </a:cxn>
                <a:cxn ang="0">
                  <a:pos x="T4" y="T5"/>
                </a:cxn>
                <a:cxn ang="0">
                  <a:pos x="T6" y="T7"/>
                </a:cxn>
                <a:cxn ang="0">
                  <a:pos x="T8" y="T9"/>
                </a:cxn>
              </a:cxnLst>
              <a:rect l="0" t="0" r="r" b="b"/>
              <a:pathLst>
                <a:path w="27" h="28">
                  <a:moveTo>
                    <a:pt x="27" y="13"/>
                  </a:moveTo>
                  <a:cubicBezTo>
                    <a:pt x="23" y="19"/>
                    <a:pt x="12" y="20"/>
                    <a:pt x="5" y="27"/>
                  </a:cubicBezTo>
                  <a:cubicBezTo>
                    <a:pt x="5" y="27"/>
                    <a:pt x="5" y="28"/>
                    <a:pt x="0" y="28"/>
                  </a:cubicBezTo>
                  <a:cubicBezTo>
                    <a:pt x="3" y="19"/>
                    <a:pt x="6" y="9"/>
                    <a:pt x="9" y="0"/>
                  </a:cubicBezTo>
                  <a:cubicBezTo>
                    <a:pt x="15" y="4"/>
                    <a:pt x="21" y="8"/>
                    <a:pt x="27"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70" name="Group 569"/>
          <p:cNvGrpSpPr/>
          <p:nvPr/>
        </p:nvGrpSpPr>
        <p:grpSpPr>
          <a:xfrm>
            <a:off x="3948609" y="3330163"/>
            <a:ext cx="868362" cy="819150"/>
            <a:chOff x="3963988" y="3544888"/>
            <a:chExt cx="868362" cy="819150"/>
          </a:xfrm>
        </p:grpSpPr>
        <p:sp>
          <p:nvSpPr>
            <p:cNvPr id="195" name="Freeform 111"/>
            <p:cNvSpPr>
              <a:spLocks/>
            </p:cNvSpPr>
            <p:nvPr/>
          </p:nvSpPr>
          <p:spPr bwMode="auto">
            <a:xfrm>
              <a:off x="3963988" y="3544888"/>
              <a:ext cx="868362" cy="819150"/>
            </a:xfrm>
            <a:custGeom>
              <a:avLst/>
              <a:gdLst>
                <a:gd name="T0" fmla="*/ 65 w 451"/>
                <a:gd name="T1" fmla="*/ 330 h 422"/>
                <a:gd name="T2" fmla="*/ 108 w 451"/>
                <a:gd name="T3" fmla="*/ 63 h 422"/>
                <a:gd name="T4" fmla="*/ 386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6" y="102"/>
                  </a:cubicBezTo>
                  <a:cubicBezTo>
                    <a:pt x="451" y="187"/>
                    <a:pt x="425" y="296"/>
                    <a:pt x="336" y="359"/>
                  </a:cubicBezTo>
                  <a:cubicBezTo>
                    <a:pt x="247" y="422"/>
                    <a:pt x="130" y="414"/>
                    <a:pt x="65" y="33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96" name="Freeform 112"/>
            <p:cNvSpPr>
              <a:spLocks/>
            </p:cNvSpPr>
            <p:nvPr/>
          </p:nvSpPr>
          <p:spPr bwMode="auto">
            <a:xfrm>
              <a:off x="4308476" y="3736975"/>
              <a:ext cx="325437" cy="385763"/>
            </a:xfrm>
            <a:custGeom>
              <a:avLst/>
              <a:gdLst>
                <a:gd name="T0" fmla="*/ 127 w 169"/>
                <a:gd name="T1" fmla="*/ 188 h 199"/>
                <a:gd name="T2" fmla="*/ 133 w 169"/>
                <a:gd name="T3" fmla="*/ 199 h 199"/>
                <a:gd name="T4" fmla="*/ 3 w 169"/>
                <a:gd name="T5" fmla="*/ 140 h 199"/>
                <a:gd name="T6" fmla="*/ 3 w 169"/>
                <a:gd name="T7" fmla="*/ 59 h 199"/>
                <a:gd name="T8" fmla="*/ 0 w 169"/>
                <a:gd name="T9" fmla="*/ 53 h 199"/>
                <a:gd name="T10" fmla="*/ 0 w 169"/>
                <a:gd name="T11" fmla="*/ 53 h 199"/>
                <a:gd name="T12" fmla="*/ 115 w 169"/>
                <a:gd name="T13" fmla="*/ 8 h 199"/>
                <a:gd name="T14" fmla="*/ 133 w 169"/>
                <a:gd name="T15" fmla="*/ 199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99">
                  <a:moveTo>
                    <a:pt x="127" y="188"/>
                  </a:moveTo>
                  <a:cubicBezTo>
                    <a:pt x="133" y="199"/>
                    <a:pt x="133" y="199"/>
                    <a:pt x="133" y="199"/>
                  </a:cubicBezTo>
                  <a:cubicBezTo>
                    <a:pt x="133" y="199"/>
                    <a:pt x="23" y="166"/>
                    <a:pt x="3" y="140"/>
                  </a:cubicBezTo>
                  <a:cubicBezTo>
                    <a:pt x="3" y="59"/>
                    <a:pt x="3" y="59"/>
                    <a:pt x="3" y="59"/>
                  </a:cubicBezTo>
                  <a:cubicBezTo>
                    <a:pt x="3" y="57"/>
                    <a:pt x="2" y="54"/>
                    <a:pt x="0" y="53"/>
                  </a:cubicBezTo>
                  <a:cubicBezTo>
                    <a:pt x="0" y="53"/>
                    <a:pt x="0" y="53"/>
                    <a:pt x="0" y="53"/>
                  </a:cubicBezTo>
                  <a:cubicBezTo>
                    <a:pt x="115" y="8"/>
                    <a:pt x="115" y="8"/>
                    <a:pt x="115" y="8"/>
                  </a:cubicBezTo>
                  <a:cubicBezTo>
                    <a:pt x="169" y="0"/>
                    <a:pt x="108" y="154"/>
                    <a:pt x="133" y="199"/>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04" name="Freeform 113"/>
            <p:cNvSpPr>
              <a:spLocks/>
            </p:cNvSpPr>
            <p:nvPr/>
          </p:nvSpPr>
          <p:spPr bwMode="auto">
            <a:xfrm>
              <a:off x="4135438" y="3844925"/>
              <a:ext cx="168275" cy="171450"/>
            </a:xfrm>
            <a:custGeom>
              <a:avLst/>
              <a:gdLst>
                <a:gd name="T0" fmla="*/ 41 w 87"/>
                <a:gd name="T1" fmla="*/ 0 h 88"/>
                <a:gd name="T2" fmla="*/ 83 w 87"/>
                <a:gd name="T3" fmla="*/ 0 h 88"/>
                <a:gd name="T4" fmla="*/ 87 w 87"/>
                <a:gd name="T5" fmla="*/ 3 h 88"/>
                <a:gd name="T6" fmla="*/ 87 w 87"/>
                <a:gd name="T7" fmla="*/ 84 h 88"/>
                <a:gd name="T8" fmla="*/ 83 w 87"/>
                <a:gd name="T9" fmla="*/ 88 h 88"/>
                <a:gd name="T10" fmla="*/ 41 w 87"/>
                <a:gd name="T11" fmla="*/ 88 h 88"/>
                <a:gd name="T12" fmla="*/ 20 w 87"/>
                <a:gd name="T13" fmla="*/ 11 h 88"/>
                <a:gd name="T14" fmla="*/ 41 w 87"/>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88">
                  <a:moveTo>
                    <a:pt x="41" y="0"/>
                  </a:moveTo>
                  <a:cubicBezTo>
                    <a:pt x="83" y="0"/>
                    <a:pt x="83" y="0"/>
                    <a:pt x="83" y="0"/>
                  </a:cubicBezTo>
                  <a:cubicBezTo>
                    <a:pt x="86" y="0"/>
                    <a:pt x="87" y="1"/>
                    <a:pt x="87" y="3"/>
                  </a:cubicBezTo>
                  <a:cubicBezTo>
                    <a:pt x="87" y="84"/>
                    <a:pt x="87" y="84"/>
                    <a:pt x="87" y="84"/>
                  </a:cubicBezTo>
                  <a:cubicBezTo>
                    <a:pt x="87" y="86"/>
                    <a:pt x="86" y="88"/>
                    <a:pt x="83" y="88"/>
                  </a:cubicBezTo>
                  <a:cubicBezTo>
                    <a:pt x="41" y="88"/>
                    <a:pt x="41" y="88"/>
                    <a:pt x="41" y="88"/>
                  </a:cubicBezTo>
                  <a:cubicBezTo>
                    <a:pt x="0" y="78"/>
                    <a:pt x="32" y="36"/>
                    <a:pt x="20" y="11"/>
                  </a:cubicBezTo>
                  <a:cubicBezTo>
                    <a:pt x="22" y="0"/>
                    <a:pt x="32" y="0"/>
                    <a:pt x="41"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14"/>
            <p:cNvSpPr>
              <a:spLocks/>
            </p:cNvSpPr>
            <p:nvPr/>
          </p:nvSpPr>
          <p:spPr bwMode="auto">
            <a:xfrm>
              <a:off x="4210051" y="4025900"/>
              <a:ext cx="68262" cy="131763"/>
            </a:xfrm>
            <a:custGeom>
              <a:avLst/>
              <a:gdLst>
                <a:gd name="T0" fmla="*/ 35 w 35"/>
                <a:gd name="T1" fmla="*/ 0 h 68"/>
                <a:gd name="T2" fmla="*/ 35 w 35"/>
                <a:gd name="T3" fmla="*/ 57 h 68"/>
                <a:gd name="T4" fmla="*/ 17 w 35"/>
                <a:gd name="T5" fmla="*/ 61 h 68"/>
                <a:gd name="T6" fmla="*/ 0 w 35"/>
                <a:gd name="T7" fmla="*/ 57 h 68"/>
                <a:gd name="T8" fmla="*/ 0 w 35"/>
                <a:gd name="T9" fmla="*/ 0 h 68"/>
                <a:gd name="T10" fmla="*/ 2 w 35"/>
                <a:gd name="T11" fmla="*/ 0 h 68"/>
                <a:gd name="T12" fmla="*/ 35 w 35"/>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35" h="68">
                  <a:moveTo>
                    <a:pt x="35" y="0"/>
                  </a:moveTo>
                  <a:cubicBezTo>
                    <a:pt x="35" y="57"/>
                    <a:pt x="35" y="57"/>
                    <a:pt x="35" y="57"/>
                  </a:cubicBezTo>
                  <a:cubicBezTo>
                    <a:pt x="25" y="56"/>
                    <a:pt x="17" y="61"/>
                    <a:pt x="17" y="61"/>
                  </a:cubicBezTo>
                  <a:cubicBezTo>
                    <a:pt x="4" y="68"/>
                    <a:pt x="0" y="59"/>
                    <a:pt x="0" y="57"/>
                  </a:cubicBezTo>
                  <a:cubicBezTo>
                    <a:pt x="0" y="0"/>
                    <a:pt x="0" y="0"/>
                    <a:pt x="0" y="0"/>
                  </a:cubicBezTo>
                  <a:cubicBezTo>
                    <a:pt x="1" y="0"/>
                    <a:pt x="1" y="0"/>
                    <a:pt x="2" y="0"/>
                  </a:cubicBezTo>
                  <a:cubicBezTo>
                    <a:pt x="35" y="0"/>
                    <a:pt x="35" y="0"/>
                    <a:pt x="35"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23" name="Freeform 115"/>
            <p:cNvSpPr>
              <a:spLocks/>
            </p:cNvSpPr>
            <p:nvPr/>
          </p:nvSpPr>
          <p:spPr bwMode="auto">
            <a:xfrm>
              <a:off x="4567238" y="3897313"/>
              <a:ext cx="60325" cy="107950"/>
            </a:xfrm>
            <a:custGeom>
              <a:avLst/>
              <a:gdLst>
                <a:gd name="T0" fmla="*/ 7 w 31"/>
                <a:gd name="T1" fmla="*/ 0 h 55"/>
                <a:gd name="T2" fmla="*/ 0 w 31"/>
                <a:gd name="T3" fmla="*/ 55 h 55"/>
                <a:gd name="T4" fmla="*/ 27 w 31"/>
                <a:gd name="T5" fmla="*/ 32 h 55"/>
                <a:gd name="T6" fmla="*/ 7 w 31"/>
                <a:gd name="T7" fmla="*/ 0 h 55"/>
              </a:gdLst>
              <a:ahLst/>
              <a:cxnLst>
                <a:cxn ang="0">
                  <a:pos x="T0" y="T1"/>
                </a:cxn>
                <a:cxn ang="0">
                  <a:pos x="T2" y="T3"/>
                </a:cxn>
                <a:cxn ang="0">
                  <a:pos x="T4" y="T5"/>
                </a:cxn>
                <a:cxn ang="0">
                  <a:pos x="T6" y="T7"/>
                </a:cxn>
              </a:cxnLst>
              <a:rect l="0" t="0" r="r" b="b"/>
              <a:pathLst>
                <a:path w="31" h="55">
                  <a:moveTo>
                    <a:pt x="7" y="0"/>
                  </a:moveTo>
                  <a:cubicBezTo>
                    <a:pt x="7" y="0"/>
                    <a:pt x="7" y="29"/>
                    <a:pt x="0" y="55"/>
                  </a:cubicBezTo>
                  <a:cubicBezTo>
                    <a:pt x="0" y="55"/>
                    <a:pt x="25" y="50"/>
                    <a:pt x="27" y="32"/>
                  </a:cubicBezTo>
                  <a:cubicBezTo>
                    <a:pt x="27" y="32"/>
                    <a:pt x="31" y="7"/>
                    <a:pt x="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2" name="Group 571"/>
          <p:cNvGrpSpPr/>
          <p:nvPr/>
        </p:nvGrpSpPr>
        <p:grpSpPr>
          <a:xfrm>
            <a:off x="6375004" y="3330163"/>
            <a:ext cx="868362" cy="819150"/>
            <a:chOff x="6376988" y="3544888"/>
            <a:chExt cx="868362" cy="819150"/>
          </a:xfrm>
        </p:grpSpPr>
        <p:sp>
          <p:nvSpPr>
            <p:cNvPr id="224" name="Freeform 116"/>
            <p:cNvSpPr>
              <a:spLocks/>
            </p:cNvSpPr>
            <p:nvPr/>
          </p:nvSpPr>
          <p:spPr bwMode="auto">
            <a:xfrm>
              <a:off x="6376988" y="3544888"/>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25" name="Freeform 117"/>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18"/>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19"/>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73" name="Group 572"/>
          <p:cNvGrpSpPr/>
          <p:nvPr/>
        </p:nvGrpSpPr>
        <p:grpSpPr>
          <a:xfrm>
            <a:off x="7588658" y="3341275"/>
            <a:ext cx="847725" cy="798513"/>
            <a:chOff x="7573963" y="3556000"/>
            <a:chExt cx="847725" cy="798513"/>
          </a:xfrm>
        </p:grpSpPr>
        <p:sp>
          <p:nvSpPr>
            <p:cNvPr id="228" name="Freeform 120"/>
            <p:cNvSpPr>
              <a:spLocks/>
            </p:cNvSpPr>
            <p:nvPr/>
          </p:nvSpPr>
          <p:spPr bwMode="auto">
            <a:xfrm>
              <a:off x="7573963" y="3556000"/>
              <a:ext cx="847725" cy="798513"/>
            </a:xfrm>
            <a:custGeom>
              <a:avLst/>
              <a:gdLst>
                <a:gd name="T0" fmla="*/ 51 w 440"/>
                <a:gd name="T1" fmla="*/ 299 h 411"/>
                <a:gd name="T2" fmla="*/ 127 w 440"/>
                <a:gd name="T3" fmla="*/ 49 h 411"/>
                <a:gd name="T4" fmla="*/ 389 w 440"/>
                <a:gd name="T5" fmla="*/ 123 h 411"/>
                <a:gd name="T6" fmla="*/ 306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6" y="362"/>
                  </a:cubicBezTo>
                  <a:cubicBezTo>
                    <a:pt x="213" y="411"/>
                    <a:pt x="102" y="388"/>
                    <a:pt x="51" y="299"/>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29" name="Freeform 121"/>
            <p:cNvSpPr>
              <a:spLocks/>
            </p:cNvSpPr>
            <p:nvPr/>
          </p:nvSpPr>
          <p:spPr bwMode="auto">
            <a:xfrm>
              <a:off x="7812088" y="3794125"/>
              <a:ext cx="385762" cy="355600"/>
            </a:xfrm>
            <a:custGeom>
              <a:avLst/>
              <a:gdLst>
                <a:gd name="T0" fmla="*/ 133 w 200"/>
                <a:gd name="T1" fmla="*/ 2 h 184"/>
                <a:gd name="T2" fmla="*/ 9 w 200"/>
                <a:gd name="T3" fmla="*/ 2 h 184"/>
                <a:gd name="T4" fmla="*/ 0 w 200"/>
                <a:gd name="T5" fmla="*/ 44 h 184"/>
                <a:gd name="T6" fmla="*/ 7 w 200"/>
                <a:gd name="T7" fmla="*/ 170 h 184"/>
                <a:gd name="T8" fmla="*/ 180 w 200"/>
                <a:gd name="T9" fmla="*/ 165 h 184"/>
                <a:gd name="T10" fmla="*/ 177 w 200"/>
                <a:gd name="T11" fmla="*/ 61 h 184"/>
                <a:gd name="T12" fmla="*/ 174 w 200"/>
                <a:gd name="T13" fmla="*/ 15 h 184"/>
                <a:gd name="T14" fmla="*/ 171 w 200"/>
                <a:gd name="T15" fmla="*/ 0 h 184"/>
                <a:gd name="T16" fmla="*/ 133 w 200"/>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4">
                  <a:moveTo>
                    <a:pt x="133" y="2"/>
                  </a:moveTo>
                  <a:cubicBezTo>
                    <a:pt x="133" y="2"/>
                    <a:pt x="39" y="21"/>
                    <a:pt x="9" y="2"/>
                  </a:cubicBezTo>
                  <a:cubicBezTo>
                    <a:pt x="0" y="44"/>
                    <a:pt x="0" y="44"/>
                    <a:pt x="0" y="44"/>
                  </a:cubicBezTo>
                  <a:cubicBezTo>
                    <a:pt x="7" y="170"/>
                    <a:pt x="7" y="170"/>
                    <a:pt x="7" y="170"/>
                  </a:cubicBezTo>
                  <a:cubicBezTo>
                    <a:pt x="7" y="170"/>
                    <a:pt x="161" y="184"/>
                    <a:pt x="180" y="165"/>
                  </a:cubicBezTo>
                  <a:cubicBezTo>
                    <a:pt x="200" y="145"/>
                    <a:pt x="177" y="61"/>
                    <a:pt x="177" y="61"/>
                  </a:cubicBezTo>
                  <a:cubicBezTo>
                    <a:pt x="174" y="15"/>
                    <a:pt x="174" y="15"/>
                    <a:pt x="174" y="15"/>
                  </a:cubicBezTo>
                  <a:cubicBezTo>
                    <a:pt x="171" y="0"/>
                    <a:pt x="171" y="0"/>
                    <a:pt x="171" y="0"/>
                  </a:cubicBezTo>
                  <a:lnTo>
                    <a:pt x="133" y="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0" name="Freeform 122"/>
            <p:cNvSpPr>
              <a:spLocks/>
            </p:cNvSpPr>
            <p:nvPr/>
          </p:nvSpPr>
          <p:spPr bwMode="auto">
            <a:xfrm>
              <a:off x="7893051" y="3738563"/>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31" name="Freeform 123"/>
            <p:cNvSpPr>
              <a:spLocks/>
            </p:cNvSpPr>
            <p:nvPr/>
          </p:nvSpPr>
          <p:spPr bwMode="auto">
            <a:xfrm>
              <a:off x="7797801" y="3781425"/>
              <a:ext cx="381000" cy="365125"/>
            </a:xfrm>
            <a:custGeom>
              <a:avLst/>
              <a:gdLst>
                <a:gd name="T0" fmla="*/ 77 w 198"/>
                <a:gd name="T1" fmla="*/ 188 h 188"/>
                <a:gd name="T2" fmla="*/ 16 w 198"/>
                <a:gd name="T3" fmla="*/ 187 h 188"/>
                <a:gd name="T4" fmla="*/ 9 w 198"/>
                <a:gd name="T5" fmla="*/ 187 h 188"/>
                <a:gd name="T6" fmla="*/ 8 w 198"/>
                <a:gd name="T7" fmla="*/ 180 h 188"/>
                <a:gd name="T8" fmla="*/ 3 w 198"/>
                <a:gd name="T9" fmla="*/ 98 h 188"/>
                <a:gd name="T10" fmla="*/ 13 w 198"/>
                <a:gd name="T11" fmla="*/ 4 h 188"/>
                <a:gd name="T12" fmla="*/ 25 w 198"/>
                <a:gd name="T13" fmla="*/ 5 h 188"/>
                <a:gd name="T14" fmla="*/ 177 w 198"/>
                <a:gd name="T15" fmla="*/ 0 h 188"/>
                <a:gd name="T16" fmla="*/ 163 w 198"/>
                <a:gd name="T17" fmla="*/ 19 h 188"/>
                <a:gd name="T18" fmla="*/ 21 w 198"/>
                <a:gd name="T19" fmla="*/ 21 h 188"/>
                <a:gd name="T20" fmla="*/ 24 w 198"/>
                <a:gd name="T21" fmla="*/ 171 h 188"/>
                <a:gd name="T22" fmla="*/ 181 w 198"/>
                <a:gd name="T23" fmla="*/ 165 h 188"/>
                <a:gd name="T24" fmla="*/ 176 w 198"/>
                <a:gd name="T25" fmla="*/ 44 h 188"/>
                <a:gd name="T26" fmla="*/ 192 w 198"/>
                <a:gd name="T27" fmla="*/ 16 h 188"/>
                <a:gd name="T28" fmla="*/ 198 w 198"/>
                <a:gd name="T29" fmla="*/ 176 h 188"/>
                <a:gd name="T30" fmla="*/ 192 w 198"/>
                <a:gd name="T31" fmla="*/ 178 h 188"/>
                <a:gd name="T32" fmla="*/ 77 w 198"/>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88">
                  <a:moveTo>
                    <a:pt x="77" y="188"/>
                  </a:moveTo>
                  <a:cubicBezTo>
                    <a:pt x="45" y="188"/>
                    <a:pt x="19" y="187"/>
                    <a:pt x="16" y="187"/>
                  </a:cubicBezTo>
                  <a:cubicBezTo>
                    <a:pt x="9" y="187"/>
                    <a:pt x="9" y="187"/>
                    <a:pt x="9" y="187"/>
                  </a:cubicBezTo>
                  <a:cubicBezTo>
                    <a:pt x="8" y="180"/>
                    <a:pt x="8" y="180"/>
                    <a:pt x="8" y="180"/>
                  </a:cubicBezTo>
                  <a:cubicBezTo>
                    <a:pt x="8" y="179"/>
                    <a:pt x="5" y="139"/>
                    <a:pt x="3" y="98"/>
                  </a:cubicBezTo>
                  <a:cubicBezTo>
                    <a:pt x="0" y="11"/>
                    <a:pt x="7" y="7"/>
                    <a:pt x="13" y="4"/>
                  </a:cubicBezTo>
                  <a:cubicBezTo>
                    <a:pt x="17" y="2"/>
                    <a:pt x="21" y="2"/>
                    <a:pt x="25" y="5"/>
                  </a:cubicBezTo>
                  <a:cubicBezTo>
                    <a:pt x="36" y="14"/>
                    <a:pt x="140" y="5"/>
                    <a:pt x="177" y="0"/>
                  </a:cubicBezTo>
                  <a:cubicBezTo>
                    <a:pt x="163" y="19"/>
                    <a:pt x="163" y="19"/>
                    <a:pt x="163" y="19"/>
                  </a:cubicBezTo>
                  <a:cubicBezTo>
                    <a:pt x="148" y="21"/>
                    <a:pt x="48" y="32"/>
                    <a:pt x="21" y="21"/>
                  </a:cubicBezTo>
                  <a:cubicBezTo>
                    <a:pt x="17" y="41"/>
                    <a:pt x="19" y="109"/>
                    <a:pt x="24" y="171"/>
                  </a:cubicBezTo>
                  <a:cubicBezTo>
                    <a:pt x="64" y="172"/>
                    <a:pt x="150" y="173"/>
                    <a:pt x="181" y="165"/>
                  </a:cubicBezTo>
                  <a:cubicBezTo>
                    <a:pt x="176" y="44"/>
                    <a:pt x="176" y="44"/>
                    <a:pt x="176" y="44"/>
                  </a:cubicBezTo>
                  <a:cubicBezTo>
                    <a:pt x="192" y="16"/>
                    <a:pt x="192" y="16"/>
                    <a:pt x="192" y="16"/>
                  </a:cubicBezTo>
                  <a:cubicBezTo>
                    <a:pt x="198" y="176"/>
                    <a:pt x="198" y="176"/>
                    <a:pt x="198" y="176"/>
                  </a:cubicBezTo>
                  <a:cubicBezTo>
                    <a:pt x="192" y="178"/>
                    <a:pt x="192" y="178"/>
                    <a:pt x="192" y="178"/>
                  </a:cubicBezTo>
                  <a:cubicBezTo>
                    <a:pt x="173" y="186"/>
                    <a:pt x="120" y="188"/>
                    <a:pt x="77" y="18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6" name="Group 575"/>
          <p:cNvGrpSpPr/>
          <p:nvPr/>
        </p:nvGrpSpPr>
        <p:grpSpPr>
          <a:xfrm>
            <a:off x="10024854" y="3284125"/>
            <a:ext cx="844550" cy="795338"/>
            <a:chOff x="10006013" y="3498850"/>
            <a:chExt cx="844550" cy="795338"/>
          </a:xfrm>
        </p:grpSpPr>
        <p:sp>
          <p:nvSpPr>
            <p:cNvPr id="232" name="Freeform 124"/>
            <p:cNvSpPr>
              <a:spLocks/>
            </p:cNvSpPr>
            <p:nvPr/>
          </p:nvSpPr>
          <p:spPr bwMode="auto">
            <a:xfrm>
              <a:off x="10006013" y="3498850"/>
              <a:ext cx="844550" cy="795338"/>
            </a:xfrm>
            <a:custGeom>
              <a:avLst/>
              <a:gdLst>
                <a:gd name="T0" fmla="*/ 63 w 438"/>
                <a:gd name="T1" fmla="*/ 320 h 410"/>
                <a:gd name="T2" fmla="*/ 105 w 438"/>
                <a:gd name="T3" fmla="*/ 61 h 410"/>
                <a:gd name="T4" fmla="*/ 375 w 438"/>
                <a:gd name="T5" fmla="*/ 99 h 410"/>
                <a:gd name="T6" fmla="*/ 326 w 438"/>
                <a:gd name="T7" fmla="*/ 348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9" y="122"/>
                    <a:pt x="105" y="61"/>
                  </a:cubicBezTo>
                  <a:cubicBezTo>
                    <a:pt x="191" y="0"/>
                    <a:pt x="312" y="17"/>
                    <a:pt x="375" y="99"/>
                  </a:cubicBezTo>
                  <a:cubicBezTo>
                    <a:pt x="438" y="181"/>
                    <a:pt x="412" y="287"/>
                    <a:pt x="326" y="348"/>
                  </a:cubicBezTo>
                  <a:cubicBezTo>
                    <a:pt x="240" y="410"/>
                    <a:pt x="126" y="402"/>
                    <a:pt x="63" y="32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125"/>
            <p:cNvSpPr>
              <a:spLocks/>
            </p:cNvSpPr>
            <p:nvPr/>
          </p:nvSpPr>
          <p:spPr bwMode="auto">
            <a:xfrm>
              <a:off x="10350501" y="3695700"/>
              <a:ext cx="336550" cy="396875"/>
            </a:xfrm>
            <a:custGeom>
              <a:avLst/>
              <a:gdLst>
                <a:gd name="T0" fmla="*/ 171 w 174"/>
                <a:gd name="T1" fmla="*/ 9 h 204"/>
                <a:gd name="T2" fmla="*/ 171 w 174"/>
                <a:gd name="T3" fmla="*/ 3 h 204"/>
                <a:gd name="T4" fmla="*/ 167 w 174"/>
                <a:gd name="T5" fmla="*/ 0 h 204"/>
                <a:gd name="T6" fmla="*/ 84 w 174"/>
                <a:gd name="T7" fmla="*/ 0 h 204"/>
                <a:gd name="T8" fmla="*/ 6 w 174"/>
                <a:gd name="T9" fmla="*/ 78 h 204"/>
                <a:gd name="T10" fmla="*/ 6 w 174"/>
                <a:gd name="T11" fmla="*/ 79 h 204"/>
                <a:gd name="T12" fmla="*/ 6 w 174"/>
                <a:gd name="T13" fmla="*/ 116 h 204"/>
                <a:gd name="T14" fmla="*/ 6 w 174"/>
                <a:gd name="T15" fmla="*/ 116 h 204"/>
                <a:gd name="T16" fmla="*/ 6 w 174"/>
                <a:gd name="T17" fmla="*/ 200 h 204"/>
                <a:gd name="T18" fmla="*/ 9 w 174"/>
                <a:gd name="T19" fmla="*/ 204 h 204"/>
                <a:gd name="T20" fmla="*/ 13 w 174"/>
                <a:gd name="T21" fmla="*/ 204 h 204"/>
                <a:gd name="T22" fmla="*/ 16 w 174"/>
                <a:gd name="T23" fmla="*/ 200 h 204"/>
                <a:gd name="T24" fmla="*/ 16 w 174"/>
                <a:gd name="T25" fmla="*/ 124 h 204"/>
                <a:gd name="T26" fmla="*/ 20 w 174"/>
                <a:gd name="T27" fmla="*/ 121 h 204"/>
                <a:gd name="T28" fmla="*/ 80 w 174"/>
                <a:gd name="T29" fmla="*/ 121 h 204"/>
                <a:gd name="T30" fmla="*/ 82 w 174"/>
                <a:gd name="T31" fmla="*/ 121 h 204"/>
                <a:gd name="T32" fmla="*/ 82 w 174"/>
                <a:gd name="T33" fmla="*/ 121 h 204"/>
                <a:gd name="T34" fmla="*/ 171 w 174"/>
                <a:gd name="T35" fmla="*/ 23 h 204"/>
                <a:gd name="T36" fmla="*/ 171 w 174"/>
                <a:gd name="T37" fmla="*/ 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204">
                  <a:moveTo>
                    <a:pt x="171" y="9"/>
                  </a:moveTo>
                  <a:cubicBezTo>
                    <a:pt x="171" y="3"/>
                    <a:pt x="171" y="3"/>
                    <a:pt x="171" y="3"/>
                  </a:cubicBezTo>
                  <a:cubicBezTo>
                    <a:pt x="171" y="1"/>
                    <a:pt x="169" y="0"/>
                    <a:pt x="167" y="0"/>
                  </a:cubicBezTo>
                  <a:cubicBezTo>
                    <a:pt x="84" y="0"/>
                    <a:pt x="84" y="0"/>
                    <a:pt x="84" y="0"/>
                  </a:cubicBezTo>
                  <a:cubicBezTo>
                    <a:pt x="0" y="0"/>
                    <a:pt x="5" y="75"/>
                    <a:pt x="6" y="78"/>
                  </a:cubicBezTo>
                  <a:cubicBezTo>
                    <a:pt x="6" y="78"/>
                    <a:pt x="6" y="78"/>
                    <a:pt x="6" y="79"/>
                  </a:cubicBezTo>
                  <a:cubicBezTo>
                    <a:pt x="6" y="116"/>
                    <a:pt x="6" y="116"/>
                    <a:pt x="6" y="116"/>
                  </a:cubicBezTo>
                  <a:cubicBezTo>
                    <a:pt x="6" y="116"/>
                    <a:pt x="6" y="116"/>
                    <a:pt x="6" y="116"/>
                  </a:cubicBezTo>
                  <a:cubicBezTo>
                    <a:pt x="6" y="200"/>
                    <a:pt x="6" y="200"/>
                    <a:pt x="6" y="200"/>
                  </a:cubicBezTo>
                  <a:cubicBezTo>
                    <a:pt x="6" y="202"/>
                    <a:pt x="7" y="204"/>
                    <a:pt x="9" y="204"/>
                  </a:cubicBezTo>
                  <a:cubicBezTo>
                    <a:pt x="13" y="204"/>
                    <a:pt x="13" y="204"/>
                    <a:pt x="13" y="204"/>
                  </a:cubicBezTo>
                  <a:cubicBezTo>
                    <a:pt x="14" y="204"/>
                    <a:pt x="16" y="202"/>
                    <a:pt x="16" y="200"/>
                  </a:cubicBezTo>
                  <a:cubicBezTo>
                    <a:pt x="16" y="124"/>
                    <a:pt x="16" y="124"/>
                    <a:pt x="16" y="124"/>
                  </a:cubicBezTo>
                  <a:cubicBezTo>
                    <a:pt x="16" y="122"/>
                    <a:pt x="18" y="121"/>
                    <a:pt x="20" y="121"/>
                  </a:cubicBezTo>
                  <a:cubicBezTo>
                    <a:pt x="80" y="121"/>
                    <a:pt x="80" y="121"/>
                    <a:pt x="80" y="121"/>
                  </a:cubicBezTo>
                  <a:cubicBezTo>
                    <a:pt x="81" y="121"/>
                    <a:pt x="81" y="121"/>
                    <a:pt x="82" y="121"/>
                  </a:cubicBezTo>
                  <a:cubicBezTo>
                    <a:pt x="82" y="121"/>
                    <a:pt x="82" y="121"/>
                    <a:pt x="82" y="121"/>
                  </a:cubicBezTo>
                  <a:cubicBezTo>
                    <a:pt x="174" y="121"/>
                    <a:pt x="171" y="23"/>
                    <a:pt x="171" y="23"/>
                  </a:cubicBezTo>
                  <a:cubicBezTo>
                    <a:pt x="171" y="9"/>
                    <a:pt x="171" y="9"/>
                    <a:pt x="171" y="9"/>
                  </a:cubicBez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126"/>
            <p:cNvSpPr>
              <a:spLocks/>
            </p:cNvSpPr>
            <p:nvPr/>
          </p:nvSpPr>
          <p:spPr bwMode="auto">
            <a:xfrm>
              <a:off x="10147301" y="3911600"/>
              <a:ext cx="217487" cy="296863"/>
            </a:xfrm>
            <a:custGeom>
              <a:avLst/>
              <a:gdLst>
                <a:gd name="T0" fmla="*/ 58 w 113"/>
                <a:gd name="T1" fmla="*/ 0 h 153"/>
                <a:gd name="T2" fmla="*/ 3 w 113"/>
                <a:gd name="T3" fmla="*/ 0 h 153"/>
                <a:gd name="T4" fmla="*/ 2 w 113"/>
                <a:gd name="T5" fmla="*/ 0 h 153"/>
                <a:gd name="T6" fmla="*/ 2 w 113"/>
                <a:gd name="T7" fmla="*/ 6 h 153"/>
                <a:gd name="T8" fmla="*/ 2 w 113"/>
                <a:gd name="T9" fmla="*/ 6 h 153"/>
                <a:gd name="T10" fmla="*/ 2 w 113"/>
                <a:gd name="T11" fmla="*/ 14 h 153"/>
                <a:gd name="T12" fmla="*/ 59 w 113"/>
                <a:gd name="T13" fmla="*/ 77 h 153"/>
                <a:gd name="T14" fmla="*/ 59 w 113"/>
                <a:gd name="T15" fmla="*/ 77 h 153"/>
                <a:gd name="T16" fmla="*/ 61 w 113"/>
                <a:gd name="T17" fmla="*/ 77 h 153"/>
                <a:gd name="T18" fmla="*/ 97 w 113"/>
                <a:gd name="T19" fmla="*/ 77 h 153"/>
                <a:gd name="T20" fmla="*/ 98 w 113"/>
                <a:gd name="T21" fmla="*/ 78 h 153"/>
                <a:gd name="T22" fmla="*/ 98 w 113"/>
                <a:gd name="T23" fmla="*/ 152 h 153"/>
                <a:gd name="T24" fmla="*/ 98 w 113"/>
                <a:gd name="T25" fmla="*/ 153 h 153"/>
                <a:gd name="T26" fmla="*/ 102 w 113"/>
                <a:gd name="T27" fmla="*/ 153 h 153"/>
                <a:gd name="T28" fmla="*/ 108 w 113"/>
                <a:gd name="T29" fmla="*/ 147 h 153"/>
                <a:gd name="T30" fmla="*/ 108 w 113"/>
                <a:gd name="T31" fmla="*/ 77 h 153"/>
                <a:gd name="T32" fmla="*/ 108 w 113"/>
                <a:gd name="T33" fmla="*/ 65 h 153"/>
                <a:gd name="T34" fmla="*/ 108 w 113"/>
                <a:gd name="T35" fmla="*/ 50 h 153"/>
                <a:gd name="T36" fmla="*/ 58 w 113"/>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53">
                  <a:moveTo>
                    <a:pt x="58" y="0"/>
                  </a:moveTo>
                  <a:cubicBezTo>
                    <a:pt x="3" y="0"/>
                    <a:pt x="3" y="0"/>
                    <a:pt x="3" y="0"/>
                  </a:cubicBezTo>
                  <a:cubicBezTo>
                    <a:pt x="3" y="0"/>
                    <a:pt x="2" y="0"/>
                    <a:pt x="2" y="0"/>
                  </a:cubicBezTo>
                  <a:cubicBezTo>
                    <a:pt x="2" y="6"/>
                    <a:pt x="2" y="6"/>
                    <a:pt x="2" y="6"/>
                  </a:cubicBezTo>
                  <a:cubicBezTo>
                    <a:pt x="2" y="6"/>
                    <a:pt x="2" y="6"/>
                    <a:pt x="2" y="6"/>
                  </a:cubicBezTo>
                  <a:cubicBezTo>
                    <a:pt x="2" y="14"/>
                    <a:pt x="2" y="14"/>
                    <a:pt x="2" y="14"/>
                  </a:cubicBezTo>
                  <a:cubicBezTo>
                    <a:pt x="2" y="14"/>
                    <a:pt x="0" y="77"/>
                    <a:pt x="59" y="77"/>
                  </a:cubicBezTo>
                  <a:cubicBezTo>
                    <a:pt x="59" y="77"/>
                    <a:pt x="59" y="77"/>
                    <a:pt x="59" y="77"/>
                  </a:cubicBezTo>
                  <a:cubicBezTo>
                    <a:pt x="60" y="77"/>
                    <a:pt x="60" y="77"/>
                    <a:pt x="61" y="77"/>
                  </a:cubicBezTo>
                  <a:cubicBezTo>
                    <a:pt x="97" y="77"/>
                    <a:pt x="97" y="77"/>
                    <a:pt x="97" y="77"/>
                  </a:cubicBezTo>
                  <a:cubicBezTo>
                    <a:pt x="97" y="77"/>
                    <a:pt x="98" y="78"/>
                    <a:pt x="98" y="78"/>
                  </a:cubicBezTo>
                  <a:cubicBezTo>
                    <a:pt x="98" y="152"/>
                    <a:pt x="98" y="152"/>
                    <a:pt x="98" y="152"/>
                  </a:cubicBezTo>
                  <a:cubicBezTo>
                    <a:pt x="98" y="152"/>
                    <a:pt x="98" y="153"/>
                    <a:pt x="98" y="153"/>
                  </a:cubicBezTo>
                  <a:cubicBezTo>
                    <a:pt x="102" y="153"/>
                    <a:pt x="102" y="153"/>
                    <a:pt x="102" y="153"/>
                  </a:cubicBezTo>
                  <a:cubicBezTo>
                    <a:pt x="105" y="153"/>
                    <a:pt x="108" y="150"/>
                    <a:pt x="108" y="147"/>
                  </a:cubicBezTo>
                  <a:cubicBezTo>
                    <a:pt x="108" y="77"/>
                    <a:pt x="108" y="77"/>
                    <a:pt x="108" y="77"/>
                  </a:cubicBezTo>
                  <a:cubicBezTo>
                    <a:pt x="108" y="65"/>
                    <a:pt x="108" y="65"/>
                    <a:pt x="108" y="65"/>
                  </a:cubicBezTo>
                  <a:cubicBezTo>
                    <a:pt x="108" y="50"/>
                    <a:pt x="108" y="50"/>
                    <a:pt x="108" y="50"/>
                  </a:cubicBezTo>
                  <a:cubicBezTo>
                    <a:pt x="108" y="50"/>
                    <a:pt x="113" y="0"/>
                    <a:pt x="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5" name="Group 574"/>
          <p:cNvGrpSpPr/>
          <p:nvPr/>
        </p:nvGrpSpPr>
        <p:grpSpPr>
          <a:xfrm>
            <a:off x="8794953" y="3341275"/>
            <a:ext cx="844550" cy="795338"/>
            <a:chOff x="8820151" y="3556000"/>
            <a:chExt cx="844550" cy="795338"/>
          </a:xfrm>
        </p:grpSpPr>
        <p:sp>
          <p:nvSpPr>
            <p:cNvPr id="235" name="Freeform 127"/>
            <p:cNvSpPr>
              <a:spLocks/>
            </p:cNvSpPr>
            <p:nvPr/>
          </p:nvSpPr>
          <p:spPr bwMode="auto">
            <a:xfrm>
              <a:off x="8820151" y="3556000"/>
              <a:ext cx="844550" cy="795338"/>
            </a:xfrm>
            <a:custGeom>
              <a:avLst/>
              <a:gdLst>
                <a:gd name="T0" fmla="*/ 63 w 438"/>
                <a:gd name="T1" fmla="*/ 320 h 410"/>
                <a:gd name="T2" fmla="*/ 105 w 438"/>
                <a:gd name="T3" fmla="*/ 61 h 410"/>
                <a:gd name="T4" fmla="*/ 375 w 438"/>
                <a:gd name="T5" fmla="*/ 99 h 410"/>
                <a:gd name="T6" fmla="*/ 326 w 438"/>
                <a:gd name="T7" fmla="*/ 349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8" y="122"/>
                    <a:pt x="105" y="61"/>
                  </a:cubicBezTo>
                  <a:cubicBezTo>
                    <a:pt x="191" y="0"/>
                    <a:pt x="312" y="17"/>
                    <a:pt x="375" y="99"/>
                  </a:cubicBezTo>
                  <a:cubicBezTo>
                    <a:pt x="438" y="182"/>
                    <a:pt x="412" y="288"/>
                    <a:pt x="326" y="349"/>
                  </a:cubicBezTo>
                  <a:cubicBezTo>
                    <a:pt x="240" y="410"/>
                    <a:pt x="126" y="403"/>
                    <a:pt x="63" y="320"/>
                  </a:cubicBezTo>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74" name="Group 573"/>
            <p:cNvGrpSpPr/>
            <p:nvPr/>
          </p:nvGrpSpPr>
          <p:grpSpPr>
            <a:xfrm>
              <a:off x="9067801" y="3706813"/>
              <a:ext cx="344487" cy="527050"/>
              <a:chOff x="9067801" y="3706813"/>
              <a:chExt cx="344487" cy="527050"/>
            </a:xfrm>
          </p:grpSpPr>
          <p:sp>
            <p:nvSpPr>
              <p:cNvPr id="236" name="Freeform 128"/>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37" name="Freeform 129"/>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38" name="Freeform 130"/>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39" name="Freeform 131"/>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40" name="Freeform 132"/>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241" name="Line 133"/>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2" name="Freeform 134"/>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66" name="Group 565"/>
          <p:cNvGrpSpPr/>
          <p:nvPr/>
        </p:nvGrpSpPr>
        <p:grpSpPr>
          <a:xfrm>
            <a:off x="10282823" y="4190316"/>
            <a:ext cx="328612" cy="80964"/>
            <a:chOff x="9771066" y="4626021"/>
            <a:chExt cx="328612" cy="80964"/>
          </a:xfrm>
        </p:grpSpPr>
        <p:sp>
          <p:nvSpPr>
            <p:cNvPr id="432" name="Freeform 91"/>
            <p:cNvSpPr>
              <a:spLocks/>
            </p:cNvSpPr>
            <p:nvPr/>
          </p:nvSpPr>
          <p:spPr bwMode="auto">
            <a:xfrm>
              <a:off x="9771066" y="4633959"/>
              <a:ext cx="52388" cy="73026"/>
            </a:xfrm>
            <a:custGeom>
              <a:avLst/>
              <a:gdLst>
                <a:gd name="T0" fmla="*/ 26 w 29"/>
                <a:gd name="T1" fmla="*/ 21 h 40"/>
                <a:gd name="T2" fmla="*/ 29 w 29"/>
                <a:gd name="T3" fmla="*/ 21 h 40"/>
                <a:gd name="T4" fmla="*/ 29 w 29"/>
                <a:gd name="T5" fmla="*/ 39 h 40"/>
                <a:gd name="T6" fmla="*/ 25 w 29"/>
                <a:gd name="T7" fmla="*/ 40 h 40"/>
                <a:gd name="T8" fmla="*/ 17 w 29"/>
                <a:gd name="T9" fmla="*/ 40 h 40"/>
                <a:gd name="T10" fmla="*/ 10 w 29"/>
                <a:gd name="T11" fmla="*/ 39 h 40"/>
                <a:gd name="T12" fmla="*/ 5 w 29"/>
                <a:gd name="T13" fmla="*/ 35 h 40"/>
                <a:gd name="T14" fmla="*/ 1 w 29"/>
                <a:gd name="T15" fmla="*/ 29 h 40"/>
                <a:gd name="T16" fmla="*/ 0 w 29"/>
                <a:gd name="T17" fmla="*/ 20 h 40"/>
                <a:gd name="T18" fmla="*/ 1 w 29"/>
                <a:gd name="T19" fmla="*/ 12 h 40"/>
                <a:gd name="T20" fmla="*/ 5 w 29"/>
                <a:gd name="T21" fmla="*/ 5 h 40"/>
                <a:gd name="T22" fmla="*/ 11 w 29"/>
                <a:gd name="T23" fmla="*/ 1 h 40"/>
                <a:gd name="T24" fmla="*/ 18 w 29"/>
                <a:gd name="T25" fmla="*/ 0 h 40"/>
                <a:gd name="T26" fmla="*/ 25 w 29"/>
                <a:gd name="T27" fmla="*/ 1 h 40"/>
                <a:gd name="T28" fmla="*/ 29 w 29"/>
                <a:gd name="T29" fmla="*/ 3 h 40"/>
                <a:gd name="T30" fmla="*/ 28 w 29"/>
                <a:gd name="T31" fmla="*/ 6 h 40"/>
                <a:gd name="T32" fmla="*/ 24 w 29"/>
                <a:gd name="T33" fmla="*/ 4 h 40"/>
                <a:gd name="T34" fmla="*/ 18 w 29"/>
                <a:gd name="T35" fmla="*/ 3 h 40"/>
                <a:gd name="T36" fmla="*/ 12 w 29"/>
                <a:gd name="T37" fmla="*/ 5 h 40"/>
                <a:gd name="T38" fmla="*/ 8 w 29"/>
                <a:gd name="T39" fmla="*/ 8 h 40"/>
                <a:gd name="T40" fmla="*/ 5 w 29"/>
                <a:gd name="T41" fmla="*/ 13 h 40"/>
                <a:gd name="T42" fmla="*/ 4 w 29"/>
                <a:gd name="T43" fmla="*/ 20 h 40"/>
                <a:gd name="T44" fmla="*/ 5 w 29"/>
                <a:gd name="T45" fmla="*/ 27 h 40"/>
                <a:gd name="T46" fmla="*/ 7 w 29"/>
                <a:gd name="T47" fmla="*/ 33 h 40"/>
                <a:gd name="T48" fmla="*/ 12 w 29"/>
                <a:gd name="T49" fmla="*/ 36 h 40"/>
                <a:gd name="T50" fmla="*/ 18 w 29"/>
                <a:gd name="T51" fmla="*/ 37 h 40"/>
                <a:gd name="T52" fmla="*/ 23 w 29"/>
                <a:gd name="T53" fmla="*/ 37 h 40"/>
                <a:gd name="T54" fmla="*/ 26 w 29"/>
                <a:gd name="T55" fmla="*/ 36 h 40"/>
                <a:gd name="T56" fmla="*/ 26 w 29"/>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0">
                  <a:moveTo>
                    <a:pt x="26" y="21"/>
                  </a:moveTo>
                  <a:cubicBezTo>
                    <a:pt x="29" y="21"/>
                    <a:pt x="29" y="21"/>
                    <a:pt x="29" y="21"/>
                  </a:cubicBezTo>
                  <a:cubicBezTo>
                    <a:pt x="29" y="39"/>
                    <a:pt x="29" y="39"/>
                    <a:pt x="29" y="39"/>
                  </a:cubicBezTo>
                  <a:cubicBezTo>
                    <a:pt x="29" y="39"/>
                    <a:pt x="27" y="39"/>
                    <a:pt x="25" y="40"/>
                  </a:cubicBezTo>
                  <a:cubicBezTo>
                    <a:pt x="23" y="40"/>
                    <a:pt x="21" y="40"/>
                    <a:pt x="17" y="40"/>
                  </a:cubicBezTo>
                  <a:cubicBezTo>
                    <a:pt x="15" y="40"/>
                    <a:pt x="13" y="40"/>
                    <a:pt x="10" y="39"/>
                  </a:cubicBezTo>
                  <a:cubicBezTo>
                    <a:pt x="8" y="38"/>
                    <a:pt x="6" y="37"/>
                    <a:pt x="5" y="35"/>
                  </a:cubicBezTo>
                  <a:cubicBezTo>
                    <a:pt x="3" y="34"/>
                    <a:pt x="2" y="31"/>
                    <a:pt x="1" y="29"/>
                  </a:cubicBezTo>
                  <a:cubicBezTo>
                    <a:pt x="0" y="26"/>
                    <a:pt x="0" y="24"/>
                    <a:pt x="0" y="20"/>
                  </a:cubicBezTo>
                  <a:cubicBezTo>
                    <a:pt x="0" y="17"/>
                    <a:pt x="0" y="14"/>
                    <a:pt x="1" y="12"/>
                  </a:cubicBezTo>
                  <a:cubicBezTo>
                    <a:pt x="2" y="9"/>
                    <a:pt x="3" y="7"/>
                    <a:pt x="5" y="5"/>
                  </a:cubicBezTo>
                  <a:cubicBezTo>
                    <a:pt x="7" y="4"/>
                    <a:pt x="9" y="2"/>
                    <a:pt x="11" y="1"/>
                  </a:cubicBezTo>
                  <a:cubicBezTo>
                    <a:pt x="13" y="0"/>
                    <a:pt x="15" y="0"/>
                    <a:pt x="18" y="0"/>
                  </a:cubicBezTo>
                  <a:cubicBezTo>
                    <a:pt x="21" y="0"/>
                    <a:pt x="23" y="0"/>
                    <a:pt x="25" y="1"/>
                  </a:cubicBezTo>
                  <a:cubicBezTo>
                    <a:pt x="27" y="2"/>
                    <a:pt x="28" y="2"/>
                    <a:pt x="29" y="3"/>
                  </a:cubicBezTo>
                  <a:cubicBezTo>
                    <a:pt x="28" y="6"/>
                    <a:pt x="28" y="6"/>
                    <a:pt x="28" y="6"/>
                  </a:cubicBezTo>
                  <a:cubicBezTo>
                    <a:pt x="27" y="5"/>
                    <a:pt x="25" y="5"/>
                    <a:pt x="24" y="4"/>
                  </a:cubicBezTo>
                  <a:cubicBezTo>
                    <a:pt x="22" y="4"/>
                    <a:pt x="20" y="3"/>
                    <a:pt x="18" y="3"/>
                  </a:cubicBezTo>
                  <a:cubicBezTo>
                    <a:pt x="16" y="3"/>
                    <a:pt x="14" y="4"/>
                    <a:pt x="12" y="5"/>
                  </a:cubicBezTo>
                  <a:cubicBezTo>
                    <a:pt x="11" y="5"/>
                    <a:pt x="9" y="6"/>
                    <a:pt x="8" y="8"/>
                  </a:cubicBezTo>
                  <a:cubicBezTo>
                    <a:pt x="7" y="9"/>
                    <a:pt x="6" y="11"/>
                    <a:pt x="5" y="13"/>
                  </a:cubicBezTo>
                  <a:cubicBezTo>
                    <a:pt x="4" y="15"/>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3" y="37"/>
                  </a:cubicBezTo>
                  <a:cubicBezTo>
                    <a:pt x="24" y="37"/>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92"/>
            <p:cNvSpPr>
              <a:spLocks/>
            </p:cNvSpPr>
            <p:nvPr/>
          </p:nvSpPr>
          <p:spPr bwMode="auto">
            <a:xfrm>
              <a:off x="9840916" y="4651421"/>
              <a:ext cx="26988" cy="55563"/>
            </a:xfrm>
            <a:custGeom>
              <a:avLst/>
              <a:gdLst>
                <a:gd name="T0" fmla="*/ 10 w 15"/>
                <a:gd name="T1" fmla="*/ 0 h 30"/>
                <a:gd name="T2" fmla="*/ 13 w 15"/>
                <a:gd name="T3" fmla="*/ 0 h 30"/>
                <a:gd name="T4" fmla="*/ 15 w 15"/>
                <a:gd name="T5" fmla="*/ 1 h 30"/>
                <a:gd name="T6" fmla="*/ 15 w 15"/>
                <a:gd name="T7" fmla="*/ 4 h 30"/>
                <a:gd name="T8" fmla="*/ 13 w 15"/>
                <a:gd name="T9" fmla="*/ 4 h 30"/>
                <a:gd name="T10" fmla="*/ 9 w 15"/>
                <a:gd name="T11" fmla="*/ 3 h 30"/>
                <a:gd name="T12" fmla="*/ 5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0"/>
                  </a:cubicBezTo>
                  <a:cubicBezTo>
                    <a:pt x="14" y="1"/>
                    <a:pt x="15" y="1"/>
                    <a:pt x="15" y="1"/>
                  </a:cubicBezTo>
                  <a:cubicBezTo>
                    <a:pt x="15" y="4"/>
                    <a:pt x="15" y="4"/>
                    <a:pt x="15" y="4"/>
                  </a:cubicBezTo>
                  <a:cubicBezTo>
                    <a:pt x="14" y="4"/>
                    <a:pt x="14" y="4"/>
                    <a:pt x="13" y="4"/>
                  </a:cubicBezTo>
                  <a:cubicBezTo>
                    <a:pt x="12" y="4"/>
                    <a:pt x="11" y="3"/>
                    <a:pt x="9" y="3"/>
                  </a:cubicBezTo>
                  <a:cubicBezTo>
                    <a:pt x="8" y="3"/>
                    <a:pt x="6" y="4"/>
                    <a:pt x="5"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93"/>
            <p:cNvSpPr>
              <a:spLocks noEditPoints="1"/>
            </p:cNvSpPr>
            <p:nvPr/>
          </p:nvSpPr>
          <p:spPr bwMode="auto">
            <a:xfrm>
              <a:off x="9875841" y="4651421"/>
              <a:ext cx="49213" cy="55563"/>
            </a:xfrm>
            <a:custGeom>
              <a:avLst/>
              <a:gdLst>
                <a:gd name="T0" fmla="*/ 27 w 27"/>
                <a:gd name="T1" fmla="*/ 15 h 30"/>
                <a:gd name="T2" fmla="*/ 26 w 27"/>
                <a:gd name="T3" fmla="*/ 21 h 30"/>
                <a:gd name="T4" fmla="*/ 23 w 27"/>
                <a:gd name="T5" fmla="*/ 26 h 30"/>
                <a:gd name="T6" fmla="*/ 19 w 27"/>
                <a:gd name="T7" fmla="*/ 29 h 30"/>
                <a:gd name="T8" fmla="*/ 13 w 27"/>
                <a:gd name="T9" fmla="*/ 30 h 30"/>
                <a:gd name="T10" fmla="*/ 8 w 27"/>
                <a:gd name="T11" fmla="*/ 29 h 30"/>
                <a:gd name="T12" fmla="*/ 4 w 27"/>
                <a:gd name="T13" fmla="*/ 26 h 30"/>
                <a:gd name="T14" fmla="*/ 1 w 27"/>
                <a:gd name="T15" fmla="*/ 21 h 30"/>
                <a:gd name="T16" fmla="*/ 0 w 27"/>
                <a:gd name="T17" fmla="*/ 15 h 30"/>
                <a:gd name="T18" fmla="*/ 1 w 27"/>
                <a:gd name="T19" fmla="*/ 9 h 30"/>
                <a:gd name="T20" fmla="*/ 4 w 27"/>
                <a:gd name="T21" fmla="*/ 4 h 30"/>
                <a:gd name="T22" fmla="*/ 8 w 27"/>
                <a:gd name="T23" fmla="*/ 1 h 30"/>
                <a:gd name="T24" fmla="*/ 13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7 h 30"/>
                <a:gd name="T38" fmla="*/ 13 w 27"/>
                <a:gd name="T39" fmla="*/ 3 h 30"/>
                <a:gd name="T40" fmla="*/ 7 w 27"/>
                <a:gd name="T41" fmla="*/ 7 h 30"/>
                <a:gd name="T42" fmla="*/ 4 w 27"/>
                <a:gd name="T43" fmla="*/ 15 h 30"/>
                <a:gd name="T44" fmla="*/ 7 w 27"/>
                <a:gd name="T45" fmla="*/ 24 h 30"/>
                <a:gd name="T46" fmla="*/ 13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6" y="20"/>
                    <a:pt x="26" y="21"/>
                  </a:cubicBezTo>
                  <a:cubicBezTo>
                    <a:pt x="25" y="23"/>
                    <a:pt x="24" y="25"/>
                    <a:pt x="23" y="26"/>
                  </a:cubicBezTo>
                  <a:cubicBezTo>
                    <a:pt x="22" y="28"/>
                    <a:pt x="20" y="29"/>
                    <a:pt x="19" y="29"/>
                  </a:cubicBezTo>
                  <a:cubicBezTo>
                    <a:pt x="17" y="30"/>
                    <a:pt x="15" y="30"/>
                    <a:pt x="13" y="30"/>
                  </a:cubicBezTo>
                  <a:cubicBezTo>
                    <a:pt x="11" y="30"/>
                    <a:pt x="10" y="30"/>
                    <a:pt x="8" y="29"/>
                  </a:cubicBezTo>
                  <a:cubicBezTo>
                    <a:pt x="6" y="29"/>
                    <a:pt x="5" y="28"/>
                    <a:pt x="4" y="26"/>
                  </a:cubicBezTo>
                  <a:cubicBezTo>
                    <a:pt x="3" y="25"/>
                    <a:pt x="2" y="23"/>
                    <a:pt x="1" y="21"/>
                  </a:cubicBezTo>
                  <a:cubicBezTo>
                    <a:pt x="0" y="20"/>
                    <a:pt x="0" y="18"/>
                    <a:pt x="0" y="15"/>
                  </a:cubicBezTo>
                  <a:cubicBezTo>
                    <a:pt x="0" y="13"/>
                    <a:pt x="0" y="11"/>
                    <a:pt x="1" y="9"/>
                  </a:cubicBezTo>
                  <a:cubicBezTo>
                    <a:pt x="2" y="7"/>
                    <a:pt x="3" y="6"/>
                    <a:pt x="4" y="4"/>
                  </a:cubicBezTo>
                  <a:cubicBezTo>
                    <a:pt x="5" y="3"/>
                    <a:pt x="6" y="2"/>
                    <a:pt x="8" y="1"/>
                  </a:cubicBezTo>
                  <a:cubicBezTo>
                    <a:pt x="10" y="0"/>
                    <a:pt x="11" y="0"/>
                    <a:pt x="13" y="0"/>
                  </a:cubicBezTo>
                  <a:cubicBezTo>
                    <a:pt x="15" y="0"/>
                    <a:pt x="17" y="0"/>
                    <a:pt x="19" y="1"/>
                  </a:cubicBezTo>
                  <a:cubicBezTo>
                    <a:pt x="20" y="2"/>
                    <a:pt x="22" y="3"/>
                    <a:pt x="23" y="4"/>
                  </a:cubicBezTo>
                  <a:cubicBezTo>
                    <a:pt x="24" y="6"/>
                    <a:pt x="25" y="7"/>
                    <a:pt x="26" y="9"/>
                  </a:cubicBezTo>
                  <a:cubicBezTo>
                    <a:pt x="26" y="11"/>
                    <a:pt x="27" y="13"/>
                    <a:pt x="27" y="15"/>
                  </a:cubicBezTo>
                  <a:close/>
                  <a:moveTo>
                    <a:pt x="23" y="15"/>
                  </a:moveTo>
                  <a:cubicBezTo>
                    <a:pt x="23" y="12"/>
                    <a:pt x="22" y="9"/>
                    <a:pt x="20" y="7"/>
                  </a:cubicBezTo>
                  <a:cubicBezTo>
                    <a:pt x="19" y="4"/>
                    <a:pt x="16" y="3"/>
                    <a:pt x="13" y="3"/>
                  </a:cubicBezTo>
                  <a:cubicBezTo>
                    <a:pt x="10" y="3"/>
                    <a:pt x="8" y="4"/>
                    <a:pt x="7" y="7"/>
                  </a:cubicBezTo>
                  <a:cubicBezTo>
                    <a:pt x="5" y="9"/>
                    <a:pt x="4" y="12"/>
                    <a:pt x="4" y="15"/>
                  </a:cubicBezTo>
                  <a:cubicBezTo>
                    <a:pt x="4" y="19"/>
                    <a:pt x="5" y="22"/>
                    <a:pt x="7" y="24"/>
                  </a:cubicBezTo>
                  <a:cubicBezTo>
                    <a:pt x="8" y="26"/>
                    <a:pt x="10" y="27"/>
                    <a:pt x="13" y="27"/>
                  </a:cubicBezTo>
                  <a:cubicBezTo>
                    <a:pt x="16" y="27"/>
                    <a:pt x="19"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94"/>
            <p:cNvSpPr>
              <a:spLocks/>
            </p:cNvSpPr>
            <p:nvPr/>
          </p:nvSpPr>
          <p:spPr bwMode="auto">
            <a:xfrm>
              <a:off x="9931403" y="4654596"/>
              <a:ext cx="76200" cy="52388"/>
            </a:xfrm>
            <a:custGeom>
              <a:avLst/>
              <a:gdLst>
                <a:gd name="T0" fmla="*/ 22 w 41"/>
                <a:gd name="T1" fmla="*/ 0 h 29"/>
                <a:gd name="T2" fmla="*/ 23 w 41"/>
                <a:gd name="T3" fmla="*/ 6 h 29"/>
                <a:gd name="T4" fmla="*/ 25 w 41"/>
                <a:gd name="T5" fmla="*/ 12 h 29"/>
                <a:gd name="T6" fmla="*/ 27 w 41"/>
                <a:gd name="T7" fmla="*/ 19 h 29"/>
                <a:gd name="T8" fmla="*/ 30 w 41"/>
                <a:gd name="T9" fmla="*/ 25 h 29"/>
                <a:gd name="T10" fmla="*/ 32 w 41"/>
                <a:gd name="T11" fmla="*/ 19 h 29"/>
                <a:gd name="T12" fmla="*/ 34 w 41"/>
                <a:gd name="T13" fmla="*/ 13 h 29"/>
                <a:gd name="T14" fmla="*/ 36 w 41"/>
                <a:gd name="T15" fmla="*/ 6 h 29"/>
                <a:gd name="T16" fmla="*/ 37 w 41"/>
                <a:gd name="T17" fmla="*/ 0 h 29"/>
                <a:gd name="T18" fmla="*/ 41 w 41"/>
                <a:gd name="T19" fmla="*/ 0 h 29"/>
                <a:gd name="T20" fmla="*/ 36 w 41"/>
                <a:gd name="T21" fmla="*/ 15 h 29"/>
                <a:gd name="T22" fmla="*/ 31 w 41"/>
                <a:gd name="T23" fmla="*/ 29 h 29"/>
                <a:gd name="T24" fmla="*/ 28 w 41"/>
                <a:gd name="T25" fmla="*/ 29 h 29"/>
                <a:gd name="T26" fmla="*/ 26 w 41"/>
                <a:gd name="T27" fmla="*/ 24 h 29"/>
                <a:gd name="T28" fmla="*/ 24 w 41"/>
                <a:gd name="T29" fmla="*/ 19 h 29"/>
                <a:gd name="T30" fmla="*/ 22 w 41"/>
                <a:gd name="T31" fmla="*/ 13 h 29"/>
                <a:gd name="T32" fmla="*/ 20 w 41"/>
                <a:gd name="T33" fmla="*/ 7 h 29"/>
                <a:gd name="T34" fmla="*/ 19 w 41"/>
                <a:gd name="T35" fmla="*/ 13 h 29"/>
                <a:gd name="T36" fmla="*/ 17 w 41"/>
                <a:gd name="T37" fmla="*/ 19 h 29"/>
                <a:gd name="T38" fmla="*/ 15 w 41"/>
                <a:gd name="T39" fmla="*/ 24 h 29"/>
                <a:gd name="T40" fmla="*/ 13 w 41"/>
                <a:gd name="T41" fmla="*/ 29 h 29"/>
                <a:gd name="T42" fmla="*/ 10 w 41"/>
                <a:gd name="T43" fmla="*/ 29 h 29"/>
                <a:gd name="T44" fmla="*/ 4 w 41"/>
                <a:gd name="T45" fmla="*/ 15 h 29"/>
                <a:gd name="T46" fmla="*/ 0 w 41"/>
                <a:gd name="T47" fmla="*/ 0 h 29"/>
                <a:gd name="T48" fmla="*/ 4 w 41"/>
                <a:gd name="T49" fmla="*/ 0 h 29"/>
                <a:gd name="T50" fmla="*/ 5 w 41"/>
                <a:gd name="T51" fmla="*/ 6 h 29"/>
                <a:gd name="T52" fmla="*/ 7 w 41"/>
                <a:gd name="T53" fmla="*/ 13 h 29"/>
                <a:gd name="T54" fmla="*/ 10 w 41"/>
                <a:gd name="T55" fmla="*/ 19 h 29"/>
                <a:gd name="T56" fmla="*/ 12 w 41"/>
                <a:gd name="T57" fmla="*/ 25 h 29"/>
                <a:gd name="T58" fmla="*/ 14 w 41"/>
                <a:gd name="T59" fmla="*/ 19 h 29"/>
                <a:gd name="T60" fmla="*/ 16 w 41"/>
                <a:gd name="T61" fmla="*/ 12 h 29"/>
                <a:gd name="T62" fmla="*/ 18 w 41"/>
                <a:gd name="T63" fmla="*/ 6 h 29"/>
                <a:gd name="T64" fmla="*/ 19 w 41"/>
                <a:gd name="T65" fmla="*/ 0 h 29"/>
                <a:gd name="T66" fmla="*/ 22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2" y="0"/>
                  </a:moveTo>
                  <a:cubicBezTo>
                    <a:pt x="22" y="2"/>
                    <a:pt x="23" y="4"/>
                    <a:pt x="23" y="6"/>
                  </a:cubicBezTo>
                  <a:cubicBezTo>
                    <a:pt x="24" y="8"/>
                    <a:pt x="25" y="10"/>
                    <a:pt x="25" y="12"/>
                  </a:cubicBezTo>
                  <a:cubicBezTo>
                    <a:pt x="26" y="14"/>
                    <a:pt x="27" y="16"/>
                    <a:pt x="27" y="19"/>
                  </a:cubicBezTo>
                  <a:cubicBezTo>
                    <a:pt x="28" y="21"/>
                    <a:pt x="29" y="23"/>
                    <a:pt x="30" y="25"/>
                  </a:cubicBezTo>
                  <a:cubicBezTo>
                    <a:pt x="30" y="23"/>
                    <a:pt x="31" y="21"/>
                    <a:pt x="32" y="19"/>
                  </a:cubicBezTo>
                  <a:cubicBezTo>
                    <a:pt x="32" y="17"/>
                    <a:pt x="33" y="15"/>
                    <a:pt x="34" y="13"/>
                  </a:cubicBezTo>
                  <a:cubicBezTo>
                    <a:pt x="34" y="11"/>
                    <a:pt x="35" y="8"/>
                    <a:pt x="36" y="6"/>
                  </a:cubicBezTo>
                  <a:cubicBezTo>
                    <a:pt x="36" y="4"/>
                    <a:pt x="37" y="2"/>
                    <a:pt x="37" y="0"/>
                  </a:cubicBezTo>
                  <a:cubicBezTo>
                    <a:pt x="41" y="0"/>
                    <a:pt x="41" y="0"/>
                    <a:pt x="41" y="0"/>
                  </a:cubicBezTo>
                  <a:cubicBezTo>
                    <a:pt x="39" y="5"/>
                    <a:pt x="38" y="11"/>
                    <a:pt x="36" y="15"/>
                  </a:cubicBezTo>
                  <a:cubicBezTo>
                    <a:pt x="35" y="20"/>
                    <a:pt x="33" y="24"/>
                    <a:pt x="31" y="29"/>
                  </a:cubicBezTo>
                  <a:cubicBezTo>
                    <a:pt x="28" y="29"/>
                    <a:pt x="28" y="29"/>
                    <a:pt x="28" y="29"/>
                  </a:cubicBezTo>
                  <a:cubicBezTo>
                    <a:pt x="27" y="27"/>
                    <a:pt x="27" y="26"/>
                    <a:pt x="26" y="24"/>
                  </a:cubicBezTo>
                  <a:cubicBezTo>
                    <a:pt x="25" y="23"/>
                    <a:pt x="25" y="21"/>
                    <a:pt x="24" y="19"/>
                  </a:cubicBezTo>
                  <a:cubicBezTo>
                    <a:pt x="23" y="17"/>
                    <a:pt x="23" y="15"/>
                    <a:pt x="22" y="13"/>
                  </a:cubicBezTo>
                  <a:cubicBezTo>
                    <a:pt x="22" y="11"/>
                    <a:pt x="21" y="9"/>
                    <a:pt x="20" y="7"/>
                  </a:cubicBezTo>
                  <a:cubicBezTo>
                    <a:pt x="20" y="9"/>
                    <a:pt x="19" y="11"/>
                    <a:pt x="19" y="13"/>
                  </a:cubicBezTo>
                  <a:cubicBezTo>
                    <a:pt x="18" y="15"/>
                    <a:pt x="17" y="17"/>
                    <a:pt x="17" y="19"/>
                  </a:cubicBezTo>
                  <a:cubicBezTo>
                    <a:pt x="16" y="21"/>
                    <a:pt x="15" y="23"/>
                    <a:pt x="15" y="24"/>
                  </a:cubicBezTo>
                  <a:cubicBezTo>
                    <a:pt x="14" y="26"/>
                    <a:pt x="14" y="27"/>
                    <a:pt x="13" y="29"/>
                  </a:cubicBezTo>
                  <a:cubicBezTo>
                    <a:pt x="10" y="29"/>
                    <a:pt x="10" y="29"/>
                    <a:pt x="10" y="29"/>
                  </a:cubicBezTo>
                  <a:cubicBezTo>
                    <a:pt x="8" y="24"/>
                    <a:pt x="6" y="20"/>
                    <a:pt x="4" y="15"/>
                  </a:cubicBezTo>
                  <a:cubicBezTo>
                    <a:pt x="3" y="11"/>
                    <a:pt x="1" y="5"/>
                    <a:pt x="0" y="0"/>
                  </a:cubicBezTo>
                  <a:cubicBezTo>
                    <a:pt x="4" y="0"/>
                    <a:pt x="4" y="0"/>
                    <a:pt x="4" y="0"/>
                  </a:cubicBezTo>
                  <a:cubicBezTo>
                    <a:pt x="4" y="2"/>
                    <a:pt x="5" y="4"/>
                    <a:pt x="5" y="6"/>
                  </a:cubicBezTo>
                  <a:cubicBezTo>
                    <a:pt x="6" y="8"/>
                    <a:pt x="7" y="11"/>
                    <a:pt x="7" y="13"/>
                  </a:cubicBezTo>
                  <a:cubicBezTo>
                    <a:pt x="8" y="15"/>
                    <a:pt x="9" y="17"/>
                    <a:pt x="10" y="19"/>
                  </a:cubicBezTo>
                  <a:cubicBezTo>
                    <a:pt x="10" y="21"/>
                    <a:pt x="11" y="23"/>
                    <a:pt x="12" y="25"/>
                  </a:cubicBezTo>
                  <a:cubicBezTo>
                    <a:pt x="12" y="23"/>
                    <a:pt x="13" y="21"/>
                    <a:pt x="14" y="19"/>
                  </a:cubicBezTo>
                  <a:cubicBezTo>
                    <a:pt x="14" y="16"/>
                    <a:pt x="15" y="14"/>
                    <a:pt x="16" y="12"/>
                  </a:cubicBezTo>
                  <a:cubicBezTo>
                    <a:pt x="16" y="10"/>
                    <a:pt x="17" y="8"/>
                    <a:pt x="18" y="6"/>
                  </a:cubicBezTo>
                  <a:cubicBezTo>
                    <a:pt x="18" y="4"/>
                    <a:pt x="19" y="2"/>
                    <a:pt x="19" y="0"/>
                  </a:cubicBezTo>
                  <a:lnTo>
                    <a:pt x="22"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95"/>
            <p:cNvSpPr>
              <a:spLocks/>
            </p:cNvSpPr>
            <p:nvPr/>
          </p:nvSpPr>
          <p:spPr bwMode="auto">
            <a:xfrm>
              <a:off x="10018716" y="4637134"/>
              <a:ext cx="28575" cy="69851"/>
            </a:xfrm>
            <a:custGeom>
              <a:avLst/>
              <a:gdLst>
                <a:gd name="T0" fmla="*/ 3 w 16"/>
                <a:gd name="T1" fmla="*/ 9 h 38"/>
                <a:gd name="T2" fmla="*/ 15 w 16"/>
                <a:gd name="T3" fmla="*/ 9 h 38"/>
                <a:gd name="T4" fmla="*/ 15 w 16"/>
                <a:gd name="T5" fmla="*/ 12 h 38"/>
                <a:gd name="T6" fmla="*/ 3 w 16"/>
                <a:gd name="T7" fmla="*/ 12 h 38"/>
                <a:gd name="T8" fmla="*/ 3 w 16"/>
                <a:gd name="T9" fmla="*/ 27 h 38"/>
                <a:gd name="T10" fmla="*/ 4 w 16"/>
                <a:gd name="T11" fmla="*/ 31 h 38"/>
                <a:gd name="T12" fmla="*/ 5 w 16"/>
                <a:gd name="T13" fmla="*/ 34 h 38"/>
                <a:gd name="T14" fmla="*/ 7 w 16"/>
                <a:gd name="T15" fmla="*/ 35 h 38"/>
                <a:gd name="T16" fmla="*/ 9 w 16"/>
                <a:gd name="T17" fmla="*/ 35 h 38"/>
                <a:gd name="T18" fmla="*/ 13 w 16"/>
                <a:gd name="T19" fmla="*/ 34 h 38"/>
                <a:gd name="T20" fmla="*/ 15 w 16"/>
                <a:gd name="T21" fmla="*/ 33 h 38"/>
                <a:gd name="T22" fmla="*/ 16 w 16"/>
                <a:gd name="T23" fmla="*/ 37 h 38"/>
                <a:gd name="T24" fmla="*/ 13 w 16"/>
                <a:gd name="T25" fmla="*/ 38 h 38"/>
                <a:gd name="T26" fmla="*/ 9 w 16"/>
                <a:gd name="T27" fmla="*/ 38 h 38"/>
                <a:gd name="T28" fmla="*/ 5 w 16"/>
                <a:gd name="T29" fmla="*/ 38 h 38"/>
                <a:gd name="T30" fmla="*/ 2 w 16"/>
                <a:gd name="T31" fmla="*/ 35 h 38"/>
                <a:gd name="T32" fmla="*/ 0 w 16"/>
                <a:gd name="T33" fmla="*/ 32 h 38"/>
                <a:gd name="T34" fmla="*/ 0 w 16"/>
                <a:gd name="T35" fmla="*/ 27 h 38"/>
                <a:gd name="T36" fmla="*/ 0 w 16"/>
                <a:gd name="T37" fmla="*/ 0 h 38"/>
                <a:gd name="T38" fmla="*/ 3 w 16"/>
                <a:gd name="T39" fmla="*/ 0 h 38"/>
                <a:gd name="T40" fmla="*/ 3 w 16"/>
                <a:gd name="T41"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3" y="9"/>
                  </a:moveTo>
                  <a:cubicBezTo>
                    <a:pt x="15" y="9"/>
                    <a:pt x="15" y="9"/>
                    <a:pt x="15" y="9"/>
                  </a:cubicBezTo>
                  <a:cubicBezTo>
                    <a:pt x="15" y="12"/>
                    <a:pt x="15" y="12"/>
                    <a:pt x="15" y="12"/>
                  </a:cubicBezTo>
                  <a:cubicBezTo>
                    <a:pt x="3" y="12"/>
                    <a:pt x="3" y="12"/>
                    <a:pt x="3" y="12"/>
                  </a:cubicBezTo>
                  <a:cubicBezTo>
                    <a:pt x="3" y="27"/>
                    <a:pt x="3" y="27"/>
                    <a:pt x="3" y="27"/>
                  </a:cubicBezTo>
                  <a:cubicBezTo>
                    <a:pt x="3" y="29"/>
                    <a:pt x="3" y="30"/>
                    <a:pt x="4" y="31"/>
                  </a:cubicBezTo>
                  <a:cubicBezTo>
                    <a:pt x="4" y="32"/>
                    <a:pt x="4" y="33"/>
                    <a:pt x="5" y="34"/>
                  </a:cubicBezTo>
                  <a:cubicBezTo>
                    <a:pt x="5" y="34"/>
                    <a:pt x="6" y="35"/>
                    <a:pt x="7" y="35"/>
                  </a:cubicBezTo>
                  <a:cubicBezTo>
                    <a:pt x="8" y="35"/>
                    <a:pt x="8" y="35"/>
                    <a:pt x="9" y="35"/>
                  </a:cubicBezTo>
                  <a:cubicBezTo>
                    <a:pt x="11" y="35"/>
                    <a:pt x="12" y="35"/>
                    <a:pt x="13" y="34"/>
                  </a:cubicBezTo>
                  <a:cubicBezTo>
                    <a:pt x="14" y="34"/>
                    <a:pt x="15" y="34"/>
                    <a:pt x="15" y="33"/>
                  </a:cubicBezTo>
                  <a:cubicBezTo>
                    <a:pt x="16" y="37"/>
                    <a:pt x="16" y="37"/>
                    <a:pt x="16" y="37"/>
                  </a:cubicBezTo>
                  <a:cubicBezTo>
                    <a:pt x="16" y="37"/>
                    <a:pt x="15" y="37"/>
                    <a:pt x="13" y="38"/>
                  </a:cubicBezTo>
                  <a:cubicBezTo>
                    <a:pt x="12" y="38"/>
                    <a:pt x="11" y="38"/>
                    <a:pt x="9" y="38"/>
                  </a:cubicBezTo>
                  <a:cubicBezTo>
                    <a:pt x="7" y="38"/>
                    <a:pt x="6" y="38"/>
                    <a:pt x="5" y="38"/>
                  </a:cubicBezTo>
                  <a:cubicBezTo>
                    <a:pt x="3" y="37"/>
                    <a:pt x="2" y="36"/>
                    <a:pt x="2" y="35"/>
                  </a:cubicBezTo>
                  <a:cubicBezTo>
                    <a:pt x="1" y="35"/>
                    <a:pt x="0" y="33"/>
                    <a:pt x="0" y="32"/>
                  </a:cubicBezTo>
                  <a:cubicBezTo>
                    <a:pt x="0" y="31"/>
                    <a:pt x="0" y="29"/>
                    <a:pt x="0" y="27"/>
                  </a:cubicBezTo>
                  <a:cubicBezTo>
                    <a:pt x="0" y="0"/>
                    <a:pt x="0" y="0"/>
                    <a:pt x="0" y="0"/>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96"/>
            <p:cNvSpPr>
              <a:spLocks/>
            </p:cNvSpPr>
            <p:nvPr/>
          </p:nvSpPr>
          <p:spPr bwMode="auto">
            <a:xfrm>
              <a:off x="10058403" y="4626021"/>
              <a:ext cx="41275" cy="80963"/>
            </a:xfrm>
            <a:custGeom>
              <a:avLst/>
              <a:gdLst>
                <a:gd name="T0" fmla="*/ 0 w 22"/>
                <a:gd name="T1" fmla="*/ 44 h 44"/>
                <a:gd name="T2" fmla="*/ 0 w 22"/>
                <a:gd name="T3" fmla="*/ 1 h 44"/>
                <a:gd name="T4" fmla="*/ 3 w 22"/>
                <a:gd name="T5" fmla="*/ 0 h 44"/>
                <a:gd name="T6" fmla="*/ 3 w 22"/>
                <a:gd name="T7" fmla="*/ 16 h 44"/>
                <a:gd name="T8" fmla="*/ 7 w 22"/>
                <a:gd name="T9" fmla="*/ 15 h 44"/>
                <a:gd name="T10" fmla="*/ 11 w 22"/>
                <a:gd name="T11" fmla="*/ 14 h 44"/>
                <a:gd name="T12" fmla="*/ 16 w 22"/>
                <a:gd name="T13" fmla="*/ 15 h 44"/>
                <a:gd name="T14" fmla="*/ 20 w 22"/>
                <a:gd name="T15" fmla="*/ 18 h 44"/>
                <a:gd name="T16" fmla="*/ 22 w 22"/>
                <a:gd name="T17" fmla="*/ 22 h 44"/>
                <a:gd name="T18" fmla="*/ 22 w 22"/>
                <a:gd name="T19" fmla="*/ 28 h 44"/>
                <a:gd name="T20" fmla="*/ 22 w 22"/>
                <a:gd name="T21" fmla="*/ 44 h 44"/>
                <a:gd name="T22" fmla="*/ 18 w 22"/>
                <a:gd name="T23" fmla="*/ 44 h 44"/>
                <a:gd name="T24" fmla="*/ 18 w 22"/>
                <a:gd name="T25" fmla="*/ 29 h 44"/>
                <a:gd name="T26" fmla="*/ 18 w 22"/>
                <a:gd name="T27" fmla="*/ 23 h 44"/>
                <a:gd name="T28" fmla="*/ 17 w 22"/>
                <a:gd name="T29" fmla="*/ 20 h 44"/>
                <a:gd name="T30" fmla="*/ 14 w 22"/>
                <a:gd name="T31" fmla="*/ 18 h 44"/>
                <a:gd name="T32" fmla="*/ 10 w 22"/>
                <a:gd name="T33" fmla="*/ 17 h 44"/>
                <a:gd name="T34" fmla="*/ 8 w 22"/>
                <a:gd name="T35" fmla="*/ 18 h 44"/>
                <a:gd name="T36" fmla="*/ 6 w 22"/>
                <a:gd name="T37" fmla="*/ 18 h 44"/>
                <a:gd name="T38" fmla="*/ 4 w 22"/>
                <a:gd name="T39" fmla="*/ 18 h 44"/>
                <a:gd name="T40" fmla="*/ 3 w 22"/>
                <a:gd name="T41" fmla="*/ 19 h 44"/>
                <a:gd name="T42" fmla="*/ 3 w 22"/>
                <a:gd name="T43" fmla="*/ 44 h 44"/>
                <a:gd name="T44" fmla="*/ 0 w 22"/>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4">
                  <a:moveTo>
                    <a:pt x="0" y="44"/>
                  </a:moveTo>
                  <a:cubicBezTo>
                    <a:pt x="0" y="1"/>
                    <a:pt x="0" y="1"/>
                    <a:pt x="0" y="1"/>
                  </a:cubicBezTo>
                  <a:cubicBezTo>
                    <a:pt x="3" y="0"/>
                    <a:pt x="3" y="0"/>
                    <a:pt x="3" y="0"/>
                  </a:cubicBezTo>
                  <a:cubicBezTo>
                    <a:pt x="3" y="16"/>
                    <a:pt x="3" y="16"/>
                    <a:pt x="3" y="16"/>
                  </a:cubicBezTo>
                  <a:cubicBezTo>
                    <a:pt x="4" y="15"/>
                    <a:pt x="6" y="15"/>
                    <a:pt x="7" y="15"/>
                  </a:cubicBezTo>
                  <a:cubicBezTo>
                    <a:pt x="8" y="14"/>
                    <a:pt x="9" y="14"/>
                    <a:pt x="11" y="14"/>
                  </a:cubicBezTo>
                  <a:cubicBezTo>
                    <a:pt x="13" y="14"/>
                    <a:pt x="15" y="15"/>
                    <a:pt x="16" y="15"/>
                  </a:cubicBezTo>
                  <a:cubicBezTo>
                    <a:pt x="18" y="16"/>
                    <a:pt x="19" y="17"/>
                    <a:pt x="20" y="18"/>
                  </a:cubicBezTo>
                  <a:cubicBezTo>
                    <a:pt x="21" y="19"/>
                    <a:pt x="21" y="20"/>
                    <a:pt x="22" y="22"/>
                  </a:cubicBezTo>
                  <a:cubicBezTo>
                    <a:pt x="22" y="24"/>
                    <a:pt x="22" y="26"/>
                    <a:pt x="22" y="28"/>
                  </a:cubicBezTo>
                  <a:cubicBezTo>
                    <a:pt x="22" y="44"/>
                    <a:pt x="22" y="44"/>
                    <a:pt x="22" y="44"/>
                  </a:cubicBezTo>
                  <a:cubicBezTo>
                    <a:pt x="18" y="44"/>
                    <a:pt x="18" y="44"/>
                    <a:pt x="18" y="44"/>
                  </a:cubicBezTo>
                  <a:cubicBezTo>
                    <a:pt x="18" y="29"/>
                    <a:pt x="18" y="29"/>
                    <a:pt x="18" y="29"/>
                  </a:cubicBezTo>
                  <a:cubicBezTo>
                    <a:pt x="18" y="27"/>
                    <a:pt x="18" y="25"/>
                    <a:pt x="18" y="23"/>
                  </a:cubicBezTo>
                  <a:cubicBezTo>
                    <a:pt x="18" y="22"/>
                    <a:pt x="17" y="21"/>
                    <a:pt x="17" y="20"/>
                  </a:cubicBezTo>
                  <a:cubicBezTo>
                    <a:pt x="16" y="19"/>
                    <a:pt x="15" y="18"/>
                    <a:pt x="14" y="18"/>
                  </a:cubicBezTo>
                  <a:cubicBezTo>
                    <a:pt x="13" y="18"/>
                    <a:pt x="12" y="17"/>
                    <a:pt x="10" y="17"/>
                  </a:cubicBezTo>
                  <a:cubicBezTo>
                    <a:pt x="9" y="17"/>
                    <a:pt x="9" y="18"/>
                    <a:pt x="8" y="18"/>
                  </a:cubicBezTo>
                  <a:cubicBezTo>
                    <a:pt x="7" y="18"/>
                    <a:pt x="7" y="18"/>
                    <a:pt x="6" y="18"/>
                  </a:cubicBezTo>
                  <a:cubicBezTo>
                    <a:pt x="5" y="18"/>
                    <a:pt x="5" y="18"/>
                    <a:pt x="4" y="18"/>
                  </a:cubicBezTo>
                  <a:cubicBezTo>
                    <a:pt x="4" y="19"/>
                    <a:pt x="3" y="19"/>
                    <a:pt x="3" y="19"/>
                  </a:cubicBezTo>
                  <a:cubicBezTo>
                    <a:pt x="3" y="44"/>
                    <a:pt x="3" y="44"/>
                    <a:pt x="3" y="44"/>
                  </a:cubicBezTo>
                  <a:lnTo>
                    <a:pt x="0"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8" name="Group 557"/>
          <p:cNvGrpSpPr/>
          <p:nvPr/>
        </p:nvGrpSpPr>
        <p:grpSpPr>
          <a:xfrm>
            <a:off x="664370" y="4190316"/>
            <a:ext cx="252413" cy="82550"/>
            <a:chOff x="627063" y="4683172"/>
            <a:chExt cx="252413" cy="82550"/>
          </a:xfrm>
        </p:grpSpPr>
        <p:sp>
          <p:nvSpPr>
            <p:cNvPr id="445" name="Freeform 104"/>
            <p:cNvSpPr>
              <a:spLocks/>
            </p:cNvSpPr>
            <p:nvPr/>
          </p:nvSpPr>
          <p:spPr bwMode="auto">
            <a:xfrm>
              <a:off x="627063" y="4691109"/>
              <a:ext cx="55563" cy="74613"/>
            </a:xfrm>
            <a:custGeom>
              <a:avLst/>
              <a:gdLst>
                <a:gd name="T0" fmla="*/ 18 w 30"/>
                <a:gd name="T1" fmla="*/ 41 h 41"/>
                <a:gd name="T2" fmla="*/ 11 w 30"/>
                <a:gd name="T3" fmla="*/ 39 h 41"/>
                <a:gd name="T4" fmla="*/ 6 w 30"/>
                <a:gd name="T5" fmla="*/ 35 h 41"/>
                <a:gd name="T6" fmla="*/ 2 w 30"/>
                <a:gd name="T7" fmla="*/ 29 h 41"/>
                <a:gd name="T8" fmla="*/ 0 w 30"/>
                <a:gd name="T9" fmla="*/ 20 h 41"/>
                <a:gd name="T10" fmla="*/ 2 w 30"/>
                <a:gd name="T11" fmla="*/ 12 h 41"/>
                <a:gd name="T12" fmla="*/ 6 w 30"/>
                <a:gd name="T13" fmla="*/ 5 h 41"/>
                <a:gd name="T14" fmla="*/ 12 w 30"/>
                <a:gd name="T15" fmla="*/ 1 h 41"/>
                <a:gd name="T16" fmla="*/ 18 w 30"/>
                <a:gd name="T17" fmla="*/ 0 h 41"/>
                <a:gd name="T18" fmla="*/ 22 w 30"/>
                <a:gd name="T19" fmla="*/ 0 h 41"/>
                <a:gd name="T20" fmla="*/ 26 w 30"/>
                <a:gd name="T21" fmla="*/ 1 h 41"/>
                <a:gd name="T22" fmla="*/ 28 w 30"/>
                <a:gd name="T23" fmla="*/ 2 h 41"/>
                <a:gd name="T24" fmla="*/ 29 w 30"/>
                <a:gd name="T25" fmla="*/ 3 h 41"/>
                <a:gd name="T26" fmla="*/ 28 w 30"/>
                <a:gd name="T27" fmla="*/ 6 h 41"/>
                <a:gd name="T28" fmla="*/ 24 w 30"/>
                <a:gd name="T29" fmla="*/ 4 h 41"/>
                <a:gd name="T30" fmla="*/ 19 w 30"/>
                <a:gd name="T31" fmla="*/ 4 h 41"/>
                <a:gd name="T32" fmla="*/ 13 w 30"/>
                <a:gd name="T33" fmla="*/ 5 h 41"/>
                <a:gd name="T34" fmla="*/ 8 w 30"/>
                <a:gd name="T35" fmla="*/ 8 h 41"/>
                <a:gd name="T36" fmla="*/ 5 w 30"/>
                <a:gd name="T37" fmla="*/ 14 h 41"/>
                <a:gd name="T38" fmla="*/ 5 w 30"/>
                <a:gd name="T39" fmla="*/ 20 h 41"/>
                <a:gd name="T40" fmla="*/ 5 w 30"/>
                <a:gd name="T41" fmla="*/ 27 h 41"/>
                <a:gd name="T42" fmla="*/ 8 w 30"/>
                <a:gd name="T43" fmla="*/ 33 h 41"/>
                <a:gd name="T44" fmla="*/ 13 w 30"/>
                <a:gd name="T45" fmla="*/ 36 h 41"/>
                <a:gd name="T46" fmla="*/ 19 w 30"/>
                <a:gd name="T47" fmla="*/ 37 h 41"/>
                <a:gd name="T48" fmla="*/ 25 w 30"/>
                <a:gd name="T49" fmla="*/ 37 h 41"/>
                <a:gd name="T50" fmla="*/ 28 w 30"/>
                <a:gd name="T51" fmla="*/ 35 h 41"/>
                <a:gd name="T52" fmla="*/ 30 w 30"/>
                <a:gd name="T53" fmla="*/ 38 h 41"/>
                <a:gd name="T54" fmla="*/ 28 w 30"/>
                <a:gd name="T55" fmla="*/ 39 h 41"/>
                <a:gd name="T56" fmla="*/ 26 w 30"/>
                <a:gd name="T57" fmla="*/ 40 h 41"/>
                <a:gd name="T58" fmla="*/ 22 w 30"/>
                <a:gd name="T59" fmla="*/ 40 h 41"/>
                <a:gd name="T60" fmla="*/ 18 w 30"/>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 h="41">
                  <a:moveTo>
                    <a:pt x="18" y="41"/>
                  </a:moveTo>
                  <a:cubicBezTo>
                    <a:pt x="16" y="41"/>
                    <a:pt x="13" y="40"/>
                    <a:pt x="11" y="39"/>
                  </a:cubicBezTo>
                  <a:cubicBezTo>
                    <a:pt x="9" y="38"/>
                    <a:pt x="7" y="37"/>
                    <a:pt x="6" y="35"/>
                  </a:cubicBezTo>
                  <a:cubicBezTo>
                    <a:pt x="4" y="34"/>
                    <a:pt x="3" y="32"/>
                    <a:pt x="2" y="29"/>
                  </a:cubicBezTo>
                  <a:cubicBezTo>
                    <a:pt x="1" y="26"/>
                    <a:pt x="0" y="24"/>
                    <a:pt x="0" y="20"/>
                  </a:cubicBezTo>
                  <a:cubicBezTo>
                    <a:pt x="0" y="17"/>
                    <a:pt x="1" y="14"/>
                    <a:pt x="2" y="12"/>
                  </a:cubicBezTo>
                  <a:cubicBezTo>
                    <a:pt x="3" y="9"/>
                    <a:pt x="4" y="7"/>
                    <a:pt x="6" y="5"/>
                  </a:cubicBezTo>
                  <a:cubicBezTo>
                    <a:pt x="8" y="4"/>
                    <a:pt x="9" y="2"/>
                    <a:pt x="12" y="1"/>
                  </a:cubicBezTo>
                  <a:cubicBezTo>
                    <a:pt x="14" y="1"/>
                    <a:pt x="16" y="0"/>
                    <a:pt x="18" y="0"/>
                  </a:cubicBezTo>
                  <a:cubicBezTo>
                    <a:pt x="20" y="0"/>
                    <a:pt x="21" y="0"/>
                    <a:pt x="22" y="0"/>
                  </a:cubicBezTo>
                  <a:cubicBezTo>
                    <a:pt x="24" y="1"/>
                    <a:pt x="25" y="1"/>
                    <a:pt x="26" y="1"/>
                  </a:cubicBezTo>
                  <a:cubicBezTo>
                    <a:pt x="26" y="1"/>
                    <a:pt x="27" y="2"/>
                    <a:pt x="28" y="2"/>
                  </a:cubicBezTo>
                  <a:cubicBezTo>
                    <a:pt x="28" y="2"/>
                    <a:pt x="29" y="2"/>
                    <a:pt x="29" y="3"/>
                  </a:cubicBezTo>
                  <a:cubicBezTo>
                    <a:pt x="28" y="6"/>
                    <a:pt x="28" y="6"/>
                    <a:pt x="28" y="6"/>
                  </a:cubicBezTo>
                  <a:cubicBezTo>
                    <a:pt x="27" y="5"/>
                    <a:pt x="26" y="5"/>
                    <a:pt x="24" y="4"/>
                  </a:cubicBezTo>
                  <a:cubicBezTo>
                    <a:pt x="23" y="4"/>
                    <a:pt x="21" y="4"/>
                    <a:pt x="19" y="4"/>
                  </a:cubicBezTo>
                  <a:cubicBezTo>
                    <a:pt x="17" y="4"/>
                    <a:pt x="15" y="4"/>
                    <a:pt x="13" y="5"/>
                  </a:cubicBezTo>
                  <a:cubicBezTo>
                    <a:pt x="11" y="6"/>
                    <a:pt x="9" y="7"/>
                    <a:pt x="8" y="8"/>
                  </a:cubicBezTo>
                  <a:cubicBezTo>
                    <a:pt x="7" y="10"/>
                    <a:pt x="6" y="12"/>
                    <a:pt x="5" y="14"/>
                  </a:cubicBezTo>
                  <a:cubicBezTo>
                    <a:pt x="5" y="16"/>
                    <a:pt x="5" y="18"/>
                    <a:pt x="5" y="20"/>
                  </a:cubicBezTo>
                  <a:cubicBezTo>
                    <a:pt x="5" y="23"/>
                    <a:pt x="5" y="25"/>
                    <a:pt x="5" y="27"/>
                  </a:cubicBezTo>
                  <a:cubicBezTo>
                    <a:pt x="6" y="29"/>
                    <a:pt x="7" y="31"/>
                    <a:pt x="8" y="33"/>
                  </a:cubicBezTo>
                  <a:cubicBezTo>
                    <a:pt x="9" y="34"/>
                    <a:pt x="11" y="35"/>
                    <a:pt x="13" y="36"/>
                  </a:cubicBezTo>
                  <a:cubicBezTo>
                    <a:pt x="14" y="37"/>
                    <a:pt x="16" y="37"/>
                    <a:pt x="19" y="37"/>
                  </a:cubicBezTo>
                  <a:cubicBezTo>
                    <a:pt x="21" y="37"/>
                    <a:pt x="23" y="37"/>
                    <a:pt x="25" y="37"/>
                  </a:cubicBezTo>
                  <a:cubicBezTo>
                    <a:pt x="26" y="36"/>
                    <a:pt x="28" y="36"/>
                    <a:pt x="28" y="35"/>
                  </a:cubicBezTo>
                  <a:cubicBezTo>
                    <a:pt x="30" y="38"/>
                    <a:pt x="30" y="38"/>
                    <a:pt x="30" y="38"/>
                  </a:cubicBezTo>
                  <a:cubicBezTo>
                    <a:pt x="29" y="39"/>
                    <a:pt x="29" y="39"/>
                    <a:pt x="28" y="39"/>
                  </a:cubicBezTo>
                  <a:cubicBezTo>
                    <a:pt x="28" y="39"/>
                    <a:pt x="27" y="39"/>
                    <a:pt x="26" y="40"/>
                  </a:cubicBezTo>
                  <a:cubicBezTo>
                    <a:pt x="25" y="40"/>
                    <a:pt x="24" y="40"/>
                    <a:pt x="22" y="40"/>
                  </a:cubicBezTo>
                  <a:cubicBezTo>
                    <a:pt x="21" y="41"/>
                    <a:pt x="20" y="41"/>
                    <a:pt x="18"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105"/>
            <p:cNvSpPr>
              <a:spLocks/>
            </p:cNvSpPr>
            <p:nvPr/>
          </p:nvSpPr>
          <p:spPr bwMode="auto">
            <a:xfrm>
              <a:off x="693738" y="4683172"/>
              <a:ext cx="14288" cy="80963"/>
            </a:xfrm>
            <a:custGeom>
              <a:avLst/>
              <a:gdLst>
                <a:gd name="T0" fmla="*/ 7 w 8"/>
                <a:gd name="T1" fmla="*/ 44 h 44"/>
                <a:gd name="T2" fmla="*/ 4 w 8"/>
                <a:gd name="T3" fmla="*/ 44 h 44"/>
                <a:gd name="T4" fmla="*/ 2 w 8"/>
                <a:gd name="T5" fmla="*/ 43 h 44"/>
                <a:gd name="T6" fmla="*/ 0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4"/>
                  </a:cubicBezTo>
                  <a:cubicBezTo>
                    <a:pt x="3" y="44"/>
                    <a:pt x="2" y="43"/>
                    <a:pt x="2" y="43"/>
                  </a:cubicBezTo>
                  <a:cubicBezTo>
                    <a:pt x="1" y="42"/>
                    <a:pt x="1" y="41"/>
                    <a:pt x="0" y="40"/>
                  </a:cubicBezTo>
                  <a:cubicBezTo>
                    <a:pt x="0"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4" y="40"/>
                    <a:pt x="5" y="40"/>
                  </a:cubicBezTo>
                  <a:cubicBezTo>
                    <a:pt x="5" y="40"/>
                    <a:pt x="5" y="41"/>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106"/>
            <p:cNvSpPr>
              <a:spLocks noEditPoints="1"/>
            </p:cNvSpPr>
            <p:nvPr/>
          </p:nvSpPr>
          <p:spPr bwMode="auto">
            <a:xfrm>
              <a:off x="714376"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1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1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7"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7" y="11"/>
                    <a:pt x="27" y="13"/>
                    <a:pt x="27" y="15"/>
                  </a:cubicBezTo>
                  <a:close/>
                  <a:moveTo>
                    <a:pt x="23" y="15"/>
                  </a:moveTo>
                  <a:cubicBezTo>
                    <a:pt x="23" y="12"/>
                    <a:pt x="22" y="9"/>
                    <a:pt x="21" y="7"/>
                  </a:cubicBezTo>
                  <a:cubicBezTo>
                    <a:pt x="19" y="5"/>
                    <a:pt x="17" y="3"/>
                    <a:pt x="14" y="3"/>
                  </a:cubicBezTo>
                  <a:cubicBezTo>
                    <a:pt x="11" y="3"/>
                    <a:pt x="9" y="5"/>
                    <a:pt x="7" y="7"/>
                  </a:cubicBezTo>
                  <a:cubicBezTo>
                    <a:pt x="5" y="9"/>
                    <a:pt x="4" y="12"/>
                    <a:pt x="4" y="15"/>
                  </a:cubicBezTo>
                  <a:cubicBezTo>
                    <a:pt x="4" y="19"/>
                    <a:pt x="5" y="22"/>
                    <a:pt x="7" y="24"/>
                  </a:cubicBezTo>
                  <a:cubicBezTo>
                    <a:pt x="9" y="26"/>
                    <a:pt x="11" y="27"/>
                    <a:pt x="14" y="27"/>
                  </a:cubicBezTo>
                  <a:cubicBezTo>
                    <a:pt x="17" y="27"/>
                    <a:pt x="19" y="26"/>
                    <a:pt x="21"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107"/>
            <p:cNvSpPr>
              <a:spLocks/>
            </p:cNvSpPr>
            <p:nvPr/>
          </p:nvSpPr>
          <p:spPr bwMode="auto">
            <a:xfrm>
              <a:off x="777876" y="4710159"/>
              <a:ext cx="41275" cy="53976"/>
            </a:xfrm>
            <a:custGeom>
              <a:avLst/>
              <a:gdLst>
                <a:gd name="T0" fmla="*/ 23 w 23"/>
                <a:gd name="T1" fmla="*/ 28 h 29"/>
                <a:gd name="T2" fmla="*/ 19 w 23"/>
                <a:gd name="T3" fmla="*/ 29 h 29"/>
                <a:gd name="T4" fmla="*/ 12 w 23"/>
                <a:gd name="T5" fmla="*/ 29 h 29"/>
                <a:gd name="T6" fmla="*/ 7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5 w 23"/>
                <a:gd name="T21" fmla="*/ 20 h 29"/>
                <a:gd name="T22" fmla="*/ 6 w 23"/>
                <a:gd name="T23" fmla="*/ 24 h 29"/>
                <a:gd name="T24" fmla="*/ 9 w 23"/>
                <a:gd name="T25" fmla="*/ 25 h 29"/>
                <a:gd name="T26" fmla="*/ 13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9" y="29"/>
                  </a:cubicBezTo>
                  <a:cubicBezTo>
                    <a:pt x="17" y="29"/>
                    <a:pt x="15" y="29"/>
                    <a:pt x="12" y="29"/>
                  </a:cubicBezTo>
                  <a:cubicBezTo>
                    <a:pt x="10" y="29"/>
                    <a:pt x="8" y="29"/>
                    <a:pt x="7" y="28"/>
                  </a:cubicBezTo>
                  <a:cubicBezTo>
                    <a:pt x="5" y="28"/>
                    <a:pt x="4" y="27"/>
                    <a:pt x="3" y="26"/>
                  </a:cubicBezTo>
                  <a:cubicBezTo>
                    <a:pt x="2" y="25"/>
                    <a:pt x="1" y="23"/>
                    <a:pt x="1" y="22"/>
                  </a:cubicBezTo>
                  <a:cubicBezTo>
                    <a:pt x="1" y="20"/>
                    <a:pt x="0" y="18"/>
                    <a:pt x="0" y="16"/>
                  </a:cubicBezTo>
                  <a:cubicBezTo>
                    <a:pt x="0" y="0"/>
                    <a:pt x="0" y="0"/>
                    <a:pt x="0" y="0"/>
                  </a:cubicBezTo>
                  <a:cubicBezTo>
                    <a:pt x="4" y="0"/>
                    <a:pt x="4" y="0"/>
                    <a:pt x="4" y="0"/>
                  </a:cubicBezTo>
                  <a:cubicBezTo>
                    <a:pt x="4" y="15"/>
                    <a:pt x="4" y="15"/>
                    <a:pt x="4" y="15"/>
                  </a:cubicBezTo>
                  <a:cubicBezTo>
                    <a:pt x="4" y="17"/>
                    <a:pt x="4" y="19"/>
                    <a:pt x="5" y="20"/>
                  </a:cubicBezTo>
                  <a:cubicBezTo>
                    <a:pt x="5" y="22"/>
                    <a:pt x="5" y="23"/>
                    <a:pt x="6" y="24"/>
                  </a:cubicBezTo>
                  <a:cubicBezTo>
                    <a:pt x="7" y="24"/>
                    <a:pt x="8" y="25"/>
                    <a:pt x="9" y="25"/>
                  </a:cubicBezTo>
                  <a:cubicBezTo>
                    <a:pt x="10" y="26"/>
                    <a:pt x="11" y="26"/>
                    <a:pt x="13"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08"/>
            <p:cNvSpPr>
              <a:spLocks noEditPoints="1"/>
            </p:cNvSpPr>
            <p:nvPr/>
          </p:nvSpPr>
          <p:spPr bwMode="auto">
            <a:xfrm>
              <a:off x="835026" y="4683172"/>
              <a:ext cx="44450" cy="80963"/>
            </a:xfrm>
            <a:custGeom>
              <a:avLst/>
              <a:gdLst>
                <a:gd name="T0" fmla="*/ 25 w 25"/>
                <a:gd name="T1" fmla="*/ 43 h 44"/>
                <a:gd name="T2" fmla="*/ 21 w 25"/>
                <a:gd name="T3" fmla="*/ 44 h 44"/>
                <a:gd name="T4" fmla="*/ 14 w 25"/>
                <a:gd name="T5" fmla="*/ 44 h 44"/>
                <a:gd name="T6" fmla="*/ 8 w 25"/>
                <a:gd name="T7" fmla="*/ 43 h 44"/>
                <a:gd name="T8" fmla="*/ 4 w 25"/>
                <a:gd name="T9" fmla="*/ 40 h 44"/>
                <a:gd name="T10" fmla="*/ 1 w 25"/>
                <a:gd name="T11" fmla="*/ 36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7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8 h 44"/>
                <a:gd name="T40" fmla="*/ 13 w 25"/>
                <a:gd name="T41" fmla="*/ 18 h 44"/>
                <a:gd name="T42" fmla="*/ 9 w 25"/>
                <a:gd name="T43" fmla="*/ 18 h 44"/>
                <a:gd name="T44" fmla="*/ 6 w 25"/>
                <a:gd name="T45" fmla="*/ 21 h 44"/>
                <a:gd name="T46" fmla="*/ 4 w 25"/>
                <a:gd name="T47" fmla="*/ 25 h 44"/>
                <a:gd name="T48" fmla="*/ 4 w 25"/>
                <a:gd name="T49" fmla="*/ 29 h 44"/>
                <a:gd name="T50" fmla="*/ 7 w 25"/>
                <a:gd name="T51" fmla="*/ 38 h 44"/>
                <a:gd name="T52" fmla="*/ 14 w 25"/>
                <a:gd name="T53" fmla="*/ 41 h 44"/>
                <a:gd name="T54" fmla="*/ 19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4" y="43"/>
                    <a:pt x="22" y="44"/>
                    <a:pt x="21" y="44"/>
                  </a:cubicBezTo>
                  <a:cubicBezTo>
                    <a:pt x="19" y="44"/>
                    <a:pt x="17" y="44"/>
                    <a:pt x="14" y="44"/>
                  </a:cubicBezTo>
                  <a:cubicBezTo>
                    <a:pt x="12" y="44"/>
                    <a:pt x="10" y="44"/>
                    <a:pt x="8" y="43"/>
                  </a:cubicBezTo>
                  <a:cubicBezTo>
                    <a:pt x="7" y="43"/>
                    <a:pt x="5" y="42"/>
                    <a:pt x="4" y="40"/>
                  </a:cubicBezTo>
                  <a:cubicBezTo>
                    <a:pt x="3" y="39"/>
                    <a:pt x="2" y="38"/>
                    <a:pt x="1" y="36"/>
                  </a:cubicBezTo>
                  <a:cubicBezTo>
                    <a:pt x="0" y="34"/>
                    <a:pt x="0" y="32"/>
                    <a:pt x="0" y="29"/>
                  </a:cubicBezTo>
                  <a:cubicBezTo>
                    <a:pt x="0" y="27"/>
                    <a:pt x="0" y="25"/>
                    <a:pt x="1" y="23"/>
                  </a:cubicBezTo>
                  <a:cubicBezTo>
                    <a:pt x="1" y="21"/>
                    <a:pt x="2" y="20"/>
                    <a:pt x="3" y="18"/>
                  </a:cubicBezTo>
                  <a:cubicBezTo>
                    <a:pt x="4" y="17"/>
                    <a:pt x="6" y="16"/>
                    <a:pt x="7" y="15"/>
                  </a:cubicBezTo>
                  <a:cubicBezTo>
                    <a:pt x="9" y="15"/>
                    <a:pt x="11" y="14"/>
                    <a:pt x="13" y="14"/>
                  </a:cubicBezTo>
                  <a:cubicBezTo>
                    <a:pt x="15" y="14"/>
                    <a:pt x="17" y="14"/>
                    <a:pt x="18" y="15"/>
                  </a:cubicBezTo>
                  <a:cubicBezTo>
                    <a:pt x="19" y="16"/>
                    <a:pt x="20" y="16"/>
                    <a:pt x="21" y="17"/>
                  </a:cubicBezTo>
                  <a:cubicBezTo>
                    <a:pt x="21" y="1"/>
                    <a:pt x="21" y="1"/>
                    <a:pt x="21" y="1"/>
                  </a:cubicBezTo>
                  <a:cubicBezTo>
                    <a:pt x="25" y="0"/>
                    <a:pt x="25" y="0"/>
                    <a:pt x="25" y="0"/>
                  </a:cubicBezTo>
                  <a:lnTo>
                    <a:pt x="25" y="43"/>
                  </a:lnTo>
                  <a:close/>
                  <a:moveTo>
                    <a:pt x="21" y="20"/>
                  </a:moveTo>
                  <a:cubicBezTo>
                    <a:pt x="21" y="20"/>
                    <a:pt x="20" y="20"/>
                    <a:pt x="20" y="19"/>
                  </a:cubicBezTo>
                  <a:cubicBezTo>
                    <a:pt x="19" y="19"/>
                    <a:pt x="19" y="19"/>
                    <a:pt x="18" y="18"/>
                  </a:cubicBezTo>
                  <a:cubicBezTo>
                    <a:pt x="17" y="18"/>
                    <a:pt x="17" y="18"/>
                    <a:pt x="16" y="18"/>
                  </a:cubicBezTo>
                  <a:cubicBezTo>
                    <a:pt x="15" y="18"/>
                    <a:pt x="14" y="18"/>
                    <a:pt x="13" y="18"/>
                  </a:cubicBezTo>
                  <a:cubicBezTo>
                    <a:pt x="12" y="18"/>
                    <a:pt x="10" y="18"/>
                    <a:pt x="9" y="18"/>
                  </a:cubicBezTo>
                  <a:cubicBezTo>
                    <a:pt x="8" y="19"/>
                    <a:pt x="7" y="20"/>
                    <a:pt x="6" y="21"/>
                  </a:cubicBezTo>
                  <a:cubicBezTo>
                    <a:pt x="5" y="22"/>
                    <a:pt x="5" y="23"/>
                    <a:pt x="4" y="25"/>
                  </a:cubicBezTo>
                  <a:cubicBezTo>
                    <a:pt x="4" y="26"/>
                    <a:pt x="4" y="28"/>
                    <a:pt x="4" y="29"/>
                  </a:cubicBezTo>
                  <a:cubicBezTo>
                    <a:pt x="4" y="33"/>
                    <a:pt x="5" y="36"/>
                    <a:pt x="7" y="38"/>
                  </a:cubicBezTo>
                  <a:cubicBezTo>
                    <a:pt x="9" y="40"/>
                    <a:pt x="11" y="41"/>
                    <a:pt x="14" y="41"/>
                  </a:cubicBezTo>
                  <a:cubicBezTo>
                    <a:pt x="16" y="41"/>
                    <a:pt x="17" y="41"/>
                    <a:pt x="19" y="41"/>
                  </a:cubicBezTo>
                  <a:cubicBezTo>
                    <a:pt x="20" y="41"/>
                    <a:pt x="20" y="41"/>
                    <a:pt x="21" y="40"/>
                  </a:cubicBezTo>
                  <a:lnTo>
                    <a:pt x="21"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9" name="Group 558"/>
          <p:cNvGrpSpPr/>
          <p:nvPr/>
        </p:nvGrpSpPr>
        <p:grpSpPr>
          <a:xfrm>
            <a:off x="1877450" y="4190316"/>
            <a:ext cx="238126" cy="71438"/>
            <a:chOff x="1766888" y="4692697"/>
            <a:chExt cx="238126" cy="71438"/>
          </a:xfrm>
        </p:grpSpPr>
        <p:sp>
          <p:nvSpPr>
            <p:cNvPr id="463" name="Freeform 122"/>
            <p:cNvSpPr>
              <a:spLocks/>
            </p:cNvSpPr>
            <p:nvPr/>
          </p:nvSpPr>
          <p:spPr bwMode="auto">
            <a:xfrm>
              <a:off x="1766888" y="4692697"/>
              <a:ext cx="53975" cy="71438"/>
            </a:xfrm>
            <a:custGeom>
              <a:avLst/>
              <a:gdLst>
                <a:gd name="T0" fmla="*/ 34 w 34"/>
                <a:gd name="T1" fmla="*/ 0 h 45"/>
                <a:gd name="T2" fmla="*/ 34 w 34"/>
                <a:gd name="T3" fmla="*/ 3 h 45"/>
                <a:gd name="T4" fmla="*/ 19 w 34"/>
                <a:gd name="T5" fmla="*/ 3 h 45"/>
                <a:gd name="T6" fmla="*/ 19 w 34"/>
                <a:gd name="T7" fmla="*/ 45 h 45"/>
                <a:gd name="T8" fmla="*/ 15 w 34"/>
                <a:gd name="T9" fmla="*/ 45 h 45"/>
                <a:gd name="T10" fmla="*/ 15 w 34"/>
                <a:gd name="T11" fmla="*/ 3 h 45"/>
                <a:gd name="T12" fmla="*/ 0 w 34"/>
                <a:gd name="T13" fmla="*/ 3 h 45"/>
                <a:gd name="T14" fmla="*/ 0 w 34"/>
                <a:gd name="T15" fmla="*/ 0 h 45"/>
                <a:gd name="T16" fmla="*/ 34 w 34"/>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5">
                  <a:moveTo>
                    <a:pt x="34" y="0"/>
                  </a:moveTo>
                  <a:lnTo>
                    <a:pt x="34" y="3"/>
                  </a:lnTo>
                  <a:lnTo>
                    <a:pt x="19" y="3"/>
                  </a:lnTo>
                  <a:lnTo>
                    <a:pt x="19" y="45"/>
                  </a:lnTo>
                  <a:lnTo>
                    <a:pt x="15" y="45"/>
                  </a:lnTo>
                  <a:lnTo>
                    <a:pt x="15" y="3"/>
                  </a:lnTo>
                  <a:lnTo>
                    <a:pt x="0" y="3"/>
                  </a:lnTo>
                  <a:lnTo>
                    <a:pt x="0" y="0"/>
                  </a:lnTo>
                  <a:lnTo>
                    <a:pt x="3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123"/>
            <p:cNvSpPr>
              <a:spLocks noEditPoints="1"/>
            </p:cNvSpPr>
            <p:nvPr/>
          </p:nvSpPr>
          <p:spPr bwMode="auto">
            <a:xfrm>
              <a:off x="1822451" y="4708572"/>
              <a:ext cx="46038" cy="55563"/>
            </a:xfrm>
            <a:custGeom>
              <a:avLst/>
              <a:gdLst>
                <a:gd name="T0" fmla="*/ 0 w 25"/>
                <a:gd name="T1" fmla="*/ 15 h 30"/>
                <a:gd name="T2" fmla="*/ 1 w 25"/>
                <a:gd name="T3" fmla="*/ 9 h 30"/>
                <a:gd name="T4" fmla="*/ 4 w 25"/>
                <a:gd name="T5" fmla="*/ 4 h 30"/>
                <a:gd name="T6" fmla="*/ 8 w 25"/>
                <a:gd name="T7" fmla="*/ 1 h 30"/>
                <a:gd name="T8" fmla="*/ 13 w 25"/>
                <a:gd name="T9" fmla="*/ 0 h 30"/>
                <a:gd name="T10" fmla="*/ 22 w 25"/>
                <a:gd name="T11" fmla="*/ 4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7 h 30"/>
                <a:gd name="T26" fmla="*/ 22 w 25"/>
                <a:gd name="T27" fmla="*/ 26 h 30"/>
                <a:gd name="T28" fmla="*/ 23 w 25"/>
                <a:gd name="T29" fmla="*/ 29 h 30"/>
                <a:gd name="T30" fmla="*/ 20 w 25"/>
                <a:gd name="T31" fmla="*/ 30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3"/>
                    <a:pt x="1" y="11"/>
                    <a:pt x="1" y="9"/>
                  </a:cubicBezTo>
                  <a:cubicBezTo>
                    <a:pt x="2" y="7"/>
                    <a:pt x="3" y="5"/>
                    <a:pt x="4" y="4"/>
                  </a:cubicBezTo>
                  <a:cubicBezTo>
                    <a:pt x="5" y="3"/>
                    <a:pt x="7" y="2"/>
                    <a:pt x="8" y="1"/>
                  </a:cubicBezTo>
                  <a:cubicBezTo>
                    <a:pt x="10" y="0"/>
                    <a:pt x="11" y="0"/>
                    <a:pt x="13" y="0"/>
                  </a:cubicBezTo>
                  <a:cubicBezTo>
                    <a:pt x="17" y="0"/>
                    <a:pt x="19" y="1"/>
                    <a:pt x="22" y="4"/>
                  </a:cubicBezTo>
                  <a:cubicBezTo>
                    <a:pt x="24" y="6"/>
                    <a:pt x="25" y="10"/>
                    <a:pt x="25" y="14"/>
                  </a:cubicBezTo>
                  <a:cubicBezTo>
                    <a:pt x="25" y="15"/>
                    <a:pt x="25" y="15"/>
                    <a:pt x="25" y="15"/>
                  </a:cubicBezTo>
                  <a:cubicBezTo>
                    <a:pt x="25" y="16"/>
                    <a:pt x="25" y="16"/>
                    <a:pt x="25" y="16"/>
                  </a:cubicBezTo>
                  <a:cubicBezTo>
                    <a:pt x="4" y="16"/>
                    <a:pt x="4" y="16"/>
                    <a:pt x="4" y="16"/>
                  </a:cubicBezTo>
                  <a:cubicBezTo>
                    <a:pt x="4" y="20"/>
                    <a:pt x="5" y="22"/>
                    <a:pt x="7" y="24"/>
                  </a:cubicBezTo>
                  <a:cubicBezTo>
                    <a:pt x="9" y="26"/>
                    <a:pt x="11" y="27"/>
                    <a:pt x="15" y="27"/>
                  </a:cubicBezTo>
                  <a:cubicBezTo>
                    <a:pt x="17" y="27"/>
                    <a:pt x="18" y="27"/>
                    <a:pt x="19" y="27"/>
                  </a:cubicBezTo>
                  <a:cubicBezTo>
                    <a:pt x="21" y="26"/>
                    <a:pt x="21" y="26"/>
                    <a:pt x="22" y="26"/>
                  </a:cubicBezTo>
                  <a:cubicBezTo>
                    <a:pt x="23" y="29"/>
                    <a:pt x="23" y="29"/>
                    <a:pt x="23" y="29"/>
                  </a:cubicBezTo>
                  <a:cubicBezTo>
                    <a:pt x="22" y="29"/>
                    <a:pt x="21" y="29"/>
                    <a:pt x="20" y="30"/>
                  </a:cubicBezTo>
                  <a:cubicBezTo>
                    <a:pt x="18" y="30"/>
                    <a:pt x="17" y="30"/>
                    <a:pt x="15" y="30"/>
                  </a:cubicBezTo>
                  <a:cubicBezTo>
                    <a:pt x="12" y="30"/>
                    <a:pt x="10" y="30"/>
                    <a:pt x="8" y="29"/>
                  </a:cubicBezTo>
                  <a:cubicBezTo>
                    <a:pt x="6" y="29"/>
                    <a:pt x="5" y="27"/>
                    <a:pt x="4" y="26"/>
                  </a:cubicBezTo>
                  <a:cubicBezTo>
                    <a:pt x="3" y="25"/>
                    <a:pt x="2" y="23"/>
                    <a:pt x="1" y="21"/>
                  </a:cubicBezTo>
                  <a:cubicBezTo>
                    <a:pt x="1" y="20"/>
                    <a:pt x="0" y="17"/>
                    <a:pt x="0" y="15"/>
                  </a:cubicBezTo>
                  <a:close/>
                  <a:moveTo>
                    <a:pt x="21" y="13"/>
                  </a:moveTo>
                  <a:cubicBezTo>
                    <a:pt x="21" y="10"/>
                    <a:pt x="20" y="8"/>
                    <a:pt x="19" y="6"/>
                  </a:cubicBezTo>
                  <a:cubicBezTo>
                    <a:pt x="17" y="4"/>
                    <a:pt x="16" y="3"/>
                    <a:pt x="13" y="3"/>
                  </a:cubicBezTo>
                  <a:cubicBezTo>
                    <a:pt x="12" y="3"/>
                    <a:pt x="11" y="4"/>
                    <a:pt x="10" y="4"/>
                  </a:cubicBezTo>
                  <a:cubicBezTo>
                    <a:pt x="9" y="5"/>
                    <a:pt x="8" y="5"/>
                    <a:pt x="7" y="6"/>
                  </a:cubicBezTo>
                  <a:cubicBezTo>
                    <a:pt x="6" y="7"/>
                    <a:pt x="6" y="8"/>
                    <a:pt x="5" y="9"/>
                  </a:cubicBezTo>
                  <a:cubicBezTo>
                    <a:pt x="5" y="10"/>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124"/>
            <p:cNvSpPr>
              <a:spLocks noEditPoints="1"/>
            </p:cNvSpPr>
            <p:nvPr/>
          </p:nvSpPr>
          <p:spPr bwMode="auto">
            <a:xfrm>
              <a:off x="1879601" y="4708572"/>
              <a:ext cx="38100" cy="55563"/>
            </a:xfrm>
            <a:custGeom>
              <a:avLst/>
              <a:gdLst>
                <a:gd name="T0" fmla="*/ 11 w 21"/>
                <a:gd name="T1" fmla="*/ 0 h 30"/>
                <a:gd name="T2" fmla="*/ 15 w 21"/>
                <a:gd name="T3" fmla="*/ 1 h 30"/>
                <a:gd name="T4" fmla="*/ 19 w 21"/>
                <a:gd name="T5" fmla="*/ 3 h 30"/>
                <a:gd name="T6" fmla="*/ 20 w 21"/>
                <a:gd name="T7" fmla="*/ 7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1 w 21"/>
                <a:gd name="T29" fmla="*/ 17 h 30"/>
                <a:gd name="T30" fmla="*/ 3 w 21"/>
                <a:gd name="T31" fmla="*/ 15 h 30"/>
                <a:gd name="T32" fmla="*/ 7 w 21"/>
                <a:gd name="T33" fmla="*/ 13 h 30"/>
                <a:gd name="T34" fmla="*/ 12 w 21"/>
                <a:gd name="T35" fmla="*/ 12 h 30"/>
                <a:gd name="T36" fmla="*/ 13 w 21"/>
                <a:gd name="T37" fmla="*/ 13 h 30"/>
                <a:gd name="T38" fmla="*/ 15 w 21"/>
                <a:gd name="T39" fmla="*/ 13 h 30"/>
                <a:gd name="T40" fmla="*/ 17 w 21"/>
                <a:gd name="T41" fmla="*/ 13 h 30"/>
                <a:gd name="T42" fmla="*/ 17 w 21"/>
                <a:gd name="T43" fmla="*/ 13 h 30"/>
                <a:gd name="T44" fmla="*/ 17 w 21"/>
                <a:gd name="T45" fmla="*/ 11 h 30"/>
                <a:gd name="T46" fmla="*/ 17 w 21"/>
                <a:gd name="T47" fmla="*/ 9 h 30"/>
                <a:gd name="T48" fmla="*/ 16 w 21"/>
                <a:gd name="T49" fmla="*/ 6 h 30"/>
                <a:gd name="T50" fmla="*/ 14 w 21"/>
                <a:gd name="T51" fmla="*/ 4 h 30"/>
                <a:gd name="T52" fmla="*/ 10 w 21"/>
                <a:gd name="T53" fmla="*/ 3 h 30"/>
                <a:gd name="T54" fmla="*/ 6 w 21"/>
                <a:gd name="T55" fmla="*/ 4 h 30"/>
                <a:gd name="T56" fmla="*/ 3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7 w 21"/>
                <a:gd name="T69" fmla="*/ 27 h 30"/>
                <a:gd name="T70" fmla="*/ 17 w 21"/>
                <a:gd name="T71" fmla="*/ 16 h 30"/>
                <a:gd name="T72" fmla="*/ 15 w 21"/>
                <a:gd name="T73" fmla="*/ 16 h 30"/>
                <a:gd name="T74" fmla="*/ 12 w 21"/>
                <a:gd name="T75" fmla="*/ 16 h 30"/>
                <a:gd name="T76" fmla="*/ 9 w 21"/>
                <a:gd name="T77" fmla="*/ 16 h 30"/>
                <a:gd name="T78" fmla="*/ 6 w 21"/>
                <a:gd name="T79" fmla="*/ 17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2"/>
                    <a:pt x="18" y="2"/>
                    <a:pt x="19" y="3"/>
                  </a:cubicBezTo>
                  <a:cubicBezTo>
                    <a:pt x="19" y="4"/>
                    <a:pt x="20" y="5"/>
                    <a:pt x="20" y="7"/>
                  </a:cubicBezTo>
                  <a:cubicBezTo>
                    <a:pt x="21" y="8"/>
                    <a:pt x="21" y="9"/>
                    <a:pt x="21" y="11"/>
                  </a:cubicBezTo>
                  <a:cubicBezTo>
                    <a:pt x="21" y="29"/>
                    <a:pt x="21" y="29"/>
                    <a:pt x="21" y="29"/>
                  </a:cubicBezTo>
                  <a:cubicBezTo>
                    <a:pt x="21" y="29"/>
                    <a:pt x="20" y="29"/>
                    <a:pt x="19" y="29"/>
                  </a:cubicBezTo>
                  <a:cubicBezTo>
                    <a:pt x="19" y="30"/>
                    <a:pt x="18" y="30"/>
                    <a:pt x="17" y="30"/>
                  </a:cubicBezTo>
                  <a:cubicBezTo>
                    <a:pt x="16" y="30"/>
                    <a:pt x="15" y="30"/>
                    <a:pt x="14" y="30"/>
                  </a:cubicBezTo>
                  <a:cubicBezTo>
                    <a:pt x="13" y="30"/>
                    <a:pt x="11" y="30"/>
                    <a:pt x="10" y="30"/>
                  </a:cubicBezTo>
                  <a:cubicBezTo>
                    <a:pt x="9" y="30"/>
                    <a:pt x="7" y="30"/>
                    <a:pt x="6" y="30"/>
                  </a:cubicBezTo>
                  <a:cubicBezTo>
                    <a:pt x="5" y="30"/>
                    <a:pt x="4" y="29"/>
                    <a:pt x="3" y="28"/>
                  </a:cubicBezTo>
                  <a:cubicBezTo>
                    <a:pt x="2" y="28"/>
                    <a:pt x="1" y="27"/>
                    <a:pt x="0" y="25"/>
                  </a:cubicBezTo>
                  <a:cubicBezTo>
                    <a:pt x="0" y="24"/>
                    <a:pt x="0" y="23"/>
                    <a:pt x="0" y="21"/>
                  </a:cubicBezTo>
                  <a:cubicBezTo>
                    <a:pt x="0" y="20"/>
                    <a:pt x="0" y="18"/>
                    <a:pt x="1" y="17"/>
                  </a:cubicBezTo>
                  <a:cubicBezTo>
                    <a:pt x="1" y="16"/>
                    <a:pt x="2" y="15"/>
                    <a:pt x="3" y="15"/>
                  </a:cubicBezTo>
                  <a:cubicBezTo>
                    <a:pt x="4" y="14"/>
                    <a:pt x="5" y="13"/>
                    <a:pt x="7" y="13"/>
                  </a:cubicBezTo>
                  <a:cubicBezTo>
                    <a:pt x="8" y="13"/>
                    <a:pt x="10" y="12"/>
                    <a:pt x="12" y="12"/>
                  </a:cubicBezTo>
                  <a:cubicBezTo>
                    <a:pt x="12" y="12"/>
                    <a:pt x="13" y="12"/>
                    <a:pt x="13" y="13"/>
                  </a:cubicBezTo>
                  <a:cubicBezTo>
                    <a:pt x="14" y="13"/>
                    <a:pt x="15" y="13"/>
                    <a:pt x="15" y="13"/>
                  </a:cubicBezTo>
                  <a:cubicBezTo>
                    <a:pt x="16" y="13"/>
                    <a:pt x="16" y="13"/>
                    <a:pt x="17" y="13"/>
                  </a:cubicBezTo>
                  <a:cubicBezTo>
                    <a:pt x="17" y="13"/>
                    <a:pt x="17" y="13"/>
                    <a:pt x="17" y="13"/>
                  </a:cubicBezTo>
                  <a:cubicBezTo>
                    <a:pt x="17" y="11"/>
                    <a:pt x="17" y="11"/>
                    <a:pt x="17" y="11"/>
                  </a:cubicBezTo>
                  <a:cubicBezTo>
                    <a:pt x="17" y="10"/>
                    <a:pt x="17" y="9"/>
                    <a:pt x="17" y="9"/>
                  </a:cubicBezTo>
                  <a:cubicBezTo>
                    <a:pt x="17" y="8"/>
                    <a:pt x="17" y="7"/>
                    <a:pt x="16" y="6"/>
                  </a:cubicBezTo>
                  <a:cubicBezTo>
                    <a:pt x="16" y="5"/>
                    <a:pt x="15" y="5"/>
                    <a:pt x="14" y="4"/>
                  </a:cubicBezTo>
                  <a:cubicBezTo>
                    <a:pt x="13" y="4"/>
                    <a:pt x="12" y="3"/>
                    <a:pt x="10" y="3"/>
                  </a:cubicBezTo>
                  <a:cubicBezTo>
                    <a:pt x="8" y="3"/>
                    <a:pt x="7" y="4"/>
                    <a:pt x="6" y="4"/>
                  </a:cubicBezTo>
                  <a:cubicBezTo>
                    <a:pt x="5" y="4"/>
                    <a:pt x="4" y="4"/>
                    <a:pt x="3" y="5"/>
                  </a:cubicBezTo>
                  <a:cubicBezTo>
                    <a:pt x="3" y="1"/>
                    <a:pt x="3" y="1"/>
                    <a:pt x="3" y="1"/>
                  </a:cubicBezTo>
                  <a:cubicBezTo>
                    <a:pt x="3" y="1"/>
                    <a:pt x="4" y="1"/>
                    <a:pt x="6" y="1"/>
                  </a:cubicBezTo>
                  <a:cubicBezTo>
                    <a:pt x="7" y="0"/>
                    <a:pt x="9" y="0"/>
                    <a:pt x="11" y="0"/>
                  </a:cubicBezTo>
                  <a:close/>
                  <a:moveTo>
                    <a:pt x="11" y="27"/>
                  </a:moveTo>
                  <a:cubicBezTo>
                    <a:pt x="12" y="27"/>
                    <a:pt x="14" y="27"/>
                    <a:pt x="15" y="27"/>
                  </a:cubicBezTo>
                  <a:cubicBezTo>
                    <a:pt x="16" y="27"/>
                    <a:pt x="17" y="27"/>
                    <a:pt x="17" y="27"/>
                  </a:cubicBezTo>
                  <a:cubicBezTo>
                    <a:pt x="17" y="16"/>
                    <a:pt x="17" y="16"/>
                    <a:pt x="17" y="16"/>
                  </a:cubicBezTo>
                  <a:cubicBezTo>
                    <a:pt x="17" y="16"/>
                    <a:pt x="16" y="16"/>
                    <a:pt x="15" y="16"/>
                  </a:cubicBezTo>
                  <a:cubicBezTo>
                    <a:pt x="15" y="16"/>
                    <a:pt x="13" y="16"/>
                    <a:pt x="12" y="16"/>
                  </a:cubicBezTo>
                  <a:cubicBezTo>
                    <a:pt x="11" y="16"/>
                    <a:pt x="10" y="16"/>
                    <a:pt x="9" y="16"/>
                  </a:cubicBezTo>
                  <a:cubicBezTo>
                    <a:pt x="8" y="16"/>
                    <a:pt x="7" y="16"/>
                    <a:pt x="6" y="17"/>
                  </a:cubicBezTo>
                  <a:cubicBezTo>
                    <a:pt x="5" y="17"/>
                    <a:pt x="5" y="18"/>
                    <a:pt x="4" y="18"/>
                  </a:cubicBezTo>
                  <a:cubicBezTo>
                    <a:pt x="4" y="19"/>
                    <a:pt x="3" y="20"/>
                    <a:pt x="3" y="21"/>
                  </a:cubicBezTo>
                  <a:cubicBezTo>
                    <a:pt x="3" y="22"/>
                    <a:pt x="4" y="23"/>
                    <a:pt x="4" y="24"/>
                  </a:cubicBezTo>
                  <a:cubicBezTo>
                    <a:pt x="4" y="25"/>
                    <a:pt x="5" y="25"/>
                    <a:pt x="5"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125"/>
            <p:cNvSpPr>
              <a:spLocks/>
            </p:cNvSpPr>
            <p:nvPr/>
          </p:nvSpPr>
          <p:spPr bwMode="auto">
            <a:xfrm>
              <a:off x="1933576" y="4708572"/>
              <a:ext cx="71438" cy="55563"/>
            </a:xfrm>
            <a:custGeom>
              <a:avLst/>
              <a:gdLst>
                <a:gd name="T0" fmla="*/ 0 w 39"/>
                <a:gd name="T1" fmla="*/ 2 h 30"/>
                <a:gd name="T2" fmla="*/ 5 w 39"/>
                <a:gd name="T3" fmla="*/ 1 h 30"/>
                <a:gd name="T4" fmla="*/ 11 w 39"/>
                <a:gd name="T5" fmla="*/ 0 h 30"/>
                <a:gd name="T6" fmla="*/ 19 w 39"/>
                <a:gd name="T7" fmla="*/ 3 h 30"/>
                <a:gd name="T8" fmla="*/ 20 w 39"/>
                <a:gd name="T9" fmla="*/ 3 h 30"/>
                <a:gd name="T10" fmla="*/ 22 w 39"/>
                <a:gd name="T11" fmla="*/ 2 h 30"/>
                <a:gd name="T12" fmla="*/ 25 w 39"/>
                <a:gd name="T13" fmla="*/ 1 h 30"/>
                <a:gd name="T14" fmla="*/ 29 w 39"/>
                <a:gd name="T15" fmla="*/ 0 h 30"/>
                <a:gd name="T16" fmla="*/ 34 w 39"/>
                <a:gd name="T17" fmla="*/ 1 h 30"/>
                <a:gd name="T18" fmla="*/ 37 w 39"/>
                <a:gd name="T19" fmla="*/ 4 h 30"/>
                <a:gd name="T20" fmla="*/ 39 w 39"/>
                <a:gd name="T21" fmla="*/ 8 h 30"/>
                <a:gd name="T22" fmla="*/ 39 w 39"/>
                <a:gd name="T23" fmla="*/ 14 h 30"/>
                <a:gd name="T24" fmla="*/ 39 w 39"/>
                <a:gd name="T25" fmla="*/ 30 h 30"/>
                <a:gd name="T26" fmla="*/ 36 w 39"/>
                <a:gd name="T27" fmla="*/ 30 h 30"/>
                <a:gd name="T28" fmla="*/ 36 w 39"/>
                <a:gd name="T29" fmla="*/ 15 h 30"/>
                <a:gd name="T30" fmla="*/ 35 w 39"/>
                <a:gd name="T31" fmla="*/ 10 h 30"/>
                <a:gd name="T32" fmla="*/ 34 w 39"/>
                <a:gd name="T33" fmla="*/ 6 h 30"/>
                <a:gd name="T34" fmla="*/ 32 w 39"/>
                <a:gd name="T35" fmla="*/ 4 h 30"/>
                <a:gd name="T36" fmla="*/ 29 w 39"/>
                <a:gd name="T37" fmla="*/ 4 h 30"/>
                <a:gd name="T38" fmla="*/ 26 w 39"/>
                <a:gd name="T39" fmla="*/ 4 h 30"/>
                <a:gd name="T40" fmla="*/ 23 w 39"/>
                <a:gd name="T41" fmla="*/ 5 h 30"/>
                <a:gd name="T42" fmla="*/ 22 w 39"/>
                <a:gd name="T43" fmla="*/ 6 h 30"/>
                <a:gd name="T44" fmla="*/ 21 w 39"/>
                <a:gd name="T45" fmla="*/ 6 h 30"/>
                <a:gd name="T46" fmla="*/ 21 w 39"/>
                <a:gd name="T47" fmla="*/ 9 h 30"/>
                <a:gd name="T48" fmla="*/ 22 w 39"/>
                <a:gd name="T49" fmla="*/ 13 h 30"/>
                <a:gd name="T50" fmla="*/ 22 w 39"/>
                <a:gd name="T51" fmla="*/ 30 h 30"/>
                <a:gd name="T52" fmla="*/ 18 w 39"/>
                <a:gd name="T53" fmla="*/ 30 h 30"/>
                <a:gd name="T54" fmla="*/ 18 w 39"/>
                <a:gd name="T55" fmla="*/ 15 h 30"/>
                <a:gd name="T56" fmla="*/ 18 w 39"/>
                <a:gd name="T57" fmla="*/ 10 h 30"/>
                <a:gd name="T58" fmla="*/ 17 w 39"/>
                <a:gd name="T59" fmla="*/ 6 h 30"/>
                <a:gd name="T60" fmla="*/ 14 w 39"/>
                <a:gd name="T61" fmla="*/ 4 h 30"/>
                <a:gd name="T62" fmla="*/ 11 w 39"/>
                <a:gd name="T63" fmla="*/ 4 h 30"/>
                <a:gd name="T64" fmla="*/ 6 w 39"/>
                <a:gd name="T65" fmla="*/ 4 h 30"/>
                <a:gd name="T66" fmla="*/ 4 w 39"/>
                <a:gd name="T67" fmla="*/ 4 h 30"/>
                <a:gd name="T68" fmla="*/ 4 w 39"/>
                <a:gd name="T69" fmla="*/ 30 h 30"/>
                <a:gd name="T70" fmla="*/ 0 w 39"/>
                <a:gd name="T71" fmla="*/ 30 h 30"/>
                <a:gd name="T72" fmla="*/ 0 w 39"/>
                <a:gd name="T7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30">
                  <a:moveTo>
                    <a:pt x="0" y="2"/>
                  </a:moveTo>
                  <a:cubicBezTo>
                    <a:pt x="1" y="2"/>
                    <a:pt x="3" y="1"/>
                    <a:pt x="5" y="1"/>
                  </a:cubicBezTo>
                  <a:cubicBezTo>
                    <a:pt x="6" y="0"/>
                    <a:pt x="9" y="0"/>
                    <a:pt x="11" y="0"/>
                  </a:cubicBezTo>
                  <a:cubicBezTo>
                    <a:pt x="15" y="0"/>
                    <a:pt x="18" y="1"/>
                    <a:pt x="19" y="3"/>
                  </a:cubicBezTo>
                  <a:cubicBezTo>
                    <a:pt x="19" y="3"/>
                    <a:pt x="20" y="3"/>
                    <a:pt x="20" y="3"/>
                  </a:cubicBezTo>
                  <a:cubicBezTo>
                    <a:pt x="21" y="2"/>
                    <a:pt x="22" y="2"/>
                    <a:pt x="22" y="2"/>
                  </a:cubicBezTo>
                  <a:cubicBezTo>
                    <a:pt x="23" y="1"/>
                    <a:pt x="24" y="1"/>
                    <a:pt x="25" y="1"/>
                  </a:cubicBezTo>
                  <a:cubicBezTo>
                    <a:pt x="26" y="0"/>
                    <a:pt x="28" y="0"/>
                    <a:pt x="29" y="0"/>
                  </a:cubicBezTo>
                  <a:cubicBezTo>
                    <a:pt x="31" y="0"/>
                    <a:pt x="33" y="1"/>
                    <a:pt x="34" y="1"/>
                  </a:cubicBezTo>
                  <a:cubicBezTo>
                    <a:pt x="36" y="2"/>
                    <a:pt x="37" y="3"/>
                    <a:pt x="37" y="4"/>
                  </a:cubicBezTo>
                  <a:cubicBezTo>
                    <a:pt x="38" y="5"/>
                    <a:pt x="39" y="7"/>
                    <a:pt x="39" y="8"/>
                  </a:cubicBezTo>
                  <a:cubicBezTo>
                    <a:pt x="39" y="10"/>
                    <a:pt x="39" y="12"/>
                    <a:pt x="39" y="14"/>
                  </a:cubicBezTo>
                  <a:cubicBezTo>
                    <a:pt x="39" y="30"/>
                    <a:pt x="39" y="30"/>
                    <a:pt x="39" y="30"/>
                  </a:cubicBezTo>
                  <a:cubicBezTo>
                    <a:pt x="36" y="30"/>
                    <a:pt x="36" y="30"/>
                    <a:pt x="36" y="30"/>
                  </a:cubicBezTo>
                  <a:cubicBezTo>
                    <a:pt x="36" y="15"/>
                    <a:pt x="36" y="15"/>
                    <a:pt x="36" y="15"/>
                  </a:cubicBezTo>
                  <a:cubicBezTo>
                    <a:pt x="36" y="13"/>
                    <a:pt x="36" y="11"/>
                    <a:pt x="35" y="10"/>
                  </a:cubicBezTo>
                  <a:cubicBezTo>
                    <a:pt x="35" y="8"/>
                    <a:pt x="35" y="7"/>
                    <a:pt x="34" y="6"/>
                  </a:cubicBezTo>
                  <a:cubicBezTo>
                    <a:pt x="34" y="5"/>
                    <a:pt x="33" y="5"/>
                    <a:pt x="32" y="4"/>
                  </a:cubicBezTo>
                  <a:cubicBezTo>
                    <a:pt x="31" y="4"/>
                    <a:pt x="30" y="4"/>
                    <a:pt x="29" y="4"/>
                  </a:cubicBezTo>
                  <a:cubicBezTo>
                    <a:pt x="28" y="4"/>
                    <a:pt x="26" y="4"/>
                    <a:pt x="26" y="4"/>
                  </a:cubicBezTo>
                  <a:cubicBezTo>
                    <a:pt x="25" y="4"/>
                    <a:pt x="24" y="4"/>
                    <a:pt x="23" y="5"/>
                  </a:cubicBezTo>
                  <a:cubicBezTo>
                    <a:pt x="23" y="5"/>
                    <a:pt x="22" y="5"/>
                    <a:pt x="22" y="6"/>
                  </a:cubicBezTo>
                  <a:cubicBezTo>
                    <a:pt x="21" y="6"/>
                    <a:pt x="21" y="6"/>
                    <a:pt x="21" y="6"/>
                  </a:cubicBezTo>
                  <a:cubicBezTo>
                    <a:pt x="21" y="7"/>
                    <a:pt x="21" y="8"/>
                    <a:pt x="21" y="9"/>
                  </a:cubicBezTo>
                  <a:cubicBezTo>
                    <a:pt x="22" y="11"/>
                    <a:pt x="22" y="12"/>
                    <a:pt x="22" y="13"/>
                  </a:cubicBezTo>
                  <a:cubicBezTo>
                    <a:pt x="22" y="30"/>
                    <a:pt x="22" y="30"/>
                    <a:pt x="22" y="30"/>
                  </a:cubicBezTo>
                  <a:cubicBezTo>
                    <a:pt x="18" y="30"/>
                    <a:pt x="18" y="30"/>
                    <a:pt x="18" y="30"/>
                  </a:cubicBezTo>
                  <a:cubicBezTo>
                    <a:pt x="18" y="15"/>
                    <a:pt x="18" y="15"/>
                    <a:pt x="18" y="15"/>
                  </a:cubicBezTo>
                  <a:cubicBezTo>
                    <a:pt x="18" y="13"/>
                    <a:pt x="18" y="11"/>
                    <a:pt x="18" y="10"/>
                  </a:cubicBezTo>
                  <a:cubicBezTo>
                    <a:pt x="18" y="8"/>
                    <a:pt x="17" y="7"/>
                    <a:pt x="17" y="6"/>
                  </a:cubicBezTo>
                  <a:cubicBezTo>
                    <a:pt x="16" y="5"/>
                    <a:pt x="15" y="5"/>
                    <a:pt x="14" y="4"/>
                  </a:cubicBezTo>
                  <a:cubicBezTo>
                    <a:pt x="14" y="4"/>
                    <a:pt x="12" y="4"/>
                    <a:pt x="11" y="4"/>
                  </a:cubicBezTo>
                  <a:cubicBezTo>
                    <a:pt x="9" y="4"/>
                    <a:pt x="7" y="4"/>
                    <a:pt x="6" y="4"/>
                  </a:cubicBezTo>
                  <a:cubicBezTo>
                    <a:pt x="5" y="4"/>
                    <a:pt x="4" y="4"/>
                    <a:pt x="4" y="4"/>
                  </a:cubicBezTo>
                  <a:cubicBezTo>
                    <a:pt x="4" y="30"/>
                    <a:pt x="4" y="30"/>
                    <a:pt x="4"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1" name="Group 560"/>
          <p:cNvGrpSpPr/>
          <p:nvPr/>
        </p:nvGrpSpPr>
        <p:grpSpPr>
          <a:xfrm>
            <a:off x="4202609" y="4190316"/>
            <a:ext cx="360362" cy="98426"/>
            <a:chOff x="4025902" y="4683172"/>
            <a:chExt cx="360362" cy="98426"/>
          </a:xfrm>
        </p:grpSpPr>
        <p:sp>
          <p:nvSpPr>
            <p:cNvPr id="467" name="Freeform 126"/>
            <p:cNvSpPr>
              <a:spLocks/>
            </p:cNvSpPr>
            <p:nvPr/>
          </p:nvSpPr>
          <p:spPr bwMode="auto">
            <a:xfrm>
              <a:off x="4025902" y="4691109"/>
              <a:ext cx="46038" cy="74613"/>
            </a:xfrm>
            <a:custGeom>
              <a:avLst/>
              <a:gdLst>
                <a:gd name="T0" fmla="*/ 11 w 25"/>
                <a:gd name="T1" fmla="*/ 37 h 41"/>
                <a:gd name="T2" fmla="*/ 18 w 25"/>
                <a:gd name="T3" fmla="*/ 36 h 41"/>
                <a:gd name="T4" fmla="*/ 21 w 25"/>
                <a:gd name="T5" fmla="*/ 30 h 41"/>
                <a:gd name="T6" fmla="*/ 20 w 25"/>
                <a:gd name="T7" fmla="*/ 27 h 41"/>
                <a:gd name="T8" fmla="*/ 18 w 25"/>
                <a:gd name="T9" fmla="*/ 24 h 41"/>
                <a:gd name="T10" fmla="*/ 15 w 25"/>
                <a:gd name="T11" fmla="*/ 23 h 41"/>
                <a:gd name="T12" fmla="*/ 11 w 25"/>
                <a:gd name="T13" fmla="*/ 21 h 41"/>
                <a:gd name="T14" fmla="*/ 7 w 25"/>
                <a:gd name="T15" fmla="*/ 19 h 41"/>
                <a:gd name="T16" fmla="*/ 4 w 25"/>
                <a:gd name="T17" fmla="*/ 17 h 41"/>
                <a:gd name="T18" fmla="*/ 2 w 25"/>
                <a:gd name="T19" fmla="*/ 14 h 41"/>
                <a:gd name="T20" fmla="*/ 1 w 25"/>
                <a:gd name="T21" fmla="*/ 10 h 41"/>
                <a:gd name="T22" fmla="*/ 4 w 25"/>
                <a:gd name="T23" fmla="*/ 3 h 41"/>
                <a:gd name="T24" fmla="*/ 13 w 25"/>
                <a:gd name="T25" fmla="*/ 0 h 41"/>
                <a:gd name="T26" fmla="*/ 16 w 25"/>
                <a:gd name="T27" fmla="*/ 0 h 41"/>
                <a:gd name="T28" fmla="*/ 19 w 25"/>
                <a:gd name="T29" fmla="*/ 1 h 41"/>
                <a:gd name="T30" fmla="*/ 22 w 25"/>
                <a:gd name="T31" fmla="*/ 2 h 41"/>
                <a:gd name="T32" fmla="*/ 24 w 25"/>
                <a:gd name="T33" fmla="*/ 3 h 41"/>
                <a:gd name="T34" fmla="*/ 22 w 25"/>
                <a:gd name="T35" fmla="*/ 6 h 41"/>
                <a:gd name="T36" fmla="*/ 18 w 25"/>
                <a:gd name="T37" fmla="*/ 4 h 41"/>
                <a:gd name="T38" fmla="*/ 13 w 25"/>
                <a:gd name="T39" fmla="*/ 3 h 41"/>
                <a:gd name="T40" fmla="*/ 10 w 25"/>
                <a:gd name="T41" fmla="*/ 4 h 41"/>
                <a:gd name="T42" fmla="*/ 7 w 25"/>
                <a:gd name="T43" fmla="*/ 5 h 41"/>
                <a:gd name="T44" fmla="*/ 5 w 25"/>
                <a:gd name="T45" fmla="*/ 7 h 41"/>
                <a:gd name="T46" fmla="*/ 5 w 25"/>
                <a:gd name="T47" fmla="*/ 10 h 41"/>
                <a:gd name="T48" fmla="*/ 5 w 25"/>
                <a:gd name="T49" fmla="*/ 13 h 41"/>
                <a:gd name="T50" fmla="*/ 7 w 25"/>
                <a:gd name="T51" fmla="*/ 15 h 41"/>
                <a:gd name="T52" fmla="*/ 10 w 25"/>
                <a:gd name="T53" fmla="*/ 17 h 41"/>
                <a:gd name="T54" fmla="*/ 14 w 25"/>
                <a:gd name="T55" fmla="*/ 18 h 41"/>
                <a:gd name="T56" fmla="*/ 18 w 25"/>
                <a:gd name="T57" fmla="*/ 20 h 41"/>
                <a:gd name="T58" fmla="*/ 22 w 25"/>
                <a:gd name="T59" fmla="*/ 22 h 41"/>
                <a:gd name="T60" fmla="*/ 24 w 25"/>
                <a:gd name="T61" fmla="*/ 26 h 41"/>
                <a:gd name="T62" fmla="*/ 25 w 25"/>
                <a:gd name="T63" fmla="*/ 30 h 41"/>
                <a:gd name="T64" fmla="*/ 21 w 25"/>
                <a:gd name="T65" fmla="*/ 38 h 41"/>
                <a:gd name="T66" fmla="*/ 11 w 25"/>
                <a:gd name="T67" fmla="*/ 41 h 41"/>
                <a:gd name="T68" fmla="*/ 7 w 25"/>
                <a:gd name="T69" fmla="*/ 40 h 41"/>
                <a:gd name="T70" fmla="*/ 4 w 25"/>
                <a:gd name="T71" fmla="*/ 40 h 41"/>
                <a:gd name="T72" fmla="*/ 1 w 25"/>
                <a:gd name="T73" fmla="*/ 39 h 41"/>
                <a:gd name="T74" fmla="*/ 0 w 25"/>
                <a:gd name="T75" fmla="*/ 38 h 41"/>
                <a:gd name="T76" fmla="*/ 1 w 25"/>
                <a:gd name="T77" fmla="*/ 35 h 41"/>
                <a:gd name="T78" fmla="*/ 3 w 25"/>
                <a:gd name="T79" fmla="*/ 35 h 41"/>
                <a:gd name="T80" fmla="*/ 5 w 25"/>
                <a:gd name="T81" fmla="*/ 36 h 41"/>
                <a:gd name="T82" fmla="*/ 8 w 25"/>
                <a:gd name="T83" fmla="*/ 37 h 41"/>
                <a:gd name="T84" fmla="*/ 11 w 25"/>
                <a:gd name="T85" fmla="*/ 3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1">
                  <a:moveTo>
                    <a:pt x="11" y="37"/>
                  </a:moveTo>
                  <a:cubicBezTo>
                    <a:pt x="14" y="37"/>
                    <a:pt x="17" y="37"/>
                    <a:pt x="18" y="36"/>
                  </a:cubicBezTo>
                  <a:cubicBezTo>
                    <a:pt x="20" y="35"/>
                    <a:pt x="21" y="33"/>
                    <a:pt x="21" y="30"/>
                  </a:cubicBezTo>
                  <a:cubicBezTo>
                    <a:pt x="21" y="29"/>
                    <a:pt x="21" y="28"/>
                    <a:pt x="20" y="27"/>
                  </a:cubicBezTo>
                  <a:cubicBezTo>
                    <a:pt x="20" y="26"/>
                    <a:pt x="19" y="25"/>
                    <a:pt x="18" y="24"/>
                  </a:cubicBezTo>
                  <a:cubicBezTo>
                    <a:pt x="17" y="24"/>
                    <a:pt x="16" y="23"/>
                    <a:pt x="15" y="23"/>
                  </a:cubicBezTo>
                  <a:cubicBezTo>
                    <a:pt x="14" y="22"/>
                    <a:pt x="12" y="22"/>
                    <a:pt x="11" y="21"/>
                  </a:cubicBezTo>
                  <a:cubicBezTo>
                    <a:pt x="10" y="21"/>
                    <a:pt x="8" y="20"/>
                    <a:pt x="7" y="19"/>
                  </a:cubicBezTo>
                  <a:cubicBezTo>
                    <a:pt x="6" y="19"/>
                    <a:pt x="5" y="18"/>
                    <a:pt x="4" y="17"/>
                  </a:cubicBezTo>
                  <a:cubicBezTo>
                    <a:pt x="3" y="16"/>
                    <a:pt x="2" y="15"/>
                    <a:pt x="2" y="14"/>
                  </a:cubicBezTo>
                  <a:cubicBezTo>
                    <a:pt x="1" y="13"/>
                    <a:pt x="1" y="12"/>
                    <a:pt x="1" y="10"/>
                  </a:cubicBezTo>
                  <a:cubicBezTo>
                    <a:pt x="1" y="7"/>
                    <a:pt x="2" y="4"/>
                    <a:pt x="4" y="3"/>
                  </a:cubicBezTo>
                  <a:cubicBezTo>
                    <a:pt x="6" y="1"/>
                    <a:pt x="9" y="0"/>
                    <a:pt x="13" y="0"/>
                  </a:cubicBezTo>
                  <a:cubicBezTo>
                    <a:pt x="14" y="0"/>
                    <a:pt x="15" y="0"/>
                    <a:pt x="16" y="0"/>
                  </a:cubicBezTo>
                  <a:cubicBezTo>
                    <a:pt x="17" y="1"/>
                    <a:pt x="18" y="1"/>
                    <a:pt x="19" y="1"/>
                  </a:cubicBezTo>
                  <a:cubicBezTo>
                    <a:pt x="20" y="1"/>
                    <a:pt x="21" y="1"/>
                    <a:pt x="22" y="2"/>
                  </a:cubicBezTo>
                  <a:cubicBezTo>
                    <a:pt x="22" y="2"/>
                    <a:pt x="23" y="2"/>
                    <a:pt x="24" y="3"/>
                  </a:cubicBezTo>
                  <a:cubicBezTo>
                    <a:pt x="22" y="6"/>
                    <a:pt x="22" y="6"/>
                    <a:pt x="22" y="6"/>
                  </a:cubicBezTo>
                  <a:cubicBezTo>
                    <a:pt x="21" y="5"/>
                    <a:pt x="20" y="5"/>
                    <a:pt x="18" y="4"/>
                  </a:cubicBezTo>
                  <a:cubicBezTo>
                    <a:pt x="17" y="4"/>
                    <a:pt x="15" y="3"/>
                    <a:pt x="13" y="3"/>
                  </a:cubicBezTo>
                  <a:cubicBezTo>
                    <a:pt x="12" y="3"/>
                    <a:pt x="11" y="4"/>
                    <a:pt x="10" y="4"/>
                  </a:cubicBezTo>
                  <a:cubicBezTo>
                    <a:pt x="9" y="4"/>
                    <a:pt x="8" y="4"/>
                    <a:pt x="7" y="5"/>
                  </a:cubicBezTo>
                  <a:cubicBezTo>
                    <a:pt x="6" y="6"/>
                    <a:pt x="6" y="6"/>
                    <a:pt x="5" y="7"/>
                  </a:cubicBezTo>
                  <a:cubicBezTo>
                    <a:pt x="5" y="8"/>
                    <a:pt x="5" y="9"/>
                    <a:pt x="5" y="10"/>
                  </a:cubicBezTo>
                  <a:cubicBezTo>
                    <a:pt x="5" y="11"/>
                    <a:pt x="5" y="12"/>
                    <a:pt x="5" y="13"/>
                  </a:cubicBezTo>
                  <a:cubicBezTo>
                    <a:pt x="6" y="14"/>
                    <a:pt x="6" y="15"/>
                    <a:pt x="7" y="15"/>
                  </a:cubicBezTo>
                  <a:cubicBezTo>
                    <a:pt x="8" y="16"/>
                    <a:pt x="9" y="16"/>
                    <a:pt x="10" y="17"/>
                  </a:cubicBezTo>
                  <a:cubicBezTo>
                    <a:pt x="11" y="17"/>
                    <a:pt x="12" y="18"/>
                    <a:pt x="14" y="18"/>
                  </a:cubicBezTo>
                  <a:cubicBezTo>
                    <a:pt x="15" y="19"/>
                    <a:pt x="17" y="20"/>
                    <a:pt x="18" y="20"/>
                  </a:cubicBezTo>
                  <a:cubicBezTo>
                    <a:pt x="19" y="21"/>
                    <a:pt x="21" y="22"/>
                    <a:pt x="22" y="22"/>
                  </a:cubicBezTo>
                  <a:cubicBezTo>
                    <a:pt x="23" y="23"/>
                    <a:pt x="23" y="24"/>
                    <a:pt x="24" y="26"/>
                  </a:cubicBezTo>
                  <a:cubicBezTo>
                    <a:pt x="25" y="27"/>
                    <a:pt x="25" y="28"/>
                    <a:pt x="25" y="30"/>
                  </a:cubicBezTo>
                  <a:cubicBezTo>
                    <a:pt x="25" y="34"/>
                    <a:pt x="24" y="36"/>
                    <a:pt x="21" y="38"/>
                  </a:cubicBezTo>
                  <a:cubicBezTo>
                    <a:pt x="19" y="40"/>
                    <a:pt x="15" y="41"/>
                    <a:pt x="11" y="41"/>
                  </a:cubicBezTo>
                  <a:cubicBezTo>
                    <a:pt x="10" y="41"/>
                    <a:pt x="8" y="41"/>
                    <a:pt x="7" y="40"/>
                  </a:cubicBezTo>
                  <a:cubicBezTo>
                    <a:pt x="6" y="40"/>
                    <a:pt x="5" y="40"/>
                    <a:pt x="4" y="40"/>
                  </a:cubicBezTo>
                  <a:cubicBezTo>
                    <a:pt x="3" y="39"/>
                    <a:pt x="2" y="39"/>
                    <a:pt x="1" y="39"/>
                  </a:cubicBezTo>
                  <a:cubicBezTo>
                    <a:pt x="1" y="38"/>
                    <a:pt x="0" y="38"/>
                    <a:pt x="0" y="38"/>
                  </a:cubicBezTo>
                  <a:cubicBezTo>
                    <a:pt x="1" y="35"/>
                    <a:pt x="1" y="35"/>
                    <a:pt x="1" y="35"/>
                  </a:cubicBezTo>
                  <a:cubicBezTo>
                    <a:pt x="1" y="35"/>
                    <a:pt x="2" y="35"/>
                    <a:pt x="3" y="35"/>
                  </a:cubicBezTo>
                  <a:cubicBezTo>
                    <a:pt x="3" y="36"/>
                    <a:pt x="4" y="36"/>
                    <a:pt x="5" y="36"/>
                  </a:cubicBezTo>
                  <a:cubicBezTo>
                    <a:pt x="6" y="37"/>
                    <a:pt x="7" y="37"/>
                    <a:pt x="8" y="37"/>
                  </a:cubicBezTo>
                  <a:cubicBezTo>
                    <a:pt x="9" y="37"/>
                    <a:pt x="10" y="37"/>
                    <a:pt x="11"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27"/>
            <p:cNvSpPr>
              <a:spLocks noEditPoints="1"/>
            </p:cNvSpPr>
            <p:nvPr/>
          </p:nvSpPr>
          <p:spPr bwMode="auto">
            <a:xfrm>
              <a:off x="4084639" y="4708572"/>
              <a:ext cx="44450" cy="73026"/>
            </a:xfrm>
            <a:custGeom>
              <a:avLst/>
              <a:gdLst>
                <a:gd name="T0" fmla="*/ 3 w 24"/>
                <a:gd name="T1" fmla="*/ 40 h 40"/>
                <a:gd name="T2" fmla="*/ 0 w 24"/>
                <a:gd name="T3" fmla="*/ 40 h 40"/>
                <a:gd name="T4" fmla="*/ 0 w 24"/>
                <a:gd name="T5" fmla="*/ 2 h 40"/>
                <a:gd name="T6" fmla="*/ 4 w 24"/>
                <a:gd name="T7" fmla="*/ 1 h 40"/>
                <a:gd name="T8" fmla="*/ 10 w 24"/>
                <a:gd name="T9" fmla="*/ 0 h 40"/>
                <a:gd name="T10" fmla="*/ 16 w 24"/>
                <a:gd name="T11" fmla="*/ 1 h 40"/>
                <a:gd name="T12" fmla="*/ 20 w 24"/>
                <a:gd name="T13" fmla="*/ 4 h 40"/>
                <a:gd name="T14" fmla="*/ 23 w 24"/>
                <a:gd name="T15" fmla="*/ 9 h 40"/>
                <a:gd name="T16" fmla="*/ 24 w 24"/>
                <a:gd name="T17" fmla="*/ 15 h 40"/>
                <a:gd name="T18" fmla="*/ 24 w 24"/>
                <a:gd name="T19" fmla="*/ 21 h 40"/>
                <a:gd name="T20" fmla="*/ 21 w 24"/>
                <a:gd name="T21" fmla="*/ 26 h 40"/>
                <a:gd name="T22" fmla="*/ 17 w 24"/>
                <a:gd name="T23" fmla="*/ 29 h 40"/>
                <a:gd name="T24" fmla="*/ 11 w 24"/>
                <a:gd name="T25" fmla="*/ 30 h 40"/>
                <a:gd name="T26" fmla="*/ 6 w 24"/>
                <a:gd name="T27" fmla="*/ 30 h 40"/>
                <a:gd name="T28" fmla="*/ 3 w 24"/>
                <a:gd name="T29" fmla="*/ 28 h 40"/>
                <a:gd name="T30" fmla="*/ 3 w 24"/>
                <a:gd name="T31" fmla="*/ 40 h 40"/>
                <a:gd name="T32" fmla="*/ 3 w 24"/>
                <a:gd name="T33" fmla="*/ 25 h 40"/>
                <a:gd name="T34" fmla="*/ 5 w 24"/>
                <a:gd name="T35" fmla="*/ 25 h 40"/>
                <a:gd name="T36" fmla="*/ 6 w 24"/>
                <a:gd name="T37" fmla="*/ 26 h 40"/>
                <a:gd name="T38" fmla="*/ 9 w 24"/>
                <a:gd name="T39" fmla="*/ 27 h 40"/>
                <a:gd name="T40" fmla="*/ 11 w 24"/>
                <a:gd name="T41" fmla="*/ 27 h 40"/>
                <a:gd name="T42" fmla="*/ 16 w 24"/>
                <a:gd name="T43" fmla="*/ 26 h 40"/>
                <a:gd name="T44" fmla="*/ 18 w 24"/>
                <a:gd name="T45" fmla="*/ 24 h 40"/>
                <a:gd name="T46" fmla="*/ 20 w 24"/>
                <a:gd name="T47" fmla="*/ 20 h 40"/>
                <a:gd name="T48" fmla="*/ 21 w 24"/>
                <a:gd name="T49" fmla="*/ 15 h 40"/>
                <a:gd name="T50" fmla="*/ 18 w 24"/>
                <a:gd name="T51" fmla="*/ 7 h 40"/>
                <a:gd name="T52" fmla="*/ 10 w 24"/>
                <a:gd name="T53" fmla="*/ 4 h 40"/>
                <a:gd name="T54" fmla="*/ 6 w 24"/>
                <a:gd name="T55" fmla="*/ 4 h 40"/>
                <a:gd name="T56" fmla="*/ 3 w 24"/>
                <a:gd name="T57" fmla="*/ 4 h 40"/>
                <a:gd name="T58" fmla="*/ 3 w 24"/>
                <a:gd name="T5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0">
                  <a:moveTo>
                    <a:pt x="3" y="40"/>
                  </a:moveTo>
                  <a:cubicBezTo>
                    <a:pt x="0" y="40"/>
                    <a:pt x="0" y="40"/>
                    <a:pt x="0" y="40"/>
                  </a:cubicBezTo>
                  <a:cubicBezTo>
                    <a:pt x="0" y="2"/>
                    <a:pt x="0" y="2"/>
                    <a:pt x="0" y="2"/>
                  </a:cubicBezTo>
                  <a:cubicBezTo>
                    <a:pt x="1" y="1"/>
                    <a:pt x="2" y="1"/>
                    <a:pt x="4" y="1"/>
                  </a:cubicBezTo>
                  <a:cubicBezTo>
                    <a:pt x="6" y="0"/>
                    <a:pt x="8" y="0"/>
                    <a:pt x="10" y="0"/>
                  </a:cubicBezTo>
                  <a:cubicBezTo>
                    <a:pt x="12" y="0"/>
                    <a:pt x="14" y="1"/>
                    <a:pt x="16" y="1"/>
                  </a:cubicBezTo>
                  <a:cubicBezTo>
                    <a:pt x="18" y="2"/>
                    <a:pt x="19" y="3"/>
                    <a:pt x="20" y="4"/>
                  </a:cubicBezTo>
                  <a:cubicBezTo>
                    <a:pt x="22" y="6"/>
                    <a:pt x="23" y="7"/>
                    <a:pt x="23" y="9"/>
                  </a:cubicBezTo>
                  <a:cubicBezTo>
                    <a:pt x="24" y="11"/>
                    <a:pt x="24" y="13"/>
                    <a:pt x="24" y="15"/>
                  </a:cubicBezTo>
                  <a:cubicBezTo>
                    <a:pt x="24" y="18"/>
                    <a:pt x="24" y="20"/>
                    <a:pt x="24" y="21"/>
                  </a:cubicBezTo>
                  <a:cubicBezTo>
                    <a:pt x="23" y="23"/>
                    <a:pt x="22" y="25"/>
                    <a:pt x="21" y="26"/>
                  </a:cubicBezTo>
                  <a:cubicBezTo>
                    <a:pt x="20" y="28"/>
                    <a:pt x="19" y="29"/>
                    <a:pt x="17" y="29"/>
                  </a:cubicBezTo>
                  <a:cubicBezTo>
                    <a:pt x="15" y="30"/>
                    <a:pt x="13" y="30"/>
                    <a:pt x="11" y="30"/>
                  </a:cubicBezTo>
                  <a:cubicBezTo>
                    <a:pt x="9" y="30"/>
                    <a:pt x="8" y="30"/>
                    <a:pt x="6" y="30"/>
                  </a:cubicBezTo>
                  <a:cubicBezTo>
                    <a:pt x="5" y="29"/>
                    <a:pt x="4" y="29"/>
                    <a:pt x="3" y="28"/>
                  </a:cubicBezTo>
                  <a:lnTo>
                    <a:pt x="3" y="40"/>
                  </a:lnTo>
                  <a:close/>
                  <a:moveTo>
                    <a:pt x="3" y="25"/>
                  </a:moveTo>
                  <a:cubicBezTo>
                    <a:pt x="4" y="25"/>
                    <a:pt x="4" y="25"/>
                    <a:pt x="5" y="25"/>
                  </a:cubicBezTo>
                  <a:cubicBezTo>
                    <a:pt x="5" y="26"/>
                    <a:pt x="6" y="26"/>
                    <a:pt x="6" y="26"/>
                  </a:cubicBezTo>
                  <a:cubicBezTo>
                    <a:pt x="7" y="27"/>
                    <a:pt x="8" y="27"/>
                    <a:pt x="9" y="27"/>
                  </a:cubicBezTo>
                  <a:cubicBezTo>
                    <a:pt x="9" y="27"/>
                    <a:pt x="10" y="27"/>
                    <a:pt x="11" y="27"/>
                  </a:cubicBezTo>
                  <a:cubicBezTo>
                    <a:pt x="13" y="27"/>
                    <a:pt x="14" y="27"/>
                    <a:pt x="16" y="26"/>
                  </a:cubicBezTo>
                  <a:cubicBezTo>
                    <a:pt x="17" y="26"/>
                    <a:pt x="18" y="25"/>
                    <a:pt x="18" y="24"/>
                  </a:cubicBezTo>
                  <a:cubicBezTo>
                    <a:pt x="19" y="23"/>
                    <a:pt x="20" y="21"/>
                    <a:pt x="20" y="20"/>
                  </a:cubicBezTo>
                  <a:cubicBezTo>
                    <a:pt x="20" y="19"/>
                    <a:pt x="21" y="17"/>
                    <a:pt x="21" y="15"/>
                  </a:cubicBezTo>
                  <a:cubicBezTo>
                    <a:pt x="21" y="12"/>
                    <a:pt x="20" y="9"/>
                    <a:pt x="18" y="7"/>
                  </a:cubicBezTo>
                  <a:cubicBezTo>
                    <a:pt x="16" y="5"/>
                    <a:pt x="13" y="4"/>
                    <a:pt x="10" y="4"/>
                  </a:cubicBezTo>
                  <a:cubicBezTo>
                    <a:pt x="8" y="4"/>
                    <a:pt x="7" y="4"/>
                    <a:pt x="6" y="4"/>
                  </a:cubicBezTo>
                  <a:cubicBezTo>
                    <a:pt x="5" y="4"/>
                    <a:pt x="4" y="4"/>
                    <a:pt x="3" y="4"/>
                  </a:cubicBezTo>
                  <a:lnTo>
                    <a:pt x="3" y="2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128"/>
            <p:cNvSpPr>
              <a:spLocks noEditPoints="1"/>
            </p:cNvSpPr>
            <p:nvPr/>
          </p:nvSpPr>
          <p:spPr bwMode="auto">
            <a:xfrm>
              <a:off x="4141789" y="4708572"/>
              <a:ext cx="42863"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3" y="16"/>
                    <a:pt x="3" y="16"/>
                    <a:pt x="3" y="16"/>
                  </a:cubicBezTo>
                  <a:cubicBezTo>
                    <a:pt x="4" y="20"/>
                    <a:pt x="4" y="22"/>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29"/>
                    <a:pt x="19" y="30"/>
                  </a:cubicBezTo>
                  <a:cubicBezTo>
                    <a:pt x="17" y="30"/>
                    <a:pt x="16" y="30"/>
                    <a:pt x="14" y="30"/>
                  </a:cubicBezTo>
                  <a:cubicBezTo>
                    <a:pt x="11" y="30"/>
                    <a:pt x="9" y="30"/>
                    <a:pt x="7" y="29"/>
                  </a:cubicBezTo>
                  <a:cubicBezTo>
                    <a:pt x="6"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29"/>
            <p:cNvSpPr>
              <a:spLocks noEditPoints="1"/>
            </p:cNvSpPr>
            <p:nvPr/>
          </p:nvSpPr>
          <p:spPr bwMode="auto">
            <a:xfrm>
              <a:off x="4195764" y="4708572"/>
              <a:ext cx="39688"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1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5 h 30"/>
                <a:gd name="T32" fmla="*/ 7 w 21"/>
                <a:gd name="T33" fmla="*/ 13 h 30"/>
                <a:gd name="T34" fmla="*/ 12 w 21"/>
                <a:gd name="T35" fmla="*/ 12 h 30"/>
                <a:gd name="T36" fmla="*/ 14 w 21"/>
                <a:gd name="T37" fmla="*/ 13 h 30"/>
                <a:gd name="T38" fmla="*/ 15 w 21"/>
                <a:gd name="T39" fmla="*/ 13 h 30"/>
                <a:gd name="T40" fmla="*/ 17 w 21"/>
                <a:gd name="T41" fmla="*/ 13 h 30"/>
                <a:gd name="T42" fmla="*/ 18 w 21"/>
                <a:gd name="T43" fmla="*/ 13 h 30"/>
                <a:gd name="T44" fmla="*/ 18 w 21"/>
                <a:gd name="T45" fmla="*/ 11 h 30"/>
                <a:gd name="T46" fmla="*/ 17 w 21"/>
                <a:gd name="T47" fmla="*/ 9 h 30"/>
                <a:gd name="T48" fmla="*/ 16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6 h 30"/>
                <a:gd name="T76" fmla="*/ 9 w 21"/>
                <a:gd name="T77" fmla="*/ 16 h 30"/>
                <a:gd name="T78" fmla="*/ 6 w 21"/>
                <a:gd name="T79" fmla="*/ 17 h 30"/>
                <a:gd name="T80" fmla="*/ 4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6" y="1"/>
                  </a:cubicBezTo>
                  <a:cubicBezTo>
                    <a:pt x="17" y="2"/>
                    <a:pt x="18" y="2"/>
                    <a:pt x="19" y="3"/>
                  </a:cubicBezTo>
                  <a:cubicBezTo>
                    <a:pt x="20" y="4"/>
                    <a:pt x="20" y="5"/>
                    <a:pt x="21" y="7"/>
                  </a:cubicBezTo>
                  <a:cubicBezTo>
                    <a:pt x="21" y="8"/>
                    <a:pt x="21" y="9"/>
                    <a:pt x="21" y="11"/>
                  </a:cubicBezTo>
                  <a:cubicBezTo>
                    <a:pt x="21" y="29"/>
                    <a:pt x="21" y="29"/>
                    <a:pt x="21" y="29"/>
                  </a:cubicBezTo>
                  <a:cubicBezTo>
                    <a:pt x="21" y="29"/>
                    <a:pt x="20" y="29"/>
                    <a:pt x="20" y="29"/>
                  </a:cubicBezTo>
                  <a:cubicBezTo>
                    <a:pt x="19" y="30"/>
                    <a:pt x="18" y="30"/>
                    <a:pt x="17" y="30"/>
                  </a:cubicBezTo>
                  <a:cubicBezTo>
                    <a:pt x="16" y="30"/>
                    <a:pt x="15" y="30"/>
                    <a:pt x="14" y="30"/>
                  </a:cubicBezTo>
                  <a:cubicBezTo>
                    <a:pt x="13" y="30"/>
                    <a:pt x="12" y="30"/>
                    <a:pt x="11" y="30"/>
                  </a:cubicBezTo>
                  <a:cubicBezTo>
                    <a:pt x="9" y="30"/>
                    <a:pt x="8" y="30"/>
                    <a:pt x="6" y="30"/>
                  </a:cubicBezTo>
                  <a:cubicBezTo>
                    <a:pt x="5" y="30"/>
                    <a:pt x="4" y="29"/>
                    <a:pt x="3" y="28"/>
                  </a:cubicBezTo>
                  <a:cubicBezTo>
                    <a:pt x="2" y="28"/>
                    <a:pt x="1" y="27"/>
                    <a:pt x="1" y="25"/>
                  </a:cubicBezTo>
                  <a:cubicBezTo>
                    <a:pt x="0" y="24"/>
                    <a:pt x="0" y="23"/>
                    <a:pt x="0" y="21"/>
                  </a:cubicBezTo>
                  <a:cubicBezTo>
                    <a:pt x="0" y="20"/>
                    <a:pt x="0" y="18"/>
                    <a:pt x="1" y="17"/>
                  </a:cubicBezTo>
                  <a:cubicBezTo>
                    <a:pt x="1" y="16"/>
                    <a:pt x="2" y="15"/>
                    <a:pt x="3" y="15"/>
                  </a:cubicBezTo>
                  <a:cubicBezTo>
                    <a:pt x="4" y="14"/>
                    <a:pt x="6" y="13"/>
                    <a:pt x="7" y="13"/>
                  </a:cubicBezTo>
                  <a:cubicBezTo>
                    <a:pt x="9" y="13"/>
                    <a:pt x="10" y="12"/>
                    <a:pt x="12" y="12"/>
                  </a:cubicBezTo>
                  <a:cubicBezTo>
                    <a:pt x="13" y="12"/>
                    <a:pt x="13" y="12"/>
                    <a:pt x="14" y="13"/>
                  </a:cubicBezTo>
                  <a:cubicBezTo>
                    <a:pt x="14" y="13"/>
                    <a:pt x="15" y="13"/>
                    <a:pt x="15" y="13"/>
                  </a:cubicBezTo>
                  <a:cubicBezTo>
                    <a:pt x="16" y="13"/>
                    <a:pt x="16" y="13"/>
                    <a:pt x="17" y="13"/>
                  </a:cubicBezTo>
                  <a:cubicBezTo>
                    <a:pt x="17" y="13"/>
                    <a:pt x="17" y="13"/>
                    <a:pt x="18" y="13"/>
                  </a:cubicBezTo>
                  <a:cubicBezTo>
                    <a:pt x="18" y="11"/>
                    <a:pt x="18" y="11"/>
                    <a:pt x="18" y="11"/>
                  </a:cubicBezTo>
                  <a:cubicBezTo>
                    <a:pt x="18" y="10"/>
                    <a:pt x="18" y="9"/>
                    <a:pt x="17" y="9"/>
                  </a:cubicBezTo>
                  <a:cubicBezTo>
                    <a:pt x="17" y="8"/>
                    <a:pt x="17" y="7"/>
                    <a:pt x="16" y="6"/>
                  </a:cubicBezTo>
                  <a:cubicBezTo>
                    <a:pt x="16" y="5"/>
                    <a:pt x="15" y="5"/>
                    <a:pt x="14" y="4"/>
                  </a:cubicBezTo>
                  <a:cubicBezTo>
                    <a:pt x="13" y="4"/>
                    <a:pt x="12" y="3"/>
                    <a:pt x="11" y="3"/>
                  </a:cubicBezTo>
                  <a:cubicBezTo>
                    <a:pt x="9" y="3"/>
                    <a:pt x="7" y="4"/>
                    <a:pt x="6" y="4"/>
                  </a:cubicBezTo>
                  <a:cubicBezTo>
                    <a:pt x="5" y="4"/>
                    <a:pt x="4" y="4"/>
                    <a:pt x="4" y="5"/>
                  </a:cubicBezTo>
                  <a:cubicBezTo>
                    <a:pt x="3" y="1"/>
                    <a:pt x="3" y="1"/>
                    <a:pt x="3" y="1"/>
                  </a:cubicBezTo>
                  <a:cubicBezTo>
                    <a:pt x="4" y="1"/>
                    <a:pt x="5" y="1"/>
                    <a:pt x="6" y="1"/>
                  </a:cubicBezTo>
                  <a:cubicBezTo>
                    <a:pt x="7"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7" y="16"/>
                    <a:pt x="16" y="16"/>
                  </a:cubicBezTo>
                  <a:cubicBezTo>
                    <a:pt x="15" y="16"/>
                    <a:pt x="13" y="16"/>
                    <a:pt x="12" y="16"/>
                  </a:cubicBezTo>
                  <a:cubicBezTo>
                    <a:pt x="11" y="16"/>
                    <a:pt x="10" y="16"/>
                    <a:pt x="9" y="16"/>
                  </a:cubicBezTo>
                  <a:cubicBezTo>
                    <a:pt x="8" y="16"/>
                    <a:pt x="7" y="16"/>
                    <a:pt x="6" y="17"/>
                  </a:cubicBezTo>
                  <a:cubicBezTo>
                    <a:pt x="6" y="17"/>
                    <a:pt x="5" y="18"/>
                    <a:pt x="4" y="18"/>
                  </a:cubicBezTo>
                  <a:cubicBezTo>
                    <a:pt x="4" y="19"/>
                    <a:pt x="4" y="20"/>
                    <a:pt x="4" y="21"/>
                  </a:cubicBezTo>
                  <a:cubicBezTo>
                    <a:pt x="4" y="22"/>
                    <a:pt x="4" y="23"/>
                    <a:pt x="4" y="24"/>
                  </a:cubicBezTo>
                  <a:cubicBezTo>
                    <a:pt x="5" y="25"/>
                    <a:pt x="5" y="25"/>
                    <a:pt x="6"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130"/>
            <p:cNvSpPr>
              <a:spLocks/>
            </p:cNvSpPr>
            <p:nvPr/>
          </p:nvSpPr>
          <p:spPr bwMode="auto">
            <a:xfrm>
              <a:off x="4252914" y="4683172"/>
              <a:ext cx="38100" cy="80963"/>
            </a:xfrm>
            <a:custGeom>
              <a:avLst/>
              <a:gdLst>
                <a:gd name="T0" fmla="*/ 7 w 21"/>
                <a:gd name="T1" fmla="*/ 28 h 44"/>
                <a:gd name="T2" fmla="*/ 11 w 21"/>
                <a:gd name="T3" fmla="*/ 31 h 44"/>
                <a:gd name="T4" fmla="*/ 15 w 21"/>
                <a:gd name="T5" fmla="*/ 35 h 44"/>
                <a:gd name="T6" fmla="*/ 18 w 21"/>
                <a:gd name="T7" fmla="*/ 40 h 44"/>
                <a:gd name="T8" fmla="*/ 21 w 21"/>
                <a:gd name="T9" fmla="*/ 44 h 44"/>
                <a:gd name="T10" fmla="*/ 17 w 21"/>
                <a:gd name="T11" fmla="*/ 44 h 44"/>
                <a:gd name="T12" fmla="*/ 14 w 21"/>
                <a:gd name="T13" fmla="*/ 39 h 44"/>
                <a:gd name="T14" fmla="*/ 10 w 21"/>
                <a:gd name="T15" fmla="*/ 35 h 44"/>
                <a:gd name="T16" fmla="*/ 7 w 21"/>
                <a:gd name="T17" fmla="*/ 32 h 44"/>
                <a:gd name="T18" fmla="*/ 3 w 21"/>
                <a:gd name="T19" fmla="*/ 30 h 44"/>
                <a:gd name="T20" fmla="*/ 3 w 21"/>
                <a:gd name="T21" fmla="*/ 44 h 44"/>
                <a:gd name="T22" fmla="*/ 0 w 21"/>
                <a:gd name="T23" fmla="*/ 44 h 44"/>
                <a:gd name="T24" fmla="*/ 0 w 21"/>
                <a:gd name="T25" fmla="*/ 1 h 44"/>
                <a:gd name="T26" fmla="*/ 3 w 21"/>
                <a:gd name="T27" fmla="*/ 0 h 44"/>
                <a:gd name="T28" fmla="*/ 3 w 21"/>
                <a:gd name="T29" fmla="*/ 27 h 44"/>
                <a:gd name="T30" fmla="*/ 6 w 21"/>
                <a:gd name="T31" fmla="*/ 25 h 44"/>
                <a:gd name="T32" fmla="*/ 10 w 21"/>
                <a:gd name="T33" fmla="*/ 21 h 44"/>
                <a:gd name="T34" fmla="*/ 13 w 21"/>
                <a:gd name="T35" fmla="*/ 18 h 44"/>
                <a:gd name="T36" fmla="*/ 16 w 21"/>
                <a:gd name="T37" fmla="*/ 15 h 44"/>
                <a:gd name="T38" fmla="*/ 20 w 21"/>
                <a:gd name="T39" fmla="*/ 15 h 44"/>
                <a:gd name="T40" fmla="*/ 17 w 21"/>
                <a:gd name="T41" fmla="*/ 18 h 44"/>
                <a:gd name="T42" fmla="*/ 14 w 21"/>
                <a:gd name="T43" fmla="*/ 21 h 44"/>
                <a:gd name="T44" fmla="*/ 10 w 21"/>
                <a:gd name="T45" fmla="*/ 25 h 44"/>
                <a:gd name="T46" fmla="*/ 7 w 21"/>
                <a:gd name="T4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4">
                  <a:moveTo>
                    <a:pt x="7" y="28"/>
                  </a:moveTo>
                  <a:cubicBezTo>
                    <a:pt x="8" y="29"/>
                    <a:pt x="9" y="30"/>
                    <a:pt x="11" y="31"/>
                  </a:cubicBezTo>
                  <a:cubicBezTo>
                    <a:pt x="12" y="32"/>
                    <a:pt x="13" y="34"/>
                    <a:pt x="15" y="35"/>
                  </a:cubicBezTo>
                  <a:cubicBezTo>
                    <a:pt x="16" y="37"/>
                    <a:pt x="17" y="38"/>
                    <a:pt x="18" y="40"/>
                  </a:cubicBezTo>
                  <a:cubicBezTo>
                    <a:pt x="20" y="41"/>
                    <a:pt x="21" y="42"/>
                    <a:pt x="21" y="44"/>
                  </a:cubicBezTo>
                  <a:cubicBezTo>
                    <a:pt x="17" y="44"/>
                    <a:pt x="17" y="44"/>
                    <a:pt x="17" y="44"/>
                  </a:cubicBezTo>
                  <a:cubicBezTo>
                    <a:pt x="16" y="42"/>
                    <a:pt x="15" y="41"/>
                    <a:pt x="14" y="39"/>
                  </a:cubicBezTo>
                  <a:cubicBezTo>
                    <a:pt x="13" y="38"/>
                    <a:pt x="12" y="37"/>
                    <a:pt x="10" y="35"/>
                  </a:cubicBezTo>
                  <a:cubicBezTo>
                    <a:pt x="9" y="34"/>
                    <a:pt x="8" y="33"/>
                    <a:pt x="7" y="32"/>
                  </a:cubicBezTo>
                  <a:cubicBezTo>
                    <a:pt x="5" y="31"/>
                    <a:pt x="4" y="30"/>
                    <a:pt x="3" y="30"/>
                  </a:cubicBezTo>
                  <a:cubicBezTo>
                    <a:pt x="3" y="44"/>
                    <a:pt x="3" y="44"/>
                    <a:pt x="3" y="44"/>
                  </a:cubicBezTo>
                  <a:cubicBezTo>
                    <a:pt x="0" y="44"/>
                    <a:pt x="0" y="44"/>
                    <a:pt x="0" y="44"/>
                  </a:cubicBezTo>
                  <a:cubicBezTo>
                    <a:pt x="0" y="1"/>
                    <a:pt x="0" y="1"/>
                    <a:pt x="0" y="1"/>
                  </a:cubicBezTo>
                  <a:cubicBezTo>
                    <a:pt x="3" y="0"/>
                    <a:pt x="3" y="0"/>
                    <a:pt x="3" y="0"/>
                  </a:cubicBezTo>
                  <a:cubicBezTo>
                    <a:pt x="3" y="27"/>
                    <a:pt x="3" y="27"/>
                    <a:pt x="3" y="27"/>
                  </a:cubicBezTo>
                  <a:cubicBezTo>
                    <a:pt x="4" y="27"/>
                    <a:pt x="5" y="26"/>
                    <a:pt x="6" y="25"/>
                  </a:cubicBezTo>
                  <a:cubicBezTo>
                    <a:pt x="7" y="23"/>
                    <a:pt x="8" y="22"/>
                    <a:pt x="10" y="21"/>
                  </a:cubicBezTo>
                  <a:cubicBezTo>
                    <a:pt x="11" y="20"/>
                    <a:pt x="12" y="19"/>
                    <a:pt x="13" y="18"/>
                  </a:cubicBezTo>
                  <a:cubicBezTo>
                    <a:pt x="14" y="17"/>
                    <a:pt x="15" y="16"/>
                    <a:pt x="16" y="15"/>
                  </a:cubicBezTo>
                  <a:cubicBezTo>
                    <a:pt x="20" y="15"/>
                    <a:pt x="20" y="15"/>
                    <a:pt x="20" y="15"/>
                  </a:cubicBezTo>
                  <a:cubicBezTo>
                    <a:pt x="19" y="16"/>
                    <a:pt x="18" y="17"/>
                    <a:pt x="17" y="18"/>
                  </a:cubicBezTo>
                  <a:cubicBezTo>
                    <a:pt x="16" y="19"/>
                    <a:pt x="15" y="20"/>
                    <a:pt x="14" y="21"/>
                  </a:cubicBezTo>
                  <a:cubicBezTo>
                    <a:pt x="13" y="22"/>
                    <a:pt x="11" y="24"/>
                    <a:pt x="10" y="25"/>
                  </a:cubicBezTo>
                  <a:cubicBezTo>
                    <a:pt x="9" y="26"/>
                    <a:pt x="8" y="27"/>
                    <a:pt x="7" y="28"/>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31"/>
            <p:cNvSpPr>
              <a:spLocks noEditPoints="1"/>
            </p:cNvSpPr>
            <p:nvPr/>
          </p:nvSpPr>
          <p:spPr bwMode="auto">
            <a:xfrm>
              <a:off x="4298952" y="4708572"/>
              <a:ext cx="44450"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29"/>
                    <a:pt x="19" y="30"/>
                  </a:cubicBezTo>
                  <a:cubicBezTo>
                    <a:pt x="18" y="30"/>
                    <a:pt x="16" y="30"/>
                    <a:pt x="14" y="30"/>
                  </a:cubicBezTo>
                  <a:cubicBezTo>
                    <a:pt x="11" y="30"/>
                    <a:pt x="9" y="30"/>
                    <a:pt x="7" y="29"/>
                  </a:cubicBezTo>
                  <a:cubicBezTo>
                    <a:pt x="6"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132"/>
            <p:cNvSpPr>
              <a:spLocks/>
            </p:cNvSpPr>
            <p:nvPr/>
          </p:nvSpPr>
          <p:spPr bwMode="auto">
            <a:xfrm>
              <a:off x="4357689" y="4708572"/>
              <a:ext cx="28575" cy="55563"/>
            </a:xfrm>
            <a:custGeom>
              <a:avLst/>
              <a:gdLst>
                <a:gd name="T0" fmla="*/ 10 w 16"/>
                <a:gd name="T1" fmla="*/ 0 h 30"/>
                <a:gd name="T2" fmla="*/ 13 w 16"/>
                <a:gd name="T3" fmla="*/ 1 h 30"/>
                <a:gd name="T4" fmla="*/ 16 w 16"/>
                <a:gd name="T5" fmla="*/ 1 h 30"/>
                <a:gd name="T6" fmla="*/ 15 w 16"/>
                <a:gd name="T7" fmla="*/ 4 h 30"/>
                <a:gd name="T8" fmla="*/ 13 w 16"/>
                <a:gd name="T9" fmla="*/ 4 h 30"/>
                <a:gd name="T10" fmla="*/ 9 w 16"/>
                <a:gd name="T11" fmla="*/ 4 h 30"/>
                <a:gd name="T12" fmla="*/ 6 w 16"/>
                <a:gd name="T13" fmla="*/ 4 h 30"/>
                <a:gd name="T14" fmla="*/ 4 w 16"/>
                <a:gd name="T15" fmla="*/ 4 h 30"/>
                <a:gd name="T16" fmla="*/ 4 w 16"/>
                <a:gd name="T17" fmla="*/ 30 h 30"/>
                <a:gd name="T18" fmla="*/ 0 w 16"/>
                <a:gd name="T19" fmla="*/ 30 h 30"/>
                <a:gd name="T20" fmla="*/ 0 w 16"/>
                <a:gd name="T21" fmla="*/ 2 h 30"/>
                <a:gd name="T22" fmla="*/ 4 w 16"/>
                <a:gd name="T23" fmla="*/ 1 h 30"/>
                <a:gd name="T24" fmla="*/ 10 w 16"/>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0">
                  <a:moveTo>
                    <a:pt x="10" y="0"/>
                  </a:moveTo>
                  <a:cubicBezTo>
                    <a:pt x="11" y="0"/>
                    <a:pt x="12" y="0"/>
                    <a:pt x="13" y="1"/>
                  </a:cubicBezTo>
                  <a:cubicBezTo>
                    <a:pt x="14" y="1"/>
                    <a:pt x="15" y="1"/>
                    <a:pt x="16" y="1"/>
                  </a:cubicBezTo>
                  <a:cubicBezTo>
                    <a:pt x="15" y="4"/>
                    <a:pt x="15" y="4"/>
                    <a:pt x="15" y="4"/>
                  </a:cubicBezTo>
                  <a:cubicBezTo>
                    <a:pt x="15" y="4"/>
                    <a:pt x="14" y="4"/>
                    <a:pt x="13" y="4"/>
                  </a:cubicBezTo>
                  <a:cubicBezTo>
                    <a:pt x="12" y="4"/>
                    <a:pt x="11" y="4"/>
                    <a:pt x="9" y="4"/>
                  </a:cubicBezTo>
                  <a:cubicBezTo>
                    <a:pt x="8" y="4"/>
                    <a:pt x="7" y="4"/>
                    <a:pt x="6"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0" name="Group 559"/>
          <p:cNvGrpSpPr/>
          <p:nvPr/>
        </p:nvGrpSpPr>
        <p:grpSpPr>
          <a:xfrm>
            <a:off x="3030185" y="4190316"/>
            <a:ext cx="293687" cy="71438"/>
            <a:chOff x="2973389" y="4692697"/>
            <a:chExt cx="293687" cy="71438"/>
          </a:xfrm>
        </p:grpSpPr>
        <p:sp>
          <p:nvSpPr>
            <p:cNvPr id="474" name="Freeform 133"/>
            <p:cNvSpPr>
              <a:spLocks/>
            </p:cNvSpPr>
            <p:nvPr/>
          </p:nvSpPr>
          <p:spPr bwMode="auto">
            <a:xfrm>
              <a:off x="2973389" y="4692697"/>
              <a:ext cx="73025" cy="71438"/>
            </a:xfrm>
            <a:custGeom>
              <a:avLst/>
              <a:gdLst>
                <a:gd name="T0" fmla="*/ 18 w 40"/>
                <a:gd name="T1" fmla="*/ 33 h 39"/>
                <a:gd name="T2" fmla="*/ 17 w 40"/>
                <a:gd name="T3" fmla="*/ 29 h 39"/>
                <a:gd name="T4" fmla="*/ 14 w 40"/>
                <a:gd name="T5" fmla="*/ 24 h 39"/>
                <a:gd name="T6" fmla="*/ 12 w 40"/>
                <a:gd name="T7" fmla="*/ 19 h 39"/>
                <a:gd name="T8" fmla="*/ 9 w 40"/>
                <a:gd name="T9" fmla="*/ 13 h 39"/>
                <a:gd name="T10" fmla="*/ 7 w 40"/>
                <a:gd name="T11" fmla="*/ 9 h 39"/>
                <a:gd name="T12" fmla="*/ 6 w 40"/>
                <a:gd name="T13" fmla="*/ 6 h 39"/>
                <a:gd name="T14" fmla="*/ 4 w 40"/>
                <a:gd name="T15" fmla="*/ 22 h 39"/>
                <a:gd name="T16" fmla="*/ 4 w 40"/>
                <a:gd name="T17" fmla="*/ 39 h 39"/>
                <a:gd name="T18" fmla="*/ 0 w 40"/>
                <a:gd name="T19" fmla="*/ 39 h 39"/>
                <a:gd name="T20" fmla="*/ 1 w 40"/>
                <a:gd name="T21" fmla="*/ 19 h 39"/>
                <a:gd name="T22" fmla="*/ 3 w 40"/>
                <a:gd name="T23" fmla="*/ 0 h 39"/>
                <a:gd name="T24" fmla="*/ 6 w 40"/>
                <a:gd name="T25" fmla="*/ 0 h 39"/>
                <a:gd name="T26" fmla="*/ 10 w 40"/>
                <a:gd name="T27" fmla="*/ 6 h 39"/>
                <a:gd name="T28" fmla="*/ 13 w 40"/>
                <a:gd name="T29" fmla="*/ 14 h 39"/>
                <a:gd name="T30" fmla="*/ 17 w 40"/>
                <a:gd name="T31" fmla="*/ 22 h 39"/>
                <a:gd name="T32" fmla="*/ 20 w 40"/>
                <a:gd name="T33" fmla="*/ 29 h 39"/>
                <a:gd name="T34" fmla="*/ 23 w 40"/>
                <a:gd name="T35" fmla="*/ 22 h 39"/>
                <a:gd name="T36" fmla="*/ 27 w 40"/>
                <a:gd name="T37" fmla="*/ 14 h 39"/>
                <a:gd name="T38" fmla="*/ 31 w 40"/>
                <a:gd name="T39" fmla="*/ 6 h 39"/>
                <a:gd name="T40" fmla="*/ 34 w 40"/>
                <a:gd name="T41" fmla="*/ 0 h 39"/>
                <a:gd name="T42" fmla="*/ 38 w 40"/>
                <a:gd name="T43" fmla="*/ 0 h 39"/>
                <a:gd name="T44" fmla="*/ 39 w 40"/>
                <a:gd name="T45" fmla="*/ 19 h 39"/>
                <a:gd name="T46" fmla="*/ 40 w 40"/>
                <a:gd name="T47" fmla="*/ 39 h 39"/>
                <a:gd name="T48" fmla="*/ 36 w 40"/>
                <a:gd name="T49" fmla="*/ 39 h 39"/>
                <a:gd name="T50" fmla="*/ 36 w 40"/>
                <a:gd name="T51" fmla="*/ 22 h 39"/>
                <a:gd name="T52" fmla="*/ 35 w 40"/>
                <a:gd name="T53" fmla="*/ 6 h 39"/>
                <a:gd name="T54" fmla="*/ 33 w 40"/>
                <a:gd name="T55" fmla="*/ 9 h 39"/>
                <a:gd name="T56" fmla="*/ 31 w 40"/>
                <a:gd name="T57" fmla="*/ 13 h 39"/>
                <a:gd name="T58" fmla="*/ 28 w 40"/>
                <a:gd name="T59" fmla="*/ 19 h 39"/>
                <a:gd name="T60" fmla="*/ 26 w 40"/>
                <a:gd name="T61" fmla="*/ 24 h 39"/>
                <a:gd name="T62" fmla="*/ 23 w 40"/>
                <a:gd name="T63" fmla="*/ 29 h 39"/>
                <a:gd name="T64" fmla="*/ 22 w 40"/>
                <a:gd name="T65" fmla="*/ 33 h 39"/>
                <a:gd name="T66" fmla="*/ 18 w 40"/>
                <a:gd name="T6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39">
                  <a:moveTo>
                    <a:pt x="18" y="33"/>
                  </a:moveTo>
                  <a:cubicBezTo>
                    <a:pt x="18" y="32"/>
                    <a:pt x="17" y="31"/>
                    <a:pt x="17" y="29"/>
                  </a:cubicBezTo>
                  <a:cubicBezTo>
                    <a:pt x="16" y="28"/>
                    <a:pt x="15" y="26"/>
                    <a:pt x="14" y="24"/>
                  </a:cubicBezTo>
                  <a:cubicBezTo>
                    <a:pt x="14" y="23"/>
                    <a:pt x="13" y="21"/>
                    <a:pt x="12" y="19"/>
                  </a:cubicBezTo>
                  <a:cubicBezTo>
                    <a:pt x="11" y="17"/>
                    <a:pt x="10" y="15"/>
                    <a:pt x="9" y="13"/>
                  </a:cubicBezTo>
                  <a:cubicBezTo>
                    <a:pt x="8" y="12"/>
                    <a:pt x="8" y="10"/>
                    <a:pt x="7" y="9"/>
                  </a:cubicBezTo>
                  <a:cubicBezTo>
                    <a:pt x="6" y="8"/>
                    <a:pt x="6" y="7"/>
                    <a:pt x="6" y="6"/>
                  </a:cubicBezTo>
                  <a:cubicBezTo>
                    <a:pt x="5" y="11"/>
                    <a:pt x="5" y="16"/>
                    <a:pt x="4" y="22"/>
                  </a:cubicBezTo>
                  <a:cubicBezTo>
                    <a:pt x="4" y="27"/>
                    <a:pt x="4" y="33"/>
                    <a:pt x="4" y="39"/>
                  </a:cubicBezTo>
                  <a:cubicBezTo>
                    <a:pt x="0" y="39"/>
                    <a:pt x="0" y="39"/>
                    <a:pt x="0" y="39"/>
                  </a:cubicBezTo>
                  <a:cubicBezTo>
                    <a:pt x="0" y="32"/>
                    <a:pt x="1" y="25"/>
                    <a:pt x="1" y="19"/>
                  </a:cubicBezTo>
                  <a:cubicBezTo>
                    <a:pt x="2" y="12"/>
                    <a:pt x="2" y="6"/>
                    <a:pt x="3" y="0"/>
                  </a:cubicBezTo>
                  <a:cubicBezTo>
                    <a:pt x="6" y="0"/>
                    <a:pt x="6" y="0"/>
                    <a:pt x="6" y="0"/>
                  </a:cubicBezTo>
                  <a:cubicBezTo>
                    <a:pt x="7" y="2"/>
                    <a:pt x="8" y="4"/>
                    <a:pt x="10" y="6"/>
                  </a:cubicBezTo>
                  <a:cubicBezTo>
                    <a:pt x="11" y="9"/>
                    <a:pt x="12" y="11"/>
                    <a:pt x="13" y="14"/>
                  </a:cubicBezTo>
                  <a:cubicBezTo>
                    <a:pt x="15" y="17"/>
                    <a:pt x="16" y="19"/>
                    <a:pt x="17" y="22"/>
                  </a:cubicBezTo>
                  <a:cubicBezTo>
                    <a:pt x="18" y="24"/>
                    <a:pt x="19" y="27"/>
                    <a:pt x="20" y="29"/>
                  </a:cubicBezTo>
                  <a:cubicBezTo>
                    <a:pt x="21" y="27"/>
                    <a:pt x="22" y="24"/>
                    <a:pt x="23" y="22"/>
                  </a:cubicBezTo>
                  <a:cubicBezTo>
                    <a:pt x="24" y="19"/>
                    <a:pt x="26" y="17"/>
                    <a:pt x="27" y="14"/>
                  </a:cubicBezTo>
                  <a:cubicBezTo>
                    <a:pt x="28" y="11"/>
                    <a:pt x="29" y="9"/>
                    <a:pt x="31" y="6"/>
                  </a:cubicBezTo>
                  <a:cubicBezTo>
                    <a:pt x="32" y="4"/>
                    <a:pt x="33" y="2"/>
                    <a:pt x="34" y="0"/>
                  </a:cubicBezTo>
                  <a:cubicBezTo>
                    <a:pt x="38" y="0"/>
                    <a:pt x="38" y="0"/>
                    <a:pt x="38" y="0"/>
                  </a:cubicBezTo>
                  <a:cubicBezTo>
                    <a:pt x="38" y="6"/>
                    <a:pt x="39" y="12"/>
                    <a:pt x="39" y="19"/>
                  </a:cubicBezTo>
                  <a:cubicBezTo>
                    <a:pt x="40" y="25"/>
                    <a:pt x="40" y="32"/>
                    <a:pt x="40" y="39"/>
                  </a:cubicBezTo>
                  <a:cubicBezTo>
                    <a:pt x="36" y="39"/>
                    <a:pt x="36" y="39"/>
                    <a:pt x="36" y="39"/>
                  </a:cubicBezTo>
                  <a:cubicBezTo>
                    <a:pt x="36" y="33"/>
                    <a:pt x="36" y="27"/>
                    <a:pt x="36" y="22"/>
                  </a:cubicBezTo>
                  <a:cubicBezTo>
                    <a:pt x="35" y="16"/>
                    <a:pt x="35" y="11"/>
                    <a:pt x="35" y="6"/>
                  </a:cubicBezTo>
                  <a:cubicBezTo>
                    <a:pt x="34" y="7"/>
                    <a:pt x="34" y="8"/>
                    <a:pt x="33" y="9"/>
                  </a:cubicBezTo>
                  <a:cubicBezTo>
                    <a:pt x="32" y="10"/>
                    <a:pt x="32" y="12"/>
                    <a:pt x="31" y="13"/>
                  </a:cubicBezTo>
                  <a:cubicBezTo>
                    <a:pt x="30" y="15"/>
                    <a:pt x="29" y="17"/>
                    <a:pt x="28" y="19"/>
                  </a:cubicBezTo>
                  <a:cubicBezTo>
                    <a:pt x="27" y="21"/>
                    <a:pt x="27" y="23"/>
                    <a:pt x="26" y="24"/>
                  </a:cubicBezTo>
                  <a:cubicBezTo>
                    <a:pt x="25" y="26"/>
                    <a:pt x="24" y="28"/>
                    <a:pt x="23" y="29"/>
                  </a:cubicBezTo>
                  <a:cubicBezTo>
                    <a:pt x="23" y="31"/>
                    <a:pt x="22" y="32"/>
                    <a:pt x="22" y="33"/>
                  </a:cubicBezTo>
                  <a:lnTo>
                    <a:pt x="18" y="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134"/>
            <p:cNvSpPr>
              <a:spLocks noEditPoints="1"/>
            </p:cNvSpPr>
            <p:nvPr/>
          </p:nvSpPr>
          <p:spPr bwMode="auto">
            <a:xfrm>
              <a:off x="3059114"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6"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6" y="11"/>
                    <a:pt x="27" y="13"/>
                    <a:pt x="27" y="15"/>
                  </a:cubicBezTo>
                  <a:close/>
                  <a:moveTo>
                    <a:pt x="23" y="15"/>
                  </a:moveTo>
                  <a:cubicBezTo>
                    <a:pt x="23" y="12"/>
                    <a:pt x="22" y="9"/>
                    <a:pt x="20" y="7"/>
                  </a:cubicBezTo>
                  <a:cubicBezTo>
                    <a:pt x="19" y="5"/>
                    <a:pt x="16" y="3"/>
                    <a:pt x="14" y="3"/>
                  </a:cubicBezTo>
                  <a:cubicBezTo>
                    <a:pt x="11" y="3"/>
                    <a:pt x="8" y="5"/>
                    <a:pt x="7" y="7"/>
                  </a:cubicBezTo>
                  <a:cubicBezTo>
                    <a:pt x="5" y="9"/>
                    <a:pt x="4" y="12"/>
                    <a:pt x="4" y="15"/>
                  </a:cubicBezTo>
                  <a:cubicBezTo>
                    <a:pt x="4" y="19"/>
                    <a:pt x="5" y="22"/>
                    <a:pt x="7" y="24"/>
                  </a:cubicBezTo>
                  <a:cubicBezTo>
                    <a:pt x="8" y="26"/>
                    <a:pt x="11" y="27"/>
                    <a:pt x="14" y="27"/>
                  </a:cubicBezTo>
                  <a:cubicBezTo>
                    <a:pt x="16" y="27"/>
                    <a:pt x="19"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35"/>
            <p:cNvSpPr>
              <a:spLocks/>
            </p:cNvSpPr>
            <p:nvPr/>
          </p:nvSpPr>
          <p:spPr bwMode="auto">
            <a:xfrm>
              <a:off x="3122614" y="4710159"/>
              <a:ext cx="41275" cy="53976"/>
            </a:xfrm>
            <a:custGeom>
              <a:avLst/>
              <a:gdLst>
                <a:gd name="T0" fmla="*/ 23 w 23"/>
                <a:gd name="T1" fmla="*/ 28 h 29"/>
                <a:gd name="T2" fmla="*/ 19 w 23"/>
                <a:gd name="T3" fmla="*/ 29 h 29"/>
                <a:gd name="T4" fmla="*/ 12 w 23"/>
                <a:gd name="T5" fmla="*/ 29 h 29"/>
                <a:gd name="T6" fmla="*/ 6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4 w 23"/>
                <a:gd name="T21" fmla="*/ 20 h 29"/>
                <a:gd name="T22" fmla="*/ 6 w 23"/>
                <a:gd name="T23" fmla="*/ 24 h 29"/>
                <a:gd name="T24" fmla="*/ 9 w 23"/>
                <a:gd name="T25" fmla="*/ 25 h 29"/>
                <a:gd name="T26" fmla="*/ 12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9" y="29"/>
                  </a:cubicBezTo>
                  <a:cubicBezTo>
                    <a:pt x="17" y="29"/>
                    <a:pt x="15" y="29"/>
                    <a:pt x="12" y="29"/>
                  </a:cubicBezTo>
                  <a:cubicBezTo>
                    <a:pt x="10" y="29"/>
                    <a:pt x="8" y="29"/>
                    <a:pt x="6" y="28"/>
                  </a:cubicBezTo>
                  <a:cubicBezTo>
                    <a:pt x="5" y="28"/>
                    <a:pt x="4" y="27"/>
                    <a:pt x="3" y="26"/>
                  </a:cubicBezTo>
                  <a:cubicBezTo>
                    <a:pt x="2" y="25"/>
                    <a:pt x="1" y="23"/>
                    <a:pt x="1" y="22"/>
                  </a:cubicBezTo>
                  <a:cubicBezTo>
                    <a:pt x="1"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7" y="24"/>
                    <a:pt x="7" y="25"/>
                    <a:pt x="9" y="25"/>
                  </a:cubicBezTo>
                  <a:cubicBezTo>
                    <a:pt x="10" y="26"/>
                    <a:pt x="11" y="26"/>
                    <a:pt x="12"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136"/>
            <p:cNvSpPr>
              <a:spLocks/>
            </p:cNvSpPr>
            <p:nvPr/>
          </p:nvSpPr>
          <p:spPr bwMode="auto">
            <a:xfrm>
              <a:off x="3176589" y="4708572"/>
              <a:ext cx="34925" cy="55563"/>
            </a:xfrm>
            <a:custGeom>
              <a:avLst/>
              <a:gdLst>
                <a:gd name="T0" fmla="*/ 9 w 19"/>
                <a:gd name="T1" fmla="*/ 27 h 30"/>
                <a:gd name="T2" fmla="*/ 14 w 19"/>
                <a:gd name="T3" fmla="*/ 26 h 30"/>
                <a:gd name="T4" fmla="*/ 16 w 19"/>
                <a:gd name="T5" fmla="*/ 23 h 30"/>
                <a:gd name="T6" fmla="*/ 15 w 19"/>
                <a:gd name="T7" fmla="*/ 21 h 30"/>
                <a:gd name="T8" fmla="*/ 14 w 19"/>
                <a:gd name="T9" fmla="*/ 19 h 30"/>
                <a:gd name="T10" fmla="*/ 12 w 19"/>
                <a:gd name="T11" fmla="*/ 18 h 30"/>
                <a:gd name="T12" fmla="*/ 9 w 19"/>
                <a:gd name="T13" fmla="*/ 16 h 30"/>
                <a:gd name="T14" fmla="*/ 5 w 19"/>
                <a:gd name="T15" fmla="*/ 15 h 30"/>
                <a:gd name="T16" fmla="*/ 3 w 19"/>
                <a:gd name="T17" fmla="*/ 13 h 30"/>
                <a:gd name="T18" fmla="*/ 1 w 19"/>
                <a:gd name="T19" fmla="*/ 11 h 30"/>
                <a:gd name="T20" fmla="*/ 0 w 19"/>
                <a:gd name="T21" fmla="*/ 8 h 30"/>
                <a:gd name="T22" fmla="*/ 3 w 19"/>
                <a:gd name="T23" fmla="*/ 2 h 30"/>
                <a:gd name="T24" fmla="*/ 10 w 19"/>
                <a:gd name="T25" fmla="*/ 0 h 30"/>
                <a:gd name="T26" fmla="*/ 15 w 19"/>
                <a:gd name="T27" fmla="*/ 1 h 30"/>
                <a:gd name="T28" fmla="*/ 18 w 19"/>
                <a:gd name="T29" fmla="*/ 2 h 30"/>
                <a:gd name="T30" fmla="*/ 17 w 19"/>
                <a:gd name="T31" fmla="*/ 5 h 30"/>
                <a:gd name="T32" fmla="*/ 15 w 19"/>
                <a:gd name="T33" fmla="*/ 4 h 30"/>
                <a:gd name="T34" fmla="*/ 10 w 19"/>
                <a:gd name="T35" fmla="*/ 3 h 30"/>
                <a:gd name="T36" fmla="*/ 8 w 19"/>
                <a:gd name="T37" fmla="*/ 4 h 30"/>
                <a:gd name="T38" fmla="*/ 6 w 19"/>
                <a:gd name="T39" fmla="*/ 4 h 30"/>
                <a:gd name="T40" fmla="*/ 5 w 19"/>
                <a:gd name="T41" fmla="*/ 6 h 30"/>
                <a:gd name="T42" fmla="*/ 4 w 19"/>
                <a:gd name="T43" fmla="*/ 8 h 30"/>
                <a:gd name="T44" fmla="*/ 5 w 19"/>
                <a:gd name="T45" fmla="*/ 10 h 30"/>
                <a:gd name="T46" fmla="*/ 6 w 19"/>
                <a:gd name="T47" fmla="*/ 11 h 30"/>
                <a:gd name="T48" fmla="*/ 8 w 19"/>
                <a:gd name="T49" fmla="*/ 12 h 30"/>
                <a:gd name="T50" fmla="*/ 11 w 19"/>
                <a:gd name="T51" fmla="*/ 14 h 30"/>
                <a:gd name="T52" fmla="*/ 14 w 19"/>
                <a:gd name="T53" fmla="*/ 15 h 30"/>
                <a:gd name="T54" fmla="*/ 17 w 19"/>
                <a:gd name="T55" fmla="*/ 17 h 30"/>
                <a:gd name="T56" fmla="*/ 19 w 19"/>
                <a:gd name="T57" fmla="*/ 19 h 30"/>
                <a:gd name="T58" fmla="*/ 19 w 19"/>
                <a:gd name="T59" fmla="*/ 23 h 30"/>
                <a:gd name="T60" fmla="*/ 17 w 19"/>
                <a:gd name="T61" fmla="*/ 28 h 30"/>
                <a:gd name="T62" fmla="*/ 9 w 19"/>
                <a:gd name="T63" fmla="*/ 30 h 30"/>
                <a:gd name="T64" fmla="*/ 3 w 19"/>
                <a:gd name="T65" fmla="*/ 30 h 30"/>
                <a:gd name="T66" fmla="*/ 0 w 19"/>
                <a:gd name="T67" fmla="*/ 29 h 30"/>
                <a:gd name="T68" fmla="*/ 1 w 19"/>
                <a:gd name="T69" fmla="*/ 26 h 30"/>
                <a:gd name="T70" fmla="*/ 2 w 19"/>
                <a:gd name="T71" fmla="*/ 26 h 30"/>
                <a:gd name="T72" fmla="*/ 3 w 19"/>
                <a:gd name="T73" fmla="*/ 26 h 30"/>
                <a:gd name="T74" fmla="*/ 5 w 19"/>
                <a:gd name="T75" fmla="*/ 27 h 30"/>
                <a:gd name="T76" fmla="*/ 9 w 19"/>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0">
                  <a:moveTo>
                    <a:pt x="9" y="27"/>
                  </a:moveTo>
                  <a:cubicBezTo>
                    <a:pt x="11" y="27"/>
                    <a:pt x="12" y="27"/>
                    <a:pt x="14" y="26"/>
                  </a:cubicBezTo>
                  <a:cubicBezTo>
                    <a:pt x="15" y="25"/>
                    <a:pt x="16" y="24"/>
                    <a:pt x="16" y="23"/>
                  </a:cubicBezTo>
                  <a:cubicBezTo>
                    <a:pt x="16" y="22"/>
                    <a:pt x="16" y="21"/>
                    <a:pt x="15" y="21"/>
                  </a:cubicBezTo>
                  <a:cubicBezTo>
                    <a:pt x="15" y="20"/>
                    <a:pt x="15" y="20"/>
                    <a:pt x="14" y="19"/>
                  </a:cubicBezTo>
                  <a:cubicBezTo>
                    <a:pt x="14" y="19"/>
                    <a:pt x="13" y="18"/>
                    <a:pt x="12" y="18"/>
                  </a:cubicBezTo>
                  <a:cubicBezTo>
                    <a:pt x="11" y="17"/>
                    <a:pt x="10" y="17"/>
                    <a:pt x="9" y="16"/>
                  </a:cubicBezTo>
                  <a:cubicBezTo>
                    <a:pt x="7" y="16"/>
                    <a:pt x="6" y="15"/>
                    <a:pt x="5" y="15"/>
                  </a:cubicBezTo>
                  <a:cubicBezTo>
                    <a:pt x="5" y="15"/>
                    <a:pt x="4" y="14"/>
                    <a:pt x="3" y="13"/>
                  </a:cubicBezTo>
                  <a:cubicBezTo>
                    <a:pt x="2" y="13"/>
                    <a:pt x="2" y="12"/>
                    <a:pt x="1" y="11"/>
                  </a:cubicBezTo>
                  <a:cubicBezTo>
                    <a:pt x="1" y="10"/>
                    <a:pt x="0" y="9"/>
                    <a:pt x="0" y="8"/>
                  </a:cubicBezTo>
                  <a:cubicBezTo>
                    <a:pt x="0" y="6"/>
                    <a:pt x="1" y="4"/>
                    <a:pt x="3" y="2"/>
                  </a:cubicBezTo>
                  <a:cubicBezTo>
                    <a:pt x="5" y="1"/>
                    <a:pt x="7" y="0"/>
                    <a:pt x="10" y="0"/>
                  </a:cubicBezTo>
                  <a:cubicBezTo>
                    <a:pt x="12" y="0"/>
                    <a:pt x="14" y="0"/>
                    <a:pt x="15" y="1"/>
                  </a:cubicBezTo>
                  <a:cubicBezTo>
                    <a:pt x="17" y="1"/>
                    <a:pt x="18" y="1"/>
                    <a:pt x="18" y="2"/>
                  </a:cubicBezTo>
                  <a:cubicBezTo>
                    <a:pt x="17" y="5"/>
                    <a:pt x="17" y="5"/>
                    <a:pt x="17" y="5"/>
                  </a:cubicBezTo>
                  <a:cubicBezTo>
                    <a:pt x="17" y="5"/>
                    <a:pt x="16" y="4"/>
                    <a:pt x="15" y="4"/>
                  </a:cubicBezTo>
                  <a:cubicBezTo>
                    <a:pt x="14" y="4"/>
                    <a:pt x="12" y="3"/>
                    <a:pt x="10" y="3"/>
                  </a:cubicBezTo>
                  <a:cubicBezTo>
                    <a:pt x="9" y="3"/>
                    <a:pt x="9" y="3"/>
                    <a:pt x="8" y="4"/>
                  </a:cubicBezTo>
                  <a:cubicBezTo>
                    <a:pt x="7" y="4"/>
                    <a:pt x="7" y="4"/>
                    <a:pt x="6" y="4"/>
                  </a:cubicBezTo>
                  <a:cubicBezTo>
                    <a:pt x="5" y="5"/>
                    <a:pt x="5" y="5"/>
                    <a:pt x="5" y="6"/>
                  </a:cubicBezTo>
                  <a:cubicBezTo>
                    <a:pt x="4" y="6"/>
                    <a:pt x="4" y="7"/>
                    <a:pt x="4" y="8"/>
                  </a:cubicBezTo>
                  <a:cubicBezTo>
                    <a:pt x="4" y="9"/>
                    <a:pt x="4" y="9"/>
                    <a:pt x="5" y="10"/>
                  </a:cubicBezTo>
                  <a:cubicBezTo>
                    <a:pt x="5" y="10"/>
                    <a:pt x="5" y="11"/>
                    <a:pt x="6" y="11"/>
                  </a:cubicBezTo>
                  <a:cubicBezTo>
                    <a:pt x="6" y="12"/>
                    <a:pt x="7" y="12"/>
                    <a:pt x="8" y="12"/>
                  </a:cubicBezTo>
                  <a:cubicBezTo>
                    <a:pt x="9" y="13"/>
                    <a:pt x="10" y="13"/>
                    <a:pt x="11" y="14"/>
                  </a:cubicBezTo>
                  <a:cubicBezTo>
                    <a:pt x="12" y="14"/>
                    <a:pt x="13" y="15"/>
                    <a:pt x="14" y="15"/>
                  </a:cubicBezTo>
                  <a:cubicBezTo>
                    <a:pt x="15" y="15"/>
                    <a:pt x="16" y="16"/>
                    <a:pt x="17" y="17"/>
                  </a:cubicBezTo>
                  <a:cubicBezTo>
                    <a:pt x="18" y="17"/>
                    <a:pt x="18" y="18"/>
                    <a:pt x="19" y="19"/>
                  </a:cubicBezTo>
                  <a:cubicBezTo>
                    <a:pt x="19" y="20"/>
                    <a:pt x="19" y="21"/>
                    <a:pt x="19" y="23"/>
                  </a:cubicBezTo>
                  <a:cubicBezTo>
                    <a:pt x="19" y="25"/>
                    <a:pt x="19" y="27"/>
                    <a:pt x="17" y="28"/>
                  </a:cubicBezTo>
                  <a:cubicBezTo>
                    <a:pt x="15" y="30"/>
                    <a:pt x="12" y="30"/>
                    <a:pt x="9" y="30"/>
                  </a:cubicBezTo>
                  <a:cubicBezTo>
                    <a:pt x="6" y="30"/>
                    <a:pt x="4" y="30"/>
                    <a:pt x="3" y="30"/>
                  </a:cubicBezTo>
                  <a:cubicBezTo>
                    <a:pt x="1" y="29"/>
                    <a:pt x="0" y="29"/>
                    <a:pt x="0" y="29"/>
                  </a:cubicBezTo>
                  <a:cubicBezTo>
                    <a:pt x="1" y="26"/>
                    <a:pt x="1" y="26"/>
                    <a:pt x="1" y="26"/>
                  </a:cubicBezTo>
                  <a:cubicBezTo>
                    <a:pt x="1" y="26"/>
                    <a:pt x="1" y="26"/>
                    <a:pt x="2" y="26"/>
                  </a:cubicBezTo>
                  <a:cubicBezTo>
                    <a:pt x="2" y="26"/>
                    <a:pt x="3" y="26"/>
                    <a:pt x="3" y="26"/>
                  </a:cubicBezTo>
                  <a:cubicBezTo>
                    <a:pt x="4" y="27"/>
                    <a:pt x="5" y="27"/>
                    <a:pt x="5" y="27"/>
                  </a:cubicBezTo>
                  <a:cubicBezTo>
                    <a:pt x="6" y="27"/>
                    <a:pt x="7" y="27"/>
                    <a:pt x="9"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37"/>
            <p:cNvSpPr>
              <a:spLocks noEditPoints="1"/>
            </p:cNvSpPr>
            <p:nvPr/>
          </p:nvSpPr>
          <p:spPr bwMode="auto">
            <a:xfrm>
              <a:off x="3222626" y="4708572"/>
              <a:ext cx="44450"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2" y="7"/>
                    <a:pt x="3"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29"/>
                    <a:pt x="19" y="30"/>
                  </a:cubicBezTo>
                  <a:cubicBezTo>
                    <a:pt x="18" y="30"/>
                    <a:pt x="16" y="30"/>
                    <a:pt x="14" y="30"/>
                  </a:cubicBezTo>
                  <a:cubicBezTo>
                    <a:pt x="11" y="30"/>
                    <a:pt x="9" y="30"/>
                    <a:pt x="8" y="29"/>
                  </a:cubicBezTo>
                  <a:cubicBezTo>
                    <a:pt x="6" y="29"/>
                    <a:pt x="4" y="27"/>
                    <a:pt x="3" y="26"/>
                  </a:cubicBezTo>
                  <a:cubicBezTo>
                    <a:pt x="2" y="25"/>
                    <a:pt x="1" y="23"/>
                    <a:pt x="1" y="21"/>
                  </a:cubicBezTo>
                  <a:cubicBezTo>
                    <a:pt x="0" y="20"/>
                    <a:pt x="0" y="17"/>
                    <a:pt x="0" y="15"/>
                  </a:cubicBezTo>
                  <a:close/>
                  <a:moveTo>
                    <a:pt x="20" y="13"/>
                  </a:moveTo>
                  <a:cubicBezTo>
                    <a:pt x="20" y="10"/>
                    <a:pt x="20" y="8"/>
                    <a:pt x="18" y="6"/>
                  </a:cubicBezTo>
                  <a:cubicBezTo>
                    <a:pt x="17" y="4"/>
                    <a:pt x="15" y="3"/>
                    <a:pt x="13" y="3"/>
                  </a:cubicBezTo>
                  <a:cubicBezTo>
                    <a:pt x="11" y="3"/>
                    <a:pt x="10" y="4"/>
                    <a:pt x="9" y="4"/>
                  </a:cubicBezTo>
                  <a:cubicBezTo>
                    <a:pt x="8" y="5"/>
                    <a:pt x="7" y="5"/>
                    <a:pt x="6" y="6"/>
                  </a:cubicBezTo>
                  <a:cubicBezTo>
                    <a:pt x="6" y="7"/>
                    <a:pt x="5" y="8"/>
                    <a:pt x="5"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2" name="Group 561"/>
          <p:cNvGrpSpPr/>
          <p:nvPr/>
        </p:nvGrpSpPr>
        <p:grpSpPr>
          <a:xfrm>
            <a:off x="5532040" y="4190316"/>
            <a:ext cx="155576" cy="71438"/>
            <a:chOff x="5272089" y="4692697"/>
            <a:chExt cx="155576" cy="71438"/>
          </a:xfrm>
        </p:grpSpPr>
        <p:sp>
          <p:nvSpPr>
            <p:cNvPr id="479" name="Freeform 138"/>
            <p:cNvSpPr>
              <a:spLocks noEditPoints="1"/>
            </p:cNvSpPr>
            <p:nvPr/>
          </p:nvSpPr>
          <p:spPr bwMode="auto">
            <a:xfrm>
              <a:off x="5272089" y="4692697"/>
              <a:ext cx="47625" cy="71438"/>
            </a:xfrm>
            <a:custGeom>
              <a:avLst/>
              <a:gdLst>
                <a:gd name="T0" fmla="*/ 9 w 26"/>
                <a:gd name="T1" fmla="*/ 0 h 39"/>
                <a:gd name="T2" fmla="*/ 22 w 26"/>
                <a:gd name="T3" fmla="*/ 3 h 39"/>
                <a:gd name="T4" fmla="*/ 26 w 26"/>
                <a:gd name="T5" fmla="*/ 12 h 39"/>
                <a:gd name="T6" fmla="*/ 24 w 26"/>
                <a:gd name="T7" fmla="*/ 17 h 39"/>
                <a:gd name="T8" fmla="*/ 21 w 26"/>
                <a:gd name="T9" fmla="*/ 21 h 39"/>
                <a:gd name="T10" fmla="*/ 16 w 26"/>
                <a:gd name="T11" fmla="*/ 23 h 39"/>
                <a:gd name="T12" fmla="*/ 9 w 26"/>
                <a:gd name="T13" fmla="*/ 24 h 39"/>
                <a:gd name="T14" fmla="*/ 3 w 26"/>
                <a:gd name="T15" fmla="*/ 24 h 39"/>
                <a:gd name="T16" fmla="*/ 3 w 26"/>
                <a:gd name="T17" fmla="*/ 39 h 39"/>
                <a:gd name="T18" fmla="*/ 0 w 26"/>
                <a:gd name="T19" fmla="*/ 39 h 39"/>
                <a:gd name="T20" fmla="*/ 0 w 26"/>
                <a:gd name="T21" fmla="*/ 1 h 39"/>
                <a:gd name="T22" fmla="*/ 4 w 26"/>
                <a:gd name="T23" fmla="*/ 0 h 39"/>
                <a:gd name="T24" fmla="*/ 9 w 26"/>
                <a:gd name="T25" fmla="*/ 0 h 39"/>
                <a:gd name="T26" fmla="*/ 9 w 26"/>
                <a:gd name="T27" fmla="*/ 3 h 39"/>
                <a:gd name="T28" fmla="*/ 6 w 26"/>
                <a:gd name="T29" fmla="*/ 3 h 39"/>
                <a:gd name="T30" fmla="*/ 3 w 26"/>
                <a:gd name="T31" fmla="*/ 3 h 39"/>
                <a:gd name="T32" fmla="*/ 3 w 26"/>
                <a:gd name="T33" fmla="*/ 20 h 39"/>
                <a:gd name="T34" fmla="*/ 8 w 26"/>
                <a:gd name="T35" fmla="*/ 20 h 39"/>
                <a:gd name="T36" fmla="*/ 14 w 26"/>
                <a:gd name="T37" fmla="*/ 20 h 39"/>
                <a:gd name="T38" fmla="*/ 18 w 26"/>
                <a:gd name="T39" fmla="*/ 19 h 39"/>
                <a:gd name="T40" fmla="*/ 21 w 26"/>
                <a:gd name="T41" fmla="*/ 16 h 39"/>
                <a:gd name="T42" fmla="*/ 22 w 26"/>
                <a:gd name="T43" fmla="*/ 12 h 39"/>
                <a:gd name="T44" fmla="*/ 21 w 26"/>
                <a:gd name="T45" fmla="*/ 7 h 39"/>
                <a:gd name="T46" fmla="*/ 18 w 26"/>
                <a:gd name="T47" fmla="*/ 5 h 39"/>
                <a:gd name="T48" fmla="*/ 14 w 26"/>
                <a:gd name="T49" fmla="*/ 3 h 39"/>
                <a:gd name="T50" fmla="*/ 9 w 26"/>
                <a:gd name="T5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9" y="0"/>
                  </a:moveTo>
                  <a:cubicBezTo>
                    <a:pt x="15" y="0"/>
                    <a:pt x="19" y="1"/>
                    <a:pt x="22" y="3"/>
                  </a:cubicBezTo>
                  <a:cubicBezTo>
                    <a:pt x="24" y="5"/>
                    <a:pt x="26" y="8"/>
                    <a:pt x="26" y="12"/>
                  </a:cubicBezTo>
                  <a:cubicBezTo>
                    <a:pt x="26" y="14"/>
                    <a:pt x="25" y="16"/>
                    <a:pt x="24" y="17"/>
                  </a:cubicBezTo>
                  <a:cubicBezTo>
                    <a:pt x="24" y="19"/>
                    <a:pt x="23" y="20"/>
                    <a:pt x="21" y="21"/>
                  </a:cubicBezTo>
                  <a:cubicBezTo>
                    <a:pt x="20" y="22"/>
                    <a:pt x="18" y="23"/>
                    <a:pt x="16" y="23"/>
                  </a:cubicBezTo>
                  <a:cubicBezTo>
                    <a:pt x="14" y="24"/>
                    <a:pt x="11" y="24"/>
                    <a:pt x="9" y="24"/>
                  </a:cubicBezTo>
                  <a:cubicBezTo>
                    <a:pt x="3" y="24"/>
                    <a:pt x="3" y="24"/>
                    <a:pt x="3" y="24"/>
                  </a:cubicBezTo>
                  <a:cubicBezTo>
                    <a:pt x="3" y="39"/>
                    <a:pt x="3" y="39"/>
                    <a:pt x="3" y="39"/>
                  </a:cubicBezTo>
                  <a:cubicBezTo>
                    <a:pt x="0" y="39"/>
                    <a:pt x="0" y="39"/>
                    <a:pt x="0" y="39"/>
                  </a:cubicBezTo>
                  <a:cubicBezTo>
                    <a:pt x="0" y="1"/>
                    <a:pt x="0" y="1"/>
                    <a:pt x="0" y="1"/>
                  </a:cubicBezTo>
                  <a:cubicBezTo>
                    <a:pt x="1" y="0"/>
                    <a:pt x="2" y="0"/>
                    <a:pt x="4" y="0"/>
                  </a:cubicBezTo>
                  <a:cubicBezTo>
                    <a:pt x="6" y="0"/>
                    <a:pt x="8" y="0"/>
                    <a:pt x="9" y="0"/>
                  </a:cubicBezTo>
                  <a:close/>
                  <a:moveTo>
                    <a:pt x="9" y="3"/>
                  </a:moveTo>
                  <a:cubicBezTo>
                    <a:pt x="8" y="3"/>
                    <a:pt x="7" y="3"/>
                    <a:pt x="6" y="3"/>
                  </a:cubicBezTo>
                  <a:cubicBezTo>
                    <a:pt x="5" y="3"/>
                    <a:pt x="4" y="3"/>
                    <a:pt x="3" y="3"/>
                  </a:cubicBezTo>
                  <a:cubicBezTo>
                    <a:pt x="3" y="20"/>
                    <a:pt x="3" y="20"/>
                    <a:pt x="3" y="20"/>
                  </a:cubicBezTo>
                  <a:cubicBezTo>
                    <a:pt x="8" y="20"/>
                    <a:pt x="8" y="20"/>
                    <a:pt x="8" y="20"/>
                  </a:cubicBezTo>
                  <a:cubicBezTo>
                    <a:pt x="10" y="20"/>
                    <a:pt x="12" y="20"/>
                    <a:pt x="14" y="20"/>
                  </a:cubicBezTo>
                  <a:cubicBezTo>
                    <a:pt x="15" y="20"/>
                    <a:pt x="17" y="19"/>
                    <a:pt x="18" y="19"/>
                  </a:cubicBezTo>
                  <a:cubicBezTo>
                    <a:pt x="19" y="18"/>
                    <a:pt x="20" y="17"/>
                    <a:pt x="21" y="16"/>
                  </a:cubicBezTo>
                  <a:cubicBezTo>
                    <a:pt x="21" y="15"/>
                    <a:pt x="22" y="13"/>
                    <a:pt x="22" y="12"/>
                  </a:cubicBezTo>
                  <a:cubicBezTo>
                    <a:pt x="22" y="10"/>
                    <a:pt x="21" y="8"/>
                    <a:pt x="21" y="7"/>
                  </a:cubicBezTo>
                  <a:cubicBezTo>
                    <a:pt x="20" y="6"/>
                    <a:pt x="19" y="5"/>
                    <a:pt x="18" y="5"/>
                  </a:cubicBezTo>
                  <a:cubicBezTo>
                    <a:pt x="17" y="4"/>
                    <a:pt x="15" y="4"/>
                    <a:pt x="14" y="3"/>
                  </a:cubicBezTo>
                  <a:cubicBezTo>
                    <a:pt x="12" y="3"/>
                    <a:pt x="11" y="3"/>
                    <a:pt x="9" y="3"/>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39"/>
            <p:cNvSpPr>
              <a:spLocks noEditPoints="1"/>
            </p:cNvSpPr>
            <p:nvPr/>
          </p:nvSpPr>
          <p:spPr bwMode="auto">
            <a:xfrm>
              <a:off x="5327652" y="4708572"/>
              <a:ext cx="42863" cy="55563"/>
            </a:xfrm>
            <a:custGeom>
              <a:avLst/>
              <a:gdLst>
                <a:gd name="T0" fmla="*/ 0 w 24"/>
                <a:gd name="T1" fmla="*/ 15 h 30"/>
                <a:gd name="T2" fmla="*/ 1 w 24"/>
                <a:gd name="T3" fmla="*/ 9 h 30"/>
                <a:gd name="T4" fmla="*/ 3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3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3"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3" y="16"/>
                    <a:pt x="3" y="16"/>
                    <a:pt x="3" y="16"/>
                  </a:cubicBezTo>
                  <a:cubicBezTo>
                    <a:pt x="3" y="20"/>
                    <a:pt x="4" y="22"/>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29"/>
                    <a:pt x="19" y="30"/>
                  </a:cubicBezTo>
                  <a:cubicBezTo>
                    <a:pt x="17" y="30"/>
                    <a:pt x="16" y="30"/>
                    <a:pt x="14" y="30"/>
                  </a:cubicBezTo>
                  <a:cubicBezTo>
                    <a:pt x="11" y="30"/>
                    <a:pt x="9" y="30"/>
                    <a:pt x="7" y="29"/>
                  </a:cubicBezTo>
                  <a:cubicBezTo>
                    <a:pt x="5"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3"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40"/>
            <p:cNvSpPr>
              <a:spLocks/>
            </p:cNvSpPr>
            <p:nvPr/>
          </p:nvSpPr>
          <p:spPr bwMode="auto">
            <a:xfrm>
              <a:off x="5386390" y="4708572"/>
              <a:ext cx="41275" cy="55563"/>
            </a:xfrm>
            <a:custGeom>
              <a:avLst/>
              <a:gdLst>
                <a:gd name="T0" fmla="*/ 0 w 23"/>
                <a:gd name="T1" fmla="*/ 2 h 30"/>
                <a:gd name="T2" fmla="*/ 4 w 23"/>
                <a:gd name="T3" fmla="*/ 1 h 30"/>
                <a:gd name="T4" fmla="*/ 11 w 23"/>
                <a:gd name="T5" fmla="*/ 0 h 30"/>
                <a:gd name="T6" fmla="*/ 17 w 23"/>
                <a:gd name="T7" fmla="*/ 1 h 30"/>
                <a:gd name="T8" fmla="*/ 20 w 23"/>
                <a:gd name="T9" fmla="*/ 4 h 30"/>
                <a:gd name="T10" fmla="*/ 22 w 23"/>
                <a:gd name="T11" fmla="*/ 8 h 30"/>
                <a:gd name="T12" fmla="*/ 23 w 23"/>
                <a:gd name="T13" fmla="*/ 14 h 30"/>
                <a:gd name="T14" fmla="*/ 23 w 23"/>
                <a:gd name="T15" fmla="*/ 30 h 30"/>
                <a:gd name="T16" fmla="*/ 19 w 23"/>
                <a:gd name="T17" fmla="*/ 30 h 30"/>
                <a:gd name="T18" fmla="*/ 19 w 23"/>
                <a:gd name="T19" fmla="*/ 15 h 30"/>
                <a:gd name="T20" fmla="*/ 18 w 23"/>
                <a:gd name="T21" fmla="*/ 10 h 30"/>
                <a:gd name="T22" fmla="*/ 17 w 23"/>
                <a:gd name="T23" fmla="*/ 6 h 30"/>
                <a:gd name="T24" fmla="*/ 14 w 23"/>
                <a:gd name="T25" fmla="*/ 4 h 30"/>
                <a:gd name="T26" fmla="*/ 10 w 23"/>
                <a:gd name="T27" fmla="*/ 4 h 30"/>
                <a:gd name="T28" fmla="*/ 6 w 23"/>
                <a:gd name="T29" fmla="*/ 4 h 30"/>
                <a:gd name="T30" fmla="*/ 4 w 23"/>
                <a:gd name="T31" fmla="*/ 4 h 30"/>
                <a:gd name="T32" fmla="*/ 4 w 23"/>
                <a:gd name="T33" fmla="*/ 30 h 30"/>
                <a:gd name="T34" fmla="*/ 0 w 23"/>
                <a:gd name="T35" fmla="*/ 30 h 30"/>
                <a:gd name="T36" fmla="*/ 0 w 23"/>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0">
                  <a:moveTo>
                    <a:pt x="0" y="2"/>
                  </a:moveTo>
                  <a:cubicBezTo>
                    <a:pt x="1" y="2"/>
                    <a:pt x="2" y="1"/>
                    <a:pt x="4" y="1"/>
                  </a:cubicBezTo>
                  <a:cubicBezTo>
                    <a:pt x="6" y="0"/>
                    <a:pt x="8" y="0"/>
                    <a:pt x="11" y="0"/>
                  </a:cubicBezTo>
                  <a:cubicBezTo>
                    <a:pt x="13" y="0"/>
                    <a:pt x="15" y="1"/>
                    <a:pt x="17" y="1"/>
                  </a:cubicBezTo>
                  <a:cubicBezTo>
                    <a:pt x="18" y="2"/>
                    <a:pt x="19" y="3"/>
                    <a:pt x="20" y="4"/>
                  </a:cubicBezTo>
                  <a:cubicBezTo>
                    <a:pt x="21" y="5"/>
                    <a:pt x="22" y="7"/>
                    <a:pt x="22" y="8"/>
                  </a:cubicBezTo>
                  <a:cubicBezTo>
                    <a:pt x="22" y="10"/>
                    <a:pt x="23" y="12"/>
                    <a:pt x="23" y="14"/>
                  </a:cubicBezTo>
                  <a:cubicBezTo>
                    <a:pt x="23" y="30"/>
                    <a:pt x="23" y="30"/>
                    <a:pt x="23" y="30"/>
                  </a:cubicBezTo>
                  <a:cubicBezTo>
                    <a:pt x="19" y="30"/>
                    <a:pt x="19" y="30"/>
                    <a:pt x="19" y="30"/>
                  </a:cubicBezTo>
                  <a:cubicBezTo>
                    <a:pt x="19" y="15"/>
                    <a:pt x="19" y="15"/>
                    <a:pt x="19" y="15"/>
                  </a:cubicBezTo>
                  <a:cubicBezTo>
                    <a:pt x="19" y="13"/>
                    <a:pt x="19" y="11"/>
                    <a:pt x="18" y="10"/>
                  </a:cubicBezTo>
                  <a:cubicBezTo>
                    <a:pt x="18" y="8"/>
                    <a:pt x="18" y="7"/>
                    <a:pt x="17" y="6"/>
                  </a:cubicBezTo>
                  <a:cubicBezTo>
                    <a:pt x="16" y="5"/>
                    <a:pt x="16" y="5"/>
                    <a:pt x="14" y="4"/>
                  </a:cubicBezTo>
                  <a:cubicBezTo>
                    <a:pt x="13" y="4"/>
                    <a:pt x="12" y="4"/>
                    <a:pt x="10" y="4"/>
                  </a:cubicBezTo>
                  <a:cubicBezTo>
                    <a:pt x="9" y="4"/>
                    <a:pt x="7" y="4"/>
                    <a:pt x="6" y="4"/>
                  </a:cubicBezTo>
                  <a:cubicBezTo>
                    <a:pt x="5" y="4"/>
                    <a:pt x="4" y="4"/>
                    <a:pt x="4" y="4"/>
                  </a:cubicBezTo>
                  <a:cubicBezTo>
                    <a:pt x="4" y="30"/>
                    <a:pt x="4" y="30"/>
                    <a:pt x="4"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3" name="Group 562"/>
          <p:cNvGrpSpPr/>
          <p:nvPr/>
        </p:nvGrpSpPr>
        <p:grpSpPr>
          <a:xfrm>
            <a:off x="6667898" y="4190316"/>
            <a:ext cx="282575" cy="80963"/>
            <a:chOff x="6346827" y="4683172"/>
            <a:chExt cx="282575" cy="80963"/>
          </a:xfrm>
        </p:grpSpPr>
        <p:sp>
          <p:nvSpPr>
            <p:cNvPr id="482" name="Freeform 141"/>
            <p:cNvSpPr>
              <a:spLocks/>
            </p:cNvSpPr>
            <p:nvPr/>
          </p:nvSpPr>
          <p:spPr bwMode="auto">
            <a:xfrm>
              <a:off x="6346827" y="4692697"/>
              <a:ext cx="39688" cy="71438"/>
            </a:xfrm>
            <a:custGeom>
              <a:avLst/>
              <a:gdLst>
                <a:gd name="T0" fmla="*/ 0 w 25"/>
                <a:gd name="T1" fmla="*/ 45 h 45"/>
                <a:gd name="T2" fmla="*/ 0 w 25"/>
                <a:gd name="T3" fmla="*/ 0 h 45"/>
                <a:gd name="T4" fmla="*/ 25 w 25"/>
                <a:gd name="T5" fmla="*/ 0 h 45"/>
                <a:gd name="T6" fmla="*/ 25 w 25"/>
                <a:gd name="T7" fmla="*/ 3 h 45"/>
                <a:gd name="T8" fmla="*/ 4 w 25"/>
                <a:gd name="T9" fmla="*/ 3 h 45"/>
                <a:gd name="T10" fmla="*/ 4 w 25"/>
                <a:gd name="T11" fmla="*/ 20 h 45"/>
                <a:gd name="T12" fmla="*/ 23 w 25"/>
                <a:gd name="T13" fmla="*/ 20 h 45"/>
                <a:gd name="T14" fmla="*/ 23 w 25"/>
                <a:gd name="T15" fmla="*/ 23 h 45"/>
                <a:gd name="T16" fmla="*/ 4 w 25"/>
                <a:gd name="T17" fmla="*/ 23 h 45"/>
                <a:gd name="T18" fmla="*/ 4 w 25"/>
                <a:gd name="T19" fmla="*/ 45 h 45"/>
                <a:gd name="T20" fmla="*/ 0 w 2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5">
                  <a:moveTo>
                    <a:pt x="0" y="45"/>
                  </a:moveTo>
                  <a:lnTo>
                    <a:pt x="0" y="0"/>
                  </a:lnTo>
                  <a:lnTo>
                    <a:pt x="25" y="0"/>
                  </a:lnTo>
                  <a:lnTo>
                    <a:pt x="25" y="3"/>
                  </a:lnTo>
                  <a:lnTo>
                    <a:pt x="4" y="3"/>
                  </a:lnTo>
                  <a:lnTo>
                    <a:pt x="4" y="20"/>
                  </a:lnTo>
                  <a:lnTo>
                    <a:pt x="23" y="20"/>
                  </a:lnTo>
                  <a:lnTo>
                    <a:pt x="23" y="23"/>
                  </a:lnTo>
                  <a:lnTo>
                    <a:pt x="4" y="23"/>
                  </a:lnTo>
                  <a:lnTo>
                    <a:pt x="4" y="45"/>
                  </a:lnTo>
                  <a:lnTo>
                    <a:pt x="0" y="4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142"/>
            <p:cNvSpPr>
              <a:spLocks noEditPoints="1"/>
            </p:cNvSpPr>
            <p:nvPr/>
          </p:nvSpPr>
          <p:spPr bwMode="auto">
            <a:xfrm>
              <a:off x="6396040" y="4708572"/>
              <a:ext cx="47625" cy="55563"/>
            </a:xfrm>
            <a:custGeom>
              <a:avLst/>
              <a:gdLst>
                <a:gd name="T0" fmla="*/ 26 w 26"/>
                <a:gd name="T1" fmla="*/ 15 h 30"/>
                <a:gd name="T2" fmla="*/ 25 w 26"/>
                <a:gd name="T3" fmla="*/ 22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2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5 w 26"/>
                <a:gd name="T31" fmla="*/ 9 h 30"/>
                <a:gd name="T32" fmla="*/ 26 w 26"/>
                <a:gd name="T33" fmla="*/ 15 h 30"/>
                <a:gd name="T34" fmla="*/ 23 w 26"/>
                <a:gd name="T35" fmla="*/ 15 h 30"/>
                <a:gd name="T36" fmla="*/ 20 w 26"/>
                <a:gd name="T37" fmla="*/ 7 h 30"/>
                <a:gd name="T38" fmla="*/ 13 w 26"/>
                <a:gd name="T39" fmla="*/ 3 h 30"/>
                <a:gd name="T40" fmla="*/ 6 w 26"/>
                <a:gd name="T41" fmla="*/ 7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8"/>
                    <a:pt x="26" y="20"/>
                    <a:pt x="25" y="22"/>
                  </a:cubicBezTo>
                  <a:cubicBezTo>
                    <a:pt x="25" y="23"/>
                    <a:pt x="24" y="25"/>
                    <a:pt x="23" y="26"/>
                  </a:cubicBezTo>
                  <a:cubicBezTo>
                    <a:pt x="22" y="28"/>
                    <a:pt x="20" y="29"/>
                    <a:pt x="19" y="29"/>
                  </a:cubicBezTo>
                  <a:cubicBezTo>
                    <a:pt x="17" y="30"/>
                    <a:pt x="15" y="30"/>
                    <a:pt x="13" y="30"/>
                  </a:cubicBezTo>
                  <a:cubicBezTo>
                    <a:pt x="11" y="30"/>
                    <a:pt x="9" y="30"/>
                    <a:pt x="8" y="29"/>
                  </a:cubicBezTo>
                  <a:cubicBezTo>
                    <a:pt x="6" y="29"/>
                    <a:pt x="5" y="28"/>
                    <a:pt x="4" y="26"/>
                  </a:cubicBezTo>
                  <a:cubicBezTo>
                    <a:pt x="3" y="25"/>
                    <a:pt x="2" y="23"/>
                    <a:pt x="1" y="22"/>
                  </a:cubicBezTo>
                  <a:cubicBezTo>
                    <a:pt x="0" y="20"/>
                    <a:pt x="0" y="18"/>
                    <a:pt x="0" y="15"/>
                  </a:cubicBezTo>
                  <a:cubicBezTo>
                    <a:pt x="0" y="13"/>
                    <a:pt x="0" y="11"/>
                    <a:pt x="1" y="9"/>
                  </a:cubicBezTo>
                  <a:cubicBezTo>
                    <a:pt x="2" y="7"/>
                    <a:pt x="3" y="6"/>
                    <a:pt x="4" y="4"/>
                  </a:cubicBezTo>
                  <a:cubicBezTo>
                    <a:pt x="5" y="3"/>
                    <a:pt x="6" y="2"/>
                    <a:pt x="8" y="1"/>
                  </a:cubicBezTo>
                  <a:cubicBezTo>
                    <a:pt x="9" y="1"/>
                    <a:pt x="11" y="0"/>
                    <a:pt x="13" y="0"/>
                  </a:cubicBezTo>
                  <a:cubicBezTo>
                    <a:pt x="15" y="0"/>
                    <a:pt x="17" y="1"/>
                    <a:pt x="19" y="1"/>
                  </a:cubicBezTo>
                  <a:cubicBezTo>
                    <a:pt x="20" y="2"/>
                    <a:pt x="22" y="3"/>
                    <a:pt x="23" y="4"/>
                  </a:cubicBezTo>
                  <a:cubicBezTo>
                    <a:pt x="24" y="6"/>
                    <a:pt x="25" y="7"/>
                    <a:pt x="25" y="9"/>
                  </a:cubicBezTo>
                  <a:cubicBezTo>
                    <a:pt x="26" y="11"/>
                    <a:pt x="26" y="13"/>
                    <a:pt x="26" y="15"/>
                  </a:cubicBezTo>
                  <a:close/>
                  <a:moveTo>
                    <a:pt x="23" y="15"/>
                  </a:moveTo>
                  <a:cubicBezTo>
                    <a:pt x="23" y="12"/>
                    <a:pt x="22" y="9"/>
                    <a:pt x="20" y="7"/>
                  </a:cubicBezTo>
                  <a:cubicBezTo>
                    <a:pt x="18" y="5"/>
                    <a:pt x="16" y="3"/>
                    <a:pt x="13" y="3"/>
                  </a:cubicBezTo>
                  <a:cubicBezTo>
                    <a:pt x="10" y="3"/>
                    <a:pt x="8" y="5"/>
                    <a:pt x="6" y="7"/>
                  </a:cubicBezTo>
                  <a:cubicBezTo>
                    <a:pt x="5" y="9"/>
                    <a:pt x="4" y="12"/>
                    <a:pt x="4" y="15"/>
                  </a:cubicBezTo>
                  <a:cubicBezTo>
                    <a:pt x="4" y="19"/>
                    <a:pt x="5" y="22"/>
                    <a:pt x="6" y="24"/>
                  </a:cubicBezTo>
                  <a:cubicBezTo>
                    <a:pt x="8" y="26"/>
                    <a:pt x="10" y="27"/>
                    <a:pt x="13" y="27"/>
                  </a:cubicBezTo>
                  <a:cubicBezTo>
                    <a:pt x="16" y="27"/>
                    <a:pt x="18"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43"/>
            <p:cNvSpPr>
              <a:spLocks/>
            </p:cNvSpPr>
            <p:nvPr/>
          </p:nvSpPr>
          <p:spPr bwMode="auto">
            <a:xfrm>
              <a:off x="6457952" y="4683172"/>
              <a:ext cx="14288" cy="80963"/>
            </a:xfrm>
            <a:custGeom>
              <a:avLst/>
              <a:gdLst>
                <a:gd name="T0" fmla="*/ 8 w 8"/>
                <a:gd name="T1" fmla="*/ 44 h 44"/>
                <a:gd name="T2" fmla="*/ 4 w 8"/>
                <a:gd name="T3" fmla="*/ 44 h 44"/>
                <a:gd name="T4" fmla="*/ 2 w 8"/>
                <a:gd name="T5" fmla="*/ 43 h 44"/>
                <a:gd name="T6" fmla="*/ 1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6" y="44"/>
                    <a:pt x="5" y="44"/>
                    <a:pt x="4" y="44"/>
                  </a:cubicBezTo>
                  <a:cubicBezTo>
                    <a:pt x="4" y="44"/>
                    <a:pt x="3" y="43"/>
                    <a:pt x="2" y="43"/>
                  </a:cubicBezTo>
                  <a:cubicBezTo>
                    <a:pt x="2" y="42"/>
                    <a:pt x="1" y="41"/>
                    <a:pt x="1" y="40"/>
                  </a:cubicBezTo>
                  <a:cubicBezTo>
                    <a:pt x="0"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5" y="40"/>
                    <a:pt x="5" y="40"/>
                  </a:cubicBezTo>
                  <a:cubicBezTo>
                    <a:pt x="5" y="40"/>
                    <a:pt x="6" y="41"/>
                    <a:pt x="6" y="41"/>
                  </a:cubicBezTo>
                  <a:cubicBezTo>
                    <a:pt x="7" y="41"/>
                    <a:pt x="7" y="41"/>
                    <a:pt x="8" y="41"/>
                  </a:cubicBezTo>
                  <a:lnTo>
                    <a:pt x="8"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144"/>
            <p:cNvSpPr>
              <a:spLocks noEditPoints="1"/>
            </p:cNvSpPr>
            <p:nvPr/>
          </p:nvSpPr>
          <p:spPr bwMode="auto">
            <a:xfrm>
              <a:off x="6481765" y="4683172"/>
              <a:ext cx="46038" cy="80963"/>
            </a:xfrm>
            <a:custGeom>
              <a:avLst/>
              <a:gdLst>
                <a:gd name="T0" fmla="*/ 25 w 25"/>
                <a:gd name="T1" fmla="*/ 43 h 44"/>
                <a:gd name="T2" fmla="*/ 20 w 25"/>
                <a:gd name="T3" fmla="*/ 44 h 44"/>
                <a:gd name="T4" fmla="*/ 14 w 25"/>
                <a:gd name="T5" fmla="*/ 44 h 44"/>
                <a:gd name="T6" fmla="*/ 8 w 25"/>
                <a:gd name="T7" fmla="*/ 43 h 44"/>
                <a:gd name="T8" fmla="*/ 4 w 25"/>
                <a:gd name="T9" fmla="*/ 40 h 44"/>
                <a:gd name="T10" fmla="*/ 1 w 25"/>
                <a:gd name="T11" fmla="*/ 36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7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8 h 44"/>
                <a:gd name="T40" fmla="*/ 13 w 25"/>
                <a:gd name="T41" fmla="*/ 18 h 44"/>
                <a:gd name="T42" fmla="*/ 9 w 25"/>
                <a:gd name="T43" fmla="*/ 18 h 44"/>
                <a:gd name="T44" fmla="*/ 6 w 25"/>
                <a:gd name="T45" fmla="*/ 21 h 44"/>
                <a:gd name="T46" fmla="*/ 4 w 25"/>
                <a:gd name="T47" fmla="*/ 25 h 44"/>
                <a:gd name="T48" fmla="*/ 4 w 25"/>
                <a:gd name="T49" fmla="*/ 29 h 44"/>
                <a:gd name="T50" fmla="*/ 7 w 25"/>
                <a:gd name="T51" fmla="*/ 38 h 44"/>
                <a:gd name="T52" fmla="*/ 14 w 25"/>
                <a:gd name="T53" fmla="*/ 41 h 44"/>
                <a:gd name="T54" fmla="*/ 18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4" y="43"/>
                    <a:pt x="22" y="44"/>
                    <a:pt x="20" y="44"/>
                  </a:cubicBezTo>
                  <a:cubicBezTo>
                    <a:pt x="19" y="44"/>
                    <a:pt x="17" y="44"/>
                    <a:pt x="14" y="44"/>
                  </a:cubicBezTo>
                  <a:cubicBezTo>
                    <a:pt x="12" y="44"/>
                    <a:pt x="10" y="44"/>
                    <a:pt x="8" y="43"/>
                  </a:cubicBezTo>
                  <a:cubicBezTo>
                    <a:pt x="7" y="43"/>
                    <a:pt x="5" y="42"/>
                    <a:pt x="4" y="40"/>
                  </a:cubicBezTo>
                  <a:cubicBezTo>
                    <a:pt x="3" y="39"/>
                    <a:pt x="2" y="38"/>
                    <a:pt x="1" y="36"/>
                  </a:cubicBezTo>
                  <a:cubicBezTo>
                    <a:pt x="0" y="34"/>
                    <a:pt x="0" y="32"/>
                    <a:pt x="0" y="29"/>
                  </a:cubicBezTo>
                  <a:cubicBezTo>
                    <a:pt x="0" y="27"/>
                    <a:pt x="0" y="25"/>
                    <a:pt x="1" y="23"/>
                  </a:cubicBezTo>
                  <a:cubicBezTo>
                    <a:pt x="1" y="21"/>
                    <a:pt x="2" y="20"/>
                    <a:pt x="3" y="18"/>
                  </a:cubicBezTo>
                  <a:cubicBezTo>
                    <a:pt x="4" y="17"/>
                    <a:pt x="6" y="16"/>
                    <a:pt x="7" y="15"/>
                  </a:cubicBezTo>
                  <a:cubicBezTo>
                    <a:pt x="9" y="15"/>
                    <a:pt x="11" y="14"/>
                    <a:pt x="13" y="14"/>
                  </a:cubicBezTo>
                  <a:cubicBezTo>
                    <a:pt x="15" y="14"/>
                    <a:pt x="17" y="14"/>
                    <a:pt x="18" y="15"/>
                  </a:cubicBezTo>
                  <a:cubicBezTo>
                    <a:pt x="19" y="16"/>
                    <a:pt x="20" y="16"/>
                    <a:pt x="21" y="17"/>
                  </a:cubicBezTo>
                  <a:cubicBezTo>
                    <a:pt x="21" y="1"/>
                    <a:pt x="21" y="1"/>
                    <a:pt x="21" y="1"/>
                  </a:cubicBezTo>
                  <a:cubicBezTo>
                    <a:pt x="25" y="0"/>
                    <a:pt x="25" y="0"/>
                    <a:pt x="25" y="0"/>
                  </a:cubicBezTo>
                  <a:lnTo>
                    <a:pt x="25" y="43"/>
                  </a:lnTo>
                  <a:close/>
                  <a:moveTo>
                    <a:pt x="21" y="20"/>
                  </a:moveTo>
                  <a:cubicBezTo>
                    <a:pt x="21" y="20"/>
                    <a:pt x="20" y="20"/>
                    <a:pt x="20" y="19"/>
                  </a:cubicBezTo>
                  <a:cubicBezTo>
                    <a:pt x="19" y="19"/>
                    <a:pt x="19" y="19"/>
                    <a:pt x="18" y="18"/>
                  </a:cubicBezTo>
                  <a:cubicBezTo>
                    <a:pt x="17" y="18"/>
                    <a:pt x="17" y="18"/>
                    <a:pt x="16" y="18"/>
                  </a:cubicBezTo>
                  <a:cubicBezTo>
                    <a:pt x="15" y="18"/>
                    <a:pt x="14" y="18"/>
                    <a:pt x="13" y="18"/>
                  </a:cubicBezTo>
                  <a:cubicBezTo>
                    <a:pt x="11" y="18"/>
                    <a:pt x="10" y="18"/>
                    <a:pt x="9" y="18"/>
                  </a:cubicBezTo>
                  <a:cubicBezTo>
                    <a:pt x="8" y="19"/>
                    <a:pt x="7" y="20"/>
                    <a:pt x="6" y="21"/>
                  </a:cubicBezTo>
                  <a:cubicBezTo>
                    <a:pt x="5" y="22"/>
                    <a:pt x="5" y="23"/>
                    <a:pt x="4" y="25"/>
                  </a:cubicBezTo>
                  <a:cubicBezTo>
                    <a:pt x="4" y="26"/>
                    <a:pt x="4" y="28"/>
                    <a:pt x="4" y="29"/>
                  </a:cubicBezTo>
                  <a:cubicBezTo>
                    <a:pt x="4" y="33"/>
                    <a:pt x="5" y="36"/>
                    <a:pt x="7" y="38"/>
                  </a:cubicBezTo>
                  <a:cubicBezTo>
                    <a:pt x="8" y="40"/>
                    <a:pt x="11" y="41"/>
                    <a:pt x="14" y="41"/>
                  </a:cubicBezTo>
                  <a:cubicBezTo>
                    <a:pt x="16" y="41"/>
                    <a:pt x="17" y="41"/>
                    <a:pt x="18" y="41"/>
                  </a:cubicBezTo>
                  <a:cubicBezTo>
                    <a:pt x="20" y="41"/>
                    <a:pt x="20" y="41"/>
                    <a:pt x="21" y="40"/>
                  </a:cubicBezTo>
                  <a:lnTo>
                    <a:pt x="21"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145"/>
            <p:cNvSpPr>
              <a:spLocks noEditPoints="1"/>
            </p:cNvSpPr>
            <p:nvPr/>
          </p:nvSpPr>
          <p:spPr bwMode="auto">
            <a:xfrm>
              <a:off x="6540502" y="4708572"/>
              <a:ext cx="46038" cy="55563"/>
            </a:xfrm>
            <a:custGeom>
              <a:avLst/>
              <a:gdLst>
                <a:gd name="T0" fmla="*/ 0 w 25"/>
                <a:gd name="T1" fmla="*/ 15 h 30"/>
                <a:gd name="T2" fmla="*/ 2 w 25"/>
                <a:gd name="T3" fmla="*/ 9 h 30"/>
                <a:gd name="T4" fmla="*/ 4 w 25"/>
                <a:gd name="T5" fmla="*/ 4 h 30"/>
                <a:gd name="T6" fmla="*/ 8 w 25"/>
                <a:gd name="T7" fmla="*/ 1 h 30"/>
                <a:gd name="T8" fmla="*/ 13 w 25"/>
                <a:gd name="T9" fmla="*/ 0 h 30"/>
                <a:gd name="T10" fmla="*/ 22 w 25"/>
                <a:gd name="T11" fmla="*/ 4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20 w 25"/>
                <a:gd name="T25" fmla="*/ 27 h 30"/>
                <a:gd name="T26" fmla="*/ 22 w 25"/>
                <a:gd name="T27" fmla="*/ 26 h 30"/>
                <a:gd name="T28" fmla="*/ 23 w 25"/>
                <a:gd name="T29" fmla="*/ 29 h 30"/>
                <a:gd name="T30" fmla="*/ 20 w 25"/>
                <a:gd name="T31" fmla="*/ 30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3"/>
                    <a:pt x="1" y="11"/>
                    <a:pt x="2" y="9"/>
                  </a:cubicBezTo>
                  <a:cubicBezTo>
                    <a:pt x="2" y="7"/>
                    <a:pt x="3" y="5"/>
                    <a:pt x="4" y="4"/>
                  </a:cubicBezTo>
                  <a:cubicBezTo>
                    <a:pt x="6" y="3"/>
                    <a:pt x="7" y="2"/>
                    <a:pt x="8" y="1"/>
                  </a:cubicBezTo>
                  <a:cubicBezTo>
                    <a:pt x="10" y="0"/>
                    <a:pt x="12" y="0"/>
                    <a:pt x="13" y="0"/>
                  </a:cubicBezTo>
                  <a:cubicBezTo>
                    <a:pt x="17" y="0"/>
                    <a:pt x="20" y="1"/>
                    <a:pt x="22" y="4"/>
                  </a:cubicBezTo>
                  <a:cubicBezTo>
                    <a:pt x="24" y="6"/>
                    <a:pt x="25" y="10"/>
                    <a:pt x="25" y="14"/>
                  </a:cubicBezTo>
                  <a:cubicBezTo>
                    <a:pt x="25" y="15"/>
                    <a:pt x="25" y="15"/>
                    <a:pt x="25" y="15"/>
                  </a:cubicBezTo>
                  <a:cubicBezTo>
                    <a:pt x="25" y="16"/>
                    <a:pt x="25" y="16"/>
                    <a:pt x="25" y="16"/>
                  </a:cubicBezTo>
                  <a:cubicBezTo>
                    <a:pt x="4" y="16"/>
                    <a:pt x="4" y="16"/>
                    <a:pt x="4" y="16"/>
                  </a:cubicBezTo>
                  <a:cubicBezTo>
                    <a:pt x="4" y="20"/>
                    <a:pt x="5" y="22"/>
                    <a:pt x="7" y="24"/>
                  </a:cubicBezTo>
                  <a:cubicBezTo>
                    <a:pt x="9" y="26"/>
                    <a:pt x="11" y="27"/>
                    <a:pt x="15" y="27"/>
                  </a:cubicBezTo>
                  <a:cubicBezTo>
                    <a:pt x="17" y="27"/>
                    <a:pt x="18" y="27"/>
                    <a:pt x="20" y="27"/>
                  </a:cubicBezTo>
                  <a:cubicBezTo>
                    <a:pt x="21" y="26"/>
                    <a:pt x="22" y="26"/>
                    <a:pt x="22" y="26"/>
                  </a:cubicBezTo>
                  <a:cubicBezTo>
                    <a:pt x="23" y="29"/>
                    <a:pt x="23" y="29"/>
                    <a:pt x="23" y="29"/>
                  </a:cubicBezTo>
                  <a:cubicBezTo>
                    <a:pt x="22" y="29"/>
                    <a:pt x="21" y="29"/>
                    <a:pt x="20" y="30"/>
                  </a:cubicBezTo>
                  <a:cubicBezTo>
                    <a:pt x="18" y="30"/>
                    <a:pt x="17" y="30"/>
                    <a:pt x="15" y="30"/>
                  </a:cubicBezTo>
                  <a:cubicBezTo>
                    <a:pt x="12" y="30"/>
                    <a:pt x="10" y="30"/>
                    <a:pt x="8" y="29"/>
                  </a:cubicBezTo>
                  <a:cubicBezTo>
                    <a:pt x="6" y="29"/>
                    <a:pt x="5" y="27"/>
                    <a:pt x="4" y="26"/>
                  </a:cubicBezTo>
                  <a:cubicBezTo>
                    <a:pt x="3" y="25"/>
                    <a:pt x="2" y="23"/>
                    <a:pt x="1" y="21"/>
                  </a:cubicBezTo>
                  <a:cubicBezTo>
                    <a:pt x="1" y="20"/>
                    <a:pt x="0" y="17"/>
                    <a:pt x="0" y="15"/>
                  </a:cubicBezTo>
                  <a:close/>
                  <a:moveTo>
                    <a:pt x="21" y="13"/>
                  </a:moveTo>
                  <a:cubicBezTo>
                    <a:pt x="21" y="10"/>
                    <a:pt x="20" y="8"/>
                    <a:pt x="19" y="6"/>
                  </a:cubicBezTo>
                  <a:cubicBezTo>
                    <a:pt x="18" y="4"/>
                    <a:pt x="16" y="3"/>
                    <a:pt x="13" y="3"/>
                  </a:cubicBezTo>
                  <a:cubicBezTo>
                    <a:pt x="12" y="3"/>
                    <a:pt x="11" y="4"/>
                    <a:pt x="10" y="4"/>
                  </a:cubicBezTo>
                  <a:cubicBezTo>
                    <a:pt x="9" y="5"/>
                    <a:pt x="8" y="5"/>
                    <a:pt x="7" y="6"/>
                  </a:cubicBezTo>
                  <a:cubicBezTo>
                    <a:pt x="6" y="7"/>
                    <a:pt x="6" y="8"/>
                    <a:pt x="5" y="9"/>
                  </a:cubicBezTo>
                  <a:cubicBezTo>
                    <a:pt x="5" y="10"/>
                    <a:pt x="5"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146"/>
            <p:cNvSpPr>
              <a:spLocks/>
            </p:cNvSpPr>
            <p:nvPr/>
          </p:nvSpPr>
          <p:spPr bwMode="auto">
            <a:xfrm>
              <a:off x="6600827" y="4708572"/>
              <a:ext cx="28575"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4 h 30"/>
                <a:gd name="T12" fmla="*/ 5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4"/>
                    <a:pt x="9" y="4"/>
                  </a:cubicBezTo>
                  <a:cubicBezTo>
                    <a:pt x="8" y="4"/>
                    <a:pt x="6" y="4"/>
                    <a:pt x="5" y="4"/>
                  </a:cubicBezTo>
                  <a:cubicBezTo>
                    <a:pt x="4" y="4"/>
                    <a:pt x="4" y="4"/>
                    <a:pt x="4" y="4"/>
                  </a:cubicBezTo>
                  <a:cubicBezTo>
                    <a:pt x="4" y="30"/>
                    <a:pt x="4" y="30"/>
                    <a:pt x="4"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5" name="Group 564"/>
          <p:cNvGrpSpPr/>
          <p:nvPr/>
        </p:nvGrpSpPr>
        <p:grpSpPr>
          <a:xfrm>
            <a:off x="9121185" y="4190316"/>
            <a:ext cx="192087" cy="80963"/>
            <a:chOff x="8704266" y="4683172"/>
            <a:chExt cx="192087" cy="80963"/>
          </a:xfrm>
        </p:grpSpPr>
        <p:sp>
          <p:nvSpPr>
            <p:cNvPr id="488" name="Freeform 147"/>
            <p:cNvSpPr>
              <a:spLocks noEditPoints="1"/>
            </p:cNvSpPr>
            <p:nvPr/>
          </p:nvSpPr>
          <p:spPr bwMode="auto">
            <a:xfrm>
              <a:off x="8704266" y="4692697"/>
              <a:ext cx="49213" cy="71438"/>
            </a:xfrm>
            <a:custGeom>
              <a:avLst/>
              <a:gdLst>
                <a:gd name="T0" fmla="*/ 9 w 27"/>
                <a:gd name="T1" fmla="*/ 39 h 39"/>
                <a:gd name="T2" fmla="*/ 7 w 27"/>
                <a:gd name="T3" fmla="*/ 39 h 39"/>
                <a:gd name="T4" fmla="*/ 4 w 27"/>
                <a:gd name="T5" fmla="*/ 39 h 39"/>
                <a:gd name="T6" fmla="*/ 2 w 27"/>
                <a:gd name="T7" fmla="*/ 38 h 39"/>
                <a:gd name="T8" fmla="*/ 0 w 27"/>
                <a:gd name="T9" fmla="*/ 38 h 39"/>
                <a:gd name="T10" fmla="*/ 0 w 27"/>
                <a:gd name="T11" fmla="*/ 1 h 39"/>
                <a:gd name="T12" fmla="*/ 2 w 27"/>
                <a:gd name="T13" fmla="*/ 0 h 39"/>
                <a:gd name="T14" fmla="*/ 4 w 27"/>
                <a:gd name="T15" fmla="*/ 0 h 39"/>
                <a:gd name="T16" fmla="*/ 7 w 27"/>
                <a:gd name="T17" fmla="*/ 0 h 39"/>
                <a:gd name="T18" fmla="*/ 9 w 27"/>
                <a:gd name="T19" fmla="*/ 0 h 39"/>
                <a:gd name="T20" fmla="*/ 15 w 27"/>
                <a:gd name="T21" fmla="*/ 0 h 39"/>
                <a:gd name="T22" fmla="*/ 20 w 27"/>
                <a:gd name="T23" fmla="*/ 2 h 39"/>
                <a:gd name="T24" fmla="*/ 24 w 27"/>
                <a:gd name="T25" fmla="*/ 5 h 39"/>
                <a:gd name="T26" fmla="*/ 25 w 27"/>
                <a:gd name="T27" fmla="*/ 10 h 39"/>
                <a:gd name="T28" fmla="*/ 23 w 27"/>
                <a:gd name="T29" fmla="*/ 15 h 39"/>
                <a:gd name="T30" fmla="*/ 19 w 27"/>
                <a:gd name="T31" fmla="*/ 18 h 39"/>
                <a:gd name="T32" fmla="*/ 22 w 27"/>
                <a:gd name="T33" fmla="*/ 19 h 39"/>
                <a:gd name="T34" fmla="*/ 24 w 27"/>
                <a:gd name="T35" fmla="*/ 21 h 39"/>
                <a:gd name="T36" fmla="*/ 26 w 27"/>
                <a:gd name="T37" fmla="*/ 24 h 39"/>
                <a:gd name="T38" fmla="*/ 27 w 27"/>
                <a:gd name="T39" fmla="*/ 28 h 39"/>
                <a:gd name="T40" fmla="*/ 22 w 27"/>
                <a:gd name="T41" fmla="*/ 36 h 39"/>
                <a:gd name="T42" fmla="*/ 9 w 27"/>
                <a:gd name="T43" fmla="*/ 39 h 39"/>
                <a:gd name="T44" fmla="*/ 3 w 27"/>
                <a:gd name="T45" fmla="*/ 17 h 39"/>
                <a:gd name="T46" fmla="*/ 11 w 27"/>
                <a:gd name="T47" fmla="*/ 17 h 39"/>
                <a:gd name="T48" fmla="*/ 15 w 27"/>
                <a:gd name="T49" fmla="*/ 17 h 39"/>
                <a:gd name="T50" fmla="*/ 18 w 27"/>
                <a:gd name="T51" fmla="*/ 15 h 39"/>
                <a:gd name="T52" fmla="*/ 20 w 27"/>
                <a:gd name="T53" fmla="*/ 13 h 39"/>
                <a:gd name="T54" fmla="*/ 21 w 27"/>
                <a:gd name="T55" fmla="*/ 10 h 39"/>
                <a:gd name="T56" fmla="*/ 20 w 27"/>
                <a:gd name="T57" fmla="*/ 7 h 39"/>
                <a:gd name="T58" fmla="*/ 18 w 27"/>
                <a:gd name="T59" fmla="*/ 4 h 39"/>
                <a:gd name="T60" fmla="*/ 14 w 27"/>
                <a:gd name="T61" fmla="*/ 3 h 39"/>
                <a:gd name="T62" fmla="*/ 9 w 27"/>
                <a:gd name="T63" fmla="*/ 3 h 39"/>
                <a:gd name="T64" fmla="*/ 6 w 27"/>
                <a:gd name="T65" fmla="*/ 3 h 39"/>
                <a:gd name="T66" fmla="*/ 3 w 27"/>
                <a:gd name="T67" fmla="*/ 3 h 39"/>
                <a:gd name="T68" fmla="*/ 3 w 27"/>
                <a:gd name="T69" fmla="*/ 17 h 39"/>
                <a:gd name="T70" fmla="*/ 3 w 27"/>
                <a:gd name="T71" fmla="*/ 20 h 39"/>
                <a:gd name="T72" fmla="*/ 3 w 27"/>
                <a:gd name="T73" fmla="*/ 35 h 39"/>
                <a:gd name="T74" fmla="*/ 6 w 27"/>
                <a:gd name="T75" fmla="*/ 36 h 39"/>
                <a:gd name="T76" fmla="*/ 9 w 27"/>
                <a:gd name="T77" fmla="*/ 36 h 39"/>
                <a:gd name="T78" fmla="*/ 14 w 27"/>
                <a:gd name="T79" fmla="*/ 36 h 39"/>
                <a:gd name="T80" fmla="*/ 19 w 27"/>
                <a:gd name="T81" fmla="*/ 34 h 39"/>
                <a:gd name="T82" fmla="*/ 22 w 27"/>
                <a:gd name="T83" fmla="*/ 32 h 39"/>
                <a:gd name="T84" fmla="*/ 23 w 27"/>
                <a:gd name="T85" fmla="*/ 28 h 39"/>
                <a:gd name="T86" fmla="*/ 22 w 27"/>
                <a:gd name="T87" fmla="*/ 24 h 39"/>
                <a:gd name="T88" fmla="*/ 20 w 27"/>
                <a:gd name="T89" fmla="*/ 22 h 39"/>
                <a:gd name="T90" fmla="*/ 16 w 27"/>
                <a:gd name="T91" fmla="*/ 20 h 39"/>
                <a:gd name="T92" fmla="*/ 11 w 27"/>
                <a:gd name="T93" fmla="*/ 20 h 39"/>
                <a:gd name="T94" fmla="*/ 3 w 27"/>
                <a:gd name="T95"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 h="39">
                  <a:moveTo>
                    <a:pt x="9" y="39"/>
                  </a:moveTo>
                  <a:cubicBezTo>
                    <a:pt x="8" y="39"/>
                    <a:pt x="7" y="39"/>
                    <a:pt x="7" y="39"/>
                  </a:cubicBezTo>
                  <a:cubicBezTo>
                    <a:pt x="6" y="39"/>
                    <a:pt x="5" y="39"/>
                    <a:pt x="4" y="39"/>
                  </a:cubicBezTo>
                  <a:cubicBezTo>
                    <a:pt x="3" y="39"/>
                    <a:pt x="2" y="39"/>
                    <a:pt x="2" y="38"/>
                  </a:cubicBezTo>
                  <a:cubicBezTo>
                    <a:pt x="1" y="38"/>
                    <a:pt x="0" y="38"/>
                    <a:pt x="0" y="38"/>
                  </a:cubicBezTo>
                  <a:cubicBezTo>
                    <a:pt x="0" y="1"/>
                    <a:pt x="0" y="1"/>
                    <a:pt x="0" y="1"/>
                  </a:cubicBezTo>
                  <a:cubicBezTo>
                    <a:pt x="0" y="1"/>
                    <a:pt x="1" y="0"/>
                    <a:pt x="2" y="0"/>
                  </a:cubicBezTo>
                  <a:cubicBezTo>
                    <a:pt x="3" y="0"/>
                    <a:pt x="3" y="0"/>
                    <a:pt x="4" y="0"/>
                  </a:cubicBezTo>
                  <a:cubicBezTo>
                    <a:pt x="5" y="0"/>
                    <a:pt x="6" y="0"/>
                    <a:pt x="7" y="0"/>
                  </a:cubicBezTo>
                  <a:cubicBezTo>
                    <a:pt x="8" y="0"/>
                    <a:pt x="9" y="0"/>
                    <a:pt x="9" y="0"/>
                  </a:cubicBezTo>
                  <a:cubicBezTo>
                    <a:pt x="11" y="0"/>
                    <a:pt x="13" y="0"/>
                    <a:pt x="15" y="0"/>
                  </a:cubicBezTo>
                  <a:cubicBezTo>
                    <a:pt x="17" y="0"/>
                    <a:pt x="19" y="1"/>
                    <a:pt x="20" y="2"/>
                  </a:cubicBezTo>
                  <a:cubicBezTo>
                    <a:pt x="22" y="3"/>
                    <a:pt x="23" y="4"/>
                    <a:pt x="24" y="5"/>
                  </a:cubicBezTo>
                  <a:cubicBezTo>
                    <a:pt x="24" y="6"/>
                    <a:pt x="25" y="8"/>
                    <a:pt x="25" y="10"/>
                  </a:cubicBezTo>
                  <a:cubicBezTo>
                    <a:pt x="25" y="12"/>
                    <a:pt x="24" y="14"/>
                    <a:pt x="23" y="15"/>
                  </a:cubicBezTo>
                  <a:cubicBezTo>
                    <a:pt x="22" y="17"/>
                    <a:pt x="21" y="18"/>
                    <a:pt x="19" y="18"/>
                  </a:cubicBezTo>
                  <a:cubicBezTo>
                    <a:pt x="20" y="18"/>
                    <a:pt x="21" y="19"/>
                    <a:pt x="22" y="19"/>
                  </a:cubicBezTo>
                  <a:cubicBezTo>
                    <a:pt x="23" y="20"/>
                    <a:pt x="24" y="20"/>
                    <a:pt x="24" y="21"/>
                  </a:cubicBezTo>
                  <a:cubicBezTo>
                    <a:pt x="25" y="22"/>
                    <a:pt x="26" y="23"/>
                    <a:pt x="26" y="24"/>
                  </a:cubicBezTo>
                  <a:cubicBezTo>
                    <a:pt x="27" y="25"/>
                    <a:pt x="27" y="26"/>
                    <a:pt x="27" y="28"/>
                  </a:cubicBezTo>
                  <a:cubicBezTo>
                    <a:pt x="27" y="32"/>
                    <a:pt x="25" y="34"/>
                    <a:pt x="22" y="36"/>
                  </a:cubicBezTo>
                  <a:cubicBezTo>
                    <a:pt x="19" y="38"/>
                    <a:pt x="15" y="39"/>
                    <a:pt x="9" y="39"/>
                  </a:cubicBezTo>
                  <a:close/>
                  <a:moveTo>
                    <a:pt x="3" y="17"/>
                  </a:moveTo>
                  <a:cubicBezTo>
                    <a:pt x="11" y="17"/>
                    <a:pt x="11" y="17"/>
                    <a:pt x="11" y="17"/>
                  </a:cubicBezTo>
                  <a:cubicBezTo>
                    <a:pt x="12" y="17"/>
                    <a:pt x="13" y="17"/>
                    <a:pt x="15" y="17"/>
                  </a:cubicBezTo>
                  <a:cubicBezTo>
                    <a:pt x="16" y="16"/>
                    <a:pt x="17" y="16"/>
                    <a:pt x="18" y="15"/>
                  </a:cubicBezTo>
                  <a:cubicBezTo>
                    <a:pt x="19" y="15"/>
                    <a:pt x="20" y="14"/>
                    <a:pt x="20" y="13"/>
                  </a:cubicBezTo>
                  <a:cubicBezTo>
                    <a:pt x="21" y="12"/>
                    <a:pt x="21" y="11"/>
                    <a:pt x="21" y="10"/>
                  </a:cubicBezTo>
                  <a:cubicBezTo>
                    <a:pt x="21" y="9"/>
                    <a:pt x="21" y="7"/>
                    <a:pt x="20" y="7"/>
                  </a:cubicBezTo>
                  <a:cubicBezTo>
                    <a:pt x="19" y="6"/>
                    <a:pt x="19" y="5"/>
                    <a:pt x="18" y="4"/>
                  </a:cubicBezTo>
                  <a:cubicBezTo>
                    <a:pt x="17" y="4"/>
                    <a:pt x="15" y="3"/>
                    <a:pt x="14" y="3"/>
                  </a:cubicBezTo>
                  <a:cubicBezTo>
                    <a:pt x="13" y="3"/>
                    <a:pt x="11" y="3"/>
                    <a:pt x="9" y="3"/>
                  </a:cubicBezTo>
                  <a:cubicBezTo>
                    <a:pt x="8" y="3"/>
                    <a:pt x="7" y="3"/>
                    <a:pt x="6" y="3"/>
                  </a:cubicBezTo>
                  <a:cubicBezTo>
                    <a:pt x="5" y="3"/>
                    <a:pt x="4" y="3"/>
                    <a:pt x="3" y="3"/>
                  </a:cubicBezTo>
                  <a:lnTo>
                    <a:pt x="3" y="17"/>
                  </a:lnTo>
                  <a:close/>
                  <a:moveTo>
                    <a:pt x="3" y="20"/>
                  </a:moveTo>
                  <a:cubicBezTo>
                    <a:pt x="3" y="35"/>
                    <a:pt x="3" y="35"/>
                    <a:pt x="3" y="35"/>
                  </a:cubicBezTo>
                  <a:cubicBezTo>
                    <a:pt x="4" y="36"/>
                    <a:pt x="5" y="36"/>
                    <a:pt x="6" y="36"/>
                  </a:cubicBezTo>
                  <a:cubicBezTo>
                    <a:pt x="7" y="36"/>
                    <a:pt x="8" y="36"/>
                    <a:pt x="9" y="36"/>
                  </a:cubicBezTo>
                  <a:cubicBezTo>
                    <a:pt x="11" y="36"/>
                    <a:pt x="13" y="36"/>
                    <a:pt x="14" y="36"/>
                  </a:cubicBezTo>
                  <a:cubicBezTo>
                    <a:pt x="16" y="35"/>
                    <a:pt x="17" y="35"/>
                    <a:pt x="19" y="34"/>
                  </a:cubicBezTo>
                  <a:cubicBezTo>
                    <a:pt x="20" y="34"/>
                    <a:pt x="21" y="33"/>
                    <a:pt x="22" y="32"/>
                  </a:cubicBezTo>
                  <a:cubicBezTo>
                    <a:pt x="22" y="31"/>
                    <a:pt x="23" y="29"/>
                    <a:pt x="23" y="28"/>
                  </a:cubicBezTo>
                  <a:cubicBezTo>
                    <a:pt x="23" y="26"/>
                    <a:pt x="22" y="25"/>
                    <a:pt x="22" y="24"/>
                  </a:cubicBezTo>
                  <a:cubicBezTo>
                    <a:pt x="21" y="23"/>
                    <a:pt x="21" y="22"/>
                    <a:pt x="20" y="22"/>
                  </a:cubicBezTo>
                  <a:cubicBezTo>
                    <a:pt x="19" y="21"/>
                    <a:pt x="17" y="21"/>
                    <a:pt x="16" y="20"/>
                  </a:cubicBezTo>
                  <a:cubicBezTo>
                    <a:pt x="15" y="20"/>
                    <a:pt x="13" y="20"/>
                    <a:pt x="11" y="20"/>
                  </a:cubicBezTo>
                  <a:lnTo>
                    <a:pt x="3"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48"/>
            <p:cNvSpPr>
              <a:spLocks/>
            </p:cNvSpPr>
            <p:nvPr/>
          </p:nvSpPr>
          <p:spPr bwMode="auto">
            <a:xfrm>
              <a:off x="8766178" y="4710159"/>
              <a:ext cx="42863" cy="53976"/>
            </a:xfrm>
            <a:custGeom>
              <a:avLst/>
              <a:gdLst>
                <a:gd name="T0" fmla="*/ 23 w 23"/>
                <a:gd name="T1" fmla="*/ 28 h 29"/>
                <a:gd name="T2" fmla="*/ 18 w 23"/>
                <a:gd name="T3" fmla="*/ 29 h 29"/>
                <a:gd name="T4" fmla="*/ 12 w 23"/>
                <a:gd name="T5" fmla="*/ 29 h 29"/>
                <a:gd name="T6" fmla="*/ 6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4 w 23"/>
                <a:gd name="T21" fmla="*/ 20 h 29"/>
                <a:gd name="T22" fmla="*/ 6 w 23"/>
                <a:gd name="T23" fmla="*/ 24 h 29"/>
                <a:gd name="T24" fmla="*/ 8 w 23"/>
                <a:gd name="T25" fmla="*/ 25 h 29"/>
                <a:gd name="T26" fmla="*/ 12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8" y="29"/>
                  </a:cubicBezTo>
                  <a:cubicBezTo>
                    <a:pt x="17" y="29"/>
                    <a:pt x="14" y="29"/>
                    <a:pt x="12" y="29"/>
                  </a:cubicBezTo>
                  <a:cubicBezTo>
                    <a:pt x="10" y="29"/>
                    <a:pt x="8" y="29"/>
                    <a:pt x="6" y="28"/>
                  </a:cubicBezTo>
                  <a:cubicBezTo>
                    <a:pt x="5" y="28"/>
                    <a:pt x="4" y="27"/>
                    <a:pt x="3" y="26"/>
                  </a:cubicBezTo>
                  <a:cubicBezTo>
                    <a:pt x="2" y="25"/>
                    <a:pt x="1" y="23"/>
                    <a:pt x="1" y="22"/>
                  </a:cubicBezTo>
                  <a:cubicBezTo>
                    <a:pt x="0"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6" y="24"/>
                    <a:pt x="7" y="25"/>
                    <a:pt x="8" y="25"/>
                  </a:cubicBezTo>
                  <a:cubicBezTo>
                    <a:pt x="9" y="26"/>
                    <a:pt x="11" y="26"/>
                    <a:pt x="12"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49"/>
            <p:cNvSpPr>
              <a:spLocks/>
            </p:cNvSpPr>
            <p:nvPr/>
          </p:nvSpPr>
          <p:spPr bwMode="auto">
            <a:xfrm>
              <a:off x="8824916" y="4683172"/>
              <a:ext cx="14288" cy="80963"/>
            </a:xfrm>
            <a:custGeom>
              <a:avLst/>
              <a:gdLst>
                <a:gd name="T0" fmla="*/ 8 w 8"/>
                <a:gd name="T1" fmla="*/ 44 h 44"/>
                <a:gd name="T2" fmla="*/ 5 w 8"/>
                <a:gd name="T3" fmla="*/ 44 h 44"/>
                <a:gd name="T4" fmla="*/ 2 w 8"/>
                <a:gd name="T5" fmla="*/ 43 h 44"/>
                <a:gd name="T6" fmla="*/ 1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7" y="44"/>
                    <a:pt x="5" y="44"/>
                    <a:pt x="5" y="44"/>
                  </a:cubicBezTo>
                  <a:cubicBezTo>
                    <a:pt x="4" y="44"/>
                    <a:pt x="3" y="43"/>
                    <a:pt x="2" y="43"/>
                  </a:cubicBezTo>
                  <a:cubicBezTo>
                    <a:pt x="2" y="42"/>
                    <a:pt x="1" y="41"/>
                    <a:pt x="1" y="40"/>
                  </a:cubicBezTo>
                  <a:cubicBezTo>
                    <a:pt x="1"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5" y="40"/>
                    <a:pt x="5" y="40"/>
                  </a:cubicBezTo>
                  <a:cubicBezTo>
                    <a:pt x="5" y="40"/>
                    <a:pt x="6" y="41"/>
                    <a:pt x="6" y="41"/>
                  </a:cubicBezTo>
                  <a:cubicBezTo>
                    <a:pt x="7" y="41"/>
                    <a:pt x="8" y="41"/>
                    <a:pt x="8" y="41"/>
                  </a:cubicBezTo>
                  <a:lnTo>
                    <a:pt x="8"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50"/>
            <p:cNvSpPr>
              <a:spLocks noEditPoints="1"/>
            </p:cNvSpPr>
            <p:nvPr/>
          </p:nvSpPr>
          <p:spPr bwMode="auto">
            <a:xfrm>
              <a:off x="8851903" y="4683172"/>
              <a:ext cx="44450" cy="80963"/>
            </a:xfrm>
            <a:custGeom>
              <a:avLst/>
              <a:gdLst>
                <a:gd name="T0" fmla="*/ 3 w 24"/>
                <a:gd name="T1" fmla="*/ 17 h 44"/>
                <a:gd name="T2" fmla="*/ 6 w 24"/>
                <a:gd name="T3" fmla="*/ 15 h 44"/>
                <a:gd name="T4" fmla="*/ 11 w 24"/>
                <a:gd name="T5" fmla="*/ 14 h 44"/>
                <a:gd name="T6" fmla="*/ 17 w 24"/>
                <a:gd name="T7" fmla="*/ 15 h 44"/>
                <a:gd name="T8" fmla="*/ 21 w 24"/>
                <a:gd name="T9" fmla="*/ 18 h 44"/>
                <a:gd name="T10" fmla="*/ 24 w 24"/>
                <a:gd name="T11" fmla="*/ 23 h 44"/>
                <a:gd name="T12" fmla="*/ 24 w 24"/>
                <a:gd name="T13" fmla="*/ 29 h 44"/>
                <a:gd name="T14" fmla="*/ 23 w 24"/>
                <a:gd name="T15" fmla="*/ 36 h 44"/>
                <a:gd name="T16" fmla="*/ 21 w 24"/>
                <a:gd name="T17" fmla="*/ 40 h 44"/>
                <a:gd name="T18" fmla="*/ 16 w 24"/>
                <a:gd name="T19" fmla="*/ 43 h 44"/>
                <a:gd name="T20" fmla="*/ 10 w 24"/>
                <a:gd name="T21" fmla="*/ 44 h 44"/>
                <a:gd name="T22" fmla="*/ 4 w 24"/>
                <a:gd name="T23" fmla="*/ 44 h 44"/>
                <a:gd name="T24" fmla="*/ 0 w 24"/>
                <a:gd name="T25" fmla="*/ 43 h 44"/>
                <a:gd name="T26" fmla="*/ 0 w 24"/>
                <a:gd name="T27" fmla="*/ 1 h 44"/>
                <a:gd name="T28" fmla="*/ 3 w 24"/>
                <a:gd name="T29" fmla="*/ 0 h 44"/>
                <a:gd name="T30" fmla="*/ 3 w 24"/>
                <a:gd name="T31" fmla="*/ 17 h 44"/>
                <a:gd name="T32" fmla="*/ 3 w 24"/>
                <a:gd name="T33" fmla="*/ 40 h 44"/>
                <a:gd name="T34" fmla="*/ 6 w 24"/>
                <a:gd name="T35" fmla="*/ 41 h 44"/>
                <a:gd name="T36" fmla="*/ 10 w 24"/>
                <a:gd name="T37" fmla="*/ 41 h 44"/>
                <a:gd name="T38" fmla="*/ 18 w 24"/>
                <a:gd name="T39" fmla="*/ 38 h 44"/>
                <a:gd name="T40" fmla="*/ 21 w 24"/>
                <a:gd name="T41" fmla="*/ 29 h 44"/>
                <a:gd name="T42" fmla="*/ 20 w 24"/>
                <a:gd name="T43" fmla="*/ 25 h 44"/>
                <a:gd name="T44" fmla="*/ 19 w 24"/>
                <a:gd name="T45" fmla="*/ 21 h 44"/>
                <a:gd name="T46" fmla="*/ 16 w 24"/>
                <a:gd name="T47" fmla="*/ 18 h 44"/>
                <a:gd name="T48" fmla="*/ 11 w 24"/>
                <a:gd name="T49" fmla="*/ 18 h 44"/>
                <a:gd name="T50" fmla="*/ 9 w 24"/>
                <a:gd name="T51" fmla="*/ 18 h 44"/>
                <a:gd name="T52" fmla="*/ 6 w 24"/>
                <a:gd name="T53" fmla="*/ 18 h 44"/>
                <a:gd name="T54" fmla="*/ 5 w 24"/>
                <a:gd name="T55" fmla="*/ 19 h 44"/>
                <a:gd name="T56" fmla="*/ 3 w 24"/>
                <a:gd name="T57" fmla="*/ 20 h 44"/>
                <a:gd name="T58" fmla="*/ 3 w 24"/>
                <a:gd name="T5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4">
                  <a:moveTo>
                    <a:pt x="3" y="17"/>
                  </a:moveTo>
                  <a:cubicBezTo>
                    <a:pt x="4" y="16"/>
                    <a:pt x="5" y="16"/>
                    <a:pt x="6" y="15"/>
                  </a:cubicBezTo>
                  <a:cubicBezTo>
                    <a:pt x="8" y="14"/>
                    <a:pt x="9" y="14"/>
                    <a:pt x="11" y="14"/>
                  </a:cubicBezTo>
                  <a:cubicBezTo>
                    <a:pt x="13" y="14"/>
                    <a:pt x="15" y="15"/>
                    <a:pt x="17" y="15"/>
                  </a:cubicBezTo>
                  <a:cubicBezTo>
                    <a:pt x="19" y="16"/>
                    <a:pt x="20" y="17"/>
                    <a:pt x="21" y="18"/>
                  </a:cubicBezTo>
                  <a:cubicBezTo>
                    <a:pt x="22" y="20"/>
                    <a:pt x="23" y="21"/>
                    <a:pt x="24" y="23"/>
                  </a:cubicBezTo>
                  <a:cubicBezTo>
                    <a:pt x="24" y="25"/>
                    <a:pt x="24" y="27"/>
                    <a:pt x="24" y="29"/>
                  </a:cubicBezTo>
                  <a:cubicBezTo>
                    <a:pt x="24" y="32"/>
                    <a:pt x="24" y="34"/>
                    <a:pt x="23" y="36"/>
                  </a:cubicBezTo>
                  <a:cubicBezTo>
                    <a:pt x="23" y="38"/>
                    <a:pt x="22" y="39"/>
                    <a:pt x="21" y="40"/>
                  </a:cubicBezTo>
                  <a:cubicBezTo>
                    <a:pt x="19" y="42"/>
                    <a:pt x="18" y="43"/>
                    <a:pt x="16" y="43"/>
                  </a:cubicBezTo>
                  <a:cubicBezTo>
                    <a:pt x="14" y="44"/>
                    <a:pt x="12" y="44"/>
                    <a:pt x="10" y="44"/>
                  </a:cubicBezTo>
                  <a:cubicBezTo>
                    <a:pt x="8" y="44"/>
                    <a:pt x="6" y="44"/>
                    <a:pt x="4" y="44"/>
                  </a:cubicBezTo>
                  <a:cubicBezTo>
                    <a:pt x="2" y="44"/>
                    <a:pt x="1" y="43"/>
                    <a:pt x="0" y="43"/>
                  </a:cubicBezTo>
                  <a:cubicBezTo>
                    <a:pt x="0" y="1"/>
                    <a:pt x="0" y="1"/>
                    <a:pt x="0" y="1"/>
                  </a:cubicBezTo>
                  <a:cubicBezTo>
                    <a:pt x="3" y="0"/>
                    <a:pt x="3" y="0"/>
                    <a:pt x="3" y="0"/>
                  </a:cubicBezTo>
                  <a:lnTo>
                    <a:pt x="3" y="17"/>
                  </a:lnTo>
                  <a:close/>
                  <a:moveTo>
                    <a:pt x="3" y="40"/>
                  </a:moveTo>
                  <a:cubicBezTo>
                    <a:pt x="4" y="41"/>
                    <a:pt x="5" y="41"/>
                    <a:pt x="6" y="41"/>
                  </a:cubicBezTo>
                  <a:cubicBezTo>
                    <a:pt x="7" y="41"/>
                    <a:pt x="8" y="41"/>
                    <a:pt x="10" y="41"/>
                  </a:cubicBezTo>
                  <a:cubicBezTo>
                    <a:pt x="13" y="41"/>
                    <a:pt x="16" y="40"/>
                    <a:pt x="18" y="38"/>
                  </a:cubicBezTo>
                  <a:cubicBezTo>
                    <a:pt x="20" y="36"/>
                    <a:pt x="21" y="33"/>
                    <a:pt x="21" y="29"/>
                  </a:cubicBezTo>
                  <a:cubicBezTo>
                    <a:pt x="21" y="28"/>
                    <a:pt x="20" y="26"/>
                    <a:pt x="20" y="25"/>
                  </a:cubicBezTo>
                  <a:cubicBezTo>
                    <a:pt x="20" y="23"/>
                    <a:pt x="19" y="22"/>
                    <a:pt x="19" y="21"/>
                  </a:cubicBezTo>
                  <a:cubicBezTo>
                    <a:pt x="18" y="20"/>
                    <a:pt x="17" y="19"/>
                    <a:pt x="16" y="18"/>
                  </a:cubicBezTo>
                  <a:cubicBezTo>
                    <a:pt x="14" y="18"/>
                    <a:pt x="13" y="18"/>
                    <a:pt x="11" y="18"/>
                  </a:cubicBezTo>
                  <a:cubicBezTo>
                    <a:pt x="10" y="18"/>
                    <a:pt x="9" y="18"/>
                    <a:pt x="9" y="18"/>
                  </a:cubicBezTo>
                  <a:cubicBezTo>
                    <a:pt x="8" y="18"/>
                    <a:pt x="7" y="18"/>
                    <a:pt x="6" y="18"/>
                  </a:cubicBezTo>
                  <a:cubicBezTo>
                    <a:pt x="6" y="19"/>
                    <a:pt x="5" y="19"/>
                    <a:pt x="5" y="19"/>
                  </a:cubicBezTo>
                  <a:cubicBezTo>
                    <a:pt x="4" y="20"/>
                    <a:pt x="4" y="20"/>
                    <a:pt x="3" y="20"/>
                  </a:cubicBezTo>
                  <a:lnTo>
                    <a:pt x="3"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4" name="Group 563"/>
          <p:cNvGrpSpPr/>
          <p:nvPr/>
        </p:nvGrpSpPr>
        <p:grpSpPr>
          <a:xfrm>
            <a:off x="7845833" y="4190316"/>
            <a:ext cx="333375" cy="74613"/>
            <a:chOff x="7548565" y="4691109"/>
            <a:chExt cx="333375" cy="74613"/>
          </a:xfrm>
        </p:grpSpPr>
        <p:sp>
          <p:nvSpPr>
            <p:cNvPr id="498" name="Freeform 157"/>
            <p:cNvSpPr>
              <a:spLocks/>
            </p:cNvSpPr>
            <p:nvPr/>
          </p:nvSpPr>
          <p:spPr bwMode="auto">
            <a:xfrm>
              <a:off x="7548565" y="4691109"/>
              <a:ext cx="53975" cy="74613"/>
            </a:xfrm>
            <a:custGeom>
              <a:avLst/>
              <a:gdLst>
                <a:gd name="T0" fmla="*/ 17 w 29"/>
                <a:gd name="T1" fmla="*/ 41 h 41"/>
                <a:gd name="T2" fmla="*/ 10 w 29"/>
                <a:gd name="T3" fmla="*/ 39 h 41"/>
                <a:gd name="T4" fmla="*/ 5 w 29"/>
                <a:gd name="T5" fmla="*/ 35 h 41"/>
                <a:gd name="T6" fmla="*/ 1 w 29"/>
                <a:gd name="T7" fmla="*/ 29 h 41"/>
                <a:gd name="T8" fmla="*/ 0 w 29"/>
                <a:gd name="T9" fmla="*/ 20 h 41"/>
                <a:gd name="T10" fmla="*/ 1 w 29"/>
                <a:gd name="T11" fmla="*/ 12 h 41"/>
                <a:gd name="T12" fmla="*/ 5 w 29"/>
                <a:gd name="T13" fmla="*/ 5 h 41"/>
                <a:gd name="T14" fmla="*/ 11 w 29"/>
                <a:gd name="T15" fmla="*/ 1 h 41"/>
                <a:gd name="T16" fmla="*/ 18 w 29"/>
                <a:gd name="T17" fmla="*/ 0 h 41"/>
                <a:gd name="T18" fmla="*/ 22 w 29"/>
                <a:gd name="T19" fmla="*/ 0 h 41"/>
                <a:gd name="T20" fmla="*/ 25 w 29"/>
                <a:gd name="T21" fmla="*/ 1 h 41"/>
                <a:gd name="T22" fmla="*/ 27 w 29"/>
                <a:gd name="T23" fmla="*/ 2 h 41"/>
                <a:gd name="T24" fmla="*/ 29 w 29"/>
                <a:gd name="T25" fmla="*/ 3 h 41"/>
                <a:gd name="T26" fmla="*/ 27 w 29"/>
                <a:gd name="T27" fmla="*/ 6 h 41"/>
                <a:gd name="T28" fmla="*/ 24 w 29"/>
                <a:gd name="T29" fmla="*/ 4 h 41"/>
                <a:gd name="T30" fmla="*/ 18 w 29"/>
                <a:gd name="T31" fmla="*/ 4 h 41"/>
                <a:gd name="T32" fmla="*/ 12 w 29"/>
                <a:gd name="T33" fmla="*/ 5 h 41"/>
                <a:gd name="T34" fmla="*/ 7 w 29"/>
                <a:gd name="T35" fmla="*/ 8 h 41"/>
                <a:gd name="T36" fmla="*/ 5 w 29"/>
                <a:gd name="T37" fmla="*/ 14 h 41"/>
                <a:gd name="T38" fmla="*/ 4 w 29"/>
                <a:gd name="T39" fmla="*/ 20 h 41"/>
                <a:gd name="T40" fmla="*/ 5 w 29"/>
                <a:gd name="T41" fmla="*/ 27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8 h 41"/>
                <a:gd name="T54" fmla="*/ 27 w 29"/>
                <a:gd name="T55" fmla="*/ 39 h 41"/>
                <a:gd name="T56" fmla="*/ 25 w 29"/>
                <a:gd name="T57" fmla="*/ 40 h 41"/>
                <a:gd name="T58" fmla="*/ 22 w 29"/>
                <a:gd name="T59" fmla="*/ 40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3" y="40"/>
                    <a:pt x="10" y="39"/>
                  </a:cubicBezTo>
                  <a:cubicBezTo>
                    <a:pt x="8" y="38"/>
                    <a:pt x="6" y="37"/>
                    <a:pt x="5" y="35"/>
                  </a:cubicBezTo>
                  <a:cubicBezTo>
                    <a:pt x="3" y="34"/>
                    <a:pt x="2" y="32"/>
                    <a:pt x="1" y="29"/>
                  </a:cubicBezTo>
                  <a:cubicBezTo>
                    <a:pt x="0" y="26"/>
                    <a:pt x="0" y="24"/>
                    <a:pt x="0" y="20"/>
                  </a:cubicBezTo>
                  <a:cubicBezTo>
                    <a:pt x="0" y="17"/>
                    <a:pt x="0" y="14"/>
                    <a:pt x="1" y="12"/>
                  </a:cubicBezTo>
                  <a:cubicBezTo>
                    <a:pt x="2" y="9"/>
                    <a:pt x="4" y="7"/>
                    <a:pt x="5" y="5"/>
                  </a:cubicBezTo>
                  <a:cubicBezTo>
                    <a:pt x="7" y="4"/>
                    <a:pt x="9" y="2"/>
                    <a:pt x="11" y="1"/>
                  </a:cubicBezTo>
                  <a:cubicBezTo>
                    <a:pt x="13" y="1"/>
                    <a:pt x="15" y="0"/>
                    <a:pt x="18" y="0"/>
                  </a:cubicBezTo>
                  <a:cubicBezTo>
                    <a:pt x="19" y="0"/>
                    <a:pt x="20" y="0"/>
                    <a:pt x="22" y="0"/>
                  </a:cubicBezTo>
                  <a:cubicBezTo>
                    <a:pt x="23" y="1"/>
                    <a:pt x="24" y="1"/>
                    <a:pt x="25" y="1"/>
                  </a:cubicBezTo>
                  <a:cubicBezTo>
                    <a:pt x="26" y="1"/>
                    <a:pt x="26" y="2"/>
                    <a:pt x="27" y="2"/>
                  </a:cubicBezTo>
                  <a:cubicBezTo>
                    <a:pt x="28" y="2"/>
                    <a:pt x="28" y="2"/>
                    <a:pt x="29" y="3"/>
                  </a:cubicBezTo>
                  <a:cubicBezTo>
                    <a:pt x="27" y="6"/>
                    <a:pt x="27" y="6"/>
                    <a:pt x="27" y="6"/>
                  </a:cubicBezTo>
                  <a:cubicBezTo>
                    <a:pt x="26" y="5"/>
                    <a:pt x="25" y="5"/>
                    <a:pt x="24" y="4"/>
                  </a:cubicBezTo>
                  <a:cubicBezTo>
                    <a:pt x="22" y="4"/>
                    <a:pt x="21" y="4"/>
                    <a:pt x="18" y="4"/>
                  </a:cubicBezTo>
                  <a:cubicBezTo>
                    <a:pt x="16" y="4"/>
                    <a:pt x="14" y="4"/>
                    <a:pt x="12" y="5"/>
                  </a:cubicBezTo>
                  <a:cubicBezTo>
                    <a:pt x="10" y="6"/>
                    <a:pt x="9" y="7"/>
                    <a:pt x="7" y="8"/>
                  </a:cubicBezTo>
                  <a:cubicBezTo>
                    <a:pt x="6" y="10"/>
                    <a:pt x="5" y="12"/>
                    <a:pt x="5" y="14"/>
                  </a:cubicBezTo>
                  <a:cubicBezTo>
                    <a:pt x="4" y="16"/>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4" y="37"/>
                  </a:cubicBezTo>
                  <a:cubicBezTo>
                    <a:pt x="26" y="36"/>
                    <a:pt x="27" y="36"/>
                    <a:pt x="28" y="35"/>
                  </a:cubicBezTo>
                  <a:cubicBezTo>
                    <a:pt x="29" y="38"/>
                    <a:pt x="29" y="38"/>
                    <a:pt x="29" y="38"/>
                  </a:cubicBezTo>
                  <a:cubicBezTo>
                    <a:pt x="29" y="39"/>
                    <a:pt x="28" y="39"/>
                    <a:pt x="27" y="39"/>
                  </a:cubicBezTo>
                  <a:cubicBezTo>
                    <a:pt x="27" y="39"/>
                    <a:pt x="26" y="39"/>
                    <a:pt x="25" y="40"/>
                  </a:cubicBezTo>
                  <a:cubicBezTo>
                    <a:pt x="24" y="40"/>
                    <a:pt x="23" y="40"/>
                    <a:pt x="22" y="40"/>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58"/>
            <p:cNvSpPr>
              <a:spLocks noEditPoints="1"/>
            </p:cNvSpPr>
            <p:nvPr/>
          </p:nvSpPr>
          <p:spPr bwMode="auto">
            <a:xfrm>
              <a:off x="7608890"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1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1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7"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7" y="11"/>
                    <a:pt x="27" y="13"/>
                    <a:pt x="27" y="15"/>
                  </a:cubicBezTo>
                  <a:close/>
                  <a:moveTo>
                    <a:pt x="23" y="15"/>
                  </a:moveTo>
                  <a:cubicBezTo>
                    <a:pt x="23" y="12"/>
                    <a:pt x="22" y="9"/>
                    <a:pt x="21" y="7"/>
                  </a:cubicBezTo>
                  <a:cubicBezTo>
                    <a:pt x="19" y="5"/>
                    <a:pt x="17" y="3"/>
                    <a:pt x="14" y="3"/>
                  </a:cubicBezTo>
                  <a:cubicBezTo>
                    <a:pt x="11" y="3"/>
                    <a:pt x="9" y="5"/>
                    <a:pt x="7" y="7"/>
                  </a:cubicBezTo>
                  <a:cubicBezTo>
                    <a:pt x="5" y="9"/>
                    <a:pt x="4" y="12"/>
                    <a:pt x="4" y="15"/>
                  </a:cubicBezTo>
                  <a:cubicBezTo>
                    <a:pt x="4" y="19"/>
                    <a:pt x="5" y="22"/>
                    <a:pt x="7" y="24"/>
                  </a:cubicBezTo>
                  <a:cubicBezTo>
                    <a:pt x="9" y="26"/>
                    <a:pt x="11" y="27"/>
                    <a:pt x="14" y="27"/>
                  </a:cubicBezTo>
                  <a:cubicBezTo>
                    <a:pt x="17" y="27"/>
                    <a:pt x="19" y="26"/>
                    <a:pt x="21"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59"/>
            <p:cNvSpPr>
              <a:spLocks/>
            </p:cNvSpPr>
            <p:nvPr/>
          </p:nvSpPr>
          <p:spPr bwMode="auto">
            <a:xfrm>
              <a:off x="7673978" y="4708572"/>
              <a:ext cx="26988"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4 h 30"/>
                <a:gd name="T12" fmla="*/ 5 w 15"/>
                <a:gd name="T13" fmla="*/ 4 h 30"/>
                <a:gd name="T14" fmla="*/ 3 w 15"/>
                <a:gd name="T15" fmla="*/ 4 h 30"/>
                <a:gd name="T16" fmla="*/ 3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4"/>
                    <a:pt x="9" y="4"/>
                  </a:cubicBezTo>
                  <a:cubicBezTo>
                    <a:pt x="8" y="4"/>
                    <a:pt x="6" y="4"/>
                    <a:pt x="5" y="4"/>
                  </a:cubicBezTo>
                  <a:cubicBezTo>
                    <a:pt x="4" y="4"/>
                    <a:pt x="4" y="4"/>
                    <a:pt x="3" y="4"/>
                  </a:cubicBezTo>
                  <a:cubicBezTo>
                    <a:pt x="3" y="30"/>
                    <a:pt x="3" y="30"/>
                    <a:pt x="3"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60"/>
            <p:cNvSpPr>
              <a:spLocks/>
            </p:cNvSpPr>
            <p:nvPr/>
          </p:nvSpPr>
          <p:spPr bwMode="auto">
            <a:xfrm>
              <a:off x="7712078" y="4708572"/>
              <a:ext cx="26988" cy="55563"/>
            </a:xfrm>
            <a:custGeom>
              <a:avLst/>
              <a:gdLst>
                <a:gd name="T0" fmla="*/ 10 w 15"/>
                <a:gd name="T1" fmla="*/ 0 h 30"/>
                <a:gd name="T2" fmla="*/ 13 w 15"/>
                <a:gd name="T3" fmla="*/ 1 h 30"/>
                <a:gd name="T4" fmla="*/ 15 w 15"/>
                <a:gd name="T5" fmla="*/ 1 h 30"/>
                <a:gd name="T6" fmla="*/ 14 w 15"/>
                <a:gd name="T7" fmla="*/ 4 h 30"/>
                <a:gd name="T8" fmla="*/ 13 w 15"/>
                <a:gd name="T9" fmla="*/ 4 h 30"/>
                <a:gd name="T10" fmla="*/ 9 w 15"/>
                <a:gd name="T11" fmla="*/ 4 h 30"/>
                <a:gd name="T12" fmla="*/ 5 w 15"/>
                <a:gd name="T13" fmla="*/ 4 h 30"/>
                <a:gd name="T14" fmla="*/ 3 w 15"/>
                <a:gd name="T15" fmla="*/ 4 h 30"/>
                <a:gd name="T16" fmla="*/ 3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4" y="4"/>
                    <a:pt x="14" y="4"/>
                    <a:pt x="14" y="4"/>
                  </a:cubicBezTo>
                  <a:cubicBezTo>
                    <a:pt x="14" y="4"/>
                    <a:pt x="14" y="4"/>
                    <a:pt x="13" y="4"/>
                  </a:cubicBezTo>
                  <a:cubicBezTo>
                    <a:pt x="12" y="4"/>
                    <a:pt x="11" y="4"/>
                    <a:pt x="9" y="4"/>
                  </a:cubicBezTo>
                  <a:cubicBezTo>
                    <a:pt x="7" y="4"/>
                    <a:pt x="6" y="4"/>
                    <a:pt x="5" y="4"/>
                  </a:cubicBezTo>
                  <a:cubicBezTo>
                    <a:pt x="4" y="4"/>
                    <a:pt x="4" y="4"/>
                    <a:pt x="3" y="4"/>
                  </a:cubicBezTo>
                  <a:cubicBezTo>
                    <a:pt x="3" y="30"/>
                    <a:pt x="3" y="30"/>
                    <a:pt x="3"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61"/>
            <p:cNvSpPr>
              <a:spLocks noEditPoints="1"/>
            </p:cNvSpPr>
            <p:nvPr/>
          </p:nvSpPr>
          <p:spPr bwMode="auto">
            <a:xfrm>
              <a:off x="7747003" y="4708572"/>
              <a:ext cx="44450" cy="55563"/>
            </a:xfrm>
            <a:custGeom>
              <a:avLst/>
              <a:gdLst>
                <a:gd name="T0" fmla="*/ 0 w 24"/>
                <a:gd name="T1" fmla="*/ 15 h 30"/>
                <a:gd name="T2" fmla="*/ 1 w 24"/>
                <a:gd name="T3" fmla="*/ 9 h 30"/>
                <a:gd name="T4" fmla="*/ 4 w 24"/>
                <a:gd name="T5" fmla="*/ 4 h 30"/>
                <a:gd name="T6" fmla="*/ 8 w 24"/>
                <a:gd name="T7" fmla="*/ 1 h 30"/>
                <a:gd name="T8" fmla="*/ 13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2" y="7"/>
                    <a:pt x="3" y="5"/>
                    <a:pt x="4" y="4"/>
                  </a:cubicBezTo>
                  <a:cubicBezTo>
                    <a:pt x="5" y="3"/>
                    <a:pt x="6" y="2"/>
                    <a:pt x="8" y="1"/>
                  </a:cubicBezTo>
                  <a:cubicBezTo>
                    <a:pt x="9" y="0"/>
                    <a:pt x="11" y="0"/>
                    <a:pt x="13"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29"/>
                    <a:pt x="19" y="30"/>
                  </a:cubicBezTo>
                  <a:cubicBezTo>
                    <a:pt x="18" y="30"/>
                    <a:pt x="16" y="30"/>
                    <a:pt x="14" y="30"/>
                  </a:cubicBezTo>
                  <a:cubicBezTo>
                    <a:pt x="12" y="30"/>
                    <a:pt x="9" y="30"/>
                    <a:pt x="8" y="29"/>
                  </a:cubicBezTo>
                  <a:cubicBezTo>
                    <a:pt x="6" y="29"/>
                    <a:pt x="4" y="27"/>
                    <a:pt x="3" y="26"/>
                  </a:cubicBezTo>
                  <a:cubicBezTo>
                    <a:pt x="2" y="25"/>
                    <a:pt x="1" y="23"/>
                    <a:pt x="1" y="21"/>
                  </a:cubicBezTo>
                  <a:cubicBezTo>
                    <a:pt x="0" y="20"/>
                    <a:pt x="0" y="17"/>
                    <a:pt x="0" y="15"/>
                  </a:cubicBezTo>
                  <a:close/>
                  <a:moveTo>
                    <a:pt x="20" y="13"/>
                  </a:moveTo>
                  <a:cubicBezTo>
                    <a:pt x="20" y="10"/>
                    <a:pt x="20" y="8"/>
                    <a:pt x="18" y="6"/>
                  </a:cubicBezTo>
                  <a:cubicBezTo>
                    <a:pt x="17" y="4"/>
                    <a:pt x="15" y="3"/>
                    <a:pt x="13" y="3"/>
                  </a:cubicBezTo>
                  <a:cubicBezTo>
                    <a:pt x="11" y="3"/>
                    <a:pt x="10" y="4"/>
                    <a:pt x="9" y="4"/>
                  </a:cubicBezTo>
                  <a:cubicBezTo>
                    <a:pt x="8" y="5"/>
                    <a:pt x="7" y="5"/>
                    <a:pt x="6" y="6"/>
                  </a:cubicBezTo>
                  <a:cubicBezTo>
                    <a:pt x="6" y="7"/>
                    <a:pt x="5" y="8"/>
                    <a:pt x="5"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62"/>
            <p:cNvSpPr>
              <a:spLocks/>
            </p:cNvSpPr>
            <p:nvPr/>
          </p:nvSpPr>
          <p:spPr bwMode="auto">
            <a:xfrm>
              <a:off x="7804153" y="4708572"/>
              <a:ext cx="38100" cy="55563"/>
            </a:xfrm>
            <a:custGeom>
              <a:avLst/>
              <a:gdLst>
                <a:gd name="T0" fmla="*/ 13 w 21"/>
                <a:gd name="T1" fmla="*/ 30 h 30"/>
                <a:gd name="T2" fmla="*/ 7 w 21"/>
                <a:gd name="T3" fmla="*/ 29 h 30"/>
                <a:gd name="T4" fmla="*/ 3 w 21"/>
                <a:gd name="T5" fmla="*/ 26 h 30"/>
                <a:gd name="T6" fmla="*/ 1 w 21"/>
                <a:gd name="T7" fmla="*/ 22 h 30"/>
                <a:gd name="T8" fmla="*/ 0 w 21"/>
                <a:gd name="T9" fmla="*/ 15 h 30"/>
                <a:gd name="T10" fmla="*/ 1 w 21"/>
                <a:gd name="T11" fmla="*/ 9 h 30"/>
                <a:gd name="T12" fmla="*/ 3 w 21"/>
                <a:gd name="T13" fmla="*/ 4 h 30"/>
                <a:gd name="T14" fmla="*/ 7 w 21"/>
                <a:gd name="T15" fmla="*/ 1 h 30"/>
                <a:gd name="T16" fmla="*/ 13 w 21"/>
                <a:gd name="T17" fmla="*/ 0 h 30"/>
                <a:gd name="T18" fmla="*/ 17 w 21"/>
                <a:gd name="T19" fmla="*/ 1 h 30"/>
                <a:gd name="T20" fmla="*/ 21 w 21"/>
                <a:gd name="T21" fmla="*/ 2 h 30"/>
                <a:gd name="T22" fmla="*/ 20 w 21"/>
                <a:gd name="T23" fmla="*/ 5 h 30"/>
                <a:gd name="T24" fmla="*/ 17 w 21"/>
                <a:gd name="T25" fmla="*/ 4 h 30"/>
                <a:gd name="T26" fmla="*/ 13 w 21"/>
                <a:gd name="T27" fmla="*/ 3 h 30"/>
                <a:gd name="T28" fmla="*/ 6 w 21"/>
                <a:gd name="T29" fmla="*/ 7 h 30"/>
                <a:gd name="T30" fmla="*/ 3 w 21"/>
                <a:gd name="T31" fmla="*/ 15 h 30"/>
                <a:gd name="T32" fmla="*/ 4 w 21"/>
                <a:gd name="T33" fmla="*/ 20 h 30"/>
                <a:gd name="T34" fmla="*/ 6 w 21"/>
                <a:gd name="T35" fmla="*/ 24 h 30"/>
                <a:gd name="T36" fmla="*/ 9 w 21"/>
                <a:gd name="T37" fmla="*/ 26 h 30"/>
                <a:gd name="T38" fmla="*/ 14 w 21"/>
                <a:gd name="T39" fmla="*/ 27 h 30"/>
                <a:gd name="T40" fmla="*/ 18 w 21"/>
                <a:gd name="T41" fmla="*/ 27 h 30"/>
                <a:gd name="T42" fmla="*/ 20 w 21"/>
                <a:gd name="T43" fmla="*/ 26 h 30"/>
                <a:gd name="T44" fmla="*/ 21 w 21"/>
                <a:gd name="T45" fmla="*/ 29 h 30"/>
                <a:gd name="T46" fmla="*/ 18 w 21"/>
                <a:gd name="T47" fmla="*/ 30 h 30"/>
                <a:gd name="T48" fmla="*/ 13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3" y="30"/>
                  </a:moveTo>
                  <a:cubicBezTo>
                    <a:pt x="11" y="30"/>
                    <a:pt x="9" y="30"/>
                    <a:pt x="7" y="29"/>
                  </a:cubicBezTo>
                  <a:cubicBezTo>
                    <a:pt x="6" y="29"/>
                    <a:pt x="4" y="28"/>
                    <a:pt x="3" y="26"/>
                  </a:cubicBezTo>
                  <a:cubicBezTo>
                    <a:pt x="2" y="25"/>
                    <a:pt x="1" y="23"/>
                    <a:pt x="1" y="22"/>
                  </a:cubicBezTo>
                  <a:cubicBezTo>
                    <a:pt x="0" y="20"/>
                    <a:pt x="0" y="18"/>
                    <a:pt x="0" y="15"/>
                  </a:cubicBezTo>
                  <a:cubicBezTo>
                    <a:pt x="0" y="13"/>
                    <a:pt x="0" y="11"/>
                    <a:pt x="1" y="9"/>
                  </a:cubicBezTo>
                  <a:cubicBezTo>
                    <a:pt x="1" y="7"/>
                    <a:pt x="2" y="6"/>
                    <a:pt x="3" y="4"/>
                  </a:cubicBezTo>
                  <a:cubicBezTo>
                    <a:pt x="4" y="3"/>
                    <a:pt x="6" y="2"/>
                    <a:pt x="7" y="1"/>
                  </a:cubicBezTo>
                  <a:cubicBezTo>
                    <a:pt x="9" y="1"/>
                    <a:pt x="11" y="0"/>
                    <a:pt x="13" y="0"/>
                  </a:cubicBezTo>
                  <a:cubicBezTo>
                    <a:pt x="15" y="0"/>
                    <a:pt x="16" y="0"/>
                    <a:pt x="17" y="1"/>
                  </a:cubicBezTo>
                  <a:cubicBezTo>
                    <a:pt x="19" y="1"/>
                    <a:pt x="20" y="1"/>
                    <a:pt x="21" y="2"/>
                  </a:cubicBezTo>
                  <a:cubicBezTo>
                    <a:pt x="20" y="5"/>
                    <a:pt x="20" y="5"/>
                    <a:pt x="20" y="5"/>
                  </a:cubicBezTo>
                  <a:cubicBezTo>
                    <a:pt x="19" y="4"/>
                    <a:pt x="18" y="4"/>
                    <a:pt x="17" y="4"/>
                  </a:cubicBezTo>
                  <a:cubicBezTo>
                    <a:pt x="16" y="4"/>
                    <a:pt x="15" y="3"/>
                    <a:pt x="13" y="3"/>
                  </a:cubicBezTo>
                  <a:cubicBezTo>
                    <a:pt x="10" y="3"/>
                    <a:pt x="8" y="4"/>
                    <a:pt x="6" y="7"/>
                  </a:cubicBezTo>
                  <a:cubicBezTo>
                    <a:pt x="4" y="9"/>
                    <a:pt x="3" y="12"/>
                    <a:pt x="3" y="15"/>
                  </a:cubicBezTo>
                  <a:cubicBezTo>
                    <a:pt x="3" y="17"/>
                    <a:pt x="4" y="19"/>
                    <a:pt x="4" y="20"/>
                  </a:cubicBezTo>
                  <a:cubicBezTo>
                    <a:pt x="4" y="22"/>
                    <a:pt x="5" y="23"/>
                    <a:pt x="6" y="24"/>
                  </a:cubicBezTo>
                  <a:cubicBezTo>
                    <a:pt x="7" y="25"/>
                    <a:pt x="8" y="26"/>
                    <a:pt x="9" y="26"/>
                  </a:cubicBezTo>
                  <a:cubicBezTo>
                    <a:pt x="10" y="27"/>
                    <a:pt x="12" y="27"/>
                    <a:pt x="14" y="27"/>
                  </a:cubicBezTo>
                  <a:cubicBezTo>
                    <a:pt x="16" y="27"/>
                    <a:pt x="17" y="27"/>
                    <a:pt x="18" y="27"/>
                  </a:cubicBezTo>
                  <a:cubicBezTo>
                    <a:pt x="19" y="26"/>
                    <a:pt x="20" y="26"/>
                    <a:pt x="20" y="26"/>
                  </a:cubicBezTo>
                  <a:cubicBezTo>
                    <a:pt x="21" y="29"/>
                    <a:pt x="21" y="29"/>
                    <a:pt x="21" y="29"/>
                  </a:cubicBezTo>
                  <a:cubicBezTo>
                    <a:pt x="20" y="29"/>
                    <a:pt x="19" y="30"/>
                    <a:pt x="18" y="30"/>
                  </a:cubicBezTo>
                  <a:cubicBezTo>
                    <a:pt x="16" y="30"/>
                    <a:pt x="15" y="30"/>
                    <a:pt x="13"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63"/>
            <p:cNvSpPr>
              <a:spLocks/>
            </p:cNvSpPr>
            <p:nvPr/>
          </p:nvSpPr>
          <p:spPr bwMode="auto">
            <a:xfrm>
              <a:off x="7853365" y="4694284"/>
              <a:ext cx="28575" cy="69851"/>
            </a:xfrm>
            <a:custGeom>
              <a:avLst/>
              <a:gdLst>
                <a:gd name="T0" fmla="*/ 4 w 16"/>
                <a:gd name="T1" fmla="*/ 9 h 38"/>
                <a:gd name="T2" fmla="*/ 15 w 16"/>
                <a:gd name="T3" fmla="*/ 9 h 38"/>
                <a:gd name="T4" fmla="*/ 15 w 16"/>
                <a:gd name="T5" fmla="*/ 12 h 38"/>
                <a:gd name="T6" fmla="*/ 4 w 16"/>
                <a:gd name="T7" fmla="*/ 12 h 38"/>
                <a:gd name="T8" fmla="*/ 4 w 16"/>
                <a:gd name="T9" fmla="*/ 27 h 38"/>
                <a:gd name="T10" fmla="*/ 4 w 16"/>
                <a:gd name="T11" fmla="*/ 31 h 38"/>
                <a:gd name="T12" fmla="*/ 5 w 16"/>
                <a:gd name="T13" fmla="*/ 34 h 38"/>
                <a:gd name="T14" fmla="*/ 7 w 16"/>
                <a:gd name="T15" fmla="*/ 35 h 38"/>
                <a:gd name="T16" fmla="*/ 10 w 16"/>
                <a:gd name="T17" fmla="*/ 35 h 38"/>
                <a:gd name="T18" fmla="*/ 13 w 16"/>
                <a:gd name="T19" fmla="*/ 35 h 38"/>
                <a:gd name="T20" fmla="*/ 15 w 16"/>
                <a:gd name="T21" fmla="*/ 34 h 38"/>
                <a:gd name="T22" fmla="*/ 16 w 16"/>
                <a:gd name="T23" fmla="*/ 37 h 38"/>
                <a:gd name="T24" fmla="*/ 14 w 16"/>
                <a:gd name="T25" fmla="*/ 38 h 38"/>
                <a:gd name="T26" fmla="*/ 9 w 16"/>
                <a:gd name="T27" fmla="*/ 38 h 38"/>
                <a:gd name="T28" fmla="*/ 5 w 16"/>
                <a:gd name="T29" fmla="*/ 38 h 38"/>
                <a:gd name="T30" fmla="*/ 2 w 16"/>
                <a:gd name="T31" fmla="*/ 36 h 38"/>
                <a:gd name="T32" fmla="*/ 0 w 16"/>
                <a:gd name="T33" fmla="*/ 32 h 38"/>
                <a:gd name="T34" fmla="*/ 0 w 16"/>
                <a:gd name="T35" fmla="*/ 27 h 38"/>
                <a:gd name="T36" fmla="*/ 0 w 16"/>
                <a:gd name="T37" fmla="*/ 0 h 38"/>
                <a:gd name="T38" fmla="*/ 4 w 16"/>
                <a:gd name="T39" fmla="*/ 0 h 38"/>
                <a:gd name="T40" fmla="*/ 4 w 16"/>
                <a:gd name="T41"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9"/>
                  </a:moveTo>
                  <a:cubicBezTo>
                    <a:pt x="15" y="9"/>
                    <a:pt x="15" y="9"/>
                    <a:pt x="15" y="9"/>
                  </a:cubicBezTo>
                  <a:cubicBezTo>
                    <a:pt x="15" y="12"/>
                    <a:pt x="15" y="12"/>
                    <a:pt x="15" y="12"/>
                  </a:cubicBezTo>
                  <a:cubicBezTo>
                    <a:pt x="4" y="12"/>
                    <a:pt x="4" y="12"/>
                    <a:pt x="4" y="12"/>
                  </a:cubicBezTo>
                  <a:cubicBezTo>
                    <a:pt x="4" y="27"/>
                    <a:pt x="4" y="27"/>
                    <a:pt x="4" y="27"/>
                  </a:cubicBezTo>
                  <a:cubicBezTo>
                    <a:pt x="4" y="29"/>
                    <a:pt x="4" y="30"/>
                    <a:pt x="4" y="31"/>
                  </a:cubicBezTo>
                  <a:cubicBezTo>
                    <a:pt x="4" y="32"/>
                    <a:pt x="5" y="33"/>
                    <a:pt x="5" y="34"/>
                  </a:cubicBezTo>
                  <a:cubicBezTo>
                    <a:pt x="6" y="34"/>
                    <a:pt x="6" y="35"/>
                    <a:pt x="7" y="35"/>
                  </a:cubicBezTo>
                  <a:cubicBezTo>
                    <a:pt x="8" y="35"/>
                    <a:pt x="9" y="35"/>
                    <a:pt x="10" y="35"/>
                  </a:cubicBezTo>
                  <a:cubicBezTo>
                    <a:pt x="11" y="35"/>
                    <a:pt x="12" y="35"/>
                    <a:pt x="13" y="35"/>
                  </a:cubicBezTo>
                  <a:cubicBezTo>
                    <a:pt x="14" y="34"/>
                    <a:pt x="15" y="34"/>
                    <a:pt x="15" y="34"/>
                  </a:cubicBezTo>
                  <a:cubicBezTo>
                    <a:pt x="16" y="37"/>
                    <a:pt x="16" y="37"/>
                    <a:pt x="16" y="37"/>
                  </a:cubicBezTo>
                  <a:cubicBezTo>
                    <a:pt x="16" y="37"/>
                    <a:pt x="15" y="37"/>
                    <a:pt x="14" y="38"/>
                  </a:cubicBezTo>
                  <a:cubicBezTo>
                    <a:pt x="12" y="38"/>
                    <a:pt x="11" y="38"/>
                    <a:pt x="9" y="38"/>
                  </a:cubicBezTo>
                  <a:cubicBezTo>
                    <a:pt x="8" y="38"/>
                    <a:pt x="6" y="38"/>
                    <a:pt x="5" y="38"/>
                  </a:cubicBezTo>
                  <a:cubicBezTo>
                    <a:pt x="4" y="37"/>
                    <a:pt x="3" y="37"/>
                    <a:pt x="2" y="36"/>
                  </a:cubicBezTo>
                  <a:cubicBezTo>
                    <a:pt x="1" y="35"/>
                    <a:pt x="1" y="33"/>
                    <a:pt x="0" y="32"/>
                  </a:cubicBezTo>
                  <a:cubicBezTo>
                    <a:pt x="0" y="31"/>
                    <a:pt x="0" y="29"/>
                    <a:pt x="0" y="27"/>
                  </a:cubicBezTo>
                  <a:cubicBezTo>
                    <a:pt x="0" y="0"/>
                    <a:pt x="0" y="0"/>
                    <a:pt x="0" y="0"/>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4" name="Group 593"/>
          <p:cNvGrpSpPr/>
          <p:nvPr/>
        </p:nvGrpSpPr>
        <p:grpSpPr>
          <a:xfrm>
            <a:off x="7625968" y="4348931"/>
            <a:ext cx="801687" cy="795338"/>
            <a:chOff x="8769350" y="4606928"/>
            <a:chExt cx="801687" cy="795338"/>
          </a:xfrm>
        </p:grpSpPr>
        <p:sp>
          <p:nvSpPr>
            <p:cNvPr id="245" name="Freeform 138"/>
            <p:cNvSpPr>
              <a:spLocks/>
            </p:cNvSpPr>
            <p:nvPr/>
          </p:nvSpPr>
          <p:spPr bwMode="auto">
            <a:xfrm>
              <a:off x="8769350" y="4606928"/>
              <a:ext cx="801687" cy="795338"/>
            </a:xfrm>
            <a:custGeom>
              <a:avLst/>
              <a:gdLst>
                <a:gd name="T0" fmla="*/ 48 w 417"/>
                <a:gd name="T1" fmla="*/ 118 h 411"/>
                <a:gd name="T2" fmla="*/ 296 w 417"/>
                <a:gd name="T3" fmla="*/ 51 h 411"/>
                <a:gd name="T4" fmla="*/ 368 w 417"/>
                <a:gd name="T5" fmla="*/ 303 h 411"/>
                <a:gd name="T6" fmla="*/ 126 w 417"/>
                <a:gd name="T7" fmla="*/ 360 h 411"/>
                <a:gd name="T8" fmla="*/ 48 w 417"/>
                <a:gd name="T9" fmla="*/ 118 h 411"/>
              </a:gdLst>
              <a:ahLst/>
              <a:cxnLst>
                <a:cxn ang="0">
                  <a:pos x="T0" y="T1"/>
                </a:cxn>
                <a:cxn ang="0">
                  <a:pos x="T2" y="T3"/>
                </a:cxn>
                <a:cxn ang="0">
                  <a:pos x="T4" y="T5"/>
                </a:cxn>
                <a:cxn ang="0">
                  <a:pos x="T6" y="T7"/>
                </a:cxn>
                <a:cxn ang="0">
                  <a:pos x="T8" y="T9"/>
                </a:cxn>
              </a:cxnLst>
              <a:rect l="0" t="0" r="r" b="b"/>
              <a:pathLst>
                <a:path w="417" h="411">
                  <a:moveTo>
                    <a:pt x="48" y="118"/>
                  </a:moveTo>
                  <a:cubicBezTo>
                    <a:pt x="97" y="30"/>
                    <a:pt x="208" y="0"/>
                    <a:pt x="296" y="51"/>
                  </a:cubicBezTo>
                  <a:cubicBezTo>
                    <a:pt x="385" y="102"/>
                    <a:pt x="417" y="215"/>
                    <a:pt x="368" y="303"/>
                  </a:cubicBezTo>
                  <a:cubicBezTo>
                    <a:pt x="319" y="391"/>
                    <a:pt x="214" y="411"/>
                    <a:pt x="126" y="360"/>
                  </a:cubicBezTo>
                  <a:cubicBezTo>
                    <a:pt x="38" y="309"/>
                    <a:pt x="0" y="206"/>
                    <a:pt x="48" y="118"/>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46" name="Freeform 139"/>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a:p>
          </p:txBody>
        </p:sp>
        <p:sp>
          <p:nvSpPr>
            <p:cNvPr id="247" name="Freeform 140"/>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a:p>
          </p:txBody>
        </p:sp>
        <p:sp>
          <p:nvSpPr>
            <p:cNvPr id="248" name="Freeform 141"/>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49" name="Freeform 142"/>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143"/>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1" name="Rectangle 144"/>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2" name="Rectangle 145"/>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3" name="Rectangle 146"/>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4" name="Rectangle 147"/>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5" name="Rectangle 148"/>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6" name="Rectangle 149"/>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7" name="Rectangle 150"/>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8" name="Rectangle 151"/>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9" name="Rectangle 152"/>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0" name="Rectangle 153"/>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1" name="Rectangle 154"/>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2" name="Freeform 155"/>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56"/>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2" name="Group 591"/>
          <p:cNvGrpSpPr/>
          <p:nvPr/>
        </p:nvGrpSpPr>
        <p:grpSpPr>
          <a:xfrm>
            <a:off x="5220306" y="4348931"/>
            <a:ext cx="796925" cy="746126"/>
            <a:chOff x="6373813" y="4632328"/>
            <a:chExt cx="796925" cy="746126"/>
          </a:xfrm>
        </p:grpSpPr>
        <p:sp>
          <p:nvSpPr>
            <p:cNvPr id="264" name="Freeform 157"/>
            <p:cNvSpPr>
              <a:spLocks/>
            </p:cNvSpPr>
            <p:nvPr/>
          </p:nvSpPr>
          <p:spPr bwMode="auto">
            <a:xfrm>
              <a:off x="6373813" y="4632328"/>
              <a:ext cx="796925" cy="746126"/>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265" name="Freeform 158"/>
            <p:cNvSpPr>
              <a:spLocks noEditPoints="1"/>
            </p:cNvSpPr>
            <p:nvPr/>
          </p:nvSpPr>
          <p:spPr bwMode="auto">
            <a:xfrm>
              <a:off x="6599238" y="4846640"/>
              <a:ext cx="368300" cy="238125"/>
            </a:xfrm>
            <a:custGeom>
              <a:avLst/>
              <a:gdLst>
                <a:gd name="T0" fmla="*/ 7 w 192"/>
                <a:gd name="T1" fmla="*/ 123 h 123"/>
                <a:gd name="T2" fmla="*/ 185 w 192"/>
                <a:gd name="T3" fmla="*/ 123 h 123"/>
                <a:gd name="T4" fmla="*/ 192 w 192"/>
                <a:gd name="T5" fmla="*/ 116 h 123"/>
                <a:gd name="T6" fmla="*/ 192 w 192"/>
                <a:gd name="T7" fmla="*/ 8 h 123"/>
                <a:gd name="T8" fmla="*/ 185 w 192"/>
                <a:gd name="T9" fmla="*/ 0 h 123"/>
                <a:gd name="T10" fmla="*/ 7 w 192"/>
                <a:gd name="T11" fmla="*/ 0 h 123"/>
                <a:gd name="T12" fmla="*/ 0 w 192"/>
                <a:gd name="T13" fmla="*/ 8 h 123"/>
                <a:gd name="T14" fmla="*/ 0 w 192"/>
                <a:gd name="T15" fmla="*/ 116 h 123"/>
                <a:gd name="T16" fmla="*/ 7 w 192"/>
                <a:gd name="T17" fmla="*/ 123 h 123"/>
                <a:gd name="T18" fmla="*/ 11 w 192"/>
                <a:gd name="T19" fmla="*/ 14 h 123"/>
                <a:gd name="T20" fmla="*/ 182 w 192"/>
                <a:gd name="T21" fmla="*/ 14 h 123"/>
                <a:gd name="T22" fmla="*/ 180 w 192"/>
                <a:gd name="T23" fmla="*/ 110 h 123"/>
                <a:gd name="T24" fmla="*/ 12 w 192"/>
                <a:gd name="T25" fmla="*/ 109 h 123"/>
                <a:gd name="T26" fmla="*/ 11 w 192"/>
                <a:gd name="T27"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3">
                  <a:moveTo>
                    <a:pt x="7" y="123"/>
                  </a:moveTo>
                  <a:cubicBezTo>
                    <a:pt x="185" y="123"/>
                    <a:pt x="185" y="123"/>
                    <a:pt x="185" y="123"/>
                  </a:cubicBezTo>
                  <a:cubicBezTo>
                    <a:pt x="189" y="123"/>
                    <a:pt x="192" y="120"/>
                    <a:pt x="192" y="116"/>
                  </a:cubicBezTo>
                  <a:cubicBezTo>
                    <a:pt x="192" y="8"/>
                    <a:pt x="192" y="8"/>
                    <a:pt x="192" y="8"/>
                  </a:cubicBezTo>
                  <a:cubicBezTo>
                    <a:pt x="192" y="4"/>
                    <a:pt x="189" y="0"/>
                    <a:pt x="185" y="0"/>
                  </a:cubicBezTo>
                  <a:cubicBezTo>
                    <a:pt x="7" y="0"/>
                    <a:pt x="7" y="0"/>
                    <a:pt x="7" y="0"/>
                  </a:cubicBezTo>
                  <a:cubicBezTo>
                    <a:pt x="3" y="0"/>
                    <a:pt x="0" y="4"/>
                    <a:pt x="0" y="8"/>
                  </a:cubicBezTo>
                  <a:cubicBezTo>
                    <a:pt x="0" y="116"/>
                    <a:pt x="0" y="116"/>
                    <a:pt x="0" y="116"/>
                  </a:cubicBezTo>
                  <a:cubicBezTo>
                    <a:pt x="0" y="120"/>
                    <a:pt x="3" y="123"/>
                    <a:pt x="7" y="123"/>
                  </a:cubicBezTo>
                  <a:close/>
                  <a:moveTo>
                    <a:pt x="11" y="14"/>
                  </a:moveTo>
                  <a:cubicBezTo>
                    <a:pt x="182" y="14"/>
                    <a:pt x="182" y="14"/>
                    <a:pt x="182" y="14"/>
                  </a:cubicBezTo>
                  <a:cubicBezTo>
                    <a:pt x="180" y="110"/>
                    <a:pt x="180" y="110"/>
                    <a:pt x="180" y="110"/>
                  </a:cubicBezTo>
                  <a:cubicBezTo>
                    <a:pt x="12" y="109"/>
                    <a:pt x="12" y="109"/>
                    <a:pt x="12" y="109"/>
                  </a:cubicBezTo>
                  <a:lnTo>
                    <a:pt x="11" y="14"/>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59"/>
            <p:cNvSpPr>
              <a:spLocks/>
            </p:cNvSpPr>
            <p:nvPr/>
          </p:nvSpPr>
          <p:spPr bwMode="auto">
            <a:xfrm>
              <a:off x="6542088" y="5140328"/>
              <a:ext cx="484187" cy="17463"/>
            </a:xfrm>
            <a:custGeom>
              <a:avLst/>
              <a:gdLst>
                <a:gd name="T0" fmla="*/ 0 w 252"/>
                <a:gd name="T1" fmla="*/ 0 h 9"/>
                <a:gd name="T2" fmla="*/ 12 w 252"/>
                <a:gd name="T3" fmla="*/ 9 h 9"/>
                <a:gd name="T4" fmla="*/ 240 w 252"/>
                <a:gd name="T5" fmla="*/ 9 h 9"/>
                <a:gd name="T6" fmla="*/ 252 w 252"/>
                <a:gd name="T7" fmla="*/ 0 h 9"/>
                <a:gd name="T8" fmla="*/ 0 w 252"/>
                <a:gd name="T9" fmla="*/ 0 h 9"/>
              </a:gdLst>
              <a:ahLst/>
              <a:cxnLst>
                <a:cxn ang="0">
                  <a:pos x="T0" y="T1"/>
                </a:cxn>
                <a:cxn ang="0">
                  <a:pos x="T2" y="T3"/>
                </a:cxn>
                <a:cxn ang="0">
                  <a:pos x="T4" y="T5"/>
                </a:cxn>
                <a:cxn ang="0">
                  <a:pos x="T6" y="T7"/>
                </a:cxn>
                <a:cxn ang="0">
                  <a:pos x="T8" y="T9"/>
                </a:cxn>
              </a:cxnLst>
              <a:rect l="0" t="0" r="r" b="b"/>
              <a:pathLst>
                <a:path w="252" h="9">
                  <a:moveTo>
                    <a:pt x="0" y="0"/>
                  </a:moveTo>
                  <a:cubicBezTo>
                    <a:pt x="2" y="5"/>
                    <a:pt x="6" y="9"/>
                    <a:pt x="12" y="9"/>
                  </a:cubicBezTo>
                  <a:cubicBezTo>
                    <a:pt x="240" y="9"/>
                    <a:pt x="240" y="9"/>
                    <a:pt x="240" y="9"/>
                  </a:cubicBezTo>
                  <a:cubicBezTo>
                    <a:pt x="246" y="9"/>
                    <a:pt x="251" y="5"/>
                    <a:pt x="252" y="0"/>
                  </a:cubicBezTo>
                  <a:lnTo>
                    <a:pt x="0" y="0"/>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60"/>
            <p:cNvSpPr>
              <a:spLocks/>
            </p:cNvSpPr>
            <p:nvPr/>
          </p:nvSpPr>
          <p:spPr bwMode="auto">
            <a:xfrm>
              <a:off x="6543675" y="5092703"/>
              <a:ext cx="479425" cy="47625"/>
            </a:xfrm>
            <a:custGeom>
              <a:avLst/>
              <a:gdLst>
                <a:gd name="T0" fmla="*/ 268 w 302"/>
                <a:gd name="T1" fmla="*/ 0 h 30"/>
                <a:gd name="T2" fmla="*/ 35 w 302"/>
                <a:gd name="T3" fmla="*/ 0 h 30"/>
                <a:gd name="T4" fmla="*/ 0 w 302"/>
                <a:gd name="T5" fmla="*/ 30 h 30"/>
                <a:gd name="T6" fmla="*/ 302 w 302"/>
                <a:gd name="T7" fmla="*/ 30 h 30"/>
                <a:gd name="T8" fmla="*/ 268 w 302"/>
                <a:gd name="T9" fmla="*/ 0 h 30"/>
              </a:gdLst>
              <a:ahLst/>
              <a:cxnLst>
                <a:cxn ang="0">
                  <a:pos x="T0" y="T1"/>
                </a:cxn>
                <a:cxn ang="0">
                  <a:pos x="T2" y="T3"/>
                </a:cxn>
                <a:cxn ang="0">
                  <a:pos x="T4" y="T5"/>
                </a:cxn>
                <a:cxn ang="0">
                  <a:pos x="T6" y="T7"/>
                </a:cxn>
                <a:cxn ang="0">
                  <a:pos x="T8" y="T9"/>
                </a:cxn>
              </a:cxnLst>
              <a:rect l="0" t="0" r="r" b="b"/>
              <a:pathLst>
                <a:path w="302" h="30">
                  <a:moveTo>
                    <a:pt x="268" y="0"/>
                  </a:moveTo>
                  <a:lnTo>
                    <a:pt x="35" y="0"/>
                  </a:lnTo>
                  <a:lnTo>
                    <a:pt x="0" y="30"/>
                  </a:lnTo>
                  <a:lnTo>
                    <a:pt x="302" y="30"/>
                  </a:lnTo>
                  <a:lnTo>
                    <a:pt x="268" y="0"/>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8" name="Freeform 161"/>
            <p:cNvSpPr>
              <a:spLocks/>
            </p:cNvSpPr>
            <p:nvPr/>
          </p:nvSpPr>
          <p:spPr bwMode="auto">
            <a:xfrm>
              <a:off x="6726238" y="5127628"/>
              <a:ext cx="114300" cy="15875"/>
            </a:xfrm>
            <a:custGeom>
              <a:avLst/>
              <a:gdLst>
                <a:gd name="T0" fmla="*/ 0 w 72"/>
                <a:gd name="T1" fmla="*/ 10 h 10"/>
                <a:gd name="T2" fmla="*/ 8 w 72"/>
                <a:gd name="T3" fmla="*/ 0 h 10"/>
                <a:gd name="T4" fmla="*/ 65 w 72"/>
                <a:gd name="T5" fmla="*/ 0 h 10"/>
                <a:gd name="T6" fmla="*/ 72 w 72"/>
                <a:gd name="T7" fmla="*/ 10 h 10"/>
                <a:gd name="T8" fmla="*/ 0 w 72"/>
                <a:gd name="T9" fmla="*/ 10 h 10"/>
              </a:gdLst>
              <a:ahLst/>
              <a:cxnLst>
                <a:cxn ang="0">
                  <a:pos x="T0" y="T1"/>
                </a:cxn>
                <a:cxn ang="0">
                  <a:pos x="T2" y="T3"/>
                </a:cxn>
                <a:cxn ang="0">
                  <a:pos x="T4" y="T5"/>
                </a:cxn>
                <a:cxn ang="0">
                  <a:pos x="T6" y="T7"/>
                </a:cxn>
                <a:cxn ang="0">
                  <a:pos x="T8" y="T9"/>
                </a:cxn>
              </a:cxnLst>
              <a:rect l="0" t="0" r="r" b="b"/>
              <a:pathLst>
                <a:path w="72" h="10">
                  <a:moveTo>
                    <a:pt x="0" y="10"/>
                  </a:moveTo>
                  <a:lnTo>
                    <a:pt x="8" y="0"/>
                  </a:lnTo>
                  <a:lnTo>
                    <a:pt x="65" y="0"/>
                  </a:lnTo>
                  <a:lnTo>
                    <a:pt x="72" y="10"/>
                  </a:lnTo>
                  <a:lnTo>
                    <a:pt x="0"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Rectangle 162"/>
            <p:cNvSpPr>
              <a:spLocks noChangeArrowheads="1"/>
            </p:cNvSpPr>
            <p:nvPr/>
          </p:nvSpPr>
          <p:spPr bwMode="auto">
            <a:xfrm>
              <a:off x="6619875" y="4873628"/>
              <a:ext cx="327025" cy="1857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63"/>
            <p:cNvSpPr>
              <a:spLocks/>
            </p:cNvSpPr>
            <p:nvPr/>
          </p:nvSpPr>
          <p:spPr bwMode="auto">
            <a:xfrm>
              <a:off x="6881813" y="4846640"/>
              <a:ext cx="85725" cy="33338"/>
            </a:xfrm>
            <a:custGeom>
              <a:avLst/>
              <a:gdLst>
                <a:gd name="T0" fmla="*/ 0 w 54"/>
                <a:gd name="T1" fmla="*/ 0 h 21"/>
                <a:gd name="T2" fmla="*/ 54 w 54"/>
                <a:gd name="T3" fmla="*/ 0 h 21"/>
                <a:gd name="T4" fmla="*/ 54 w 54"/>
                <a:gd name="T5" fmla="*/ 21 h 21"/>
                <a:gd name="T6" fmla="*/ 0 w 54"/>
                <a:gd name="T7" fmla="*/ 0 h 21"/>
              </a:gdLst>
              <a:ahLst/>
              <a:cxnLst>
                <a:cxn ang="0">
                  <a:pos x="T0" y="T1"/>
                </a:cxn>
                <a:cxn ang="0">
                  <a:pos x="T2" y="T3"/>
                </a:cxn>
                <a:cxn ang="0">
                  <a:pos x="T4" y="T5"/>
                </a:cxn>
                <a:cxn ang="0">
                  <a:pos x="T6" y="T7"/>
                </a:cxn>
              </a:cxnLst>
              <a:rect l="0" t="0" r="r" b="b"/>
              <a:pathLst>
                <a:path w="54" h="21">
                  <a:moveTo>
                    <a:pt x="0" y="0"/>
                  </a:moveTo>
                  <a:lnTo>
                    <a:pt x="54" y="0"/>
                  </a:lnTo>
                  <a:lnTo>
                    <a:pt x="54" y="21"/>
                  </a:lnTo>
                  <a:lnTo>
                    <a:pt x="0" y="0"/>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3" name="Group 592"/>
          <p:cNvGrpSpPr>
            <a:grpSpLocks noChangeAspect="1"/>
          </p:cNvGrpSpPr>
          <p:nvPr/>
        </p:nvGrpSpPr>
        <p:grpSpPr>
          <a:xfrm>
            <a:off x="6422847" y="4348931"/>
            <a:ext cx="798512" cy="746126"/>
            <a:chOff x="7572375" y="4632328"/>
            <a:chExt cx="798512" cy="746126"/>
          </a:xfrm>
        </p:grpSpPr>
        <p:sp>
          <p:nvSpPr>
            <p:cNvPr id="271" name="Freeform 164"/>
            <p:cNvSpPr>
              <a:spLocks/>
            </p:cNvSpPr>
            <p:nvPr/>
          </p:nvSpPr>
          <p:spPr bwMode="auto">
            <a:xfrm>
              <a:off x="7572375" y="4632328"/>
              <a:ext cx="798512" cy="746126"/>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72" name="Freeform 165"/>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73" name="Freeform 166"/>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74" name="Freeform 167"/>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75" name="Freeform 168"/>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76" name="Freeform 169"/>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170"/>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1" name="Group 590"/>
          <p:cNvGrpSpPr/>
          <p:nvPr/>
        </p:nvGrpSpPr>
        <p:grpSpPr>
          <a:xfrm>
            <a:off x="3997930" y="4348931"/>
            <a:ext cx="842962" cy="793751"/>
            <a:chOff x="5153025" y="4606928"/>
            <a:chExt cx="842962" cy="793751"/>
          </a:xfrm>
        </p:grpSpPr>
        <p:sp>
          <p:nvSpPr>
            <p:cNvPr id="278" name="Freeform 171"/>
            <p:cNvSpPr>
              <a:spLocks/>
            </p:cNvSpPr>
            <p:nvPr/>
          </p:nvSpPr>
          <p:spPr bwMode="auto">
            <a:xfrm>
              <a:off x="5153025" y="4606928"/>
              <a:ext cx="842962" cy="793751"/>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a:p>
          </p:txBody>
        </p:sp>
        <p:sp>
          <p:nvSpPr>
            <p:cNvPr id="279" name="Freeform 172"/>
            <p:cNvSpPr>
              <a:spLocks/>
            </p:cNvSpPr>
            <p:nvPr/>
          </p:nvSpPr>
          <p:spPr bwMode="auto">
            <a:xfrm>
              <a:off x="5373688" y="4819653"/>
              <a:ext cx="404812" cy="388938"/>
            </a:xfrm>
            <a:custGeom>
              <a:avLst/>
              <a:gdLst>
                <a:gd name="T0" fmla="*/ 207 w 211"/>
                <a:gd name="T1" fmla="*/ 78 h 201"/>
                <a:gd name="T2" fmla="*/ 211 w 211"/>
                <a:gd name="T3" fmla="*/ 108 h 201"/>
                <a:gd name="T4" fmla="*/ 179 w 211"/>
                <a:gd name="T5" fmla="*/ 184 h 201"/>
                <a:gd name="T6" fmla="*/ 109 w 211"/>
                <a:gd name="T7" fmla="*/ 184 h 201"/>
                <a:gd name="T8" fmla="*/ 35 w 211"/>
                <a:gd name="T9" fmla="*/ 184 h 201"/>
                <a:gd name="T10" fmla="*/ 0 w 211"/>
                <a:gd name="T11" fmla="*/ 106 h 201"/>
                <a:gd name="T12" fmla="*/ 106 w 211"/>
                <a:gd name="T13" fmla="*/ 0 h 201"/>
                <a:gd name="T14" fmla="*/ 177 w 211"/>
                <a:gd name="T15" fmla="*/ 29 h 201"/>
                <a:gd name="T16" fmla="*/ 177 w 211"/>
                <a:gd name="T17" fmla="*/ 58 h 201"/>
                <a:gd name="T18" fmla="*/ 155 w 211"/>
                <a:gd name="T19" fmla="*/ 58 h 201"/>
                <a:gd name="T20" fmla="*/ 188 w 211"/>
                <a:gd name="T21" fmla="*/ 92 h 201"/>
                <a:gd name="T22" fmla="*/ 207 w 211"/>
                <a:gd name="T23" fmla="*/ 7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 h="201">
                  <a:moveTo>
                    <a:pt x="207" y="78"/>
                  </a:moveTo>
                  <a:cubicBezTo>
                    <a:pt x="210" y="88"/>
                    <a:pt x="211" y="98"/>
                    <a:pt x="211" y="108"/>
                  </a:cubicBezTo>
                  <a:cubicBezTo>
                    <a:pt x="211" y="138"/>
                    <a:pt x="199" y="165"/>
                    <a:pt x="179" y="184"/>
                  </a:cubicBezTo>
                  <a:cubicBezTo>
                    <a:pt x="179" y="184"/>
                    <a:pt x="162" y="167"/>
                    <a:pt x="109" y="184"/>
                  </a:cubicBezTo>
                  <a:cubicBezTo>
                    <a:pt x="55" y="201"/>
                    <a:pt x="35" y="184"/>
                    <a:pt x="35" y="184"/>
                  </a:cubicBezTo>
                  <a:cubicBezTo>
                    <a:pt x="13" y="165"/>
                    <a:pt x="0" y="137"/>
                    <a:pt x="0" y="106"/>
                  </a:cubicBezTo>
                  <a:cubicBezTo>
                    <a:pt x="0" y="48"/>
                    <a:pt x="47" y="0"/>
                    <a:pt x="106" y="0"/>
                  </a:cubicBezTo>
                  <a:cubicBezTo>
                    <a:pt x="133" y="0"/>
                    <a:pt x="158" y="11"/>
                    <a:pt x="177" y="29"/>
                  </a:cubicBezTo>
                  <a:cubicBezTo>
                    <a:pt x="177" y="58"/>
                    <a:pt x="177" y="58"/>
                    <a:pt x="177" y="58"/>
                  </a:cubicBezTo>
                  <a:cubicBezTo>
                    <a:pt x="155" y="58"/>
                    <a:pt x="155" y="58"/>
                    <a:pt x="155" y="58"/>
                  </a:cubicBezTo>
                  <a:cubicBezTo>
                    <a:pt x="188" y="92"/>
                    <a:pt x="188" y="92"/>
                    <a:pt x="188" y="92"/>
                  </a:cubicBezTo>
                  <a:lnTo>
                    <a:pt x="207" y="78"/>
                  </a:ln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a:p>
          </p:txBody>
        </p:sp>
        <p:sp>
          <p:nvSpPr>
            <p:cNvPr id="280" name="Freeform 173"/>
            <p:cNvSpPr>
              <a:spLocks/>
            </p:cNvSpPr>
            <p:nvPr/>
          </p:nvSpPr>
          <p:spPr bwMode="auto">
            <a:xfrm>
              <a:off x="5486400" y="4873628"/>
              <a:ext cx="150812" cy="263525"/>
            </a:xfrm>
            <a:custGeom>
              <a:avLst/>
              <a:gdLst>
                <a:gd name="T0" fmla="*/ 33 w 78"/>
                <a:gd name="T1" fmla="*/ 79 h 136"/>
                <a:gd name="T2" fmla="*/ 47 w 78"/>
                <a:gd name="T3" fmla="*/ 89 h 136"/>
                <a:gd name="T4" fmla="*/ 35 w 78"/>
                <a:gd name="T5" fmla="*/ 96 h 136"/>
                <a:gd name="T6" fmla="*/ 11 w 78"/>
                <a:gd name="T7" fmla="*/ 91 h 136"/>
                <a:gd name="T8" fmla="*/ 10 w 78"/>
                <a:gd name="T9" fmla="*/ 91 h 136"/>
                <a:gd name="T10" fmla="*/ 6 w 78"/>
                <a:gd name="T11" fmla="*/ 93 h 136"/>
                <a:gd name="T12" fmla="*/ 2 w 78"/>
                <a:gd name="T13" fmla="*/ 109 h 136"/>
                <a:gd name="T14" fmla="*/ 4 w 78"/>
                <a:gd name="T15" fmla="*/ 115 h 136"/>
                <a:gd name="T16" fmla="*/ 29 w 78"/>
                <a:gd name="T17" fmla="*/ 120 h 136"/>
                <a:gd name="T18" fmla="*/ 29 w 78"/>
                <a:gd name="T19" fmla="*/ 132 h 136"/>
                <a:gd name="T20" fmla="*/ 33 w 78"/>
                <a:gd name="T21" fmla="*/ 136 h 136"/>
                <a:gd name="T22" fmla="*/ 46 w 78"/>
                <a:gd name="T23" fmla="*/ 136 h 136"/>
                <a:gd name="T24" fmla="*/ 50 w 78"/>
                <a:gd name="T25" fmla="*/ 131 h 136"/>
                <a:gd name="T26" fmla="*/ 50 w 78"/>
                <a:gd name="T27" fmla="*/ 119 h 136"/>
                <a:gd name="T28" fmla="*/ 78 w 78"/>
                <a:gd name="T29" fmla="*/ 87 h 136"/>
                <a:gd name="T30" fmla="*/ 49 w 78"/>
                <a:gd name="T31" fmla="*/ 55 h 136"/>
                <a:gd name="T32" fmla="*/ 31 w 78"/>
                <a:gd name="T33" fmla="*/ 44 h 136"/>
                <a:gd name="T34" fmla="*/ 42 w 78"/>
                <a:gd name="T35" fmla="*/ 37 h 136"/>
                <a:gd name="T36" fmla="*/ 62 w 78"/>
                <a:gd name="T37" fmla="*/ 41 h 136"/>
                <a:gd name="T38" fmla="*/ 63 w 78"/>
                <a:gd name="T39" fmla="*/ 41 h 136"/>
                <a:gd name="T40" fmla="*/ 67 w 78"/>
                <a:gd name="T41" fmla="*/ 39 h 136"/>
                <a:gd name="T42" fmla="*/ 71 w 78"/>
                <a:gd name="T43" fmla="*/ 24 h 136"/>
                <a:gd name="T44" fmla="*/ 69 w 78"/>
                <a:gd name="T45" fmla="*/ 19 h 136"/>
                <a:gd name="T46" fmla="*/ 49 w 78"/>
                <a:gd name="T47" fmla="*/ 14 h 136"/>
                <a:gd name="T48" fmla="*/ 49 w 78"/>
                <a:gd name="T49" fmla="*/ 4 h 136"/>
                <a:gd name="T50" fmla="*/ 43 w 78"/>
                <a:gd name="T51" fmla="*/ 0 h 136"/>
                <a:gd name="T52" fmla="*/ 43 w 78"/>
                <a:gd name="T53" fmla="*/ 0 h 136"/>
                <a:gd name="T54" fmla="*/ 31 w 78"/>
                <a:gd name="T55" fmla="*/ 0 h 136"/>
                <a:gd name="T56" fmla="*/ 27 w 78"/>
                <a:gd name="T57" fmla="*/ 4 h 136"/>
                <a:gd name="T58" fmla="*/ 27 w 78"/>
                <a:gd name="T59" fmla="*/ 16 h 136"/>
                <a:gd name="T60" fmla="*/ 0 w 78"/>
                <a:gd name="T61" fmla="*/ 47 h 136"/>
                <a:gd name="T62" fmla="*/ 33 w 78"/>
                <a:gd name="T63"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136">
                  <a:moveTo>
                    <a:pt x="33" y="79"/>
                  </a:moveTo>
                  <a:cubicBezTo>
                    <a:pt x="45" y="83"/>
                    <a:pt x="47" y="85"/>
                    <a:pt x="47" y="89"/>
                  </a:cubicBezTo>
                  <a:cubicBezTo>
                    <a:pt x="47" y="95"/>
                    <a:pt x="41" y="96"/>
                    <a:pt x="35" y="96"/>
                  </a:cubicBezTo>
                  <a:cubicBezTo>
                    <a:pt x="25" y="97"/>
                    <a:pt x="17" y="93"/>
                    <a:pt x="11" y="91"/>
                  </a:cubicBezTo>
                  <a:cubicBezTo>
                    <a:pt x="10" y="91"/>
                    <a:pt x="10" y="91"/>
                    <a:pt x="10" y="91"/>
                  </a:cubicBezTo>
                  <a:cubicBezTo>
                    <a:pt x="7" y="91"/>
                    <a:pt x="6" y="92"/>
                    <a:pt x="6" y="93"/>
                  </a:cubicBezTo>
                  <a:cubicBezTo>
                    <a:pt x="2" y="109"/>
                    <a:pt x="2" y="109"/>
                    <a:pt x="2" y="109"/>
                  </a:cubicBezTo>
                  <a:cubicBezTo>
                    <a:pt x="2" y="112"/>
                    <a:pt x="2" y="113"/>
                    <a:pt x="4" y="115"/>
                  </a:cubicBezTo>
                  <a:cubicBezTo>
                    <a:pt x="11" y="119"/>
                    <a:pt x="21" y="120"/>
                    <a:pt x="29" y="120"/>
                  </a:cubicBezTo>
                  <a:cubicBezTo>
                    <a:pt x="29" y="132"/>
                    <a:pt x="29" y="132"/>
                    <a:pt x="29" y="132"/>
                  </a:cubicBezTo>
                  <a:cubicBezTo>
                    <a:pt x="29" y="135"/>
                    <a:pt x="31" y="136"/>
                    <a:pt x="33" y="136"/>
                  </a:cubicBezTo>
                  <a:cubicBezTo>
                    <a:pt x="46" y="136"/>
                    <a:pt x="46" y="136"/>
                    <a:pt x="46" y="136"/>
                  </a:cubicBezTo>
                  <a:cubicBezTo>
                    <a:pt x="49" y="136"/>
                    <a:pt x="50" y="133"/>
                    <a:pt x="50" y="131"/>
                  </a:cubicBezTo>
                  <a:cubicBezTo>
                    <a:pt x="50" y="119"/>
                    <a:pt x="50" y="119"/>
                    <a:pt x="50" y="119"/>
                  </a:cubicBezTo>
                  <a:cubicBezTo>
                    <a:pt x="67" y="115"/>
                    <a:pt x="78" y="103"/>
                    <a:pt x="78" y="87"/>
                  </a:cubicBezTo>
                  <a:cubicBezTo>
                    <a:pt x="77" y="71"/>
                    <a:pt x="69" y="61"/>
                    <a:pt x="49" y="55"/>
                  </a:cubicBezTo>
                  <a:cubicBezTo>
                    <a:pt x="35" y="49"/>
                    <a:pt x="31" y="47"/>
                    <a:pt x="31" y="44"/>
                  </a:cubicBezTo>
                  <a:cubicBezTo>
                    <a:pt x="31" y="39"/>
                    <a:pt x="38" y="37"/>
                    <a:pt x="42" y="37"/>
                  </a:cubicBezTo>
                  <a:cubicBezTo>
                    <a:pt x="51" y="37"/>
                    <a:pt x="58" y="40"/>
                    <a:pt x="62" y="41"/>
                  </a:cubicBezTo>
                  <a:cubicBezTo>
                    <a:pt x="63" y="41"/>
                    <a:pt x="63" y="41"/>
                    <a:pt x="63" y="41"/>
                  </a:cubicBezTo>
                  <a:cubicBezTo>
                    <a:pt x="66" y="41"/>
                    <a:pt x="67" y="40"/>
                    <a:pt x="67" y="39"/>
                  </a:cubicBezTo>
                  <a:cubicBezTo>
                    <a:pt x="71" y="24"/>
                    <a:pt x="71" y="24"/>
                    <a:pt x="71" y="24"/>
                  </a:cubicBezTo>
                  <a:cubicBezTo>
                    <a:pt x="71" y="22"/>
                    <a:pt x="71" y="19"/>
                    <a:pt x="69" y="19"/>
                  </a:cubicBezTo>
                  <a:cubicBezTo>
                    <a:pt x="62" y="16"/>
                    <a:pt x="55" y="15"/>
                    <a:pt x="49" y="14"/>
                  </a:cubicBezTo>
                  <a:cubicBezTo>
                    <a:pt x="49" y="4"/>
                    <a:pt x="49" y="4"/>
                    <a:pt x="49" y="4"/>
                  </a:cubicBezTo>
                  <a:cubicBezTo>
                    <a:pt x="49" y="2"/>
                    <a:pt x="46" y="0"/>
                    <a:pt x="43" y="0"/>
                  </a:cubicBezTo>
                  <a:cubicBezTo>
                    <a:pt x="43" y="0"/>
                    <a:pt x="43" y="0"/>
                    <a:pt x="43" y="0"/>
                  </a:cubicBezTo>
                  <a:cubicBezTo>
                    <a:pt x="31" y="0"/>
                    <a:pt x="31" y="0"/>
                    <a:pt x="31" y="0"/>
                  </a:cubicBezTo>
                  <a:cubicBezTo>
                    <a:pt x="29" y="0"/>
                    <a:pt x="27" y="3"/>
                    <a:pt x="27" y="4"/>
                  </a:cubicBezTo>
                  <a:cubicBezTo>
                    <a:pt x="27" y="16"/>
                    <a:pt x="27" y="16"/>
                    <a:pt x="27" y="16"/>
                  </a:cubicBezTo>
                  <a:cubicBezTo>
                    <a:pt x="10" y="20"/>
                    <a:pt x="0" y="32"/>
                    <a:pt x="0" y="47"/>
                  </a:cubicBezTo>
                  <a:cubicBezTo>
                    <a:pt x="2" y="67"/>
                    <a:pt x="18" y="73"/>
                    <a:pt x="33" y="79"/>
                  </a:cubicBezTo>
                  <a:close/>
                </a:path>
              </a:pathLst>
            </a:custGeom>
            <a:solidFill>
              <a:srgbClr val="175A6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74"/>
            <p:cNvSpPr>
              <a:spLocks/>
            </p:cNvSpPr>
            <p:nvPr/>
          </p:nvSpPr>
          <p:spPr bwMode="auto">
            <a:xfrm>
              <a:off x="5694363" y="4941890"/>
              <a:ext cx="100012" cy="44450"/>
            </a:xfrm>
            <a:custGeom>
              <a:avLst/>
              <a:gdLst>
                <a:gd name="T0" fmla="*/ 0 w 63"/>
                <a:gd name="T1" fmla="*/ 0 h 28"/>
                <a:gd name="T2" fmla="*/ 27 w 63"/>
                <a:gd name="T3" fmla="*/ 28 h 28"/>
                <a:gd name="T4" fmla="*/ 63 w 63"/>
                <a:gd name="T5" fmla="*/ 0 h 28"/>
                <a:gd name="T6" fmla="*/ 0 w 63"/>
                <a:gd name="T7" fmla="*/ 0 h 28"/>
              </a:gdLst>
              <a:ahLst/>
              <a:cxnLst>
                <a:cxn ang="0">
                  <a:pos x="T0" y="T1"/>
                </a:cxn>
                <a:cxn ang="0">
                  <a:pos x="T2" y="T3"/>
                </a:cxn>
                <a:cxn ang="0">
                  <a:pos x="T4" y="T5"/>
                </a:cxn>
                <a:cxn ang="0">
                  <a:pos x="T6" y="T7"/>
                </a:cxn>
              </a:cxnLst>
              <a:rect l="0" t="0" r="r" b="b"/>
              <a:pathLst>
                <a:path w="63" h="28">
                  <a:moveTo>
                    <a:pt x="0" y="0"/>
                  </a:moveTo>
                  <a:lnTo>
                    <a:pt x="27" y="28"/>
                  </a:lnTo>
                  <a:lnTo>
                    <a:pt x="63"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Rectangle 175"/>
            <p:cNvSpPr>
              <a:spLocks noChangeArrowheads="1"/>
            </p:cNvSpPr>
            <p:nvPr/>
          </p:nvSpPr>
          <p:spPr bwMode="auto">
            <a:xfrm>
              <a:off x="5722938" y="4870453"/>
              <a:ext cx="36512" cy="889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9" name="Group 588"/>
          <p:cNvGrpSpPr/>
          <p:nvPr/>
        </p:nvGrpSpPr>
        <p:grpSpPr>
          <a:xfrm>
            <a:off x="1573861" y="4348931"/>
            <a:ext cx="825501" cy="777876"/>
            <a:chOff x="2763838" y="4614865"/>
            <a:chExt cx="825500" cy="777876"/>
          </a:xfrm>
        </p:grpSpPr>
        <p:sp>
          <p:nvSpPr>
            <p:cNvPr id="283" name="Freeform 176"/>
            <p:cNvSpPr>
              <a:spLocks/>
            </p:cNvSpPr>
            <p:nvPr/>
          </p:nvSpPr>
          <p:spPr bwMode="auto">
            <a:xfrm>
              <a:off x="2763838" y="4614865"/>
              <a:ext cx="825500" cy="777876"/>
            </a:xfrm>
            <a:custGeom>
              <a:avLst/>
              <a:gdLst>
                <a:gd name="T0" fmla="*/ 62 w 430"/>
                <a:gd name="T1" fmla="*/ 314 h 402"/>
                <a:gd name="T2" fmla="*/ 103 w 430"/>
                <a:gd name="T3" fmla="*/ 60 h 402"/>
                <a:gd name="T4" fmla="*/ 368 w 430"/>
                <a:gd name="T5" fmla="*/ 97 h 402"/>
                <a:gd name="T6" fmla="*/ 320 w 430"/>
                <a:gd name="T7" fmla="*/ 342 h 402"/>
                <a:gd name="T8" fmla="*/ 62 w 430"/>
                <a:gd name="T9" fmla="*/ 314 h 402"/>
              </a:gdLst>
              <a:ahLst/>
              <a:cxnLst>
                <a:cxn ang="0">
                  <a:pos x="T0" y="T1"/>
                </a:cxn>
                <a:cxn ang="0">
                  <a:pos x="T2" y="T3"/>
                </a:cxn>
                <a:cxn ang="0">
                  <a:pos x="T4" y="T5"/>
                </a:cxn>
                <a:cxn ang="0">
                  <a:pos x="T6" y="T7"/>
                </a:cxn>
                <a:cxn ang="0">
                  <a:pos x="T8" y="T9"/>
                </a:cxn>
              </a:cxnLst>
              <a:rect l="0" t="0" r="r" b="b"/>
              <a:pathLst>
                <a:path w="430" h="402">
                  <a:moveTo>
                    <a:pt x="62" y="314"/>
                  </a:moveTo>
                  <a:cubicBezTo>
                    <a:pt x="0" y="234"/>
                    <a:pt x="18" y="120"/>
                    <a:pt x="103" y="60"/>
                  </a:cubicBezTo>
                  <a:cubicBezTo>
                    <a:pt x="188" y="0"/>
                    <a:pt x="306" y="17"/>
                    <a:pt x="368" y="97"/>
                  </a:cubicBezTo>
                  <a:cubicBezTo>
                    <a:pt x="430" y="178"/>
                    <a:pt x="405" y="282"/>
                    <a:pt x="320" y="342"/>
                  </a:cubicBezTo>
                  <a:cubicBezTo>
                    <a:pt x="235" y="402"/>
                    <a:pt x="123" y="395"/>
                    <a:pt x="62" y="314"/>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84" name="Oval 177"/>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5" name="Freeform 178"/>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6" name="Freeform 179"/>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80"/>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81"/>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82"/>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83"/>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87" name="Group 586"/>
          <p:cNvGrpSpPr/>
          <p:nvPr/>
        </p:nvGrpSpPr>
        <p:grpSpPr>
          <a:xfrm>
            <a:off x="367508" y="4348931"/>
            <a:ext cx="846137" cy="795338"/>
            <a:chOff x="354013" y="4606928"/>
            <a:chExt cx="846137" cy="795338"/>
          </a:xfrm>
        </p:grpSpPr>
        <p:sp>
          <p:nvSpPr>
            <p:cNvPr id="291" name="Freeform 184"/>
            <p:cNvSpPr>
              <a:spLocks/>
            </p:cNvSpPr>
            <p:nvPr/>
          </p:nvSpPr>
          <p:spPr bwMode="auto">
            <a:xfrm>
              <a:off x="354013" y="4606928"/>
              <a:ext cx="846137" cy="795338"/>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sp>
          <p:nvSpPr>
            <p:cNvPr id="292" name="Freeform 185"/>
            <p:cNvSpPr>
              <a:spLocks/>
            </p:cNvSpPr>
            <p:nvPr/>
          </p:nvSpPr>
          <p:spPr bwMode="auto">
            <a:xfrm>
              <a:off x="568325" y="4824415"/>
              <a:ext cx="420687" cy="207963"/>
            </a:xfrm>
            <a:custGeom>
              <a:avLst/>
              <a:gdLst>
                <a:gd name="T0" fmla="*/ 148 w 219"/>
                <a:gd name="T1" fmla="*/ 0 h 108"/>
                <a:gd name="T2" fmla="*/ 149 w 219"/>
                <a:gd name="T3" fmla="*/ 0 h 108"/>
                <a:gd name="T4" fmla="*/ 219 w 219"/>
                <a:gd name="T5" fmla="*/ 9 h 108"/>
                <a:gd name="T6" fmla="*/ 219 w 219"/>
                <a:gd name="T7" fmla="*/ 10 h 108"/>
                <a:gd name="T8" fmla="*/ 194 w 219"/>
                <a:gd name="T9" fmla="*/ 75 h 108"/>
                <a:gd name="T10" fmla="*/ 179 w 219"/>
                <a:gd name="T11" fmla="*/ 51 h 108"/>
                <a:gd name="T12" fmla="*/ 107 w 219"/>
                <a:gd name="T13" fmla="*/ 93 h 108"/>
                <a:gd name="T14" fmla="*/ 96 w 219"/>
                <a:gd name="T15" fmla="*/ 83 h 108"/>
                <a:gd name="T16" fmla="*/ 85 w 219"/>
                <a:gd name="T17" fmla="*/ 72 h 108"/>
                <a:gd name="T18" fmla="*/ 16 w 219"/>
                <a:gd name="T19" fmla="*/ 108 h 108"/>
                <a:gd name="T20" fmla="*/ 1 w 219"/>
                <a:gd name="T21" fmla="*/ 82 h 108"/>
                <a:gd name="T22" fmla="*/ 1 w 219"/>
                <a:gd name="T23" fmla="*/ 81 h 108"/>
                <a:gd name="T24" fmla="*/ 90 w 219"/>
                <a:gd name="T25" fmla="*/ 35 h 108"/>
                <a:gd name="T26" fmla="*/ 102 w 219"/>
                <a:gd name="T27" fmla="*/ 44 h 108"/>
                <a:gd name="T28" fmla="*/ 112 w 219"/>
                <a:gd name="T29" fmla="*/ 55 h 108"/>
                <a:gd name="T30" fmla="*/ 163 w 219"/>
                <a:gd name="T31" fmla="*/ 25 h 108"/>
                <a:gd name="T32" fmla="*/ 148 w 219"/>
                <a:gd name="T33"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9" h="108">
                  <a:moveTo>
                    <a:pt x="148" y="0"/>
                  </a:moveTo>
                  <a:cubicBezTo>
                    <a:pt x="148" y="0"/>
                    <a:pt x="148" y="0"/>
                    <a:pt x="149" y="0"/>
                  </a:cubicBezTo>
                  <a:cubicBezTo>
                    <a:pt x="172" y="3"/>
                    <a:pt x="196" y="6"/>
                    <a:pt x="219" y="9"/>
                  </a:cubicBezTo>
                  <a:cubicBezTo>
                    <a:pt x="219" y="9"/>
                    <a:pt x="219" y="9"/>
                    <a:pt x="219" y="10"/>
                  </a:cubicBezTo>
                  <a:cubicBezTo>
                    <a:pt x="215" y="31"/>
                    <a:pt x="208" y="53"/>
                    <a:pt x="194" y="75"/>
                  </a:cubicBezTo>
                  <a:cubicBezTo>
                    <a:pt x="189" y="68"/>
                    <a:pt x="183" y="62"/>
                    <a:pt x="179" y="51"/>
                  </a:cubicBezTo>
                  <a:cubicBezTo>
                    <a:pt x="155" y="65"/>
                    <a:pt x="131" y="79"/>
                    <a:pt x="107" y="93"/>
                  </a:cubicBezTo>
                  <a:cubicBezTo>
                    <a:pt x="103" y="91"/>
                    <a:pt x="99" y="87"/>
                    <a:pt x="96" y="83"/>
                  </a:cubicBezTo>
                  <a:cubicBezTo>
                    <a:pt x="92" y="79"/>
                    <a:pt x="89" y="75"/>
                    <a:pt x="85" y="72"/>
                  </a:cubicBezTo>
                  <a:cubicBezTo>
                    <a:pt x="62" y="84"/>
                    <a:pt x="39" y="96"/>
                    <a:pt x="16" y="108"/>
                  </a:cubicBezTo>
                  <a:cubicBezTo>
                    <a:pt x="14" y="99"/>
                    <a:pt x="0" y="93"/>
                    <a:pt x="1" y="82"/>
                  </a:cubicBezTo>
                  <a:cubicBezTo>
                    <a:pt x="1" y="82"/>
                    <a:pt x="1" y="82"/>
                    <a:pt x="1" y="81"/>
                  </a:cubicBezTo>
                  <a:cubicBezTo>
                    <a:pt x="31" y="66"/>
                    <a:pt x="60" y="51"/>
                    <a:pt x="90" y="35"/>
                  </a:cubicBezTo>
                  <a:cubicBezTo>
                    <a:pt x="94" y="35"/>
                    <a:pt x="97" y="39"/>
                    <a:pt x="102" y="44"/>
                  </a:cubicBezTo>
                  <a:cubicBezTo>
                    <a:pt x="105" y="48"/>
                    <a:pt x="108" y="53"/>
                    <a:pt x="112" y="55"/>
                  </a:cubicBezTo>
                  <a:cubicBezTo>
                    <a:pt x="129" y="45"/>
                    <a:pt x="146" y="35"/>
                    <a:pt x="163" y="25"/>
                  </a:cubicBezTo>
                  <a:cubicBezTo>
                    <a:pt x="155" y="17"/>
                    <a:pt x="153" y="9"/>
                    <a:pt x="14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86"/>
            <p:cNvSpPr>
              <a:spLocks/>
            </p:cNvSpPr>
            <p:nvPr/>
          </p:nvSpPr>
          <p:spPr bwMode="auto">
            <a:xfrm>
              <a:off x="847725" y="4953003"/>
              <a:ext cx="60325" cy="222250"/>
            </a:xfrm>
            <a:custGeom>
              <a:avLst/>
              <a:gdLst>
                <a:gd name="T0" fmla="*/ 25 w 31"/>
                <a:gd name="T1" fmla="*/ 115 h 115"/>
                <a:gd name="T2" fmla="*/ 6 w 31"/>
                <a:gd name="T3" fmla="*/ 115 h 115"/>
                <a:gd name="T4" fmla="*/ 0 w 31"/>
                <a:gd name="T5" fmla="*/ 110 h 115"/>
                <a:gd name="T6" fmla="*/ 0 w 31"/>
                <a:gd name="T7" fmla="*/ 19 h 115"/>
                <a:gd name="T8" fmla="*/ 3 w 31"/>
                <a:gd name="T9" fmla="*/ 14 h 115"/>
                <a:gd name="T10" fmla="*/ 23 w 31"/>
                <a:gd name="T11" fmla="*/ 2 h 115"/>
                <a:gd name="T12" fmla="*/ 31 w 31"/>
                <a:gd name="T13" fmla="*/ 7 h 115"/>
                <a:gd name="T14" fmla="*/ 31 w 31"/>
                <a:gd name="T15" fmla="*/ 110 h 115"/>
                <a:gd name="T16" fmla="*/ 25 w 31"/>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15">
                  <a:moveTo>
                    <a:pt x="25" y="115"/>
                  </a:moveTo>
                  <a:cubicBezTo>
                    <a:pt x="6" y="115"/>
                    <a:pt x="6" y="115"/>
                    <a:pt x="6" y="115"/>
                  </a:cubicBezTo>
                  <a:cubicBezTo>
                    <a:pt x="3" y="115"/>
                    <a:pt x="0" y="113"/>
                    <a:pt x="0" y="110"/>
                  </a:cubicBezTo>
                  <a:cubicBezTo>
                    <a:pt x="0" y="19"/>
                    <a:pt x="0" y="19"/>
                    <a:pt x="0" y="19"/>
                  </a:cubicBezTo>
                  <a:cubicBezTo>
                    <a:pt x="0" y="17"/>
                    <a:pt x="1" y="15"/>
                    <a:pt x="3" y="14"/>
                  </a:cubicBezTo>
                  <a:cubicBezTo>
                    <a:pt x="10" y="10"/>
                    <a:pt x="16" y="6"/>
                    <a:pt x="23" y="2"/>
                  </a:cubicBezTo>
                  <a:cubicBezTo>
                    <a:pt x="26" y="0"/>
                    <a:pt x="31" y="3"/>
                    <a:pt x="31" y="7"/>
                  </a:cubicBezTo>
                  <a:cubicBezTo>
                    <a:pt x="31" y="110"/>
                    <a:pt x="31" y="110"/>
                    <a:pt x="31" y="110"/>
                  </a:cubicBezTo>
                  <a:cubicBezTo>
                    <a:pt x="31" y="113"/>
                    <a:pt x="28" y="115"/>
                    <a:pt x="25" y="11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4" name="Freeform 187"/>
            <p:cNvSpPr>
              <a:spLocks/>
            </p:cNvSpPr>
            <p:nvPr/>
          </p:nvSpPr>
          <p:spPr bwMode="auto">
            <a:xfrm>
              <a:off x="690563" y="4989515"/>
              <a:ext cx="58737" cy="185738"/>
            </a:xfrm>
            <a:custGeom>
              <a:avLst/>
              <a:gdLst>
                <a:gd name="T0" fmla="*/ 25 w 31"/>
                <a:gd name="T1" fmla="*/ 96 h 96"/>
                <a:gd name="T2" fmla="*/ 5 w 31"/>
                <a:gd name="T3" fmla="*/ 96 h 96"/>
                <a:gd name="T4" fmla="*/ 0 w 31"/>
                <a:gd name="T5" fmla="*/ 91 h 96"/>
                <a:gd name="T6" fmla="*/ 0 w 31"/>
                <a:gd name="T7" fmla="*/ 12 h 96"/>
                <a:gd name="T8" fmla="*/ 3 w 31"/>
                <a:gd name="T9" fmla="*/ 7 h 96"/>
                <a:gd name="T10" fmla="*/ 15 w 31"/>
                <a:gd name="T11" fmla="*/ 1 h 96"/>
                <a:gd name="T12" fmla="*/ 21 w 31"/>
                <a:gd name="T13" fmla="*/ 2 h 96"/>
                <a:gd name="T14" fmla="*/ 30 w 31"/>
                <a:gd name="T15" fmla="*/ 11 h 96"/>
                <a:gd name="T16" fmla="*/ 30 w 31"/>
                <a:gd name="T17" fmla="*/ 22 h 96"/>
                <a:gd name="T18" fmla="*/ 30 w 31"/>
                <a:gd name="T19" fmla="*/ 91 h 96"/>
                <a:gd name="T20" fmla="*/ 25 w 31"/>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96">
                  <a:moveTo>
                    <a:pt x="25" y="96"/>
                  </a:moveTo>
                  <a:cubicBezTo>
                    <a:pt x="5" y="96"/>
                    <a:pt x="5" y="96"/>
                    <a:pt x="5" y="96"/>
                  </a:cubicBezTo>
                  <a:cubicBezTo>
                    <a:pt x="2" y="96"/>
                    <a:pt x="0" y="94"/>
                    <a:pt x="0" y="91"/>
                  </a:cubicBezTo>
                  <a:cubicBezTo>
                    <a:pt x="0" y="12"/>
                    <a:pt x="0" y="12"/>
                    <a:pt x="0" y="12"/>
                  </a:cubicBezTo>
                  <a:cubicBezTo>
                    <a:pt x="0" y="10"/>
                    <a:pt x="1" y="8"/>
                    <a:pt x="3" y="7"/>
                  </a:cubicBezTo>
                  <a:cubicBezTo>
                    <a:pt x="7" y="5"/>
                    <a:pt x="11" y="3"/>
                    <a:pt x="15" y="1"/>
                  </a:cubicBezTo>
                  <a:cubicBezTo>
                    <a:pt x="17" y="0"/>
                    <a:pt x="19" y="0"/>
                    <a:pt x="21" y="2"/>
                  </a:cubicBezTo>
                  <a:cubicBezTo>
                    <a:pt x="24" y="5"/>
                    <a:pt x="29" y="8"/>
                    <a:pt x="30" y="11"/>
                  </a:cubicBezTo>
                  <a:cubicBezTo>
                    <a:pt x="31" y="14"/>
                    <a:pt x="30" y="18"/>
                    <a:pt x="30" y="22"/>
                  </a:cubicBezTo>
                  <a:cubicBezTo>
                    <a:pt x="30" y="91"/>
                    <a:pt x="30" y="91"/>
                    <a:pt x="30" y="91"/>
                  </a:cubicBezTo>
                  <a:cubicBezTo>
                    <a:pt x="30" y="94"/>
                    <a:pt x="27" y="96"/>
                    <a:pt x="25" y="9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5" name="Freeform 188"/>
            <p:cNvSpPr>
              <a:spLocks/>
            </p:cNvSpPr>
            <p:nvPr/>
          </p:nvSpPr>
          <p:spPr bwMode="auto">
            <a:xfrm>
              <a:off x="769938" y="5002216"/>
              <a:ext cx="57150" cy="173038"/>
            </a:xfrm>
            <a:custGeom>
              <a:avLst/>
              <a:gdLst>
                <a:gd name="T0" fmla="*/ 25 w 30"/>
                <a:gd name="T1" fmla="*/ 90 h 90"/>
                <a:gd name="T2" fmla="*/ 5 w 30"/>
                <a:gd name="T3" fmla="*/ 90 h 90"/>
                <a:gd name="T4" fmla="*/ 0 w 30"/>
                <a:gd name="T5" fmla="*/ 85 h 90"/>
                <a:gd name="T6" fmla="*/ 0 w 30"/>
                <a:gd name="T7" fmla="*/ 18 h 90"/>
                <a:gd name="T8" fmla="*/ 3 w 30"/>
                <a:gd name="T9" fmla="*/ 13 h 90"/>
                <a:gd name="T10" fmla="*/ 22 w 30"/>
                <a:gd name="T11" fmla="*/ 2 h 90"/>
                <a:gd name="T12" fmla="*/ 30 w 30"/>
                <a:gd name="T13" fmla="*/ 6 h 90"/>
                <a:gd name="T14" fmla="*/ 30 w 30"/>
                <a:gd name="T15" fmla="*/ 85 h 90"/>
                <a:gd name="T16" fmla="*/ 25 w 30"/>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90">
                  <a:moveTo>
                    <a:pt x="25" y="90"/>
                  </a:moveTo>
                  <a:cubicBezTo>
                    <a:pt x="5" y="90"/>
                    <a:pt x="5" y="90"/>
                    <a:pt x="5" y="90"/>
                  </a:cubicBezTo>
                  <a:cubicBezTo>
                    <a:pt x="2" y="90"/>
                    <a:pt x="0" y="88"/>
                    <a:pt x="0" y="85"/>
                  </a:cubicBezTo>
                  <a:cubicBezTo>
                    <a:pt x="0" y="18"/>
                    <a:pt x="0" y="18"/>
                    <a:pt x="0" y="18"/>
                  </a:cubicBezTo>
                  <a:cubicBezTo>
                    <a:pt x="0" y="16"/>
                    <a:pt x="1" y="14"/>
                    <a:pt x="3" y="13"/>
                  </a:cubicBezTo>
                  <a:cubicBezTo>
                    <a:pt x="9" y="10"/>
                    <a:pt x="16" y="6"/>
                    <a:pt x="22" y="2"/>
                  </a:cubicBezTo>
                  <a:cubicBezTo>
                    <a:pt x="26" y="0"/>
                    <a:pt x="30" y="2"/>
                    <a:pt x="30" y="6"/>
                  </a:cubicBezTo>
                  <a:cubicBezTo>
                    <a:pt x="30" y="85"/>
                    <a:pt x="30" y="85"/>
                    <a:pt x="30" y="85"/>
                  </a:cubicBezTo>
                  <a:cubicBezTo>
                    <a:pt x="30" y="88"/>
                    <a:pt x="28" y="90"/>
                    <a:pt x="25" y="9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96" name="Freeform 189"/>
            <p:cNvSpPr>
              <a:spLocks/>
            </p:cNvSpPr>
            <p:nvPr/>
          </p:nvSpPr>
          <p:spPr bwMode="auto">
            <a:xfrm>
              <a:off x="600075" y="5022853"/>
              <a:ext cx="57150" cy="152400"/>
            </a:xfrm>
            <a:custGeom>
              <a:avLst/>
              <a:gdLst>
                <a:gd name="T0" fmla="*/ 25 w 30"/>
                <a:gd name="T1" fmla="*/ 79 h 79"/>
                <a:gd name="T2" fmla="*/ 6 w 30"/>
                <a:gd name="T3" fmla="*/ 79 h 79"/>
                <a:gd name="T4" fmla="*/ 0 w 30"/>
                <a:gd name="T5" fmla="*/ 74 h 79"/>
                <a:gd name="T6" fmla="*/ 0 w 30"/>
                <a:gd name="T7" fmla="*/ 17 h 79"/>
                <a:gd name="T8" fmla="*/ 3 w 30"/>
                <a:gd name="T9" fmla="*/ 12 h 79"/>
                <a:gd name="T10" fmla="*/ 23 w 30"/>
                <a:gd name="T11" fmla="*/ 2 h 79"/>
                <a:gd name="T12" fmla="*/ 30 w 30"/>
                <a:gd name="T13" fmla="*/ 7 h 79"/>
                <a:gd name="T14" fmla="*/ 30 w 30"/>
                <a:gd name="T15" fmla="*/ 74 h 79"/>
                <a:gd name="T16" fmla="*/ 25 w 3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79">
                  <a:moveTo>
                    <a:pt x="25" y="79"/>
                  </a:moveTo>
                  <a:cubicBezTo>
                    <a:pt x="6" y="79"/>
                    <a:pt x="6" y="79"/>
                    <a:pt x="6" y="79"/>
                  </a:cubicBezTo>
                  <a:cubicBezTo>
                    <a:pt x="3" y="79"/>
                    <a:pt x="0" y="77"/>
                    <a:pt x="0" y="74"/>
                  </a:cubicBezTo>
                  <a:cubicBezTo>
                    <a:pt x="0" y="17"/>
                    <a:pt x="0" y="17"/>
                    <a:pt x="0" y="17"/>
                  </a:cubicBezTo>
                  <a:cubicBezTo>
                    <a:pt x="0" y="15"/>
                    <a:pt x="1" y="13"/>
                    <a:pt x="3" y="12"/>
                  </a:cubicBezTo>
                  <a:cubicBezTo>
                    <a:pt x="10" y="9"/>
                    <a:pt x="16" y="5"/>
                    <a:pt x="23" y="2"/>
                  </a:cubicBezTo>
                  <a:cubicBezTo>
                    <a:pt x="26" y="0"/>
                    <a:pt x="30" y="3"/>
                    <a:pt x="30" y="7"/>
                  </a:cubicBezTo>
                  <a:cubicBezTo>
                    <a:pt x="30" y="74"/>
                    <a:pt x="30" y="74"/>
                    <a:pt x="30" y="74"/>
                  </a:cubicBezTo>
                  <a:cubicBezTo>
                    <a:pt x="30" y="77"/>
                    <a:pt x="28" y="79"/>
                    <a:pt x="25" y="7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90" name="Group 589"/>
          <p:cNvGrpSpPr/>
          <p:nvPr/>
        </p:nvGrpSpPr>
        <p:grpSpPr>
          <a:xfrm>
            <a:off x="2770098" y="4348931"/>
            <a:ext cx="844550" cy="795338"/>
            <a:chOff x="3952875" y="4606928"/>
            <a:chExt cx="844550" cy="795338"/>
          </a:xfrm>
        </p:grpSpPr>
        <p:sp>
          <p:nvSpPr>
            <p:cNvPr id="308" name="Freeform 201"/>
            <p:cNvSpPr>
              <a:spLocks/>
            </p:cNvSpPr>
            <p:nvPr/>
          </p:nvSpPr>
          <p:spPr bwMode="auto">
            <a:xfrm>
              <a:off x="3952875" y="4606928"/>
              <a:ext cx="844550" cy="795338"/>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09" name="Freeform 202"/>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203"/>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11" name="Freeform 204"/>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205"/>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77" name="Group 576"/>
          <p:cNvGrpSpPr/>
          <p:nvPr/>
        </p:nvGrpSpPr>
        <p:grpSpPr>
          <a:xfrm>
            <a:off x="635795" y="5176391"/>
            <a:ext cx="309563" cy="98427"/>
            <a:chOff x="615951" y="5861108"/>
            <a:chExt cx="309563" cy="98427"/>
          </a:xfrm>
        </p:grpSpPr>
        <p:sp>
          <p:nvSpPr>
            <p:cNvPr id="450" name="Freeform 109"/>
            <p:cNvSpPr>
              <a:spLocks/>
            </p:cNvSpPr>
            <p:nvPr/>
          </p:nvSpPr>
          <p:spPr bwMode="auto">
            <a:xfrm>
              <a:off x="615951" y="5869046"/>
              <a:ext cx="53975" cy="74613"/>
            </a:xfrm>
            <a:custGeom>
              <a:avLst/>
              <a:gdLst>
                <a:gd name="T0" fmla="*/ 26 w 29"/>
                <a:gd name="T1" fmla="*/ 21 h 41"/>
                <a:gd name="T2" fmla="*/ 29 w 29"/>
                <a:gd name="T3" fmla="*/ 21 h 41"/>
                <a:gd name="T4" fmla="*/ 29 w 29"/>
                <a:gd name="T5" fmla="*/ 39 h 41"/>
                <a:gd name="T6" fmla="*/ 25 w 29"/>
                <a:gd name="T7" fmla="*/ 40 h 41"/>
                <a:gd name="T8" fmla="*/ 18 w 29"/>
                <a:gd name="T9" fmla="*/ 41 h 41"/>
                <a:gd name="T10" fmla="*/ 11 w 29"/>
                <a:gd name="T11" fmla="*/ 39 h 41"/>
                <a:gd name="T12" fmla="*/ 5 w 29"/>
                <a:gd name="T13" fmla="*/ 35 h 41"/>
                <a:gd name="T14" fmla="*/ 1 w 29"/>
                <a:gd name="T15" fmla="*/ 29 h 41"/>
                <a:gd name="T16" fmla="*/ 0 w 29"/>
                <a:gd name="T17" fmla="*/ 20 h 41"/>
                <a:gd name="T18" fmla="*/ 1 w 29"/>
                <a:gd name="T19" fmla="*/ 12 h 41"/>
                <a:gd name="T20" fmla="*/ 5 w 29"/>
                <a:gd name="T21" fmla="*/ 5 h 41"/>
                <a:gd name="T22" fmla="*/ 11 w 29"/>
                <a:gd name="T23" fmla="*/ 1 h 41"/>
                <a:gd name="T24" fmla="*/ 18 w 29"/>
                <a:gd name="T25" fmla="*/ 0 h 41"/>
                <a:gd name="T26" fmla="*/ 25 w 29"/>
                <a:gd name="T27" fmla="*/ 1 h 41"/>
                <a:gd name="T28" fmla="*/ 29 w 29"/>
                <a:gd name="T29" fmla="*/ 3 h 41"/>
                <a:gd name="T30" fmla="*/ 28 w 29"/>
                <a:gd name="T31" fmla="*/ 6 h 41"/>
                <a:gd name="T32" fmla="*/ 24 w 29"/>
                <a:gd name="T33" fmla="*/ 4 h 41"/>
                <a:gd name="T34" fmla="*/ 18 w 29"/>
                <a:gd name="T35" fmla="*/ 4 h 41"/>
                <a:gd name="T36" fmla="*/ 12 w 29"/>
                <a:gd name="T37" fmla="*/ 5 h 41"/>
                <a:gd name="T38" fmla="*/ 8 w 29"/>
                <a:gd name="T39" fmla="*/ 8 h 41"/>
                <a:gd name="T40" fmla="*/ 5 w 29"/>
                <a:gd name="T41" fmla="*/ 13 h 41"/>
                <a:gd name="T42" fmla="*/ 4 w 29"/>
                <a:gd name="T43" fmla="*/ 20 h 41"/>
                <a:gd name="T44" fmla="*/ 5 w 29"/>
                <a:gd name="T45" fmla="*/ 27 h 41"/>
                <a:gd name="T46" fmla="*/ 7 w 29"/>
                <a:gd name="T47" fmla="*/ 33 h 41"/>
                <a:gd name="T48" fmla="*/ 12 w 29"/>
                <a:gd name="T49" fmla="*/ 36 h 41"/>
                <a:gd name="T50" fmla="*/ 18 w 29"/>
                <a:gd name="T51" fmla="*/ 37 h 41"/>
                <a:gd name="T52" fmla="*/ 23 w 29"/>
                <a:gd name="T53" fmla="*/ 37 h 41"/>
                <a:gd name="T54" fmla="*/ 26 w 29"/>
                <a:gd name="T55" fmla="*/ 36 h 41"/>
                <a:gd name="T56" fmla="*/ 26 w 29"/>
                <a:gd name="T5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1">
                  <a:moveTo>
                    <a:pt x="26" y="21"/>
                  </a:moveTo>
                  <a:cubicBezTo>
                    <a:pt x="29" y="21"/>
                    <a:pt x="29" y="21"/>
                    <a:pt x="29" y="21"/>
                  </a:cubicBezTo>
                  <a:cubicBezTo>
                    <a:pt x="29" y="39"/>
                    <a:pt x="29" y="39"/>
                    <a:pt x="29" y="39"/>
                  </a:cubicBezTo>
                  <a:cubicBezTo>
                    <a:pt x="29" y="39"/>
                    <a:pt x="27" y="39"/>
                    <a:pt x="25" y="40"/>
                  </a:cubicBezTo>
                  <a:cubicBezTo>
                    <a:pt x="23" y="40"/>
                    <a:pt x="21" y="41"/>
                    <a:pt x="18" y="41"/>
                  </a:cubicBezTo>
                  <a:cubicBezTo>
                    <a:pt x="15" y="41"/>
                    <a:pt x="13" y="40"/>
                    <a:pt x="11" y="39"/>
                  </a:cubicBezTo>
                  <a:cubicBezTo>
                    <a:pt x="8" y="38"/>
                    <a:pt x="6" y="37"/>
                    <a:pt x="5" y="35"/>
                  </a:cubicBezTo>
                  <a:cubicBezTo>
                    <a:pt x="3" y="34"/>
                    <a:pt x="2" y="31"/>
                    <a:pt x="1" y="29"/>
                  </a:cubicBezTo>
                  <a:cubicBezTo>
                    <a:pt x="0" y="26"/>
                    <a:pt x="0" y="24"/>
                    <a:pt x="0" y="20"/>
                  </a:cubicBezTo>
                  <a:cubicBezTo>
                    <a:pt x="0" y="17"/>
                    <a:pt x="0" y="14"/>
                    <a:pt x="1" y="12"/>
                  </a:cubicBezTo>
                  <a:cubicBezTo>
                    <a:pt x="2" y="9"/>
                    <a:pt x="4" y="7"/>
                    <a:pt x="5" y="5"/>
                  </a:cubicBezTo>
                  <a:cubicBezTo>
                    <a:pt x="7" y="4"/>
                    <a:pt x="9" y="2"/>
                    <a:pt x="11" y="1"/>
                  </a:cubicBezTo>
                  <a:cubicBezTo>
                    <a:pt x="13" y="1"/>
                    <a:pt x="16" y="0"/>
                    <a:pt x="18" y="0"/>
                  </a:cubicBezTo>
                  <a:cubicBezTo>
                    <a:pt x="21" y="0"/>
                    <a:pt x="23" y="0"/>
                    <a:pt x="25" y="1"/>
                  </a:cubicBezTo>
                  <a:cubicBezTo>
                    <a:pt x="27" y="2"/>
                    <a:pt x="28" y="2"/>
                    <a:pt x="29" y="3"/>
                  </a:cubicBezTo>
                  <a:cubicBezTo>
                    <a:pt x="28" y="6"/>
                    <a:pt x="28" y="6"/>
                    <a:pt x="28" y="6"/>
                  </a:cubicBezTo>
                  <a:cubicBezTo>
                    <a:pt x="27" y="5"/>
                    <a:pt x="26" y="5"/>
                    <a:pt x="24" y="4"/>
                  </a:cubicBezTo>
                  <a:cubicBezTo>
                    <a:pt x="22" y="4"/>
                    <a:pt x="20" y="4"/>
                    <a:pt x="18" y="4"/>
                  </a:cubicBezTo>
                  <a:cubicBezTo>
                    <a:pt x="16" y="4"/>
                    <a:pt x="14" y="4"/>
                    <a:pt x="12" y="5"/>
                  </a:cubicBezTo>
                  <a:cubicBezTo>
                    <a:pt x="11" y="5"/>
                    <a:pt x="9" y="6"/>
                    <a:pt x="8" y="8"/>
                  </a:cubicBezTo>
                  <a:cubicBezTo>
                    <a:pt x="7" y="9"/>
                    <a:pt x="6" y="11"/>
                    <a:pt x="5" y="13"/>
                  </a:cubicBezTo>
                  <a:cubicBezTo>
                    <a:pt x="4" y="15"/>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3" y="37"/>
                  </a:cubicBezTo>
                  <a:cubicBezTo>
                    <a:pt x="24" y="37"/>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110"/>
            <p:cNvSpPr>
              <a:spLocks/>
            </p:cNvSpPr>
            <p:nvPr/>
          </p:nvSpPr>
          <p:spPr bwMode="auto">
            <a:xfrm>
              <a:off x="685801" y="5886509"/>
              <a:ext cx="26988"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3 h 30"/>
                <a:gd name="T12" fmla="*/ 6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3"/>
                    <a:pt x="9" y="3"/>
                  </a:cubicBezTo>
                  <a:cubicBezTo>
                    <a:pt x="8" y="3"/>
                    <a:pt x="6" y="4"/>
                    <a:pt x="6"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111"/>
            <p:cNvSpPr>
              <a:spLocks noEditPoints="1"/>
            </p:cNvSpPr>
            <p:nvPr/>
          </p:nvSpPr>
          <p:spPr bwMode="auto">
            <a:xfrm>
              <a:off x="720726" y="5886509"/>
              <a:ext cx="38100"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4 w 21"/>
                <a:gd name="T37" fmla="*/ 12 h 30"/>
                <a:gd name="T38" fmla="*/ 15 w 21"/>
                <a:gd name="T39" fmla="*/ 13 h 30"/>
                <a:gd name="T40" fmla="*/ 17 w 21"/>
                <a:gd name="T41" fmla="*/ 13 h 30"/>
                <a:gd name="T42" fmla="*/ 18 w 21"/>
                <a:gd name="T43" fmla="*/ 13 h 30"/>
                <a:gd name="T44" fmla="*/ 18 w 21"/>
                <a:gd name="T45" fmla="*/ 11 h 30"/>
                <a:gd name="T46" fmla="*/ 17 w 21"/>
                <a:gd name="T47" fmla="*/ 8 h 30"/>
                <a:gd name="T48" fmla="*/ 16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6 h 30"/>
                <a:gd name="T76" fmla="*/ 9 w 21"/>
                <a:gd name="T77" fmla="*/ 16 h 30"/>
                <a:gd name="T78" fmla="*/ 6 w 21"/>
                <a:gd name="T79" fmla="*/ 17 h 30"/>
                <a:gd name="T80" fmla="*/ 4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6" y="1"/>
                  </a:cubicBezTo>
                  <a:cubicBezTo>
                    <a:pt x="17" y="1"/>
                    <a:pt x="18" y="2"/>
                    <a:pt x="19" y="3"/>
                  </a:cubicBezTo>
                  <a:cubicBezTo>
                    <a:pt x="20" y="4"/>
                    <a:pt x="20" y="5"/>
                    <a:pt x="21" y="7"/>
                  </a:cubicBezTo>
                  <a:cubicBezTo>
                    <a:pt x="21" y="8"/>
                    <a:pt x="21" y="9"/>
                    <a:pt x="21" y="11"/>
                  </a:cubicBezTo>
                  <a:cubicBezTo>
                    <a:pt x="21" y="29"/>
                    <a:pt x="21" y="29"/>
                    <a:pt x="21" y="29"/>
                  </a:cubicBezTo>
                  <a:cubicBezTo>
                    <a:pt x="21" y="29"/>
                    <a:pt x="20" y="29"/>
                    <a:pt x="20" y="29"/>
                  </a:cubicBezTo>
                  <a:cubicBezTo>
                    <a:pt x="19" y="30"/>
                    <a:pt x="18" y="30"/>
                    <a:pt x="17" y="30"/>
                  </a:cubicBezTo>
                  <a:cubicBezTo>
                    <a:pt x="16" y="30"/>
                    <a:pt x="15" y="30"/>
                    <a:pt x="14" y="30"/>
                  </a:cubicBezTo>
                  <a:cubicBezTo>
                    <a:pt x="13" y="30"/>
                    <a:pt x="12" y="30"/>
                    <a:pt x="10" y="30"/>
                  </a:cubicBezTo>
                  <a:cubicBezTo>
                    <a:pt x="9" y="30"/>
                    <a:pt x="8" y="30"/>
                    <a:pt x="6" y="30"/>
                  </a:cubicBezTo>
                  <a:cubicBezTo>
                    <a:pt x="5" y="30"/>
                    <a:pt x="4" y="29"/>
                    <a:pt x="3" y="28"/>
                  </a:cubicBezTo>
                  <a:cubicBezTo>
                    <a:pt x="2" y="28"/>
                    <a:pt x="1" y="27"/>
                    <a:pt x="1" y="25"/>
                  </a:cubicBezTo>
                  <a:cubicBezTo>
                    <a:pt x="0" y="24"/>
                    <a:pt x="0" y="23"/>
                    <a:pt x="0" y="21"/>
                  </a:cubicBezTo>
                  <a:cubicBezTo>
                    <a:pt x="0" y="20"/>
                    <a:pt x="0" y="18"/>
                    <a:pt x="1" y="17"/>
                  </a:cubicBezTo>
                  <a:cubicBezTo>
                    <a:pt x="1" y="16"/>
                    <a:pt x="2" y="15"/>
                    <a:pt x="3" y="14"/>
                  </a:cubicBezTo>
                  <a:cubicBezTo>
                    <a:pt x="4" y="14"/>
                    <a:pt x="6" y="13"/>
                    <a:pt x="7" y="13"/>
                  </a:cubicBezTo>
                  <a:cubicBezTo>
                    <a:pt x="9" y="13"/>
                    <a:pt x="10" y="12"/>
                    <a:pt x="12" y="12"/>
                  </a:cubicBezTo>
                  <a:cubicBezTo>
                    <a:pt x="13" y="12"/>
                    <a:pt x="13" y="12"/>
                    <a:pt x="14" y="12"/>
                  </a:cubicBezTo>
                  <a:cubicBezTo>
                    <a:pt x="14" y="13"/>
                    <a:pt x="15" y="13"/>
                    <a:pt x="15" y="13"/>
                  </a:cubicBezTo>
                  <a:cubicBezTo>
                    <a:pt x="16" y="13"/>
                    <a:pt x="16" y="13"/>
                    <a:pt x="17" y="13"/>
                  </a:cubicBezTo>
                  <a:cubicBezTo>
                    <a:pt x="17" y="13"/>
                    <a:pt x="17" y="13"/>
                    <a:pt x="18" y="13"/>
                  </a:cubicBezTo>
                  <a:cubicBezTo>
                    <a:pt x="18" y="11"/>
                    <a:pt x="18" y="11"/>
                    <a:pt x="18" y="11"/>
                  </a:cubicBezTo>
                  <a:cubicBezTo>
                    <a:pt x="18" y="10"/>
                    <a:pt x="17" y="9"/>
                    <a:pt x="17" y="8"/>
                  </a:cubicBezTo>
                  <a:cubicBezTo>
                    <a:pt x="17" y="8"/>
                    <a:pt x="17" y="7"/>
                    <a:pt x="16" y="6"/>
                  </a:cubicBezTo>
                  <a:cubicBezTo>
                    <a:pt x="16" y="5"/>
                    <a:pt x="15" y="5"/>
                    <a:pt x="14" y="4"/>
                  </a:cubicBezTo>
                  <a:cubicBezTo>
                    <a:pt x="13" y="4"/>
                    <a:pt x="12" y="3"/>
                    <a:pt x="11" y="3"/>
                  </a:cubicBezTo>
                  <a:cubicBezTo>
                    <a:pt x="8" y="3"/>
                    <a:pt x="7" y="4"/>
                    <a:pt x="6" y="4"/>
                  </a:cubicBezTo>
                  <a:cubicBezTo>
                    <a:pt x="5" y="4"/>
                    <a:pt x="4" y="4"/>
                    <a:pt x="4" y="5"/>
                  </a:cubicBezTo>
                  <a:cubicBezTo>
                    <a:pt x="3" y="1"/>
                    <a:pt x="3" y="1"/>
                    <a:pt x="3" y="1"/>
                  </a:cubicBezTo>
                  <a:cubicBezTo>
                    <a:pt x="4" y="1"/>
                    <a:pt x="5" y="1"/>
                    <a:pt x="6" y="1"/>
                  </a:cubicBezTo>
                  <a:cubicBezTo>
                    <a:pt x="7"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6" y="16"/>
                    <a:pt x="16" y="16"/>
                  </a:cubicBezTo>
                  <a:cubicBezTo>
                    <a:pt x="15" y="16"/>
                    <a:pt x="13" y="16"/>
                    <a:pt x="12" y="16"/>
                  </a:cubicBezTo>
                  <a:cubicBezTo>
                    <a:pt x="11" y="16"/>
                    <a:pt x="10" y="16"/>
                    <a:pt x="9" y="16"/>
                  </a:cubicBezTo>
                  <a:cubicBezTo>
                    <a:pt x="8" y="16"/>
                    <a:pt x="7" y="16"/>
                    <a:pt x="6" y="17"/>
                  </a:cubicBezTo>
                  <a:cubicBezTo>
                    <a:pt x="6" y="17"/>
                    <a:pt x="5" y="18"/>
                    <a:pt x="4" y="18"/>
                  </a:cubicBezTo>
                  <a:cubicBezTo>
                    <a:pt x="4" y="19"/>
                    <a:pt x="4" y="20"/>
                    <a:pt x="4" y="21"/>
                  </a:cubicBezTo>
                  <a:cubicBezTo>
                    <a:pt x="4" y="22"/>
                    <a:pt x="4" y="23"/>
                    <a:pt x="4" y="24"/>
                  </a:cubicBezTo>
                  <a:cubicBezTo>
                    <a:pt x="4" y="25"/>
                    <a:pt x="5" y="25"/>
                    <a:pt x="6"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112"/>
            <p:cNvSpPr>
              <a:spLocks noEditPoints="1"/>
            </p:cNvSpPr>
            <p:nvPr/>
          </p:nvSpPr>
          <p:spPr bwMode="auto">
            <a:xfrm>
              <a:off x="776288" y="5886509"/>
              <a:ext cx="44450" cy="73026"/>
            </a:xfrm>
            <a:custGeom>
              <a:avLst/>
              <a:gdLst>
                <a:gd name="T0" fmla="*/ 4 w 25"/>
                <a:gd name="T1" fmla="*/ 40 h 40"/>
                <a:gd name="T2" fmla="*/ 0 w 25"/>
                <a:gd name="T3" fmla="*/ 40 h 40"/>
                <a:gd name="T4" fmla="*/ 0 w 25"/>
                <a:gd name="T5" fmla="*/ 2 h 40"/>
                <a:gd name="T6" fmla="*/ 5 w 25"/>
                <a:gd name="T7" fmla="*/ 1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30 h 40"/>
                <a:gd name="T28" fmla="*/ 4 w 25"/>
                <a:gd name="T29" fmla="*/ 28 h 40"/>
                <a:gd name="T30" fmla="*/ 4 w 25"/>
                <a:gd name="T31" fmla="*/ 40 h 40"/>
                <a:gd name="T32" fmla="*/ 4 w 25"/>
                <a:gd name="T33" fmla="*/ 25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4 h 40"/>
                <a:gd name="T46" fmla="*/ 21 w 25"/>
                <a:gd name="T47" fmla="*/ 20 h 40"/>
                <a:gd name="T48" fmla="*/ 21 w 25"/>
                <a:gd name="T49" fmla="*/ 15 h 40"/>
                <a:gd name="T50" fmla="*/ 19 w 25"/>
                <a:gd name="T51" fmla="*/ 7 h 40"/>
                <a:gd name="T52" fmla="*/ 11 w 25"/>
                <a:gd name="T53" fmla="*/ 4 h 40"/>
                <a:gd name="T54" fmla="*/ 7 w 25"/>
                <a:gd name="T55" fmla="*/ 4 h 40"/>
                <a:gd name="T56" fmla="*/ 4 w 25"/>
                <a:gd name="T57" fmla="*/ 4 h 40"/>
                <a:gd name="T58" fmla="*/ 4 w 25"/>
                <a:gd name="T5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2" y="1"/>
                    <a:pt x="3" y="1"/>
                    <a:pt x="5" y="1"/>
                  </a:cubicBezTo>
                  <a:cubicBezTo>
                    <a:pt x="6" y="0"/>
                    <a:pt x="8" y="0"/>
                    <a:pt x="11" y="0"/>
                  </a:cubicBezTo>
                  <a:cubicBezTo>
                    <a:pt x="13" y="0"/>
                    <a:pt x="15" y="1"/>
                    <a:pt x="17" y="1"/>
                  </a:cubicBezTo>
                  <a:cubicBezTo>
                    <a:pt x="19" y="2"/>
                    <a:pt x="20" y="3"/>
                    <a:pt x="21" y="4"/>
                  </a:cubicBezTo>
                  <a:cubicBezTo>
                    <a:pt x="23" y="6"/>
                    <a:pt x="24" y="7"/>
                    <a:pt x="24" y="9"/>
                  </a:cubicBezTo>
                  <a:cubicBezTo>
                    <a:pt x="25" y="11"/>
                    <a:pt x="25" y="13"/>
                    <a:pt x="25" y="15"/>
                  </a:cubicBezTo>
                  <a:cubicBezTo>
                    <a:pt x="25" y="18"/>
                    <a:pt x="25" y="20"/>
                    <a:pt x="24" y="21"/>
                  </a:cubicBezTo>
                  <a:cubicBezTo>
                    <a:pt x="24" y="23"/>
                    <a:pt x="23" y="25"/>
                    <a:pt x="22" y="26"/>
                  </a:cubicBezTo>
                  <a:cubicBezTo>
                    <a:pt x="21" y="28"/>
                    <a:pt x="19" y="29"/>
                    <a:pt x="18" y="29"/>
                  </a:cubicBezTo>
                  <a:cubicBezTo>
                    <a:pt x="16" y="30"/>
                    <a:pt x="14" y="30"/>
                    <a:pt x="12" y="30"/>
                  </a:cubicBezTo>
                  <a:cubicBezTo>
                    <a:pt x="10" y="30"/>
                    <a:pt x="9" y="30"/>
                    <a:pt x="7" y="30"/>
                  </a:cubicBezTo>
                  <a:cubicBezTo>
                    <a:pt x="6" y="29"/>
                    <a:pt x="5" y="29"/>
                    <a:pt x="4" y="28"/>
                  </a:cubicBezTo>
                  <a:lnTo>
                    <a:pt x="4" y="40"/>
                  </a:lnTo>
                  <a:close/>
                  <a:moveTo>
                    <a:pt x="4" y="25"/>
                  </a:moveTo>
                  <a:cubicBezTo>
                    <a:pt x="4" y="25"/>
                    <a:pt x="5" y="25"/>
                    <a:pt x="5" y="25"/>
                  </a:cubicBezTo>
                  <a:cubicBezTo>
                    <a:pt x="6" y="26"/>
                    <a:pt x="6" y="26"/>
                    <a:pt x="7" y="26"/>
                  </a:cubicBezTo>
                  <a:cubicBezTo>
                    <a:pt x="8" y="26"/>
                    <a:pt x="9" y="27"/>
                    <a:pt x="9" y="27"/>
                  </a:cubicBezTo>
                  <a:cubicBezTo>
                    <a:pt x="10" y="27"/>
                    <a:pt x="11" y="27"/>
                    <a:pt x="12" y="27"/>
                  </a:cubicBezTo>
                  <a:cubicBezTo>
                    <a:pt x="14" y="27"/>
                    <a:pt x="15" y="27"/>
                    <a:pt x="16" y="26"/>
                  </a:cubicBezTo>
                  <a:cubicBezTo>
                    <a:pt x="18" y="26"/>
                    <a:pt x="18" y="25"/>
                    <a:pt x="19" y="24"/>
                  </a:cubicBezTo>
                  <a:cubicBezTo>
                    <a:pt x="20" y="23"/>
                    <a:pt x="21" y="21"/>
                    <a:pt x="21" y="20"/>
                  </a:cubicBezTo>
                  <a:cubicBezTo>
                    <a:pt x="21" y="18"/>
                    <a:pt x="21" y="17"/>
                    <a:pt x="21" y="15"/>
                  </a:cubicBezTo>
                  <a:cubicBezTo>
                    <a:pt x="21" y="12"/>
                    <a:pt x="20" y="9"/>
                    <a:pt x="19" y="7"/>
                  </a:cubicBezTo>
                  <a:cubicBezTo>
                    <a:pt x="17" y="5"/>
                    <a:pt x="14" y="4"/>
                    <a:pt x="11" y="4"/>
                  </a:cubicBezTo>
                  <a:cubicBezTo>
                    <a:pt x="9" y="4"/>
                    <a:pt x="8" y="4"/>
                    <a:pt x="7" y="4"/>
                  </a:cubicBezTo>
                  <a:cubicBezTo>
                    <a:pt x="6" y="4"/>
                    <a:pt x="5" y="4"/>
                    <a:pt x="4" y="4"/>
                  </a:cubicBezTo>
                  <a:lnTo>
                    <a:pt x="4" y="2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113"/>
            <p:cNvSpPr>
              <a:spLocks/>
            </p:cNvSpPr>
            <p:nvPr/>
          </p:nvSpPr>
          <p:spPr bwMode="auto">
            <a:xfrm>
              <a:off x="836613" y="5861108"/>
              <a:ext cx="41275" cy="80963"/>
            </a:xfrm>
            <a:custGeom>
              <a:avLst/>
              <a:gdLst>
                <a:gd name="T0" fmla="*/ 0 w 23"/>
                <a:gd name="T1" fmla="*/ 44 h 44"/>
                <a:gd name="T2" fmla="*/ 0 w 23"/>
                <a:gd name="T3" fmla="*/ 1 h 44"/>
                <a:gd name="T4" fmla="*/ 4 w 23"/>
                <a:gd name="T5" fmla="*/ 0 h 44"/>
                <a:gd name="T6" fmla="*/ 4 w 23"/>
                <a:gd name="T7" fmla="*/ 16 h 44"/>
                <a:gd name="T8" fmla="*/ 7 w 23"/>
                <a:gd name="T9" fmla="*/ 15 h 44"/>
                <a:gd name="T10" fmla="*/ 11 w 23"/>
                <a:gd name="T11" fmla="*/ 14 h 44"/>
                <a:gd name="T12" fmla="*/ 17 w 23"/>
                <a:gd name="T13" fmla="*/ 15 h 44"/>
                <a:gd name="T14" fmla="*/ 20 w 23"/>
                <a:gd name="T15" fmla="*/ 18 h 44"/>
                <a:gd name="T16" fmla="*/ 22 w 23"/>
                <a:gd name="T17" fmla="*/ 22 h 44"/>
                <a:gd name="T18" fmla="*/ 23 w 23"/>
                <a:gd name="T19" fmla="*/ 28 h 44"/>
                <a:gd name="T20" fmla="*/ 23 w 23"/>
                <a:gd name="T21" fmla="*/ 44 h 44"/>
                <a:gd name="T22" fmla="*/ 19 w 23"/>
                <a:gd name="T23" fmla="*/ 44 h 44"/>
                <a:gd name="T24" fmla="*/ 19 w 23"/>
                <a:gd name="T25" fmla="*/ 29 h 44"/>
                <a:gd name="T26" fmla="*/ 19 w 23"/>
                <a:gd name="T27" fmla="*/ 24 h 44"/>
                <a:gd name="T28" fmla="*/ 17 w 23"/>
                <a:gd name="T29" fmla="*/ 20 h 44"/>
                <a:gd name="T30" fmla="*/ 15 w 23"/>
                <a:gd name="T31" fmla="*/ 18 h 44"/>
                <a:gd name="T32" fmla="*/ 11 w 23"/>
                <a:gd name="T33" fmla="*/ 18 h 44"/>
                <a:gd name="T34" fmla="*/ 8 w 23"/>
                <a:gd name="T35" fmla="*/ 18 h 44"/>
                <a:gd name="T36" fmla="*/ 6 w 23"/>
                <a:gd name="T37" fmla="*/ 18 h 44"/>
                <a:gd name="T38" fmla="*/ 5 w 23"/>
                <a:gd name="T39" fmla="*/ 18 h 44"/>
                <a:gd name="T40" fmla="*/ 4 w 23"/>
                <a:gd name="T41" fmla="*/ 19 h 44"/>
                <a:gd name="T42" fmla="*/ 4 w 23"/>
                <a:gd name="T43" fmla="*/ 44 h 44"/>
                <a:gd name="T44" fmla="*/ 0 w 23"/>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4">
                  <a:moveTo>
                    <a:pt x="0" y="44"/>
                  </a:moveTo>
                  <a:cubicBezTo>
                    <a:pt x="0" y="1"/>
                    <a:pt x="0" y="1"/>
                    <a:pt x="0" y="1"/>
                  </a:cubicBezTo>
                  <a:cubicBezTo>
                    <a:pt x="4" y="0"/>
                    <a:pt x="4" y="0"/>
                    <a:pt x="4" y="0"/>
                  </a:cubicBezTo>
                  <a:cubicBezTo>
                    <a:pt x="4" y="16"/>
                    <a:pt x="4" y="16"/>
                    <a:pt x="4" y="16"/>
                  </a:cubicBezTo>
                  <a:cubicBezTo>
                    <a:pt x="5" y="15"/>
                    <a:pt x="6" y="15"/>
                    <a:pt x="7" y="15"/>
                  </a:cubicBezTo>
                  <a:cubicBezTo>
                    <a:pt x="9" y="14"/>
                    <a:pt x="10" y="14"/>
                    <a:pt x="11" y="14"/>
                  </a:cubicBezTo>
                  <a:cubicBezTo>
                    <a:pt x="13" y="14"/>
                    <a:pt x="15" y="15"/>
                    <a:pt x="17" y="15"/>
                  </a:cubicBezTo>
                  <a:cubicBezTo>
                    <a:pt x="18" y="16"/>
                    <a:pt x="19" y="17"/>
                    <a:pt x="20" y="18"/>
                  </a:cubicBezTo>
                  <a:cubicBezTo>
                    <a:pt x="21" y="19"/>
                    <a:pt x="22" y="20"/>
                    <a:pt x="22" y="22"/>
                  </a:cubicBezTo>
                  <a:cubicBezTo>
                    <a:pt x="23" y="24"/>
                    <a:pt x="23" y="26"/>
                    <a:pt x="23" y="28"/>
                  </a:cubicBezTo>
                  <a:cubicBezTo>
                    <a:pt x="23" y="44"/>
                    <a:pt x="23" y="44"/>
                    <a:pt x="23" y="44"/>
                  </a:cubicBezTo>
                  <a:cubicBezTo>
                    <a:pt x="19" y="44"/>
                    <a:pt x="19" y="44"/>
                    <a:pt x="19" y="44"/>
                  </a:cubicBezTo>
                  <a:cubicBezTo>
                    <a:pt x="19" y="29"/>
                    <a:pt x="19" y="29"/>
                    <a:pt x="19" y="29"/>
                  </a:cubicBezTo>
                  <a:cubicBezTo>
                    <a:pt x="19" y="27"/>
                    <a:pt x="19" y="25"/>
                    <a:pt x="19" y="24"/>
                  </a:cubicBezTo>
                  <a:cubicBezTo>
                    <a:pt x="18" y="22"/>
                    <a:pt x="18" y="21"/>
                    <a:pt x="17" y="20"/>
                  </a:cubicBezTo>
                  <a:cubicBezTo>
                    <a:pt x="17" y="19"/>
                    <a:pt x="16" y="19"/>
                    <a:pt x="15" y="18"/>
                  </a:cubicBezTo>
                  <a:cubicBezTo>
                    <a:pt x="14" y="18"/>
                    <a:pt x="12" y="18"/>
                    <a:pt x="11" y="18"/>
                  </a:cubicBezTo>
                  <a:cubicBezTo>
                    <a:pt x="10" y="18"/>
                    <a:pt x="9" y="18"/>
                    <a:pt x="8" y="18"/>
                  </a:cubicBezTo>
                  <a:cubicBezTo>
                    <a:pt x="8" y="18"/>
                    <a:pt x="7" y="18"/>
                    <a:pt x="6" y="18"/>
                  </a:cubicBezTo>
                  <a:cubicBezTo>
                    <a:pt x="6" y="18"/>
                    <a:pt x="5" y="18"/>
                    <a:pt x="5" y="18"/>
                  </a:cubicBezTo>
                  <a:cubicBezTo>
                    <a:pt x="4" y="19"/>
                    <a:pt x="4" y="19"/>
                    <a:pt x="4" y="19"/>
                  </a:cubicBezTo>
                  <a:cubicBezTo>
                    <a:pt x="4" y="44"/>
                    <a:pt x="4" y="44"/>
                    <a:pt x="4" y="44"/>
                  </a:cubicBezTo>
                  <a:lnTo>
                    <a:pt x="0"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14"/>
            <p:cNvSpPr>
              <a:spLocks/>
            </p:cNvSpPr>
            <p:nvPr/>
          </p:nvSpPr>
          <p:spPr bwMode="auto">
            <a:xfrm>
              <a:off x="889001" y="5886509"/>
              <a:ext cx="36513" cy="55563"/>
            </a:xfrm>
            <a:custGeom>
              <a:avLst/>
              <a:gdLst>
                <a:gd name="T0" fmla="*/ 9 w 20"/>
                <a:gd name="T1" fmla="*/ 27 h 30"/>
                <a:gd name="T2" fmla="*/ 14 w 20"/>
                <a:gd name="T3" fmla="*/ 26 h 30"/>
                <a:gd name="T4" fmla="*/ 16 w 20"/>
                <a:gd name="T5" fmla="*/ 23 h 30"/>
                <a:gd name="T6" fmla="*/ 16 w 20"/>
                <a:gd name="T7" fmla="*/ 21 h 30"/>
                <a:gd name="T8" fmla="*/ 15 w 20"/>
                <a:gd name="T9" fmla="*/ 19 h 30"/>
                <a:gd name="T10" fmla="*/ 12 w 20"/>
                <a:gd name="T11" fmla="*/ 18 h 30"/>
                <a:gd name="T12" fmla="*/ 9 w 20"/>
                <a:gd name="T13" fmla="*/ 16 h 30"/>
                <a:gd name="T14" fmla="*/ 6 w 20"/>
                <a:gd name="T15" fmla="*/ 15 h 30"/>
                <a:gd name="T16" fmla="*/ 3 w 20"/>
                <a:gd name="T17" fmla="*/ 13 h 30"/>
                <a:gd name="T18" fmla="*/ 2 w 20"/>
                <a:gd name="T19" fmla="*/ 11 h 30"/>
                <a:gd name="T20" fmla="*/ 1 w 20"/>
                <a:gd name="T21" fmla="*/ 8 h 30"/>
                <a:gd name="T22" fmla="*/ 4 w 20"/>
                <a:gd name="T23" fmla="*/ 2 h 30"/>
                <a:gd name="T24" fmla="*/ 11 w 20"/>
                <a:gd name="T25" fmla="*/ 0 h 30"/>
                <a:gd name="T26" fmla="*/ 16 w 20"/>
                <a:gd name="T27" fmla="*/ 1 h 30"/>
                <a:gd name="T28" fmla="*/ 18 w 20"/>
                <a:gd name="T29" fmla="*/ 2 h 30"/>
                <a:gd name="T30" fmla="*/ 18 w 20"/>
                <a:gd name="T31" fmla="*/ 5 h 30"/>
                <a:gd name="T32" fmla="*/ 15 w 20"/>
                <a:gd name="T33" fmla="*/ 4 h 30"/>
                <a:gd name="T34" fmla="*/ 11 w 20"/>
                <a:gd name="T35" fmla="*/ 3 h 30"/>
                <a:gd name="T36" fmla="*/ 8 w 20"/>
                <a:gd name="T37" fmla="*/ 4 h 30"/>
                <a:gd name="T38" fmla="*/ 6 w 20"/>
                <a:gd name="T39" fmla="*/ 4 h 30"/>
                <a:gd name="T40" fmla="*/ 5 w 20"/>
                <a:gd name="T41" fmla="*/ 6 h 30"/>
                <a:gd name="T42" fmla="*/ 5 w 20"/>
                <a:gd name="T43" fmla="*/ 8 h 30"/>
                <a:gd name="T44" fmla="*/ 5 w 20"/>
                <a:gd name="T45" fmla="*/ 10 h 30"/>
                <a:gd name="T46" fmla="*/ 6 w 20"/>
                <a:gd name="T47" fmla="*/ 11 h 30"/>
                <a:gd name="T48" fmla="*/ 8 w 20"/>
                <a:gd name="T49" fmla="*/ 12 h 30"/>
                <a:gd name="T50" fmla="*/ 11 w 20"/>
                <a:gd name="T51" fmla="*/ 14 h 30"/>
                <a:gd name="T52" fmla="*/ 15 w 20"/>
                <a:gd name="T53" fmla="*/ 15 h 30"/>
                <a:gd name="T54" fmla="*/ 17 w 20"/>
                <a:gd name="T55" fmla="*/ 17 h 30"/>
                <a:gd name="T56" fmla="*/ 19 w 20"/>
                <a:gd name="T57" fmla="*/ 19 h 30"/>
                <a:gd name="T58" fmla="*/ 20 w 20"/>
                <a:gd name="T59" fmla="*/ 22 h 30"/>
                <a:gd name="T60" fmla="*/ 17 w 20"/>
                <a:gd name="T61" fmla="*/ 28 h 30"/>
                <a:gd name="T62" fmla="*/ 9 w 20"/>
                <a:gd name="T63" fmla="*/ 30 h 30"/>
                <a:gd name="T64" fmla="*/ 3 w 20"/>
                <a:gd name="T65" fmla="*/ 30 h 30"/>
                <a:gd name="T66" fmla="*/ 0 w 20"/>
                <a:gd name="T67" fmla="*/ 29 h 30"/>
                <a:gd name="T68" fmla="*/ 1 w 20"/>
                <a:gd name="T69" fmla="*/ 25 h 30"/>
                <a:gd name="T70" fmla="*/ 2 w 20"/>
                <a:gd name="T71" fmla="*/ 26 h 30"/>
                <a:gd name="T72" fmla="*/ 4 w 20"/>
                <a:gd name="T73" fmla="*/ 26 h 30"/>
                <a:gd name="T74" fmla="*/ 6 w 20"/>
                <a:gd name="T75" fmla="*/ 27 h 30"/>
                <a:gd name="T76" fmla="*/ 9 w 20"/>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 h="30">
                  <a:moveTo>
                    <a:pt x="9" y="27"/>
                  </a:moveTo>
                  <a:cubicBezTo>
                    <a:pt x="11" y="27"/>
                    <a:pt x="13" y="27"/>
                    <a:pt x="14" y="26"/>
                  </a:cubicBezTo>
                  <a:cubicBezTo>
                    <a:pt x="15" y="25"/>
                    <a:pt x="16" y="24"/>
                    <a:pt x="16" y="23"/>
                  </a:cubicBezTo>
                  <a:cubicBezTo>
                    <a:pt x="16" y="22"/>
                    <a:pt x="16" y="21"/>
                    <a:pt x="16" y="21"/>
                  </a:cubicBezTo>
                  <a:cubicBezTo>
                    <a:pt x="16" y="20"/>
                    <a:pt x="15" y="20"/>
                    <a:pt x="15" y="19"/>
                  </a:cubicBezTo>
                  <a:cubicBezTo>
                    <a:pt x="14" y="19"/>
                    <a:pt x="13" y="18"/>
                    <a:pt x="12" y="18"/>
                  </a:cubicBezTo>
                  <a:cubicBezTo>
                    <a:pt x="11" y="17"/>
                    <a:pt x="10" y="17"/>
                    <a:pt x="9" y="16"/>
                  </a:cubicBezTo>
                  <a:cubicBezTo>
                    <a:pt x="8" y="16"/>
                    <a:pt x="7" y="15"/>
                    <a:pt x="6" y="15"/>
                  </a:cubicBezTo>
                  <a:cubicBezTo>
                    <a:pt x="5" y="15"/>
                    <a:pt x="4" y="14"/>
                    <a:pt x="3" y="13"/>
                  </a:cubicBezTo>
                  <a:cubicBezTo>
                    <a:pt x="3" y="13"/>
                    <a:pt x="2" y="12"/>
                    <a:pt x="2" y="11"/>
                  </a:cubicBezTo>
                  <a:cubicBezTo>
                    <a:pt x="1" y="10"/>
                    <a:pt x="1" y="9"/>
                    <a:pt x="1" y="8"/>
                  </a:cubicBezTo>
                  <a:cubicBezTo>
                    <a:pt x="1" y="6"/>
                    <a:pt x="2" y="4"/>
                    <a:pt x="4" y="2"/>
                  </a:cubicBezTo>
                  <a:cubicBezTo>
                    <a:pt x="5" y="1"/>
                    <a:pt x="8" y="0"/>
                    <a:pt x="11" y="0"/>
                  </a:cubicBezTo>
                  <a:cubicBezTo>
                    <a:pt x="13" y="0"/>
                    <a:pt x="14" y="0"/>
                    <a:pt x="16" y="1"/>
                  </a:cubicBezTo>
                  <a:cubicBezTo>
                    <a:pt x="17" y="1"/>
                    <a:pt x="18" y="1"/>
                    <a:pt x="18" y="2"/>
                  </a:cubicBezTo>
                  <a:cubicBezTo>
                    <a:pt x="18" y="5"/>
                    <a:pt x="18" y="5"/>
                    <a:pt x="18" y="5"/>
                  </a:cubicBezTo>
                  <a:cubicBezTo>
                    <a:pt x="17" y="5"/>
                    <a:pt x="16" y="4"/>
                    <a:pt x="15" y="4"/>
                  </a:cubicBezTo>
                  <a:cubicBezTo>
                    <a:pt x="14" y="4"/>
                    <a:pt x="13" y="3"/>
                    <a:pt x="11" y="3"/>
                  </a:cubicBezTo>
                  <a:cubicBezTo>
                    <a:pt x="10" y="3"/>
                    <a:pt x="9" y="3"/>
                    <a:pt x="8" y="4"/>
                  </a:cubicBezTo>
                  <a:cubicBezTo>
                    <a:pt x="8" y="4"/>
                    <a:pt x="7" y="4"/>
                    <a:pt x="6" y="4"/>
                  </a:cubicBezTo>
                  <a:cubicBezTo>
                    <a:pt x="6" y="5"/>
                    <a:pt x="5" y="5"/>
                    <a:pt x="5" y="6"/>
                  </a:cubicBezTo>
                  <a:cubicBezTo>
                    <a:pt x="5" y="6"/>
                    <a:pt x="5" y="7"/>
                    <a:pt x="5" y="8"/>
                  </a:cubicBezTo>
                  <a:cubicBezTo>
                    <a:pt x="5" y="8"/>
                    <a:pt x="5" y="9"/>
                    <a:pt x="5" y="10"/>
                  </a:cubicBezTo>
                  <a:cubicBezTo>
                    <a:pt x="5" y="10"/>
                    <a:pt x="6" y="11"/>
                    <a:pt x="6" y="11"/>
                  </a:cubicBezTo>
                  <a:cubicBezTo>
                    <a:pt x="7" y="12"/>
                    <a:pt x="8" y="12"/>
                    <a:pt x="8" y="12"/>
                  </a:cubicBezTo>
                  <a:cubicBezTo>
                    <a:pt x="9" y="13"/>
                    <a:pt x="10" y="13"/>
                    <a:pt x="11" y="14"/>
                  </a:cubicBezTo>
                  <a:cubicBezTo>
                    <a:pt x="12" y="14"/>
                    <a:pt x="14" y="15"/>
                    <a:pt x="15" y="15"/>
                  </a:cubicBezTo>
                  <a:cubicBezTo>
                    <a:pt x="16" y="15"/>
                    <a:pt x="16" y="16"/>
                    <a:pt x="17" y="17"/>
                  </a:cubicBezTo>
                  <a:cubicBezTo>
                    <a:pt x="18" y="17"/>
                    <a:pt x="19" y="18"/>
                    <a:pt x="19" y="19"/>
                  </a:cubicBezTo>
                  <a:cubicBezTo>
                    <a:pt x="20" y="20"/>
                    <a:pt x="20" y="21"/>
                    <a:pt x="20" y="22"/>
                  </a:cubicBezTo>
                  <a:cubicBezTo>
                    <a:pt x="20" y="25"/>
                    <a:pt x="19" y="27"/>
                    <a:pt x="17" y="28"/>
                  </a:cubicBezTo>
                  <a:cubicBezTo>
                    <a:pt x="15" y="30"/>
                    <a:pt x="12" y="30"/>
                    <a:pt x="9" y="30"/>
                  </a:cubicBezTo>
                  <a:cubicBezTo>
                    <a:pt x="6" y="30"/>
                    <a:pt x="4" y="30"/>
                    <a:pt x="3" y="30"/>
                  </a:cubicBezTo>
                  <a:cubicBezTo>
                    <a:pt x="2" y="29"/>
                    <a:pt x="1" y="29"/>
                    <a:pt x="0" y="29"/>
                  </a:cubicBezTo>
                  <a:cubicBezTo>
                    <a:pt x="1" y="25"/>
                    <a:pt x="1" y="25"/>
                    <a:pt x="1" y="25"/>
                  </a:cubicBezTo>
                  <a:cubicBezTo>
                    <a:pt x="1" y="26"/>
                    <a:pt x="2" y="26"/>
                    <a:pt x="2" y="26"/>
                  </a:cubicBezTo>
                  <a:cubicBezTo>
                    <a:pt x="2" y="26"/>
                    <a:pt x="3" y="26"/>
                    <a:pt x="4" y="26"/>
                  </a:cubicBezTo>
                  <a:cubicBezTo>
                    <a:pt x="4" y="27"/>
                    <a:pt x="5" y="27"/>
                    <a:pt x="6" y="27"/>
                  </a:cubicBezTo>
                  <a:cubicBezTo>
                    <a:pt x="7" y="27"/>
                    <a:pt x="8" y="27"/>
                    <a:pt x="9"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5" name="Group 584"/>
          <p:cNvGrpSpPr/>
          <p:nvPr/>
        </p:nvGrpSpPr>
        <p:grpSpPr>
          <a:xfrm>
            <a:off x="9124156" y="5176391"/>
            <a:ext cx="265113" cy="76202"/>
            <a:chOff x="9886953" y="5913496"/>
            <a:chExt cx="265113" cy="76202"/>
          </a:xfrm>
        </p:grpSpPr>
        <p:sp>
          <p:nvSpPr>
            <p:cNvPr id="492" name="Freeform 151"/>
            <p:cNvSpPr>
              <a:spLocks/>
            </p:cNvSpPr>
            <p:nvPr/>
          </p:nvSpPr>
          <p:spPr bwMode="auto">
            <a:xfrm>
              <a:off x="9886953" y="5916671"/>
              <a:ext cx="61913" cy="71438"/>
            </a:xfrm>
            <a:custGeom>
              <a:avLst/>
              <a:gdLst>
                <a:gd name="T0" fmla="*/ 4 w 34"/>
                <a:gd name="T1" fmla="*/ 0 h 39"/>
                <a:gd name="T2" fmla="*/ 7 w 34"/>
                <a:gd name="T3" fmla="*/ 10 h 39"/>
                <a:gd name="T4" fmla="*/ 10 w 34"/>
                <a:gd name="T5" fmla="*/ 18 h 39"/>
                <a:gd name="T6" fmla="*/ 13 w 34"/>
                <a:gd name="T7" fmla="*/ 26 h 39"/>
                <a:gd name="T8" fmla="*/ 17 w 34"/>
                <a:gd name="T9" fmla="*/ 35 h 39"/>
                <a:gd name="T10" fmla="*/ 20 w 34"/>
                <a:gd name="T11" fmla="*/ 27 h 39"/>
                <a:gd name="T12" fmla="*/ 23 w 34"/>
                <a:gd name="T13" fmla="*/ 18 h 39"/>
                <a:gd name="T14" fmla="*/ 26 w 34"/>
                <a:gd name="T15" fmla="*/ 10 h 39"/>
                <a:gd name="T16" fmla="*/ 30 w 34"/>
                <a:gd name="T17" fmla="*/ 0 h 39"/>
                <a:gd name="T18" fmla="*/ 34 w 34"/>
                <a:gd name="T19" fmla="*/ 0 h 39"/>
                <a:gd name="T20" fmla="*/ 29 w 34"/>
                <a:gd name="T21" fmla="*/ 13 h 39"/>
                <a:gd name="T22" fmla="*/ 25 w 34"/>
                <a:gd name="T23" fmla="*/ 23 h 39"/>
                <a:gd name="T24" fmla="*/ 22 w 34"/>
                <a:gd name="T25" fmla="*/ 31 h 39"/>
                <a:gd name="T26" fmla="*/ 18 w 34"/>
                <a:gd name="T27" fmla="*/ 39 h 39"/>
                <a:gd name="T28" fmla="*/ 15 w 34"/>
                <a:gd name="T29" fmla="*/ 39 h 39"/>
                <a:gd name="T30" fmla="*/ 12 w 34"/>
                <a:gd name="T31" fmla="*/ 31 h 39"/>
                <a:gd name="T32" fmla="*/ 8 w 34"/>
                <a:gd name="T33" fmla="*/ 23 h 39"/>
                <a:gd name="T34" fmla="*/ 4 w 34"/>
                <a:gd name="T35" fmla="*/ 13 h 39"/>
                <a:gd name="T36" fmla="*/ 0 w 34"/>
                <a:gd name="T37" fmla="*/ 0 h 39"/>
                <a:gd name="T38" fmla="*/ 4 w 34"/>
                <a:gd name="T3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39">
                  <a:moveTo>
                    <a:pt x="4" y="0"/>
                  </a:moveTo>
                  <a:cubicBezTo>
                    <a:pt x="5" y="4"/>
                    <a:pt x="6" y="7"/>
                    <a:pt x="7" y="10"/>
                  </a:cubicBezTo>
                  <a:cubicBezTo>
                    <a:pt x="8" y="13"/>
                    <a:pt x="9" y="16"/>
                    <a:pt x="10" y="18"/>
                  </a:cubicBezTo>
                  <a:cubicBezTo>
                    <a:pt x="11" y="21"/>
                    <a:pt x="12" y="24"/>
                    <a:pt x="13" y="26"/>
                  </a:cubicBezTo>
                  <a:cubicBezTo>
                    <a:pt x="14" y="29"/>
                    <a:pt x="16" y="32"/>
                    <a:pt x="17" y="35"/>
                  </a:cubicBezTo>
                  <a:cubicBezTo>
                    <a:pt x="18" y="32"/>
                    <a:pt x="19" y="29"/>
                    <a:pt x="20" y="27"/>
                  </a:cubicBezTo>
                  <a:cubicBezTo>
                    <a:pt x="21" y="24"/>
                    <a:pt x="22" y="21"/>
                    <a:pt x="23" y="18"/>
                  </a:cubicBezTo>
                  <a:cubicBezTo>
                    <a:pt x="24" y="16"/>
                    <a:pt x="25" y="13"/>
                    <a:pt x="26" y="10"/>
                  </a:cubicBezTo>
                  <a:cubicBezTo>
                    <a:pt x="27" y="7"/>
                    <a:pt x="28" y="4"/>
                    <a:pt x="30" y="0"/>
                  </a:cubicBezTo>
                  <a:cubicBezTo>
                    <a:pt x="34" y="0"/>
                    <a:pt x="34" y="0"/>
                    <a:pt x="34" y="0"/>
                  </a:cubicBezTo>
                  <a:cubicBezTo>
                    <a:pt x="32" y="5"/>
                    <a:pt x="30" y="9"/>
                    <a:pt x="29" y="13"/>
                  </a:cubicBezTo>
                  <a:cubicBezTo>
                    <a:pt x="28" y="17"/>
                    <a:pt x="26" y="20"/>
                    <a:pt x="25" y="23"/>
                  </a:cubicBezTo>
                  <a:cubicBezTo>
                    <a:pt x="24" y="26"/>
                    <a:pt x="23" y="29"/>
                    <a:pt x="22" y="31"/>
                  </a:cubicBezTo>
                  <a:cubicBezTo>
                    <a:pt x="21" y="34"/>
                    <a:pt x="20" y="36"/>
                    <a:pt x="18" y="39"/>
                  </a:cubicBezTo>
                  <a:cubicBezTo>
                    <a:pt x="15" y="39"/>
                    <a:pt x="15" y="39"/>
                    <a:pt x="15" y="39"/>
                  </a:cubicBezTo>
                  <a:cubicBezTo>
                    <a:pt x="14" y="36"/>
                    <a:pt x="13" y="34"/>
                    <a:pt x="12" y="31"/>
                  </a:cubicBezTo>
                  <a:cubicBezTo>
                    <a:pt x="10" y="29"/>
                    <a:pt x="9" y="26"/>
                    <a:pt x="8" y="23"/>
                  </a:cubicBezTo>
                  <a:cubicBezTo>
                    <a:pt x="7" y="20"/>
                    <a:pt x="6" y="17"/>
                    <a:pt x="4" y="13"/>
                  </a:cubicBezTo>
                  <a:cubicBezTo>
                    <a:pt x="3" y="9"/>
                    <a:pt x="1" y="5"/>
                    <a:pt x="0" y="0"/>
                  </a:cubicBezTo>
                  <a:lnTo>
                    <a:pt x="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52"/>
            <p:cNvSpPr>
              <a:spLocks noEditPoints="1"/>
            </p:cNvSpPr>
            <p:nvPr/>
          </p:nvSpPr>
          <p:spPr bwMode="auto">
            <a:xfrm>
              <a:off x="9955216" y="5913496"/>
              <a:ext cx="9525" cy="74613"/>
            </a:xfrm>
            <a:custGeom>
              <a:avLst/>
              <a:gdLst>
                <a:gd name="T0" fmla="*/ 5 w 5"/>
                <a:gd name="T1" fmla="*/ 2 h 40"/>
                <a:gd name="T2" fmla="*/ 5 w 5"/>
                <a:gd name="T3" fmla="*/ 4 h 40"/>
                <a:gd name="T4" fmla="*/ 3 w 5"/>
                <a:gd name="T5" fmla="*/ 5 h 40"/>
                <a:gd name="T6" fmla="*/ 1 w 5"/>
                <a:gd name="T7" fmla="*/ 4 h 40"/>
                <a:gd name="T8" fmla="*/ 0 w 5"/>
                <a:gd name="T9" fmla="*/ 2 h 40"/>
                <a:gd name="T10" fmla="*/ 1 w 5"/>
                <a:gd name="T11" fmla="*/ 0 h 40"/>
                <a:gd name="T12" fmla="*/ 3 w 5"/>
                <a:gd name="T13" fmla="*/ 0 h 40"/>
                <a:gd name="T14" fmla="*/ 5 w 5"/>
                <a:gd name="T15" fmla="*/ 0 h 40"/>
                <a:gd name="T16" fmla="*/ 5 w 5"/>
                <a:gd name="T17" fmla="*/ 2 h 40"/>
                <a:gd name="T18" fmla="*/ 5 w 5"/>
                <a:gd name="T19" fmla="*/ 40 h 40"/>
                <a:gd name="T20" fmla="*/ 1 w 5"/>
                <a:gd name="T21" fmla="*/ 40 h 40"/>
                <a:gd name="T22" fmla="*/ 1 w 5"/>
                <a:gd name="T23" fmla="*/ 11 h 40"/>
                <a:gd name="T24" fmla="*/ 5 w 5"/>
                <a:gd name="T25" fmla="*/ 11 h 40"/>
                <a:gd name="T26" fmla="*/ 5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2"/>
                  </a:moveTo>
                  <a:cubicBezTo>
                    <a:pt x="5" y="3"/>
                    <a:pt x="5" y="4"/>
                    <a:pt x="5" y="4"/>
                  </a:cubicBezTo>
                  <a:cubicBezTo>
                    <a:pt x="4" y="5"/>
                    <a:pt x="3" y="5"/>
                    <a:pt x="3" y="5"/>
                  </a:cubicBezTo>
                  <a:cubicBezTo>
                    <a:pt x="2" y="5"/>
                    <a:pt x="1" y="5"/>
                    <a:pt x="1" y="4"/>
                  </a:cubicBezTo>
                  <a:cubicBezTo>
                    <a:pt x="0" y="4"/>
                    <a:pt x="0" y="3"/>
                    <a:pt x="0" y="2"/>
                  </a:cubicBezTo>
                  <a:cubicBezTo>
                    <a:pt x="0" y="2"/>
                    <a:pt x="0" y="1"/>
                    <a:pt x="1" y="0"/>
                  </a:cubicBezTo>
                  <a:cubicBezTo>
                    <a:pt x="1" y="0"/>
                    <a:pt x="2" y="0"/>
                    <a:pt x="3" y="0"/>
                  </a:cubicBezTo>
                  <a:cubicBezTo>
                    <a:pt x="3" y="0"/>
                    <a:pt x="4" y="0"/>
                    <a:pt x="5" y="0"/>
                  </a:cubicBezTo>
                  <a:cubicBezTo>
                    <a:pt x="5" y="1"/>
                    <a:pt x="5" y="2"/>
                    <a:pt x="5"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53"/>
            <p:cNvSpPr>
              <a:spLocks/>
            </p:cNvSpPr>
            <p:nvPr/>
          </p:nvSpPr>
          <p:spPr bwMode="auto">
            <a:xfrm>
              <a:off x="9977441" y="5932547"/>
              <a:ext cx="34925" cy="57151"/>
            </a:xfrm>
            <a:custGeom>
              <a:avLst/>
              <a:gdLst>
                <a:gd name="T0" fmla="*/ 8 w 19"/>
                <a:gd name="T1" fmla="*/ 27 h 31"/>
                <a:gd name="T2" fmla="*/ 13 w 19"/>
                <a:gd name="T3" fmla="*/ 26 h 31"/>
                <a:gd name="T4" fmla="*/ 15 w 19"/>
                <a:gd name="T5" fmla="*/ 23 h 31"/>
                <a:gd name="T6" fmla="*/ 15 w 19"/>
                <a:gd name="T7" fmla="*/ 21 h 31"/>
                <a:gd name="T8" fmla="*/ 14 w 19"/>
                <a:gd name="T9" fmla="*/ 19 h 31"/>
                <a:gd name="T10" fmla="*/ 12 w 19"/>
                <a:gd name="T11" fmla="*/ 18 h 31"/>
                <a:gd name="T12" fmla="*/ 8 w 19"/>
                <a:gd name="T13" fmla="*/ 17 h 31"/>
                <a:gd name="T14" fmla="*/ 5 w 19"/>
                <a:gd name="T15" fmla="*/ 15 h 31"/>
                <a:gd name="T16" fmla="*/ 3 w 19"/>
                <a:gd name="T17" fmla="*/ 14 h 31"/>
                <a:gd name="T18" fmla="*/ 1 w 19"/>
                <a:gd name="T19" fmla="*/ 11 h 31"/>
                <a:gd name="T20" fmla="*/ 0 w 19"/>
                <a:gd name="T21" fmla="*/ 8 h 31"/>
                <a:gd name="T22" fmla="*/ 3 w 19"/>
                <a:gd name="T23" fmla="*/ 3 h 31"/>
                <a:gd name="T24" fmla="*/ 10 w 19"/>
                <a:gd name="T25" fmla="*/ 0 h 31"/>
                <a:gd name="T26" fmla="*/ 15 w 19"/>
                <a:gd name="T27" fmla="*/ 1 h 31"/>
                <a:gd name="T28" fmla="*/ 18 w 19"/>
                <a:gd name="T29" fmla="*/ 2 h 31"/>
                <a:gd name="T30" fmla="*/ 17 w 19"/>
                <a:gd name="T31" fmla="*/ 5 h 31"/>
                <a:gd name="T32" fmla="*/ 15 w 19"/>
                <a:gd name="T33" fmla="*/ 4 h 31"/>
                <a:gd name="T34" fmla="*/ 10 w 19"/>
                <a:gd name="T35" fmla="*/ 4 h 31"/>
                <a:gd name="T36" fmla="*/ 8 w 19"/>
                <a:gd name="T37" fmla="*/ 4 h 31"/>
                <a:gd name="T38" fmla="*/ 6 w 19"/>
                <a:gd name="T39" fmla="*/ 5 h 31"/>
                <a:gd name="T40" fmla="*/ 4 w 19"/>
                <a:gd name="T41" fmla="*/ 6 h 31"/>
                <a:gd name="T42" fmla="*/ 4 w 19"/>
                <a:gd name="T43" fmla="*/ 8 h 31"/>
                <a:gd name="T44" fmla="*/ 4 w 19"/>
                <a:gd name="T45" fmla="*/ 10 h 31"/>
                <a:gd name="T46" fmla="*/ 6 w 19"/>
                <a:gd name="T47" fmla="*/ 12 h 31"/>
                <a:gd name="T48" fmla="*/ 8 w 19"/>
                <a:gd name="T49" fmla="*/ 13 h 31"/>
                <a:gd name="T50" fmla="*/ 11 w 19"/>
                <a:gd name="T51" fmla="*/ 14 h 31"/>
                <a:gd name="T52" fmla="*/ 14 w 19"/>
                <a:gd name="T53" fmla="*/ 15 h 31"/>
                <a:gd name="T54" fmla="*/ 16 w 19"/>
                <a:gd name="T55" fmla="*/ 17 h 31"/>
                <a:gd name="T56" fmla="*/ 18 w 19"/>
                <a:gd name="T57" fmla="*/ 19 h 31"/>
                <a:gd name="T58" fmla="*/ 19 w 19"/>
                <a:gd name="T59" fmla="*/ 23 h 31"/>
                <a:gd name="T60" fmla="*/ 16 w 19"/>
                <a:gd name="T61" fmla="*/ 29 h 31"/>
                <a:gd name="T62" fmla="*/ 8 w 19"/>
                <a:gd name="T63" fmla="*/ 31 h 31"/>
                <a:gd name="T64" fmla="*/ 2 w 19"/>
                <a:gd name="T65" fmla="*/ 30 h 31"/>
                <a:gd name="T66" fmla="*/ 0 w 19"/>
                <a:gd name="T67" fmla="*/ 29 h 31"/>
                <a:gd name="T68" fmla="*/ 1 w 19"/>
                <a:gd name="T69" fmla="*/ 26 h 31"/>
                <a:gd name="T70" fmla="*/ 1 w 19"/>
                <a:gd name="T71" fmla="*/ 26 h 31"/>
                <a:gd name="T72" fmla="*/ 3 w 19"/>
                <a:gd name="T73" fmla="*/ 27 h 31"/>
                <a:gd name="T74" fmla="*/ 5 w 19"/>
                <a:gd name="T75" fmla="*/ 27 h 31"/>
                <a:gd name="T76" fmla="*/ 8 w 19"/>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1">
                  <a:moveTo>
                    <a:pt x="8" y="27"/>
                  </a:moveTo>
                  <a:cubicBezTo>
                    <a:pt x="10" y="27"/>
                    <a:pt x="12" y="27"/>
                    <a:pt x="13" y="26"/>
                  </a:cubicBezTo>
                  <a:cubicBezTo>
                    <a:pt x="15" y="26"/>
                    <a:pt x="15" y="25"/>
                    <a:pt x="15" y="23"/>
                  </a:cubicBezTo>
                  <a:cubicBezTo>
                    <a:pt x="15" y="22"/>
                    <a:pt x="15" y="21"/>
                    <a:pt x="15" y="21"/>
                  </a:cubicBezTo>
                  <a:cubicBezTo>
                    <a:pt x="15" y="20"/>
                    <a:pt x="14" y="20"/>
                    <a:pt x="14" y="19"/>
                  </a:cubicBezTo>
                  <a:cubicBezTo>
                    <a:pt x="13" y="19"/>
                    <a:pt x="12" y="19"/>
                    <a:pt x="12" y="18"/>
                  </a:cubicBezTo>
                  <a:cubicBezTo>
                    <a:pt x="11" y="18"/>
                    <a:pt x="10" y="17"/>
                    <a:pt x="8" y="17"/>
                  </a:cubicBezTo>
                  <a:cubicBezTo>
                    <a:pt x="7" y="16"/>
                    <a:pt x="6" y="16"/>
                    <a:pt x="5" y="15"/>
                  </a:cubicBezTo>
                  <a:cubicBezTo>
                    <a:pt x="4" y="15"/>
                    <a:pt x="3" y="14"/>
                    <a:pt x="3" y="14"/>
                  </a:cubicBezTo>
                  <a:cubicBezTo>
                    <a:pt x="2" y="13"/>
                    <a:pt x="1" y="12"/>
                    <a:pt x="1" y="11"/>
                  </a:cubicBezTo>
                  <a:cubicBezTo>
                    <a:pt x="0" y="11"/>
                    <a:pt x="0" y="10"/>
                    <a:pt x="0" y="8"/>
                  </a:cubicBezTo>
                  <a:cubicBezTo>
                    <a:pt x="0" y="6"/>
                    <a:pt x="1" y="4"/>
                    <a:pt x="3" y="3"/>
                  </a:cubicBezTo>
                  <a:cubicBezTo>
                    <a:pt x="4" y="1"/>
                    <a:pt x="7" y="0"/>
                    <a:pt x="10" y="0"/>
                  </a:cubicBezTo>
                  <a:cubicBezTo>
                    <a:pt x="12" y="0"/>
                    <a:pt x="14" y="1"/>
                    <a:pt x="15" y="1"/>
                  </a:cubicBezTo>
                  <a:cubicBezTo>
                    <a:pt x="16" y="1"/>
                    <a:pt x="17" y="2"/>
                    <a:pt x="18" y="2"/>
                  </a:cubicBezTo>
                  <a:cubicBezTo>
                    <a:pt x="17" y="5"/>
                    <a:pt x="17" y="5"/>
                    <a:pt x="17" y="5"/>
                  </a:cubicBezTo>
                  <a:cubicBezTo>
                    <a:pt x="16" y="5"/>
                    <a:pt x="16" y="5"/>
                    <a:pt x="15" y="4"/>
                  </a:cubicBezTo>
                  <a:cubicBezTo>
                    <a:pt x="13" y="4"/>
                    <a:pt x="12" y="4"/>
                    <a:pt x="10" y="4"/>
                  </a:cubicBezTo>
                  <a:cubicBezTo>
                    <a:pt x="9" y="4"/>
                    <a:pt x="8" y="4"/>
                    <a:pt x="8" y="4"/>
                  </a:cubicBezTo>
                  <a:cubicBezTo>
                    <a:pt x="7" y="4"/>
                    <a:pt x="6" y="4"/>
                    <a:pt x="6" y="5"/>
                  </a:cubicBezTo>
                  <a:cubicBezTo>
                    <a:pt x="5" y="5"/>
                    <a:pt x="5" y="5"/>
                    <a:pt x="4" y="6"/>
                  </a:cubicBezTo>
                  <a:cubicBezTo>
                    <a:pt x="4" y="7"/>
                    <a:pt x="4" y="7"/>
                    <a:pt x="4" y="8"/>
                  </a:cubicBezTo>
                  <a:cubicBezTo>
                    <a:pt x="4" y="9"/>
                    <a:pt x="4" y="9"/>
                    <a:pt x="4" y="10"/>
                  </a:cubicBezTo>
                  <a:cubicBezTo>
                    <a:pt x="4" y="11"/>
                    <a:pt x="5" y="11"/>
                    <a:pt x="6" y="12"/>
                  </a:cubicBezTo>
                  <a:cubicBezTo>
                    <a:pt x="6" y="12"/>
                    <a:pt x="7" y="12"/>
                    <a:pt x="8" y="13"/>
                  </a:cubicBezTo>
                  <a:cubicBezTo>
                    <a:pt x="8" y="13"/>
                    <a:pt x="9" y="13"/>
                    <a:pt x="11" y="14"/>
                  </a:cubicBezTo>
                  <a:cubicBezTo>
                    <a:pt x="12" y="14"/>
                    <a:pt x="13" y="15"/>
                    <a:pt x="14" y="15"/>
                  </a:cubicBezTo>
                  <a:cubicBezTo>
                    <a:pt x="15" y="16"/>
                    <a:pt x="16" y="16"/>
                    <a:pt x="16" y="17"/>
                  </a:cubicBezTo>
                  <a:cubicBezTo>
                    <a:pt x="17" y="18"/>
                    <a:pt x="18" y="18"/>
                    <a:pt x="18" y="19"/>
                  </a:cubicBezTo>
                  <a:cubicBezTo>
                    <a:pt x="19" y="20"/>
                    <a:pt x="19" y="21"/>
                    <a:pt x="19" y="23"/>
                  </a:cubicBezTo>
                  <a:cubicBezTo>
                    <a:pt x="19" y="25"/>
                    <a:pt x="18" y="27"/>
                    <a:pt x="16" y="29"/>
                  </a:cubicBezTo>
                  <a:cubicBezTo>
                    <a:pt x="14" y="30"/>
                    <a:pt x="12" y="31"/>
                    <a:pt x="8" y="31"/>
                  </a:cubicBezTo>
                  <a:cubicBezTo>
                    <a:pt x="6" y="31"/>
                    <a:pt x="4" y="31"/>
                    <a:pt x="2" y="30"/>
                  </a:cubicBezTo>
                  <a:cubicBezTo>
                    <a:pt x="1" y="30"/>
                    <a:pt x="0" y="29"/>
                    <a:pt x="0" y="29"/>
                  </a:cubicBezTo>
                  <a:cubicBezTo>
                    <a:pt x="1" y="26"/>
                    <a:pt x="1" y="26"/>
                    <a:pt x="1" y="26"/>
                  </a:cubicBezTo>
                  <a:cubicBezTo>
                    <a:pt x="1" y="26"/>
                    <a:pt x="1" y="26"/>
                    <a:pt x="1" y="26"/>
                  </a:cubicBezTo>
                  <a:cubicBezTo>
                    <a:pt x="2" y="26"/>
                    <a:pt x="2" y="27"/>
                    <a:pt x="3" y="27"/>
                  </a:cubicBezTo>
                  <a:cubicBezTo>
                    <a:pt x="3" y="27"/>
                    <a:pt x="4" y="27"/>
                    <a:pt x="5" y="27"/>
                  </a:cubicBezTo>
                  <a:cubicBezTo>
                    <a:pt x="6" y="27"/>
                    <a:pt x="7" y="27"/>
                    <a:pt x="8"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154"/>
            <p:cNvSpPr>
              <a:spLocks noEditPoints="1"/>
            </p:cNvSpPr>
            <p:nvPr/>
          </p:nvSpPr>
          <p:spPr bwMode="auto">
            <a:xfrm>
              <a:off x="10023478" y="5913496"/>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2" y="5"/>
                    <a:pt x="1" y="4"/>
                  </a:cubicBezTo>
                  <a:cubicBezTo>
                    <a:pt x="1" y="4"/>
                    <a:pt x="0" y="3"/>
                    <a:pt x="0" y="2"/>
                  </a:cubicBezTo>
                  <a:cubicBezTo>
                    <a:pt x="0" y="2"/>
                    <a:pt x="1" y="1"/>
                    <a:pt x="1" y="0"/>
                  </a:cubicBezTo>
                  <a:cubicBezTo>
                    <a:pt x="2"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155"/>
            <p:cNvSpPr>
              <a:spLocks noEditPoints="1"/>
            </p:cNvSpPr>
            <p:nvPr/>
          </p:nvSpPr>
          <p:spPr bwMode="auto">
            <a:xfrm>
              <a:off x="10047291" y="5932547"/>
              <a:ext cx="47625" cy="57151"/>
            </a:xfrm>
            <a:custGeom>
              <a:avLst/>
              <a:gdLst>
                <a:gd name="T0" fmla="*/ 26 w 26"/>
                <a:gd name="T1" fmla="*/ 16 h 31"/>
                <a:gd name="T2" fmla="*/ 25 w 26"/>
                <a:gd name="T3" fmla="*/ 22 h 31"/>
                <a:gd name="T4" fmla="*/ 22 w 26"/>
                <a:gd name="T5" fmla="*/ 27 h 31"/>
                <a:gd name="T6" fmla="*/ 18 w 26"/>
                <a:gd name="T7" fmla="*/ 30 h 31"/>
                <a:gd name="T8" fmla="*/ 13 w 26"/>
                <a:gd name="T9" fmla="*/ 31 h 31"/>
                <a:gd name="T10" fmla="*/ 8 w 26"/>
                <a:gd name="T11" fmla="*/ 30 h 31"/>
                <a:gd name="T12" fmla="*/ 3 w 26"/>
                <a:gd name="T13" fmla="*/ 27 h 31"/>
                <a:gd name="T14" fmla="*/ 1 w 26"/>
                <a:gd name="T15" fmla="*/ 22 h 31"/>
                <a:gd name="T16" fmla="*/ 0 w 26"/>
                <a:gd name="T17" fmla="*/ 16 h 31"/>
                <a:gd name="T18" fmla="*/ 1 w 26"/>
                <a:gd name="T19" fmla="*/ 9 h 31"/>
                <a:gd name="T20" fmla="*/ 3 w 26"/>
                <a:gd name="T21" fmla="*/ 5 h 31"/>
                <a:gd name="T22" fmla="*/ 8 w 26"/>
                <a:gd name="T23" fmla="*/ 2 h 31"/>
                <a:gd name="T24" fmla="*/ 13 w 26"/>
                <a:gd name="T25" fmla="*/ 0 h 31"/>
                <a:gd name="T26" fmla="*/ 18 w 26"/>
                <a:gd name="T27" fmla="*/ 2 h 31"/>
                <a:gd name="T28" fmla="*/ 22 w 26"/>
                <a:gd name="T29" fmla="*/ 5 h 31"/>
                <a:gd name="T30" fmla="*/ 25 w 26"/>
                <a:gd name="T31" fmla="*/ 9 h 31"/>
                <a:gd name="T32" fmla="*/ 26 w 26"/>
                <a:gd name="T33" fmla="*/ 16 h 31"/>
                <a:gd name="T34" fmla="*/ 22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2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4" y="24"/>
                    <a:pt x="24" y="25"/>
                    <a:pt x="22" y="27"/>
                  </a:cubicBezTo>
                  <a:cubicBezTo>
                    <a:pt x="21" y="28"/>
                    <a:pt x="20" y="29"/>
                    <a:pt x="18" y="30"/>
                  </a:cubicBezTo>
                  <a:cubicBezTo>
                    <a:pt x="17" y="30"/>
                    <a:pt x="15" y="31"/>
                    <a:pt x="13" y="31"/>
                  </a:cubicBez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8"/>
                    <a:pt x="2" y="6"/>
                    <a:pt x="3" y="5"/>
                  </a:cubicBezTo>
                  <a:cubicBezTo>
                    <a:pt x="5" y="3"/>
                    <a:pt x="6" y="2"/>
                    <a:pt x="8" y="2"/>
                  </a:cubicBezTo>
                  <a:cubicBezTo>
                    <a:pt x="9" y="1"/>
                    <a:pt x="11" y="0"/>
                    <a:pt x="13" y="0"/>
                  </a:cubicBezTo>
                  <a:cubicBezTo>
                    <a:pt x="15" y="0"/>
                    <a:pt x="17" y="1"/>
                    <a:pt x="18" y="2"/>
                  </a:cubicBezTo>
                  <a:cubicBezTo>
                    <a:pt x="20" y="2"/>
                    <a:pt x="21" y="3"/>
                    <a:pt x="22" y="5"/>
                  </a:cubicBezTo>
                  <a:cubicBezTo>
                    <a:pt x="24" y="6"/>
                    <a:pt x="24" y="8"/>
                    <a:pt x="25" y="9"/>
                  </a:cubicBezTo>
                  <a:cubicBezTo>
                    <a:pt x="26" y="11"/>
                    <a:pt x="26" y="13"/>
                    <a:pt x="26" y="16"/>
                  </a:cubicBezTo>
                  <a:close/>
                  <a:moveTo>
                    <a:pt x="22" y="16"/>
                  </a:moveTo>
                  <a:cubicBezTo>
                    <a:pt x="22" y="12"/>
                    <a:pt x="21" y="9"/>
                    <a:pt x="20" y="7"/>
                  </a:cubicBezTo>
                  <a:cubicBezTo>
                    <a:pt x="18" y="5"/>
                    <a:pt x="16" y="4"/>
                    <a:pt x="13" y="4"/>
                  </a:cubicBezTo>
                  <a:cubicBezTo>
                    <a:pt x="10" y="4"/>
                    <a:pt x="8" y="5"/>
                    <a:pt x="6" y="7"/>
                  </a:cubicBezTo>
                  <a:cubicBezTo>
                    <a:pt x="4" y="9"/>
                    <a:pt x="4" y="12"/>
                    <a:pt x="4" y="16"/>
                  </a:cubicBezTo>
                  <a:cubicBezTo>
                    <a:pt x="4" y="19"/>
                    <a:pt x="4" y="22"/>
                    <a:pt x="6" y="24"/>
                  </a:cubicBezTo>
                  <a:cubicBezTo>
                    <a:pt x="8" y="26"/>
                    <a:pt x="10" y="27"/>
                    <a:pt x="13" y="27"/>
                  </a:cubicBezTo>
                  <a:cubicBezTo>
                    <a:pt x="16" y="27"/>
                    <a:pt x="18" y="26"/>
                    <a:pt x="20" y="24"/>
                  </a:cubicBezTo>
                  <a:cubicBezTo>
                    <a:pt x="21" y="22"/>
                    <a:pt x="22" y="19"/>
                    <a:pt x="22"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156"/>
            <p:cNvSpPr>
              <a:spLocks/>
            </p:cNvSpPr>
            <p:nvPr/>
          </p:nvSpPr>
          <p:spPr bwMode="auto">
            <a:xfrm>
              <a:off x="10109203" y="5934134"/>
              <a:ext cx="42863" cy="53976"/>
            </a:xfrm>
            <a:custGeom>
              <a:avLst/>
              <a:gdLst>
                <a:gd name="T0" fmla="*/ 0 w 23"/>
                <a:gd name="T1" fmla="*/ 1 h 29"/>
                <a:gd name="T2" fmla="*/ 4 w 23"/>
                <a:gd name="T3" fmla="*/ 0 h 29"/>
                <a:gd name="T4" fmla="*/ 11 w 23"/>
                <a:gd name="T5" fmla="*/ 0 h 29"/>
                <a:gd name="T6" fmla="*/ 17 w 23"/>
                <a:gd name="T7" fmla="*/ 0 h 29"/>
                <a:gd name="T8" fmla="*/ 20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5 h 29"/>
                <a:gd name="T24" fmla="*/ 15 w 23"/>
                <a:gd name="T25" fmla="*/ 3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4" y="0"/>
                  </a:cubicBezTo>
                  <a:cubicBezTo>
                    <a:pt x="6" y="0"/>
                    <a:pt x="8" y="0"/>
                    <a:pt x="11" y="0"/>
                  </a:cubicBezTo>
                  <a:cubicBezTo>
                    <a:pt x="13" y="0"/>
                    <a:pt x="15" y="0"/>
                    <a:pt x="17" y="0"/>
                  </a:cubicBezTo>
                  <a:cubicBezTo>
                    <a:pt x="18" y="1"/>
                    <a:pt x="19" y="2"/>
                    <a:pt x="20" y="3"/>
                  </a:cubicBezTo>
                  <a:cubicBezTo>
                    <a:pt x="21" y="4"/>
                    <a:pt x="22" y="6"/>
                    <a:pt x="22" y="7"/>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0"/>
                    <a:pt x="19" y="9"/>
                  </a:cubicBezTo>
                  <a:cubicBezTo>
                    <a:pt x="18" y="7"/>
                    <a:pt x="18" y="6"/>
                    <a:pt x="17" y="5"/>
                  </a:cubicBezTo>
                  <a:cubicBezTo>
                    <a:pt x="16" y="4"/>
                    <a:pt x="16" y="4"/>
                    <a:pt x="15" y="3"/>
                  </a:cubicBezTo>
                  <a:cubicBezTo>
                    <a:pt x="13" y="3"/>
                    <a:pt x="12" y="3"/>
                    <a:pt x="11" y="3"/>
                  </a:cubicBezTo>
                  <a:cubicBezTo>
                    <a:pt x="9" y="3"/>
                    <a:pt x="7"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0" name="Group 579"/>
          <p:cNvGrpSpPr/>
          <p:nvPr/>
        </p:nvGrpSpPr>
        <p:grpSpPr>
          <a:xfrm>
            <a:off x="3045530" y="5176391"/>
            <a:ext cx="293687" cy="90489"/>
            <a:chOff x="4057652" y="5916671"/>
            <a:chExt cx="293687" cy="90489"/>
          </a:xfrm>
        </p:grpSpPr>
        <p:sp>
          <p:nvSpPr>
            <p:cNvPr id="509" name="Freeform 168"/>
            <p:cNvSpPr>
              <a:spLocks/>
            </p:cNvSpPr>
            <p:nvPr/>
          </p:nvSpPr>
          <p:spPr bwMode="auto">
            <a:xfrm>
              <a:off x="4057652" y="5916671"/>
              <a:ext cx="52388" cy="71438"/>
            </a:xfrm>
            <a:custGeom>
              <a:avLst/>
              <a:gdLst>
                <a:gd name="T0" fmla="*/ 33 w 33"/>
                <a:gd name="T1" fmla="*/ 0 h 45"/>
                <a:gd name="T2" fmla="*/ 33 w 33"/>
                <a:gd name="T3" fmla="*/ 4 h 45"/>
                <a:gd name="T4" fmla="*/ 18 w 33"/>
                <a:gd name="T5" fmla="*/ 4 h 45"/>
                <a:gd name="T6" fmla="*/ 18 w 33"/>
                <a:gd name="T7" fmla="*/ 45 h 45"/>
                <a:gd name="T8" fmla="*/ 15 w 33"/>
                <a:gd name="T9" fmla="*/ 45 h 45"/>
                <a:gd name="T10" fmla="*/ 15 w 33"/>
                <a:gd name="T11" fmla="*/ 4 h 45"/>
                <a:gd name="T12" fmla="*/ 0 w 33"/>
                <a:gd name="T13" fmla="*/ 4 h 45"/>
                <a:gd name="T14" fmla="*/ 0 w 33"/>
                <a:gd name="T15" fmla="*/ 0 h 45"/>
                <a:gd name="T16" fmla="*/ 33 w 3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5">
                  <a:moveTo>
                    <a:pt x="33" y="0"/>
                  </a:moveTo>
                  <a:lnTo>
                    <a:pt x="33" y="4"/>
                  </a:lnTo>
                  <a:lnTo>
                    <a:pt x="18" y="4"/>
                  </a:lnTo>
                  <a:lnTo>
                    <a:pt x="18" y="45"/>
                  </a:lnTo>
                  <a:lnTo>
                    <a:pt x="15" y="45"/>
                  </a:lnTo>
                  <a:lnTo>
                    <a:pt x="15" y="4"/>
                  </a:lnTo>
                  <a:lnTo>
                    <a:pt x="0" y="4"/>
                  </a:lnTo>
                  <a:lnTo>
                    <a:pt x="0" y="0"/>
                  </a:lnTo>
                  <a:lnTo>
                    <a:pt x="3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69"/>
            <p:cNvSpPr>
              <a:spLocks noEditPoints="1"/>
            </p:cNvSpPr>
            <p:nvPr/>
          </p:nvSpPr>
          <p:spPr bwMode="auto">
            <a:xfrm>
              <a:off x="4113214" y="5932547"/>
              <a:ext cx="39688"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20"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5" y="14"/>
                    <a:pt x="7" y="13"/>
                  </a:cubicBezTo>
                  <a:cubicBezTo>
                    <a:pt x="8" y="13"/>
                    <a:pt x="10" y="13"/>
                    <a:pt x="12" y="13"/>
                  </a:cubicBezTo>
                  <a:cubicBezTo>
                    <a:pt x="12" y="13"/>
                    <a:pt x="13" y="13"/>
                    <a:pt x="14"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5"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170"/>
            <p:cNvSpPr>
              <a:spLocks/>
            </p:cNvSpPr>
            <p:nvPr/>
          </p:nvSpPr>
          <p:spPr bwMode="auto">
            <a:xfrm>
              <a:off x="4168777" y="5934134"/>
              <a:ext cx="28575" cy="53976"/>
            </a:xfrm>
            <a:custGeom>
              <a:avLst/>
              <a:gdLst>
                <a:gd name="T0" fmla="*/ 10 w 16"/>
                <a:gd name="T1" fmla="*/ 0 h 29"/>
                <a:gd name="T2" fmla="*/ 14 w 16"/>
                <a:gd name="T3" fmla="*/ 0 h 29"/>
                <a:gd name="T4" fmla="*/ 16 w 16"/>
                <a:gd name="T5" fmla="*/ 0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1 h 29"/>
                <a:gd name="T22" fmla="*/ 4 w 16"/>
                <a:gd name="T23" fmla="*/ 0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0"/>
                    <a:pt x="16" y="0"/>
                  </a:cubicBezTo>
                  <a:cubicBezTo>
                    <a:pt x="15" y="4"/>
                    <a:pt x="15" y="4"/>
                    <a:pt x="15" y="4"/>
                  </a:cubicBezTo>
                  <a:cubicBezTo>
                    <a:pt x="15" y="3"/>
                    <a:pt x="14" y="3"/>
                    <a:pt x="13" y="3"/>
                  </a:cubicBezTo>
                  <a:cubicBezTo>
                    <a:pt x="12" y="3"/>
                    <a:pt x="11" y="3"/>
                    <a:pt x="10" y="3"/>
                  </a:cubicBezTo>
                  <a:cubicBezTo>
                    <a:pt x="8" y="3"/>
                    <a:pt x="7" y="3"/>
                    <a:pt x="6" y="3"/>
                  </a:cubicBezTo>
                  <a:cubicBezTo>
                    <a:pt x="5" y="3"/>
                    <a:pt x="4" y="4"/>
                    <a:pt x="4" y="4"/>
                  </a:cubicBezTo>
                  <a:cubicBezTo>
                    <a:pt x="4" y="29"/>
                    <a:pt x="4" y="29"/>
                    <a:pt x="4" y="29"/>
                  </a:cubicBezTo>
                  <a:cubicBezTo>
                    <a:pt x="0" y="29"/>
                    <a:pt x="0" y="29"/>
                    <a:pt x="0" y="29"/>
                  </a:cubicBezTo>
                  <a:cubicBezTo>
                    <a:pt x="0" y="1"/>
                    <a:pt x="0" y="1"/>
                    <a:pt x="0" y="1"/>
                  </a:cubicBezTo>
                  <a:cubicBezTo>
                    <a:pt x="1" y="1"/>
                    <a:pt x="3" y="1"/>
                    <a:pt x="4" y="0"/>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71"/>
            <p:cNvSpPr>
              <a:spLocks noEditPoints="1"/>
            </p:cNvSpPr>
            <p:nvPr/>
          </p:nvSpPr>
          <p:spPr bwMode="auto">
            <a:xfrm>
              <a:off x="4205289" y="5934134"/>
              <a:ext cx="44450" cy="73026"/>
            </a:xfrm>
            <a:custGeom>
              <a:avLst/>
              <a:gdLst>
                <a:gd name="T0" fmla="*/ 20 w 24"/>
                <a:gd name="T1" fmla="*/ 26 h 40"/>
                <a:gd name="T2" fmla="*/ 19 w 24"/>
                <a:gd name="T3" fmla="*/ 26 h 40"/>
                <a:gd name="T4" fmla="*/ 17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0 w 24"/>
                <a:gd name="T19" fmla="*/ 8 h 40"/>
                <a:gd name="T20" fmla="*/ 3 w 24"/>
                <a:gd name="T21" fmla="*/ 4 h 40"/>
                <a:gd name="T22" fmla="*/ 8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7" y="27"/>
                  </a:cubicBezTo>
                  <a:cubicBezTo>
                    <a:pt x="17" y="27"/>
                    <a:pt x="16" y="28"/>
                    <a:pt x="15" y="28"/>
                  </a:cubicBezTo>
                  <a:cubicBezTo>
                    <a:pt x="14" y="28"/>
                    <a:pt x="13"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0" y="8"/>
                  </a:cubicBezTo>
                  <a:cubicBezTo>
                    <a:pt x="1" y="6"/>
                    <a:pt x="2" y="5"/>
                    <a:pt x="3" y="4"/>
                  </a:cubicBezTo>
                  <a:cubicBezTo>
                    <a:pt x="4" y="2"/>
                    <a:pt x="6" y="1"/>
                    <a:pt x="8"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19"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8"/>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172"/>
            <p:cNvSpPr>
              <a:spLocks noEditPoints="1"/>
            </p:cNvSpPr>
            <p:nvPr/>
          </p:nvSpPr>
          <p:spPr bwMode="auto">
            <a:xfrm>
              <a:off x="4264027" y="5932547"/>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3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3" y="16"/>
                    <a:pt x="3" y="16"/>
                    <a:pt x="3" y="16"/>
                  </a:cubicBezTo>
                  <a:cubicBezTo>
                    <a:pt x="4" y="20"/>
                    <a:pt x="4" y="23"/>
                    <a:pt x="6" y="25"/>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30"/>
                    <a:pt x="19" y="30"/>
                  </a:cubicBezTo>
                  <a:cubicBezTo>
                    <a:pt x="17"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5"/>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173"/>
            <p:cNvSpPr>
              <a:spLocks/>
            </p:cNvSpPr>
            <p:nvPr/>
          </p:nvSpPr>
          <p:spPr bwMode="auto">
            <a:xfrm>
              <a:off x="4322764" y="5918259"/>
              <a:ext cx="28575"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4" y="31"/>
                    <a:pt x="4" y="32"/>
                  </a:cubicBezTo>
                  <a:cubicBezTo>
                    <a:pt x="4" y="33"/>
                    <a:pt x="5" y="33"/>
                    <a:pt x="5" y="34"/>
                  </a:cubicBezTo>
                  <a:cubicBezTo>
                    <a:pt x="6" y="35"/>
                    <a:pt x="6" y="35"/>
                    <a:pt x="7" y="35"/>
                  </a:cubicBezTo>
                  <a:cubicBezTo>
                    <a:pt x="8" y="35"/>
                    <a:pt x="9" y="35"/>
                    <a:pt x="9" y="35"/>
                  </a:cubicBezTo>
                  <a:cubicBezTo>
                    <a:pt x="11" y="35"/>
                    <a:pt x="12" y="35"/>
                    <a:pt x="13" y="35"/>
                  </a:cubicBezTo>
                  <a:cubicBezTo>
                    <a:pt x="14" y="34"/>
                    <a:pt x="15" y="34"/>
                    <a:pt x="15" y="34"/>
                  </a:cubicBezTo>
                  <a:cubicBezTo>
                    <a:pt x="16" y="37"/>
                    <a:pt x="16" y="37"/>
                    <a:pt x="16" y="37"/>
                  </a:cubicBezTo>
                  <a:cubicBezTo>
                    <a:pt x="16" y="37"/>
                    <a:pt x="15" y="38"/>
                    <a:pt x="13" y="38"/>
                  </a:cubicBezTo>
                  <a:cubicBezTo>
                    <a:pt x="12" y="38"/>
                    <a:pt x="11" y="39"/>
                    <a:pt x="9" y="39"/>
                  </a:cubicBezTo>
                  <a:cubicBezTo>
                    <a:pt x="7" y="39"/>
                    <a:pt x="6" y="38"/>
                    <a:pt x="5" y="38"/>
                  </a:cubicBezTo>
                  <a:cubicBezTo>
                    <a:pt x="4" y="38"/>
                    <a:pt x="3" y="37"/>
                    <a:pt x="2" y="36"/>
                  </a:cubicBezTo>
                  <a:cubicBezTo>
                    <a:pt x="1" y="35"/>
                    <a:pt x="1"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9" name="Group 578"/>
          <p:cNvGrpSpPr/>
          <p:nvPr/>
        </p:nvGrpSpPr>
        <p:grpSpPr>
          <a:xfrm>
            <a:off x="1783411" y="5176391"/>
            <a:ext cx="406401" cy="80964"/>
            <a:chOff x="2917826" y="5908734"/>
            <a:chExt cx="406400" cy="80964"/>
          </a:xfrm>
        </p:grpSpPr>
        <p:sp>
          <p:nvSpPr>
            <p:cNvPr id="515" name="Freeform 174"/>
            <p:cNvSpPr>
              <a:spLocks/>
            </p:cNvSpPr>
            <p:nvPr/>
          </p:nvSpPr>
          <p:spPr bwMode="auto">
            <a:xfrm>
              <a:off x="2917826" y="5913496"/>
              <a:ext cx="53975"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8 w 29"/>
                <a:gd name="T17" fmla="*/ 0 h 41"/>
                <a:gd name="T18" fmla="*/ 22 w 29"/>
                <a:gd name="T19" fmla="*/ 1 h 41"/>
                <a:gd name="T20" fmla="*/ 25 w 29"/>
                <a:gd name="T21" fmla="*/ 1 h 41"/>
                <a:gd name="T22" fmla="*/ 27 w 29"/>
                <a:gd name="T23" fmla="*/ 2 h 41"/>
                <a:gd name="T24" fmla="*/ 28 w 29"/>
                <a:gd name="T25" fmla="*/ 3 h 41"/>
                <a:gd name="T26" fmla="*/ 27 w 29"/>
                <a:gd name="T27" fmla="*/ 6 h 41"/>
                <a:gd name="T28" fmla="*/ 24 w 29"/>
                <a:gd name="T29" fmla="*/ 5 h 41"/>
                <a:gd name="T30" fmla="*/ 18 w 29"/>
                <a:gd name="T31" fmla="*/ 4 h 41"/>
                <a:gd name="T32" fmla="*/ 12 w 29"/>
                <a:gd name="T33" fmla="*/ 5 h 41"/>
                <a:gd name="T34" fmla="*/ 7 w 29"/>
                <a:gd name="T35" fmla="*/ 9 h 41"/>
                <a:gd name="T36" fmla="*/ 5 w 29"/>
                <a:gd name="T37" fmla="*/ 14 h 41"/>
                <a:gd name="T38" fmla="*/ 4 w 29"/>
                <a:gd name="T39" fmla="*/ 21 h 41"/>
                <a:gd name="T40" fmla="*/ 5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2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3"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4" y="7"/>
                    <a:pt x="5" y="6"/>
                  </a:cubicBezTo>
                  <a:cubicBezTo>
                    <a:pt x="7" y="4"/>
                    <a:pt x="9" y="3"/>
                    <a:pt x="11" y="2"/>
                  </a:cubicBezTo>
                  <a:cubicBezTo>
                    <a:pt x="13" y="1"/>
                    <a:pt x="15" y="0"/>
                    <a:pt x="18" y="0"/>
                  </a:cubicBezTo>
                  <a:cubicBezTo>
                    <a:pt x="19" y="0"/>
                    <a:pt x="20" y="1"/>
                    <a:pt x="22" y="1"/>
                  </a:cubicBezTo>
                  <a:cubicBezTo>
                    <a:pt x="23" y="1"/>
                    <a:pt x="24" y="1"/>
                    <a:pt x="25" y="1"/>
                  </a:cubicBezTo>
                  <a:cubicBezTo>
                    <a:pt x="26" y="2"/>
                    <a:pt x="26" y="2"/>
                    <a:pt x="27" y="2"/>
                  </a:cubicBezTo>
                  <a:cubicBezTo>
                    <a:pt x="28" y="3"/>
                    <a:pt x="28" y="3"/>
                    <a:pt x="28" y="3"/>
                  </a:cubicBezTo>
                  <a:cubicBezTo>
                    <a:pt x="27" y="6"/>
                    <a:pt x="27" y="6"/>
                    <a:pt x="27" y="6"/>
                  </a:cubicBezTo>
                  <a:cubicBezTo>
                    <a:pt x="26" y="6"/>
                    <a:pt x="25" y="5"/>
                    <a:pt x="24" y="5"/>
                  </a:cubicBezTo>
                  <a:cubicBezTo>
                    <a:pt x="22" y="4"/>
                    <a:pt x="20" y="4"/>
                    <a:pt x="18" y="4"/>
                  </a:cubicBezTo>
                  <a:cubicBezTo>
                    <a:pt x="16" y="4"/>
                    <a:pt x="14" y="4"/>
                    <a:pt x="12" y="5"/>
                  </a:cubicBezTo>
                  <a:cubicBezTo>
                    <a:pt x="10" y="6"/>
                    <a:pt x="9" y="7"/>
                    <a:pt x="7" y="9"/>
                  </a:cubicBezTo>
                  <a:cubicBezTo>
                    <a:pt x="6" y="10"/>
                    <a:pt x="5" y="12"/>
                    <a:pt x="5" y="14"/>
                  </a:cubicBezTo>
                  <a:cubicBezTo>
                    <a:pt x="4" y="16"/>
                    <a:pt x="4" y="18"/>
                    <a:pt x="4" y="21"/>
                  </a:cubicBezTo>
                  <a:cubicBezTo>
                    <a:pt x="4" y="23"/>
                    <a:pt x="4" y="26"/>
                    <a:pt x="5" y="28"/>
                  </a:cubicBezTo>
                  <a:cubicBezTo>
                    <a:pt x="5" y="30"/>
                    <a:pt x="6" y="31"/>
                    <a:pt x="7" y="33"/>
                  </a:cubicBezTo>
                  <a:cubicBezTo>
                    <a:pt x="9" y="34"/>
                    <a:pt x="10" y="36"/>
                    <a:pt x="12" y="36"/>
                  </a:cubicBezTo>
                  <a:cubicBezTo>
                    <a:pt x="14" y="37"/>
                    <a:pt x="16" y="37"/>
                    <a:pt x="18" y="37"/>
                  </a:cubicBezTo>
                  <a:cubicBezTo>
                    <a:pt x="20" y="37"/>
                    <a:pt x="22" y="37"/>
                    <a:pt x="24" y="37"/>
                  </a:cubicBezTo>
                  <a:cubicBezTo>
                    <a:pt x="26" y="36"/>
                    <a:pt x="27" y="36"/>
                    <a:pt x="28" y="35"/>
                  </a:cubicBezTo>
                  <a:cubicBezTo>
                    <a:pt x="29" y="39"/>
                    <a:pt x="29" y="39"/>
                    <a:pt x="29" y="39"/>
                  </a:cubicBezTo>
                  <a:cubicBezTo>
                    <a:pt x="29" y="39"/>
                    <a:pt x="28" y="39"/>
                    <a:pt x="27" y="39"/>
                  </a:cubicBezTo>
                  <a:cubicBezTo>
                    <a:pt x="27" y="39"/>
                    <a:pt x="26" y="40"/>
                    <a:pt x="25" y="40"/>
                  </a:cubicBezTo>
                  <a:cubicBezTo>
                    <a:pt x="24" y="40"/>
                    <a:pt x="23" y="40"/>
                    <a:pt x="22" y="41"/>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75"/>
            <p:cNvSpPr>
              <a:spLocks/>
            </p:cNvSpPr>
            <p:nvPr/>
          </p:nvSpPr>
          <p:spPr bwMode="auto">
            <a:xfrm>
              <a:off x="2982914" y="5908734"/>
              <a:ext cx="41275" cy="79376"/>
            </a:xfrm>
            <a:custGeom>
              <a:avLst/>
              <a:gdLst>
                <a:gd name="T0" fmla="*/ 0 w 23"/>
                <a:gd name="T1" fmla="*/ 43 h 43"/>
                <a:gd name="T2" fmla="*/ 0 w 23"/>
                <a:gd name="T3" fmla="*/ 0 h 43"/>
                <a:gd name="T4" fmla="*/ 4 w 23"/>
                <a:gd name="T5" fmla="*/ 0 h 43"/>
                <a:gd name="T6" fmla="*/ 4 w 23"/>
                <a:gd name="T7" fmla="*/ 15 h 43"/>
                <a:gd name="T8" fmla="*/ 7 w 23"/>
                <a:gd name="T9" fmla="*/ 14 h 43"/>
                <a:gd name="T10" fmla="*/ 11 w 23"/>
                <a:gd name="T11" fmla="*/ 14 h 43"/>
                <a:gd name="T12" fmla="*/ 17 w 23"/>
                <a:gd name="T13" fmla="*/ 14 h 43"/>
                <a:gd name="T14" fmla="*/ 20 w 23"/>
                <a:gd name="T15" fmla="*/ 17 h 43"/>
                <a:gd name="T16" fmla="*/ 22 w 23"/>
                <a:gd name="T17" fmla="*/ 21 h 43"/>
                <a:gd name="T18" fmla="*/ 23 w 23"/>
                <a:gd name="T19" fmla="*/ 27 h 43"/>
                <a:gd name="T20" fmla="*/ 23 w 23"/>
                <a:gd name="T21" fmla="*/ 43 h 43"/>
                <a:gd name="T22" fmla="*/ 19 w 23"/>
                <a:gd name="T23" fmla="*/ 43 h 43"/>
                <a:gd name="T24" fmla="*/ 19 w 23"/>
                <a:gd name="T25" fmla="*/ 28 h 43"/>
                <a:gd name="T26" fmla="*/ 19 w 23"/>
                <a:gd name="T27" fmla="*/ 23 h 43"/>
                <a:gd name="T28" fmla="*/ 17 w 23"/>
                <a:gd name="T29" fmla="*/ 19 h 43"/>
                <a:gd name="T30" fmla="*/ 15 w 23"/>
                <a:gd name="T31" fmla="*/ 17 h 43"/>
                <a:gd name="T32" fmla="*/ 11 w 23"/>
                <a:gd name="T33" fmla="*/ 17 h 43"/>
                <a:gd name="T34" fmla="*/ 9 w 23"/>
                <a:gd name="T35" fmla="*/ 17 h 43"/>
                <a:gd name="T36" fmla="*/ 6 w 23"/>
                <a:gd name="T37" fmla="*/ 17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0"/>
                    <a:pt x="0" y="0"/>
                    <a:pt x="0" y="0"/>
                  </a:cubicBezTo>
                  <a:cubicBezTo>
                    <a:pt x="4" y="0"/>
                    <a:pt x="4" y="0"/>
                    <a:pt x="4" y="0"/>
                  </a:cubicBezTo>
                  <a:cubicBezTo>
                    <a:pt x="4" y="15"/>
                    <a:pt x="4" y="15"/>
                    <a:pt x="4" y="15"/>
                  </a:cubicBezTo>
                  <a:cubicBezTo>
                    <a:pt x="5" y="14"/>
                    <a:pt x="6" y="14"/>
                    <a:pt x="7" y="14"/>
                  </a:cubicBezTo>
                  <a:cubicBezTo>
                    <a:pt x="9" y="14"/>
                    <a:pt x="10" y="14"/>
                    <a:pt x="11" y="14"/>
                  </a:cubicBezTo>
                  <a:cubicBezTo>
                    <a:pt x="13" y="14"/>
                    <a:pt x="15" y="14"/>
                    <a:pt x="17" y="14"/>
                  </a:cubicBezTo>
                  <a:cubicBezTo>
                    <a:pt x="18" y="15"/>
                    <a:pt x="19" y="16"/>
                    <a:pt x="20" y="17"/>
                  </a:cubicBezTo>
                  <a:cubicBezTo>
                    <a:pt x="21" y="18"/>
                    <a:pt x="22" y="20"/>
                    <a:pt x="22" y="21"/>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4"/>
                    <a:pt x="19" y="23"/>
                  </a:cubicBezTo>
                  <a:cubicBezTo>
                    <a:pt x="18" y="21"/>
                    <a:pt x="18" y="20"/>
                    <a:pt x="17" y="19"/>
                  </a:cubicBezTo>
                  <a:cubicBezTo>
                    <a:pt x="17" y="18"/>
                    <a:pt x="16" y="18"/>
                    <a:pt x="15" y="17"/>
                  </a:cubicBezTo>
                  <a:cubicBezTo>
                    <a:pt x="14" y="17"/>
                    <a:pt x="12" y="17"/>
                    <a:pt x="11" y="17"/>
                  </a:cubicBezTo>
                  <a:cubicBezTo>
                    <a:pt x="10" y="17"/>
                    <a:pt x="9" y="17"/>
                    <a:pt x="9" y="17"/>
                  </a:cubicBezTo>
                  <a:cubicBezTo>
                    <a:pt x="8" y="17"/>
                    <a:pt x="7" y="17"/>
                    <a:pt x="6" y="17"/>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76"/>
            <p:cNvSpPr>
              <a:spLocks noEditPoints="1"/>
            </p:cNvSpPr>
            <p:nvPr/>
          </p:nvSpPr>
          <p:spPr bwMode="auto">
            <a:xfrm>
              <a:off x="3038476" y="5932547"/>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4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6" y="0"/>
                    <a:pt x="19" y="2"/>
                    <a:pt x="21" y="4"/>
                  </a:cubicBezTo>
                  <a:cubicBezTo>
                    <a:pt x="24" y="6"/>
                    <a:pt x="25" y="10"/>
                    <a:pt x="25" y="15"/>
                  </a:cubicBezTo>
                  <a:cubicBezTo>
                    <a:pt x="25" y="15"/>
                    <a:pt x="25" y="15"/>
                    <a:pt x="25" y="15"/>
                  </a:cubicBezTo>
                  <a:cubicBezTo>
                    <a:pt x="25" y="16"/>
                    <a:pt x="25" y="16"/>
                    <a:pt x="24" y="16"/>
                  </a:cubicBezTo>
                  <a:cubicBezTo>
                    <a:pt x="4" y="16"/>
                    <a:pt x="4" y="16"/>
                    <a:pt x="4" y="16"/>
                  </a:cubicBezTo>
                  <a:cubicBezTo>
                    <a:pt x="4" y="20"/>
                    <a:pt x="5" y="23"/>
                    <a:pt x="7" y="25"/>
                  </a:cubicBezTo>
                  <a:cubicBezTo>
                    <a:pt x="8" y="26"/>
                    <a:pt x="11" y="27"/>
                    <a:pt x="15" y="27"/>
                  </a:cubicBezTo>
                  <a:cubicBezTo>
                    <a:pt x="17" y="27"/>
                    <a:pt x="18" y="27"/>
                    <a:pt x="19" y="27"/>
                  </a:cubicBezTo>
                  <a:cubicBezTo>
                    <a:pt x="20" y="26"/>
                    <a:pt x="21" y="26"/>
                    <a:pt x="22" y="26"/>
                  </a:cubicBezTo>
                  <a:cubicBezTo>
                    <a:pt x="23" y="29"/>
                    <a:pt x="23" y="29"/>
                    <a:pt x="23" y="29"/>
                  </a:cubicBezTo>
                  <a:cubicBezTo>
                    <a:pt x="22" y="29"/>
                    <a:pt x="21" y="30"/>
                    <a:pt x="20" y="30"/>
                  </a:cubicBezTo>
                  <a:cubicBezTo>
                    <a:pt x="18" y="30"/>
                    <a:pt x="16" y="31"/>
                    <a:pt x="15"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5"/>
                    <a:pt x="15" y="4"/>
                    <a:pt x="13" y="4"/>
                  </a:cubicBezTo>
                  <a:cubicBezTo>
                    <a:pt x="12" y="4"/>
                    <a:pt x="11" y="4"/>
                    <a:pt x="10" y="4"/>
                  </a:cubicBezTo>
                  <a:cubicBezTo>
                    <a:pt x="8"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77"/>
            <p:cNvSpPr>
              <a:spLocks/>
            </p:cNvSpPr>
            <p:nvPr/>
          </p:nvSpPr>
          <p:spPr bwMode="auto">
            <a:xfrm>
              <a:off x="3098801" y="5934134"/>
              <a:ext cx="71438" cy="53976"/>
            </a:xfrm>
            <a:custGeom>
              <a:avLst/>
              <a:gdLst>
                <a:gd name="T0" fmla="*/ 0 w 39"/>
                <a:gd name="T1" fmla="*/ 1 h 29"/>
                <a:gd name="T2" fmla="*/ 4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8 w 39"/>
                <a:gd name="T15" fmla="*/ 0 h 29"/>
                <a:gd name="T16" fmla="*/ 34 w 39"/>
                <a:gd name="T17" fmla="*/ 1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3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9" y="3"/>
                  </a:cubicBezTo>
                  <a:cubicBezTo>
                    <a:pt x="19" y="3"/>
                    <a:pt x="19" y="2"/>
                    <a:pt x="20" y="2"/>
                  </a:cubicBezTo>
                  <a:cubicBezTo>
                    <a:pt x="20" y="2"/>
                    <a:pt x="21" y="1"/>
                    <a:pt x="22" y="1"/>
                  </a:cubicBezTo>
                  <a:cubicBezTo>
                    <a:pt x="23" y="1"/>
                    <a:pt x="24" y="0"/>
                    <a:pt x="25" y="0"/>
                  </a:cubicBezTo>
                  <a:cubicBezTo>
                    <a:pt x="26" y="0"/>
                    <a:pt x="27" y="0"/>
                    <a:pt x="28" y="0"/>
                  </a:cubicBezTo>
                  <a:cubicBezTo>
                    <a:pt x="31" y="0"/>
                    <a:pt x="32" y="0"/>
                    <a:pt x="34" y="1"/>
                  </a:cubicBezTo>
                  <a:cubicBezTo>
                    <a:pt x="35" y="1"/>
                    <a:pt x="36" y="2"/>
                    <a:pt x="37" y="3"/>
                  </a:cubicBezTo>
                  <a:cubicBezTo>
                    <a:pt x="38" y="4"/>
                    <a:pt x="38" y="6"/>
                    <a:pt x="38" y="7"/>
                  </a:cubicBezTo>
                  <a:cubicBezTo>
                    <a:pt x="39"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3" y="4"/>
                    <a:pt x="32" y="4"/>
                  </a:cubicBezTo>
                  <a:cubicBezTo>
                    <a:pt x="31" y="3"/>
                    <a:pt x="30" y="3"/>
                    <a:pt x="28" y="3"/>
                  </a:cubicBezTo>
                  <a:cubicBezTo>
                    <a:pt x="27" y="3"/>
                    <a:pt x="26" y="3"/>
                    <a:pt x="25" y="3"/>
                  </a:cubicBezTo>
                  <a:cubicBezTo>
                    <a:pt x="24" y="3"/>
                    <a:pt x="23" y="4"/>
                    <a:pt x="23" y="4"/>
                  </a:cubicBezTo>
                  <a:cubicBezTo>
                    <a:pt x="22" y="4"/>
                    <a:pt x="21" y="5"/>
                    <a:pt x="21" y="5"/>
                  </a:cubicBezTo>
                  <a:cubicBezTo>
                    <a:pt x="21" y="5"/>
                    <a:pt x="20" y="5"/>
                    <a:pt x="20" y="5"/>
                  </a:cubicBezTo>
                  <a:cubicBezTo>
                    <a:pt x="20" y="6"/>
                    <a:pt x="21"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7" y="7"/>
                    <a:pt x="16" y="6"/>
                  </a:cubicBezTo>
                  <a:cubicBezTo>
                    <a:pt x="16"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78"/>
            <p:cNvSpPr>
              <a:spLocks noEditPoints="1"/>
            </p:cNvSpPr>
            <p:nvPr/>
          </p:nvSpPr>
          <p:spPr bwMode="auto">
            <a:xfrm>
              <a:off x="3184526" y="5913496"/>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1" y="5"/>
                    <a:pt x="1" y="4"/>
                  </a:cubicBezTo>
                  <a:cubicBezTo>
                    <a:pt x="0" y="4"/>
                    <a:pt x="0" y="3"/>
                    <a:pt x="0" y="2"/>
                  </a:cubicBezTo>
                  <a:cubicBezTo>
                    <a:pt x="0" y="2"/>
                    <a:pt x="0" y="1"/>
                    <a:pt x="1" y="0"/>
                  </a:cubicBezTo>
                  <a:cubicBezTo>
                    <a:pt x="1"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79"/>
            <p:cNvSpPr>
              <a:spLocks/>
            </p:cNvSpPr>
            <p:nvPr/>
          </p:nvSpPr>
          <p:spPr bwMode="auto">
            <a:xfrm>
              <a:off x="3208339" y="5932547"/>
              <a:ext cx="38100" cy="57151"/>
            </a:xfrm>
            <a:custGeom>
              <a:avLst/>
              <a:gdLst>
                <a:gd name="T0" fmla="*/ 13 w 21"/>
                <a:gd name="T1" fmla="*/ 31 h 31"/>
                <a:gd name="T2" fmla="*/ 7 w 21"/>
                <a:gd name="T3" fmla="*/ 30 h 31"/>
                <a:gd name="T4" fmla="*/ 3 w 21"/>
                <a:gd name="T5" fmla="*/ 27 h 31"/>
                <a:gd name="T6" fmla="*/ 0 w 21"/>
                <a:gd name="T7" fmla="*/ 22 h 31"/>
                <a:gd name="T8" fmla="*/ 0 w 21"/>
                <a:gd name="T9" fmla="*/ 16 h 31"/>
                <a:gd name="T10" fmla="*/ 1 w 21"/>
                <a:gd name="T11" fmla="*/ 9 h 31"/>
                <a:gd name="T12" fmla="*/ 3 w 21"/>
                <a:gd name="T13" fmla="*/ 5 h 31"/>
                <a:gd name="T14" fmla="*/ 7 w 21"/>
                <a:gd name="T15" fmla="*/ 2 h 31"/>
                <a:gd name="T16" fmla="*/ 13 w 21"/>
                <a:gd name="T17" fmla="*/ 0 h 31"/>
                <a:gd name="T18" fmla="*/ 17 w 21"/>
                <a:gd name="T19" fmla="*/ 1 h 31"/>
                <a:gd name="T20" fmla="*/ 20 w 21"/>
                <a:gd name="T21" fmla="*/ 2 h 31"/>
                <a:gd name="T22" fmla="*/ 20 w 21"/>
                <a:gd name="T23" fmla="*/ 5 h 31"/>
                <a:gd name="T24" fmla="*/ 17 w 21"/>
                <a:gd name="T25" fmla="*/ 4 h 31"/>
                <a:gd name="T26" fmla="*/ 13 w 21"/>
                <a:gd name="T27" fmla="*/ 4 h 31"/>
                <a:gd name="T28" fmla="*/ 6 w 21"/>
                <a:gd name="T29" fmla="*/ 7 h 31"/>
                <a:gd name="T30" fmla="*/ 3 w 21"/>
                <a:gd name="T31" fmla="*/ 16 h 31"/>
                <a:gd name="T32" fmla="*/ 4 w 21"/>
                <a:gd name="T33" fmla="*/ 20 h 31"/>
                <a:gd name="T34" fmla="*/ 6 w 21"/>
                <a:gd name="T35" fmla="*/ 24 h 31"/>
                <a:gd name="T36" fmla="*/ 9 w 21"/>
                <a:gd name="T37" fmla="*/ 27 h 31"/>
                <a:gd name="T38" fmla="*/ 14 w 21"/>
                <a:gd name="T39" fmla="*/ 27 h 31"/>
                <a:gd name="T40" fmla="*/ 18 w 21"/>
                <a:gd name="T41" fmla="*/ 27 h 31"/>
                <a:gd name="T42" fmla="*/ 20 w 21"/>
                <a:gd name="T43" fmla="*/ 26 h 31"/>
                <a:gd name="T44" fmla="*/ 21 w 21"/>
                <a:gd name="T45" fmla="*/ 29 h 31"/>
                <a:gd name="T46" fmla="*/ 18 w 21"/>
                <a:gd name="T47" fmla="*/ 30 h 31"/>
                <a:gd name="T48" fmla="*/ 13 w 21"/>
                <a:gd name="T4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1">
                  <a:moveTo>
                    <a:pt x="13" y="31"/>
                  </a:moveTo>
                  <a:cubicBezTo>
                    <a:pt x="11" y="31"/>
                    <a:pt x="9" y="30"/>
                    <a:pt x="7" y="30"/>
                  </a:cubicBezTo>
                  <a:cubicBezTo>
                    <a:pt x="6" y="29"/>
                    <a:pt x="4" y="28"/>
                    <a:pt x="3" y="27"/>
                  </a:cubicBezTo>
                  <a:cubicBezTo>
                    <a:pt x="2" y="25"/>
                    <a:pt x="1" y="24"/>
                    <a:pt x="0" y="22"/>
                  </a:cubicBezTo>
                  <a:cubicBezTo>
                    <a:pt x="0" y="20"/>
                    <a:pt x="0" y="18"/>
                    <a:pt x="0" y="16"/>
                  </a:cubicBezTo>
                  <a:cubicBezTo>
                    <a:pt x="0" y="13"/>
                    <a:pt x="0" y="11"/>
                    <a:pt x="1" y="9"/>
                  </a:cubicBezTo>
                  <a:cubicBezTo>
                    <a:pt x="1" y="8"/>
                    <a:pt x="2" y="6"/>
                    <a:pt x="3" y="5"/>
                  </a:cubicBezTo>
                  <a:cubicBezTo>
                    <a:pt x="4" y="3"/>
                    <a:pt x="6" y="2"/>
                    <a:pt x="7" y="2"/>
                  </a:cubicBezTo>
                  <a:cubicBezTo>
                    <a:pt x="9" y="1"/>
                    <a:pt x="11" y="0"/>
                    <a:pt x="13" y="0"/>
                  </a:cubicBezTo>
                  <a:cubicBezTo>
                    <a:pt x="14" y="0"/>
                    <a:pt x="16" y="1"/>
                    <a:pt x="17" y="1"/>
                  </a:cubicBezTo>
                  <a:cubicBezTo>
                    <a:pt x="19" y="1"/>
                    <a:pt x="20" y="1"/>
                    <a:pt x="20" y="2"/>
                  </a:cubicBezTo>
                  <a:cubicBezTo>
                    <a:pt x="20" y="5"/>
                    <a:pt x="20" y="5"/>
                    <a:pt x="20" y="5"/>
                  </a:cubicBezTo>
                  <a:cubicBezTo>
                    <a:pt x="19" y="5"/>
                    <a:pt x="18" y="4"/>
                    <a:pt x="17" y="4"/>
                  </a:cubicBezTo>
                  <a:cubicBezTo>
                    <a:pt x="16" y="4"/>
                    <a:pt x="15" y="4"/>
                    <a:pt x="13" y="4"/>
                  </a:cubicBezTo>
                  <a:cubicBezTo>
                    <a:pt x="10" y="4"/>
                    <a:pt x="8" y="5"/>
                    <a:pt x="6" y="7"/>
                  </a:cubicBezTo>
                  <a:cubicBezTo>
                    <a:pt x="4" y="9"/>
                    <a:pt x="3" y="12"/>
                    <a:pt x="3" y="16"/>
                  </a:cubicBezTo>
                  <a:cubicBezTo>
                    <a:pt x="3" y="17"/>
                    <a:pt x="4" y="19"/>
                    <a:pt x="4" y="20"/>
                  </a:cubicBezTo>
                  <a:cubicBezTo>
                    <a:pt x="4" y="22"/>
                    <a:pt x="5" y="23"/>
                    <a:pt x="6" y="24"/>
                  </a:cubicBezTo>
                  <a:cubicBezTo>
                    <a:pt x="7" y="25"/>
                    <a:pt x="8" y="26"/>
                    <a:pt x="9" y="27"/>
                  </a:cubicBezTo>
                  <a:cubicBezTo>
                    <a:pt x="10" y="27"/>
                    <a:pt x="12" y="27"/>
                    <a:pt x="14" y="27"/>
                  </a:cubicBezTo>
                  <a:cubicBezTo>
                    <a:pt x="15" y="27"/>
                    <a:pt x="17" y="27"/>
                    <a:pt x="18" y="27"/>
                  </a:cubicBezTo>
                  <a:cubicBezTo>
                    <a:pt x="19" y="26"/>
                    <a:pt x="20" y="26"/>
                    <a:pt x="20" y="26"/>
                  </a:cubicBezTo>
                  <a:cubicBezTo>
                    <a:pt x="21" y="29"/>
                    <a:pt x="21" y="29"/>
                    <a:pt x="21" y="29"/>
                  </a:cubicBezTo>
                  <a:cubicBezTo>
                    <a:pt x="20" y="29"/>
                    <a:pt x="19" y="30"/>
                    <a:pt x="18" y="30"/>
                  </a:cubicBezTo>
                  <a:cubicBezTo>
                    <a:pt x="16" y="30"/>
                    <a:pt x="15" y="31"/>
                    <a:pt x="13" y="3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80"/>
            <p:cNvSpPr>
              <a:spLocks noEditPoints="1"/>
            </p:cNvSpPr>
            <p:nvPr/>
          </p:nvSpPr>
          <p:spPr bwMode="auto">
            <a:xfrm>
              <a:off x="3254376"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81"/>
            <p:cNvSpPr>
              <a:spLocks/>
            </p:cNvSpPr>
            <p:nvPr/>
          </p:nvSpPr>
          <p:spPr bwMode="auto">
            <a:xfrm>
              <a:off x="3311526" y="5908734"/>
              <a:ext cx="12700" cy="80963"/>
            </a:xfrm>
            <a:custGeom>
              <a:avLst/>
              <a:gdLst>
                <a:gd name="T0" fmla="*/ 7 w 7"/>
                <a:gd name="T1" fmla="*/ 44 h 44"/>
                <a:gd name="T2" fmla="*/ 4 w 7"/>
                <a:gd name="T3" fmla="*/ 43 h 44"/>
                <a:gd name="T4" fmla="*/ 1 w 7"/>
                <a:gd name="T5" fmla="*/ 42 h 44"/>
                <a:gd name="T6" fmla="*/ 0 w 7"/>
                <a:gd name="T7" fmla="*/ 40 h 44"/>
                <a:gd name="T8" fmla="*/ 0 w 7"/>
                <a:gd name="T9" fmla="*/ 36 h 44"/>
                <a:gd name="T10" fmla="*/ 0 w 7"/>
                <a:gd name="T11" fmla="*/ 0 h 44"/>
                <a:gd name="T12" fmla="*/ 3 w 7"/>
                <a:gd name="T13" fmla="*/ 0 h 44"/>
                <a:gd name="T14" fmla="*/ 3 w 7"/>
                <a:gd name="T15" fmla="*/ 36 h 44"/>
                <a:gd name="T16" fmla="*/ 3 w 7"/>
                <a:gd name="T17" fmla="*/ 38 h 44"/>
                <a:gd name="T18" fmla="*/ 4 w 7"/>
                <a:gd name="T19" fmla="*/ 39 h 44"/>
                <a:gd name="T20" fmla="*/ 5 w 7"/>
                <a:gd name="T21" fmla="*/ 40 h 44"/>
                <a:gd name="T22" fmla="*/ 7 w 7"/>
                <a:gd name="T23" fmla="*/ 41 h 44"/>
                <a:gd name="T24" fmla="*/ 7 w 7"/>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4">
                  <a:moveTo>
                    <a:pt x="7" y="44"/>
                  </a:moveTo>
                  <a:cubicBezTo>
                    <a:pt x="6" y="44"/>
                    <a:pt x="5" y="43"/>
                    <a:pt x="4" y="43"/>
                  </a:cubicBezTo>
                  <a:cubicBezTo>
                    <a:pt x="3" y="43"/>
                    <a:pt x="2" y="42"/>
                    <a:pt x="1" y="42"/>
                  </a:cubicBezTo>
                  <a:cubicBezTo>
                    <a:pt x="1" y="41"/>
                    <a:pt x="0" y="40"/>
                    <a:pt x="0" y="40"/>
                  </a:cubicBezTo>
                  <a:cubicBezTo>
                    <a:pt x="0" y="39"/>
                    <a:pt x="0" y="37"/>
                    <a:pt x="0" y="36"/>
                  </a:cubicBezTo>
                  <a:cubicBezTo>
                    <a:pt x="0" y="0"/>
                    <a:pt x="0" y="0"/>
                    <a:pt x="0" y="0"/>
                  </a:cubicBezTo>
                  <a:cubicBezTo>
                    <a:pt x="3" y="0"/>
                    <a:pt x="3" y="0"/>
                    <a:pt x="3" y="0"/>
                  </a:cubicBezTo>
                  <a:cubicBezTo>
                    <a:pt x="3" y="36"/>
                    <a:pt x="3" y="36"/>
                    <a:pt x="3" y="36"/>
                  </a:cubicBezTo>
                  <a:cubicBezTo>
                    <a:pt x="3" y="37"/>
                    <a:pt x="3" y="38"/>
                    <a:pt x="3" y="38"/>
                  </a:cubicBezTo>
                  <a:cubicBezTo>
                    <a:pt x="4" y="39"/>
                    <a:pt x="4" y="39"/>
                    <a:pt x="4" y="39"/>
                  </a:cubicBezTo>
                  <a:cubicBezTo>
                    <a:pt x="5" y="40"/>
                    <a:pt x="5" y="40"/>
                    <a:pt x="5" y="40"/>
                  </a:cubicBezTo>
                  <a:cubicBezTo>
                    <a:pt x="6" y="40"/>
                    <a:pt x="7" y="40"/>
                    <a:pt x="7"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6" name="Group 585"/>
          <p:cNvGrpSpPr/>
          <p:nvPr/>
        </p:nvGrpSpPr>
        <p:grpSpPr>
          <a:xfrm>
            <a:off x="4251930" y="5176391"/>
            <a:ext cx="334963" cy="76202"/>
            <a:chOff x="5384798" y="5434388"/>
            <a:chExt cx="334963" cy="76202"/>
          </a:xfrm>
        </p:grpSpPr>
        <p:sp>
          <p:nvSpPr>
            <p:cNvPr id="523" name="Freeform 182"/>
            <p:cNvSpPr>
              <a:spLocks/>
            </p:cNvSpPr>
            <p:nvPr/>
          </p:nvSpPr>
          <p:spPr bwMode="auto">
            <a:xfrm>
              <a:off x="5384798" y="5437563"/>
              <a:ext cx="39688" cy="71438"/>
            </a:xfrm>
            <a:custGeom>
              <a:avLst/>
              <a:gdLst>
                <a:gd name="T0" fmla="*/ 0 w 25"/>
                <a:gd name="T1" fmla="*/ 45 h 45"/>
                <a:gd name="T2" fmla="*/ 0 w 25"/>
                <a:gd name="T3" fmla="*/ 0 h 45"/>
                <a:gd name="T4" fmla="*/ 25 w 25"/>
                <a:gd name="T5" fmla="*/ 0 h 45"/>
                <a:gd name="T6" fmla="*/ 25 w 25"/>
                <a:gd name="T7" fmla="*/ 4 h 45"/>
                <a:gd name="T8" fmla="*/ 4 w 25"/>
                <a:gd name="T9" fmla="*/ 4 h 45"/>
                <a:gd name="T10" fmla="*/ 4 w 25"/>
                <a:gd name="T11" fmla="*/ 19 h 45"/>
                <a:gd name="T12" fmla="*/ 23 w 25"/>
                <a:gd name="T13" fmla="*/ 19 h 45"/>
                <a:gd name="T14" fmla="*/ 23 w 25"/>
                <a:gd name="T15" fmla="*/ 24 h 45"/>
                <a:gd name="T16" fmla="*/ 4 w 25"/>
                <a:gd name="T17" fmla="*/ 24 h 45"/>
                <a:gd name="T18" fmla="*/ 4 w 25"/>
                <a:gd name="T19" fmla="*/ 45 h 45"/>
                <a:gd name="T20" fmla="*/ 0 w 2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5">
                  <a:moveTo>
                    <a:pt x="0" y="45"/>
                  </a:moveTo>
                  <a:lnTo>
                    <a:pt x="0" y="0"/>
                  </a:lnTo>
                  <a:lnTo>
                    <a:pt x="25" y="0"/>
                  </a:lnTo>
                  <a:lnTo>
                    <a:pt x="25" y="4"/>
                  </a:lnTo>
                  <a:lnTo>
                    <a:pt x="4" y="4"/>
                  </a:lnTo>
                  <a:lnTo>
                    <a:pt x="4" y="19"/>
                  </a:lnTo>
                  <a:lnTo>
                    <a:pt x="23" y="19"/>
                  </a:lnTo>
                  <a:lnTo>
                    <a:pt x="23" y="24"/>
                  </a:lnTo>
                  <a:lnTo>
                    <a:pt x="4" y="24"/>
                  </a:lnTo>
                  <a:lnTo>
                    <a:pt x="4" y="45"/>
                  </a:lnTo>
                  <a:lnTo>
                    <a:pt x="0" y="4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83"/>
            <p:cNvSpPr>
              <a:spLocks noEditPoints="1"/>
            </p:cNvSpPr>
            <p:nvPr/>
          </p:nvSpPr>
          <p:spPr bwMode="auto">
            <a:xfrm>
              <a:off x="5435598" y="5434388"/>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2" y="5"/>
                    <a:pt x="1" y="4"/>
                  </a:cubicBezTo>
                  <a:cubicBezTo>
                    <a:pt x="1" y="4"/>
                    <a:pt x="0" y="3"/>
                    <a:pt x="0" y="2"/>
                  </a:cubicBezTo>
                  <a:cubicBezTo>
                    <a:pt x="0" y="2"/>
                    <a:pt x="1" y="1"/>
                    <a:pt x="1" y="0"/>
                  </a:cubicBezTo>
                  <a:cubicBezTo>
                    <a:pt x="2"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184"/>
            <p:cNvSpPr>
              <a:spLocks/>
            </p:cNvSpPr>
            <p:nvPr/>
          </p:nvSpPr>
          <p:spPr bwMode="auto">
            <a:xfrm>
              <a:off x="5460998" y="5455026"/>
              <a:ext cx="42863" cy="53976"/>
            </a:xfrm>
            <a:custGeom>
              <a:avLst/>
              <a:gdLst>
                <a:gd name="T0" fmla="*/ 0 w 23"/>
                <a:gd name="T1" fmla="*/ 1 h 29"/>
                <a:gd name="T2" fmla="*/ 5 w 23"/>
                <a:gd name="T3" fmla="*/ 0 h 29"/>
                <a:gd name="T4" fmla="*/ 12 w 23"/>
                <a:gd name="T5" fmla="*/ 0 h 29"/>
                <a:gd name="T6" fmla="*/ 17 w 23"/>
                <a:gd name="T7" fmla="*/ 0 h 29"/>
                <a:gd name="T8" fmla="*/ 21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9 w 23"/>
                <a:gd name="T21" fmla="*/ 9 h 29"/>
                <a:gd name="T22" fmla="*/ 18 w 23"/>
                <a:gd name="T23" fmla="*/ 5 h 29"/>
                <a:gd name="T24" fmla="*/ 15 w 23"/>
                <a:gd name="T25" fmla="*/ 3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5" y="0"/>
                  </a:cubicBezTo>
                  <a:cubicBezTo>
                    <a:pt x="7" y="0"/>
                    <a:pt x="9" y="0"/>
                    <a:pt x="12" y="0"/>
                  </a:cubicBezTo>
                  <a:cubicBezTo>
                    <a:pt x="14" y="0"/>
                    <a:pt x="16" y="0"/>
                    <a:pt x="17" y="0"/>
                  </a:cubicBezTo>
                  <a:cubicBezTo>
                    <a:pt x="18" y="1"/>
                    <a:pt x="20" y="2"/>
                    <a:pt x="21" y="3"/>
                  </a:cubicBezTo>
                  <a:cubicBezTo>
                    <a:pt x="21" y="4"/>
                    <a:pt x="22" y="6"/>
                    <a:pt x="22" y="7"/>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0"/>
                    <a:pt x="19" y="9"/>
                  </a:cubicBezTo>
                  <a:cubicBezTo>
                    <a:pt x="19" y="7"/>
                    <a:pt x="18" y="6"/>
                    <a:pt x="18" y="5"/>
                  </a:cubicBezTo>
                  <a:cubicBezTo>
                    <a:pt x="17" y="4"/>
                    <a:pt x="16" y="4"/>
                    <a:pt x="15" y="3"/>
                  </a:cubicBezTo>
                  <a:cubicBezTo>
                    <a:pt x="14" y="3"/>
                    <a:pt x="13" y="3"/>
                    <a:pt x="11" y="3"/>
                  </a:cubicBezTo>
                  <a:cubicBezTo>
                    <a:pt x="9" y="3"/>
                    <a:pt x="8"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85"/>
            <p:cNvSpPr>
              <a:spLocks noEditPoints="1"/>
            </p:cNvSpPr>
            <p:nvPr/>
          </p:nvSpPr>
          <p:spPr bwMode="auto">
            <a:xfrm>
              <a:off x="5516561" y="5453439"/>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7 w 21"/>
                <a:gd name="T21" fmla="*/ 30 h 31"/>
                <a:gd name="T22" fmla="*/ 3 w 21"/>
                <a:gd name="T23" fmla="*/ 29 h 31"/>
                <a:gd name="T24" fmla="*/ 1 w 21"/>
                <a:gd name="T25" fmla="*/ 26 h 31"/>
                <a:gd name="T26" fmla="*/ 0 w 21"/>
                <a:gd name="T27" fmla="*/ 22 h 31"/>
                <a:gd name="T28" fmla="*/ 1 w 21"/>
                <a:gd name="T29" fmla="*/ 18 h 31"/>
                <a:gd name="T30" fmla="*/ 4 w 21"/>
                <a:gd name="T31" fmla="*/ 15 h 31"/>
                <a:gd name="T32" fmla="*/ 7 w 21"/>
                <a:gd name="T33" fmla="*/ 13 h 31"/>
                <a:gd name="T34" fmla="*/ 12 w 21"/>
                <a:gd name="T35" fmla="*/ 13 h 31"/>
                <a:gd name="T36" fmla="*/ 14 w 21"/>
                <a:gd name="T37" fmla="*/ 13 h 31"/>
                <a:gd name="T38" fmla="*/ 16 w 21"/>
                <a:gd name="T39" fmla="*/ 13 h 31"/>
                <a:gd name="T40" fmla="*/ 17 w 21"/>
                <a:gd name="T41" fmla="*/ 13 h 31"/>
                <a:gd name="T42" fmla="*/ 18 w 21"/>
                <a:gd name="T43" fmla="*/ 14 h 31"/>
                <a:gd name="T44" fmla="*/ 18 w 21"/>
                <a:gd name="T45" fmla="*/ 12 h 31"/>
                <a:gd name="T46" fmla="*/ 18 w 21"/>
                <a:gd name="T47" fmla="*/ 9 h 31"/>
                <a:gd name="T48" fmla="*/ 17 w 21"/>
                <a:gd name="T49" fmla="*/ 6 h 31"/>
                <a:gd name="T50" fmla="*/ 15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5" y="1"/>
                    <a:pt x="16" y="1"/>
                  </a:cubicBezTo>
                  <a:cubicBezTo>
                    <a:pt x="17" y="2"/>
                    <a:pt x="18" y="3"/>
                    <a:pt x="19" y="3"/>
                  </a:cubicBezTo>
                  <a:cubicBezTo>
                    <a:pt x="20" y="4"/>
                    <a:pt x="21" y="6"/>
                    <a:pt x="21" y="7"/>
                  </a:cubicBezTo>
                  <a:cubicBezTo>
                    <a:pt x="21" y="8"/>
                    <a:pt x="21" y="10"/>
                    <a:pt x="21" y="11"/>
                  </a:cubicBezTo>
                  <a:cubicBezTo>
                    <a:pt x="21" y="29"/>
                    <a:pt x="21" y="29"/>
                    <a:pt x="21" y="29"/>
                  </a:cubicBezTo>
                  <a:cubicBezTo>
                    <a:pt x="21" y="29"/>
                    <a:pt x="21" y="30"/>
                    <a:pt x="20" y="30"/>
                  </a:cubicBezTo>
                  <a:cubicBezTo>
                    <a:pt x="19" y="30"/>
                    <a:pt x="18" y="30"/>
                    <a:pt x="17" y="30"/>
                  </a:cubicBezTo>
                  <a:cubicBezTo>
                    <a:pt x="16" y="30"/>
                    <a:pt x="15" y="30"/>
                    <a:pt x="14" y="31"/>
                  </a:cubicBezTo>
                  <a:cubicBezTo>
                    <a:pt x="13" y="31"/>
                    <a:pt x="12" y="31"/>
                    <a:pt x="11" y="31"/>
                  </a:cubicBezTo>
                  <a:cubicBezTo>
                    <a:pt x="9" y="31"/>
                    <a:pt x="8" y="31"/>
                    <a:pt x="7" y="30"/>
                  </a:cubicBezTo>
                  <a:cubicBezTo>
                    <a:pt x="5" y="30"/>
                    <a:pt x="4" y="29"/>
                    <a:pt x="3" y="29"/>
                  </a:cubicBezTo>
                  <a:cubicBezTo>
                    <a:pt x="2" y="28"/>
                    <a:pt x="2" y="27"/>
                    <a:pt x="1" y="26"/>
                  </a:cubicBezTo>
                  <a:cubicBezTo>
                    <a:pt x="0" y="25"/>
                    <a:pt x="0" y="23"/>
                    <a:pt x="0" y="22"/>
                  </a:cubicBezTo>
                  <a:cubicBezTo>
                    <a:pt x="0" y="20"/>
                    <a:pt x="0" y="19"/>
                    <a:pt x="1" y="18"/>
                  </a:cubicBezTo>
                  <a:cubicBezTo>
                    <a:pt x="2" y="16"/>
                    <a:pt x="2" y="16"/>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7" y="8"/>
                    <a:pt x="17" y="7"/>
                    <a:pt x="17" y="6"/>
                  </a:cubicBezTo>
                  <a:cubicBezTo>
                    <a:pt x="16" y="5"/>
                    <a:pt x="15" y="5"/>
                    <a:pt x="15"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8"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186"/>
            <p:cNvSpPr>
              <a:spLocks/>
            </p:cNvSpPr>
            <p:nvPr/>
          </p:nvSpPr>
          <p:spPr bwMode="auto">
            <a:xfrm>
              <a:off x="5573711" y="5455026"/>
              <a:ext cx="39688" cy="53976"/>
            </a:xfrm>
            <a:custGeom>
              <a:avLst/>
              <a:gdLst>
                <a:gd name="T0" fmla="*/ 0 w 22"/>
                <a:gd name="T1" fmla="*/ 1 h 29"/>
                <a:gd name="T2" fmla="*/ 4 w 22"/>
                <a:gd name="T3" fmla="*/ 0 h 29"/>
                <a:gd name="T4" fmla="*/ 11 w 22"/>
                <a:gd name="T5" fmla="*/ 0 h 29"/>
                <a:gd name="T6" fmla="*/ 16 w 22"/>
                <a:gd name="T7" fmla="*/ 0 h 29"/>
                <a:gd name="T8" fmla="*/ 20 w 22"/>
                <a:gd name="T9" fmla="*/ 3 h 29"/>
                <a:gd name="T10" fmla="*/ 22 w 22"/>
                <a:gd name="T11" fmla="*/ 7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5 h 29"/>
                <a:gd name="T24" fmla="*/ 14 w 22"/>
                <a:gd name="T25" fmla="*/ 3 h 29"/>
                <a:gd name="T26" fmla="*/ 10 w 22"/>
                <a:gd name="T27" fmla="*/ 3 h 29"/>
                <a:gd name="T28" fmla="*/ 6 w 22"/>
                <a:gd name="T29" fmla="*/ 3 h 29"/>
                <a:gd name="T30" fmla="*/ 3 w 22"/>
                <a:gd name="T31" fmla="*/ 4 h 29"/>
                <a:gd name="T32" fmla="*/ 3 w 22"/>
                <a:gd name="T33" fmla="*/ 29 h 29"/>
                <a:gd name="T34" fmla="*/ 0 w 22"/>
                <a:gd name="T35" fmla="*/ 29 h 29"/>
                <a:gd name="T36" fmla="*/ 0 w 22"/>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1"/>
                  </a:moveTo>
                  <a:cubicBezTo>
                    <a:pt x="1" y="1"/>
                    <a:pt x="2" y="0"/>
                    <a:pt x="4" y="0"/>
                  </a:cubicBezTo>
                  <a:cubicBezTo>
                    <a:pt x="6" y="0"/>
                    <a:pt x="8" y="0"/>
                    <a:pt x="11" y="0"/>
                  </a:cubicBezTo>
                  <a:cubicBezTo>
                    <a:pt x="13" y="0"/>
                    <a:pt x="15" y="0"/>
                    <a:pt x="16" y="0"/>
                  </a:cubicBezTo>
                  <a:cubicBezTo>
                    <a:pt x="18" y="1"/>
                    <a:pt x="19" y="2"/>
                    <a:pt x="20" y="3"/>
                  </a:cubicBezTo>
                  <a:cubicBezTo>
                    <a:pt x="21" y="4"/>
                    <a:pt x="21" y="6"/>
                    <a:pt x="22" y="7"/>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9" y="10"/>
                    <a:pt x="18" y="9"/>
                  </a:cubicBezTo>
                  <a:cubicBezTo>
                    <a:pt x="18" y="7"/>
                    <a:pt x="18" y="6"/>
                    <a:pt x="17" y="5"/>
                  </a:cubicBezTo>
                  <a:cubicBezTo>
                    <a:pt x="16" y="4"/>
                    <a:pt x="15" y="4"/>
                    <a:pt x="14" y="3"/>
                  </a:cubicBezTo>
                  <a:cubicBezTo>
                    <a:pt x="13" y="3"/>
                    <a:pt x="12" y="3"/>
                    <a:pt x="10" y="3"/>
                  </a:cubicBezTo>
                  <a:cubicBezTo>
                    <a:pt x="9" y="3"/>
                    <a:pt x="7" y="3"/>
                    <a:pt x="6" y="3"/>
                  </a:cubicBezTo>
                  <a:cubicBezTo>
                    <a:pt x="5"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187"/>
            <p:cNvSpPr>
              <a:spLocks/>
            </p:cNvSpPr>
            <p:nvPr/>
          </p:nvSpPr>
          <p:spPr bwMode="auto">
            <a:xfrm>
              <a:off x="5627686" y="5453439"/>
              <a:ext cx="39688" cy="57151"/>
            </a:xfrm>
            <a:custGeom>
              <a:avLst/>
              <a:gdLst>
                <a:gd name="T0" fmla="*/ 14 w 21"/>
                <a:gd name="T1" fmla="*/ 31 h 31"/>
                <a:gd name="T2" fmla="*/ 8 w 21"/>
                <a:gd name="T3" fmla="*/ 30 h 31"/>
                <a:gd name="T4" fmla="*/ 3 w 21"/>
                <a:gd name="T5" fmla="*/ 27 h 31"/>
                <a:gd name="T6" fmla="*/ 1 w 21"/>
                <a:gd name="T7" fmla="*/ 22 h 31"/>
                <a:gd name="T8" fmla="*/ 0 w 21"/>
                <a:gd name="T9" fmla="*/ 16 h 31"/>
                <a:gd name="T10" fmla="*/ 1 w 21"/>
                <a:gd name="T11" fmla="*/ 9 h 31"/>
                <a:gd name="T12" fmla="*/ 3 w 21"/>
                <a:gd name="T13" fmla="*/ 5 h 31"/>
                <a:gd name="T14" fmla="*/ 8 w 21"/>
                <a:gd name="T15" fmla="*/ 2 h 31"/>
                <a:gd name="T16" fmla="*/ 13 w 21"/>
                <a:gd name="T17" fmla="*/ 0 h 31"/>
                <a:gd name="T18" fmla="*/ 18 w 21"/>
                <a:gd name="T19" fmla="*/ 1 h 31"/>
                <a:gd name="T20" fmla="*/ 21 w 21"/>
                <a:gd name="T21" fmla="*/ 2 h 31"/>
                <a:gd name="T22" fmla="*/ 20 w 21"/>
                <a:gd name="T23" fmla="*/ 5 h 31"/>
                <a:gd name="T24" fmla="*/ 17 w 21"/>
                <a:gd name="T25" fmla="*/ 4 h 31"/>
                <a:gd name="T26" fmla="*/ 14 w 21"/>
                <a:gd name="T27" fmla="*/ 4 h 31"/>
                <a:gd name="T28" fmla="*/ 6 w 21"/>
                <a:gd name="T29" fmla="*/ 7 h 31"/>
                <a:gd name="T30" fmla="*/ 4 w 21"/>
                <a:gd name="T31" fmla="*/ 16 h 31"/>
                <a:gd name="T32" fmla="*/ 4 w 21"/>
                <a:gd name="T33" fmla="*/ 20 h 31"/>
                <a:gd name="T34" fmla="*/ 6 w 21"/>
                <a:gd name="T35" fmla="*/ 24 h 31"/>
                <a:gd name="T36" fmla="*/ 9 w 21"/>
                <a:gd name="T37" fmla="*/ 27 h 31"/>
                <a:gd name="T38" fmla="*/ 14 w 21"/>
                <a:gd name="T39" fmla="*/ 27 h 31"/>
                <a:gd name="T40" fmla="*/ 18 w 21"/>
                <a:gd name="T41" fmla="*/ 27 h 31"/>
                <a:gd name="T42" fmla="*/ 21 w 21"/>
                <a:gd name="T43" fmla="*/ 26 h 31"/>
                <a:gd name="T44" fmla="*/ 21 w 21"/>
                <a:gd name="T45" fmla="*/ 29 h 31"/>
                <a:gd name="T46" fmla="*/ 18 w 21"/>
                <a:gd name="T47" fmla="*/ 30 h 31"/>
                <a:gd name="T48" fmla="*/ 14 w 21"/>
                <a:gd name="T4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1">
                  <a:moveTo>
                    <a:pt x="14" y="31"/>
                  </a:move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8"/>
                    <a:pt x="2" y="6"/>
                    <a:pt x="3" y="5"/>
                  </a:cubicBezTo>
                  <a:cubicBezTo>
                    <a:pt x="5" y="3"/>
                    <a:pt x="6" y="2"/>
                    <a:pt x="8" y="2"/>
                  </a:cubicBezTo>
                  <a:cubicBezTo>
                    <a:pt x="9" y="1"/>
                    <a:pt x="11" y="0"/>
                    <a:pt x="13" y="0"/>
                  </a:cubicBezTo>
                  <a:cubicBezTo>
                    <a:pt x="15" y="0"/>
                    <a:pt x="16" y="1"/>
                    <a:pt x="18" y="1"/>
                  </a:cubicBezTo>
                  <a:cubicBezTo>
                    <a:pt x="19" y="1"/>
                    <a:pt x="20" y="1"/>
                    <a:pt x="21" y="2"/>
                  </a:cubicBezTo>
                  <a:cubicBezTo>
                    <a:pt x="20" y="5"/>
                    <a:pt x="20" y="5"/>
                    <a:pt x="20" y="5"/>
                  </a:cubicBezTo>
                  <a:cubicBezTo>
                    <a:pt x="19" y="5"/>
                    <a:pt x="18" y="4"/>
                    <a:pt x="17" y="4"/>
                  </a:cubicBezTo>
                  <a:cubicBezTo>
                    <a:pt x="16" y="4"/>
                    <a:pt x="15" y="4"/>
                    <a:pt x="14" y="4"/>
                  </a:cubicBezTo>
                  <a:cubicBezTo>
                    <a:pt x="10" y="4"/>
                    <a:pt x="8" y="5"/>
                    <a:pt x="6" y="7"/>
                  </a:cubicBezTo>
                  <a:cubicBezTo>
                    <a:pt x="5" y="9"/>
                    <a:pt x="4" y="12"/>
                    <a:pt x="4" y="16"/>
                  </a:cubicBezTo>
                  <a:cubicBezTo>
                    <a:pt x="4" y="17"/>
                    <a:pt x="4" y="19"/>
                    <a:pt x="4" y="20"/>
                  </a:cubicBezTo>
                  <a:cubicBezTo>
                    <a:pt x="5" y="22"/>
                    <a:pt x="5" y="23"/>
                    <a:pt x="6" y="24"/>
                  </a:cubicBezTo>
                  <a:cubicBezTo>
                    <a:pt x="7" y="25"/>
                    <a:pt x="8" y="26"/>
                    <a:pt x="9" y="27"/>
                  </a:cubicBezTo>
                  <a:cubicBezTo>
                    <a:pt x="11" y="27"/>
                    <a:pt x="12" y="27"/>
                    <a:pt x="14" y="27"/>
                  </a:cubicBezTo>
                  <a:cubicBezTo>
                    <a:pt x="16" y="27"/>
                    <a:pt x="17" y="27"/>
                    <a:pt x="18" y="27"/>
                  </a:cubicBezTo>
                  <a:cubicBezTo>
                    <a:pt x="19" y="26"/>
                    <a:pt x="20" y="26"/>
                    <a:pt x="21" y="26"/>
                  </a:cubicBezTo>
                  <a:cubicBezTo>
                    <a:pt x="21" y="29"/>
                    <a:pt x="21" y="29"/>
                    <a:pt x="21" y="29"/>
                  </a:cubicBezTo>
                  <a:cubicBezTo>
                    <a:pt x="21" y="29"/>
                    <a:pt x="20" y="30"/>
                    <a:pt x="18" y="30"/>
                  </a:cubicBezTo>
                  <a:cubicBezTo>
                    <a:pt x="17" y="30"/>
                    <a:pt x="15" y="31"/>
                    <a:pt x="14" y="3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188"/>
            <p:cNvSpPr>
              <a:spLocks noEditPoints="1"/>
            </p:cNvSpPr>
            <p:nvPr/>
          </p:nvSpPr>
          <p:spPr bwMode="auto">
            <a:xfrm>
              <a:off x="5675311" y="5453439"/>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6" y="25"/>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30"/>
                    <a:pt x="19" y="30"/>
                  </a:cubicBezTo>
                  <a:cubicBezTo>
                    <a:pt x="18"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5"/>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3" name="Group 582"/>
          <p:cNvGrpSpPr/>
          <p:nvPr/>
        </p:nvGrpSpPr>
        <p:grpSpPr>
          <a:xfrm>
            <a:off x="6697484" y="5176391"/>
            <a:ext cx="249238" cy="76202"/>
            <a:chOff x="7531103" y="5913496"/>
            <a:chExt cx="249238" cy="76202"/>
          </a:xfrm>
        </p:grpSpPr>
        <p:sp>
          <p:nvSpPr>
            <p:cNvPr id="530" name="Freeform 189"/>
            <p:cNvSpPr>
              <a:spLocks/>
            </p:cNvSpPr>
            <p:nvPr/>
          </p:nvSpPr>
          <p:spPr bwMode="auto">
            <a:xfrm>
              <a:off x="7531103" y="5913496"/>
              <a:ext cx="53975" cy="76201"/>
            </a:xfrm>
            <a:custGeom>
              <a:avLst/>
              <a:gdLst>
                <a:gd name="T0" fmla="*/ 26 w 30"/>
                <a:gd name="T1" fmla="*/ 22 h 41"/>
                <a:gd name="T2" fmla="*/ 30 w 30"/>
                <a:gd name="T3" fmla="*/ 22 h 41"/>
                <a:gd name="T4" fmla="*/ 30 w 30"/>
                <a:gd name="T5" fmla="*/ 39 h 41"/>
                <a:gd name="T6" fmla="*/ 26 w 30"/>
                <a:gd name="T7" fmla="*/ 40 h 41"/>
                <a:gd name="T8" fmla="*/ 18 w 30"/>
                <a:gd name="T9" fmla="*/ 41 h 41"/>
                <a:gd name="T10" fmla="*/ 11 w 30"/>
                <a:gd name="T11" fmla="*/ 39 h 41"/>
                <a:gd name="T12" fmla="*/ 5 w 30"/>
                <a:gd name="T13" fmla="*/ 36 h 41"/>
                <a:gd name="T14" fmla="*/ 2 w 30"/>
                <a:gd name="T15" fmla="*/ 29 h 41"/>
                <a:gd name="T16" fmla="*/ 0 w 30"/>
                <a:gd name="T17" fmla="*/ 21 h 41"/>
                <a:gd name="T18" fmla="*/ 2 w 30"/>
                <a:gd name="T19" fmla="*/ 12 h 41"/>
                <a:gd name="T20" fmla="*/ 6 w 30"/>
                <a:gd name="T21" fmla="*/ 6 h 41"/>
                <a:gd name="T22" fmla="*/ 12 w 30"/>
                <a:gd name="T23" fmla="*/ 2 h 41"/>
                <a:gd name="T24" fmla="*/ 19 w 30"/>
                <a:gd name="T25" fmla="*/ 0 h 41"/>
                <a:gd name="T26" fmla="*/ 26 w 30"/>
                <a:gd name="T27" fmla="*/ 1 h 41"/>
                <a:gd name="T28" fmla="*/ 30 w 30"/>
                <a:gd name="T29" fmla="*/ 3 h 41"/>
                <a:gd name="T30" fmla="*/ 29 w 30"/>
                <a:gd name="T31" fmla="*/ 6 h 41"/>
                <a:gd name="T32" fmla="*/ 24 w 30"/>
                <a:gd name="T33" fmla="*/ 5 h 41"/>
                <a:gd name="T34" fmla="*/ 18 w 30"/>
                <a:gd name="T35" fmla="*/ 4 h 41"/>
                <a:gd name="T36" fmla="*/ 13 w 30"/>
                <a:gd name="T37" fmla="*/ 5 h 41"/>
                <a:gd name="T38" fmla="*/ 8 w 30"/>
                <a:gd name="T39" fmla="*/ 8 h 41"/>
                <a:gd name="T40" fmla="*/ 5 w 30"/>
                <a:gd name="T41" fmla="*/ 13 h 41"/>
                <a:gd name="T42" fmla="*/ 4 w 30"/>
                <a:gd name="T43" fmla="*/ 21 h 41"/>
                <a:gd name="T44" fmla="*/ 5 w 30"/>
                <a:gd name="T45" fmla="*/ 28 h 41"/>
                <a:gd name="T46" fmla="*/ 8 w 30"/>
                <a:gd name="T47" fmla="*/ 33 h 41"/>
                <a:gd name="T48" fmla="*/ 13 w 30"/>
                <a:gd name="T49" fmla="*/ 36 h 41"/>
                <a:gd name="T50" fmla="*/ 19 w 30"/>
                <a:gd name="T51" fmla="*/ 37 h 41"/>
                <a:gd name="T52" fmla="*/ 24 w 30"/>
                <a:gd name="T53" fmla="*/ 37 h 41"/>
                <a:gd name="T54" fmla="*/ 26 w 30"/>
                <a:gd name="T55" fmla="*/ 37 h 41"/>
                <a:gd name="T56" fmla="*/ 26 w 30"/>
                <a:gd name="T57"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1">
                  <a:moveTo>
                    <a:pt x="26" y="22"/>
                  </a:moveTo>
                  <a:cubicBezTo>
                    <a:pt x="30" y="22"/>
                    <a:pt x="30" y="22"/>
                    <a:pt x="30" y="22"/>
                  </a:cubicBezTo>
                  <a:cubicBezTo>
                    <a:pt x="30" y="39"/>
                    <a:pt x="30" y="39"/>
                    <a:pt x="30" y="39"/>
                  </a:cubicBezTo>
                  <a:cubicBezTo>
                    <a:pt x="29" y="39"/>
                    <a:pt x="28" y="40"/>
                    <a:pt x="26" y="40"/>
                  </a:cubicBezTo>
                  <a:cubicBezTo>
                    <a:pt x="24" y="41"/>
                    <a:pt x="21" y="41"/>
                    <a:pt x="18" y="41"/>
                  </a:cubicBezTo>
                  <a:cubicBezTo>
                    <a:pt x="16" y="41"/>
                    <a:pt x="13" y="40"/>
                    <a:pt x="11" y="39"/>
                  </a:cubicBezTo>
                  <a:cubicBezTo>
                    <a:pt x="9" y="39"/>
                    <a:pt x="7" y="37"/>
                    <a:pt x="5" y="36"/>
                  </a:cubicBezTo>
                  <a:cubicBezTo>
                    <a:pt x="4" y="34"/>
                    <a:pt x="3" y="32"/>
                    <a:pt x="2" y="29"/>
                  </a:cubicBezTo>
                  <a:cubicBezTo>
                    <a:pt x="1" y="27"/>
                    <a:pt x="0" y="24"/>
                    <a:pt x="0" y="21"/>
                  </a:cubicBezTo>
                  <a:cubicBezTo>
                    <a:pt x="0" y="17"/>
                    <a:pt x="1" y="14"/>
                    <a:pt x="2" y="12"/>
                  </a:cubicBezTo>
                  <a:cubicBezTo>
                    <a:pt x="3" y="9"/>
                    <a:pt x="4" y="7"/>
                    <a:pt x="6" y="6"/>
                  </a:cubicBezTo>
                  <a:cubicBezTo>
                    <a:pt x="7" y="4"/>
                    <a:pt x="9" y="3"/>
                    <a:pt x="12" y="2"/>
                  </a:cubicBezTo>
                  <a:cubicBezTo>
                    <a:pt x="14" y="1"/>
                    <a:pt x="16" y="0"/>
                    <a:pt x="19" y="0"/>
                  </a:cubicBezTo>
                  <a:cubicBezTo>
                    <a:pt x="21" y="0"/>
                    <a:pt x="24" y="1"/>
                    <a:pt x="26" y="1"/>
                  </a:cubicBezTo>
                  <a:cubicBezTo>
                    <a:pt x="28" y="2"/>
                    <a:pt x="29" y="3"/>
                    <a:pt x="30" y="3"/>
                  </a:cubicBezTo>
                  <a:cubicBezTo>
                    <a:pt x="29" y="6"/>
                    <a:pt x="29" y="6"/>
                    <a:pt x="29" y="6"/>
                  </a:cubicBezTo>
                  <a:cubicBezTo>
                    <a:pt x="27" y="6"/>
                    <a:pt x="26" y="5"/>
                    <a:pt x="24" y="5"/>
                  </a:cubicBezTo>
                  <a:cubicBezTo>
                    <a:pt x="22" y="4"/>
                    <a:pt x="21" y="4"/>
                    <a:pt x="18" y="4"/>
                  </a:cubicBezTo>
                  <a:cubicBezTo>
                    <a:pt x="17" y="4"/>
                    <a:pt x="15" y="4"/>
                    <a:pt x="13" y="5"/>
                  </a:cubicBezTo>
                  <a:cubicBezTo>
                    <a:pt x="11" y="6"/>
                    <a:pt x="10" y="7"/>
                    <a:pt x="8" y="8"/>
                  </a:cubicBezTo>
                  <a:cubicBezTo>
                    <a:pt x="7" y="10"/>
                    <a:pt x="6" y="11"/>
                    <a:pt x="5" y="13"/>
                  </a:cubicBezTo>
                  <a:cubicBezTo>
                    <a:pt x="5" y="15"/>
                    <a:pt x="4" y="18"/>
                    <a:pt x="4" y="21"/>
                  </a:cubicBezTo>
                  <a:cubicBezTo>
                    <a:pt x="4" y="23"/>
                    <a:pt x="5" y="26"/>
                    <a:pt x="5" y="28"/>
                  </a:cubicBezTo>
                  <a:cubicBezTo>
                    <a:pt x="6" y="30"/>
                    <a:pt x="7" y="31"/>
                    <a:pt x="8" y="33"/>
                  </a:cubicBezTo>
                  <a:cubicBezTo>
                    <a:pt x="9" y="34"/>
                    <a:pt x="11" y="36"/>
                    <a:pt x="13" y="36"/>
                  </a:cubicBezTo>
                  <a:cubicBezTo>
                    <a:pt x="14" y="37"/>
                    <a:pt x="16" y="37"/>
                    <a:pt x="19" y="37"/>
                  </a:cubicBezTo>
                  <a:cubicBezTo>
                    <a:pt x="21" y="37"/>
                    <a:pt x="22" y="37"/>
                    <a:pt x="24" y="37"/>
                  </a:cubicBezTo>
                  <a:cubicBezTo>
                    <a:pt x="25" y="37"/>
                    <a:pt x="26" y="37"/>
                    <a:pt x="26" y="37"/>
                  </a:cubicBezTo>
                  <a:lnTo>
                    <a:pt x="26" y="2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90"/>
            <p:cNvSpPr>
              <a:spLocks noEditPoints="1"/>
            </p:cNvSpPr>
            <p:nvPr/>
          </p:nvSpPr>
          <p:spPr bwMode="auto">
            <a:xfrm>
              <a:off x="7597778" y="5932547"/>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8 w 24"/>
                <a:gd name="T35" fmla="*/ 30 h 31"/>
                <a:gd name="T36" fmla="*/ 3 w 24"/>
                <a:gd name="T37" fmla="*/ 26 h 31"/>
                <a:gd name="T38" fmla="*/ 1 w 24"/>
                <a:gd name="T39" fmla="*/ 22 h 31"/>
                <a:gd name="T40" fmla="*/ 0 w 24"/>
                <a:gd name="T41" fmla="*/ 16 h 31"/>
                <a:gd name="T42" fmla="*/ 20 w 24"/>
                <a:gd name="T43" fmla="*/ 13 h 31"/>
                <a:gd name="T44" fmla="*/ 18 w 24"/>
                <a:gd name="T45" fmla="*/ 6 h 31"/>
                <a:gd name="T46" fmla="*/ 13 w 24"/>
                <a:gd name="T47" fmla="*/ 4 h 31"/>
                <a:gd name="T48" fmla="*/ 9 w 24"/>
                <a:gd name="T49" fmla="*/ 4 h 31"/>
                <a:gd name="T50" fmla="*/ 6 w 24"/>
                <a:gd name="T51" fmla="*/ 7 h 31"/>
                <a:gd name="T52" fmla="*/ 5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2" y="7"/>
                    <a:pt x="3"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6" y="25"/>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30"/>
                    <a:pt x="19" y="30"/>
                  </a:cubicBezTo>
                  <a:cubicBezTo>
                    <a:pt x="18" y="30"/>
                    <a:pt x="16" y="31"/>
                    <a:pt x="14" y="31"/>
                  </a:cubicBezTo>
                  <a:cubicBezTo>
                    <a:pt x="12" y="31"/>
                    <a:pt x="9" y="30"/>
                    <a:pt x="8" y="30"/>
                  </a:cubicBezTo>
                  <a:cubicBezTo>
                    <a:pt x="6" y="29"/>
                    <a:pt x="4" y="28"/>
                    <a:pt x="3" y="26"/>
                  </a:cubicBezTo>
                  <a:cubicBezTo>
                    <a:pt x="2" y="25"/>
                    <a:pt x="1" y="23"/>
                    <a:pt x="1" y="22"/>
                  </a:cubicBezTo>
                  <a:cubicBezTo>
                    <a:pt x="0" y="20"/>
                    <a:pt x="0" y="18"/>
                    <a:pt x="0" y="16"/>
                  </a:cubicBezTo>
                  <a:close/>
                  <a:moveTo>
                    <a:pt x="20" y="13"/>
                  </a:moveTo>
                  <a:cubicBezTo>
                    <a:pt x="20" y="10"/>
                    <a:pt x="20" y="8"/>
                    <a:pt x="18" y="6"/>
                  </a:cubicBezTo>
                  <a:cubicBezTo>
                    <a:pt x="17" y="5"/>
                    <a:pt x="15" y="4"/>
                    <a:pt x="13" y="4"/>
                  </a:cubicBezTo>
                  <a:cubicBezTo>
                    <a:pt x="11" y="4"/>
                    <a:pt x="10" y="4"/>
                    <a:pt x="9" y="4"/>
                  </a:cubicBezTo>
                  <a:cubicBezTo>
                    <a:pt x="8" y="5"/>
                    <a:pt x="7" y="6"/>
                    <a:pt x="6" y="7"/>
                  </a:cubicBezTo>
                  <a:cubicBezTo>
                    <a:pt x="6" y="7"/>
                    <a:pt x="5" y="8"/>
                    <a:pt x="5"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91"/>
            <p:cNvSpPr>
              <a:spLocks noEditPoints="1"/>
            </p:cNvSpPr>
            <p:nvPr/>
          </p:nvSpPr>
          <p:spPr bwMode="auto">
            <a:xfrm>
              <a:off x="7653340"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7 w 21"/>
                <a:gd name="T21" fmla="*/ 30 h 31"/>
                <a:gd name="T22" fmla="*/ 3 w 21"/>
                <a:gd name="T23" fmla="*/ 29 h 31"/>
                <a:gd name="T24" fmla="*/ 1 w 21"/>
                <a:gd name="T25" fmla="*/ 26 h 31"/>
                <a:gd name="T26" fmla="*/ 0 w 21"/>
                <a:gd name="T27" fmla="*/ 22 h 31"/>
                <a:gd name="T28" fmla="*/ 1 w 21"/>
                <a:gd name="T29" fmla="*/ 18 h 31"/>
                <a:gd name="T30" fmla="*/ 4 w 21"/>
                <a:gd name="T31" fmla="*/ 15 h 31"/>
                <a:gd name="T32" fmla="*/ 7 w 21"/>
                <a:gd name="T33" fmla="*/ 13 h 31"/>
                <a:gd name="T34" fmla="*/ 12 w 21"/>
                <a:gd name="T35" fmla="*/ 13 h 31"/>
                <a:gd name="T36" fmla="*/ 14 w 21"/>
                <a:gd name="T37" fmla="*/ 13 h 31"/>
                <a:gd name="T38" fmla="*/ 16 w 21"/>
                <a:gd name="T39" fmla="*/ 13 h 31"/>
                <a:gd name="T40" fmla="*/ 17 w 21"/>
                <a:gd name="T41" fmla="*/ 13 h 31"/>
                <a:gd name="T42" fmla="*/ 18 w 21"/>
                <a:gd name="T43" fmla="*/ 14 h 31"/>
                <a:gd name="T44" fmla="*/ 18 w 21"/>
                <a:gd name="T45" fmla="*/ 12 h 31"/>
                <a:gd name="T46" fmla="*/ 18 w 21"/>
                <a:gd name="T47" fmla="*/ 9 h 31"/>
                <a:gd name="T48" fmla="*/ 17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5" y="1"/>
                    <a:pt x="16" y="1"/>
                  </a:cubicBezTo>
                  <a:cubicBezTo>
                    <a:pt x="17" y="2"/>
                    <a:pt x="18" y="3"/>
                    <a:pt x="19" y="3"/>
                  </a:cubicBezTo>
                  <a:cubicBezTo>
                    <a:pt x="20" y="4"/>
                    <a:pt x="21" y="6"/>
                    <a:pt x="21" y="7"/>
                  </a:cubicBezTo>
                  <a:cubicBezTo>
                    <a:pt x="21" y="8"/>
                    <a:pt x="21" y="10"/>
                    <a:pt x="21" y="11"/>
                  </a:cubicBezTo>
                  <a:cubicBezTo>
                    <a:pt x="21" y="29"/>
                    <a:pt x="21" y="29"/>
                    <a:pt x="21" y="29"/>
                  </a:cubicBezTo>
                  <a:cubicBezTo>
                    <a:pt x="21" y="29"/>
                    <a:pt x="21" y="30"/>
                    <a:pt x="20" y="30"/>
                  </a:cubicBezTo>
                  <a:cubicBezTo>
                    <a:pt x="19" y="30"/>
                    <a:pt x="18" y="30"/>
                    <a:pt x="17" y="30"/>
                  </a:cubicBezTo>
                  <a:cubicBezTo>
                    <a:pt x="16" y="30"/>
                    <a:pt x="15" y="30"/>
                    <a:pt x="14" y="31"/>
                  </a:cubicBezTo>
                  <a:cubicBezTo>
                    <a:pt x="13" y="31"/>
                    <a:pt x="12" y="31"/>
                    <a:pt x="11" y="31"/>
                  </a:cubicBezTo>
                  <a:cubicBezTo>
                    <a:pt x="9" y="31"/>
                    <a:pt x="8" y="31"/>
                    <a:pt x="7" y="30"/>
                  </a:cubicBezTo>
                  <a:cubicBezTo>
                    <a:pt x="5" y="30"/>
                    <a:pt x="4" y="29"/>
                    <a:pt x="3" y="29"/>
                  </a:cubicBezTo>
                  <a:cubicBezTo>
                    <a:pt x="2" y="28"/>
                    <a:pt x="1" y="27"/>
                    <a:pt x="1" y="26"/>
                  </a:cubicBezTo>
                  <a:cubicBezTo>
                    <a:pt x="0" y="25"/>
                    <a:pt x="0" y="23"/>
                    <a:pt x="0" y="22"/>
                  </a:cubicBezTo>
                  <a:cubicBezTo>
                    <a:pt x="0" y="20"/>
                    <a:pt x="0" y="19"/>
                    <a:pt x="1" y="18"/>
                  </a:cubicBezTo>
                  <a:cubicBezTo>
                    <a:pt x="2" y="16"/>
                    <a:pt x="2" y="16"/>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7" y="8"/>
                    <a:pt x="17" y="7"/>
                    <a:pt x="17" y="6"/>
                  </a:cubicBezTo>
                  <a:cubicBezTo>
                    <a:pt x="16" y="5"/>
                    <a:pt x="15" y="5"/>
                    <a:pt x="14"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92"/>
            <p:cNvSpPr>
              <a:spLocks/>
            </p:cNvSpPr>
            <p:nvPr/>
          </p:nvSpPr>
          <p:spPr bwMode="auto">
            <a:xfrm>
              <a:off x="7710490" y="5934134"/>
              <a:ext cx="26988" cy="53976"/>
            </a:xfrm>
            <a:custGeom>
              <a:avLst/>
              <a:gdLst>
                <a:gd name="T0" fmla="*/ 10 w 15"/>
                <a:gd name="T1" fmla="*/ 0 h 29"/>
                <a:gd name="T2" fmla="*/ 13 w 15"/>
                <a:gd name="T3" fmla="*/ 0 h 29"/>
                <a:gd name="T4" fmla="*/ 15 w 15"/>
                <a:gd name="T5" fmla="*/ 0 h 29"/>
                <a:gd name="T6" fmla="*/ 14 w 15"/>
                <a:gd name="T7" fmla="*/ 4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4" y="4"/>
                    <a:pt x="14" y="4"/>
                    <a:pt x="14" y="4"/>
                  </a:cubicBezTo>
                  <a:cubicBezTo>
                    <a:pt x="14" y="3"/>
                    <a:pt x="14" y="3"/>
                    <a:pt x="13" y="3"/>
                  </a:cubicBezTo>
                  <a:cubicBezTo>
                    <a:pt x="12" y="3"/>
                    <a:pt x="11"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93"/>
            <p:cNvSpPr>
              <a:spLocks/>
            </p:cNvSpPr>
            <p:nvPr/>
          </p:nvSpPr>
          <p:spPr bwMode="auto">
            <a:xfrm>
              <a:off x="7743828" y="5932547"/>
              <a:ext cx="36513" cy="57151"/>
            </a:xfrm>
            <a:custGeom>
              <a:avLst/>
              <a:gdLst>
                <a:gd name="T0" fmla="*/ 9 w 20"/>
                <a:gd name="T1" fmla="*/ 27 h 31"/>
                <a:gd name="T2" fmla="*/ 14 w 20"/>
                <a:gd name="T3" fmla="*/ 26 h 31"/>
                <a:gd name="T4" fmla="*/ 16 w 20"/>
                <a:gd name="T5" fmla="*/ 23 h 31"/>
                <a:gd name="T6" fmla="*/ 15 w 20"/>
                <a:gd name="T7" fmla="*/ 21 h 31"/>
                <a:gd name="T8" fmla="*/ 14 w 20"/>
                <a:gd name="T9" fmla="*/ 19 h 31"/>
                <a:gd name="T10" fmla="*/ 12 w 20"/>
                <a:gd name="T11" fmla="*/ 18 h 31"/>
                <a:gd name="T12" fmla="*/ 9 w 20"/>
                <a:gd name="T13" fmla="*/ 17 h 31"/>
                <a:gd name="T14" fmla="*/ 6 w 20"/>
                <a:gd name="T15" fmla="*/ 15 h 31"/>
                <a:gd name="T16" fmla="*/ 3 w 20"/>
                <a:gd name="T17" fmla="*/ 14 h 31"/>
                <a:gd name="T18" fmla="*/ 1 w 20"/>
                <a:gd name="T19" fmla="*/ 11 h 31"/>
                <a:gd name="T20" fmla="*/ 1 w 20"/>
                <a:gd name="T21" fmla="*/ 8 h 31"/>
                <a:gd name="T22" fmla="*/ 3 w 20"/>
                <a:gd name="T23" fmla="*/ 3 h 31"/>
                <a:gd name="T24" fmla="*/ 11 w 20"/>
                <a:gd name="T25" fmla="*/ 0 h 31"/>
                <a:gd name="T26" fmla="*/ 15 w 20"/>
                <a:gd name="T27" fmla="*/ 1 h 31"/>
                <a:gd name="T28" fmla="*/ 18 w 20"/>
                <a:gd name="T29" fmla="*/ 2 h 31"/>
                <a:gd name="T30" fmla="*/ 17 w 20"/>
                <a:gd name="T31" fmla="*/ 5 h 31"/>
                <a:gd name="T32" fmla="*/ 15 w 20"/>
                <a:gd name="T33" fmla="*/ 4 h 31"/>
                <a:gd name="T34" fmla="*/ 10 w 20"/>
                <a:gd name="T35" fmla="*/ 4 h 31"/>
                <a:gd name="T36" fmla="*/ 8 w 20"/>
                <a:gd name="T37" fmla="*/ 4 h 31"/>
                <a:gd name="T38" fmla="*/ 6 w 20"/>
                <a:gd name="T39" fmla="*/ 5 h 31"/>
                <a:gd name="T40" fmla="*/ 5 w 20"/>
                <a:gd name="T41" fmla="*/ 6 h 31"/>
                <a:gd name="T42" fmla="*/ 4 w 20"/>
                <a:gd name="T43" fmla="*/ 8 h 31"/>
                <a:gd name="T44" fmla="*/ 5 w 20"/>
                <a:gd name="T45" fmla="*/ 10 h 31"/>
                <a:gd name="T46" fmla="*/ 6 w 20"/>
                <a:gd name="T47" fmla="*/ 12 h 31"/>
                <a:gd name="T48" fmla="*/ 8 w 20"/>
                <a:gd name="T49" fmla="*/ 13 h 31"/>
                <a:gd name="T50" fmla="*/ 11 w 20"/>
                <a:gd name="T51" fmla="*/ 14 h 31"/>
                <a:gd name="T52" fmla="*/ 14 w 20"/>
                <a:gd name="T53" fmla="*/ 15 h 31"/>
                <a:gd name="T54" fmla="*/ 17 w 20"/>
                <a:gd name="T55" fmla="*/ 17 h 31"/>
                <a:gd name="T56" fmla="*/ 19 w 20"/>
                <a:gd name="T57" fmla="*/ 19 h 31"/>
                <a:gd name="T58" fmla="*/ 20 w 20"/>
                <a:gd name="T59" fmla="*/ 23 h 31"/>
                <a:gd name="T60" fmla="*/ 17 w 20"/>
                <a:gd name="T61" fmla="*/ 29 h 31"/>
                <a:gd name="T62" fmla="*/ 9 w 20"/>
                <a:gd name="T63" fmla="*/ 31 h 31"/>
                <a:gd name="T64" fmla="*/ 3 w 20"/>
                <a:gd name="T65" fmla="*/ 30 h 31"/>
                <a:gd name="T66" fmla="*/ 0 w 20"/>
                <a:gd name="T67" fmla="*/ 29 h 31"/>
                <a:gd name="T68" fmla="*/ 1 w 20"/>
                <a:gd name="T69" fmla="*/ 26 h 31"/>
                <a:gd name="T70" fmla="*/ 2 w 20"/>
                <a:gd name="T71" fmla="*/ 26 h 31"/>
                <a:gd name="T72" fmla="*/ 3 w 20"/>
                <a:gd name="T73" fmla="*/ 27 h 31"/>
                <a:gd name="T74" fmla="*/ 6 w 20"/>
                <a:gd name="T75" fmla="*/ 27 h 31"/>
                <a:gd name="T76" fmla="*/ 9 w 20"/>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 h="31">
                  <a:moveTo>
                    <a:pt x="9" y="27"/>
                  </a:moveTo>
                  <a:cubicBezTo>
                    <a:pt x="11" y="27"/>
                    <a:pt x="12" y="27"/>
                    <a:pt x="14" y="26"/>
                  </a:cubicBezTo>
                  <a:cubicBezTo>
                    <a:pt x="15" y="26"/>
                    <a:pt x="16" y="25"/>
                    <a:pt x="16" y="23"/>
                  </a:cubicBezTo>
                  <a:cubicBezTo>
                    <a:pt x="16" y="22"/>
                    <a:pt x="16" y="21"/>
                    <a:pt x="15" y="21"/>
                  </a:cubicBezTo>
                  <a:cubicBezTo>
                    <a:pt x="15" y="20"/>
                    <a:pt x="15" y="20"/>
                    <a:pt x="14" y="19"/>
                  </a:cubicBezTo>
                  <a:cubicBezTo>
                    <a:pt x="14" y="19"/>
                    <a:pt x="13" y="19"/>
                    <a:pt x="12" y="18"/>
                  </a:cubicBezTo>
                  <a:cubicBezTo>
                    <a:pt x="11" y="18"/>
                    <a:pt x="10" y="17"/>
                    <a:pt x="9" y="17"/>
                  </a:cubicBezTo>
                  <a:cubicBezTo>
                    <a:pt x="8" y="16"/>
                    <a:pt x="7" y="16"/>
                    <a:pt x="6" y="15"/>
                  </a:cubicBezTo>
                  <a:cubicBezTo>
                    <a:pt x="5" y="15"/>
                    <a:pt x="4" y="14"/>
                    <a:pt x="3" y="14"/>
                  </a:cubicBezTo>
                  <a:cubicBezTo>
                    <a:pt x="2" y="13"/>
                    <a:pt x="2" y="12"/>
                    <a:pt x="1" y="11"/>
                  </a:cubicBezTo>
                  <a:cubicBezTo>
                    <a:pt x="1" y="11"/>
                    <a:pt x="1" y="10"/>
                    <a:pt x="1" y="8"/>
                  </a:cubicBezTo>
                  <a:cubicBezTo>
                    <a:pt x="1" y="6"/>
                    <a:pt x="1" y="4"/>
                    <a:pt x="3" y="3"/>
                  </a:cubicBezTo>
                  <a:cubicBezTo>
                    <a:pt x="5" y="1"/>
                    <a:pt x="7" y="0"/>
                    <a:pt x="11" y="0"/>
                  </a:cubicBezTo>
                  <a:cubicBezTo>
                    <a:pt x="13" y="0"/>
                    <a:pt x="14" y="1"/>
                    <a:pt x="15" y="1"/>
                  </a:cubicBezTo>
                  <a:cubicBezTo>
                    <a:pt x="17" y="1"/>
                    <a:pt x="18" y="2"/>
                    <a:pt x="18" y="2"/>
                  </a:cubicBezTo>
                  <a:cubicBezTo>
                    <a:pt x="17" y="5"/>
                    <a:pt x="17" y="5"/>
                    <a:pt x="17" y="5"/>
                  </a:cubicBezTo>
                  <a:cubicBezTo>
                    <a:pt x="17" y="5"/>
                    <a:pt x="16" y="5"/>
                    <a:pt x="15" y="4"/>
                  </a:cubicBezTo>
                  <a:cubicBezTo>
                    <a:pt x="14" y="4"/>
                    <a:pt x="12" y="4"/>
                    <a:pt x="10" y="4"/>
                  </a:cubicBezTo>
                  <a:cubicBezTo>
                    <a:pt x="10" y="4"/>
                    <a:pt x="9" y="4"/>
                    <a:pt x="8" y="4"/>
                  </a:cubicBezTo>
                  <a:cubicBezTo>
                    <a:pt x="7" y="4"/>
                    <a:pt x="7" y="4"/>
                    <a:pt x="6" y="5"/>
                  </a:cubicBezTo>
                  <a:cubicBezTo>
                    <a:pt x="6" y="5"/>
                    <a:pt x="5" y="5"/>
                    <a:pt x="5" y="6"/>
                  </a:cubicBezTo>
                  <a:cubicBezTo>
                    <a:pt x="4" y="7"/>
                    <a:pt x="4" y="7"/>
                    <a:pt x="4" y="8"/>
                  </a:cubicBezTo>
                  <a:cubicBezTo>
                    <a:pt x="4" y="9"/>
                    <a:pt x="4" y="9"/>
                    <a:pt x="5" y="10"/>
                  </a:cubicBezTo>
                  <a:cubicBezTo>
                    <a:pt x="5" y="11"/>
                    <a:pt x="5" y="11"/>
                    <a:pt x="6" y="12"/>
                  </a:cubicBezTo>
                  <a:cubicBezTo>
                    <a:pt x="7" y="12"/>
                    <a:pt x="7" y="12"/>
                    <a:pt x="8" y="13"/>
                  </a:cubicBezTo>
                  <a:cubicBezTo>
                    <a:pt x="9" y="13"/>
                    <a:pt x="10" y="13"/>
                    <a:pt x="11" y="14"/>
                  </a:cubicBezTo>
                  <a:cubicBezTo>
                    <a:pt x="12" y="14"/>
                    <a:pt x="13" y="15"/>
                    <a:pt x="14" y="15"/>
                  </a:cubicBezTo>
                  <a:cubicBezTo>
                    <a:pt x="15" y="16"/>
                    <a:pt x="16" y="16"/>
                    <a:pt x="17" y="17"/>
                  </a:cubicBezTo>
                  <a:cubicBezTo>
                    <a:pt x="18" y="18"/>
                    <a:pt x="18" y="18"/>
                    <a:pt x="19" y="19"/>
                  </a:cubicBezTo>
                  <a:cubicBezTo>
                    <a:pt x="19" y="20"/>
                    <a:pt x="20" y="21"/>
                    <a:pt x="20" y="23"/>
                  </a:cubicBezTo>
                  <a:cubicBezTo>
                    <a:pt x="20" y="25"/>
                    <a:pt x="19" y="27"/>
                    <a:pt x="17" y="29"/>
                  </a:cubicBezTo>
                  <a:cubicBezTo>
                    <a:pt x="15" y="30"/>
                    <a:pt x="12" y="31"/>
                    <a:pt x="9" y="31"/>
                  </a:cubicBezTo>
                  <a:cubicBezTo>
                    <a:pt x="6" y="31"/>
                    <a:pt x="4" y="31"/>
                    <a:pt x="3" y="30"/>
                  </a:cubicBezTo>
                  <a:cubicBezTo>
                    <a:pt x="1" y="30"/>
                    <a:pt x="1" y="29"/>
                    <a:pt x="0" y="29"/>
                  </a:cubicBezTo>
                  <a:cubicBezTo>
                    <a:pt x="1" y="26"/>
                    <a:pt x="1" y="26"/>
                    <a:pt x="1" y="26"/>
                  </a:cubicBezTo>
                  <a:cubicBezTo>
                    <a:pt x="1" y="26"/>
                    <a:pt x="1" y="26"/>
                    <a:pt x="2" y="26"/>
                  </a:cubicBezTo>
                  <a:cubicBezTo>
                    <a:pt x="2" y="26"/>
                    <a:pt x="3" y="27"/>
                    <a:pt x="3" y="27"/>
                  </a:cubicBezTo>
                  <a:cubicBezTo>
                    <a:pt x="4" y="27"/>
                    <a:pt x="5" y="27"/>
                    <a:pt x="6" y="27"/>
                  </a:cubicBezTo>
                  <a:cubicBezTo>
                    <a:pt x="6" y="27"/>
                    <a:pt x="7" y="27"/>
                    <a:pt x="9"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4" name="Group 583"/>
          <p:cNvGrpSpPr/>
          <p:nvPr/>
        </p:nvGrpSpPr>
        <p:grpSpPr>
          <a:xfrm>
            <a:off x="7924417" y="5176391"/>
            <a:ext cx="204788" cy="73027"/>
            <a:chOff x="8777291" y="5916671"/>
            <a:chExt cx="204788" cy="73027"/>
          </a:xfrm>
        </p:grpSpPr>
        <p:sp>
          <p:nvSpPr>
            <p:cNvPr id="535" name="Freeform 194"/>
            <p:cNvSpPr>
              <a:spLocks noEditPoints="1"/>
            </p:cNvSpPr>
            <p:nvPr/>
          </p:nvSpPr>
          <p:spPr bwMode="auto">
            <a:xfrm>
              <a:off x="8777291" y="5916671"/>
              <a:ext cx="57150" cy="71438"/>
            </a:xfrm>
            <a:custGeom>
              <a:avLst/>
              <a:gdLst>
                <a:gd name="T0" fmla="*/ 31 w 31"/>
                <a:gd name="T1" fmla="*/ 20 h 39"/>
                <a:gd name="T2" fmla="*/ 29 w 31"/>
                <a:gd name="T3" fmla="*/ 28 h 39"/>
                <a:gd name="T4" fmla="*/ 25 w 31"/>
                <a:gd name="T5" fmla="*/ 34 h 39"/>
                <a:gd name="T6" fmla="*/ 18 w 31"/>
                <a:gd name="T7" fmla="*/ 38 h 39"/>
                <a:gd name="T8" fmla="*/ 9 w 31"/>
                <a:gd name="T9" fmla="*/ 39 h 39"/>
                <a:gd name="T10" fmla="*/ 4 w 31"/>
                <a:gd name="T11" fmla="*/ 39 h 39"/>
                <a:gd name="T12" fmla="*/ 0 w 31"/>
                <a:gd name="T13" fmla="*/ 38 h 39"/>
                <a:gd name="T14" fmla="*/ 0 w 31"/>
                <a:gd name="T15" fmla="*/ 1 h 39"/>
                <a:gd name="T16" fmla="*/ 4 w 31"/>
                <a:gd name="T17" fmla="*/ 0 h 39"/>
                <a:gd name="T18" fmla="*/ 9 w 31"/>
                <a:gd name="T19" fmla="*/ 0 h 39"/>
                <a:gd name="T20" fmla="*/ 18 w 31"/>
                <a:gd name="T21" fmla="*/ 1 h 39"/>
                <a:gd name="T22" fmla="*/ 25 w 31"/>
                <a:gd name="T23" fmla="*/ 5 h 39"/>
                <a:gd name="T24" fmla="*/ 29 w 31"/>
                <a:gd name="T25" fmla="*/ 11 h 39"/>
                <a:gd name="T26" fmla="*/ 31 w 31"/>
                <a:gd name="T27" fmla="*/ 20 h 39"/>
                <a:gd name="T28" fmla="*/ 4 w 31"/>
                <a:gd name="T29" fmla="*/ 36 h 39"/>
                <a:gd name="T30" fmla="*/ 5 w 31"/>
                <a:gd name="T31" fmla="*/ 36 h 39"/>
                <a:gd name="T32" fmla="*/ 10 w 31"/>
                <a:gd name="T33" fmla="*/ 36 h 39"/>
                <a:gd name="T34" fmla="*/ 17 w 31"/>
                <a:gd name="T35" fmla="*/ 35 h 39"/>
                <a:gd name="T36" fmla="*/ 22 w 31"/>
                <a:gd name="T37" fmla="*/ 32 h 39"/>
                <a:gd name="T38" fmla="*/ 26 w 31"/>
                <a:gd name="T39" fmla="*/ 26 h 39"/>
                <a:gd name="T40" fmla="*/ 27 w 31"/>
                <a:gd name="T41" fmla="*/ 20 h 39"/>
                <a:gd name="T42" fmla="*/ 26 w 31"/>
                <a:gd name="T43" fmla="*/ 13 h 39"/>
                <a:gd name="T44" fmla="*/ 22 w 31"/>
                <a:gd name="T45" fmla="*/ 8 h 39"/>
                <a:gd name="T46" fmla="*/ 17 w 31"/>
                <a:gd name="T47" fmla="*/ 4 h 39"/>
                <a:gd name="T48" fmla="*/ 10 w 31"/>
                <a:gd name="T49" fmla="*/ 3 h 39"/>
                <a:gd name="T50" fmla="*/ 5 w 31"/>
                <a:gd name="T51" fmla="*/ 3 h 39"/>
                <a:gd name="T52" fmla="*/ 4 w 31"/>
                <a:gd name="T53" fmla="*/ 4 h 39"/>
                <a:gd name="T54" fmla="*/ 4 w 31"/>
                <a:gd name="T55"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39">
                  <a:moveTo>
                    <a:pt x="31" y="20"/>
                  </a:moveTo>
                  <a:cubicBezTo>
                    <a:pt x="31" y="23"/>
                    <a:pt x="30" y="26"/>
                    <a:pt x="29" y="28"/>
                  </a:cubicBezTo>
                  <a:cubicBezTo>
                    <a:pt x="28" y="31"/>
                    <a:pt x="27" y="33"/>
                    <a:pt x="25" y="34"/>
                  </a:cubicBezTo>
                  <a:cubicBezTo>
                    <a:pt x="23" y="36"/>
                    <a:pt x="21" y="37"/>
                    <a:pt x="18" y="38"/>
                  </a:cubicBezTo>
                  <a:cubicBezTo>
                    <a:pt x="15" y="39"/>
                    <a:pt x="12" y="39"/>
                    <a:pt x="9" y="39"/>
                  </a:cubicBezTo>
                  <a:cubicBezTo>
                    <a:pt x="8" y="39"/>
                    <a:pt x="6" y="39"/>
                    <a:pt x="4" y="39"/>
                  </a:cubicBezTo>
                  <a:cubicBezTo>
                    <a:pt x="3" y="39"/>
                    <a:pt x="1" y="39"/>
                    <a:pt x="0" y="38"/>
                  </a:cubicBezTo>
                  <a:cubicBezTo>
                    <a:pt x="0" y="1"/>
                    <a:pt x="0" y="1"/>
                    <a:pt x="0" y="1"/>
                  </a:cubicBezTo>
                  <a:cubicBezTo>
                    <a:pt x="1" y="1"/>
                    <a:pt x="3" y="0"/>
                    <a:pt x="4" y="0"/>
                  </a:cubicBezTo>
                  <a:cubicBezTo>
                    <a:pt x="6" y="0"/>
                    <a:pt x="8" y="0"/>
                    <a:pt x="9" y="0"/>
                  </a:cubicBezTo>
                  <a:cubicBezTo>
                    <a:pt x="12" y="0"/>
                    <a:pt x="15" y="0"/>
                    <a:pt x="18" y="1"/>
                  </a:cubicBezTo>
                  <a:cubicBezTo>
                    <a:pt x="21" y="2"/>
                    <a:pt x="23" y="3"/>
                    <a:pt x="25" y="5"/>
                  </a:cubicBezTo>
                  <a:cubicBezTo>
                    <a:pt x="27" y="6"/>
                    <a:pt x="28" y="9"/>
                    <a:pt x="29" y="11"/>
                  </a:cubicBezTo>
                  <a:cubicBezTo>
                    <a:pt x="30" y="13"/>
                    <a:pt x="31" y="16"/>
                    <a:pt x="31" y="20"/>
                  </a:cubicBezTo>
                  <a:close/>
                  <a:moveTo>
                    <a:pt x="4" y="36"/>
                  </a:moveTo>
                  <a:cubicBezTo>
                    <a:pt x="4" y="36"/>
                    <a:pt x="4" y="36"/>
                    <a:pt x="5" y="36"/>
                  </a:cubicBezTo>
                  <a:cubicBezTo>
                    <a:pt x="6" y="36"/>
                    <a:pt x="8" y="36"/>
                    <a:pt x="10" y="36"/>
                  </a:cubicBezTo>
                  <a:cubicBezTo>
                    <a:pt x="13" y="36"/>
                    <a:pt x="15" y="36"/>
                    <a:pt x="17" y="35"/>
                  </a:cubicBezTo>
                  <a:cubicBezTo>
                    <a:pt x="19" y="34"/>
                    <a:pt x="21" y="33"/>
                    <a:pt x="22" y="32"/>
                  </a:cubicBezTo>
                  <a:cubicBezTo>
                    <a:pt x="24" y="30"/>
                    <a:pt x="25" y="29"/>
                    <a:pt x="26" y="26"/>
                  </a:cubicBezTo>
                  <a:cubicBezTo>
                    <a:pt x="26" y="24"/>
                    <a:pt x="27" y="22"/>
                    <a:pt x="27" y="20"/>
                  </a:cubicBezTo>
                  <a:cubicBezTo>
                    <a:pt x="27" y="17"/>
                    <a:pt x="26" y="15"/>
                    <a:pt x="26" y="13"/>
                  </a:cubicBezTo>
                  <a:cubicBezTo>
                    <a:pt x="25" y="11"/>
                    <a:pt x="24" y="9"/>
                    <a:pt x="22" y="8"/>
                  </a:cubicBezTo>
                  <a:cubicBezTo>
                    <a:pt x="21" y="6"/>
                    <a:pt x="19" y="5"/>
                    <a:pt x="17" y="4"/>
                  </a:cubicBezTo>
                  <a:cubicBezTo>
                    <a:pt x="15" y="4"/>
                    <a:pt x="13" y="3"/>
                    <a:pt x="10" y="3"/>
                  </a:cubicBezTo>
                  <a:cubicBezTo>
                    <a:pt x="8" y="3"/>
                    <a:pt x="6" y="3"/>
                    <a:pt x="5" y="3"/>
                  </a:cubicBezTo>
                  <a:cubicBezTo>
                    <a:pt x="4" y="3"/>
                    <a:pt x="4" y="4"/>
                    <a:pt x="4" y="4"/>
                  </a:cubicBezTo>
                  <a:lnTo>
                    <a:pt x="4" y="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195"/>
            <p:cNvSpPr>
              <a:spLocks noEditPoints="1"/>
            </p:cNvSpPr>
            <p:nvPr/>
          </p:nvSpPr>
          <p:spPr bwMode="auto">
            <a:xfrm>
              <a:off x="8845553"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0" y="31"/>
                  </a:cubicBezTo>
                  <a:cubicBezTo>
                    <a:pt x="9" y="31"/>
                    <a:pt x="8"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7" y="10"/>
                    <a:pt x="17" y="9"/>
                  </a:cubicBezTo>
                  <a:cubicBezTo>
                    <a:pt x="17" y="8"/>
                    <a:pt x="17" y="7"/>
                    <a:pt x="16" y="6"/>
                  </a:cubicBezTo>
                  <a:cubicBezTo>
                    <a:pt x="16" y="5"/>
                    <a:pt x="15" y="5"/>
                    <a:pt x="14" y="4"/>
                  </a:cubicBezTo>
                  <a:cubicBezTo>
                    <a:pt x="13" y="4"/>
                    <a:pt x="12" y="4"/>
                    <a:pt x="11" y="4"/>
                  </a:cubicBezTo>
                  <a:cubicBezTo>
                    <a:pt x="8"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6" y="16"/>
                    <a:pt x="16" y="16"/>
                  </a:cubicBezTo>
                  <a:cubicBezTo>
                    <a:pt x="15" y="16"/>
                    <a:pt x="13"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4"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196"/>
            <p:cNvSpPr>
              <a:spLocks/>
            </p:cNvSpPr>
            <p:nvPr/>
          </p:nvSpPr>
          <p:spPr bwMode="auto">
            <a:xfrm>
              <a:off x="8899528" y="5918259"/>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5" y="33"/>
                    <a:pt x="5" y="33"/>
                    <a:pt x="6" y="34"/>
                  </a:cubicBezTo>
                  <a:cubicBezTo>
                    <a:pt x="6" y="35"/>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8"/>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197"/>
            <p:cNvSpPr>
              <a:spLocks noEditPoints="1"/>
            </p:cNvSpPr>
            <p:nvPr/>
          </p:nvSpPr>
          <p:spPr bwMode="auto">
            <a:xfrm>
              <a:off x="8936041" y="5932547"/>
              <a:ext cx="46038" cy="57151"/>
            </a:xfrm>
            <a:custGeom>
              <a:avLst/>
              <a:gdLst>
                <a:gd name="T0" fmla="*/ 0 w 25"/>
                <a:gd name="T1" fmla="*/ 16 h 31"/>
                <a:gd name="T2" fmla="*/ 2 w 25"/>
                <a:gd name="T3" fmla="*/ 9 h 31"/>
                <a:gd name="T4" fmla="*/ 4 w 25"/>
                <a:gd name="T5" fmla="*/ 4 h 31"/>
                <a:gd name="T6" fmla="*/ 8 w 25"/>
                <a:gd name="T7" fmla="*/ 1 h 31"/>
                <a:gd name="T8" fmla="*/ 13 w 25"/>
                <a:gd name="T9" fmla="*/ 0 h 31"/>
                <a:gd name="T10" fmla="*/ 22 w 25"/>
                <a:gd name="T11" fmla="*/ 4 h 31"/>
                <a:gd name="T12" fmla="*/ 25 w 25"/>
                <a:gd name="T13" fmla="*/ 15 h 31"/>
                <a:gd name="T14" fmla="*/ 25 w 25"/>
                <a:gd name="T15" fmla="*/ 15 h 31"/>
                <a:gd name="T16" fmla="*/ 25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2" y="9"/>
                  </a:cubicBezTo>
                  <a:cubicBezTo>
                    <a:pt x="2" y="7"/>
                    <a:pt x="3" y="5"/>
                    <a:pt x="4" y="4"/>
                  </a:cubicBezTo>
                  <a:cubicBezTo>
                    <a:pt x="6" y="3"/>
                    <a:pt x="7" y="2"/>
                    <a:pt x="8" y="1"/>
                  </a:cubicBezTo>
                  <a:cubicBezTo>
                    <a:pt x="10" y="1"/>
                    <a:pt x="11" y="0"/>
                    <a:pt x="13" y="0"/>
                  </a:cubicBezTo>
                  <a:cubicBezTo>
                    <a:pt x="17" y="0"/>
                    <a:pt x="19" y="2"/>
                    <a:pt x="22" y="4"/>
                  </a:cubicBezTo>
                  <a:cubicBezTo>
                    <a:pt x="24" y="6"/>
                    <a:pt x="25" y="10"/>
                    <a:pt x="25" y="15"/>
                  </a:cubicBezTo>
                  <a:cubicBezTo>
                    <a:pt x="25" y="15"/>
                    <a:pt x="25" y="15"/>
                    <a:pt x="25" y="15"/>
                  </a:cubicBezTo>
                  <a:cubicBezTo>
                    <a:pt x="25" y="16"/>
                    <a:pt x="25" y="16"/>
                    <a:pt x="25" y="16"/>
                  </a:cubicBezTo>
                  <a:cubicBezTo>
                    <a:pt x="4" y="16"/>
                    <a:pt x="4" y="16"/>
                    <a:pt x="4" y="16"/>
                  </a:cubicBezTo>
                  <a:cubicBezTo>
                    <a:pt x="4" y="20"/>
                    <a:pt x="5" y="23"/>
                    <a:pt x="7" y="25"/>
                  </a:cubicBezTo>
                  <a:cubicBezTo>
                    <a:pt x="9" y="26"/>
                    <a:pt x="11" y="27"/>
                    <a:pt x="15" y="27"/>
                  </a:cubicBezTo>
                  <a:cubicBezTo>
                    <a:pt x="17" y="27"/>
                    <a:pt x="18" y="27"/>
                    <a:pt x="19" y="27"/>
                  </a:cubicBezTo>
                  <a:cubicBezTo>
                    <a:pt x="21" y="26"/>
                    <a:pt x="21" y="26"/>
                    <a:pt x="22" y="26"/>
                  </a:cubicBezTo>
                  <a:cubicBezTo>
                    <a:pt x="23" y="29"/>
                    <a:pt x="23" y="29"/>
                    <a:pt x="23" y="29"/>
                  </a:cubicBezTo>
                  <a:cubicBezTo>
                    <a:pt x="22" y="29"/>
                    <a:pt x="21" y="30"/>
                    <a:pt x="20" y="30"/>
                  </a:cubicBezTo>
                  <a:cubicBezTo>
                    <a:pt x="18" y="30"/>
                    <a:pt x="17" y="31"/>
                    <a:pt x="15" y="31"/>
                  </a:cubicBezTo>
                  <a:cubicBezTo>
                    <a:pt x="12" y="31"/>
                    <a:pt x="10" y="30"/>
                    <a:pt x="8" y="30"/>
                  </a:cubicBezTo>
                  <a:cubicBezTo>
                    <a:pt x="6" y="29"/>
                    <a:pt x="5" y="28"/>
                    <a:pt x="4" y="26"/>
                  </a:cubicBezTo>
                  <a:cubicBezTo>
                    <a:pt x="3" y="25"/>
                    <a:pt x="2" y="23"/>
                    <a:pt x="1" y="22"/>
                  </a:cubicBezTo>
                  <a:cubicBezTo>
                    <a:pt x="1" y="20"/>
                    <a:pt x="0" y="18"/>
                    <a:pt x="0" y="16"/>
                  </a:cubicBezTo>
                  <a:close/>
                  <a:moveTo>
                    <a:pt x="21" y="13"/>
                  </a:moveTo>
                  <a:cubicBezTo>
                    <a:pt x="21" y="10"/>
                    <a:pt x="20" y="8"/>
                    <a:pt x="19" y="6"/>
                  </a:cubicBezTo>
                  <a:cubicBezTo>
                    <a:pt x="17" y="5"/>
                    <a:pt x="16" y="4"/>
                    <a:pt x="13" y="4"/>
                  </a:cubicBezTo>
                  <a:cubicBezTo>
                    <a:pt x="12" y="4"/>
                    <a:pt x="11" y="4"/>
                    <a:pt x="10" y="4"/>
                  </a:cubicBezTo>
                  <a:cubicBezTo>
                    <a:pt x="9" y="5"/>
                    <a:pt x="8" y="6"/>
                    <a:pt x="7" y="7"/>
                  </a:cubicBezTo>
                  <a:cubicBezTo>
                    <a:pt x="6" y="7"/>
                    <a:pt x="6"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2" name="Group 581"/>
          <p:cNvGrpSpPr/>
          <p:nvPr/>
        </p:nvGrpSpPr>
        <p:grpSpPr>
          <a:xfrm>
            <a:off x="5391756" y="5176391"/>
            <a:ext cx="454025" cy="92076"/>
            <a:chOff x="6345240" y="5913496"/>
            <a:chExt cx="454025" cy="92076"/>
          </a:xfrm>
        </p:grpSpPr>
        <p:sp>
          <p:nvSpPr>
            <p:cNvPr id="539" name="Freeform 198"/>
            <p:cNvSpPr>
              <a:spLocks/>
            </p:cNvSpPr>
            <p:nvPr/>
          </p:nvSpPr>
          <p:spPr bwMode="auto">
            <a:xfrm>
              <a:off x="6345240" y="5913496"/>
              <a:ext cx="52388"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7 w 29"/>
                <a:gd name="T17" fmla="*/ 0 h 41"/>
                <a:gd name="T18" fmla="*/ 21 w 29"/>
                <a:gd name="T19" fmla="*/ 1 h 41"/>
                <a:gd name="T20" fmla="*/ 25 w 29"/>
                <a:gd name="T21" fmla="*/ 1 h 41"/>
                <a:gd name="T22" fmla="*/ 27 w 29"/>
                <a:gd name="T23" fmla="*/ 2 h 41"/>
                <a:gd name="T24" fmla="*/ 28 w 29"/>
                <a:gd name="T25" fmla="*/ 3 h 41"/>
                <a:gd name="T26" fmla="*/ 27 w 29"/>
                <a:gd name="T27" fmla="*/ 6 h 41"/>
                <a:gd name="T28" fmla="*/ 23 w 29"/>
                <a:gd name="T29" fmla="*/ 5 h 41"/>
                <a:gd name="T30" fmla="*/ 18 w 29"/>
                <a:gd name="T31" fmla="*/ 4 h 41"/>
                <a:gd name="T32" fmla="*/ 12 w 29"/>
                <a:gd name="T33" fmla="*/ 5 h 41"/>
                <a:gd name="T34" fmla="*/ 7 w 29"/>
                <a:gd name="T35" fmla="*/ 9 h 41"/>
                <a:gd name="T36" fmla="*/ 4 w 29"/>
                <a:gd name="T37" fmla="*/ 14 h 41"/>
                <a:gd name="T38" fmla="*/ 4 w 29"/>
                <a:gd name="T39" fmla="*/ 21 h 41"/>
                <a:gd name="T40" fmla="*/ 4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1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2"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3" y="7"/>
                    <a:pt x="5" y="6"/>
                  </a:cubicBezTo>
                  <a:cubicBezTo>
                    <a:pt x="7" y="4"/>
                    <a:pt x="8" y="3"/>
                    <a:pt x="11" y="2"/>
                  </a:cubicBezTo>
                  <a:cubicBezTo>
                    <a:pt x="13" y="1"/>
                    <a:pt x="15" y="0"/>
                    <a:pt x="17" y="0"/>
                  </a:cubicBezTo>
                  <a:cubicBezTo>
                    <a:pt x="19" y="0"/>
                    <a:pt x="20" y="1"/>
                    <a:pt x="21" y="1"/>
                  </a:cubicBezTo>
                  <a:cubicBezTo>
                    <a:pt x="23" y="1"/>
                    <a:pt x="24" y="1"/>
                    <a:pt x="25" y="1"/>
                  </a:cubicBezTo>
                  <a:cubicBezTo>
                    <a:pt x="25" y="2"/>
                    <a:pt x="26" y="2"/>
                    <a:pt x="27" y="2"/>
                  </a:cubicBezTo>
                  <a:cubicBezTo>
                    <a:pt x="27" y="3"/>
                    <a:pt x="28" y="3"/>
                    <a:pt x="28" y="3"/>
                  </a:cubicBezTo>
                  <a:cubicBezTo>
                    <a:pt x="27" y="6"/>
                    <a:pt x="27" y="6"/>
                    <a:pt x="27" y="6"/>
                  </a:cubicBezTo>
                  <a:cubicBezTo>
                    <a:pt x="26" y="6"/>
                    <a:pt x="25" y="5"/>
                    <a:pt x="23" y="5"/>
                  </a:cubicBezTo>
                  <a:cubicBezTo>
                    <a:pt x="22" y="4"/>
                    <a:pt x="20" y="4"/>
                    <a:pt x="18" y="4"/>
                  </a:cubicBezTo>
                  <a:cubicBezTo>
                    <a:pt x="16" y="4"/>
                    <a:pt x="14" y="4"/>
                    <a:pt x="12" y="5"/>
                  </a:cubicBezTo>
                  <a:cubicBezTo>
                    <a:pt x="10" y="6"/>
                    <a:pt x="8" y="7"/>
                    <a:pt x="7" y="9"/>
                  </a:cubicBezTo>
                  <a:cubicBezTo>
                    <a:pt x="6" y="10"/>
                    <a:pt x="5" y="12"/>
                    <a:pt x="4" y="14"/>
                  </a:cubicBezTo>
                  <a:cubicBezTo>
                    <a:pt x="4" y="16"/>
                    <a:pt x="4" y="18"/>
                    <a:pt x="4" y="21"/>
                  </a:cubicBezTo>
                  <a:cubicBezTo>
                    <a:pt x="4" y="23"/>
                    <a:pt x="4" y="26"/>
                    <a:pt x="4" y="28"/>
                  </a:cubicBezTo>
                  <a:cubicBezTo>
                    <a:pt x="5" y="30"/>
                    <a:pt x="6" y="31"/>
                    <a:pt x="7" y="33"/>
                  </a:cubicBezTo>
                  <a:cubicBezTo>
                    <a:pt x="8" y="34"/>
                    <a:pt x="10" y="36"/>
                    <a:pt x="12" y="36"/>
                  </a:cubicBezTo>
                  <a:cubicBezTo>
                    <a:pt x="13" y="37"/>
                    <a:pt x="15" y="37"/>
                    <a:pt x="18" y="37"/>
                  </a:cubicBezTo>
                  <a:cubicBezTo>
                    <a:pt x="20" y="37"/>
                    <a:pt x="22" y="37"/>
                    <a:pt x="24" y="37"/>
                  </a:cubicBezTo>
                  <a:cubicBezTo>
                    <a:pt x="25" y="36"/>
                    <a:pt x="27" y="36"/>
                    <a:pt x="28" y="35"/>
                  </a:cubicBezTo>
                  <a:cubicBezTo>
                    <a:pt x="29" y="39"/>
                    <a:pt x="29" y="39"/>
                    <a:pt x="29" y="39"/>
                  </a:cubicBezTo>
                  <a:cubicBezTo>
                    <a:pt x="28" y="39"/>
                    <a:pt x="28" y="39"/>
                    <a:pt x="27" y="39"/>
                  </a:cubicBezTo>
                  <a:cubicBezTo>
                    <a:pt x="27" y="39"/>
                    <a:pt x="26" y="40"/>
                    <a:pt x="25" y="40"/>
                  </a:cubicBezTo>
                  <a:cubicBezTo>
                    <a:pt x="24" y="40"/>
                    <a:pt x="23" y="40"/>
                    <a:pt x="21" y="41"/>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99"/>
            <p:cNvSpPr>
              <a:spLocks noEditPoints="1"/>
            </p:cNvSpPr>
            <p:nvPr/>
          </p:nvSpPr>
          <p:spPr bwMode="auto">
            <a:xfrm>
              <a:off x="6405565" y="5932547"/>
              <a:ext cx="49213" cy="57151"/>
            </a:xfrm>
            <a:custGeom>
              <a:avLst/>
              <a:gdLst>
                <a:gd name="T0" fmla="*/ 27 w 27"/>
                <a:gd name="T1" fmla="*/ 16 h 31"/>
                <a:gd name="T2" fmla="*/ 26 w 27"/>
                <a:gd name="T3" fmla="*/ 22 h 31"/>
                <a:gd name="T4" fmla="*/ 23 w 27"/>
                <a:gd name="T5" fmla="*/ 27 h 31"/>
                <a:gd name="T6" fmla="*/ 19 w 27"/>
                <a:gd name="T7" fmla="*/ 30 h 31"/>
                <a:gd name="T8" fmla="*/ 13 w 27"/>
                <a:gd name="T9" fmla="*/ 31 h 31"/>
                <a:gd name="T10" fmla="*/ 8 w 27"/>
                <a:gd name="T11" fmla="*/ 30 h 31"/>
                <a:gd name="T12" fmla="*/ 4 w 27"/>
                <a:gd name="T13" fmla="*/ 27 h 31"/>
                <a:gd name="T14" fmla="*/ 1 w 27"/>
                <a:gd name="T15" fmla="*/ 22 h 31"/>
                <a:gd name="T16" fmla="*/ 0 w 27"/>
                <a:gd name="T17" fmla="*/ 16 h 31"/>
                <a:gd name="T18" fmla="*/ 1 w 27"/>
                <a:gd name="T19" fmla="*/ 9 h 31"/>
                <a:gd name="T20" fmla="*/ 4 w 27"/>
                <a:gd name="T21" fmla="*/ 5 h 31"/>
                <a:gd name="T22" fmla="*/ 8 w 27"/>
                <a:gd name="T23" fmla="*/ 2 h 31"/>
                <a:gd name="T24" fmla="*/ 13 w 27"/>
                <a:gd name="T25" fmla="*/ 0 h 31"/>
                <a:gd name="T26" fmla="*/ 19 w 27"/>
                <a:gd name="T27" fmla="*/ 2 h 31"/>
                <a:gd name="T28" fmla="*/ 23 w 27"/>
                <a:gd name="T29" fmla="*/ 5 h 31"/>
                <a:gd name="T30" fmla="*/ 26 w 27"/>
                <a:gd name="T31" fmla="*/ 9 h 31"/>
                <a:gd name="T32" fmla="*/ 27 w 27"/>
                <a:gd name="T33" fmla="*/ 16 h 31"/>
                <a:gd name="T34" fmla="*/ 23 w 27"/>
                <a:gd name="T35" fmla="*/ 16 h 31"/>
                <a:gd name="T36" fmla="*/ 20 w 27"/>
                <a:gd name="T37" fmla="*/ 7 h 31"/>
                <a:gd name="T38" fmla="*/ 13 w 27"/>
                <a:gd name="T39" fmla="*/ 4 h 31"/>
                <a:gd name="T40" fmla="*/ 7 w 27"/>
                <a:gd name="T41" fmla="*/ 7 h 31"/>
                <a:gd name="T42" fmla="*/ 4 w 27"/>
                <a:gd name="T43" fmla="*/ 16 h 31"/>
                <a:gd name="T44" fmla="*/ 7 w 27"/>
                <a:gd name="T45" fmla="*/ 24 h 31"/>
                <a:gd name="T46" fmla="*/ 13 w 27"/>
                <a:gd name="T47" fmla="*/ 27 h 31"/>
                <a:gd name="T48" fmla="*/ 20 w 27"/>
                <a:gd name="T49" fmla="*/ 24 h 31"/>
                <a:gd name="T50" fmla="*/ 23 w 27"/>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1">
                  <a:moveTo>
                    <a:pt x="27" y="16"/>
                  </a:moveTo>
                  <a:cubicBezTo>
                    <a:pt x="27" y="18"/>
                    <a:pt x="26" y="20"/>
                    <a:pt x="26" y="22"/>
                  </a:cubicBezTo>
                  <a:cubicBezTo>
                    <a:pt x="25" y="24"/>
                    <a:pt x="24" y="25"/>
                    <a:pt x="23" y="27"/>
                  </a:cubicBezTo>
                  <a:cubicBezTo>
                    <a:pt x="22" y="28"/>
                    <a:pt x="20" y="29"/>
                    <a:pt x="19" y="30"/>
                  </a:cubicBezTo>
                  <a:cubicBezTo>
                    <a:pt x="17" y="30"/>
                    <a:pt x="15" y="31"/>
                    <a:pt x="13" y="31"/>
                  </a:cubicBezTo>
                  <a:cubicBezTo>
                    <a:pt x="11" y="31"/>
                    <a:pt x="10" y="30"/>
                    <a:pt x="8" y="30"/>
                  </a:cubicBezTo>
                  <a:cubicBezTo>
                    <a:pt x="7" y="29"/>
                    <a:pt x="5" y="28"/>
                    <a:pt x="4" y="27"/>
                  </a:cubicBezTo>
                  <a:cubicBezTo>
                    <a:pt x="3" y="25"/>
                    <a:pt x="2" y="24"/>
                    <a:pt x="1" y="22"/>
                  </a:cubicBezTo>
                  <a:cubicBezTo>
                    <a:pt x="1" y="20"/>
                    <a:pt x="0" y="18"/>
                    <a:pt x="0" y="16"/>
                  </a:cubicBezTo>
                  <a:cubicBezTo>
                    <a:pt x="0" y="13"/>
                    <a:pt x="1" y="11"/>
                    <a:pt x="1" y="9"/>
                  </a:cubicBezTo>
                  <a:cubicBezTo>
                    <a:pt x="2" y="8"/>
                    <a:pt x="3" y="6"/>
                    <a:pt x="4" y="5"/>
                  </a:cubicBezTo>
                  <a:cubicBezTo>
                    <a:pt x="5" y="3"/>
                    <a:pt x="7" y="2"/>
                    <a:pt x="8" y="2"/>
                  </a:cubicBezTo>
                  <a:cubicBezTo>
                    <a:pt x="10" y="1"/>
                    <a:pt x="11" y="0"/>
                    <a:pt x="13" y="0"/>
                  </a:cubicBezTo>
                  <a:cubicBezTo>
                    <a:pt x="15" y="0"/>
                    <a:pt x="17" y="1"/>
                    <a:pt x="19" y="2"/>
                  </a:cubicBezTo>
                  <a:cubicBezTo>
                    <a:pt x="20" y="2"/>
                    <a:pt x="22" y="3"/>
                    <a:pt x="23" y="5"/>
                  </a:cubicBezTo>
                  <a:cubicBezTo>
                    <a:pt x="24" y="6"/>
                    <a:pt x="25" y="8"/>
                    <a:pt x="26" y="9"/>
                  </a:cubicBezTo>
                  <a:cubicBezTo>
                    <a:pt x="26" y="11"/>
                    <a:pt x="27" y="13"/>
                    <a:pt x="27" y="16"/>
                  </a:cubicBezTo>
                  <a:close/>
                  <a:moveTo>
                    <a:pt x="23" y="16"/>
                  </a:moveTo>
                  <a:cubicBezTo>
                    <a:pt x="23" y="12"/>
                    <a:pt x="22" y="9"/>
                    <a:pt x="20" y="7"/>
                  </a:cubicBezTo>
                  <a:cubicBezTo>
                    <a:pt x="19" y="5"/>
                    <a:pt x="16" y="4"/>
                    <a:pt x="13" y="4"/>
                  </a:cubicBezTo>
                  <a:cubicBezTo>
                    <a:pt x="11" y="4"/>
                    <a:pt x="8" y="5"/>
                    <a:pt x="7" y="7"/>
                  </a:cubicBezTo>
                  <a:cubicBezTo>
                    <a:pt x="5" y="9"/>
                    <a:pt x="4" y="12"/>
                    <a:pt x="4" y="16"/>
                  </a:cubicBezTo>
                  <a:cubicBezTo>
                    <a:pt x="4" y="19"/>
                    <a:pt x="5" y="22"/>
                    <a:pt x="7" y="24"/>
                  </a:cubicBezTo>
                  <a:cubicBezTo>
                    <a:pt x="8" y="26"/>
                    <a:pt x="11" y="27"/>
                    <a:pt x="13" y="27"/>
                  </a:cubicBezTo>
                  <a:cubicBezTo>
                    <a:pt x="16" y="27"/>
                    <a:pt x="19" y="26"/>
                    <a:pt x="20" y="24"/>
                  </a:cubicBezTo>
                  <a:cubicBezTo>
                    <a:pt x="22" y="22"/>
                    <a:pt x="23" y="19"/>
                    <a:pt x="23"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200"/>
            <p:cNvSpPr>
              <a:spLocks/>
            </p:cNvSpPr>
            <p:nvPr/>
          </p:nvSpPr>
          <p:spPr bwMode="auto">
            <a:xfrm>
              <a:off x="6469065" y="5934134"/>
              <a:ext cx="71438" cy="53976"/>
            </a:xfrm>
            <a:custGeom>
              <a:avLst/>
              <a:gdLst>
                <a:gd name="T0" fmla="*/ 0 w 39"/>
                <a:gd name="T1" fmla="*/ 1 h 29"/>
                <a:gd name="T2" fmla="*/ 4 w 39"/>
                <a:gd name="T3" fmla="*/ 0 h 29"/>
                <a:gd name="T4" fmla="*/ 11 w 39"/>
                <a:gd name="T5" fmla="*/ 0 h 29"/>
                <a:gd name="T6" fmla="*/ 18 w 39"/>
                <a:gd name="T7" fmla="*/ 3 h 29"/>
                <a:gd name="T8" fmla="*/ 20 w 39"/>
                <a:gd name="T9" fmla="*/ 2 h 29"/>
                <a:gd name="T10" fmla="*/ 22 w 39"/>
                <a:gd name="T11" fmla="*/ 1 h 29"/>
                <a:gd name="T12" fmla="*/ 24 w 39"/>
                <a:gd name="T13" fmla="*/ 0 h 29"/>
                <a:gd name="T14" fmla="*/ 28 w 39"/>
                <a:gd name="T15" fmla="*/ 0 h 29"/>
                <a:gd name="T16" fmla="*/ 34 w 39"/>
                <a:gd name="T17" fmla="*/ 1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2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8" y="3"/>
                  </a:cubicBezTo>
                  <a:cubicBezTo>
                    <a:pt x="19" y="3"/>
                    <a:pt x="19" y="2"/>
                    <a:pt x="20" y="2"/>
                  </a:cubicBezTo>
                  <a:cubicBezTo>
                    <a:pt x="20" y="2"/>
                    <a:pt x="21" y="1"/>
                    <a:pt x="22" y="1"/>
                  </a:cubicBezTo>
                  <a:cubicBezTo>
                    <a:pt x="22" y="1"/>
                    <a:pt x="23" y="0"/>
                    <a:pt x="24" y="0"/>
                  </a:cubicBezTo>
                  <a:cubicBezTo>
                    <a:pt x="26" y="0"/>
                    <a:pt x="27" y="0"/>
                    <a:pt x="28" y="0"/>
                  </a:cubicBezTo>
                  <a:cubicBezTo>
                    <a:pt x="30" y="0"/>
                    <a:pt x="32" y="0"/>
                    <a:pt x="34" y="1"/>
                  </a:cubicBezTo>
                  <a:cubicBezTo>
                    <a:pt x="35" y="1"/>
                    <a:pt x="36" y="2"/>
                    <a:pt x="37" y="3"/>
                  </a:cubicBezTo>
                  <a:cubicBezTo>
                    <a:pt x="37" y="4"/>
                    <a:pt x="38" y="6"/>
                    <a:pt x="38" y="7"/>
                  </a:cubicBezTo>
                  <a:cubicBezTo>
                    <a:pt x="38"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2" y="4"/>
                    <a:pt x="32" y="4"/>
                  </a:cubicBezTo>
                  <a:cubicBezTo>
                    <a:pt x="31" y="3"/>
                    <a:pt x="29" y="3"/>
                    <a:pt x="28" y="3"/>
                  </a:cubicBezTo>
                  <a:cubicBezTo>
                    <a:pt x="27" y="3"/>
                    <a:pt x="26" y="3"/>
                    <a:pt x="25" y="3"/>
                  </a:cubicBezTo>
                  <a:cubicBezTo>
                    <a:pt x="24" y="3"/>
                    <a:pt x="23" y="4"/>
                    <a:pt x="22" y="4"/>
                  </a:cubicBezTo>
                  <a:cubicBezTo>
                    <a:pt x="22" y="4"/>
                    <a:pt x="21" y="5"/>
                    <a:pt x="21" y="5"/>
                  </a:cubicBezTo>
                  <a:cubicBezTo>
                    <a:pt x="20" y="5"/>
                    <a:pt x="20" y="5"/>
                    <a:pt x="20" y="5"/>
                  </a:cubicBezTo>
                  <a:cubicBezTo>
                    <a:pt x="20" y="6"/>
                    <a:pt x="20"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6" y="7"/>
                    <a:pt x="16" y="6"/>
                  </a:cubicBezTo>
                  <a:cubicBezTo>
                    <a:pt x="15"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201"/>
            <p:cNvSpPr>
              <a:spLocks noEditPoints="1"/>
            </p:cNvSpPr>
            <p:nvPr/>
          </p:nvSpPr>
          <p:spPr bwMode="auto">
            <a:xfrm>
              <a:off x="6557965" y="5934134"/>
              <a:ext cx="44450" cy="71438"/>
            </a:xfrm>
            <a:custGeom>
              <a:avLst/>
              <a:gdLst>
                <a:gd name="T0" fmla="*/ 4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6 h 39"/>
                <a:gd name="T22" fmla="*/ 17 w 25"/>
                <a:gd name="T23" fmla="*/ 29 h 39"/>
                <a:gd name="T24" fmla="*/ 12 w 25"/>
                <a:gd name="T25" fmla="*/ 30 h 39"/>
                <a:gd name="T26" fmla="*/ 7 w 25"/>
                <a:gd name="T27" fmla="*/ 29 h 39"/>
                <a:gd name="T28" fmla="*/ 4 w 25"/>
                <a:gd name="T29" fmla="*/ 27 h 39"/>
                <a:gd name="T30" fmla="*/ 4 w 25"/>
                <a:gd name="T31" fmla="*/ 39 h 39"/>
                <a:gd name="T32" fmla="*/ 4 w 25"/>
                <a:gd name="T33" fmla="*/ 24 h 39"/>
                <a:gd name="T34" fmla="*/ 5 w 25"/>
                <a:gd name="T35" fmla="*/ 25 h 39"/>
                <a:gd name="T36" fmla="*/ 7 w 25"/>
                <a:gd name="T37" fmla="*/ 26 h 39"/>
                <a:gd name="T38" fmla="*/ 9 w 25"/>
                <a:gd name="T39" fmla="*/ 26 h 39"/>
                <a:gd name="T40" fmla="*/ 11 w 25"/>
                <a:gd name="T41" fmla="*/ 26 h 39"/>
                <a:gd name="T42" fmla="*/ 16 w 25"/>
                <a:gd name="T43" fmla="*/ 26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4 w 25"/>
                <a:gd name="T57" fmla="*/ 4 h 39"/>
                <a:gd name="T58" fmla="*/ 4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4" y="39"/>
                  </a:moveTo>
                  <a:cubicBezTo>
                    <a:pt x="0" y="39"/>
                    <a:pt x="0" y="39"/>
                    <a:pt x="0" y="39"/>
                  </a:cubicBezTo>
                  <a:cubicBezTo>
                    <a:pt x="0" y="1"/>
                    <a:pt x="0" y="1"/>
                    <a:pt x="0" y="1"/>
                  </a:cubicBezTo>
                  <a:cubicBezTo>
                    <a:pt x="1" y="1"/>
                    <a:pt x="2" y="0"/>
                    <a:pt x="4" y="0"/>
                  </a:cubicBezTo>
                  <a:cubicBezTo>
                    <a:pt x="6" y="0"/>
                    <a:pt x="8" y="0"/>
                    <a:pt x="10" y="0"/>
                  </a:cubicBezTo>
                  <a:cubicBezTo>
                    <a:pt x="13"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6"/>
                  </a:cubicBezTo>
                  <a:cubicBezTo>
                    <a:pt x="20" y="27"/>
                    <a:pt x="19" y="28"/>
                    <a:pt x="17" y="29"/>
                  </a:cubicBezTo>
                  <a:cubicBezTo>
                    <a:pt x="15" y="29"/>
                    <a:pt x="14" y="30"/>
                    <a:pt x="12" y="30"/>
                  </a:cubicBezTo>
                  <a:cubicBezTo>
                    <a:pt x="10" y="30"/>
                    <a:pt x="8" y="29"/>
                    <a:pt x="7" y="29"/>
                  </a:cubicBezTo>
                  <a:cubicBezTo>
                    <a:pt x="5" y="28"/>
                    <a:pt x="4" y="28"/>
                    <a:pt x="4" y="27"/>
                  </a:cubicBezTo>
                  <a:lnTo>
                    <a:pt x="4" y="39"/>
                  </a:lnTo>
                  <a:close/>
                  <a:moveTo>
                    <a:pt x="4" y="24"/>
                  </a:moveTo>
                  <a:cubicBezTo>
                    <a:pt x="4" y="24"/>
                    <a:pt x="4" y="24"/>
                    <a:pt x="5" y="25"/>
                  </a:cubicBezTo>
                  <a:cubicBezTo>
                    <a:pt x="5" y="25"/>
                    <a:pt x="6" y="25"/>
                    <a:pt x="7" y="26"/>
                  </a:cubicBezTo>
                  <a:cubicBezTo>
                    <a:pt x="7" y="26"/>
                    <a:pt x="8" y="26"/>
                    <a:pt x="9" y="26"/>
                  </a:cubicBezTo>
                  <a:cubicBezTo>
                    <a:pt x="9" y="26"/>
                    <a:pt x="10" y="26"/>
                    <a:pt x="11" y="26"/>
                  </a:cubicBezTo>
                  <a:cubicBezTo>
                    <a:pt x="13" y="26"/>
                    <a:pt x="14" y="26"/>
                    <a:pt x="16" y="26"/>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3" y="3"/>
                    <a:pt x="10" y="3"/>
                  </a:cubicBezTo>
                  <a:cubicBezTo>
                    <a:pt x="9" y="3"/>
                    <a:pt x="7" y="3"/>
                    <a:pt x="6" y="3"/>
                  </a:cubicBezTo>
                  <a:cubicBezTo>
                    <a:pt x="5" y="3"/>
                    <a:pt x="4" y="3"/>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202"/>
            <p:cNvSpPr>
              <a:spLocks/>
            </p:cNvSpPr>
            <p:nvPr/>
          </p:nvSpPr>
          <p:spPr bwMode="auto">
            <a:xfrm>
              <a:off x="6616702" y="5934134"/>
              <a:ext cx="41275" cy="55563"/>
            </a:xfrm>
            <a:custGeom>
              <a:avLst/>
              <a:gdLst>
                <a:gd name="T0" fmla="*/ 23 w 23"/>
                <a:gd name="T1" fmla="*/ 28 h 30"/>
                <a:gd name="T2" fmla="*/ 18 w 23"/>
                <a:gd name="T3" fmla="*/ 29 h 30"/>
                <a:gd name="T4" fmla="*/ 12 w 23"/>
                <a:gd name="T5" fmla="*/ 30 h 30"/>
                <a:gd name="T6" fmla="*/ 6 w 23"/>
                <a:gd name="T7" fmla="*/ 29 h 30"/>
                <a:gd name="T8" fmla="*/ 3 w 23"/>
                <a:gd name="T9" fmla="*/ 26 h 30"/>
                <a:gd name="T10" fmla="*/ 1 w 23"/>
                <a:gd name="T11" fmla="*/ 22 h 30"/>
                <a:gd name="T12" fmla="*/ 0 w 23"/>
                <a:gd name="T13" fmla="*/ 16 h 30"/>
                <a:gd name="T14" fmla="*/ 0 w 23"/>
                <a:gd name="T15" fmla="*/ 0 h 30"/>
                <a:gd name="T16" fmla="*/ 4 w 23"/>
                <a:gd name="T17" fmla="*/ 0 h 30"/>
                <a:gd name="T18" fmla="*/ 4 w 23"/>
                <a:gd name="T19" fmla="*/ 15 h 30"/>
                <a:gd name="T20" fmla="*/ 4 w 23"/>
                <a:gd name="T21" fmla="*/ 20 h 30"/>
                <a:gd name="T22" fmla="*/ 6 w 23"/>
                <a:gd name="T23" fmla="*/ 24 h 30"/>
                <a:gd name="T24" fmla="*/ 8 w 23"/>
                <a:gd name="T25" fmla="*/ 26 h 30"/>
                <a:gd name="T26" fmla="*/ 12 w 23"/>
                <a:gd name="T27" fmla="*/ 26 h 30"/>
                <a:gd name="T28" fmla="*/ 17 w 23"/>
                <a:gd name="T29" fmla="*/ 26 h 30"/>
                <a:gd name="T30" fmla="*/ 19 w 23"/>
                <a:gd name="T31" fmla="*/ 26 h 30"/>
                <a:gd name="T32" fmla="*/ 19 w 23"/>
                <a:gd name="T33" fmla="*/ 0 h 30"/>
                <a:gd name="T34" fmla="*/ 23 w 23"/>
                <a:gd name="T35" fmla="*/ 0 h 30"/>
                <a:gd name="T36" fmla="*/ 23 w 23"/>
                <a:gd name="T3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0">
                  <a:moveTo>
                    <a:pt x="23" y="28"/>
                  </a:moveTo>
                  <a:cubicBezTo>
                    <a:pt x="22" y="28"/>
                    <a:pt x="20" y="29"/>
                    <a:pt x="18" y="29"/>
                  </a:cubicBezTo>
                  <a:cubicBezTo>
                    <a:pt x="17" y="29"/>
                    <a:pt x="14" y="30"/>
                    <a:pt x="12" y="30"/>
                  </a:cubicBezTo>
                  <a:cubicBezTo>
                    <a:pt x="9" y="30"/>
                    <a:pt x="8" y="29"/>
                    <a:pt x="6" y="29"/>
                  </a:cubicBezTo>
                  <a:cubicBezTo>
                    <a:pt x="5" y="28"/>
                    <a:pt x="4" y="27"/>
                    <a:pt x="3" y="26"/>
                  </a:cubicBezTo>
                  <a:cubicBezTo>
                    <a:pt x="2" y="25"/>
                    <a:pt x="1" y="23"/>
                    <a:pt x="1" y="22"/>
                  </a:cubicBezTo>
                  <a:cubicBezTo>
                    <a:pt x="0"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6" y="25"/>
                    <a:pt x="7" y="25"/>
                    <a:pt x="8" y="26"/>
                  </a:cubicBezTo>
                  <a:cubicBezTo>
                    <a:pt x="9" y="26"/>
                    <a:pt x="11" y="26"/>
                    <a:pt x="12" y="26"/>
                  </a:cubicBezTo>
                  <a:cubicBezTo>
                    <a:pt x="14" y="26"/>
                    <a:pt x="15" y="26"/>
                    <a:pt x="17" y="26"/>
                  </a:cubicBezTo>
                  <a:cubicBezTo>
                    <a:pt x="18" y="26"/>
                    <a:pt x="19" y="26"/>
                    <a:pt x="19" y="26"/>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203"/>
            <p:cNvSpPr>
              <a:spLocks/>
            </p:cNvSpPr>
            <p:nvPr/>
          </p:nvSpPr>
          <p:spPr bwMode="auto">
            <a:xfrm>
              <a:off x="6673852" y="5918259"/>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5 w 17"/>
                <a:gd name="T13" fmla="*/ 34 h 39"/>
                <a:gd name="T14" fmla="*/ 7 w 17"/>
                <a:gd name="T15" fmla="*/ 35 h 39"/>
                <a:gd name="T16" fmla="*/ 10 w 17"/>
                <a:gd name="T17" fmla="*/ 35 h 39"/>
                <a:gd name="T18" fmla="*/ 13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4" y="33"/>
                    <a:pt x="5" y="33"/>
                    <a:pt x="5" y="34"/>
                  </a:cubicBezTo>
                  <a:cubicBezTo>
                    <a:pt x="6" y="35"/>
                    <a:pt x="7" y="35"/>
                    <a:pt x="7" y="35"/>
                  </a:cubicBezTo>
                  <a:cubicBezTo>
                    <a:pt x="8" y="35"/>
                    <a:pt x="9" y="35"/>
                    <a:pt x="10" y="35"/>
                  </a:cubicBezTo>
                  <a:cubicBezTo>
                    <a:pt x="11" y="35"/>
                    <a:pt x="13" y="35"/>
                    <a:pt x="13" y="35"/>
                  </a:cubicBezTo>
                  <a:cubicBezTo>
                    <a:pt x="14"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8"/>
                    <a:pt x="3" y="37"/>
                    <a:pt x="2" y="36"/>
                  </a:cubicBezTo>
                  <a:cubicBezTo>
                    <a:pt x="1"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204"/>
            <p:cNvSpPr>
              <a:spLocks noEditPoints="1"/>
            </p:cNvSpPr>
            <p:nvPr/>
          </p:nvSpPr>
          <p:spPr bwMode="auto">
            <a:xfrm>
              <a:off x="6711952" y="5932547"/>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5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7" y="0"/>
                    <a:pt x="19" y="2"/>
                    <a:pt x="21" y="4"/>
                  </a:cubicBezTo>
                  <a:cubicBezTo>
                    <a:pt x="24" y="6"/>
                    <a:pt x="25" y="10"/>
                    <a:pt x="25" y="15"/>
                  </a:cubicBezTo>
                  <a:cubicBezTo>
                    <a:pt x="25" y="15"/>
                    <a:pt x="25" y="15"/>
                    <a:pt x="25" y="15"/>
                  </a:cubicBezTo>
                  <a:cubicBezTo>
                    <a:pt x="25" y="16"/>
                    <a:pt x="25" y="16"/>
                    <a:pt x="25" y="16"/>
                  </a:cubicBezTo>
                  <a:cubicBezTo>
                    <a:pt x="4" y="16"/>
                    <a:pt x="4" y="16"/>
                    <a:pt x="4" y="16"/>
                  </a:cubicBezTo>
                  <a:cubicBezTo>
                    <a:pt x="4" y="20"/>
                    <a:pt x="5" y="23"/>
                    <a:pt x="7" y="25"/>
                  </a:cubicBezTo>
                  <a:cubicBezTo>
                    <a:pt x="8" y="26"/>
                    <a:pt x="11" y="27"/>
                    <a:pt x="15" y="27"/>
                  </a:cubicBezTo>
                  <a:cubicBezTo>
                    <a:pt x="17" y="27"/>
                    <a:pt x="18" y="27"/>
                    <a:pt x="19" y="27"/>
                  </a:cubicBezTo>
                  <a:cubicBezTo>
                    <a:pt x="21" y="26"/>
                    <a:pt x="21" y="26"/>
                    <a:pt x="22" y="26"/>
                  </a:cubicBezTo>
                  <a:cubicBezTo>
                    <a:pt x="23" y="29"/>
                    <a:pt x="23" y="29"/>
                    <a:pt x="23" y="29"/>
                  </a:cubicBezTo>
                  <a:cubicBezTo>
                    <a:pt x="22" y="29"/>
                    <a:pt x="21" y="30"/>
                    <a:pt x="20" y="30"/>
                  </a:cubicBezTo>
                  <a:cubicBezTo>
                    <a:pt x="18" y="30"/>
                    <a:pt x="16" y="31"/>
                    <a:pt x="15"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5"/>
                    <a:pt x="15" y="4"/>
                    <a:pt x="13" y="4"/>
                  </a:cubicBezTo>
                  <a:cubicBezTo>
                    <a:pt x="12" y="4"/>
                    <a:pt x="11" y="4"/>
                    <a:pt x="10" y="4"/>
                  </a:cubicBezTo>
                  <a:cubicBezTo>
                    <a:pt x="9"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206"/>
            <p:cNvSpPr>
              <a:spLocks/>
            </p:cNvSpPr>
            <p:nvPr/>
          </p:nvSpPr>
          <p:spPr bwMode="auto">
            <a:xfrm>
              <a:off x="6772277" y="5934134"/>
              <a:ext cx="26988" cy="53976"/>
            </a:xfrm>
            <a:custGeom>
              <a:avLst/>
              <a:gdLst>
                <a:gd name="T0" fmla="*/ 10 w 15"/>
                <a:gd name="T1" fmla="*/ 0 h 29"/>
                <a:gd name="T2" fmla="*/ 13 w 15"/>
                <a:gd name="T3" fmla="*/ 0 h 29"/>
                <a:gd name="T4" fmla="*/ 15 w 15"/>
                <a:gd name="T5" fmla="*/ 0 h 29"/>
                <a:gd name="T6" fmla="*/ 14 w 15"/>
                <a:gd name="T7" fmla="*/ 4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4" y="4"/>
                    <a:pt x="14" y="4"/>
                    <a:pt x="14" y="4"/>
                  </a:cubicBezTo>
                  <a:cubicBezTo>
                    <a:pt x="14" y="3"/>
                    <a:pt x="14" y="3"/>
                    <a:pt x="13" y="3"/>
                  </a:cubicBezTo>
                  <a:cubicBezTo>
                    <a:pt x="12" y="3"/>
                    <a:pt x="11"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1" name="Group 600"/>
          <p:cNvGrpSpPr>
            <a:grpSpLocks noChangeAspect="1"/>
          </p:cNvGrpSpPr>
          <p:nvPr/>
        </p:nvGrpSpPr>
        <p:grpSpPr>
          <a:xfrm>
            <a:off x="6386308" y="5335009"/>
            <a:ext cx="845754" cy="795528"/>
            <a:chOff x="6435724" y="5702300"/>
            <a:chExt cx="828675" cy="779463"/>
          </a:xfrm>
        </p:grpSpPr>
        <p:sp>
          <p:nvSpPr>
            <p:cNvPr id="315" name="Freeform 209"/>
            <p:cNvSpPr>
              <a:spLocks/>
            </p:cNvSpPr>
            <p:nvPr/>
          </p:nvSpPr>
          <p:spPr bwMode="auto">
            <a:xfrm>
              <a:off x="6435724" y="5702300"/>
              <a:ext cx="828675" cy="779463"/>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6" y="282"/>
                    <a:pt x="321" y="342"/>
                  </a:cubicBezTo>
                  <a:cubicBezTo>
                    <a:pt x="236" y="402"/>
                    <a:pt x="124" y="395"/>
                    <a:pt x="62" y="315"/>
                  </a:cubicBezTo>
                </a:path>
              </a:pathLst>
            </a:custGeom>
            <a:solidFill>
              <a:srgbClr val="4701A7"/>
            </a:solidFill>
            <a:ln>
              <a:noFill/>
            </a:ln>
          </p:spPr>
          <p:txBody>
            <a:bodyPr vert="horz" wrap="square" lIns="91440" tIns="45720" rIns="91440" bIns="45720" numCol="1" anchor="t" anchorCtr="0" compatLnSpc="1">
              <a:prstTxWarp prst="textNoShape">
                <a:avLst/>
              </a:prstTxWarp>
            </a:bodyPr>
            <a:lstStyle/>
            <a:p>
              <a:endParaRPr lang="en-US"/>
            </a:p>
          </p:txBody>
        </p:sp>
        <p:sp>
          <p:nvSpPr>
            <p:cNvPr id="316" name="Freeform 210"/>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317" name="Freeform 211"/>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212"/>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2" name="Group 601"/>
          <p:cNvGrpSpPr>
            <a:grpSpLocks noChangeAspect="1"/>
          </p:cNvGrpSpPr>
          <p:nvPr/>
        </p:nvGrpSpPr>
        <p:grpSpPr>
          <a:xfrm>
            <a:off x="7590453" y="5335009"/>
            <a:ext cx="844134" cy="795528"/>
            <a:chOff x="7639049" y="5702300"/>
            <a:chExt cx="827087" cy="779463"/>
          </a:xfrm>
        </p:grpSpPr>
        <p:sp>
          <p:nvSpPr>
            <p:cNvPr id="319" name="Freeform 213"/>
            <p:cNvSpPr>
              <a:spLocks/>
            </p:cNvSpPr>
            <p:nvPr/>
          </p:nvSpPr>
          <p:spPr bwMode="auto">
            <a:xfrm>
              <a:off x="7639049" y="5702300"/>
              <a:ext cx="827087" cy="779463"/>
            </a:xfrm>
            <a:custGeom>
              <a:avLst/>
              <a:gdLst>
                <a:gd name="T0" fmla="*/ 61 w 430"/>
                <a:gd name="T1" fmla="*/ 315 h 402"/>
                <a:gd name="T2" fmla="*/ 103 w 430"/>
                <a:gd name="T3" fmla="*/ 60 h 402"/>
                <a:gd name="T4" fmla="*/ 368 w 430"/>
                <a:gd name="T5" fmla="*/ 98 h 402"/>
                <a:gd name="T6" fmla="*/ 320 w 430"/>
                <a:gd name="T7" fmla="*/ 342 h 402"/>
                <a:gd name="T8" fmla="*/ 61 w 430"/>
                <a:gd name="T9" fmla="*/ 315 h 402"/>
              </a:gdLst>
              <a:ahLst/>
              <a:cxnLst>
                <a:cxn ang="0">
                  <a:pos x="T0" y="T1"/>
                </a:cxn>
                <a:cxn ang="0">
                  <a:pos x="T2" y="T3"/>
                </a:cxn>
                <a:cxn ang="0">
                  <a:pos x="T4" y="T5"/>
                </a:cxn>
                <a:cxn ang="0">
                  <a:pos x="T6" y="T7"/>
                </a:cxn>
                <a:cxn ang="0">
                  <a:pos x="T8" y="T9"/>
                </a:cxn>
              </a:cxnLst>
              <a:rect l="0" t="0" r="r" b="b"/>
              <a:pathLst>
                <a:path w="430" h="402">
                  <a:moveTo>
                    <a:pt x="61" y="315"/>
                  </a:moveTo>
                  <a:cubicBezTo>
                    <a:pt x="0" y="234"/>
                    <a:pt x="18" y="120"/>
                    <a:pt x="103" y="60"/>
                  </a:cubicBezTo>
                  <a:cubicBezTo>
                    <a:pt x="187" y="0"/>
                    <a:pt x="306" y="17"/>
                    <a:pt x="368" y="98"/>
                  </a:cubicBezTo>
                  <a:cubicBezTo>
                    <a:pt x="430" y="178"/>
                    <a:pt x="405" y="282"/>
                    <a:pt x="320" y="342"/>
                  </a:cubicBezTo>
                  <a:cubicBezTo>
                    <a:pt x="235" y="402"/>
                    <a:pt x="123" y="395"/>
                    <a:pt x="61" y="31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20" name="Freeform 214"/>
            <p:cNvSpPr>
              <a:spLocks/>
            </p:cNvSpPr>
            <p:nvPr/>
          </p:nvSpPr>
          <p:spPr bwMode="auto">
            <a:xfrm>
              <a:off x="7818437" y="5967413"/>
              <a:ext cx="488950" cy="273050"/>
            </a:xfrm>
            <a:custGeom>
              <a:avLst/>
              <a:gdLst>
                <a:gd name="T0" fmla="*/ 1 w 254"/>
                <a:gd name="T1" fmla="*/ 100 h 141"/>
                <a:gd name="T2" fmla="*/ 2 w 254"/>
                <a:gd name="T3" fmla="*/ 39 h 141"/>
                <a:gd name="T4" fmla="*/ 48 w 254"/>
                <a:gd name="T5" fmla="*/ 0 h 141"/>
                <a:gd name="T6" fmla="*/ 68 w 254"/>
                <a:gd name="T7" fmla="*/ 0 h 141"/>
                <a:gd name="T8" fmla="*/ 247 w 254"/>
                <a:gd name="T9" fmla="*/ 3 h 141"/>
                <a:gd name="T10" fmla="*/ 251 w 254"/>
                <a:gd name="T11" fmla="*/ 100 h 141"/>
                <a:gd name="T12" fmla="*/ 206 w 254"/>
                <a:gd name="T13" fmla="*/ 141 h 141"/>
                <a:gd name="T14" fmla="*/ 37 w 254"/>
                <a:gd name="T15" fmla="*/ 141 h 141"/>
                <a:gd name="T16" fmla="*/ 1 w 254"/>
                <a:gd name="T17" fmla="*/ 10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141">
                  <a:moveTo>
                    <a:pt x="1" y="100"/>
                  </a:moveTo>
                  <a:cubicBezTo>
                    <a:pt x="0" y="76"/>
                    <a:pt x="1" y="56"/>
                    <a:pt x="2" y="39"/>
                  </a:cubicBezTo>
                  <a:cubicBezTo>
                    <a:pt x="5" y="8"/>
                    <a:pt x="17" y="0"/>
                    <a:pt x="48" y="0"/>
                  </a:cubicBezTo>
                  <a:cubicBezTo>
                    <a:pt x="68" y="0"/>
                    <a:pt x="68" y="0"/>
                    <a:pt x="68" y="0"/>
                  </a:cubicBezTo>
                  <a:cubicBezTo>
                    <a:pt x="98" y="1"/>
                    <a:pt x="213" y="5"/>
                    <a:pt x="247" y="3"/>
                  </a:cubicBezTo>
                  <a:cubicBezTo>
                    <a:pt x="249" y="11"/>
                    <a:pt x="254" y="69"/>
                    <a:pt x="251" y="100"/>
                  </a:cubicBezTo>
                  <a:cubicBezTo>
                    <a:pt x="248" y="129"/>
                    <a:pt x="244" y="141"/>
                    <a:pt x="206" y="141"/>
                  </a:cubicBezTo>
                  <a:cubicBezTo>
                    <a:pt x="37" y="141"/>
                    <a:pt x="37" y="141"/>
                    <a:pt x="37" y="141"/>
                  </a:cubicBezTo>
                  <a:cubicBezTo>
                    <a:pt x="8" y="141"/>
                    <a:pt x="2" y="132"/>
                    <a:pt x="1" y="10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215"/>
            <p:cNvSpPr>
              <a:spLocks/>
            </p:cNvSpPr>
            <p:nvPr/>
          </p:nvSpPr>
          <p:spPr bwMode="auto">
            <a:xfrm>
              <a:off x="7864474" y="5989638"/>
              <a:ext cx="338137" cy="228600"/>
            </a:xfrm>
            <a:custGeom>
              <a:avLst/>
              <a:gdLst>
                <a:gd name="T0" fmla="*/ 176 w 176"/>
                <a:gd name="T1" fmla="*/ 116 h 118"/>
                <a:gd name="T2" fmla="*/ 173 w 176"/>
                <a:gd name="T3" fmla="*/ 4 h 118"/>
                <a:gd name="T4" fmla="*/ 4 w 176"/>
                <a:gd name="T5" fmla="*/ 3 h 118"/>
                <a:gd name="T6" fmla="*/ 3 w 176"/>
                <a:gd name="T7" fmla="*/ 117 h 118"/>
                <a:gd name="T8" fmla="*/ 176 w 176"/>
                <a:gd name="T9" fmla="*/ 116 h 118"/>
              </a:gdLst>
              <a:ahLst/>
              <a:cxnLst>
                <a:cxn ang="0">
                  <a:pos x="T0" y="T1"/>
                </a:cxn>
                <a:cxn ang="0">
                  <a:pos x="T2" y="T3"/>
                </a:cxn>
                <a:cxn ang="0">
                  <a:pos x="T4" y="T5"/>
                </a:cxn>
                <a:cxn ang="0">
                  <a:pos x="T6" y="T7"/>
                </a:cxn>
                <a:cxn ang="0">
                  <a:pos x="T8" y="T9"/>
                </a:cxn>
              </a:cxnLst>
              <a:rect l="0" t="0" r="r" b="b"/>
              <a:pathLst>
                <a:path w="176" h="118">
                  <a:moveTo>
                    <a:pt x="176" y="116"/>
                  </a:moveTo>
                  <a:cubicBezTo>
                    <a:pt x="173" y="4"/>
                    <a:pt x="173" y="4"/>
                    <a:pt x="173" y="4"/>
                  </a:cubicBezTo>
                  <a:cubicBezTo>
                    <a:pt x="173" y="4"/>
                    <a:pt x="63" y="0"/>
                    <a:pt x="4" y="3"/>
                  </a:cubicBezTo>
                  <a:cubicBezTo>
                    <a:pt x="1" y="37"/>
                    <a:pt x="0" y="83"/>
                    <a:pt x="3" y="117"/>
                  </a:cubicBezTo>
                  <a:cubicBezTo>
                    <a:pt x="82" y="118"/>
                    <a:pt x="176" y="116"/>
                    <a:pt x="176" y="11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22" name="Freeform 216"/>
            <p:cNvSpPr>
              <a:spLocks/>
            </p:cNvSpPr>
            <p:nvPr/>
          </p:nvSpPr>
          <p:spPr bwMode="auto">
            <a:xfrm>
              <a:off x="8224837" y="6081713"/>
              <a:ext cx="47625" cy="44450"/>
            </a:xfrm>
            <a:custGeom>
              <a:avLst/>
              <a:gdLst>
                <a:gd name="T0" fmla="*/ 25 w 25"/>
                <a:gd name="T1" fmla="*/ 12 h 23"/>
                <a:gd name="T2" fmla="*/ 12 w 25"/>
                <a:gd name="T3" fmla="*/ 23 h 23"/>
                <a:gd name="T4" fmla="*/ 0 w 25"/>
                <a:gd name="T5" fmla="*/ 12 h 23"/>
                <a:gd name="T6" fmla="*/ 13 w 25"/>
                <a:gd name="T7" fmla="*/ 0 h 23"/>
                <a:gd name="T8" fmla="*/ 25 w 25"/>
                <a:gd name="T9" fmla="*/ 12 h 23"/>
              </a:gdLst>
              <a:ahLst/>
              <a:cxnLst>
                <a:cxn ang="0">
                  <a:pos x="T0" y="T1"/>
                </a:cxn>
                <a:cxn ang="0">
                  <a:pos x="T2" y="T3"/>
                </a:cxn>
                <a:cxn ang="0">
                  <a:pos x="T4" y="T5"/>
                </a:cxn>
                <a:cxn ang="0">
                  <a:pos x="T6" y="T7"/>
                </a:cxn>
                <a:cxn ang="0">
                  <a:pos x="T8" y="T9"/>
                </a:cxn>
              </a:cxnLst>
              <a:rect l="0" t="0" r="r" b="b"/>
              <a:pathLst>
                <a:path w="25" h="23">
                  <a:moveTo>
                    <a:pt x="25" y="12"/>
                  </a:moveTo>
                  <a:cubicBezTo>
                    <a:pt x="24" y="19"/>
                    <a:pt x="19" y="23"/>
                    <a:pt x="12" y="23"/>
                  </a:cubicBezTo>
                  <a:cubicBezTo>
                    <a:pt x="5" y="23"/>
                    <a:pt x="0" y="18"/>
                    <a:pt x="0" y="12"/>
                  </a:cubicBezTo>
                  <a:cubicBezTo>
                    <a:pt x="1" y="5"/>
                    <a:pt x="7" y="0"/>
                    <a:pt x="13" y="0"/>
                  </a:cubicBezTo>
                  <a:cubicBezTo>
                    <a:pt x="20" y="0"/>
                    <a:pt x="25" y="6"/>
                    <a:pt x="25" y="12"/>
                  </a:cubicBezTo>
                </a:path>
              </a:pathLst>
            </a:custGeom>
            <a:solidFill>
              <a:srgbClr val="4E329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4" name="Group 603"/>
          <p:cNvGrpSpPr>
            <a:grpSpLocks noChangeAspect="1"/>
          </p:cNvGrpSpPr>
          <p:nvPr/>
        </p:nvGrpSpPr>
        <p:grpSpPr>
          <a:xfrm>
            <a:off x="10025062" y="5335009"/>
            <a:ext cx="844134" cy="795528"/>
            <a:chOff x="10044112" y="5702300"/>
            <a:chExt cx="827087" cy="779463"/>
          </a:xfrm>
        </p:grpSpPr>
        <p:sp>
          <p:nvSpPr>
            <p:cNvPr id="323" name="Freeform 217"/>
            <p:cNvSpPr>
              <a:spLocks/>
            </p:cNvSpPr>
            <p:nvPr/>
          </p:nvSpPr>
          <p:spPr bwMode="auto">
            <a:xfrm>
              <a:off x="10044112" y="5702300"/>
              <a:ext cx="827087" cy="779463"/>
            </a:xfrm>
            <a:custGeom>
              <a:avLst/>
              <a:gdLst>
                <a:gd name="T0" fmla="*/ 62 w 430"/>
                <a:gd name="T1" fmla="*/ 315 h 402"/>
                <a:gd name="T2" fmla="*/ 103 w 430"/>
                <a:gd name="T3" fmla="*/ 60 h 402"/>
                <a:gd name="T4" fmla="*/ 368 w 430"/>
                <a:gd name="T5" fmla="*/ 98 h 402"/>
                <a:gd name="T6" fmla="*/ 320 w 430"/>
                <a:gd name="T7" fmla="*/ 342 h 402"/>
                <a:gd name="T8" fmla="*/ 62 w 430"/>
                <a:gd name="T9" fmla="*/ 315 h 402"/>
              </a:gdLst>
              <a:ahLst/>
              <a:cxnLst>
                <a:cxn ang="0">
                  <a:pos x="T0" y="T1"/>
                </a:cxn>
                <a:cxn ang="0">
                  <a:pos x="T2" y="T3"/>
                </a:cxn>
                <a:cxn ang="0">
                  <a:pos x="T4" y="T5"/>
                </a:cxn>
                <a:cxn ang="0">
                  <a:pos x="T6" y="T7"/>
                </a:cxn>
                <a:cxn ang="0">
                  <a:pos x="T8" y="T9"/>
                </a:cxn>
              </a:cxnLst>
              <a:rect l="0" t="0" r="r" b="b"/>
              <a:pathLst>
                <a:path w="430" h="402">
                  <a:moveTo>
                    <a:pt x="62" y="315"/>
                  </a:moveTo>
                  <a:cubicBezTo>
                    <a:pt x="0" y="234"/>
                    <a:pt x="18" y="120"/>
                    <a:pt x="103" y="60"/>
                  </a:cubicBezTo>
                  <a:cubicBezTo>
                    <a:pt x="188" y="0"/>
                    <a:pt x="306" y="17"/>
                    <a:pt x="368" y="98"/>
                  </a:cubicBezTo>
                  <a:cubicBezTo>
                    <a:pt x="430" y="178"/>
                    <a:pt x="405" y="282"/>
                    <a:pt x="320" y="342"/>
                  </a:cubicBezTo>
                  <a:cubicBezTo>
                    <a:pt x="235" y="402"/>
                    <a:pt x="123" y="395"/>
                    <a:pt x="62" y="315"/>
                  </a:cubicBezTo>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a:p>
          </p:txBody>
        </p:sp>
        <p:sp>
          <p:nvSpPr>
            <p:cNvPr id="324" name="Oval 218"/>
            <p:cNvSpPr>
              <a:spLocks noChangeArrowheads="1"/>
            </p:cNvSpPr>
            <p:nvPr/>
          </p:nvSpPr>
          <p:spPr bwMode="auto">
            <a:xfrm>
              <a:off x="10213974" y="5876925"/>
              <a:ext cx="446087" cy="4492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25" name="Freeform 219"/>
            <p:cNvSpPr>
              <a:spLocks/>
            </p:cNvSpPr>
            <p:nvPr/>
          </p:nvSpPr>
          <p:spPr bwMode="auto">
            <a:xfrm>
              <a:off x="10436224" y="5827713"/>
              <a:ext cx="284162" cy="282575"/>
            </a:xfrm>
            <a:custGeom>
              <a:avLst/>
              <a:gdLst>
                <a:gd name="T0" fmla="*/ 127 w 148"/>
                <a:gd name="T1" fmla="*/ 110 h 146"/>
                <a:gd name="T2" fmla="*/ 18 w 148"/>
                <a:gd name="T3" fmla="*/ 140 h 146"/>
                <a:gd name="T4" fmla="*/ 6 w 148"/>
                <a:gd name="T5" fmla="*/ 128 h 146"/>
                <a:gd name="T6" fmla="*/ 39 w 148"/>
                <a:gd name="T7" fmla="*/ 7 h 146"/>
                <a:gd name="T8" fmla="*/ 41 w 148"/>
                <a:gd name="T9" fmla="*/ 0 h 146"/>
                <a:gd name="T10" fmla="*/ 103 w 148"/>
                <a:gd name="T11" fmla="*/ 43 h 146"/>
                <a:gd name="T12" fmla="*/ 136 w 148"/>
                <a:gd name="T13" fmla="*/ 90 h 146"/>
                <a:gd name="T14" fmla="*/ 127 w 148"/>
                <a:gd name="T15" fmla="*/ 110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46">
                  <a:moveTo>
                    <a:pt x="127" y="110"/>
                  </a:moveTo>
                  <a:cubicBezTo>
                    <a:pt x="18" y="140"/>
                    <a:pt x="18" y="140"/>
                    <a:pt x="18" y="140"/>
                  </a:cubicBezTo>
                  <a:cubicBezTo>
                    <a:pt x="18" y="140"/>
                    <a:pt x="0" y="146"/>
                    <a:pt x="6" y="128"/>
                  </a:cubicBezTo>
                  <a:cubicBezTo>
                    <a:pt x="39" y="7"/>
                    <a:pt x="39" y="7"/>
                    <a:pt x="39" y="7"/>
                  </a:cubicBezTo>
                  <a:cubicBezTo>
                    <a:pt x="41" y="0"/>
                    <a:pt x="41" y="0"/>
                    <a:pt x="41" y="0"/>
                  </a:cubicBezTo>
                  <a:cubicBezTo>
                    <a:pt x="41" y="0"/>
                    <a:pt x="67" y="7"/>
                    <a:pt x="103" y="43"/>
                  </a:cubicBezTo>
                  <a:cubicBezTo>
                    <a:pt x="122" y="62"/>
                    <a:pt x="136" y="90"/>
                    <a:pt x="136" y="90"/>
                  </a:cubicBezTo>
                  <a:cubicBezTo>
                    <a:pt x="136" y="90"/>
                    <a:pt x="148" y="107"/>
                    <a:pt x="127" y="11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220"/>
            <p:cNvSpPr>
              <a:spLocks/>
            </p:cNvSpPr>
            <p:nvPr/>
          </p:nvSpPr>
          <p:spPr bwMode="auto">
            <a:xfrm>
              <a:off x="10263187" y="5964238"/>
              <a:ext cx="149225" cy="274638"/>
            </a:xfrm>
            <a:custGeom>
              <a:avLst/>
              <a:gdLst>
                <a:gd name="T0" fmla="*/ 30 w 78"/>
                <a:gd name="T1" fmla="*/ 123 h 142"/>
                <a:gd name="T2" fmla="*/ 11 w 78"/>
                <a:gd name="T3" fmla="*/ 119 h 142"/>
                <a:gd name="T4" fmla="*/ 0 w 78"/>
                <a:gd name="T5" fmla="*/ 115 h 142"/>
                <a:gd name="T6" fmla="*/ 7 w 78"/>
                <a:gd name="T7" fmla="*/ 97 h 142"/>
                <a:gd name="T8" fmla="*/ 20 w 78"/>
                <a:gd name="T9" fmla="*/ 102 h 142"/>
                <a:gd name="T10" fmla="*/ 36 w 78"/>
                <a:gd name="T11" fmla="*/ 104 h 142"/>
                <a:gd name="T12" fmla="*/ 50 w 78"/>
                <a:gd name="T13" fmla="*/ 101 h 142"/>
                <a:gd name="T14" fmla="*/ 53 w 78"/>
                <a:gd name="T15" fmla="*/ 94 h 142"/>
                <a:gd name="T16" fmla="*/ 52 w 78"/>
                <a:gd name="T17" fmla="*/ 89 h 142"/>
                <a:gd name="T18" fmla="*/ 48 w 78"/>
                <a:gd name="T19" fmla="*/ 85 h 142"/>
                <a:gd name="T20" fmla="*/ 41 w 78"/>
                <a:gd name="T21" fmla="*/ 81 h 142"/>
                <a:gd name="T22" fmla="*/ 31 w 78"/>
                <a:gd name="T23" fmla="*/ 78 h 142"/>
                <a:gd name="T24" fmla="*/ 21 w 78"/>
                <a:gd name="T25" fmla="*/ 73 h 142"/>
                <a:gd name="T26" fmla="*/ 12 w 78"/>
                <a:gd name="T27" fmla="*/ 68 h 142"/>
                <a:gd name="T28" fmla="*/ 5 w 78"/>
                <a:gd name="T29" fmla="*/ 59 h 142"/>
                <a:gd name="T30" fmla="*/ 3 w 78"/>
                <a:gd name="T31" fmla="*/ 48 h 142"/>
                <a:gd name="T32" fmla="*/ 4 w 78"/>
                <a:gd name="T33" fmla="*/ 37 h 142"/>
                <a:gd name="T34" fmla="*/ 9 w 78"/>
                <a:gd name="T35" fmla="*/ 28 h 142"/>
                <a:gd name="T36" fmla="*/ 17 w 78"/>
                <a:gd name="T37" fmla="*/ 22 h 142"/>
                <a:gd name="T38" fmla="*/ 30 w 78"/>
                <a:gd name="T39" fmla="*/ 18 h 142"/>
                <a:gd name="T40" fmla="*/ 30 w 78"/>
                <a:gd name="T41" fmla="*/ 0 h 142"/>
                <a:gd name="T42" fmla="*/ 50 w 78"/>
                <a:gd name="T43" fmla="*/ 0 h 142"/>
                <a:gd name="T44" fmla="*/ 50 w 78"/>
                <a:gd name="T45" fmla="*/ 17 h 142"/>
                <a:gd name="T46" fmla="*/ 64 w 78"/>
                <a:gd name="T47" fmla="*/ 19 h 142"/>
                <a:gd name="T48" fmla="*/ 74 w 78"/>
                <a:gd name="T49" fmla="*/ 23 h 142"/>
                <a:gd name="T50" fmla="*/ 69 w 78"/>
                <a:gd name="T51" fmla="*/ 42 h 142"/>
                <a:gd name="T52" fmla="*/ 56 w 78"/>
                <a:gd name="T53" fmla="*/ 38 h 142"/>
                <a:gd name="T54" fmla="*/ 42 w 78"/>
                <a:gd name="T55" fmla="*/ 36 h 142"/>
                <a:gd name="T56" fmla="*/ 31 w 78"/>
                <a:gd name="T57" fmla="*/ 39 h 142"/>
                <a:gd name="T58" fmla="*/ 27 w 78"/>
                <a:gd name="T59" fmla="*/ 46 h 142"/>
                <a:gd name="T60" fmla="*/ 28 w 78"/>
                <a:gd name="T61" fmla="*/ 50 h 142"/>
                <a:gd name="T62" fmla="*/ 32 w 78"/>
                <a:gd name="T63" fmla="*/ 53 h 142"/>
                <a:gd name="T64" fmla="*/ 37 w 78"/>
                <a:gd name="T65" fmla="*/ 56 h 142"/>
                <a:gd name="T66" fmla="*/ 45 w 78"/>
                <a:gd name="T67" fmla="*/ 59 h 142"/>
                <a:gd name="T68" fmla="*/ 58 w 78"/>
                <a:gd name="T69" fmla="*/ 65 h 142"/>
                <a:gd name="T70" fmla="*/ 69 w 78"/>
                <a:gd name="T71" fmla="*/ 72 h 142"/>
                <a:gd name="T72" fmla="*/ 75 w 78"/>
                <a:gd name="T73" fmla="*/ 81 h 142"/>
                <a:gd name="T74" fmla="*/ 78 w 78"/>
                <a:gd name="T75" fmla="*/ 93 h 142"/>
                <a:gd name="T76" fmla="*/ 77 w 78"/>
                <a:gd name="T77" fmla="*/ 103 h 142"/>
                <a:gd name="T78" fmla="*/ 72 w 78"/>
                <a:gd name="T79" fmla="*/ 112 h 142"/>
                <a:gd name="T80" fmla="*/ 63 w 78"/>
                <a:gd name="T81" fmla="*/ 118 h 142"/>
                <a:gd name="T82" fmla="*/ 50 w 78"/>
                <a:gd name="T83" fmla="*/ 123 h 142"/>
                <a:gd name="T84" fmla="*/ 50 w 78"/>
                <a:gd name="T85" fmla="*/ 142 h 142"/>
                <a:gd name="T86" fmla="*/ 30 w 78"/>
                <a:gd name="T87" fmla="*/ 142 h 142"/>
                <a:gd name="T88" fmla="*/ 30 w 78"/>
                <a:gd name="T89" fmla="*/ 12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142">
                  <a:moveTo>
                    <a:pt x="30" y="123"/>
                  </a:moveTo>
                  <a:cubicBezTo>
                    <a:pt x="22" y="122"/>
                    <a:pt x="15" y="121"/>
                    <a:pt x="11" y="119"/>
                  </a:cubicBezTo>
                  <a:cubicBezTo>
                    <a:pt x="6" y="118"/>
                    <a:pt x="2" y="116"/>
                    <a:pt x="0" y="115"/>
                  </a:cubicBezTo>
                  <a:cubicBezTo>
                    <a:pt x="7" y="97"/>
                    <a:pt x="7" y="97"/>
                    <a:pt x="7" y="97"/>
                  </a:cubicBezTo>
                  <a:cubicBezTo>
                    <a:pt x="10" y="98"/>
                    <a:pt x="15" y="100"/>
                    <a:pt x="20" y="102"/>
                  </a:cubicBezTo>
                  <a:cubicBezTo>
                    <a:pt x="25" y="103"/>
                    <a:pt x="31" y="104"/>
                    <a:pt x="36" y="104"/>
                  </a:cubicBezTo>
                  <a:cubicBezTo>
                    <a:pt x="43" y="104"/>
                    <a:pt x="47" y="103"/>
                    <a:pt x="50" y="101"/>
                  </a:cubicBezTo>
                  <a:cubicBezTo>
                    <a:pt x="52" y="99"/>
                    <a:pt x="53" y="97"/>
                    <a:pt x="53" y="94"/>
                  </a:cubicBezTo>
                  <a:cubicBezTo>
                    <a:pt x="53" y="92"/>
                    <a:pt x="53" y="90"/>
                    <a:pt x="52" y="89"/>
                  </a:cubicBezTo>
                  <a:cubicBezTo>
                    <a:pt x="51" y="87"/>
                    <a:pt x="50" y="86"/>
                    <a:pt x="48" y="85"/>
                  </a:cubicBezTo>
                  <a:cubicBezTo>
                    <a:pt x="46" y="83"/>
                    <a:pt x="44" y="82"/>
                    <a:pt x="41" y="81"/>
                  </a:cubicBezTo>
                  <a:cubicBezTo>
                    <a:pt x="38" y="80"/>
                    <a:pt x="35" y="79"/>
                    <a:pt x="31" y="78"/>
                  </a:cubicBezTo>
                  <a:cubicBezTo>
                    <a:pt x="28" y="76"/>
                    <a:pt x="24" y="75"/>
                    <a:pt x="21" y="73"/>
                  </a:cubicBezTo>
                  <a:cubicBezTo>
                    <a:pt x="18" y="72"/>
                    <a:pt x="15" y="70"/>
                    <a:pt x="12" y="68"/>
                  </a:cubicBezTo>
                  <a:cubicBezTo>
                    <a:pt x="9" y="65"/>
                    <a:pt x="7" y="63"/>
                    <a:pt x="5" y="59"/>
                  </a:cubicBezTo>
                  <a:cubicBezTo>
                    <a:pt x="4" y="56"/>
                    <a:pt x="3" y="52"/>
                    <a:pt x="3" y="48"/>
                  </a:cubicBezTo>
                  <a:cubicBezTo>
                    <a:pt x="3" y="44"/>
                    <a:pt x="3" y="41"/>
                    <a:pt x="4" y="37"/>
                  </a:cubicBezTo>
                  <a:cubicBezTo>
                    <a:pt x="5" y="34"/>
                    <a:pt x="7" y="31"/>
                    <a:pt x="9" y="28"/>
                  </a:cubicBezTo>
                  <a:cubicBezTo>
                    <a:pt x="11" y="26"/>
                    <a:pt x="14" y="24"/>
                    <a:pt x="17" y="22"/>
                  </a:cubicBezTo>
                  <a:cubicBezTo>
                    <a:pt x="21" y="20"/>
                    <a:pt x="25" y="18"/>
                    <a:pt x="30" y="18"/>
                  </a:cubicBezTo>
                  <a:cubicBezTo>
                    <a:pt x="30" y="0"/>
                    <a:pt x="30" y="0"/>
                    <a:pt x="30" y="0"/>
                  </a:cubicBezTo>
                  <a:cubicBezTo>
                    <a:pt x="50" y="0"/>
                    <a:pt x="50" y="0"/>
                    <a:pt x="50" y="0"/>
                  </a:cubicBezTo>
                  <a:cubicBezTo>
                    <a:pt x="50" y="17"/>
                    <a:pt x="50" y="17"/>
                    <a:pt x="50" y="17"/>
                  </a:cubicBezTo>
                  <a:cubicBezTo>
                    <a:pt x="55" y="17"/>
                    <a:pt x="60" y="18"/>
                    <a:pt x="64" y="19"/>
                  </a:cubicBezTo>
                  <a:cubicBezTo>
                    <a:pt x="68" y="20"/>
                    <a:pt x="71" y="21"/>
                    <a:pt x="74" y="23"/>
                  </a:cubicBezTo>
                  <a:cubicBezTo>
                    <a:pt x="69" y="42"/>
                    <a:pt x="69" y="42"/>
                    <a:pt x="69" y="42"/>
                  </a:cubicBezTo>
                  <a:cubicBezTo>
                    <a:pt x="65" y="40"/>
                    <a:pt x="61" y="39"/>
                    <a:pt x="56" y="38"/>
                  </a:cubicBezTo>
                  <a:cubicBezTo>
                    <a:pt x="52" y="37"/>
                    <a:pt x="47" y="36"/>
                    <a:pt x="42" y="36"/>
                  </a:cubicBezTo>
                  <a:cubicBezTo>
                    <a:pt x="37" y="36"/>
                    <a:pt x="33" y="37"/>
                    <a:pt x="31" y="39"/>
                  </a:cubicBezTo>
                  <a:cubicBezTo>
                    <a:pt x="28" y="41"/>
                    <a:pt x="27" y="43"/>
                    <a:pt x="27" y="46"/>
                  </a:cubicBezTo>
                  <a:cubicBezTo>
                    <a:pt x="27" y="47"/>
                    <a:pt x="28" y="49"/>
                    <a:pt x="28" y="50"/>
                  </a:cubicBezTo>
                  <a:cubicBezTo>
                    <a:pt x="29" y="51"/>
                    <a:pt x="30" y="52"/>
                    <a:pt x="32" y="53"/>
                  </a:cubicBezTo>
                  <a:cubicBezTo>
                    <a:pt x="33" y="54"/>
                    <a:pt x="35" y="55"/>
                    <a:pt x="37" y="56"/>
                  </a:cubicBezTo>
                  <a:cubicBezTo>
                    <a:pt x="39" y="57"/>
                    <a:pt x="42" y="58"/>
                    <a:pt x="45" y="59"/>
                  </a:cubicBezTo>
                  <a:cubicBezTo>
                    <a:pt x="50" y="61"/>
                    <a:pt x="54" y="63"/>
                    <a:pt x="58" y="65"/>
                  </a:cubicBezTo>
                  <a:cubicBezTo>
                    <a:pt x="62" y="67"/>
                    <a:pt x="66" y="69"/>
                    <a:pt x="69" y="72"/>
                  </a:cubicBezTo>
                  <a:cubicBezTo>
                    <a:pt x="72" y="74"/>
                    <a:pt x="74" y="77"/>
                    <a:pt x="75" y="81"/>
                  </a:cubicBezTo>
                  <a:cubicBezTo>
                    <a:pt x="77" y="84"/>
                    <a:pt x="78" y="89"/>
                    <a:pt x="78" y="93"/>
                  </a:cubicBezTo>
                  <a:cubicBezTo>
                    <a:pt x="78" y="96"/>
                    <a:pt x="77" y="100"/>
                    <a:pt x="77" y="103"/>
                  </a:cubicBezTo>
                  <a:cubicBezTo>
                    <a:pt x="76" y="106"/>
                    <a:pt x="74" y="109"/>
                    <a:pt x="72" y="112"/>
                  </a:cubicBezTo>
                  <a:cubicBezTo>
                    <a:pt x="69" y="114"/>
                    <a:pt x="67" y="116"/>
                    <a:pt x="63" y="118"/>
                  </a:cubicBezTo>
                  <a:cubicBezTo>
                    <a:pt x="59" y="120"/>
                    <a:pt x="55" y="122"/>
                    <a:pt x="50" y="123"/>
                  </a:cubicBezTo>
                  <a:cubicBezTo>
                    <a:pt x="50" y="142"/>
                    <a:pt x="50" y="142"/>
                    <a:pt x="50" y="142"/>
                  </a:cubicBezTo>
                  <a:cubicBezTo>
                    <a:pt x="30" y="142"/>
                    <a:pt x="30" y="142"/>
                    <a:pt x="30" y="142"/>
                  </a:cubicBezTo>
                  <a:lnTo>
                    <a:pt x="30" y="123"/>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97" name="Group 596"/>
          <p:cNvGrpSpPr>
            <a:grpSpLocks noChangeAspect="1"/>
          </p:cNvGrpSpPr>
          <p:nvPr/>
        </p:nvGrpSpPr>
        <p:grpSpPr>
          <a:xfrm>
            <a:off x="1573345" y="5335009"/>
            <a:ext cx="846337" cy="795528"/>
            <a:chOff x="1579562" y="5616575"/>
            <a:chExt cx="925512" cy="869950"/>
          </a:xfrm>
        </p:grpSpPr>
        <p:sp>
          <p:nvSpPr>
            <p:cNvPr id="334" name="Freeform 228"/>
            <p:cNvSpPr>
              <a:spLocks/>
            </p:cNvSpPr>
            <p:nvPr/>
          </p:nvSpPr>
          <p:spPr bwMode="auto">
            <a:xfrm>
              <a:off x="1579562" y="5616575"/>
              <a:ext cx="925512" cy="869950"/>
            </a:xfrm>
            <a:custGeom>
              <a:avLst/>
              <a:gdLst>
                <a:gd name="T0" fmla="*/ 69 w 481"/>
                <a:gd name="T1" fmla="*/ 351 h 449"/>
                <a:gd name="T2" fmla="*/ 115 w 481"/>
                <a:gd name="T3" fmla="*/ 66 h 449"/>
                <a:gd name="T4" fmla="*/ 412 w 481"/>
                <a:gd name="T5" fmla="*/ 108 h 449"/>
                <a:gd name="T6" fmla="*/ 358 w 481"/>
                <a:gd name="T7" fmla="*/ 382 h 449"/>
                <a:gd name="T8" fmla="*/ 69 w 481"/>
                <a:gd name="T9" fmla="*/ 351 h 449"/>
              </a:gdLst>
              <a:ahLst/>
              <a:cxnLst>
                <a:cxn ang="0">
                  <a:pos x="T0" y="T1"/>
                </a:cxn>
                <a:cxn ang="0">
                  <a:pos x="T2" y="T3"/>
                </a:cxn>
                <a:cxn ang="0">
                  <a:pos x="T4" y="T5"/>
                </a:cxn>
                <a:cxn ang="0">
                  <a:pos x="T6" y="T7"/>
                </a:cxn>
                <a:cxn ang="0">
                  <a:pos x="T8" y="T9"/>
                </a:cxn>
              </a:cxnLst>
              <a:rect l="0" t="0" r="r" b="b"/>
              <a:pathLst>
                <a:path w="481" h="449">
                  <a:moveTo>
                    <a:pt x="69" y="351"/>
                  </a:moveTo>
                  <a:cubicBezTo>
                    <a:pt x="0" y="261"/>
                    <a:pt x="21" y="133"/>
                    <a:pt x="115" y="66"/>
                  </a:cubicBezTo>
                  <a:cubicBezTo>
                    <a:pt x="210" y="0"/>
                    <a:pt x="343" y="18"/>
                    <a:pt x="412" y="108"/>
                  </a:cubicBezTo>
                  <a:cubicBezTo>
                    <a:pt x="481" y="198"/>
                    <a:pt x="452" y="315"/>
                    <a:pt x="358" y="382"/>
                  </a:cubicBezTo>
                  <a:cubicBezTo>
                    <a:pt x="263" y="449"/>
                    <a:pt x="138" y="441"/>
                    <a:pt x="69" y="351"/>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35" name="Freeform 229"/>
            <p:cNvSpPr>
              <a:spLocks noEditPoints="1"/>
            </p:cNvSpPr>
            <p:nvPr/>
          </p:nvSpPr>
          <p:spPr bwMode="auto">
            <a:xfrm>
              <a:off x="1863725" y="5843588"/>
              <a:ext cx="350837" cy="346075"/>
            </a:xfrm>
            <a:custGeom>
              <a:avLst/>
              <a:gdLst>
                <a:gd name="T0" fmla="*/ 178 w 183"/>
                <a:gd name="T1" fmla="*/ 76 h 179"/>
                <a:gd name="T2" fmla="*/ 169 w 183"/>
                <a:gd name="T3" fmla="*/ 49 h 179"/>
                <a:gd name="T4" fmla="*/ 152 w 183"/>
                <a:gd name="T5" fmla="*/ 27 h 179"/>
                <a:gd name="T6" fmla="*/ 132 w 183"/>
                <a:gd name="T7" fmla="*/ 12 h 179"/>
                <a:gd name="T8" fmla="*/ 105 w 183"/>
                <a:gd name="T9" fmla="*/ 3 h 179"/>
                <a:gd name="T10" fmla="*/ 78 w 183"/>
                <a:gd name="T11" fmla="*/ 3 h 179"/>
                <a:gd name="T12" fmla="*/ 52 w 183"/>
                <a:gd name="T13" fmla="*/ 12 h 179"/>
                <a:gd name="T14" fmla="*/ 30 w 183"/>
                <a:gd name="T15" fmla="*/ 28 h 179"/>
                <a:gd name="T16" fmla="*/ 14 w 183"/>
                <a:gd name="T17" fmla="*/ 49 h 179"/>
                <a:gd name="T18" fmla="*/ 6 w 183"/>
                <a:gd name="T19" fmla="*/ 76 h 179"/>
                <a:gd name="T20" fmla="*/ 4 w 183"/>
                <a:gd name="T21" fmla="*/ 78 h 179"/>
                <a:gd name="T22" fmla="*/ 4 w 183"/>
                <a:gd name="T23" fmla="*/ 100 h 179"/>
                <a:gd name="T24" fmla="*/ 7 w 183"/>
                <a:gd name="T25" fmla="*/ 105 h 179"/>
                <a:gd name="T26" fmla="*/ 15 w 183"/>
                <a:gd name="T27" fmla="*/ 128 h 179"/>
                <a:gd name="T28" fmla="*/ 31 w 183"/>
                <a:gd name="T29" fmla="*/ 151 h 179"/>
                <a:gd name="T30" fmla="*/ 52 w 183"/>
                <a:gd name="T31" fmla="*/ 166 h 179"/>
                <a:gd name="T32" fmla="*/ 79 w 183"/>
                <a:gd name="T33" fmla="*/ 175 h 179"/>
                <a:gd name="T34" fmla="*/ 105 w 183"/>
                <a:gd name="T35" fmla="*/ 175 h 179"/>
                <a:gd name="T36" fmla="*/ 131 w 183"/>
                <a:gd name="T37" fmla="*/ 167 h 179"/>
                <a:gd name="T38" fmla="*/ 154 w 183"/>
                <a:gd name="T39" fmla="*/ 150 h 179"/>
                <a:gd name="T40" fmla="*/ 169 w 183"/>
                <a:gd name="T41" fmla="*/ 131 h 179"/>
                <a:gd name="T42" fmla="*/ 170 w 183"/>
                <a:gd name="T43" fmla="*/ 124 h 179"/>
                <a:gd name="T44" fmla="*/ 175 w 183"/>
                <a:gd name="T45" fmla="*/ 107 h 179"/>
                <a:gd name="T46" fmla="*/ 180 w 183"/>
                <a:gd name="T47" fmla="*/ 99 h 179"/>
                <a:gd name="T48" fmla="*/ 183 w 183"/>
                <a:gd name="T49" fmla="*/ 89 h 179"/>
                <a:gd name="T50" fmla="*/ 178 w 183"/>
                <a:gd name="T51" fmla="*/ 76 h 179"/>
                <a:gd name="T52" fmla="*/ 131 w 183"/>
                <a:gd name="T53" fmla="*/ 140 h 179"/>
                <a:gd name="T54" fmla="*/ 37 w 183"/>
                <a:gd name="T55" fmla="*/ 130 h 179"/>
                <a:gd name="T56" fmla="*/ 52 w 183"/>
                <a:gd name="T57" fmla="*/ 37 h 179"/>
                <a:gd name="T58" fmla="*/ 148 w 183"/>
                <a:gd name="T59" fmla="*/ 51 h 179"/>
                <a:gd name="T60" fmla="*/ 131 w 183"/>
                <a:gd name="T61" fmla="*/ 14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 h="179">
                  <a:moveTo>
                    <a:pt x="178" y="76"/>
                  </a:moveTo>
                  <a:cubicBezTo>
                    <a:pt x="172" y="68"/>
                    <a:pt x="169" y="59"/>
                    <a:pt x="169" y="49"/>
                  </a:cubicBezTo>
                  <a:cubicBezTo>
                    <a:pt x="169" y="38"/>
                    <a:pt x="163" y="31"/>
                    <a:pt x="152" y="27"/>
                  </a:cubicBezTo>
                  <a:cubicBezTo>
                    <a:pt x="144" y="25"/>
                    <a:pt x="137" y="20"/>
                    <a:pt x="132" y="12"/>
                  </a:cubicBezTo>
                  <a:cubicBezTo>
                    <a:pt x="125" y="2"/>
                    <a:pt x="116" y="0"/>
                    <a:pt x="105" y="3"/>
                  </a:cubicBezTo>
                  <a:cubicBezTo>
                    <a:pt x="96" y="7"/>
                    <a:pt x="87" y="6"/>
                    <a:pt x="78" y="3"/>
                  </a:cubicBezTo>
                  <a:cubicBezTo>
                    <a:pt x="68" y="0"/>
                    <a:pt x="59" y="3"/>
                    <a:pt x="52" y="12"/>
                  </a:cubicBezTo>
                  <a:cubicBezTo>
                    <a:pt x="47" y="20"/>
                    <a:pt x="39" y="25"/>
                    <a:pt x="30" y="28"/>
                  </a:cubicBezTo>
                  <a:cubicBezTo>
                    <a:pt x="20" y="31"/>
                    <a:pt x="14" y="38"/>
                    <a:pt x="14" y="49"/>
                  </a:cubicBezTo>
                  <a:cubicBezTo>
                    <a:pt x="15" y="59"/>
                    <a:pt x="12" y="68"/>
                    <a:pt x="6" y="76"/>
                  </a:cubicBezTo>
                  <a:cubicBezTo>
                    <a:pt x="5" y="77"/>
                    <a:pt x="5" y="78"/>
                    <a:pt x="4" y="78"/>
                  </a:cubicBezTo>
                  <a:cubicBezTo>
                    <a:pt x="0" y="86"/>
                    <a:pt x="0" y="93"/>
                    <a:pt x="4" y="100"/>
                  </a:cubicBezTo>
                  <a:cubicBezTo>
                    <a:pt x="5" y="102"/>
                    <a:pt x="6" y="103"/>
                    <a:pt x="7" y="105"/>
                  </a:cubicBezTo>
                  <a:cubicBezTo>
                    <a:pt x="13" y="112"/>
                    <a:pt x="14" y="119"/>
                    <a:pt x="15" y="128"/>
                  </a:cubicBezTo>
                  <a:cubicBezTo>
                    <a:pt x="15" y="141"/>
                    <a:pt x="19" y="146"/>
                    <a:pt x="31" y="151"/>
                  </a:cubicBezTo>
                  <a:cubicBezTo>
                    <a:pt x="40" y="154"/>
                    <a:pt x="47" y="159"/>
                    <a:pt x="52" y="166"/>
                  </a:cubicBezTo>
                  <a:cubicBezTo>
                    <a:pt x="59" y="176"/>
                    <a:pt x="68" y="179"/>
                    <a:pt x="79" y="175"/>
                  </a:cubicBezTo>
                  <a:cubicBezTo>
                    <a:pt x="88" y="172"/>
                    <a:pt x="96" y="172"/>
                    <a:pt x="105" y="175"/>
                  </a:cubicBezTo>
                  <a:cubicBezTo>
                    <a:pt x="116" y="178"/>
                    <a:pt x="125" y="176"/>
                    <a:pt x="131" y="167"/>
                  </a:cubicBezTo>
                  <a:cubicBezTo>
                    <a:pt x="137" y="158"/>
                    <a:pt x="145" y="153"/>
                    <a:pt x="154" y="150"/>
                  </a:cubicBezTo>
                  <a:cubicBezTo>
                    <a:pt x="163" y="147"/>
                    <a:pt x="169" y="141"/>
                    <a:pt x="169" y="131"/>
                  </a:cubicBezTo>
                  <a:cubicBezTo>
                    <a:pt x="169" y="129"/>
                    <a:pt x="170" y="126"/>
                    <a:pt x="170" y="124"/>
                  </a:cubicBezTo>
                  <a:cubicBezTo>
                    <a:pt x="170" y="118"/>
                    <a:pt x="171" y="112"/>
                    <a:pt x="175" y="107"/>
                  </a:cubicBezTo>
                  <a:cubicBezTo>
                    <a:pt x="177" y="104"/>
                    <a:pt x="179" y="101"/>
                    <a:pt x="180" y="99"/>
                  </a:cubicBezTo>
                  <a:cubicBezTo>
                    <a:pt x="181" y="96"/>
                    <a:pt x="182" y="92"/>
                    <a:pt x="183" y="89"/>
                  </a:cubicBezTo>
                  <a:cubicBezTo>
                    <a:pt x="183" y="84"/>
                    <a:pt x="181" y="80"/>
                    <a:pt x="178" y="76"/>
                  </a:cubicBezTo>
                  <a:close/>
                  <a:moveTo>
                    <a:pt x="131" y="140"/>
                  </a:moveTo>
                  <a:cubicBezTo>
                    <a:pt x="100" y="162"/>
                    <a:pt x="59" y="159"/>
                    <a:pt x="37" y="130"/>
                  </a:cubicBezTo>
                  <a:cubicBezTo>
                    <a:pt x="14" y="100"/>
                    <a:pt x="21" y="59"/>
                    <a:pt x="52" y="37"/>
                  </a:cubicBezTo>
                  <a:cubicBezTo>
                    <a:pt x="83" y="15"/>
                    <a:pt x="126" y="21"/>
                    <a:pt x="148" y="51"/>
                  </a:cubicBezTo>
                  <a:cubicBezTo>
                    <a:pt x="171" y="80"/>
                    <a:pt x="162" y="118"/>
                    <a:pt x="131" y="140"/>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a:p>
          </p:txBody>
        </p:sp>
        <p:sp>
          <p:nvSpPr>
            <p:cNvPr id="336" name="Freeform 230"/>
            <p:cNvSpPr>
              <a:spLocks/>
            </p:cNvSpPr>
            <p:nvPr/>
          </p:nvSpPr>
          <p:spPr bwMode="auto">
            <a:xfrm>
              <a:off x="2052637" y="6183313"/>
              <a:ext cx="127000" cy="138113"/>
            </a:xfrm>
            <a:custGeom>
              <a:avLst/>
              <a:gdLst>
                <a:gd name="T0" fmla="*/ 23 w 66"/>
                <a:gd name="T1" fmla="*/ 71 h 72"/>
                <a:gd name="T2" fmla="*/ 26 w 66"/>
                <a:gd name="T3" fmla="*/ 71 h 72"/>
                <a:gd name="T4" fmla="*/ 26 w 66"/>
                <a:gd name="T5" fmla="*/ 71 h 72"/>
                <a:gd name="T6" fmla="*/ 40 w 66"/>
                <a:gd name="T7" fmla="*/ 53 h 72"/>
                <a:gd name="T8" fmla="*/ 44 w 66"/>
                <a:gd name="T9" fmla="*/ 50 h 72"/>
                <a:gd name="T10" fmla="*/ 66 w 66"/>
                <a:gd name="T11" fmla="*/ 50 h 72"/>
                <a:gd name="T12" fmla="*/ 66 w 66"/>
                <a:gd name="T13" fmla="*/ 50 h 72"/>
                <a:gd name="T14" fmla="*/ 45 w 66"/>
                <a:gd name="T15" fmla="*/ 4 h 72"/>
                <a:gd name="T16" fmla="*/ 45 w 66"/>
                <a:gd name="T17" fmla="*/ 4 h 72"/>
                <a:gd name="T18" fmla="*/ 35 w 66"/>
                <a:gd name="T19" fmla="*/ 1 h 72"/>
                <a:gd name="T20" fmla="*/ 29 w 66"/>
                <a:gd name="T21" fmla="*/ 3 h 72"/>
                <a:gd name="T22" fmla="*/ 24 w 66"/>
                <a:gd name="T23" fmla="*/ 5 h 72"/>
                <a:gd name="T24" fmla="*/ 21 w 66"/>
                <a:gd name="T25" fmla="*/ 7 h 72"/>
                <a:gd name="T26" fmla="*/ 20 w 66"/>
                <a:gd name="T27" fmla="*/ 8 h 72"/>
                <a:gd name="T28" fmla="*/ 18 w 66"/>
                <a:gd name="T29" fmla="*/ 9 h 72"/>
                <a:gd name="T30" fmla="*/ 11 w 66"/>
                <a:gd name="T31" fmla="*/ 13 h 72"/>
                <a:gd name="T32" fmla="*/ 1 w 66"/>
                <a:gd name="T33" fmla="*/ 19 h 72"/>
                <a:gd name="T34" fmla="*/ 21 w 66"/>
                <a:gd name="T35" fmla="*/ 67 h 72"/>
                <a:gd name="T36" fmla="*/ 23 w 66"/>
                <a:gd name="T3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72">
                  <a:moveTo>
                    <a:pt x="23" y="71"/>
                  </a:moveTo>
                  <a:cubicBezTo>
                    <a:pt x="24" y="72"/>
                    <a:pt x="26" y="72"/>
                    <a:pt x="26" y="71"/>
                  </a:cubicBezTo>
                  <a:cubicBezTo>
                    <a:pt x="26" y="71"/>
                    <a:pt x="26" y="71"/>
                    <a:pt x="26" y="71"/>
                  </a:cubicBezTo>
                  <a:cubicBezTo>
                    <a:pt x="31" y="65"/>
                    <a:pt x="35" y="59"/>
                    <a:pt x="40" y="53"/>
                  </a:cubicBezTo>
                  <a:cubicBezTo>
                    <a:pt x="41" y="51"/>
                    <a:pt x="42" y="51"/>
                    <a:pt x="44" y="50"/>
                  </a:cubicBezTo>
                  <a:cubicBezTo>
                    <a:pt x="51" y="50"/>
                    <a:pt x="59" y="50"/>
                    <a:pt x="66" y="50"/>
                  </a:cubicBezTo>
                  <a:cubicBezTo>
                    <a:pt x="66" y="50"/>
                    <a:pt x="66" y="50"/>
                    <a:pt x="66" y="50"/>
                  </a:cubicBezTo>
                  <a:cubicBezTo>
                    <a:pt x="59" y="35"/>
                    <a:pt x="52" y="20"/>
                    <a:pt x="45" y="4"/>
                  </a:cubicBezTo>
                  <a:cubicBezTo>
                    <a:pt x="45" y="4"/>
                    <a:pt x="45" y="4"/>
                    <a:pt x="45" y="4"/>
                  </a:cubicBezTo>
                  <a:cubicBezTo>
                    <a:pt x="42" y="2"/>
                    <a:pt x="39" y="0"/>
                    <a:pt x="35" y="1"/>
                  </a:cubicBezTo>
                  <a:cubicBezTo>
                    <a:pt x="33" y="2"/>
                    <a:pt x="31" y="2"/>
                    <a:pt x="29" y="3"/>
                  </a:cubicBezTo>
                  <a:cubicBezTo>
                    <a:pt x="27" y="4"/>
                    <a:pt x="25" y="5"/>
                    <a:pt x="24" y="5"/>
                  </a:cubicBezTo>
                  <a:cubicBezTo>
                    <a:pt x="23" y="6"/>
                    <a:pt x="22" y="6"/>
                    <a:pt x="21" y="7"/>
                  </a:cubicBezTo>
                  <a:cubicBezTo>
                    <a:pt x="21" y="7"/>
                    <a:pt x="20" y="7"/>
                    <a:pt x="20" y="8"/>
                  </a:cubicBezTo>
                  <a:cubicBezTo>
                    <a:pt x="19" y="8"/>
                    <a:pt x="18" y="8"/>
                    <a:pt x="18" y="9"/>
                  </a:cubicBezTo>
                  <a:cubicBezTo>
                    <a:pt x="15" y="10"/>
                    <a:pt x="13" y="11"/>
                    <a:pt x="11" y="13"/>
                  </a:cubicBezTo>
                  <a:cubicBezTo>
                    <a:pt x="7" y="15"/>
                    <a:pt x="4" y="17"/>
                    <a:pt x="1" y="19"/>
                  </a:cubicBezTo>
                  <a:cubicBezTo>
                    <a:pt x="0" y="20"/>
                    <a:pt x="14" y="52"/>
                    <a:pt x="21" y="67"/>
                  </a:cubicBezTo>
                  <a:cubicBezTo>
                    <a:pt x="22" y="68"/>
                    <a:pt x="23" y="70"/>
                    <a:pt x="23" y="7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a:p>
          </p:txBody>
        </p:sp>
        <p:sp>
          <p:nvSpPr>
            <p:cNvPr id="337" name="Freeform 231"/>
            <p:cNvSpPr>
              <a:spLocks/>
            </p:cNvSpPr>
            <p:nvPr/>
          </p:nvSpPr>
          <p:spPr bwMode="auto">
            <a:xfrm>
              <a:off x="1909762" y="6184900"/>
              <a:ext cx="127000" cy="139700"/>
            </a:xfrm>
            <a:custGeom>
              <a:avLst/>
              <a:gdLst>
                <a:gd name="T0" fmla="*/ 44 w 66"/>
                <a:gd name="T1" fmla="*/ 71 h 72"/>
                <a:gd name="T2" fmla="*/ 40 w 66"/>
                <a:gd name="T3" fmla="*/ 71 h 72"/>
                <a:gd name="T4" fmla="*/ 40 w 66"/>
                <a:gd name="T5" fmla="*/ 71 h 72"/>
                <a:gd name="T6" fmla="*/ 27 w 66"/>
                <a:gd name="T7" fmla="*/ 53 h 72"/>
                <a:gd name="T8" fmla="*/ 23 w 66"/>
                <a:gd name="T9" fmla="*/ 50 h 72"/>
                <a:gd name="T10" fmla="*/ 0 w 66"/>
                <a:gd name="T11" fmla="*/ 50 h 72"/>
                <a:gd name="T12" fmla="*/ 1 w 66"/>
                <a:gd name="T13" fmla="*/ 50 h 72"/>
                <a:gd name="T14" fmla="*/ 22 w 66"/>
                <a:gd name="T15" fmla="*/ 4 h 72"/>
                <a:gd name="T16" fmla="*/ 22 w 66"/>
                <a:gd name="T17" fmla="*/ 4 h 72"/>
                <a:gd name="T18" fmla="*/ 32 w 66"/>
                <a:gd name="T19" fmla="*/ 1 h 72"/>
                <a:gd name="T20" fmla="*/ 38 w 66"/>
                <a:gd name="T21" fmla="*/ 3 h 72"/>
                <a:gd name="T22" fmla="*/ 43 w 66"/>
                <a:gd name="T23" fmla="*/ 5 h 72"/>
                <a:gd name="T24" fmla="*/ 46 w 66"/>
                <a:gd name="T25" fmla="*/ 6 h 72"/>
                <a:gd name="T26" fmla="*/ 47 w 66"/>
                <a:gd name="T27" fmla="*/ 7 h 72"/>
                <a:gd name="T28" fmla="*/ 49 w 66"/>
                <a:gd name="T29" fmla="*/ 8 h 72"/>
                <a:gd name="T30" fmla="*/ 56 w 66"/>
                <a:gd name="T31" fmla="*/ 13 h 72"/>
                <a:gd name="T32" fmla="*/ 66 w 66"/>
                <a:gd name="T33" fmla="*/ 19 h 72"/>
                <a:gd name="T34" fmla="*/ 45 w 66"/>
                <a:gd name="T35" fmla="*/ 67 h 72"/>
                <a:gd name="T36" fmla="*/ 44 w 66"/>
                <a:gd name="T3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72">
                  <a:moveTo>
                    <a:pt x="44" y="71"/>
                  </a:moveTo>
                  <a:cubicBezTo>
                    <a:pt x="43" y="72"/>
                    <a:pt x="41" y="72"/>
                    <a:pt x="40" y="71"/>
                  </a:cubicBezTo>
                  <a:cubicBezTo>
                    <a:pt x="40" y="71"/>
                    <a:pt x="40" y="71"/>
                    <a:pt x="40" y="71"/>
                  </a:cubicBezTo>
                  <a:cubicBezTo>
                    <a:pt x="36" y="65"/>
                    <a:pt x="32" y="59"/>
                    <a:pt x="27" y="53"/>
                  </a:cubicBezTo>
                  <a:cubicBezTo>
                    <a:pt x="26" y="51"/>
                    <a:pt x="25" y="50"/>
                    <a:pt x="23" y="50"/>
                  </a:cubicBezTo>
                  <a:cubicBezTo>
                    <a:pt x="16" y="50"/>
                    <a:pt x="8" y="50"/>
                    <a:pt x="0" y="50"/>
                  </a:cubicBezTo>
                  <a:cubicBezTo>
                    <a:pt x="1" y="50"/>
                    <a:pt x="1" y="50"/>
                    <a:pt x="1" y="50"/>
                  </a:cubicBezTo>
                  <a:cubicBezTo>
                    <a:pt x="8" y="35"/>
                    <a:pt x="15" y="20"/>
                    <a:pt x="22" y="4"/>
                  </a:cubicBezTo>
                  <a:cubicBezTo>
                    <a:pt x="22" y="4"/>
                    <a:pt x="22" y="4"/>
                    <a:pt x="22" y="4"/>
                  </a:cubicBezTo>
                  <a:cubicBezTo>
                    <a:pt x="24" y="1"/>
                    <a:pt x="28" y="0"/>
                    <a:pt x="32" y="1"/>
                  </a:cubicBezTo>
                  <a:cubicBezTo>
                    <a:pt x="34" y="2"/>
                    <a:pt x="36" y="2"/>
                    <a:pt x="38" y="3"/>
                  </a:cubicBezTo>
                  <a:cubicBezTo>
                    <a:pt x="40" y="4"/>
                    <a:pt x="41" y="4"/>
                    <a:pt x="43" y="5"/>
                  </a:cubicBezTo>
                  <a:cubicBezTo>
                    <a:pt x="44" y="6"/>
                    <a:pt x="45" y="6"/>
                    <a:pt x="46" y="6"/>
                  </a:cubicBezTo>
                  <a:cubicBezTo>
                    <a:pt x="46" y="7"/>
                    <a:pt x="47" y="7"/>
                    <a:pt x="47" y="7"/>
                  </a:cubicBezTo>
                  <a:cubicBezTo>
                    <a:pt x="48" y="8"/>
                    <a:pt x="48" y="8"/>
                    <a:pt x="49" y="8"/>
                  </a:cubicBezTo>
                  <a:cubicBezTo>
                    <a:pt x="51" y="10"/>
                    <a:pt x="54" y="11"/>
                    <a:pt x="56" y="13"/>
                  </a:cubicBezTo>
                  <a:cubicBezTo>
                    <a:pt x="59" y="15"/>
                    <a:pt x="63" y="17"/>
                    <a:pt x="66" y="19"/>
                  </a:cubicBezTo>
                  <a:cubicBezTo>
                    <a:pt x="66" y="20"/>
                    <a:pt x="53" y="52"/>
                    <a:pt x="45" y="67"/>
                  </a:cubicBezTo>
                  <a:cubicBezTo>
                    <a:pt x="45" y="68"/>
                    <a:pt x="44" y="70"/>
                    <a:pt x="44" y="7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a:p>
          </p:txBody>
        </p:sp>
        <p:sp>
          <p:nvSpPr>
            <p:cNvPr id="338" name="Freeform 232"/>
            <p:cNvSpPr>
              <a:spLocks/>
            </p:cNvSpPr>
            <p:nvPr/>
          </p:nvSpPr>
          <p:spPr bwMode="auto">
            <a:xfrm>
              <a:off x="1920875" y="5902325"/>
              <a:ext cx="239712" cy="225425"/>
            </a:xfrm>
            <a:custGeom>
              <a:avLst/>
              <a:gdLst>
                <a:gd name="T0" fmla="*/ 18 w 125"/>
                <a:gd name="T1" fmla="*/ 91 h 117"/>
                <a:gd name="T2" fmla="*/ 30 w 125"/>
                <a:gd name="T3" fmla="*/ 18 h 117"/>
                <a:gd name="T4" fmla="*/ 107 w 125"/>
                <a:gd name="T5" fmla="*/ 29 h 117"/>
                <a:gd name="T6" fmla="*/ 93 w 125"/>
                <a:gd name="T7" fmla="*/ 100 h 117"/>
                <a:gd name="T8" fmla="*/ 18 w 125"/>
                <a:gd name="T9" fmla="*/ 91 h 117"/>
              </a:gdLst>
              <a:ahLst/>
              <a:cxnLst>
                <a:cxn ang="0">
                  <a:pos x="T0" y="T1"/>
                </a:cxn>
                <a:cxn ang="0">
                  <a:pos x="T2" y="T3"/>
                </a:cxn>
                <a:cxn ang="0">
                  <a:pos x="T4" y="T5"/>
                </a:cxn>
                <a:cxn ang="0">
                  <a:pos x="T6" y="T7"/>
                </a:cxn>
                <a:cxn ang="0">
                  <a:pos x="T8" y="T9"/>
                </a:cxn>
              </a:cxnLst>
              <a:rect l="0" t="0" r="r" b="b"/>
              <a:pathLst>
                <a:path w="125" h="117">
                  <a:moveTo>
                    <a:pt x="18" y="91"/>
                  </a:moveTo>
                  <a:cubicBezTo>
                    <a:pt x="0" y="68"/>
                    <a:pt x="5" y="35"/>
                    <a:pt x="30" y="18"/>
                  </a:cubicBezTo>
                  <a:cubicBezTo>
                    <a:pt x="55" y="0"/>
                    <a:pt x="89" y="5"/>
                    <a:pt x="107" y="29"/>
                  </a:cubicBezTo>
                  <a:cubicBezTo>
                    <a:pt x="125" y="52"/>
                    <a:pt x="118" y="82"/>
                    <a:pt x="93" y="100"/>
                  </a:cubicBezTo>
                  <a:cubicBezTo>
                    <a:pt x="68" y="117"/>
                    <a:pt x="36" y="115"/>
                    <a:pt x="18" y="9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9" name="Group 598"/>
          <p:cNvGrpSpPr>
            <a:grpSpLocks noChangeAspect="1"/>
          </p:cNvGrpSpPr>
          <p:nvPr/>
        </p:nvGrpSpPr>
        <p:grpSpPr>
          <a:xfrm>
            <a:off x="3961717" y="5335009"/>
            <a:ext cx="842146" cy="795528"/>
            <a:chOff x="4002087" y="5645150"/>
            <a:chExt cx="889000" cy="839788"/>
          </a:xfrm>
        </p:grpSpPr>
        <p:sp>
          <p:nvSpPr>
            <p:cNvPr id="342" name="Freeform 236"/>
            <p:cNvSpPr>
              <a:spLocks/>
            </p:cNvSpPr>
            <p:nvPr/>
          </p:nvSpPr>
          <p:spPr bwMode="auto">
            <a:xfrm>
              <a:off x="4002087" y="5645150"/>
              <a:ext cx="889000" cy="839788"/>
            </a:xfrm>
            <a:custGeom>
              <a:avLst/>
              <a:gdLst>
                <a:gd name="T0" fmla="*/ 66 w 463"/>
                <a:gd name="T1" fmla="*/ 338 h 433"/>
                <a:gd name="T2" fmla="*/ 111 w 463"/>
                <a:gd name="T3" fmla="*/ 64 h 433"/>
                <a:gd name="T4" fmla="*/ 397 w 463"/>
                <a:gd name="T5" fmla="*/ 105 h 433"/>
                <a:gd name="T6" fmla="*/ 345 w 463"/>
                <a:gd name="T7" fmla="*/ 368 h 433"/>
                <a:gd name="T8" fmla="*/ 66 w 463"/>
                <a:gd name="T9" fmla="*/ 338 h 433"/>
              </a:gdLst>
              <a:ahLst/>
              <a:cxnLst>
                <a:cxn ang="0">
                  <a:pos x="T0" y="T1"/>
                </a:cxn>
                <a:cxn ang="0">
                  <a:pos x="T2" y="T3"/>
                </a:cxn>
                <a:cxn ang="0">
                  <a:pos x="T4" y="T5"/>
                </a:cxn>
                <a:cxn ang="0">
                  <a:pos x="T6" y="T7"/>
                </a:cxn>
                <a:cxn ang="0">
                  <a:pos x="T8" y="T9"/>
                </a:cxn>
              </a:cxnLst>
              <a:rect l="0" t="0" r="r" b="b"/>
              <a:pathLst>
                <a:path w="463" h="433">
                  <a:moveTo>
                    <a:pt x="66" y="338"/>
                  </a:moveTo>
                  <a:cubicBezTo>
                    <a:pt x="0" y="252"/>
                    <a:pt x="20" y="129"/>
                    <a:pt x="111" y="64"/>
                  </a:cubicBezTo>
                  <a:cubicBezTo>
                    <a:pt x="202" y="0"/>
                    <a:pt x="330" y="18"/>
                    <a:pt x="397" y="105"/>
                  </a:cubicBezTo>
                  <a:cubicBezTo>
                    <a:pt x="463" y="191"/>
                    <a:pt x="436" y="304"/>
                    <a:pt x="345" y="368"/>
                  </a:cubicBezTo>
                  <a:cubicBezTo>
                    <a:pt x="254" y="433"/>
                    <a:pt x="133" y="425"/>
                    <a:pt x="66" y="33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43" name="Freeform 237"/>
            <p:cNvSpPr>
              <a:spLocks/>
            </p:cNvSpPr>
            <p:nvPr/>
          </p:nvSpPr>
          <p:spPr bwMode="auto">
            <a:xfrm>
              <a:off x="4252912" y="6038850"/>
              <a:ext cx="369887" cy="263525"/>
            </a:xfrm>
            <a:custGeom>
              <a:avLst/>
              <a:gdLst>
                <a:gd name="T0" fmla="*/ 98 w 192"/>
                <a:gd name="T1" fmla="*/ 1 h 136"/>
                <a:gd name="T2" fmla="*/ 38 w 192"/>
                <a:gd name="T3" fmla="*/ 21 h 136"/>
                <a:gd name="T4" fmla="*/ 0 w 192"/>
                <a:gd name="T5" fmla="*/ 110 h 136"/>
                <a:gd name="T6" fmla="*/ 29 w 192"/>
                <a:gd name="T7" fmla="*/ 112 h 136"/>
                <a:gd name="T8" fmla="*/ 192 w 192"/>
                <a:gd name="T9" fmla="*/ 105 h 136"/>
                <a:gd name="T10" fmla="*/ 135 w 192"/>
                <a:gd name="T11" fmla="*/ 9 h 136"/>
                <a:gd name="T12" fmla="*/ 98 w 192"/>
                <a:gd name="T13" fmla="*/ 1 h 136"/>
              </a:gdLst>
              <a:ahLst/>
              <a:cxnLst>
                <a:cxn ang="0">
                  <a:pos x="T0" y="T1"/>
                </a:cxn>
                <a:cxn ang="0">
                  <a:pos x="T2" y="T3"/>
                </a:cxn>
                <a:cxn ang="0">
                  <a:pos x="T4" y="T5"/>
                </a:cxn>
                <a:cxn ang="0">
                  <a:pos x="T6" y="T7"/>
                </a:cxn>
                <a:cxn ang="0">
                  <a:pos x="T8" y="T9"/>
                </a:cxn>
                <a:cxn ang="0">
                  <a:pos x="T10" y="T11"/>
                </a:cxn>
                <a:cxn ang="0">
                  <a:pos x="T12" y="T13"/>
                </a:cxn>
              </a:cxnLst>
              <a:rect l="0" t="0" r="r" b="b"/>
              <a:pathLst>
                <a:path w="192" h="136">
                  <a:moveTo>
                    <a:pt x="98" y="1"/>
                  </a:moveTo>
                  <a:cubicBezTo>
                    <a:pt x="98" y="1"/>
                    <a:pt x="60" y="0"/>
                    <a:pt x="38" y="21"/>
                  </a:cubicBezTo>
                  <a:cubicBezTo>
                    <a:pt x="21" y="38"/>
                    <a:pt x="0" y="110"/>
                    <a:pt x="0" y="110"/>
                  </a:cubicBezTo>
                  <a:cubicBezTo>
                    <a:pt x="0" y="110"/>
                    <a:pt x="12" y="106"/>
                    <a:pt x="29" y="112"/>
                  </a:cubicBezTo>
                  <a:cubicBezTo>
                    <a:pt x="86" y="133"/>
                    <a:pt x="176" y="136"/>
                    <a:pt x="192" y="105"/>
                  </a:cubicBezTo>
                  <a:cubicBezTo>
                    <a:pt x="192" y="105"/>
                    <a:pt x="180" y="27"/>
                    <a:pt x="135" y="9"/>
                  </a:cubicBezTo>
                  <a:cubicBezTo>
                    <a:pt x="119" y="2"/>
                    <a:pt x="98" y="1"/>
                    <a:pt x="98" y="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44" name="Freeform 238"/>
            <p:cNvSpPr>
              <a:spLocks/>
            </p:cNvSpPr>
            <p:nvPr/>
          </p:nvSpPr>
          <p:spPr bwMode="auto">
            <a:xfrm>
              <a:off x="4408487" y="6018213"/>
              <a:ext cx="61912" cy="63500"/>
            </a:xfrm>
            <a:custGeom>
              <a:avLst/>
              <a:gdLst>
                <a:gd name="T0" fmla="*/ 1 w 32"/>
                <a:gd name="T1" fmla="*/ 0 h 33"/>
                <a:gd name="T2" fmla="*/ 1 w 32"/>
                <a:gd name="T3" fmla="*/ 19 h 33"/>
                <a:gd name="T4" fmla="*/ 14 w 32"/>
                <a:gd name="T5" fmla="*/ 33 h 33"/>
                <a:gd name="T6" fmla="*/ 30 w 32"/>
                <a:gd name="T7" fmla="*/ 17 h 33"/>
                <a:gd name="T8" fmla="*/ 30 w 32"/>
                <a:gd name="T9" fmla="*/ 0 h 33"/>
                <a:gd name="T10" fmla="*/ 1 w 32"/>
                <a:gd name="T11" fmla="*/ 0 h 33"/>
              </a:gdLst>
              <a:ahLst/>
              <a:cxnLst>
                <a:cxn ang="0">
                  <a:pos x="T0" y="T1"/>
                </a:cxn>
                <a:cxn ang="0">
                  <a:pos x="T2" y="T3"/>
                </a:cxn>
                <a:cxn ang="0">
                  <a:pos x="T4" y="T5"/>
                </a:cxn>
                <a:cxn ang="0">
                  <a:pos x="T6" y="T7"/>
                </a:cxn>
                <a:cxn ang="0">
                  <a:pos x="T8" y="T9"/>
                </a:cxn>
                <a:cxn ang="0">
                  <a:pos x="T10" y="T11"/>
                </a:cxn>
              </a:cxnLst>
              <a:rect l="0" t="0" r="r" b="b"/>
              <a:pathLst>
                <a:path w="32" h="33">
                  <a:moveTo>
                    <a:pt x="1" y="0"/>
                  </a:moveTo>
                  <a:cubicBezTo>
                    <a:pt x="1" y="19"/>
                    <a:pt x="1" y="19"/>
                    <a:pt x="1" y="19"/>
                  </a:cubicBezTo>
                  <a:cubicBezTo>
                    <a:pt x="1" y="19"/>
                    <a:pt x="0" y="30"/>
                    <a:pt x="14" y="33"/>
                  </a:cubicBezTo>
                  <a:cubicBezTo>
                    <a:pt x="32" y="33"/>
                    <a:pt x="30" y="17"/>
                    <a:pt x="30" y="17"/>
                  </a:cubicBezTo>
                  <a:cubicBezTo>
                    <a:pt x="30" y="0"/>
                    <a:pt x="30" y="0"/>
                    <a:pt x="30" y="0"/>
                  </a:cubicBezTo>
                  <a:lnTo>
                    <a:pt x="1"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239"/>
            <p:cNvSpPr>
              <a:spLocks/>
            </p:cNvSpPr>
            <p:nvPr/>
          </p:nvSpPr>
          <p:spPr bwMode="auto">
            <a:xfrm>
              <a:off x="4340225" y="5840413"/>
              <a:ext cx="196850" cy="193675"/>
            </a:xfrm>
            <a:custGeom>
              <a:avLst/>
              <a:gdLst>
                <a:gd name="T0" fmla="*/ 93 w 103"/>
                <a:gd name="T1" fmla="*/ 47 h 100"/>
                <a:gd name="T2" fmla="*/ 92 w 103"/>
                <a:gd name="T3" fmla="*/ 47 h 100"/>
                <a:gd name="T4" fmla="*/ 92 w 103"/>
                <a:gd name="T5" fmla="*/ 21 h 100"/>
                <a:gd name="T6" fmla="*/ 25 w 103"/>
                <a:gd name="T7" fmla="*/ 14 h 100"/>
                <a:gd name="T8" fmla="*/ 10 w 103"/>
                <a:gd name="T9" fmla="*/ 47 h 100"/>
                <a:gd name="T10" fmla="*/ 0 w 103"/>
                <a:gd name="T11" fmla="*/ 57 h 100"/>
                <a:gd name="T12" fmla="*/ 10 w 103"/>
                <a:gd name="T13" fmla="*/ 66 h 100"/>
                <a:gd name="T14" fmla="*/ 11 w 103"/>
                <a:gd name="T15" fmla="*/ 66 h 100"/>
                <a:gd name="T16" fmla="*/ 51 w 103"/>
                <a:gd name="T17" fmla="*/ 100 h 100"/>
                <a:gd name="T18" fmla="*/ 92 w 103"/>
                <a:gd name="T19" fmla="*/ 66 h 100"/>
                <a:gd name="T20" fmla="*/ 93 w 103"/>
                <a:gd name="T21" fmla="*/ 66 h 100"/>
                <a:gd name="T22" fmla="*/ 103 w 103"/>
                <a:gd name="T23" fmla="*/ 57 h 100"/>
                <a:gd name="T24" fmla="*/ 93 w 103"/>
                <a:gd name="T25" fmla="*/ 4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00">
                  <a:moveTo>
                    <a:pt x="93" y="47"/>
                  </a:moveTo>
                  <a:cubicBezTo>
                    <a:pt x="93" y="47"/>
                    <a:pt x="93" y="47"/>
                    <a:pt x="92" y="47"/>
                  </a:cubicBezTo>
                  <a:cubicBezTo>
                    <a:pt x="92" y="21"/>
                    <a:pt x="92" y="21"/>
                    <a:pt x="92" y="21"/>
                  </a:cubicBezTo>
                  <a:cubicBezTo>
                    <a:pt x="92" y="21"/>
                    <a:pt x="44" y="0"/>
                    <a:pt x="25" y="14"/>
                  </a:cubicBezTo>
                  <a:cubicBezTo>
                    <a:pt x="14" y="22"/>
                    <a:pt x="11" y="37"/>
                    <a:pt x="10" y="47"/>
                  </a:cubicBezTo>
                  <a:cubicBezTo>
                    <a:pt x="5" y="47"/>
                    <a:pt x="0" y="51"/>
                    <a:pt x="0" y="57"/>
                  </a:cubicBezTo>
                  <a:cubicBezTo>
                    <a:pt x="0" y="62"/>
                    <a:pt x="5" y="66"/>
                    <a:pt x="10" y="66"/>
                  </a:cubicBezTo>
                  <a:cubicBezTo>
                    <a:pt x="10" y="66"/>
                    <a:pt x="11" y="66"/>
                    <a:pt x="11" y="66"/>
                  </a:cubicBezTo>
                  <a:cubicBezTo>
                    <a:pt x="14" y="86"/>
                    <a:pt x="31" y="100"/>
                    <a:pt x="51" y="100"/>
                  </a:cubicBezTo>
                  <a:cubicBezTo>
                    <a:pt x="71" y="100"/>
                    <a:pt x="88" y="86"/>
                    <a:pt x="92" y="66"/>
                  </a:cubicBezTo>
                  <a:cubicBezTo>
                    <a:pt x="92" y="66"/>
                    <a:pt x="93" y="66"/>
                    <a:pt x="93" y="66"/>
                  </a:cubicBezTo>
                  <a:cubicBezTo>
                    <a:pt x="98" y="66"/>
                    <a:pt x="103" y="62"/>
                    <a:pt x="103" y="57"/>
                  </a:cubicBezTo>
                  <a:cubicBezTo>
                    <a:pt x="103" y="51"/>
                    <a:pt x="98" y="47"/>
                    <a:pt x="93" y="4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240"/>
            <p:cNvSpPr>
              <a:spLocks/>
            </p:cNvSpPr>
            <p:nvPr/>
          </p:nvSpPr>
          <p:spPr bwMode="auto">
            <a:xfrm>
              <a:off x="4335462" y="5773738"/>
              <a:ext cx="227012" cy="165100"/>
            </a:xfrm>
            <a:custGeom>
              <a:avLst/>
              <a:gdLst>
                <a:gd name="T0" fmla="*/ 12 w 118"/>
                <a:gd name="T1" fmla="*/ 82 h 85"/>
                <a:gd name="T2" fmla="*/ 24 w 118"/>
                <a:gd name="T3" fmla="*/ 30 h 85"/>
                <a:gd name="T4" fmla="*/ 77 w 118"/>
                <a:gd name="T5" fmla="*/ 20 h 85"/>
                <a:gd name="T6" fmla="*/ 93 w 118"/>
                <a:gd name="T7" fmla="*/ 85 h 85"/>
                <a:gd name="T8" fmla="*/ 86 w 118"/>
                <a:gd name="T9" fmla="*/ 71 h 85"/>
                <a:gd name="T10" fmla="*/ 29 w 118"/>
                <a:gd name="T11" fmla="*/ 65 h 85"/>
                <a:gd name="T12" fmla="*/ 12 w 118"/>
                <a:gd name="T13" fmla="*/ 82 h 85"/>
              </a:gdLst>
              <a:ahLst/>
              <a:cxnLst>
                <a:cxn ang="0">
                  <a:pos x="T0" y="T1"/>
                </a:cxn>
                <a:cxn ang="0">
                  <a:pos x="T2" y="T3"/>
                </a:cxn>
                <a:cxn ang="0">
                  <a:pos x="T4" y="T5"/>
                </a:cxn>
                <a:cxn ang="0">
                  <a:pos x="T6" y="T7"/>
                </a:cxn>
                <a:cxn ang="0">
                  <a:pos x="T8" y="T9"/>
                </a:cxn>
                <a:cxn ang="0">
                  <a:pos x="T10" y="T11"/>
                </a:cxn>
                <a:cxn ang="0">
                  <a:pos x="T12" y="T13"/>
                </a:cxn>
              </a:cxnLst>
              <a:rect l="0" t="0" r="r" b="b"/>
              <a:pathLst>
                <a:path w="118" h="85">
                  <a:moveTo>
                    <a:pt x="12" y="82"/>
                  </a:moveTo>
                  <a:cubicBezTo>
                    <a:pt x="12" y="82"/>
                    <a:pt x="0" y="38"/>
                    <a:pt x="24" y="30"/>
                  </a:cubicBezTo>
                  <a:cubicBezTo>
                    <a:pt x="24" y="30"/>
                    <a:pt x="36" y="0"/>
                    <a:pt x="77" y="20"/>
                  </a:cubicBezTo>
                  <a:cubicBezTo>
                    <a:pt x="118" y="39"/>
                    <a:pt x="93" y="85"/>
                    <a:pt x="93" y="85"/>
                  </a:cubicBezTo>
                  <a:cubicBezTo>
                    <a:pt x="93" y="85"/>
                    <a:pt x="93" y="67"/>
                    <a:pt x="86" y="71"/>
                  </a:cubicBezTo>
                  <a:cubicBezTo>
                    <a:pt x="74" y="78"/>
                    <a:pt x="42" y="63"/>
                    <a:pt x="29" y="65"/>
                  </a:cubicBezTo>
                  <a:cubicBezTo>
                    <a:pt x="14" y="68"/>
                    <a:pt x="12" y="82"/>
                    <a:pt x="12" y="8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7" name="Freeform 241"/>
            <p:cNvSpPr>
              <a:spLocks/>
            </p:cNvSpPr>
            <p:nvPr/>
          </p:nvSpPr>
          <p:spPr bwMode="auto">
            <a:xfrm>
              <a:off x="4291012" y="6121400"/>
              <a:ext cx="295275" cy="177800"/>
            </a:xfrm>
            <a:custGeom>
              <a:avLst/>
              <a:gdLst>
                <a:gd name="T0" fmla="*/ 144 w 153"/>
                <a:gd name="T1" fmla="*/ 0 h 92"/>
                <a:gd name="T2" fmla="*/ 9 w 153"/>
                <a:gd name="T3" fmla="*/ 0 h 92"/>
                <a:gd name="T4" fmla="*/ 0 w 153"/>
                <a:gd name="T5" fmla="*/ 9 h 92"/>
                <a:gd name="T6" fmla="*/ 0 w 153"/>
                <a:gd name="T7" fmla="*/ 92 h 92"/>
                <a:gd name="T8" fmla="*/ 153 w 153"/>
                <a:gd name="T9" fmla="*/ 92 h 92"/>
                <a:gd name="T10" fmla="*/ 153 w 153"/>
                <a:gd name="T11" fmla="*/ 9 h 92"/>
                <a:gd name="T12" fmla="*/ 144 w 153"/>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153" h="92">
                  <a:moveTo>
                    <a:pt x="144" y="0"/>
                  </a:moveTo>
                  <a:cubicBezTo>
                    <a:pt x="9" y="0"/>
                    <a:pt x="9" y="0"/>
                    <a:pt x="9" y="0"/>
                  </a:cubicBezTo>
                  <a:cubicBezTo>
                    <a:pt x="4" y="0"/>
                    <a:pt x="0" y="4"/>
                    <a:pt x="0" y="9"/>
                  </a:cubicBezTo>
                  <a:cubicBezTo>
                    <a:pt x="0" y="92"/>
                    <a:pt x="0" y="92"/>
                    <a:pt x="0" y="92"/>
                  </a:cubicBezTo>
                  <a:cubicBezTo>
                    <a:pt x="153" y="92"/>
                    <a:pt x="153" y="92"/>
                    <a:pt x="153" y="92"/>
                  </a:cubicBezTo>
                  <a:cubicBezTo>
                    <a:pt x="153" y="9"/>
                    <a:pt x="153" y="9"/>
                    <a:pt x="153" y="9"/>
                  </a:cubicBezTo>
                  <a:cubicBezTo>
                    <a:pt x="153" y="4"/>
                    <a:pt x="149" y="0"/>
                    <a:pt x="14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8" name="Freeform 242"/>
            <p:cNvSpPr>
              <a:spLocks/>
            </p:cNvSpPr>
            <p:nvPr/>
          </p:nvSpPr>
          <p:spPr bwMode="auto">
            <a:xfrm>
              <a:off x="4284662" y="6302375"/>
              <a:ext cx="309562" cy="23813"/>
            </a:xfrm>
            <a:custGeom>
              <a:avLst/>
              <a:gdLst>
                <a:gd name="T0" fmla="*/ 155 w 161"/>
                <a:gd name="T1" fmla="*/ 12 h 12"/>
                <a:gd name="T2" fmla="*/ 6 w 161"/>
                <a:gd name="T3" fmla="*/ 12 h 12"/>
                <a:gd name="T4" fmla="*/ 0 w 161"/>
                <a:gd name="T5" fmla="*/ 6 h 12"/>
                <a:gd name="T6" fmla="*/ 0 w 161"/>
                <a:gd name="T7" fmla="*/ 6 h 12"/>
                <a:gd name="T8" fmla="*/ 6 w 161"/>
                <a:gd name="T9" fmla="*/ 0 h 12"/>
                <a:gd name="T10" fmla="*/ 155 w 161"/>
                <a:gd name="T11" fmla="*/ 0 h 12"/>
                <a:gd name="T12" fmla="*/ 161 w 161"/>
                <a:gd name="T13" fmla="*/ 6 h 12"/>
                <a:gd name="T14" fmla="*/ 161 w 161"/>
                <a:gd name="T15" fmla="*/ 6 h 12"/>
                <a:gd name="T16" fmla="*/ 155 w 161"/>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
                  <a:moveTo>
                    <a:pt x="155" y="12"/>
                  </a:moveTo>
                  <a:cubicBezTo>
                    <a:pt x="6" y="12"/>
                    <a:pt x="6" y="12"/>
                    <a:pt x="6" y="12"/>
                  </a:cubicBezTo>
                  <a:cubicBezTo>
                    <a:pt x="3" y="12"/>
                    <a:pt x="0" y="9"/>
                    <a:pt x="0" y="6"/>
                  </a:cubicBezTo>
                  <a:cubicBezTo>
                    <a:pt x="0" y="6"/>
                    <a:pt x="0" y="6"/>
                    <a:pt x="0" y="6"/>
                  </a:cubicBezTo>
                  <a:cubicBezTo>
                    <a:pt x="0" y="3"/>
                    <a:pt x="3" y="0"/>
                    <a:pt x="6" y="0"/>
                  </a:cubicBezTo>
                  <a:cubicBezTo>
                    <a:pt x="155" y="0"/>
                    <a:pt x="155" y="0"/>
                    <a:pt x="155" y="0"/>
                  </a:cubicBezTo>
                  <a:cubicBezTo>
                    <a:pt x="158" y="0"/>
                    <a:pt x="161" y="3"/>
                    <a:pt x="161" y="6"/>
                  </a:cubicBezTo>
                  <a:cubicBezTo>
                    <a:pt x="161" y="6"/>
                    <a:pt x="161" y="6"/>
                    <a:pt x="161" y="6"/>
                  </a:cubicBezTo>
                  <a:cubicBezTo>
                    <a:pt x="161" y="9"/>
                    <a:pt x="158" y="12"/>
                    <a:pt x="155" y="1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9" name="Freeform 243"/>
            <p:cNvSpPr>
              <a:spLocks/>
            </p:cNvSpPr>
            <p:nvPr/>
          </p:nvSpPr>
          <p:spPr bwMode="auto">
            <a:xfrm>
              <a:off x="4408487" y="6196013"/>
              <a:ext cx="55562" cy="58738"/>
            </a:xfrm>
            <a:custGeom>
              <a:avLst/>
              <a:gdLst>
                <a:gd name="T0" fmla="*/ 29 w 29"/>
                <a:gd name="T1" fmla="*/ 14 h 30"/>
                <a:gd name="T2" fmla="*/ 23 w 29"/>
                <a:gd name="T3" fmla="*/ 4 h 30"/>
                <a:gd name="T4" fmla="*/ 11 w 29"/>
                <a:gd name="T5" fmla="*/ 2 h 30"/>
                <a:gd name="T6" fmla="*/ 10 w 29"/>
                <a:gd name="T7" fmla="*/ 2 h 30"/>
                <a:gd name="T8" fmla="*/ 9 w 29"/>
                <a:gd name="T9" fmla="*/ 3 h 30"/>
                <a:gd name="T10" fmla="*/ 4 w 29"/>
                <a:gd name="T11" fmla="*/ 8 h 30"/>
                <a:gd name="T12" fmla="*/ 9 w 29"/>
                <a:gd name="T13" fmla="*/ 27 h 30"/>
                <a:gd name="T14" fmla="*/ 27 w 29"/>
                <a:gd name="T15" fmla="*/ 22 h 30"/>
                <a:gd name="T16" fmla="*/ 29 w 29"/>
                <a:gd name="T17"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0">
                  <a:moveTo>
                    <a:pt x="29" y="14"/>
                  </a:moveTo>
                  <a:cubicBezTo>
                    <a:pt x="29" y="10"/>
                    <a:pt x="23" y="7"/>
                    <a:pt x="23" y="4"/>
                  </a:cubicBezTo>
                  <a:cubicBezTo>
                    <a:pt x="23" y="4"/>
                    <a:pt x="18" y="0"/>
                    <a:pt x="11" y="2"/>
                  </a:cubicBezTo>
                  <a:cubicBezTo>
                    <a:pt x="11" y="2"/>
                    <a:pt x="10" y="2"/>
                    <a:pt x="10" y="2"/>
                  </a:cubicBezTo>
                  <a:cubicBezTo>
                    <a:pt x="10" y="2"/>
                    <a:pt x="10" y="2"/>
                    <a:pt x="9" y="3"/>
                  </a:cubicBezTo>
                  <a:cubicBezTo>
                    <a:pt x="7" y="4"/>
                    <a:pt x="5" y="6"/>
                    <a:pt x="4" y="8"/>
                  </a:cubicBezTo>
                  <a:cubicBezTo>
                    <a:pt x="0" y="14"/>
                    <a:pt x="2" y="23"/>
                    <a:pt x="9" y="27"/>
                  </a:cubicBezTo>
                  <a:cubicBezTo>
                    <a:pt x="15" y="30"/>
                    <a:pt x="23" y="28"/>
                    <a:pt x="27" y="22"/>
                  </a:cubicBezTo>
                  <a:cubicBezTo>
                    <a:pt x="29" y="19"/>
                    <a:pt x="29" y="17"/>
                    <a:pt x="29" y="1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6" name="Group 595"/>
          <p:cNvGrpSpPr>
            <a:grpSpLocks noChangeAspect="1"/>
          </p:cNvGrpSpPr>
          <p:nvPr/>
        </p:nvGrpSpPr>
        <p:grpSpPr>
          <a:xfrm>
            <a:off x="368860" y="5335009"/>
            <a:ext cx="843433" cy="795528"/>
            <a:chOff x="377825" y="5630863"/>
            <a:chExt cx="922337" cy="869950"/>
          </a:xfrm>
        </p:grpSpPr>
        <p:sp>
          <p:nvSpPr>
            <p:cNvPr id="333" name="Freeform 227"/>
            <p:cNvSpPr>
              <a:spLocks/>
            </p:cNvSpPr>
            <p:nvPr/>
          </p:nvSpPr>
          <p:spPr bwMode="auto">
            <a:xfrm>
              <a:off x="377825" y="5630863"/>
              <a:ext cx="922337" cy="869950"/>
            </a:xfrm>
            <a:custGeom>
              <a:avLst/>
              <a:gdLst>
                <a:gd name="T0" fmla="*/ 69 w 479"/>
                <a:gd name="T1" fmla="*/ 331 h 449"/>
                <a:gd name="T2" fmla="*/ 115 w 479"/>
                <a:gd name="T3" fmla="*/ 67 h 449"/>
                <a:gd name="T4" fmla="*/ 412 w 479"/>
                <a:gd name="T5" fmla="*/ 109 h 449"/>
                <a:gd name="T6" fmla="*/ 358 w 479"/>
                <a:gd name="T7" fmla="*/ 382 h 449"/>
                <a:gd name="T8" fmla="*/ 69 w 479"/>
                <a:gd name="T9" fmla="*/ 331 h 449"/>
              </a:gdLst>
              <a:ahLst/>
              <a:cxnLst>
                <a:cxn ang="0">
                  <a:pos x="T0" y="T1"/>
                </a:cxn>
                <a:cxn ang="0">
                  <a:pos x="T2" y="T3"/>
                </a:cxn>
                <a:cxn ang="0">
                  <a:pos x="T4" y="T5"/>
                </a:cxn>
                <a:cxn ang="0">
                  <a:pos x="T6" y="T7"/>
                </a:cxn>
                <a:cxn ang="0">
                  <a:pos x="T8" y="T9"/>
                </a:cxn>
              </a:cxnLst>
              <a:rect l="0" t="0" r="r" b="b"/>
              <a:pathLst>
                <a:path w="479" h="449">
                  <a:moveTo>
                    <a:pt x="69" y="331"/>
                  </a:moveTo>
                  <a:cubicBezTo>
                    <a:pt x="0" y="241"/>
                    <a:pt x="21" y="134"/>
                    <a:pt x="115" y="67"/>
                  </a:cubicBezTo>
                  <a:cubicBezTo>
                    <a:pt x="210" y="0"/>
                    <a:pt x="343" y="18"/>
                    <a:pt x="412" y="109"/>
                  </a:cubicBezTo>
                  <a:cubicBezTo>
                    <a:pt x="454" y="164"/>
                    <a:pt x="479" y="296"/>
                    <a:pt x="358" y="382"/>
                  </a:cubicBezTo>
                  <a:cubicBezTo>
                    <a:pt x="263" y="449"/>
                    <a:pt x="138" y="421"/>
                    <a:pt x="69" y="331"/>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50" name="Freeform 244"/>
            <p:cNvSpPr>
              <a:spLocks/>
            </p:cNvSpPr>
            <p:nvPr/>
          </p:nvSpPr>
          <p:spPr bwMode="auto">
            <a:xfrm>
              <a:off x="754062" y="5886450"/>
              <a:ext cx="188912" cy="327025"/>
            </a:xfrm>
            <a:custGeom>
              <a:avLst/>
              <a:gdLst>
                <a:gd name="T0" fmla="*/ 99 w 99"/>
                <a:gd name="T1" fmla="*/ 169 h 169"/>
                <a:gd name="T2" fmla="*/ 99 w 99"/>
                <a:gd name="T3" fmla="*/ 169 h 169"/>
                <a:gd name="T4" fmla="*/ 99 w 99"/>
                <a:gd name="T5" fmla="*/ 169 h 169"/>
                <a:gd name="T6" fmla="*/ 99 w 99"/>
                <a:gd name="T7" fmla="*/ 0 h 169"/>
                <a:gd name="T8" fmla="*/ 28 w 99"/>
                <a:gd name="T9" fmla="*/ 0 h 169"/>
                <a:gd name="T10" fmla="*/ 0 w 99"/>
                <a:gd name="T11" fmla="*/ 28 h 169"/>
                <a:gd name="T12" fmla="*/ 0 w 99"/>
                <a:gd name="T13" fmla="*/ 169 h 169"/>
                <a:gd name="T14" fmla="*/ 0 w 99"/>
                <a:gd name="T15" fmla="*/ 169 h 169"/>
                <a:gd name="T16" fmla="*/ 99 w 9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9">
                  <a:moveTo>
                    <a:pt x="99" y="169"/>
                  </a:moveTo>
                  <a:cubicBezTo>
                    <a:pt x="99" y="169"/>
                    <a:pt x="99" y="169"/>
                    <a:pt x="99" y="169"/>
                  </a:cubicBezTo>
                  <a:cubicBezTo>
                    <a:pt x="99" y="169"/>
                    <a:pt x="99" y="169"/>
                    <a:pt x="99" y="169"/>
                  </a:cubicBezTo>
                  <a:cubicBezTo>
                    <a:pt x="99" y="0"/>
                    <a:pt x="99" y="0"/>
                    <a:pt x="99" y="0"/>
                  </a:cubicBezTo>
                  <a:cubicBezTo>
                    <a:pt x="28" y="0"/>
                    <a:pt x="28" y="0"/>
                    <a:pt x="28" y="0"/>
                  </a:cubicBezTo>
                  <a:cubicBezTo>
                    <a:pt x="12" y="0"/>
                    <a:pt x="0" y="13"/>
                    <a:pt x="0" y="28"/>
                  </a:cubicBezTo>
                  <a:cubicBezTo>
                    <a:pt x="0" y="169"/>
                    <a:pt x="0" y="169"/>
                    <a:pt x="0" y="169"/>
                  </a:cubicBezTo>
                  <a:cubicBezTo>
                    <a:pt x="0" y="169"/>
                    <a:pt x="0" y="169"/>
                    <a:pt x="0" y="169"/>
                  </a:cubicBezTo>
                  <a:lnTo>
                    <a:pt x="99" y="1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245"/>
            <p:cNvSpPr>
              <a:spLocks/>
            </p:cNvSpPr>
            <p:nvPr/>
          </p:nvSpPr>
          <p:spPr bwMode="auto">
            <a:xfrm>
              <a:off x="538162" y="5976938"/>
              <a:ext cx="192087" cy="236538"/>
            </a:xfrm>
            <a:custGeom>
              <a:avLst/>
              <a:gdLst>
                <a:gd name="T0" fmla="*/ 100 w 100"/>
                <a:gd name="T1" fmla="*/ 122 h 122"/>
                <a:gd name="T2" fmla="*/ 100 w 100"/>
                <a:gd name="T3" fmla="*/ 122 h 122"/>
                <a:gd name="T4" fmla="*/ 100 w 100"/>
                <a:gd name="T5" fmla="*/ 122 h 122"/>
                <a:gd name="T6" fmla="*/ 100 w 100"/>
                <a:gd name="T7" fmla="*/ 0 h 122"/>
                <a:gd name="T8" fmla="*/ 28 w 100"/>
                <a:gd name="T9" fmla="*/ 0 h 122"/>
                <a:gd name="T10" fmla="*/ 0 w 100"/>
                <a:gd name="T11" fmla="*/ 28 h 122"/>
                <a:gd name="T12" fmla="*/ 0 w 100"/>
                <a:gd name="T13" fmla="*/ 122 h 122"/>
                <a:gd name="T14" fmla="*/ 0 w 100"/>
                <a:gd name="T15" fmla="*/ 122 h 122"/>
                <a:gd name="T16" fmla="*/ 100 w 100"/>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122"/>
                  </a:moveTo>
                  <a:cubicBezTo>
                    <a:pt x="100" y="122"/>
                    <a:pt x="100" y="122"/>
                    <a:pt x="100" y="122"/>
                  </a:cubicBezTo>
                  <a:cubicBezTo>
                    <a:pt x="100" y="122"/>
                    <a:pt x="100" y="122"/>
                    <a:pt x="100" y="122"/>
                  </a:cubicBezTo>
                  <a:cubicBezTo>
                    <a:pt x="100" y="0"/>
                    <a:pt x="100" y="0"/>
                    <a:pt x="100" y="0"/>
                  </a:cubicBezTo>
                  <a:cubicBezTo>
                    <a:pt x="28" y="0"/>
                    <a:pt x="28" y="0"/>
                    <a:pt x="28" y="0"/>
                  </a:cubicBezTo>
                  <a:cubicBezTo>
                    <a:pt x="13" y="0"/>
                    <a:pt x="0" y="12"/>
                    <a:pt x="0" y="28"/>
                  </a:cubicBezTo>
                  <a:cubicBezTo>
                    <a:pt x="0" y="122"/>
                    <a:pt x="0" y="122"/>
                    <a:pt x="0" y="122"/>
                  </a:cubicBezTo>
                  <a:cubicBezTo>
                    <a:pt x="0" y="122"/>
                    <a:pt x="0" y="122"/>
                    <a:pt x="0" y="122"/>
                  </a:cubicBezTo>
                  <a:lnTo>
                    <a:pt x="100" y="12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52" name="Freeform 246"/>
            <p:cNvSpPr>
              <a:spLocks/>
            </p:cNvSpPr>
            <p:nvPr/>
          </p:nvSpPr>
          <p:spPr bwMode="auto">
            <a:xfrm>
              <a:off x="968375" y="6051550"/>
              <a:ext cx="192087" cy="161925"/>
            </a:xfrm>
            <a:custGeom>
              <a:avLst/>
              <a:gdLst>
                <a:gd name="T0" fmla="*/ 0 w 100"/>
                <a:gd name="T1" fmla="*/ 84 h 84"/>
                <a:gd name="T2" fmla="*/ 0 w 100"/>
                <a:gd name="T3" fmla="*/ 84 h 84"/>
                <a:gd name="T4" fmla="*/ 0 w 100"/>
                <a:gd name="T5" fmla="*/ 84 h 84"/>
                <a:gd name="T6" fmla="*/ 0 w 100"/>
                <a:gd name="T7" fmla="*/ 0 h 84"/>
                <a:gd name="T8" fmla="*/ 72 w 100"/>
                <a:gd name="T9" fmla="*/ 0 h 84"/>
                <a:gd name="T10" fmla="*/ 100 w 100"/>
                <a:gd name="T11" fmla="*/ 27 h 84"/>
                <a:gd name="T12" fmla="*/ 100 w 100"/>
                <a:gd name="T13" fmla="*/ 84 h 84"/>
                <a:gd name="T14" fmla="*/ 100 w 100"/>
                <a:gd name="T15" fmla="*/ 84 h 84"/>
                <a:gd name="T16" fmla="*/ 0 w 100"/>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4">
                  <a:moveTo>
                    <a:pt x="0" y="84"/>
                  </a:moveTo>
                  <a:cubicBezTo>
                    <a:pt x="0" y="84"/>
                    <a:pt x="0" y="84"/>
                    <a:pt x="0" y="84"/>
                  </a:cubicBezTo>
                  <a:cubicBezTo>
                    <a:pt x="0" y="84"/>
                    <a:pt x="0" y="84"/>
                    <a:pt x="0" y="84"/>
                  </a:cubicBezTo>
                  <a:cubicBezTo>
                    <a:pt x="0" y="0"/>
                    <a:pt x="0" y="0"/>
                    <a:pt x="0" y="0"/>
                  </a:cubicBezTo>
                  <a:cubicBezTo>
                    <a:pt x="72" y="0"/>
                    <a:pt x="72" y="0"/>
                    <a:pt x="72" y="0"/>
                  </a:cubicBezTo>
                  <a:cubicBezTo>
                    <a:pt x="87" y="0"/>
                    <a:pt x="100" y="12"/>
                    <a:pt x="100" y="27"/>
                  </a:cubicBezTo>
                  <a:cubicBezTo>
                    <a:pt x="100" y="84"/>
                    <a:pt x="100" y="84"/>
                    <a:pt x="100" y="84"/>
                  </a:cubicBezTo>
                  <a:cubicBezTo>
                    <a:pt x="100" y="84"/>
                    <a:pt x="100" y="84"/>
                    <a:pt x="100" y="84"/>
                  </a:cubicBezTo>
                  <a:lnTo>
                    <a:pt x="0" y="8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53" name="Freeform 247"/>
            <p:cNvSpPr>
              <a:spLocks/>
            </p:cNvSpPr>
            <p:nvPr/>
          </p:nvSpPr>
          <p:spPr bwMode="auto">
            <a:xfrm>
              <a:off x="609600" y="6108700"/>
              <a:ext cx="53975" cy="79375"/>
            </a:xfrm>
            <a:custGeom>
              <a:avLst/>
              <a:gdLst>
                <a:gd name="T0" fmla="*/ 27 w 28"/>
                <a:gd name="T1" fmla="*/ 11 h 41"/>
                <a:gd name="T2" fmla="*/ 26 w 28"/>
                <a:gd name="T3" fmla="*/ 16 h 41"/>
                <a:gd name="T4" fmla="*/ 24 w 28"/>
                <a:gd name="T5" fmla="*/ 20 h 41"/>
                <a:gd name="T6" fmla="*/ 21 w 28"/>
                <a:gd name="T7" fmla="*/ 23 h 41"/>
                <a:gd name="T8" fmla="*/ 17 w 28"/>
                <a:gd name="T9" fmla="*/ 27 h 41"/>
                <a:gd name="T10" fmla="*/ 16 w 28"/>
                <a:gd name="T11" fmla="*/ 28 h 41"/>
                <a:gd name="T12" fmla="*/ 14 w 28"/>
                <a:gd name="T13" fmla="*/ 30 h 41"/>
                <a:gd name="T14" fmla="*/ 12 w 28"/>
                <a:gd name="T15" fmla="*/ 32 h 41"/>
                <a:gd name="T16" fmla="*/ 11 w 28"/>
                <a:gd name="T17" fmla="*/ 34 h 41"/>
                <a:gd name="T18" fmla="*/ 28 w 28"/>
                <a:gd name="T19" fmla="*/ 34 h 41"/>
                <a:gd name="T20" fmla="*/ 28 w 28"/>
                <a:gd name="T21" fmla="*/ 41 h 41"/>
                <a:gd name="T22" fmla="*/ 1 w 28"/>
                <a:gd name="T23" fmla="*/ 41 h 41"/>
                <a:gd name="T24" fmla="*/ 1 w 28"/>
                <a:gd name="T25" fmla="*/ 40 h 41"/>
                <a:gd name="T26" fmla="*/ 1 w 28"/>
                <a:gd name="T27" fmla="*/ 38 h 41"/>
                <a:gd name="T28" fmla="*/ 2 w 28"/>
                <a:gd name="T29" fmla="*/ 33 h 41"/>
                <a:gd name="T30" fmla="*/ 5 w 28"/>
                <a:gd name="T31" fmla="*/ 29 h 41"/>
                <a:gd name="T32" fmla="*/ 8 w 28"/>
                <a:gd name="T33" fmla="*/ 25 h 41"/>
                <a:gd name="T34" fmla="*/ 12 w 28"/>
                <a:gd name="T35" fmla="*/ 21 h 41"/>
                <a:gd name="T36" fmla="*/ 14 w 28"/>
                <a:gd name="T37" fmla="*/ 19 h 41"/>
                <a:gd name="T38" fmla="*/ 16 w 28"/>
                <a:gd name="T39" fmla="*/ 17 h 41"/>
                <a:gd name="T40" fmla="*/ 18 w 28"/>
                <a:gd name="T41" fmla="*/ 14 h 41"/>
                <a:gd name="T42" fmla="*/ 18 w 28"/>
                <a:gd name="T43" fmla="*/ 12 h 41"/>
                <a:gd name="T44" fmla="*/ 17 w 28"/>
                <a:gd name="T45" fmla="*/ 8 h 41"/>
                <a:gd name="T46" fmla="*/ 13 w 28"/>
                <a:gd name="T47" fmla="*/ 7 h 41"/>
                <a:gd name="T48" fmla="*/ 10 w 28"/>
                <a:gd name="T49" fmla="*/ 8 h 41"/>
                <a:gd name="T50" fmla="*/ 8 w 28"/>
                <a:gd name="T51" fmla="*/ 9 h 41"/>
                <a:gd name="T52" fmla="*/ 6 w 28"/>
                <a:gd name="T53" fmla="*/ 10 h 41"/>
                <a:gd name="T54" fmla="*/ 5 w 28"/>
                <a:gd name="T55" fmla="*/ 11 h 41"/>
                <a:gd name="T56" fmla="*/ 0 w 28"/>
                <a:gd name="T57" fmla="*/ 5 h 41"/>
                <a:gd name="T58" fmla="*/ 6 w 28"/>
                <a:gd name="T59" fmla="*/ 1 h 41"/>
                <a:gd name="T60" fmla="*/ 14 w 28"/>
                <a:gd name="T61" fmla="*/ 0 h 41"/>
                <a:gd name="T62" fmla="*/ 20 w 28"/>
                <a:gd name="T63" fmla="*/ 1 h 41"/>
                <a:gd name="T64" fmla="*/ 24 w 28"/>
                <a:gd name="T65" fmla="*/ 3 h 41"/>
                <a:gd name="T66" fmla="*/ 26 w 28"/>
                <a:gd name="T67" fmla="*/ 7 h 41"/>
                <a:gd name="T68" fmla="*/ 27 w 28"/>
                <a:gd name="T69" fmla="*/ 1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41">
                  <a:moveTo>
                    <a:pt x="27" y="11"/>
                  </a:moveTo>
                  <a:cubicBezTo>
                    <a:pt x="27" y="13"/>
                    <a:pt x="27" y="14"/>
                    <a:pt x="26" y="16"/>
                  </a:cubicBezTo>
                  <a:cubicBezTo>
                    <a:pt x="26" y="17"/>
                    <a:pt x="25" y="18"/>
                    <a:pt x="24" y="20"/>
                  </a:cubicBezTo>
                  <a:cubicBezTo>
                    <a:pt x="23" y="21"/>
                    <a:pt x="22" y="22"/>
                    <a:pt x="21" y="23"/>
                  </a:cubicBezTo>
                  <a:cubicBezTo>
                    <a:pt x="20" y="24"/>
                    <a:pt x="19" y="25"/>
                    <a:pt x="17" y="27"/>
                  </a:cubicBezTo>
                  <a:cubicBezTo>
                    <a:pt x="17" y="27"/>
                    <a:pt x="16" y="28"/>
                    <a:pt x="16" y="28"/>
                  </a:cubicBezTo>
                  <a:cubicBezTo>
                    <a:pt x="15" y="29"/>
                    <a:pt x="14" y="30"/>
                    <a:pt x="14" y="30"/>
                  </a:cubicBezTo>
                  <a:cubicBezTo>
                    <a:pt x="13" y="31"/>
                    <a:pt x="12" y="32"/>
                    <a:pt x="12" y="32"/>
                  </a:cubicBezTo>
                  <a:cubicBezTo>
                    <a:pt x="11" y="33"/>
                    <a:pt x="11" y="33"/>
                    <a:pt x="11" y="34"/>
                  </a:cubicBezTo>
                  <a:cubicBezTo>
                    <a:pt x="28" y="34"/>
                    <a:pt x="28" y="34"/>
                    <a:pt x="28" y="34"/>
                  </a:cubicBezTo>
                  <a:cubicBezTo>
                    <a:pt x="28" y="41"/>
                    <a:pt x="28" y="41"/>
                    <a:pt x="28" y="41"/>
                  </a:cubicBezTo>
                  <a:cubicBezTo>
                    <a:pt x="1" y="41"/>
                    <a:pt x="1" y="41"/>
                    <a:pt x="1" y="41"/>
                  </a:cubicBezTo>
                  <a:cubicBezTo>
                    <a:pt x="1" y="41"/>
                    <a:pt x="1" y="40"/>
                    <a:pt x="1" y="40"/>
                  </a:cubicBezTo>
                  <a:cubicBezTo>
                    <a:pt x="1" y="39"/>
                    <a:pt x="1" y="38"/>
                    <a:pt x="1" y="38"/>
                  </a:cubicBezTo>
                  <a:cubicBezTo>
                    <a:pt x="1" y="36"/>
                    <a:pt x="2" y="35"/>
                    <a:pt x="2" y="33"/>
                  </a:cubicBezTo>
                  <a:cubicBezTo>
                    <a:pt x="3" y="31"/>
                    <a:pt x="4" y="30"/>
                    <a:pt x="5" y="29"/>
                  </a:cubicBezTo>
                  <a:cubicBezTo>
                    <a:pt x="6" y="27"/>
                    <a:pt x="7" y="26"/>
                    <a:pt x="8" y="25"/>
                  </a:cubicBezTo>
                  <a:cubicBezTo>
                    <a:pt x="9" y="24"/>
                    <a:pt x="10" y="23"/>
                    <a:pt x="12" y="21"/>
                  </a:cubicBezTo>
                  <a:cubicBezTo>
                    <a:pt x="13" y="20"/>
                    <a:pt x="13" y="20"/>
                    <a:pt x="14" y="19"/>
                  </a:cubicBezTo>
                  <a:cubicBezTo>
                    <a:pt x="15" y="18"/>
                    <a:pt x="16" y="17"/>
                    <a:pt x="16" y="17"/>
                  </a:cubicBezTo>
                  <a:cubicBezTo>
                    <a:pt x="17" y="16"/>
                    <a:pt x="17" y="15"/>
                    <a:pt x="18" y="14"/>
                  </a:cubicBezTo>
                  <a:cubicBezTo>
                    <a:pt x="18" y="13"/>
                    <a:pt x="18" y="13"/>
                    <a:pt x="18" y="12"/>
                  </a:cubicBezTo>
                  <a:cubicBezTo>
                    <a:pt x="18" y="10"/>
                    <a:pt x="18" y="9"/>
                    <a:pt x="17" y="8"/>
                  </a:cubicBezTo>
                  <a:cubicBezTo>
                    <a:pt x="16" y="8"/>
                    <a:pt x="15" y="7"/>
                    <a:pt x="13" y="7"/>
                  </a:cubicBezTo>
                  <a:cubicBezTo>
                    <a:pt x="12" y="7"/>
                    <a:pt x="11" y="7"/>
                    <a:pt x="10" y="8"/>
                  </a:cubicBezTo>
                  <a:cubicBezTo>
                    <a:pt x="9" y="8"/>
                    <a:pt x="9" y="8"/>
                    <a:pt x="8" y="9"/>
                  </a:cubicBezTo>
                  <a:cubicBezTo>
                    <a:pt x="7" y="9"/>
                    <a:pt x="6" y="10"/>
                    <a:pt x="6" y="10"/>
                  </a:cubicBezTo>
                  <a:cubicBezTo>
                    <a:pt x="5" y="11"/>
                    <a:pt x="5" y="11"/>
                    <a:pt x="5" y="11"/>
                  </a:cubicBezTo>
                  <a:cubicBezTo>
                    <a:pt x="0" y="5"/>
                    <a:pt x="0" y="5"/>
                    <a:pt x="0" y="5"/>
                  </a:cubicBezTo>
                  <a:cubicBezTo>
                    <a:pt x="2" y="4"/>
                    <a:pt x="4" y="2"/>
                    <a:pt x="6" y="1"/>
                  </a:cubicBezTo>
                  <a:cubicBezTo>
                    <a:pt x="9" y="0"/>
                    <a:pt x="11" y="0"/>
                    <a:pt x="14" y="0"/>
                  </a:cubicBezTo>
                  <a:cubicBezTo>
                    <a:pt x="16" y="0"/>
                    <a:pt x="18" y="0"/>
                    <a:pt x="20" y="1"/>
                  </a:cubicBezTo>
                  <a:cubicBezTo>
                    <a:pt x="21" y="1"/>
                    <a:pt x="23" y="2"/>
                    <a:pt x="24" y="3"/>
                  </a:cubicBezTo>
                  <a:cubicBezTo>
                    <a:pt x="25" y="4"/>
                    <a:pt x="26" y="5"/>
                    <a:pt x="26" y="7"/>
                  </a:cubicBezTo>
                  <a:cubicBezTo>
                    <a:pt x="27" y="8"/>
                    <a:pt x="27" y="10"/>
                    <a:pt x="27" y="11"/>
                  </a:cubicBezTo>
                  <a:close/>
                </a:path>
              </a:pathLst>
            </a:custGeom>
            <a:solidFill>
              <a:srgbClr val="2C0F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248"/>
            <p:cNvSpPr>
              <a:spLocks/>
            </p:cNvSpPr>
            <p:nvPr/>
          </p:nvSpPr>
          <p:spPr bwMode="auto">
            <a:xfrm>
              <a:off x="827087" y="6110288"/>
              <a:ext cx="38100" cy="77788"/>
            </a:xfrm>
            <a:custGeom>
              <a:avLst/>
              <a:gdLst>
                <a:gd name="T0" fmla="*/ 0 w 20"/>
                <a:gd name="T1" fmla="*/ 8 h 40"/>
                <a:gd name="T2" fmla="*/ 4 w 20"/>
                <a:gd name="T3" fmla="*/ 7 h 40"/>
                <a:gd name="T4" fmla="*/ 7 w 20"/>
                <a:gd name="T5" fmla="*/ 5 h 40"/>
                <a:gd name="T6" fmla="*/ 11 w 20"/>
                <a:gd name="T7" fmla="*/ 2 h 40"/>
                <a:gd name="T8" fmla="*/ 14 w 20"/>
                <a:gd name="T9" fmla="*/ 0 h 40"/>
                <a:gd name="T10" fmla="*/ 20 w 20"/>
                <a:gd name="T11" fmla="*/ 0 h 40"/>
                <a:gd name="T12" fmla="*/ 20 w 20"/>
                <a:gd name="T13" fmla="*/ 40 h 40"/>
                <a:gd name="T14" fmla="*/ 11 w 20"/>
                <a:gd name="T15" fmla="*/ 40 h 40"/>
                <a:gd name="T16" fmla="*/ 11 w 20"/>
                <a:gd name="T17" fmla="*/ 11 h 40"/>
                <a:gd name="T18" fmla="*/ 7 w 20"/>
                <a:gd name="T19" fmla="*/ 13 h 40"/>
                <a:gd name="T20" fmla="*/ 3 w 20"/>
                <a:gd name="T21" fmla="*/ 15 h 40"/>
                <a:gd name="T22" fmla="*/ 0 w 20"/>
                <a:gd name="T2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40">
                  <a:moveTo>
                    <a:pt x="0" y="8"/>
                  </a:moveTo>
                  <a:cubicBezTo>
                    <a:pt x="1" y="8"/>
                    <a:pt x="3" y="7"/>
                    <a:pt x="4" y="7"/>
                  </a:cubicBezTo>
                  <a:cubicBezTo>
                    <a:pt x="5" y="6"/>
                    <a:pt x="6" y="5"/>
                    <a:pt x="7" y="5"/>
                  </a:cubicBezTo>
                  <a:cubicBezTo>
                    <a:pt x="9" y="4"/>
                    <a:pt x="10" y="3"/>
                    <a:pt x="11" y="2"/>
                  </a:cubicBezTo>
                  <a:cubicBezTo>
                    <a:pt x="12" y="1"/>
                    <a:pt x="13" y="1"/>
                    <a:pt x="14" y="0"/>
                  </a:cubicBezTo>
                  <a:cubicBezTo>
                    <a:pt x="20" y="0"/>
                    <a:pt x="20" y="0"/>
                    <a:pt x="20" y="0"/>
                  </a:cubicBezTo>
                  <a:cubicBezTo>
                    <a:pt x="20" y="40"/>
                    <a:pt x="20" y="40"/>
                    <a:pt x="20" y="40"/>
                  </a:cubicBezTo>
                  <a:cubicBezTo>
                    <a:pt x="11" y="40"/>
                    <a:pt x="11" y="40"/>
                    <a:pt x="11" y="40"/>
                  </a:cubicBezTo>
                  <a:cubicBezTo>
                    <a:pt x="11" y="11"/>
                    <a:pt x="11" y="11"/>
                    <a:pt x="11" y="11"/>
                  </a:cubicBezTo>
                  <a:cubicBezTo>
                    <a:pt x="10" y="12"/>
                    <a:pt x="9" y="13"/>
                    <a:pt x="7" y="13"/>
                  </a:cubicBezTo>
                  <a:cubicBezTo>
                    <a:pt x="6" y="14"/>
                    <a:pt x="4" y="14"/>
                    <a:pt x="3" y="15"/>
                  </a:cubicBezTo>
                  <a:lnTo>
                    <a:pt x="0" y="8"/>
                  </a:lnTo>
                  <a:close/>
                </a:path>
              </a:pathLst>
            </a:custGeom>
            <a:solidFill>
              <a:srgbClr val="2C0F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249"/>
            <p:cNvSpPr>
              <a:spLocks/>
            </p:cNvSpPr>
            <p:nvPr/>
          </p:nvSpPr>
          <p:spPr bwMode="auto">
            <a:xfrm>
              <a:off x="1030287" y="6108700"/>
              <a:ext cx="53975" cy="80963"/>
            </a:xfrm>
            <a:custGeom>
              <a:avLst/>
              <a:gdLst>
                <a:gd name="T0" fmla="*/ 12 w 28"/>
                <a:gd name="T1" fmla="*/ 42 h 42"/>
                <a:gd name="T2" fmla="*/ 8 w 28"/>
                <a:gd name="T3" fmla="*/ 42 h 42"/>
                <a:gd name="T4" fmla="*/ 5 w 28"/>
                <a:gd name="T5" fmla="*/ 41 h 42"/>
                <a:gd name="T6" fmla="*/ 2 w 28"/>
                <a:gd name="T7" fmla="*/ 41 h 42"/>
                <a:gd name="T8" fmla="*/ 0 w 28"/>
                <a:gd name="T9" fmla="*/ 40 h 42"/>
                <a:gd name="T10" fmla="*/ 1 w 28"/>
                <a:gd name="T11" fmla="*/ 33 h 42"/>
                <a:gd name="T12" fmla="*/ 5 w 28"/>
                <a:gd name="T13" fmla="*/ 34 h 42"/>
                <a:gd name="T14" fmla="*/ 11 w 28"/>
                <a:gd name="T15" fmla="*/ 35 h 42"/>
                <a:gd name="T16" fmla="*/ 17 w 28"/>
                <a:gd name="T17" fmla="*/ 33 h 42"/>
                <a:gd name="T18" fmla="*/ 19 w 28"/>
                <a:gd name="T19" fmla="*/ 29 h 42"/>
                <a:gd name="T20" fmla="*/ 18 w 28"/>
                <a:gd name="T21" fmla="*/ 26 h 42"/>
                <a:gd name="T22" fmla="*/ 16 w 28"/>
                <a:gd name="T23" fmla="*/ 25 h 42"/>
                <a:gd name="T24" fmla="*/ 14 w 28"/>
                <a:gd name="T25" fmla="*/ 24 h 42"/>
                <a:gd name="T26" fmla="*/ 10 w 28"/>
                <a:gd name="T27" fmla="*/ 23 h 42"/>
                <a:gd name="T28" fmla="*/ 7 w 28"/>
                <a:gd name="T29" fmla="*/ 23 h 42"/>
                <a:gd name="T30" fmla="*/ 7 w 28"/>
                <a:gd name="T31" fmla="*/ 16 h 42"/>
                <a:gd name="T32" fmla="*/ 11 w 28"/>
                <a:gd name="T33" fmla="*/ 16 h 42"/>
                <a:gd name="T34" fmla="*/ 13 w 28"/>
                <a:gd name="T35" fmla="*/ 16 h 42"/>
                <a:gd name="T36" fmla="*/ 15 w 28"/>
                <a:gd name="T37" fmla="*/ 15 h 42"/>
                <a:gd name="T38" fmla="*/ 17 w 28"/>
                <a:gd name="T39" fmla="*/ 14 h 42"/>
                <a:gd name="T40" fmla="*/ 17 w 28"/>
                <a:gd name="T41" fmla="*/ 11 h 42"/>
                <a:gd name="T42" fmla="*/ 17 w 28"/>
                <a:gd name="T43" fmla="*/ 10 h 42"/>
                <a:gd name="T44" fmla="*/ 16 w 28"/>
                <a:gd name="T45" fmla="*/ 8 h 42"/>
                <a:gd name="T46" fmla="*/ 14 w 28"/>
                <a:gd name="T47" fmla="*/ 7 h 42"/>
                <a:gd name="T48" fmla="*/ 12 w 28"/>
                <a:gd name="T49" fmla="*/ 7 h 42"/>
                <a:gd name="T50" fmla="*/ 7 w 28"/>
                <a:gd name="T51" fmla="*/ 8 h 42"/>
                <a:gd name="T52" fmla="*/ 4 w 28"/>
                <a:gd name="T53" fmla="*/ 10 h 42"/>
                <a:gd name="T54" fmla="*/ 0 w 28"/>
                <a:gd name="T55" fmla="*/ 3 h 42"/>
                <a:gd name="T56" fmla="*/ 3 w 28"/>
                <a:gd name="T57" fmla="*/ 2 h 42"/>
                <a:gd name="T58" fmla="*/ 5 w 28"/>
                <a:gd name="T59" fmla="*/ 1 h 42"/>
                <a:gd name="T60" fmla="*/ 9 w 28"/>
                <a:gd name="T61" fmla="*/ 0 h 42"/>
                <a:gd name="T62" fmla="*/ 12 w 28"/>
                <a:gd name="T63" fmla="*/ 0 h 42"/>
                <a:gd name="T64" fmla="*/ 18 w 28"/>
                <a:gd name="T65" fmla="*/ 1 h 42"/>
                <a:gd name="T66" fmla="*/ 23 w 28"/>
                <a:gd name="T67" fmla="*/ 3 h 42"/>
                <a:gd name="T68" fmla="*/ 25 w 28"/>
                <a:gd name="T69" fmla="*/ 7 h 42"/>
                <a:gd name="T70" fmla="*/ 26 w 28"/>
                <a:gd name="T71" fmla="*/ 11 h 42"/>
                <a:gd name="T72" fmla="*/ 25 w 28"/>
                <a:gd name="T73" fmla="*/ 16 h 42"/>
                <a:gd name="T74" fmla="*/ 21 w 28"/>
                <a:gd name="T75" fmla="*/ 19 h 42"/>
                <a:gd name="T76" fmla="*/ 26 w 28"/>
                <a:gd name="T77" fmla="*/ 23 h 42"/>
                <a:gd name="T78" fmla="*/ 28 w 28"/>
                <a:gd name="T79" fmla="*/ 29 h 42"/>
                <a:gd name="T80" fmla="*/ 27 w 28"/>
                <a:gd name="T81" fmla="*/ 34 h 42"/>
                <a:gd name="T82" fmla="*/ 24 w 28"/>
                <a:gd name="T83" fmla="*/ 38 h 42"/>
                <a:gd name="T84" fmla="*/ 19 w 28"/>
                <a:gd name="T85" fmla="*/ 41 h 42"/>
                <a:gd name="T86" fmla="*/ 12 w 28"/>
                <a:gd name="T8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42">
                  <a:moveTo>
                    <a:pt x="12" y="42"/>
                  </a:moveTo>
                  <a:cubicBezTo>
                    <a:pt x="11" y="42"/>
                    <a:pt x="9" y="42"/>
                    <a:pt x="8" y="42"/>
                  </a:cubicBezTo>
                  <a:cubicBezTo>
                    <a:pt x="7" y="42"/>
                    <a:pt x="6" y="42"/>
                    <a:pt x="5" y="41"/>
                  </a:cubicBezTo>
                  <a:cubicBezTo>
                    <a:pt x="4" y="41"/>
                    <a:pt x="3" y="41"/>
                    <a:pt x="2" y="41"/>
                  </a:cubicBezTo>
                  <a:cubicBezTo>
                    <a:pt x="1" y="40"/>
                    <a:pt x="0" y="40"/>
                    <a:pt x="0" y="40"/>
                  </a:cubicBezTo>
                  <a:cubicBezTo>
                    <a:pt x="1" y="33"/>
                    <a:pt x="1" y="33"/>
                    <a:pt x="1" y="33"/>
                  </a:cubicBezTo>
                  <a:cubicBezTo>
                    <a:pt x="2" y="33"/>
                    <a:pt x="4" y="33"/>
                    <a:pt x="5" y="34"/>
                  </a:cubicBezTo>
                  <a:cubicBezTo>
                    <a:pt x="7" y="34"/>
                    <a:pt x="9" y="35"/>
                    <a:pt x="11" y="35"/>
                  </a:cubicBezTo>
                  <a:cubicBezTo>
                    <a:pt x="14" y="35"/>
                    <a:pt x="16" y="34"/>
                    <a:pt x="17" y="33"/>
                  </a:cubicBezTo>
                  <a:cubicBezTo>
                    <a:pt x="18" y="32"/>
                    <a:pt x="19" y="31"/>
                    <a:pt x="19" y="29"/>
                  </a:cubicBezTo>
                  <a:cubicBezTo>
                    <a:pt x="19" y="28"/>
                    <a:pt x="19" y="27"/>
                    <a:pt x="18" y="26"/>
                  </a:cubicBezTo>
                  <a:cubicBezTo>
                    <a:pt x="18" y="26"/>
                    <a:pt x="17" y="25"/>
                    <a:pt x="16" y="25"/>
                  </a:cubicBezTo>
                  <a:cubicBezTo>
                    <a:pt x="16" y="24"/>
                    <a:pt x="15" y="24"/>
                    <a:pt x="14" y="24"/>
                  </a:cubicBezTo>
                  <a:cubicBezTo>
                    <a:pt x="13" y="24"/>
                    <a:pt x="11" y="23"/>
                    <a:pt x="10" y="23"/>
                  </a:cubicBezTo>
                  <a:cubicBezTo>
                    <a:pt x="7" y="23"/>
                    <a:pt x="7" y="23"/>
                    <a:pt x="7" y="23"/>
                  </a:cubicBezTo>
                  <a:cubicBezTo>
                    <a:pt x="7" y="16"/>
                    <a:pt x="7" y="16"/>
                    <a:pt x="7" y="16"/>
                  </a:cubicBezTo>
                  <a:cubicBezTo>
                    <a:pt x="11" y="16"/>
                    <a:pt x="11" y="16"/>
                    <a:pt x="11" y="16"/>
                  </a:cubicBezTo>
                  <a:cubicBezTo>
                    <a:pt x="12" y="16"/>
                    <a:pt x="12" y="16"/>
                    <a:pt x="13" y="16"/>
                  </a:cubicBezTo>
                  <a:cubicBezTo>
                    <a:pt x="14" y="16"/>
                    <a:pt x="15" y="16"/>
                    <a:pt x="15" y="15"/>
                  </a:cubicBezTo>
                  <a:cubicBezTo>
                    <a:pt x="16" y="15"/>
                    <a:pt x="16" y="15"/>
                    <a:pt x="17" y="14"/>
                  </a:cubicBezTo>
                  <a:cubicBezTo>
                    <a:pt x="17" y="13"/>
                    <a:pt x="17" y="12"/>
                    <a:pt x="17" y="11"/>
                  </a:cubicBezTo>
                  <a:cubicBezTo>
                    <a:pt x="17" y="11"/>
                    <a:pt x="17" y="10"/>
                    <a:pt x="17" y="10"/>
                  </a:cubicBezTo>
                  <a:cubicBezTo>
                    <a:pt x="17" y="9"/>
                    <a:pt x="16" y="9"/>
                    <a:pt x="16" y="8"/>
                  </a:cubicBezTo>
                  <a:cubicBezTo>
                    <a:pt x="15" y="8"/>
                    <a:pt x="15" y="8"/>
                    <a:pt x="14" y="7"/>
                  </a:cubicBezTo>
                  <a:cubicBezTo>
                    <a:pt x="13" y="7"/>
                    <a:pt x="13" y="7"/>
                    <a:pt x="12" y="7"/>
                  </a:cubicBezTo>
                  <a:cubicBezTo>
                    <a:pt x="10" y="7"/>
                    <a:pt x="9" y="7"/>
                    <a:pt x="7" y="8"/>
                  </a:cubicBezTo>
                  <a:cubicBezTo>
                    <a:pt x="6" y="8"/>
                    <a:pt x="5" y="9"/>
                    <a:pt x="4" y="10"/>
                  </a:cubicBezTo>
                  <a:cubicBezTo>
                    <a:pt x="0" y="3"/>
                    <a:pt x="0" y="3"/>
                    <a:pt x="0" y="3"/>
                  </a:cubicBezTo>
                  <a:cubicBezTo>
                    <a:pt x="1" y="3"/>
                    <a:pt x="2" y="3"/>
                    <a:pt x="3" y="2"/>
                  </a:cubicBezTo>
                  <a:cubicBezTo>
                    <a:pt x="4" y="2"/>
                    <a:pt x="4" y="1"/>
                    <a:pt x="5" y="1"/>
                  </a:cubicBezTo>
                  <a:cubicBezTo>
                    <a:pt x="6" y="1"/>
                    <a:pt x="8" y="0"/>
                    <a:pt x="9" y="0"/>
                  </a:cubicBezTo>
                  <a:cubicBezTo>
                    <a:pt x="10" y="0"/>
                    <a:pt x="11" y="0"/>
                    <a:pt x="12" y="0"/>
                  </a:cubicBezTo>
                  <a:cubicBezTo>
                    <a:pt x="15" y="0"/>
                    <a:pt x="17" y="0"/>
                    <a:pt x="18" y="1"/>
                  </a:cubicBezTo>
                  <a:cubicBezTo>
                    <a:pt x="20" y="1"/>
                    <a:pt x="22" y="2"/>
                    <a:pt x="23" y="3"/>
                  </a:cubicBezTo>
                  <a:cubicBezTo>
                    <a:pt x="24" y="4"/>
                    <a:pt x="25" y="5"/>
                    <a:pt x="25" y="7"/>
                  </a:cubicBezTo>
                  <a:cubicBezTo>
                    <a:pt x="26" y="8"/>
                    <a:pt x="26" y="10"/>
                    <a:pt x="26" y="11"/>
                  </a:cubicBezTo>
                  <a:cubicBezTo>
                    <a:pt x="26" y="13"/>
                    <a:pt x="26" y="14"/>
                    <a:pt x="25" y="16"/>
                  </a:cubicBezTo>
                  <a:cubicBezTo>
                    <a:pt x="24" y="17"/>
                    <a:pt x="23" y="18"/>
                    <a:pt x="21" y="19"/>
                  </a:cubicBezTo>
                  <a:cubicBezTo>
                    <a:pt x="23" y="20"/>
                    <a:pt x="25" y="21"/>
                    <a:pt x="26" y="23"/>
                  </a:cubicBezTo>
                  <a:cubicBezTo>
                    <a:pt x="27" y="25"/>
                    <a:pt x="28" y="27"/>
                    <a:pt x="28" y="29"/>
                  </a:cubicBezTo>
                  <a:cubicBezTo>
                    <a:pt x="28" y="31"/>
                    <a:pt x="27" y="33"/>
                    <a:pt x="27" y="34"/>
                  </a:cubicBezTo>
                  <a:cubicBezTo>
                    <a:pt x="26" y="36"/>
                    <a:pt x="25" y="37"/>
                    <a:pt x="24" y="38"/>
                  </a:cubicBezTo>
                  <a:cubicBezTo>
                    <a:pt x="23" y="40"/>
                    <a:pt x="21" y="40"/>
                    <a:pt x="19" y="41"/>
                  </a:cubicBezTo>
                  <a:cubicBezTo>
                    <a:pt x="17" y="42"/>
                    <a:pt x="14" y="42"/>
                    <a:pt x="12" y="42"/>
                  </a:cubicBezTo>
                  <a:close/>
                </a:path>
              </a:pathLst>
            </a:custGeom>
            <a:solidFill>
              <a:srgbClr val="2C0F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8" name="Group 597"/>
          <p:cNvGrpSpPr>
            <a:grpSpLocks noChangeAspect="1"/>
          </p:cNvGrpSpPr>
          <p:nvPr/>
        </p:nvGrpSpPr>
        <p:grpSpPr>
          <a:xfrm>
            <a:off x="2754834" y="5335009"/>
            <a:ext cx="844389" cy="795528"/>
            <a:chOff x="2794000" y="5657850"/>
            <a:chExt cx="877887" cy="827088"/>
          </a:xfrm>
        </p:grpSpPr>
        <p:sp>
          <p:nvSpPr>
            <p:cNvPr id="339" name="Freeform 233"/>
            <p:cNvSpPr>
              <a:spLocks/>
            </p:cNvSpPr>
            <p:nvPr/>
          </p:nvSpPr>
          <p:spPr bwMode="auto">
            <a:xfrm>
              <a:off x="2794000" y="5657850"/>
              <a:ext cx="877887" cy="827088"/>
            </a:xfrm>
            <a:custGeom>
              <a:avLst/>
              <a:gdLst>
                <a:gd name="T0" fmla="*/ 66 w 457"/>
                <a:gd name="T1" fmla="*/ 333 h 427"/>
                <a:gd name="T2" fmla="*/ 109 w 457"/>
                <a:gd name="T3" fmla="*/ 63 h 427"/>
                <a:gd name="T4" fmla="*/ 391 w 457"/>
                <a:gd name="T5" fmla="*/ 103 h 427"/>
                <a:gd name="T6" fmla="*/ 340 w 457"/>
                <a:gd name="T7" fmla="*/ 363 h 427"/>
                <a:gd name="T8" fmla="*/ 66 w 457"/>
                <a:gd name="T9" fmla="*/ 333 h 427"/>
              </a:gdLst>
              <a:ahLst/>
              <a:cxnLst>
                <a:cxn ang="0">
                  <a:pos x="T0" y="T1"/>
                </a:cxn>
                <a:cxn ang="0">
                  <a:pos x="T2" y="T3"/>
                </a:cxn>
                <a:cxn ang="0">
                  <a:pos x="T4" y="T5"/>
                </a:cxn>
                <a:cxn ang="0">
                  <a:pos x="T6" y="T7"/>
                </a:cxn>
                <a:cxn ang="0">
                  <a:pos x="T8" y="T9"/>
                </a:cxn>
              </a:cxnLst>
              <a:rect l="0" t="0" r="r" b="b"/>
              <a:pathLst>
                <a:path w="457" h="427">
                  <a:moveTo>
                    <a:pt x="66" y="333"/>
                  </a:moveTo>
                  <a:cubicBezTo>
                    <a:pt x="0" y="248"/>
                    <a:pt x="20" y="127"/>
                    <a:pt x="109" y="63"/>
                  </a:cubicBezTo>
                  <a:cubicBezTo>
                    <a:pt x="199" y="0"/>
                    <a:pt x="325" y="18"/>
                    <a:pt x="391" y="103"/>
                  </a:cubicBezTo>
                  <a:cubicBezTo>
                    <a:pt x="457" y="189"/>
                    <a:pt x="430" y="299"/>
                    <a:pt x="340" y="363"/>
                  </a:cubicBezTo>
                  <a:cubicBezTo>
                    <a:pt x="250" y="427"/>
                    <a:pt x="131" y="419"/>
                    <a:pt x="66" y="33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0" name="Freeform 234"/>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235"/>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56" name="Freeform 250"/>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3" name="Group 602"/>
          <p:cNvGrpSpPr>
            <a:grpSpLocks noChangeAspect="1"/>
          </p:cNvGrpSpPr>
          <p:nvPr/>
        </p:nvGrpSpPr>
        <p:grpSpPr>
          <a:xfrm>
            <a:off x="8792572" y="5335009"/>
            <a:ext cx="849312" cy="795338"/>
            <a:chOff x="8839199" y="5692775"/>
            <a:chExt cx="849312" cy="795338"/>
          </a:xfrm>
        </p:grpSpPr>
        <p:sp>
          <p:nvSpPr>
            <p:cNvPr id="357" name="Freeform 251"/>
            <p:cNvSpPr>
              <a:spLocks/>
            </p:cNvSpPr>
            <p:nvPr/>
          </p:nvSpPr>
          <p:spPr bwMode="auto">
            <a:xfrm>
              <a:off x="8839199" y="5692775"/>
              <a:ext cx="849312" cy="795338"/>
            </a:xfrm>
            <a:custGeom>
              <a:avLst/>
              <a:gdLst>
                <a:gd name="T0" fmla="*/ 51 w 441"/>
                <a:gd name="T1" fmla="*/ 298 h 411"/>
                <a:gd name="T2" fmla="*/ 128 w 441"/>
                <a:gd name="T3" fmla="*/ 48 h 411"/>
                <a:gd name="T4" fmla="*/ 390 w 441"/>
                <a:gd name="T5" fmla="*/ 123 h 411"/>
                <a:gd name="T6" fmla="*/ 307 w 441"/>
                <a:gd name="T7" fmla="*/ 362 h 411"/>
                <a:gd name="T8" fmla="*/ 51 w 441"/>
                <a:gd name="T9" fmla="*/ 298 h 411"/>
              </a:gdLst>
              <a:ahLst/>
              <a:cxnLst>
                <a:cxn ang="0">
                  <a:pos x="T0" y="T1"/>
                </a:cxn>
                <a:cxn ang="0">
                  <a:pos x="T2" y="T3"/>
                </a:cxn>
                <a:cxn ang="0">
                  <a:pos x="T4" y="T5"/>
                </a:cxn>
                <a:cxn ang="0">
                  <a:pos x="T6" y="T7"/>
                </a:cxn>
                <a:cxn ang="0">
                  <a:pos x="T8" y="T9"/>
                </a:cxn>
              </a:cxnLst>
              <a:rect l="0" t="0" r="r" b="b"/>
              <a:pathLst>
                <a:path w="441" h="411">
                  <a:moveTo>
                    <a:pt x="51" y="298"/>
                  </a:moveTo>
                  <a:cubicBezTo>
                    <a:pt x="0" y="209"/>
                    <a:pt x="35" y="97"/>
                    <a:pt x="128" y="48"/>
                  </a:cubicBezTo>
                  <a:cubicBezTo>
                    <a:pt x="221" y="0"/>
                    <a:pt x="339" y="33"/>
                    <a:pt x="390" y="123"/>
                  </a:cubicBezTo>
                  <a:cubicBezTo>
                    <a:pt x="441" y="212"/>
                    <a:pt x="401" y="313"/>
                    <a:pt x="307" y="362"/>
                  </a:cubicBezTo>
                  <a:cubicBezTo>
                    <a:pt x="214" y="411"/>
                    <a:pt x="102" y="388"/>
                    <a:pt x="51" y="29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58" name="Freeform 252"/>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59" name="Freeform 253"/>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254"/>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61" name="Freeform 255"/>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a:p>
          </p:txBody>
        </p:sp>
        <p:sp>
          <p:nvSpPr>
            <p:cNvPr id="362" name="Freeform 256"/>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63" name="Freeform 257"/>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258"/>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65" name="Freeform 259"/>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5" name="Group 604"/>
          <p:cNvGrpSpPr/>
          <p:nvPr/>
        </p:nvGrpSpPr>
        <p:grpSpPr>
          <a:xfrm>
            <a:off x="615951" y="6185909"/>
            <a:ext cx="349250" cy="98426"/>
            <a:chOff x="581026" y="7039045"/>
            <a:chExt cx="349250" cy="98426"/>
          </a:xfrm>
        </p:grpSpPr>
        <p:sp>
          <p:nvSpPr>
            <p:cNvPr id="456" name="Freeform 115"/>
            <p:cNvSpPr>
              <a:spLocks noEditPoints="1"/>
            </p:cNvSpPr>
            <p:nvPr/>
          </p:nvSpPr>
          <p:spPr bwMode="auto">
            <a:xfrm>
              <a:off x="581026" y="7048570"/>
              <a:ext cx="52388" cy="71438"/>
            </a:xfrm>
            <a:custGeom>
              <a:avLst/>
              <a:gdLst>
                <a:gd name="T0" fmla="*/ 26 w 28"/>
                <a:gd name="T1" fmla="*/ 12 h 39"/>
                <a:gd name="T2" fmla="*/ 23 w 28"/>
                <a:gd name="T3" fmla="*/ 18 h 39"/>
                <a:gd name="T4" fmla="*/ 17 w 28"/>
                <a:gd name="T5" fmla="*/ 22 h 39"/>
                <a:gd name="T6" fmla="*/ 20 w 28"/>
                <a:gd name="T7" fmla="*/ 25 h 39"/>
                <a:gd name="T8" fmla="*/ 23 w 28"/>
                <a:gd name="T9" fmla="*/ 29 h 39"/>
                <a:gd name="T10" fmla="*/ 26 w 28"/>
                <a:gd name="T11" fmla="*/ 34 h 39"/>
                <a:gd name="T12" fmla="*/ 28 w 28"/>
                <a:gd name="T13" fmla="*/ 39 h 39"/>
                <a:gd name="T14" fmla="*/ 24 w 28"/>
                <a:gd name="T15" fmla="*/ 39 h 39"/>
                <a:gd name="T16" fmla="*/ 21 w 28"/>
                <a:gd name="T17" fmla="*/ 34 h 39"/>
                <a:gd name="T18" fmla="*/ 19 w 28"/>
                <a:gd name="T19" fmla="*/ 30 h 39"/>
                <a:gd name="T20" fmla="*/ 16 w 28"/>
                <a:gd name="T21" fmla="*/ 26 h 39"/>
                <a:gd name="T22" fmla="*/ 13 w 28"/>
                <a:gd name="T23" fmla="*/ 23 h 39"/>
                <a:gd name="T24" fmla="*/ 10 w 28"/>
                <a:gd name="T25" fmla="*/ 23 h 39"/>
                <a:gd name="T26" fmla="*/ 4 w 28"/>
                <a:gd name="T27" fmla="*/ 23 h 39"/>
                <a:gd name="T28" fmla="*/ 4 w 28"/>
                <a:gd name="T29" fmla="*/ 39 h 39"/>
                <a:gd name="T30" fmla="*/ 0 w 28"/>
                <a:gd name="T31" fmla="*/ 39 h 39"/>
                <a:gd name="T32" fmla="*/ 0 w 28"/>
                <a:gd name="T33" fmla="*/ 1 h 39"/>
                <a:gd name="T34" fmla="*/ 5 w 28"/>
                <a:gd name="T35" fmla="*/ 0 h 39"/>
                <a:gd name="T36" fmla="*/ 10 w 28"/>
                <a:gd name="T37" fmla="*/ 0 h 39"/>
                <a:gd name="T38" fmla="*/ 22 w 28"/>
                <a:gd name="T39" fmla="*/ 3 h 39"/>
                <a:gd name="T40" fmla="*/ 26 w 28"/>
                <a:gd name="T41" fmla="*/ 12 h 39"/>
                <a:gd name="T42" fmla="*/ 10 w 28"/>
                <a:gd name="T43" fmla="*/ 3 h 39"/>
                <a:gd name="T44" fmla="*/ 6 w 28"/>
                <a:gd name="T45" fmla="*/ 3 h 39"/>
                <a:gd name="T46" fmla="*/ 4 w 28"/>
                <a:gd name="T47" fmla="*/ 3 h 39"/>
                <a:gd name="T48" fmla="*/ 4 w 28"/>
                <a:gd name="T49" fmla="*/ 20 h 39"/>
                <a:gd name="T50" fmla="*/ 9 w 28"/>
                <a:gd name="T51" fmla="*/ 20 h 39"/>
                <a:gd name="T52" fmla="*/ 14 w 28"/>
                <a:gd name="T53" fmla="*/ 20 h 39"/>
                <a:gd name="T54" fmla="*/ 18 w 28"/>
                <a:gd name="T55" fmla="*/ 18 h 39"/>
                <a:gd name="T56" fmla="*/ 21 w 28"/>
                <a:gd name="T57" fmla="*/ 16 h 39"/>
                <a:gd name="T58" fmla="*/ 22 w 28"/>
                <a:gd name="T59" fmla="*/ 12 h 39"/>
                <a:gd name="T60" fmla="*/ 21 w 28"/>
                <a:gd name="T61" fmla="*/ 7 h 39"/>
                <a:gd name="T62" fmla="*/ 18 w 28"/>
                <a:gd name="T63" fmla="*/ 5 h 39"/>
                <a:gd name="T64" fmla="*/ 14 w 28"/>
                <a:gd name="T65" fmla="*/ 3 h 39"/>
                <a:gd name="T66" fmla="*/ 10 w 28"/>
                <a:gd name="T6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39">
                  <a:moveTo>
                    <a:pt x="26" y="12"/>
                  </a:moveTo>
                  <a:cubicBezTo>
                    <a:pt x="26" y="14"/>
                    <a:pt x="25" y="17"/>
                    <a:pt x="23" y="18"/>
                  </a:cubicBezTo>
                  <a:cubicBezTo>
                    <a:pt x="22" y="20"/>
                    <a:pt x="20" y="21"/>
                    <a:pt x="17" y="22"/>
                  </a:cubicBezTo>
                  <a:cubicBezTo>
                    <a:pt x="18" y="23"/>
                    <a:pt x="19" y="24"/>
                    <a:pt x="20" y="25"/>
                  </a:cubicBezTo>
                  <a:cubicBezTo>
                    <a:pt x="21" y="26"/>
                    <a:pt x="22" y="28"/>
                    <a:pt x="23" y="29"/>
                  </a:cubicBezTo>
                  <a:cubicBezTo>
                    <a:pt x="24" y="31"/>
                    <a:pt x="25" y="32"/>
                    <a:pt x="26" y="34"/>
                  </a:cubicBezTo>
                  <a:cubicBezTo>
                    <a:pt x="27" y="36"/>
                    <a:pt x="27" y="37"/>
                    <a:pt x="28" y="39"/>
                  </a:cubicBezTo>
                  <a:cubicBezTo>
                    <a:pt x="24" y="39"/>
                    <a:pt x="24" y="39"/>
                    <a:pt x="24" y="39"/>
                  </a:cubicBezTo>
                  <a:cubicBezTo>
                    <a:pt x="23" y="37"/>
                    <a:pt x="22" y="36"/>
                    <a:pt x="21" y="34"/>
                  </a:cubicBezTo>
                  <a:cubicBezTo>
                    <a:pt x="21" y="33"/>
                    <a:pt x="20" y="31"/>
                    <a:pt x="19" y="30"/>
                  </a:cubicBezTo>
                  <a:cubicBezTo>
                    <a:pt x="18" y="28"/>
                    <a:pt x="17" y="27"/>
                    <a:pt x="16" y="26"/>
                  </a:cubicBezTo>
                  <a:cubicBezTo>
                    <a:pt x="15" y="25"/>
                    <a:pt x="14" y="24"/>
                    <a:pt x="13" y="23"/>
                  </a:cubicBezTo>
                  <a:cubicBezTo>
                    <a:pt x="12" y="23"/>
                    <a:pt x="11" y="23"/>
                    <a:pt x="10" y="23"/>
                  </a:cubicBezTo>
                  <a:cubicBezTo>
                    <a:pt x="4" y="23"/>
                    <a:pt x="4" y="23"/>
                    <a:pt x="4" y="23"/>
                  </a:cubicBezTo>
                  <a:cubicBezTo>
                    <a:pt x="4" y="39"/>
                    <a:pt x="4" y="39"/>
                    <a:pt x="4" y="39"/>
                  </a:cubicBezTo>
                  <a:cubicBezTo>
                    <a:pt x="0" y="39"/>
                    <a:pt x="0" y="39"/>
                    <a:pt x="0" y="39"/>
                  </a:cubicBezTo>
                  <a:cubicBezTo>
                    <a:pt x="0" y="1"/>
                    <a:pt x="0" y="1"/>
                    <a:pt x="0" y="1"/>
                  </a:cubicBezTo>
                  <a:cubicBezTo>
                    <a:pt x="1" y="0"/>
                    <a:pt x="3" y="0"/>
                    <a:pt x="5" y="0"/>
                  </a:cubicBezTo>
                  <a:cubicBezTo>
                    <a:pt x="6" y="0"/>
                    <a:pt x="8" y="0"/>
                    <a:pt x="10" y="0"/>
                  </a:cubicBezTo>
                  <a:cubicBezTo>
                    <a:pt x="15" y="0"/>
                    <a:pt x="19" y="1"/>
                    <a:pt x="22" y="3"/>
                  </a:cubicBezTo>
                  <a:cubicBezTo>
                    <a:pt x="24" y="5"/>
                    <a:pt x="26" y="8"/>
                    <a:pt x="26" y="12"/>
                  </a:cubicBezTo>
                  <a:close/>
                  <a:moveTo>
                    <a:pt x="10" y="3"/>
                  </a:moveTo>
                  <a:cubicBezTo>
                    <a:pt x="9" y="3"/>
                    <a:pt x="7" y="3"/>
                    <a:pt x="6" y="3"/>
                  </a:cubicBezTo>
                  <a:cubicBezTo>
                    <a:pt x="5" y="3"/>
                    <a:pt x="4" y="3"/>
                    <a:pt x="4" y="3"/>
                  </a:cubicBezTo>
                  <a:cubicBezTo>
                    <a:pt x="4" y="20"/>
                    <a:pt x="4" y="20"/>
                    <a:pt x="4" y="20"/>
                  </a:cubicBezTo>
                  <a:cubicBezTo>
                    <a:pt x="9" y="20"/>
                    <a:pt x="9" y="20"/>
                    <a:pt x="9" y="20"/>
                  </a:cubicBezTo>
                  <a:cubicBezTo>
                    <a:pt x="11" y="20"/>
                    <a:pt x="12" y="20"/>
                    <a:pt x="14" y="20"/>
                  </a:cubicBezTo>
                  <a:cubicBezTo>
                    <a:pt x="15" y="19"/>
                    <a:pt x="17" y="19"/>
                    <a:pt x="18" y="18"/>
                  </a:cubicBezTo>
                  <a:cubicBezTo>
                    <a:pt x="19" y="18"/>
                    <a:pt x="20" y="17"/>
                    <a:pt x="21" y="16"/>
                  </a:cubicBezTo>
                  <a:cubicBezTo>
                    <a:pt x="21" y="15"/>
                    <a:pt x="22" y="13"/>
                    <a:pt x="22" y="12"/>
                  </a:cubicBezTo>
                  <a:cubicBezTo>
                    <a:pt x="22" y="10"/>
                    <a:pt x="21" y="8"/>
                    <a:pt x="21" y="7"/>
                  </a:cubicBezTo>
                  <a:cubicBezTo>
                    <a:pt x="20" y="6"/>
                    <a:pt x="19" y="5"/>
                    <a:pt x="18" y="5"/>
                  </a:cubicBezTo>
                  <a:cubicBezTo>
                    <a:pt x="17" y="4"/>
                    <a:pt x="16" y="3"/>
                    <a:pt x="14" y="3"/>
                  </a:cubicBezTo>
                  <a:cubicBezTo>
                    <a:pt x="13" y="3"/>
                    <a:pt x="12" y="3"/>
                    <a:pt x="10" y="3"/>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16"/>
            <p:cNvSpPr>
              <a:spLocks noEditPoints="1"/>
            </p:cNvSpPr>
            <p:nvPr/>
          </p:nvSpPr>
          <p:spPr bwMode="auto">
            <a:xfrm>
              <a:off x="639763" y="7064445"/>
              <a:ext cx="38100"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1 w 21"/>
                <a:gd name="T19" fmla="*/ 30 h 30"/>
                <a:gd name="T20" fmla="*/ 7 w 21"/>
                <a:gd name="T21" fmla="*/ 30 h 30"/>
                <a:gd name="T22" fmla="*/ 3 w 21"/>
                <a:gd name="T23" fmla="*/ 28 h 30"/>
                <a:gd name="T24" fmla="*/ 1 w 21"/>
                <a:gd name="T25" fmla="*/ 25 h 30"/>
                <a:gd name="T26" fmla="*/ 0 w 21"/>
                <a:gd name="T27" fmla="*/ 21 h 30"/>
                <a:gd name="T28" fmla="*/ 1 w 21"/>
                <a:gd name="T29" fmla="*/ 17 h 30"/>
                <a:gd name="T30" fmla="*/ 4 w 21"/>
                <a:gd name="T31" fmla="*/ 14 h 30"/>
                <a:gd name="T32" fmla="*/ 7 w 21"/>
                <a:gd name="T33" fmla="*/ 13 h 30"/>
                <a:gd name="T34" fmla="*/ 12 w 21"/>
                <a:gd name="T35" fmla="*/ 12 h 30"/>
                <a:gd name="T36" fmla="*/ 14 w 21"/>
                <a:gd name="T37" fmla="*/ 12 h 30"/>
                <a:gd name="T38" fmla="*/ 16 w 21"/>
                <a:gd name="T39" fmla="*/ 13 h 30"/>
                <a:gd name="T40" fmla="*/ 17 w 21"/>
                <a:gd name="T41" fmla="*/ 13 h 30"/>
                <a:gd name="T42" fmla="*/ 18 w 21"/>
                <a:gd name="T43" fmla="*/ 13 h 30"/>
                <a:gd name="T44" fmla="*/ 18 w 21"/>
                <a:gd name="T45" fmla="*/ 11 h 30"/>
                <a:gd name="T46" fmla="*/ 18 w 21"/>
                <a:gd name="T47" fmla="*/ 8 h 30"/>
                <a:gd name="T48" fmla="*/ 17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0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5 h 30"/>
                <a:gd name="T76" fmla="*/ 9 w 21"/>
                <a:gd name="T77" fmla="*/ 16 h 30"/>
                <a:gd name="T78" fmla="*/ 7 w 21"/>
                <a:gd name="T79" fmla="*/ 17 h 30"/>
                <a:gd name="T80" fmla="*/ 5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5" y="0"/>
                    <a:pt x="16" y="1"/>
                  </a:cubicBezTo>
                  <a:cubicBezTo>
                    <a:pt x="17" y="1"/>
                    <a:pt x="18" y="2"/>
                    <a:pt x="19" y="3"/>
                  </a:cubicBezTo>
                  <a:cubicBezTo>
                    <a:pt x="20" y="4"/>
                    <a:pt x="20" y="5"/>
                    <a:pt x="21" y="7"/>
                  </a:cubicBezTo>
                  <a:cubicBezTo>
                    <a:pt x="21" y="8"/>
                    <a:pt x="21" y="9"/>
                    <a:pt x="21" y="11"/>
                  </a:cubicBezTo>
                  <a:cubicBezTo>
                    <a:pt x="21" y="29"/>
                    <a:pt x="21" y="29"/>
                    <a:pt x="21" y="29"/>
                  </a:cubicBezTo>
                  <a:cubicBezTo>
                    <a:pt x="21" y="29"/>
                    <a:pt x="21" y="29"/>
                    <a:pt x="20" y="29"/>
                  </a:cubicBezTo>
                  <a:cubicBezTo>
                    <a:pt x="19" y="30"/>
                    <a:pt x="18" y="30"/>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8"/>
                    <a:pt x="1" y="27"/>
                    <a:pt x="1" y="25"/>
                  </a:cubicBezTo>
                  <a:cubicBezTo>
                    <a:pt x="0" y="24"/>
                    <a:pt x="0" y="23"/>
                    <a:pt x="0" y="21"/>
                  </a:cubicBezTo>
                  <a:cubicBezTo>
                    <a:pt x="0" y="20"/>
                    <a:pt x="0" y="18"/>
                    <a:pt x="1" y="17"/>
                  </a:cubicBezTo>
                  <a:cubicBezTo>
                    <a:pt x="2" y="16"/>
                    <a:pt x="2" y="15"/>
                    <a:pt x="4" y="14"/>
                  </a:cubicBezTo>
                  <a:cubicBezTo>
                    <a:pt x="5" y="14"/>
                    <a:pt x="6" y="13"/>
                    <a:pt x="7" y="13"/>
                  </a:cubicBezTo>
                  <a:cubicBezTo>
                    <a:pt x="9" y="13"/>
                    <a:pt x="10" y="12"/>
                    <a:pt x="12" y="12"/>
                  </a:cubicBezTo>
                  <a:cubicBezTo>
                    <a:pt x="13" y="12"/>
                    <a:pt x="13" y="12"/>
                    <a:pt x="14" y="12"/>
                  </a:cubicBezTo>
                  <a:cubicBezTo>
                    <a:pt x="14" y="12"/>
                    <a:pt x="15" y="13"/>
                    <a:pt x="16" y="13"/>
                  </a:cubicBezTo>
                  <a:cubicBezTo>
                    <a:pt x="16" y="13"/>
                    <a:pt x="17" y="13"/>
                    <a:pt x="17" y="13"/>
                  </a:cubicBezTo>
                  <a:cubicBezTo>
                    <a:pt x="17" y="13"/>
                    <a:pt x="18" y="13"/>
                    <a:pt x="18" y="13"/>
                  </a:cubicBezTo>
                  <a:cubicBezTo>
                    <a:pt x="18" y="11"/>
                    <a:pt x="18" y="11"/>
                    <a:pt x="18" y="11"/>
                  </a:cubicBezTo>
                  <a:cubicBezTo>
                    <a:pt x="18" y="10"/>
                    <a:pt x="18" y="9"/>
                    <a:pt x="18" y="8"/>
                  </a:cubicBezTo>
                  <a:cubicBezTo>
                    <a:pt x="17" y="8"/>
                    <a:pt x="17" y="7"/>
                    <a:pt x="17" y="6"/>
                  </a:cubicBezTo>
                  <a:cubicBezTo>
                    <a:pt x="16" y="5"/>
                    <a:pt x="15" y="5"/>
                    <a:pt x="14" y="4"/>
                  </a:cubicBezTo>
                  <a:cubicBezTo>
                    <a:pt x="14" y="4"/>
                    <a:pt x="12" y="3"/>
                    <a:pt x="11" y="3"/>
                  </a:cubicBezTo>
                  <a:cubicBezTo>
                    <a:pt x="9" y="3"/>
                    <a:pt x="7" y="3"/>
                    <a:pt x="6" y="4"/>
                  </a:cubicBezTo>
                  <a:cubicBezTo>
                    <a:pt x="5" y="4"/>
                    <a:pt x="4" y="4"/>
                    <a:pt x="4" y="5"/>
                  </a:cubicBezTo>
                  <a:cubicBezTo>
                    <a:pt x="3" y="1"/>
                    <a:pt x="3" y="1"/>
                    <a:pt x="3" y="1"/>
                  </a:cubicBezTo>
                  <a:cubicBezTo>
                    <a:pt x="4" y="1"/>
                    <a:pt x="5" y="1"/>
                    <a:pt x="6" y="0"/>
                  </a:cubicBezTo>
                  <a:cubicBezTo>
                    <a:pt x="8"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7" y="16"/>
                    <a:pt x="16" y="16"/>
                  </a:cubicBezTo>
                  <a:cubicBezTo>
                    <a:pt x="15" y="16"/>
                    <a:pt x="14" y="15"/>
                    <a:pt x="12" y="15"/>
                  </a:cubicBezTo>
                  <a:cubicBezTo>
                    <a:pt x="11" y="15"/>
                    <a:pt x="10" y="16"/>
                    <a:pt x="9" y="16"/>
                  </a:cubicBezTo>
                  <a:cubicBezTo>
                    <a:pt x="8" y="16"/>
                    <a:pt x="7" y="16"/>
                    <a:pt x="7" y="17"/>
                  </a:cubicBezTo>
                  <a:cubicBezTo>
                    <a:pt x="6" y="17"/>
                    <a:pt x="5" y="18"/>
                    <a:pt x="5" y="18"/>
                  </a:cubicBezTo>
                  <a:cubicBezTo>
                    <a:pt x="4" y="19"/>
                    <a:pt x="4" y="20"/>
                    <a:pt x="4" y="21"/>
                  </a:cubicBezTo>
                  <a:cubicBezTo>
                    <a:pt x="4" y="22"/>
                    <a:pt x="4" y="23"/>
                    <a:pt x="4" y="24"/>
                  </a:cubicBezTo>
                  <a:cubicBezTo>
                    <a:pt x="5" y="25"/>
                    <a:pt x="5" y="25"/>
                    <a:pt x="6" y="26"/>
                  </a:cubicBezTo>
                  <a:cubicBezTo>
                    <a:pt x="7"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17"/>
            <p:cNvSpPr>
              <a:spLocks/>
            </p:cNvSpPr>
            <p:nvPr/>
          </p:nvSpPr>
          <p:spPr bwMode="auto">
            <a:xfrm>
              <a:off x="696913" y="7064445"/>
              <a:ext cx="39688" cy="55563"/>
            </a:xfrm>
            <a:custGeom>
              <a:avLst/>
              <a:gdLst>
                <a:gd name="T0" fmla="*/ 0 w 22"/>
                <a:gd name="T1" fmla="*/ 2 h 30"/>
                <a:gd name="T2" fmla="*/ 4 w 22"/>
                <a:gd name="T3" fmla="*/ 1 h 30"/>
                <a:gd name="T4" fmla="*/ 11 w 22"/>
                <a:gd name="T5" fmla="*/ 0 h 30"/>
                <a:gd name="T6" fmla="*/ 16 w 22"/>
                <a:gd name="T7" fmla="*/ 1 h 30"/>
                <a:gd name="T8" fmla="*/ 20 w 22"/>
                <a:gd name="T9" fmla="*/ 4 h 30"/>
                <a:gd name="T10" fmla="*/ 22 w 22"/>
                <a:gd name="T11" fmla="*/ 8 h 30"/>
                <a:gd name="T12" fmla="*/ 22 w 22"/>
                <a:gd name="T13" fmla="*/ 14 h 30"/>
                <a:gd name="T14" fmla="*/ 22 w 22"/>
                <a:gd name="T15" fmla="*/ 30 h 30"/>
                <a:gd name="T16" fmla="*/ 19 w 22"/>
                <a:gd name="T17" fmla="*/ 30 h 30"/>
                <a:gd name="T18" fmla="*/ 19 w 22"/>
                <a:gd name="T19" fmla="*/ 15 h 30"/>
                <a:gd name="T20" fmla="*/ 18 w 22"/>
                <a:gd name="T21" fmla="*/ 10 h 30"/>
                <a:gd name="T22" fmla="*/ 17 w 22"/>
                <a:gd name="T23" fmla="*/ 6 h 30"/>
                <a:gd name="T24" fmla="*/ 14 w 22"/>
                <a:gd name="T25" fmla="*/ 4 h 30"/>
                <a:gd name="T26" fmla="*/ 10 w 22"/>
                <a:gd name="T27" fmla="*/ 4 h 30"/>
                <a:gd name="T28" fmla="*/ 6 w 22"/>
                <a:gd name="T29" fmla="*/ 4 h 30"/>
                <a:gd name="T30" fmla="*/ 3 w 22"/>
                <a:gd name="T31" fmla="*/ 4 h 30"/>
                <a:gd name="T32" fmla="*/ 3 w 22"/>
                <a:gd name="T33" fmla="*/ 30 h 30"/>
                <a:gd name="T34" fmla="*/ 0 w 22"/>
                <a:gd name="T35" fmla="*/ 30 h 30"/>
                <a:gd name="T36" fmla="*/ 0 w 22"/>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0">
                  <a:moveTo>
                    <a:pt x="0" y="2"/>
                  </a:moveTo>
                  <a:cubicBezTo>
                    <a:pt x="1" y="1"/>
                    <a:pt x="2" y="1"/>
                    <a:pt x="4" y="1"/>
                  </a:cubicBezTo>
                  <a:cubicBezTo>
                    <a:pt x="6" y="0"/>
                    <a:pt x="8" y="0"/>
                    <a:pt x="11" y="0"/>
                  </a:cubicBezTo>
                  <a:cubicBezTo>
                    <a:pt x="13" y="0"/>
                    <a:pt x="15" y="1"/>
                    <a:pt x="16" y="1"/>
                  </a:cubicBezTo>
                  <a:cubicBezTo>
                    <a:pt x="18" y="2"/>
                    <a:pt x="19" y="3"/>
                    <a:pt x="20" y="4"/>
                  </a:cubicBezTo>
                  <a:cubicBezTo>
                    <a:pt x="21" y="5"/>
                    <a:pt x="21" y="6"/>
                    <a:pt x="22" y="8"/>
                  </a:cubicBezTo>
                  <a:cubicBezTo>
                    <a:pt x="22" y="10"/>
                    <a:pt x="22" y="12"/>
                    <a:pt x="22" y="14"/>
                  </a:cubicBezTo>
                  <a:cubicBezTo>
                    <a:pt x="22" y="30"/>
                    <a:pt x="22" y="30"/>
                    <a:pt x="22" y="30"/>
                  </a:cubicBezTo>
                  <a:cubicBezTo>
                    <a:pt x="19" y="30"/>
                    <a:pt x="19" y="30"/>
                    <a:pt x="19" y="30"/>
                  </a:cubicBezTo>
                  <a:cubicBezTo>
                    <a:pt x="19" y="15"/>
                    <a:pt x="19" y="15"/>
                    <a:pt x="19" y="15"/>
                  </a:cubicBezTo>
                  <a:cubicBezTo>
                    <a:pt x="19" y="13"/>
                    <a:pt x="19" y="11"/>
                    <a:pt x="18" y="10"/>
                  </a:cubicBezTo>
                  <a:cubicBezTo>
                    <a:pt x="18" y="8"/>
                    <a:pt x="17" y="7"/>
                    <a:pt x="17" y="6"/>
                  </a:cubicBezTo>
                  <a:cubicBezTo>
                    <a:pt x="16" y="5"/>
                    <a:pt x="15" y="4"/>
                    <a:pt x="14" y="4"/>
                  </a:cubicBezTo>
                  <a:cubicBezTo>
                    <a:pt x="13" y="4"/>
                    <a:pt x="12" y="4"/>
                    <a:pt x="10" y="4"/>
                  </a:cubicBezTo>
                  <a:cubicBezTo>
                    <a:pt x="9" y="4"/>
                    <a:pt x="7" y="4"/>
                    <a:pt x="6" y="4"/>
                  </a:cubicBezTo>
                  <a:cubicBezTo>
                    <a:pt x="5" y="4"/>
                    <a:pt x="4" y="4"/>
                    <a:pt x="3" y="4"/>
                  </a:cubicBezTo>
                  <a:cubicBezTo>
                    <a:pt x="3" y="30"/>
                    <a:pt x="3" y="30"/>
                    <a:pt x="3"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18"/>
            <p:cNvSpPr>
              <a:spLocks/>
            </p:cNvSpPr>
            <p:nvPr/>
          </p:nvSpPr>
          <p:spPr bwMode="auto">
            <a:xfrm>
              <a:off x="755651" y="7039045"/>
              <a:ext cx="38100" cy="80963"/>
            </a:xfrm>
            <a:custGeom>
              <a:avLst/>
              <a:gdLst>
                <a:gd name="T0" fmla="*/ 7 w 21"/>
                <a:gd name="T1" fmla="*/ 28 h 44"/>
                <a:gd name="T2" fmla="*/ 11 w 21"/>
                <a:gd name="T3" fmla="*/ 31 h 44"/>
                <a:gd name="T4" fmla="*/ 15 w 21"/>
                <a:gd name="T5" fmla="*/ 35 h 44"/>
                <a:gd name="T6" fmla="*/ 19 w 21"/>
                <a:gd name="T7" fmla="*/ 40 h 44"/>
                <a:gd name="T8" fmla="*/ 21 w 21"/>
                <a:gd name="T9" fmla="*/ 44 h 44"/>
                <a:gd name="T10" fmla="*/ 17 w 21"/>
                <a:gd name="T11" fmla="*/ 44 h 44"/>
                <a:gd name="T12" fmla="*/ 14 w 21"/>
                <a:gd name="T13" fmla="*/ 39 h 44"/>
                <a:gd name="T14" fmla="*/ 10 w 21"/>
                <a:gd name="T15" fmla="*/ 35 h 44"/>
                <a:gd name="T16" fmla="*/ 7 w 21"/>
                <a:gd name="T17" fmla="*/ 32 h 44"/>
                <a:gd name="T18" fmla="*/ 3 w 21"/>
                <a:gd name="T19" fmla="*/ 30 h 44"/>
                <a:gd name="T20" fmla="*/ 3 w 21"/>
                <a:gd name="T21" fmla="*/ 44 h 44"/>
                <a:gd name="T22" fmla="*/ 0 w 21"/>
                <a:gd name="T23" fmla="*/ 44 h 44"/>
                <a:gd name="T24" fmla="*/ 0 w 21"/>
                <a:gd name="T25" fmla="*/ 1 h 44"/>
                <a:gd name="T26" fmla="*/ 3 w 21"/>
                <a:gd name="T27" fmla="*/ 0 h 44"/>
                <a:gd name="T28" fmla="*/ 3 w 21"/>
                <a:gd name="T29" fmla="*/ 27 h 44"/>
                <a:gd name="T30" fmla="*/ 6 w 21"/>
                <a:gd name="T31" fmla="*/ 25 h 44"/>
                <a:gd name="T32" fmla="*/ 10 w 21"/>
                <a:gd name="T33" fmla="*/ 21 h 44"/>
                <a:gd name="T34" fmla="*/ 13 w 21"/>
                <a:gd name="T35" fmla="*/ 18 h 44"/>
                <a:gd name="T36" fmla="*/ 16 w 21"/>
                <a:gd name="T37" fmla="*/ 15 h 44"/>
                <a:gd name="T38" fmla="*/ 20 w 21"/>
                <a:gd name="T39" fmla="*/ 15 h 44"/>
                <a:gd name="T40" fmla="*/ 17 w 21"/>
                <a:gd name="T41" fmla="*/ 18 h 44"/>
                <a:gd name="T42" fmla="*/ 14 w 21"/>
                <a:gd name="T43" fmla="*/ 21 h 44"/>
                <a:gd name="T44" fmla="*/ 10 w 21"/>
                <a:gd name="T45" fmla="*/ 25 h 44"/>
                <a:gd name="T46" fmla="*/ 7 w 21"/>
                <a:gd name="T4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4">
                  <a:moveTo>
                    <a:pt x="7" y="28"/>
                  </a:moveTo>
                  <a:cubicBezTo>
                    <a:pt x="8" y="29"/>
                    <a:pt x="10" y="30"/>
                    <a:pt x="11" y="31"/>
                  </a:cubicBezTo>
                  <a:cubicBezTo>
                    <a:pt x="12" y="32"/>
                    <a:pt x="14" y="34"/>
                    <a:pt x="15" y="35"/>
                  </a:cubicBezTo>
                  <a:cubicBezTo>
                    <a:pt x="16" y="37"/>
                    <a:pt x="17" y="38"/>
                    <a:pt x="19" y="40"/>
                  </a:cubicBezTo>
                  <a:cubicBezTo>
                    <a:pt x="20" y="41"/>
                    <a:pt x="21" y="42"/>
                    <a:pt x="21" y="44"/>
                  </a:cubicBezTo>
                  <a:cubicBezTo>
                    <a:pt x="17" y="44"/>
                    <a:pt x="17" y="44"/>
                    <a:pt x="17" y="44"/>
                  </a:cubicBezTo>
                  <a:cubicBezTo>
                    <a:pt x="16" y="42"/>
                    <a:pt x="15" y="41"/>
                    <a:pt x="14" y="39"/>
                  </a:cubicBezTo>
                  <a:cubicBezTo>
                    <a:pt x="13" y="38"/>
                    <a:pt x="12" y="37"/>
                    <a:pt x="10" y="35"/>
                  </a:cubicBezTo>
                  <a:cubicBezTo>
                    <a:pt x="9" y="34"/>
                    <a:pt x="8" y="33"/>
                    <a:pt x="7" y="32"/>
                  </a:cubicBezTo>
                  <a:cubicBezTo>
                    <a:pt x="5" y="31"/>
                    <a:pt x="4" y="30"/>
                    <a:pt x="3" y="30"/>
                  </a:cubicBezTo>
                  <a:cubicBezTo>
                    <a:pt x="3" y="44"/>
                    <a:pt x="3" y="44"/>
                    <a:pt x="3" y="44"/>
                  </a:cubicBezTo>
                  <a:cubicBezTo>
                    <a:pt x="0" y="44"/>
                    <a:pt x="0" y="44"/>
                    <a:pt x="0" y="44"/>
                  </a:cubicBezTo>
                  <a:cubicBezTo>
                    <a:pt x="0" y="1"/>
                    <a:pt x="0" y="1"/>
                    <a:pt x="0" y="1"/>
                  </a:cubicBezTo>
                  <a:cubicBezTo>
                    <a:pt x="3" y="0"/>
                    <a:pt x="3" y="0"/>
                    <a:pt x="3" y="0"/>
                  </a:cubicBezTo>
                  <a:cubicBezTo>
                    <a:pt x="3" y="27"/>
                    <a:pt x="3" y="27"/>
                    <a:pt x="3" y="27"/>
                  </a:cubicBezTo>
                  <a:cubicBezTo>
                    <a:pt x="4" y="27"/>
                    <a:pt x="5" y="26"/>
                    <a:pt x="6" y="25"/>
                  </a:cubicBezTo>
                  <a:cubicBezTo>
                    <a:pt x="7" y="23"/>
                    <a:pt x="8" y="22"/>
                    <a:pt x="10" y="21"/>
                  </a:cubicBezTo>
                  <a:cubicBezTo>
                    <a:pt x="11" y="20"/>
                    <a:pt x="12" y="19"/>
                    <a:pt x="13" y="18"/>
                  </a:cubicBezTo>
                  <a:cubicBezTo>
                    <a:pt x="14" y="17"/>
                    <a:pt x="15" y="16"/>
                    <a:pt x="16" y="15"/>
                  </a:cubicBezTo>
                  <a:cubicBezTo>
                    <a:pt x="20" y="15"/>
                    <a:pt x="20" y="15"/>
                    <a:pt x="20" y="15"/>
                  </a:cubicBezTo>
                  <a:cubicBezTo>
                    <a:pt x="19" y="16"/>
                    <a:pt x="18" y="17"/>
                    <a:pt x="17" y="18"/>
                  </a:cubicBezTo>
                  <a:cubicBezTo>
                    <a:pt x="16" y="19"/>
                    <a:pt x="15" y="20"/>
                    <a:pt x="14" y="21"/>
                  </a:cubicBezTo>
                  <a:cubicBezTo>
                    <a:pt x="13" y="22"/>
                    <a:pt x="11" y="24"/>
                    <a:pt x="10" y="25"/>
                  </a:cubicBezTo>
                  <a:cubicBezTo>
                    <a:pt x="9" y="26"/>
                    <a:pt x="8" y="27"/>
                    <a:pt x="7" y="28"/>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119"/>
            <p:cNvSpPr>
              <a:spLocks noEditPoints="1"/>
            </p:cNvSpPr>
            <p:nvPr/>
          </p:nvSpPr>
          <p:spPr bwMode="auto">
            <a:xfrm>
              <a:off x="803276" y="7043808"/>
              <a:ext cx="11113" cy="76201"/>
            </a:xfrm>
            <a:custGeom>
              <a:avLst/>
              <a:gdLst>
                <a:gd name="T0" fmla="*/ 6 w 6"/>
                <a:gd name="T1" fmla="*/ 3 h 41"/>
                <a:gd name="T2" fmla="*/ 5 w 6"/>
                <a:gd name="T3" fmla="*/ 5 h 41"/>
                <a:gd name="T4" fmla="*/ 3 w 6"/>
                <a:gd name="T5" fmla="*/ 6 h 41"/>
                <a:gd name="T6" fmla="*/ 1 w 6"/>
                <a:gd name="T7" fmla="*/ 5 h 41"/>
                <a:gd name="T8" fmla="*/ 0 w 6"/>
                <a:gd name="T9" fmla="*/ 3 h 41"/>
                <a:gd name="T10" fmla="*/ 1 w 6"/>
                <a:gd name="T11" fmla="*/ 1 h 41"/>
                <a:gd name="T12" fmla="*/ 3 w 6"/>
                <a:gd name="T13" fmla="*/ 0 h 41"/>
                <a:gd name="T14" fmla="*/ 5 w 6"/>
                <a:gd name="T15" fmla="*/ 1 h 41"/>
                <a:gd name="T16" fmla="*/ 6 w 6"/>
                <a:gd name="T17" fmla="*/ 3 h 41"/>
                <a:gd name="T18" fmla="*/ 5 w 6"/>
                <a:gd name="T19" fmla="*/ 41 h 41"/>
                <a:gd name="T20" fmla="*/ 1 w 6"/>
                <a:gd name="T21" fmla="*/ 41 h 41"/>
                <a:gd name="T22" fmla="*/ 1 w 6"/>
                <a:gd name="T23" fmla="*/ 12 h 41"/>
                <a:gd name="T24" fmla="*/ 5 w 6"/>
                <a:gd name="T25" fmla="*/ 12 h 41"/>
                <a:gd name="T26" fmla="*/ 5 w 6"/>
                <a:gd name="T2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1">
                  <a:moveTo>
                    <a:pt x="6" y="3"/>
                  </a:moveTo>
                  <a:cubicBezTo>
                    <a:pt x="6" y="4"/>
                    <a:pt x="6" y="5"/>
                    <a:pt x="5" y="5"/>
                  </a:cubicBezTo>
                  <a:cubicBezTo>
                    <a:pt x="4" y="6"/>
                    <a:pt x="4" y="6"/>
                    <a:pt x="3" y="6"/>
                  </a:cubicBezTo>
                  <a:cubicBezTo>
                    <a:pt x="2" y="6"/>
                    <a:pt x="2" y="6"/>
                    <a:pt x="1" y="5"/>
                  </a:cubicBezTo>
                  <a:cubicBezTo>
                    <a:pt x="1" y="5"/>
                    <a:pt x="0" y="4"/>
                    <a:pt x="0" y="3"/>
                  </a:cubicBezTo>
                  <a:cubicBezTo>
                    <a:pt x="0" y="2"/>
                    <a:pt x="1" y="1"/>
                    <a:pt x="1" y="1"/>
                  </a:cubicBezTo>
                  <a:cubicBezTo>
                    <a:pt x="2" y="0"/>
                    <a:pt x="2" y="0"/>
                    <a:pt x="3" y="0"/>
                  </a:cubicBezTo>
                  <a:cubicBezTo>
                    <a:pt x="4" y="0"/>
                    <a:pt x="4" y="0"/>
                    <a:pt x="5" y="1"/>
                  </a:cubicBezTo>
                  <a:cubicBezTo>
                    <a:pt x="6" y="1"/>
                    <a:pt x="6" y="2"/>
                    <a:pt x="6" y="3"/>
                  </a:cubicBezTo>
                  <a:close/>
                  <a:moveTo>
                    <a:pt x="5" y="41"/>
                  </a:moveTo>
                  <a:cubicBezTo>
                    <a:pt x="1" y="41"/>
                    <a:pt x="1" y="41"/>
                    <a:pt x="1" y="41"/>
                  </a:cubicBezTo>
                  <a:cubicBezTo>
                    <a:pt x="1" y="12"/>
                    <a:pt x="1" y="12"/>
                    <a:pt x="1" y="12"/>
                  </a:cubicBezTo>
                  <a:cubicBezTo>
                    <a:pt x="5" y="12"/>
                    <a:pt x="5" y="12"/>
                    <a:pt x="5" y="12"/>
                  </a:cubicBezTo>
                  <a:lnTo>
                    <a:pt x="5" y="4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120"/>
            <p:cNvSpPr>
              <a:spLocks/>
            </p:cNvSpPr>
            <p:nvPr/>
          </p:nvSpPr>
          <p:spPr bwMode="auto">
            <a:xfrm>
              <a:off x="830263" y="7064445"/>
              <a:ext cx="41275" cy="55563"/>
            </a:xfrm>
            <a:custGeom>
              <a:avLst/>
              <a:gdLst>
                <a:gd name="T0" fmla="*/ 0 w 22"/>
                <a:gd name="T1" fmla="*/ 2 h 30"/>
                <a:gd name="T2" fmla="*/ 4 w 22"/>
                <a:gd name="T3" fmla="*/ 1 h 30"/>
                <a:gd name="T4" fmla="*/ 11 w 22"/>
                <a:gd name="T5" fmla="*/ 0 h 30"/>
                <a:gd name="T6" fmla="*/ 16 w 22"/>
                <a:gd name="T7" fmla="*/ 1 h 30"/>
                <a:gd name="T8" fmla="*/ 20 w 22"/>
                <a:gd name="T9" fmla="*/ 4 h 30"/>
                <a:gd name="T10" fmla="*/ 22 w 22"/>
                <a:gd name="T11" fmla="*/ 8 h 30"/>
                <a:gd name="T12" fmla="*/ 22 w 22"/>
                <a:gd name="T13" fmla="*/ 14 h 30"/>
                <a:gd name="T14" fmla="*/ 22 w 22"/>
                <a:gd name="T15" fmla="*/ 30 h 30"/>
                <a:gd name="T16" fmla="*/ 19 w 22"/>
                <a:gd name="T17" fmla="*/ 30 h 30"/>
                <a:gd name="T18" fmla="*/ 19 w 22"/>
                <a:gd name="T19" fmla="*/ 15 h 30"/>
                <a:gd name="T20" fmla="*/ 18 w 22"/>
                <a:gd name="T21" fmla="*/ 10 h 30"/>
                <a:gd name="T22" fmla="*/ 17 w 22"/>
                <a:gd name="T23" fmla="*/ 6 h 30"/>
                <a:gd name="T24" fmla="*/ 14 w 22"/>
                <a:gd name="T25" fmla="*/ 4 h 30"/>
                <a:gd name="T26" fmla="*/ 10 w 22"/>
                <a:gd name="T27" fmla="*/ 4 h 30"/>
                <a:gd name="T28" fmla="*/ 6 w 22"/>
                <a:gd name="T29" fmla="*/ 4 h 30"/>
                <a:gd name="T30" fmla="*/ 3 w 22"/>
                <a:gd name="T31" fmla="*/ 4 h 30"/>
                <a:gd name="T32" fmla="*/ 3 w 22"/>
                <a:gd name="T33" fmla="*/ 30 h 30"/>
                <a:gd name="T34" fmla="*/ 0 w 22"/>
                <a:gd name="T35" fmla="*/ 30 h 30"/>
                <a:gd name="T36" fmla="*/ 0 w 22"/>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0">
                  <a:moveTo>
                    <a:pt x="0" y="2"/>
                  </a:moveTo>
                  <a:cubicBezTo>
                    <a:pt x="1" y="1"/>
                    <a:pt x="2" y="1"/>
                    <a:pt x="4" y="1"/>
                  </a:cubicBezTo>
                  <a:cubicBezTo>
                    <a:pt x="6" y="0"/>
                    <a:pt x="8" y="0"/>
                    <a:pt x="11" y="0"/>
                  </a:cubicBezTo>
                  <a:cubicBezTo>
                    <a:pt x="13" y="0"/>
                    <a:pt x="15" y="1"/>
                    <a:pt x="16" y="1"/>
                  </a:cubicBezTo>
                  <a:cubicBezTo>
                    <a:pt x="18" y="2"/>
                    <a:pt x="19" y="3"/>
                    <a:pt x="20" y="4"/>
                  </a:cubicBezTo>
                  <a:cubicBezTo>
                    <a:pt x="21" y="5"/>
                    <a:pt x="21" y="6"/>
                    <a:pt x="22" y="8"/>
                  </a:cubicBezTo>
                  <a:cubicBezTo>
                    <a:pt x="22" y="10"/>
                    <a:pt x="22" y="12"/>
                    <a:pt x="22" y="14"/>
                  </a:cubicBezTo>
                  <a:cubicBezTo>
                    <a:pt x="22" y="30"/>
                    <a:pt x="22" y="30"/>
                    <a:pt x="22" y="30"/>
                  </a:cubicBezTo>
                  <a:cubicBezTo>
                    <a:pt x="19" y="30"/>
                    <a:pt x="19" y="30"/>
                    <a:pt x="19" y="30"/>
                  </a:cubicBezTo>
                  <a:cubicBezTo>
                    <a:pt x="19" y="15"/>
                    <a:pt x="19" y="15"/>
                    <a:pt x="19" y="15"/>
                  </a:cubicBezTo>
                  <a:cubicBezTo>
                    <a:pt x="19" y="13"/>
                    <a:pt x="18" y="11"/>
                    <a:pt x="18" y="10"/>
                  </a:cubicBezTo>
                  <a:cubicBezTo>
                    <a:pt x="18" y="8"/>
                    <a:pt x="17" y="7"/>
                    <a:pt x="17" y="6"/>
                  </a:cubicBezTo>
                  <a:cubicBezTo>
                    <a:pt x="16" y="5"/>
                    <a:pt x="15" y="4"/>
                    <a:pt x="14" y="4"/>
                  </a:cubicBezTo>
                  <a:cubicBezTo>
                    <a:pt x="13" y="4"/>
                    <a:pt x="12" y="4"/>
                    <a:pt x="10" y="4"/>
                  </a:cubicBezTo>
                  <a:cubicBezTo>
                    <a:pt x="8" y="4"/>
                    <a:pt x="7" y="4"/>
                    <a:pt x="6" y="4"/>
                  </a:cubicBezTo>
                  <a:cubicBezTo>
                    <a:pt x="4" y="4"/>
                    <a:pt x="4" y="4"/>
                    <a:pt x="3" y="4"/>
                  </a:cubicBezTo>
                  <a:cubicBezTo>
                    <a:pt x="3" y="30"/>
                    <a:pt x="3" y="30"/>
                    <a:pt x="3"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21"/>
            <p:cNvSpPr>
              <a:spLocks noEditPoints="1"/>
            </p:cNvSpPr>
            <p:nvPr/>
          </p:nvSpPr>
          <p:spPr bwMode="auto">
            <a:xfrm>
              <a:off x="885826" y="7064445"/>
              <a:ext cx="44450" cy="73026"/>
            </a:xfrm>
            <a:custGeom>
              <a:avLst/>
              <a:gdLst>
                <a:gd name="T0" fmla="*/ 20 w 24"/>
                <a:gd name="T1" fmla="*/ 26 h 40"/>
                <a:gd name="T2" fmla="*/ 19 w 24"/>
                <a:gd name="T3" fmla="*/ 27 h 40"/>
                <a:gd name="T4" fmla="*/ 18 w 24"/>
                <a:gd name="T5" fmla="*/ 28 h 40"/>
                <a:gd name="T6" fmla="*/ 15 w 24"/>
                <a:gd name="T7" fmla="*/ 28 h 40"/>
                <a:gd name="T8" fmla="*/ 13 w 24"/>
                <a:gd name="T9" fmla="*/ 29 h 40"/>
                <a:gd name="T10" fmla="*/ 8 w 24"/>
                <a:gd name="T11" fmla="*/ 28 h 40"/>
                <a:gd name="T12" fmla="*/ 4 w 24"/>
                <a:gd name="T13" fmla="*/ 25 h 40"/>
                <a:gd name="T14" fmla="*/ 1 w 24"/>
                <a:gd name="T15" fmla="*/ 21 h 40"/>
                <a:gd name="T16" fmla="*/ 0 w 24"/>
                <a:gd name="T17" fmla="*/ 15 h 40"/>
                <a:gd name="T18" fmla="*/ 1 w 24"/>
                <a:gd name="T19" fmla="*/ 9 h 40"/>
                <a:gd name="T20" fmla="*/ 3 w 24"/>
                <a:gd name="T21" fmla="*/ 4 h 40"/>
                <a:gd name="T22" fmla="*/ 8 w 24"/>
                <a:gd name="T23" fmla="*/ 1 h 40"/>
                <a:gd name="T24" fmla="*/ 13 w 24"/>
                <a:gd name="T25" fmla="*/ 0 h 40"/>
                <a:gd name="T26" fmla="*/ 20 w 24"/>
                <a:gd name="T27" fmla="*/ 1 h 40"/>
                <a:gd name="T28" fmla="*/ 24 w 24"/>
                <a:gd name="T29" fmla="*/ 2 h 40"/>
                <a:gd name="T30" fmla="*/ 24 w 24"/>
                <a:gd name="T31" fmla="*/ 28 h 40"/>
                <a:gd name="T32" fmla="*/ 21 w 24"/>
                <a:gd name="T33" fmla="*/ 37 h 40"/>
                <a:gd name="T34" fmla="*/ 10 w 24"/>
                <a:gd name="T35" fmla="*/ 40 h 40"/>
                <a:gd name="T36" fmla="*/ 5 w 24"/>
                <a:gd name="T37" fmla="*/ 40 h 40"/>
                <a:gd name="T38" fmla="*/ 1 w 24"/>
                <a:gd name="T39" fmla="*/ 39 h 40"/>
                <a:gd name="T40" fmla="*/ 2 w 24"/>
                <a:gd name="T41" fmla="*/ 36 h 40"/>
                <a:gd name="T42" fmla="*/ 6 w 24"/>
                <a:gd name="T43" fmla="*/ 37 h 40"/>
                <a:gd name="T44" fmla="*/ 11 w 24"/>
                <a:gd name="T45" fmla="*/ 37 h 40"/>
                <a:gd name="T46" fmla="*/ 18 w 24"/>
                <a:gd name="T47" fmla="*/ 35 h 40"/>
                <a:gd name="T48" fmla="*/ 20 w 24"/>
                <a:gd name="T49" fmla="*/ 28 h 40"/>
                <a:gd name="T50" fmla="*/ 20 w 24"/>
                <a:gd name="T51" fmla="*/ 26 h 40"/>
                <a:gd name="T52" fmla="*/ 20 w 24"/>
                <a:gd name="T53" fmla="*/ 4 h 40"/>
                <a:gd name="T54" fmla="*/ 18 w 24"/>
                <a:gd name="T55" fmla="*/ 4 h 40"/>
                <a:gd name="T56" fmla="*/ 13 w 24"/>
                <a:gd name="T57" fmla="*/ 4 h 40"/>
                <a:gd name="T58" fmla="*/ 9 w 24"/>
                <a:gd name="T59" fmla="*/ 4 h 40"/>
                <a:gd name="T60" fmla="*/ 6 w 24"/>
                <a:gd name="T61" fmla="*/ 7 h 40"/>
                <a:gd name="T62" fmla="*/ 4 w 24"/>
                <a:gd name="T63" fmla="*/ 10 h 40"/>
                <a:gd name="T64" fmla="*/ 4 w 24"/>
                <a:gd name="T65" fmla="*/ 15 h 40"/>
                <a:gd name="T66" fmla="*/ 4 w 24"/>
                <a:gd name="T67" fmla="*/ 20 h 40"/>
                <a:gd name="T68" fmla="*/ 6 w 24"/>
                <a:gd name="T69" fmla="*/ 23 h 40"/>
                <a:gd name="T70" fmla="*/ 9 w 24"/>
                <a:gd name="T71" fmla="*/ 25 h 40"/>
                <a:gd name="T72" fmla="*/ 13 w 24"/>
                <a:gd name="T73" fmla="*/ 25 h 40"/>
                <a:gd name="T74" fmla="*/ 17 w 24"/>
                <a:gd name="T75" fmla="*/ 25 h 40"/>
                <a:gd name="T76" fmla="*/ 20 w 24"/>
                <a:gd name="T77" fmla="*/ 23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7"/>
                    <a:pt x="20" y="27"/>
                    <a:pt x="19" y="27"/>
                  </a:cubicBezTo>
                  <a:cubicBezTo>
                    <a:pt x="19" y="27"/>
                    <a:pt x="18" y="27"/>
                    <a:pt x="18" y="28"/>
                  </a:cubicBezTo>
                  <a:cubicBezTo>
                    <a:pt x="17" y="28"/>
                    <a:pt x="16" y="28"/>
                    <a:pt x="15" y="28"/>
                  </a:cubicBezTo>
                  <a:cubicBezTo>
                    <a:pt x="15" y="29"/>
                    <a:pt x="14" y="29"/>
                    <a:pt x="13" y="29"/>
                  </a:cubicBezTo>
                  <a:cubicBezTo>
                    <a:pt x="11" y="29"/>
                    <a:pt x="9" y="28"/>
                    <a:pt x="8" y="28"/>
                  </a:cubicBezTo>
                  <a:cubicBezTo>
                    <a:pt x="6" y="27"/>
                    <a:pt x="5" y="27"/>
                    <a:pt x="4" y="25"/>
                  </a:cubicBezTo>
                  <a:cubicBezTo>
                    <a:pt x="2" y="24"/>
                    <a:pt x="1" y="23"/>
                    <a:pt x="1" y="21"/>
                  </a:cubicBezTo>
                  <a:cubicBezTo>
                    <a:pt x="0" y="19"/>
                    <a:pt x="0" y="17"/>
                    <a:pt x="0" y="15"/>
                  </a:cubicBezTo>
                  <a:cubicBezTo>
                    <a:pt x="0" y="13"/>
                    <a:pt x="0" y="11"/>
                    <a:pt x="1" y="9"/>
                  </a:cubicBezTo>
                  <a:cubicBezTo>
                    <a:pt x="1" y="7"/>
                    <a:pt x="2" y="6"/>
                    <a:pt x="3" y="4"/>
                  </a:cubicBezTo>
                  <a:cubicBezTo>
                    <a:pt x="5" y="3"/>
                    <a:pt x="6" y="2"/>
                    <a:pt x="8" y="1"/>
                  </a:cubicBezTo>
                  <a:cubicBezTo>
                    <a:pt x="9" y="1"/>
                    <a:pt x="11" y="0"/>
                    <a:pt x="13" y="0"/>
                  </a:cubicBezTo>
                  <a:cubicBezTo>
                    <a:pt x="16" y="0"/>
                    <a:pt x="18" y="0"/>
                    <a:pt x="20" y="1"/>
                  </a:cubicBezTo>
                  <a:cubicBezTo>
                    <a:pt x="22" y="1"/>
                    <a:pt x="23" y="1"/>
                    <a:pt x="24" y="2"/>
                  </a:cubicBezTo>
                  <a:cubicBezTo>
                    <a:pt x="24" y="28"/>
                    <a:pt x="24" y="28"/>
                    <a:pt x="24" y="28"/>
                  </a:cubicBezTo>
                  <a:cubicBezTo>
                    <a:pt x="24" y="33"/>
                    <a:pt x="23" y="36"/>
                    <a:pt x="21" y="37"/>
                  </a:cubicBezTo>
                  <a:cubicBezTo>
                    <a:pt x="18" y="39"/>
                    <a:pt x="15" y="40"/>
                    <a:pt x="10" y="40"/>
                  </a:cubicBezTo>
                  <a:cubicBezTo>
                    <a:pt x="9" y="40"/>
                    <a:pt x="7" y="40"/>
                    <a:pt x="5" y="40"/>
                  </a:cubicBezTo>
                  <a:cubicBezTo>
                    <a:pt x="4" y="40"/>
                    <a:pt x="3" y="39"/>
                    <a:pt x="1" y="39"/>
                  </a:cubicBezTo>
                  <a:cubicBezTo>
                    <a:pt x="2" y="36"/>
                    <a:pt x="2" y="36"/>
                    <a:pt x="2" y="36"/>
                  </a:cubicBezTo>
                  <a:cubicBezTo>
                    <a:pt x="3" y="36"/>
                    <a:pt x="4" y="36"/>
                    <a:pt x="6" y="37"/>
                  </a:cubicBezTo>
                  <a:cubicBezTo>
                    <a:pt x="7" y="37"/>
                    <a:pt x="9" y="37"/>
                    <a:pt x="11" y="37"/>
                  </a:cubicBezTo>
                  <a:cubicBezTo>
                    <a:pt x="14" y="37"/>
                    <a:pt x="16" y="36"/>
                    <a:pt x="18" y="35"/>
                  </a:cubicBezTo>
                  <a:cubicBezTo>
                    <a:pt x="20" y="34"/>
                    <a:pt x="20" y="31"/>
                    <a:pt x="20" y="28"/>
                  </a:cubicBezTo>
                  <a:lnTo>
                    <a:pt x="20" y="26"/>
                  </a:lnTo>
                  <a:close/>
                  <a:moveTo>
                    <a:pt x="20" y="4"/>
                  </a:moveTo>
                  <a:cubicBezTo>
                    <a:pt x="20" y="4"/>
                    <a:pt x="19" y="4"/>
                    <a:pt x="18" y="4"/>
                  </a:cubicBezTo>
                  <a:cubicBezTo>
                    <a:pt x="17" y="4"/>
                    <a:pt x="15" y="4"/>
                    <a:pt x="13" y="4"/>
                  </a:cubicBezTo>
                  <a:cubicBezTo>
                    <a:pt x="12" y="4"/>
                    <a:pt x="11" y="4"/>
                    <a:pt x="9" y="4"/>
                  </a:cubicBezTo>
                  <a:cubicBezTo>
                    <a:pt x="8" y="5"/>
                    <a:pt x="7" y="6"/>
                    <a:pt x="6" y="7"/>
                  </a:cubicBezTo>
                  <a:cubicBezTo>
                    <a:pt x="5" y="8"/>
                    <a:pt x="5" y="9"/>
                    <a:pt x="4" y="10"/>
                  </a:cubicBezTo>
                  <a:cubicBezTo>
                    <a:pt x="4" y="12"/>
                    <a:pt x="4" y="13"/>
                    <a:pt x="4" y="15"/>
                  </a:cubicBezTo>
                  <a:cubicBezTo>
                    <a:pt x="4" y="17"/>
                    <a:pt x="4" y="18"/>
                    <a:pt x="4" y="20"/>
                  </a:cubicBezTo>
                  <a:cubicBezTo>
                    <a:pt x="5" y="21"/>
                    <a:pt x="6" y="22"/>
                    <a:pt x="6" y="23"/>
                  </a:cubicBezTo>
                  <a:cubicBezTo>
                    <a:pt x="7" y="24"/>
                    <a:pt x="8" y="24"/>
                    <a:pt x="9" y="25"/>
                  </a:cubicBezTo>
                  <a:cubicBezTo>
                    <a:pt x="10" y="25"/>
                    <a:pt x="11" y="25"/>
                    <a:pt x="13" y="25"/>
                  </a:cubicBezTo>
                  <a:cubicBezTo>
                    <a:pt x="14" y="25"/>
                    <a:pt x="16" y="25"/>
                    <a:pt x="17" y="25"/>
                  </a:cubicBezTo>
                  <a:cubicBezTo>
                    <a:pt x="18" y="24"/>
                    <a:pt x="20" y="24"/>
                    <a:pt x="20" y="23"/>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0" name="Group 599"/>
          <p:cNvGrpSpPr>
            <a:grpSpLocks noChangeAspect="1"/>
          </p:cNvGrpSpPr>
          <p:nvPr/>
        </p:nvGrpSpPr>
        <p:grpSpPr>
          <a:xfrm>
            <a:off x="5186951" y="5335009"/>
            <a:ext cx="845754" cy="795528"/>
            <a:chOff x="5233987" y="5702300"/>
            <a:chExt cx="828675" cy="779463"/>
          </a:xfrm>
        </p:grpSpPr>
        <p:sp>
          <p:nvSpPr>
            <p:cNvPr id="327" name="Freeform 221"/>
            <p:cNvSpPr>
              <a:spLocks/>
            </p:cNvSpPr>
            <p:nvPr/>
          </p:nvSpPr>
          <p:spPr bwMode="auto">
            <a:xfrm>
              <a:off x="5233987" y="5702300"/>
              <a:ext cx="828675" cy="779463"/>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5" y="282"/>
                    <a:pt x="321" y="342"/>
                  </a:cubicBezTo>
                  <a:cubicBezTo>
                    <a:pt x="236" y="402"/>
                    <a:pt x="124" y="395"/>
                    <a:pt x="62" y="315"/>
                  </a:cubicBezTo>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328" name="Freeform 222"/>
            <p:cNvSpPr>
              <a:spLocks/>
            </p:cNvSpPr>
            <p:nvPr/>
          </p:nvSpPr>
          <p:spPr bwMode="auto">
            <a:xfrm>
              <a:off x="5527675" y="6121400"/>
              <a:ext cx="304800" cy="188913"/>
            </a:xfrm>
            <a:custGeom>
              <a:avLst/>
              <a:gdLst>
                <a:gd name="T0" fmla="*/ 158 w 158"/>
                <a:gd name="T1" fmla="*/ 94 h 98"/>
                <a:gd name="T2" fmla="*/ 44 w 158"/>
                <a:gd name="T3" fmla="*/ 97 h 98"/>
                <a:gd name="T4" fmla="*/ 23 w 158"/>
                <a:gd name="T5" fmla="*/ 92 h 98"/>
                <a:gd name="T6" fmla="*/ 16 w 158"/>
                <a:gd name="T7" fmla="*/ 79 h 98"/>
                <a:gd name="T8" fmla="*/ 0 w 158"/>
                <a:gd name="T9" fmla="*/ 2 h 98"/>
                <a:gd name="T10" fmla="*/ 10 w 158"/>
                <a:gd name="T11" fmla="*/ 0 h 98"/>
                <a:gd name="T12" fmla="*/ 27 w 158"/>
                <a:gd name="T13" fmla="*/ 78 h 98"/>
                <a:gd name="T14" fmla="*/ 30 w 158"/>
                <a:gd name="T15" fmla="*/ 84 h 98"/>
                <a:gd name="T16" fmla="*/ 42 w 158"/>
                <a:gd name="T17" fmla="*/ 86 h 98"/>
                <a:gd name="T18" fmla="*/ 156 w 158"/>
                <a:gd name="T19" fmla="*/ 84 h 98"/>
                <a:gd name="T20" fmla="*/ 158 w 158"/>
                <a:gd name="T21" fmla="*/ 9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98">
                  <a:moveTo>
                    <a:pt x="158" y="94"/>
                  </a:moveTo>
                  <a:cubicBezTo>
                    <a:pt x="44" y="97"/>
                    <a:pt x="44" y="97"/>
                    <a:pt x="44" y="97"/>
                  </a:cubicBezTo>
                  <a:cubicBezTo>
                    <a:pt x="35" y="98"/>
                    <a:pt x="28" y="96"/>
                    <a:pt x="23" y="92"/>
                  </a:cubicBezTo>
                  <a:cubicBezTo>
                    <a:pt x="18" y="87"/>
                    <a:pt x="17" y="81"/>
                    <a:pt x="16" y="79"/>
                  </a:cubicBezTo>
                  <a:cubicBezTo>
                    <a:pt x="0" y="2"/>
                    <a:pt x="0" y="2"/>
                    <a:pt x="0" y="2"/>
                  </a:cubicBezTo>
                  <a:cubicBezTo>
                    <a:pt x="10" y="0"/>
                    <a:pt x="10" y="0"/>
                    <a:pt x="10" y="0"/>
                  </a:cubicBezTo>
                  <a:cubicBezTo>
                    <a:pt x="27" y="78"/>
                    <a:pt x="27" y="78"/>
                    <a:pt x="27" y="78"/>
                  </a:cubicBezTo>
                  <a:cubicBezTo>
                    <a:pt x="27" y="78"/>
                    <a:pt x="28" y="81"/>
                    <a:pt x="30" y="84"/>
                  </a:cubicBezTo>
                  <a:cubicBezTo>
                    <a:pt x="33" y="86"/>
                    <a:pt x="37" y="87"/>
                    <a:pt x="42" y="86"/>
                  </a:cubicBezTo>
                  <a:cubicBezTo>
                    <a:pt x="156" y="84"/>
                    <a:pt x="156" y="84"/>
                    <a:pt x="156" y="84"/>
                  </a:cubicBezTo>
                  <a:lnTo>
                    <a:pt x="158" y="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29" name="Freeform 223"/>
            <p:cNvSpPr>
              <a:spLocks noEditPoints="1"/>
            </p:cNvSpPr>
            <p:nvPr/>
          </p:nvSpPr>
          <p:spPr bwMode="auto">
            <a:xfrm>
              <a:off x="5489575" y="5954713"/>
              <a:ext cx="352425" cy="196850"/>
            </a:xfrm>
            <a:custGeom>
              <a:avLst/>
              <a:gdLst>
                <a:gd name="T0" fmla="*/ 165 w 183"/>
                <a:gd name="T1" fmla="*/ 95 h 102"/>
                <a:gd name="T2" fmla="*/ 47 w 183"/>
                <a:gd name="T3" fmla="*/ 102 h 102"/>
                <a:gd name="T4" fmla="*/ 16 w 183"/>
                <a:gd name="T5" fmla="*/ 81 h 102"/>
                <a:gd name="T6" fmla="*/ 0 w 183"/>
                <a:gd name="T7" fmla="*/ 0 h 102"/>
                <a:gd name="T8" fmla="*/ 183 w 183"/>
                <a:gd name="T9" fmla="*/ 26 h 102"/>
                <a:gd name="T10" fmla="*/ 183 w 183"/>
                <a:gd name="T11" fmla="*/ 77 h 102"/>
                <a:gd name="T12" fmla="*/ 165 w 183"/>
                <a:gd name="T13" fmla="*/ 95 h 102"/>
                <a:gd name="T14" fmla="*/ 9 w 183"/>
                <a:gd name="T15" fmla="*/ 8 h 102"/>
                <a:gd name="T16" fmla="*/ 9 w 183"/>
                <a:gd name="T17" fmla="*/ 8 h 102"/>
                <a:gd name="T18" fmla="*/ 65 w 183"/>
                <a:gd name="T19" fmla="*/ 80 h 102"/>
                <a:gd name="T20" fmla="*/ 65 w 183"/>
                <a:gd name="T2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02">
                  <a:moveTo>
                    <a:pt x="165" y="95"/>
                  </a:moveTo>
                  <a:cubicBezTo>
                    <a:pt x="165" y="95"/>
                    <a:pt x="74" y="102"/>
                    <a:pt x="47" y="102"/>
                  </a:cubicBezTo>
                  <a:cubicBezTo>
                    <a:pt x="18" y="102"/>
                    <a:pt x="17" y="85"/>
                    <a:pt x="16" y="81"/>
                  </a:cubicBezTo>
                  <a:cubicBezTo>
                    <a:pt x="15" y="76"/>
                    <a:pt x="0" y="0"/>
                    <a:pt x="0" y="0"/>
                  </a:cubicBezTo>
                  <a:cubicBezTo>
                    <a:pt x="183" y="26"/>
                    <a:pt x="183" y="26"/>
                    <a:pt x="183" y="26"/>
                  </a:cubicBezTo>
                  <a:cubicBezTo>
                    <a:pt x="183" y="77"/>
                    <a:pt x="183" y="77"/>
                    <a:pt x="183" y="77"/>
                  </a:cubicBezTo>
                  <a:cubicBezTo>
                    <a:pt x="183" y="87"/>
                    <a:pt x="175" y="95"/>
                    <a:pt x="165" y="95"/>
                  </a:cubicBezTo>
                  <a:close/>
                  <a:moveTo>
                    <a:pt x="9" y="8"/>
                  </a:moveTo>
                  <a:cubicBezTo>
                    <a:pt x="9" y="8"/>
                    <a:pt x="9" y="8"/>
                    <a:pt x="9" y="8"/>
                  </a:cubicBezTo>
                  <a:moveTo>
                    <a:pt x="65" y="80"/>
                  </a:moveTo>
                  <a:cubicBezTo>
                    <a:pt x="65" y="80"/>
                    <a:pt x="65" y="80"/>
                    <a:pt x="65" y="8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31" name="Oval 225"/>
            <p:cNvSpPr>
              <a:spLocks noChangeArrowheads="1"/>
            </p:cNvSpPr>
            <p:nvPr/>
          </p:nvSpPr>
          <p:spPr bwMode="auto">
            <a:xfrm>
              <a:off x="5789612" y="6264275"/>
              <a:ext cx="65087" cy="6508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Oval 226"/>
            <p:cNvSpPr>
              <a:spLocks noChangeArrowheads="1"/>
            </p:cNvSpPr>
            <p:nvPr/>
          </p:nvSpPr>
          <p:spPr bwMode="auto">
            <a:xfrm>
              <a:off x="5537200" y="6242050"/>
              <a:ext cx="107950" cy="10953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24"/>
            <p:cNvSpPr>
              <a:spLocks/>
            </p:cNvSpPr>
            <p:nvPr/>
          </p:nvSpPr>
          <p:spPr bwMode="auto">
            <a:xfrm>
              <a:off x="5376859" y="5940425"/>
              <a:ext cx="136525" cy="36513"/>
            </a:xfrm>
            <a:custGeom>
              <a:avLst/>
              <a:gdLst>
                <a:gd name="T0" fmla="*/ 71 w 71"/>
                <a:gd name="T1" fmla="*/ 12 h 19"/>
                <a:gd name="T2" fmla="*/ 70 w 71"/>
                <a:gd name="T3" fmla="*/ 15 h 19"/>
                <a:gd name="T4" fmla="*/ 66 w 71"/>
                <a:gd name="T5" fmla="*/ 18 h 19"/>
                <a:gd name="T6" fmla="*/ 4 w 71"/>
                <a:gd name="T7" fmla="*/ 10 h 19"/>
                <a:gd name="T8" fmla="*/ 0 w 71"/>
                <a:gd name="T9" fmla="*/ 6 h 19"/>
                <a:gd name="T10" fmla="*/ 1 w 71"/>
                <a:gd name="T11" fmla="*/ 3 h 19"/>
                <a:gd name="T12" fmla="*/ 5 w 71"/>
                <a:gd name="T13" fmla="*/ 0 h 19"/>
                <a:gd name="T14" fmla="*/ 67 w 71"/>
                <a:gd name="T15" fmla="*/ 8 h 19"/>
                <a:gd name="T16" fmla="*/ 71 w 71"/>
                <a:gd name="T1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9">
                  <a:moveTo>
                    <a:pt x="71" y="12"/>
                  </a:moveTo>
                  <a:cubicBezTo>
                    <a:pt x="70" y="15"/>
                    <a:pt x="70" y="15"/>
                    <a:pt x="70" y="15"/>
                  </a:cubicBezTo>
                  <a:cubicBezTo>
                    <a:pt x="70" y="17"/>
                    <a:pt x="68" y="19"/>
                    <a:pt x="66" y="18"/>
                  </a:cubicBezTo>
                  <a:cubicBezTo>
                    <a:pt x="4" y="10"/>
                    <a:pt x="4" y="10"/>
                    <a:pt x="4" y="10"/>
                  </a:cubicBezTo>
                  <a:cubicBezTo>
                    <a:pt x="2" y="10"/>
                    <a:pt x="0" y="8"/>
                    <a:pt x="0" y="6"/>
                  </a:cubicBezTo>
                  <a:cubicBezTo>
                    <a:pt x="1" y="3"/>
                    <a:pt x="1" y="3"/>
                    <a:pt x="1" y="3"/>
                  </a:cubicBezTo>
                  <a:cubicBezTo>
                    <a:pt x="1" y="1"/>
                    <a:pt x="3" y="0"/>
                    <a:pt x="5" y="0"/>
                  </a:cubicBezTo>
                  <a:cubicBezTo>
                    <a:pt x="67" y="8"/>
                    <a:pt x="67" y="8"/>
                    <a:pt x="67" y="8"/>
                  </a:cubicBezTo>
                  <a:cubicBezTo>
                    <a:pt x="69" y="8"/>
                    <a:pt x="71" y="10"/>
                    <a:pt x="71" y="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6" name="Group 605"/>
          <p:cNvGrpSpPr/>
          <p:nvPr/>
        </p:nvGrpSpPr>
        <p:grpSpPr>
          <a:xfrm>
            <a:off x="1853638" y="6185909"/>
            <a:ext cx="285750" cy="80964"/>
            <a:chOff x="1743076" y="7097783"/>
            <a:chExt cx="285750" cy="80964"/>
          </a:xfrm>
        </p:grpSpPr>
        <p:sp>
          <p:nvSpPr>
            <p:cNvPr id="8" name="Freeform 207"/>
            <p:cNvSpPr>
              <a:spLocks noEditPoints="1"/>
            </p:cNvSpPr>
            <p:nvPr/>
          </p:nvSpPr>
          <p:spPr bwMode="auto">
            <a:xfrm>
              <a:off x="1743076" y="7104133"/>
              <a:ext cx="65088" cy="71438"/>
            </a:xfrm>
            <a:custGeom>
              <a:avLst/>
              <a:gdLst>
                <a:gd name="T0" fmla="*/ 31 w 35"/>
                <a:gd name="T1" fmla="*/ 39 h 39"/>
                <a:gd name="T2" fmla="*/ 29 w 35"/>
                <a:gd name="T3" fmla="*/ 34 h 39"/>
                <a:gd name="T4" fmla="*/ 27 w 35"/>
                <a:gd name="T5" fmla="*/ 28 h 39"/>
                <a:gd name="T6" fmla="*/ 8 w 35"/>
                <a:gd name="T7" fmla="*/ 28 h 39"/>
                <a:gd name="T8" fmla="*/ 6 w 35"/>
                <a:gd name="T9" fmla="*/ 34 h 39"/>
                <a:gd name="T10" fmla="*/ 4 w 35"/>
                <a:gd name="T11" fmla="*/ 39 h 39"/>
                <a:gd name="T12" fmla="*/ 0 w 35"/>
                <a:gd name="T13" fmla="*/ 39 h 39"/>
                <a:gd name="T14" fmla="*/ 4 w 35"/>
                <a:gd name="T15" fmla="*/ 28 h 39"/>
                <a:gd name="T16" fmla="*/ 8 w 35"/>
                <a:gd name="T17" fmla="*/ 18 h 39"/>
                <a:gd name="T18" fmla="*/ 12 w 35"/>
                <a:gd name="T19" fmla="*/ 9 h 39"/>
                <a:gd name="T20" fmla="*/ 16 w 35"/>
                <a:gd name="T21" fmla="*/ 0 h 39"/>
                <a:gd name="T22" fmla="*/ 19 w 35"/>
                <a:gd name="T23" fmla="*/ 0 h 39"/>
                <a:gd name="T24" fmla="*/ 23 w 35"/>
                <a:gd name="T25" fmla="*/ 9 h 39"/>
                <a:gd name="T26" fmla="*/ 27 w 35"/>
                <a:gd name="T27" fmla="*/ 18 h 39"/>
                <a:gd name="T28" fmla="*/ 31 w 35"/>
                <a:gd name="T29" fmla="*/ 28 h 39"/>
                <a:gd name="T30" fmla="*/ 35 w 35"/>
                <a:gd name="T31" fmla="*/ 39 h 39"/>
                <a:gd name="T32" fmla="*/ 31 w 35"/>
                <a:gd name="T33" fmla="*/ 39 h 39"/>
                <a:gd name="T34" fmla="*/ 17 w 35"/>
                <a:gd name="T35" fmla="*/ 5 h 39"/>
                <a:gd name="T36" fmla="*/ 13 w 35"/>
                <a:gd name="T37" fmla="*/ 14 h 39"/>
                <a:gd name="T38" fmla="*/ 9 w 35"/>
                <a:gd name="T39" fmla="*/ 25 h 39"/>
                <a:gd name="T40" fmla="*/ 26 w 35"/>
                <a:gd name="T41" fmla="*/ 25 h 39"/>
                <a:gd name="T42" fmla="*/ 21 w 35"/>
                <a:gd name="T43" fmla="*/ 14 h 39"/>
                <a:gd name="T44" fmla="*/ 17 w 35"/>
                <a:gd name="T45"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9">
                  <a:moveTo>
                    <a:pt x="31" y="39"/>
                  </a:moveTo>
                  <a:cubicBezTo>
                    <a:pt x="30" y="37"/>
                    <a:pt x="29" y="35"/>
                    <a:pt x="29" y="34"/>
                  </a:cubicBezTo>
                  <a:cubicBezTo>
                    <a:pt x="28" y="32"/>
                    <a:pt x="27" y="30"/>
                    <a:pt x="27" y="28"/>
                  </a:cubicBezTo>
                  <a:cubicBezTo>
                    <a:pt x="8" y="28"/>
                    <a:pt x="8" y="28"/>
                    <a:pt x="8" y="28"/>
                  </a:cubicBezTo>
                  <a:cubicBezTo>
                    <a:pt x="7" y="30"/>
                    <a:pt x="7" y="32"/>
                    <a:pt x="6" y="34"/>
                  </a:cubicBezTo>
                  <a:cubicBezTo>
                    <a:pt x="5" y="35"/>
                    <a:pt x="5" y="37"/>
                    <a:pt x="4" y="39"/>
                  </a:cubicBezTo>
                  <a:cubicBezTo>
                    <a:pt x="0" y="39"/>
                    <a:pt x="0" y="39"/>
                    <a:pt x="0" y="39"/>
                  </a:cubicBezTo>
                  <a:cubicBezTo>
                    <a:pt x="1" y="35"/>
                    <a:pt x="3" y="31"/>
                    <a:pt x="4" y="28"/>
                  </a:cubicBezTo>
                  <a:cubicBezTo>
                    <a:pt x="6" y="24"/>
                    <a:pt x="7" y="21"/>
                    <a:pt x="8" y="18"/>
                  </a:cubicBezTo>
                  <a:cubicBezTo>
                    <a:pt x="9" y="15"/>
                    <a:pt x="11" y="12"/>
                    <a:pt x="12" y="9"/>
                  </a:cubicBezTo>
                  <a:cubicBezTo>
                    <a:pt x="13" y="6"/>
                    <a:pt x="14" y="3"/>
                    <a:pt x="16" y="0"/>
                  </a:cubicBezTo>
                  <a:cubicBezTo>
                    <a:pt x="19" y="0"/>
                    <a:pt x="19" y="0"/>
                    <a:pt x="19" y="0"/>
                  </a:cubicBezTo>
                  <a:cubicBezTo>
                    <a:pt x="20" y="3"/>
                    <a:pt x="22" y="6"/>
                    <a:pt x="23" y="9"/>
                  </a:cubicBezTo>
                  <a:cubicBezTo>
                    <a:pt x="24" y="12"/>
                    <a:pt x="25" y="15"/>
                    <a:pt x="27" y="18"/>
                  </a:cubicBezTo>
                  <a:cubicBezTo>
                    <a:pt x="28" y="21"/>
                    <a:pt x="29" y="24"/>
                    <a:pt x="31" y="28"/>
                  </a:cubicBezTo>
                  <a:cubicBezTo>
                    <a:pt x="32" y="31"/>
                    <a:pt x="33" y="35"/>
                    <a:pt x="35" y="39"/>
                  </a:cubicBezTo>
                  <a:lnTo>
                    <a:pt x="31" y="39"/>
                  </a:lnTo>
                  <a:close/>
                  <a:moveTo>
                    <a:pt x="17" y="5"/>
                  </a:moveTo>
                  <a:cubicBezTo>
                    <a:pt x="16" y="8"/>
                    <a:pt x="15" y="11"/>
                    <a:pt x="13" y="14"/>
                  </a:cubicBezTo>
                  <a:cubicBezTo>
                    <a:pt x="12" y="18"/>
                    <a:pt x="10" y="21"/>
                    <a:pt x="9" y="25"/>
                  </a:cubicBezTo>
                  <a:cubicBezTo>
                    <a:pt x="26" y="25"/>
                    <a:pt x="26" y="25"/>
                    <a:pt x="26" y="25"/>
                  </a:cubicBezTo>
                  <a:cubicBezTo>
                    <a:pt x="24" y="21"/>
                    <a:pt x="23" y="18"/>
                    <a:pt x="21" y="14"/>
                  </a:cubicBezTo>
                  <a:cubicBezTo>
                    <a:pt x="20" y="11"/>
                    <a:pt x="19" y="8"/>
                    <a:pt x="17" y="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08"/>
            <p:cNvSpPr>
              <a:spLocks/>
            </p:cNvSpPr>
            <p:nvPr/>
          </p:nvSpPr>
          <p:spPr bwMode="auto">
            <a:xfrm>
              <a:off x="1809751" y="7123183"/>
              <a:ext cx="74613" cy="52388"/>
            </a:xfrm>
            <a:custGeom>
              <a:avLst/>
              <a:gdLst>
                <a:gd name="T0" fmla="*/ 22 w 41"/>
                <a:gd name="T1" fmla="*/ 0 h 29"/>
                <a:gd name="T2" fmla="*/ 24 w 41"/>
                <a:gd name="T3" fmla="*/ 6 h 29"/>
                <a:gd name="T4" fmla="*/ 26 w 41"/>
                <a:gd name="T5" fmla="*/ 12 h 29"/>
                <a:gd name="T6" fmla="*/ 28 w 41"/>
                <a:gd name="T7" fmla="*/ 19 h 29"/>
                <a:gd name="T8" fmla="*/ 30 w 41"/>
                <a:gd name="T9" fmla="*/ 25 h 29"/>
                <a:gd name="T10" fmla="*/ 32 w 41"/>
                <a:gd name="T11" fmla="*/ 20 h 29"/>
                <a:gd name="T12" fmla="*/ 34 w 41"/>
                <a:gd name="T13" fmla="*/ 13 h 29"/>
                <a:gd name="T14" fmla="*/ 36 w 41"/>
                <a:gd name="T15" fmla="*/ 6 h 29"/>
                <a:gd name="T16" fmla="*/ 37 w 41"/>
                <a:gd name="T17" fmla="*/ 0 h 29"/>
                <a:gd name="T18" fmla="*/ 41 w 41"/>
                <a:gd name="T19" fmla="*/ 0 h 29"/>
                <a:gd name="T20" fmla="*/ 37 w 41"/>
                <a:gd name="T21" fmla="*/ 16 h 29"/>
                <a:gd name="T22" fmla="*/ 31 w 41"/>
                <a:gd name="T23" fmla="*/ 29 h 29"/>
                <a:gd name="T24" fmla="*/ 28 w 41"/>
                <a:gd name="T25" fmla="*/ 29 h 29"/>
                <a:gd name="T26" fmla="*/ 26 w 41"/>
                <a:gd name="T27" fmla="*/ 25 h 29"/>
                <a:gd name="T28" fmla="*/ 24 w 41"/>
                <a:gd name="T29" fmla="*/ 19 h 29"/>
                <a:gd name="T30" fmla="*/ 22 w 41"/>
                <a:gd name="T31" fmla="*/ 14 h 29"/>
                <a:gd name="T32" fmla="*/ 21 w 41"/>
                <a:gd name="T33" fmla="*/ 7 h 29"/>
                <a:gd name="T34" fmla="*/ 19 w 41"/>
                <a:gd name="T35" fmla="*/ 14 h 29"/>
                <a:gd name="T36" fmla="*/ 17 w 41"/>
                <a:gd name="T37" fmla="*/ 19 h 29"/>
                <a:gd name="T38" fmla="*/ 15 w 41"/>
                <a:gd name="T39" fmla="*/ 25 h 29"/>
                <a:gd name="T40" fmla="*/ 13 w 41"/>
                <a:gd name="T41" fmla="*/ 29 h 29"/>
                <a:gd name="T42" fmla="*/ 10 w 41"/>
                <a:gd name="T43" fmla="*/ 29 h 29"/>
                <a:gd name="T44" fmla="*/ 5 w 41"/>
                <a:gd name="T45" fmla="*/ 16 h 29"/>
                <a:gd name="T46" fmla="*/ 0 w 41"/>
                <a:gd name="T47" fmla="*/ 0 h 29"/>
                <a:gd name="T48" fmla="*/ 4 w 41"/>
                <a:gd name="T49" fmla="*/ 0 h 29"/>
                <a:gd name="T50" fmla="*/ 6 w 41"/>
                <a:gd name="T51" fmla="*/ 6 h 29"/>
                <a:gd name="T52" fmla="*/ 8 w 41"/>
                <a:gd name="T53" fmla="*/ 13 h 29"/>
                <a:gd name="T54" fmla="*/ 10 w 41"/>
                <a:gd name="T55" fmla="*/ 20 h 29"/>
                <a:gd name="T56" fmla="*/ 12 w 41"/>
                <a:gd name="T57" fmla="*/ 25 h 29"/>
                <a:gd name="T58" fmla="*/ 14 w 41"/>
                <a:gd name="T59" fmla="*/ 19 h 29"/>
                <a:gd name="T60" fmla="*/ 16 w 41"/>
                <a:gd name="T61" fmla="*/ 12 h 29"/>
                <a:gd name="T62" fmla="*/ 18 w 41"/>
                <a:gd name="T63" fmla="*/ 6 h 29"/>
                <a:gd name="T64" fmla="*/ 19 w 41"/>
                <a:gd name="T65" fmla="*/ 0 h 29"/>
                <a:gd name="T66" fmla="*/ 22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2" y="0"/>
                  </a:moveTo>
                  <a:cubicBezTo>
                    <a:pt x="23" y="2"/>
                    <a:pt x="23" y="4"/>
                    <a:pt x="24" y="6"/>
                  </a:cubicBezTo>
                  <a:cubicBezTo>
                    <a:pt x="24" y="8"/>
                    <a:pt x="25" y="10"/>
                    <a:pt x="26" y="12"/>
                  </a:cubicBezTo>
                  <a:cubicBezTo>
                    <a:pt x="26" y="15"/>
                    <a:pt x="27" y="17"/>
                    <a:pt x="28" y="19"/>
                  </a:cubicBezTo>
                  <a:cubicBezTo>
                    <a:pt x="28" y="21"/>
                    <a:pt x="29" y="23"/>
                    <a:pt x="30" y="25"/>
                  </a:cubicBezTo>
                  <a:cubicBezTo>
                    <a:pt x="30" y="24"/>
                    <a:pt x="31" y="22"/>
                    <a:pt x="32" y="20"/>
                  </a:cubicBezTo>
                  <a:cubicBezTo>
                    <a:pt x="33" y="18"/>
                    <a:pt x="33" y="16"/>
                    <a:pt x="34" y="13"/>
                  </a:cubicBezTo>
                  <a:cubicBezTo>
                    <a:pt x="35" y="11"/>
                    <a:pt x="35" y="9"/>
                    <a:pt x="36" y="6"/>
                  </a:cubicBezTo>
                  <a:cubicBezTo>
                    <a:pt x="37" y="4"/>
                    <a:pt x="37" y="2"/>
                    <a:pt x="37" y="0"/>
                  </a:cubicBezTo>
                  <a:cubicBezTo>
                    <a:pt x="41" y="0"/>
                    <a:pt x="41" y="0"/>
                    <a:pt x="41" y="0"/>
                  </a:cubicBezTo>
                  <a:cubicBezTo>
                    <a:pt x="40" y="6"/>
                    <a:pt x="38" y="11"/>
                    <a:pt x="37" y="16"/>
                  </a:cubicBezTo>
                  <a:cubicBezTo>
                    <a:pt x="35" y="20"/>
                    <a:pt x="33" y="25"/>
                    <a:pt x="31" y="29"/>
                  </a:cubicBezTo>
                  <a:cubicBezTo>
                    <a:pt x="28" y="29"/>
                    <a:pt x="28" y="29"/>
                    <a:pt x="28" y="29"/>
                  </a:cubicBezTo>
                  <a:cubicBezTo>
                    <a:pt x="27" y="28"/>
                    <a:pt x="27" y="26"/>
                    <a:pt x="26" y="25"/>
                  </a:cubicBezTo>
                  <a:cubicBezTo>
                    <a:pt x="26" y="23"/>
                    <a:pt x="25" y="21"/>
                    <a:pt x="24" y="19"/>
                  </a:cubicBezTo>
                  <a:cubicBezTo>
                    <a:pt x="24" y="18"/>
                    <a:pt x="23" y="16"/>
                    <a:pt x="22" y="14"/>
                  </a:cubicBezTo>
                  <a:cubicBezTo>
                    <a:pt x="22" y="12"/>
                    <a:pt x="21" y="9"/>
                    <a:pt x="21" y="7"/>
                  </a:cubicBezTo>
                  <a:cubicBezTo>
                    <a:pt x="20" y="9"/>
                    <a:pt x="20" y="12"/>
                    <a:pt x="19" y="14"/>
                  </a:cubicBezTo>
                  <a:cubicBezTo>
                    <a:pt x="18" y="16"/>
                    <a:pt x="18" y="18"/>
                    <a:pt x="17" y="19"/>
                  </a:cubicBezTo>
                  <a:cubicBezTo>
                    <a:pt x="16" y="21"/>
                    <a:pt x="16" y="23"/>
                    <a:pt x="15" y="25"/>
                  </a:cubicBezTo>
                  <a:cubicBezTo>
                    <a:pt x="14" y="26"/>
                    <a:pt x="14" y="28"/>
                    <a:pt x="13" y="29"/>
                  </a:cubicBezTo>
                  <a:cubicBezTo>
                    <a:pt x="10" y="29"/>
                    <a:pt x="10" y="29"/>
                    <a:pt x="10" y="29"/>
                  </a:cubicBezTo>
                  <a:cubicBezTo>
                    <a:pt x="8" y="25"/>
                    <a:pt x="6" y="20"/>
                    <a:pt x="5" y="16"/>
                  </a:cubicBezTo>
                  <a:cubicBezTo>
                    <a:pt x="3" y="11"/>
                    <a:pt x="2" y="6"/>
                    <a:pt x="0" y="0"/>
                  </a:cubicBezTo>
                  <a:cubicBezTo>
                    <a:pt x="4" y="0"/>
                    <a:pt x="4" y="0"/>
                    <a:pt x="4" y="0"/>
                  </a:cubicBezTo>
                  <a:cubicBezTo>
                    <a:pt x="4" y="2"/>
                    <a:pt x="5" y="4"/>
                    <a:pt x="6" y="6"/>
                  </a:cubicBezTo>
                  <a:cubicBezTo>
                    <a:pt x="6" y="9"/>
                    <a:pt x="7" y="11"/>
                    <a:pt x="8" y="13"/>
                  </a:cubicBezTo>
                  <a:cubicBezTo>
                    <a:pt x="8" y="16"/>
                    <a:pt x="9" y="18"/>
                    <a:pt x="10" y="20"/>
                  </a:cubicBezTo>
                  <a:cubicBezTo>
                    <a:pt x="11" y="22"/>
                    <a:pt x="11" y="23"/>
                    <a:pt x="12" y="25"/>
                  </a:cubicBezTo>
                  <a:cubicBezTo>
                    <a:pt x="13" y="23"/>
                    <a:pt x="13" y="21"/>
                    <a:pt x="14" y="19"/>
                  </a:cubicBezTo>
                  <a:cubicBezTo>
                    <a:pt x="15" y="17"/>
                    <a:pt x="15" y="15"/>
                    <a:pt x="16" y="12"/>
                  </a:cubicBezTo>
                  <a:cubicBezTo>
                    <a:pt x="17" y="10"/>
                    <a:pt x="17" y="8"/>
                    <a:pt x="18" y="6"/>
                  </a:cubicBezTo>
                  <a:cubicBezTo>
                    <a:pt x="18" y="4"/>
                    <a:pt x="19" y="2"/>
                    <a:pt x="19" y="0"/>
                  </a:cubicBezTo>
                  <a:lnTo>
                    <a:pt x="22"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09"/>
            <p:cNvSpPr>
              <a:spLocks noEditPoints="1"/>
            </p:cNvSpPr>
            <p:nvPr/>
          </p:nvSpPr>
          <p:spPr bwMode="auto">
            <a:xfrm>
              <a:off x="1892301" y="7121596"/>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5"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8"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7" y="17"/>
                  </a:cubicBezTo>
                  <a:cubicBezTo>
                    <a:pt x="6" y="17"/>
                    <a:pt x="5" y="18"/>
                    <a:pt x="5"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10"/>
            <p:cNvSpPr>
              <a:spLocks/>
            </p:cNvSpPr>
            <p:nvPr/>
          </p:nvSpPr>
          <p:spPr bwMode="auto">
            <a:xfrm>
              <a:off x="1949451" y="7123183"/>
              <a:ext cx="26988" cy="52388"/>
            </a:xfrm>
            <a:custGeom>
              <a:avLst/>
              <a:gdLst>
                <a:gd name="T0" fmla="*/ 9 w 15"/>
                <a:gd name="T1" fmla="*/ 0 h 29"/>
                <a:gd name="T2" fmla="*/ 13 w 15"/>
                <a:gd name="T3" fmla="*/ 0 h 29"/>
                <a:gd name="T4" fmla="*/ 15 w 15"/>
                <a:gd name="T5" fmla="*/ 0 h 29"/>
                <a:gd name="T6" fmla="*/ 14 w 15"/>
                <a:gd name="T7" fmla="*/ 3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3 w 15"/>
                <a:gd name="T23" fmla="*/ 0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0"/>
                    <a:pt x="15" y="0"/>
                  </a:cubicBezTo>
                  <a:cubicBezTo>
                    <a:pt x="14" y="3"/>
                    <a:pt x="14" y="3"/>
                    <a:pt x="14" y="3"/>
                  </a:cubicBezTo>
                  <a:cubicBezTo>
                    <a:pt x="14" y="3"/>
                    <a:pt x="13" y="3"/>
                    <a:pt x="13" y="3"/>
                  </a:cubicBezTo>
                  <a:cubicBezTo>
                    <a:pt x="12" y="3"/>
                    <a:pt x="10"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3" y="0"/>
                  </a:cubicBezTo>
                  <a:cubicBezTo>
                    <a:pt x="5" y="0"/>
                    <a:pt x="7" y="0"/>
                    <a:pt x="9"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11"/>
            <p:cNvSpPr>
              <a:spLocks noEditPoints="1"/>
            </p:cNvSpPr>
            <p:nvPr/>
          </p:nvSpPr>
          <p:spPr bwMode="auto">
            <a:xfrm>
              <a:off x="1984376" y="7097783"/>
              <a:ext cx="44450" cy="80963"/>
            </a:xfrm>
            <a:custGeom>
              <a:avLst/>
              <a:gdLst>
                <a:gd name="T0" fmla="*/ 25 w 25"/>
                <a:gd name="T1" fmla="*/ 42 h 44"/>
                <a:gd name="T2" fmla="*/ 20 w 25"/>
                <a:gd name="T3" fmla="*/ 43 h 44"/>
                <a:gd name="T4" fmla="*/ 14 w 25"/>
                <a:gd name="T5" fmla="*/ 44 h 44"/>
                <a:gd name="T6" fmla="*/ 8 w 25"/>
                <a:gd name="T7" fmla="*/ 43 h 44"/>
                <a:gd name="T8" fmla="*/ 4 w 25"/>
                <a:gd name="T9" fmla="*/ 40 h 44"/>
                <a:gd name="T10" fmla="*/ 1 w 25"/>
                <a:gd name="T11" fmla="*/ 35 h 44"/>
                <a:gd name="T12" fmla="*/ 0 w 25"/>
                <a:gd name="T13" fmla="*/ 29 h 44"/>
                <a:gd name="T14" fmla="*/ 1 w 25"/>
                <a:gd name="T15" fmla="*/ 23 h 44"/>
                <a:gd name="T16" fmla="*/ 3 w 25"/>
                <a:gd name="T17" fmla="*/ 18 h 44"/>
                <a:gd name="T18" fmla="*/ 7 w 25"/>
                <a:gd name="T19" fmla="*/ 15 h 44"/>
                <a:gd name="T20" fmla="*/ 13 w 25"/>
                <a:gd name="T21" fmla="*/ 13 h 44"/>
                <a:gd name="T22" fmla="*/ 18 w 25"/>
                <a:gd name="T23" fmla="*/ 14 h 44"/>
                <a:gd name="T24" fmla="*/ 21 w 25"/>
                <a:gd name="T25" fmla="*/ 16 h 44"/>
                <a:gd name="T26" fmla="*/ 21 w 25"/>
                <a:gd name="T27" fmla="*/ 0 h 44"/>
                <a:gd name="T28" fmla="*/ 25 w 25"/>
                <a:gd name="T29" fmla="*/ 0 h 44"/>
                <a:gd name="T30" fmla="*/ 25 w 25"/>
                <a:gd name="T31" fmla="*/ 42 h 44"/>
                <a:gd name="T32" fmla="*/ 21 w 25"/>
                <a:gd name="T33" fmla="*/ 19 h 44"/>
                <a:gd name="T34" fmla="*/ 20 w 25"/>
                <a:gd name="T35" fmla="*/ 18 h 44"/>
                <a:gd name="T36" fmla="*/ 18 w 25"/>
                <a:gd name="T37" fmla="*/ 18 h 44"/>
                <a:gd name="T38" fmla="*/ 16 w 25"/>
                <a:gd name="T39" fmla="*/ 17 h 44"/>
                <a:gd name="T40" fmla="*/ 13 w 25"/>
                <a:gd name="T41" fmla="*/ 17 h 44"/>
                <a:gd name="T42" fmla="*/ 9 w 25"/>
                <a:gd name="T43" fmla="*/ 18 h 44"/>
                <a:gd name="T44" fmla="*/ 6 w 25"/>
                <a:gd name="T45" fmla="*/ 20 h 44"/>
                <a:gd name="T46" fmla="*/ 4 w 25"/>
                <a:gd name="T47" fmla="*/ 24 h 44"/>
                <a:gd name="T48" fmla="*/ 4 w 25"/>
                <a:gd name="T49" fmla="*/ 29 h 44"/>
                <a:gd name="T50" fmla="*/ 7 w 25"/>
                <a:gd name="T51" fmla="*/ 37 h 44"/>
                <a:gd name="T52" fmla="*/ 14 w 25"/>
                <a:gd name="T53" fmla="*/ 40 h 44"/>
                <a:gd name="T54" fmla="*/ 18 w 25"/>
                <a:gd name="T55" fmla="*/ 40 h 44"/>
                <a:gd name="T56" fmla="*/ 21 w 25"/>
                <a:gd name="T57" fmla="*/ 40 h 44"/>
                <a:gd name="T58" fmla="*/ 21 w 25"/>
                <a:gd name="T59"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2"/>
                  </a:moveTo>
                  <a:cubicBezTo>
                    <a:pt x="24" y="43"/>
                    <a:pt x="22" y="43"/>
                    <a:pt x="20" y="43"/>
                  </a:cubicBezTo>
                  <a:cubicBezTo>
                    <a:pt x="19" y="44"/>
                    <a:pt x="17" y="44"/>
                    <a:pt x="14" y="44"/>
                  </a:cubicBezTo>
                  <a:cubicBezTo>
                    <a:pt x="12" y="44"/>
                    <a:pt x="10" y="43"/>
                    <a:pt x="8" y="43"/>
                  </a:cubicBezTo>
                  <a:cubicBezTo>
                    <a:pt x="7" y="42"/>
                    <a:pt x="5" y="41"/>
                    <a:pt x="4" y="40"/>
                  </a:cubicBezTo>
                  <a:cubicBezTo>
                    <a:pt x="3" y="38"/>
                    <a:pt x="2" y="37"/>
                    <a:pt x="1" y="35"/>
                  </a:cubicBezTo>
                  <a:cubicBezTo>
                    <a:pt x="0" y="33"/>
                    <a:pt x="0" y="31"/>
                    <a:pt x="0" y="29"/>
                  </a:cubicBezTo>
                  <a:cubicBezTo>
                    <a:pt x="0" y="26"/>
                    <a:pt x="0" y="24"/>
                    <a:pt x="1" y="23"/>
                  </a:cubicBezTo>
                  <a:cubicBezTo>
                    <a:pt x="1" y="21"/>
                    <a:pt x="2" y="19"/>
                    <a:pt x="3" y="18"/>
                  </a:cubicBezTo>
                  <a:cubicBezTo>
                    <a:pt x="4" y="16"/>
                    <a:pt x="6" y="15"/>
                    <a:pt x="7" y="15"/>
                  </a:cubicBezTo>
                  <a:cubicBezTo>
                    <a:pt x="9" y="14"/>
                    <a:pt x="11" y="13"/>
                    <a:pt x="13" y="13"/>
                  </a:cubicBezTo>
                  <a:cubicBezTo>
                    <a:pt x="15" y="13"/>
                    <a:pt x="17" y="14"/>
                    <a:pt x="18" y="14"/>
                  </a:cubicBezTo>
                  <a:cubicBezTo>
                    <a:pt x="19" y="15"/>
                    <a:pt x="20" y="15"/>
                    <a:pt x="21" y="16"/>
                  </a:cubicBezTo>
                  <a:cubicBezTo>
                    <a:pt x="21" y="0"/>
                    <a:pt x="21" y="0"/>
                    <a:pt x="21" y="0"/>
                  </a:cubicBezTo>
                  <a:cubicBezTo>
                    <a:pt x="25" y="0"/>
                    <a:pt x="25" y="0"/>
                    <a:pt x="25" y="0"/>
                  </a:cubicBezTo>
                  <a:lnTo>
                    <a:pt x="25" y="42"/>
                  </a:lnTo>
                  <a:close/>
                  <a:moveTo>
                    <a:pt x="21" y="19"/>
                  </a:moveTo>
                  <a:cubicBezTo>
                    <a:pt x="21" y="19"/>
                    <a:pt x="20" y="19"/>
                    <a:pt x="20" y="18"/>
                  </a:cubicBezTo>
                  <a:cubicBezTo>
                    <a:pt x="19" y="18"/>
                    <a:pt x="19" y="18"/>
                    <a:pt x="18" y="18"/>
                  </a:cubicBezTo>
                  <a:cubicBezTo>
                    <a:pt x="17" y="17"/>
                    <a:pt x="17" y="17"/>
                    <a:pt x="16" y="17"/>
                  </a:cubicBezTo>
                  <a:cubicBezTo>
                    <a:pt x="15" y="17"/>
                    <a:pt x="14" y="17"/>
                    <a:pt x="13" y="17"/>
                  </a:cubicBezTo>
                  <a:cubicBezTo>
                    <a:pt x="11" y="17"/>
                    <a:pt x="10" y="17"/>
                    <a:pt x="9" y="18"/>
                  </a:cubicBezTo>
                  <a:cubicBezTo>
                    <a:pt x="8" y="18"/>
                    <a:pt x="7" y="19"/>
                    <a:pt x="6" y="20"/>
                  </a:cubicBezTo>
                  <a:cubicBezTo>
                    <a:pt x="5" y="21"/>
                    <a:pt x="5" y="23"/>
                    <a:pt x="4" y="24"/>
                  </a:cubicBezTo>
                  <a:cubicBezTo>
                    <a:pt x="4" y="25"/>
                    <a:pt x="4" y="27"/>
                    <a:pt x="4" y="29"/>
                  </a:cubicBezTo>
                  <a:cubicBezTo>
                    <a:pt x="4" y="32"/>
                    <a:pt x="5" y="35"/>
                    <a:pt x="7" y="37"/>
                  </a:cubicBezTo>
                  <a:cubicBezTo>
                    <a:pt x="8" y="39"/>
                    <a:pt x="11" y="40"/>
                    <a:pt x="14" y="40"/>
                  </a:cubicBezTo>
                  <a:cubicBezTo>
                    <a:pt x="16" y="40"/>
                    <a:pt x="17" y="40"/>
                    <a:pt x="18" y="40"/>
                  </a:cubicBezTo>
                  <a:cubicBezTo>
                    <a:pt x="20" y="40"/>
                    <a:pt x="20" y="40"/>
                    <a:pt x="21" y="40"/>
                  </a:cubicBezTo>
                  <a:lnTo>
                    <a:pt x="21" y="1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8" name="Group 607"/>
          <p:cNvGrpSpPr/>
          <p:nvPr/>
        </p:nvGrpSpPr>
        <p:grpSpPr>
          <a:xfrm>
            <a:off x="4228802" y="6185909"/>
            <a:ext cx="307976" cy="90488"/>
            <a:chOff x="4052889" y="7104133"/>
            <a:chExt cx="307976" cy="90488"/>
          </a:xfrm>
        </p:grpSpPr>
        <p:sp>
          <p:nvSpPr>
            <p:cNvPr id="13" name="Freeform 212"/>
            <p:cNvSpPr>
              <a:spLocks/>
            </p:cNvSpPr>
            <p:nvPr/>
          </p:nvSpPr>
          <p:spPr bwMode="auto">
            <a:xfrm>
              <a:off x="4052889" y="7104133"/>
              <a:ext cx="41275" cy="71438"/>
            </a:xfrm>
            <a:custGeom>
              <a:avLst/>
              <a:gdLst>
                <a:gd name="T0" fmla="*/ 26 w 26"/>
                <a:gd name="T1" fmla="*/ 42 h 45"/>
                <a:gd name="T2" fmla="*/ 26 w 26"/>
                <a:gd name="T3" fmla="*/ 45 h 45"/>
                <a:gd name="T4" fmla="*/ 0 w 26"/>
                <a:gd name="T5" fmla="*/ 45 h 45"/>
                <a:gd name="T6" fmla="*/ 0 w 26"/>
                <a:gd name="T7" fmla="*/ 0 h 45"/>
                <a:gd name="T8" fmla="*/ 4 w 26"/>
                <a:gd name="T9" fmla="*/ 0 h 45"/>
                <a:gd name="T10" fmla="*/ 4 w 26"/>
                <a:gd name="T11" fmla="*/ 42 h 45"/>
                <a:gd name="T12" fmla="*/ 26 w 26"/>
                <a:gd name="T13" fmla="*/ 42 h 45"/>
              </a:gdLst>
              <a:ahLst/>
              <a:cxnLst>
                <a:cxn ang="0">
                  <a:pos x="T0" y="T1"/>
                </a:cxn>
                <a:cxn ang="0">
                  <a:pos x="T2" y="T3"/>
                </a:cxn>
                <a:cxn ang="0">
                  <a:pos x="T4" y="T5"/>
                </a:cxn>
                <a:cxn ang="0">
                  <a:pos x="T6" y="T7"/>
                </a:cxn>
                <a:cxn ang="0">
                  <a:pos x="T8" y="T9"/>
                </a:cxn>
                <a:cxn ang="0">
                  <a:pos x="T10" y="T11"/>
                </a:cxn>
                <a:cxn ang="0">
                  <a:pos x="T12" y="T13"/>
                </a:cxn>
              </a:cxnLst>
              <a:rect l="0" t="0" r="r" b="b"/>
              <a:pathLst>
                <a:path w="26" h="45">
                  <a:moveTo>
                    <a:pt x="26" y="42"/>
                  </a:moveTo>
                  <a:lnTo>
                    <a:pt x="26" y="45"/>
                  </a:lnTo>
                  <a:lnTo>
                    <a:pt x="0" y="45"/>
                  </a:lnTo>
                  <a:lnTo>
                    <a:pt x="0" y="0"/>
                  </a:lnTo>
                  <a:lnTo>
                    <a:pt x="4" y="0"/>
                  </a:lnTo>
                  <a:lnTo>
                    <a:pt x="4" y="42"/>
                  </a:lnTo>
                  <a:lnTo>
                    <a:pt x="26" y="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13"/>
            <p:cNvSpPr>
              <a:spLocks noEditPoints="1"/>
            </p:cNvSpPr>
            <p:nvPr/>
          </p:nvSpPr>
          <p:spPr bwMode="auto">
            <a:xfrm>
              <a:off x="4098927" y="7121596"/>
              <a:ext cx="39688" cy="57151"/>
            </a:xfrm>
            <a:custGeom>
              <a:avLst/>
              <a:gdLst>
                <a:gd name="T0" fmla="*/ 11 w 22"/>
                <a:gd name="T1" fmla="*/ 0 h 31"/>
                <a:gd name="T2" fmla="*/ 16 w 22"/>
                <a:gd name="T3" fmla="*/ 1 h 31"/>
                <a:gd name="T4" fmla="*/ 19 w 22"/>
                <a:gd name="T5" fmla="*/ 3 h 31"/>
                <a:gd name="T6" fmla="*/ 21 w 22"/>
                <a:gd name="T7" fmla="*/ 7 h 31"/>
                <a:gd name="T8" fmla="*/ 22 w 22"/>
                <a:gd name="T9" fmla="*/ 11 h 31"/>
                <a:gd name="T10" fmla="*/ 22 w 22"/>
                <a:gd name="T11" fmla="*/ 29 h 31"/>
                <a:gd name="T12" fmla="*/ 20 w 22"/>
                <a:gd name="T13" fmla="*/ 30 h 31"/>
                <a:gd name="T14" fmla="*/ 18 w 22"/>
                <a:gd name="T15" fmla="*/ 30 h 31"/>
                <a:gd name="T16" fmla="*/ 14 w 22"/>
                <a:gd name="T17" fmla="*/ 31 h 31"/>
                <a:gd name="T18" fmla="*/ 11 w 22"/>
                <a:gd name="T19" fmla="*/ 31 h 31"/>
                <a:gd name="T20" fmla="*/ 7 w 22"/>
                <a:gd name="T21" fmla="*/ 30 h 31"/>
                <a:gd name="T22" fmla="*/ 3 w 22"/>
                <a:gd name="T23" fmla="*/ 29 h 31"/>
                <a:gd name="T24" fmla="*/ 1 w 22"/>
                <a:gd name="T25" fmla="*/ 26 h 31"/>
                <a:gd name="T26" fmla="*/ 0 w 22"/>
                <a:gd name="T27" fmla="*/ 22 h 31"/>
                <a:gd name="T28" fmla="*/ 1 w 22"/>
                <a:gd name="T29" fmla="*/ 18 h 31"/>
                <a:gd name="T30" fmla="*/ 4 w 22"/>
                <a:gd name="T31" fmla="*/ 15 h 31"/>
                <a:gd name="T32" fmla="*/ 8 w 22"/>
                <a:gd name="T33" fmla="*/ 13 h 31"/>
                <a:gd name="T34" fmla="*/ 12 w 22"/>
                <a:gd name="T35" fmla="*/ 13 h 31"/>
                <a:gd name="T36" fmla="*/ 14 w 22"/>
                <a:gd name="T37" fmla="*/ 13 h 31"/>
                <a:gd name="T38" fmla="*/ 16 w 22"/>
                <a:gd name="T39" fmla="*/ 13 h 31"/>
                <a:gd name="T40" fmla="*/ 17 w 22"/>
                <a:gd name="T41" fmla="*/ 13 h 31"/>
                <a:gd name="T42" fmla="*/ 18 w 22"/>
                <a:gd name="T43" fmla="*/ 14 h 31"/>
                <a:gd name="T44" fmla="*/ 18 w 22"/>
                <a:gd name="T45" fmla="*/ 12 h 31"/>
                <a:gd name="T46" fmla="*/ 18 w 22"/>
                <a:gd name="T47" fmla="*/ 9 h 31"/>
                <a:gd name="T48" fmla="*/ 17 w 22"/>
                <a:gd name="T49" fmla="*/ 6 h 31"/>
                <a:gd name="T50" fmla="*/ 15 w 22"/>
                <a:gd name="T51" fmla="*/ 4 h 31"/>
                <a:gd name="T52" fmla="*/ 11 w 22"/>
                <a:gd name="T53" fmla="*/ 4 h 31"/>
                <a:gd name="T54" fmla="*/ 6 w 22"/>
                <a:gd name="T55" fmla="*/ 4 h 31"/>
                <a:gd name="T56" fmla="*/ 4 w 22"/>
                <a:gd name="T57" fmla="*/ 5 h 31"/>
                <a:gd name="T58" fmla="*/ 3 w 22"/>
                <a:gd name="T59" fmla="*/ 2 h 31"/>
                <a:gd name="T60" fmla="*/ 6 w 22"/>
                <a:gd name="T61" fmla="*/ 1 h 31"/>
                <a:gd name="T62" fmla="*/ 11 w 22"/>
                <a:gd name="T63" fmla="*/ 0 h 31"/>
                <a:gd name="T64" fmla="*/ 12 w 22"/>
                <a:gd name="T65" fmla="*/ 27 h 31"/>
                <a:gd name="T66" fmla="*/ 15 w 22"/>
                <a:gd name="T67" fmla="*/ 27 h 31"/>
                <a:gd name="T68" fmla="*/ 18 w 22"/>
                <a:gd name="T69" fmla="*/ 27 h 31"/>
                <a:gd name="T70" fmla="*/ 18 w 22"/>
                <a:gd name="T71" fmla="*/ 17 h 31"/>
                <a:gd name="T72" fmla="*/ 16 w 22"/>
                <a:gd name="T73" fmla="*/ 16 h 31"/>
                <a:gd name="T74" fmla="*/ 12 w 22"/>
                <a:gd name="T75" fmla="*/ 16 h 31"/>
                <a:gd name="T76" fmla="*/ 10 w 22"/>
                <a:gd name="T77" fmla="*/ 16 h 31"/>
                <a:gd name="T78" fmla="*/ 7 w 22"/>
                <a:gd name="T79" fmla="*/ 17 h 31"/>
                <a:gd name="T80" fmla="*/ 5 w 22"/>
                <a:gd name="T81" fmla="*/ 19 h 31"/>
                <a:gd name="T82" fmla="*/ 4 w 22"/>
                <a:gd name="T83" fmla="*/ 22 h 31"/>
                <a:gd name="T84" fmla="*/ 5 w 22"/>
                <a:gd name="T85" fmla="*/ 24 h 31"/>
                <a:gd name="T86" fmla="*/ 6 w 22"/>
                <a:gd name="T87" fmla="*/ 26 h 31"/>
                <a:gd name="T88" fmla="*/ 8 w 22"/>
                <a:gd name="T89" fmla="*/ 27 h 31"/>
                <a:gd name="T90" fmla="*/ 12 w 22"/>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1">
                  <a:moveTo>
                    <a:pt x="11" y="0"/>
                  </a:moveTo>
                  <a:cubicBezTo>
                    <a:pt x="13" y="0"/>
                    <a:pt x="15" y="1"/>
                    <a:pt x="16" y="1"/>
                  </a:cubicBezTo>
                  <a:cubicBezTo>
                    <a:pt x="17" y="2"/>
                    <a:pt x="18" y="3"/>
                    <a:pt x="19" y="3"/>
                  </a:cubicBezTo>
                  <a:cubicBezTo>
                    <a:pt x="20" y="4"/>
                    <a:pt x="21" y="6"/>
                    <a:pt x="21" y="7"/>
                  </a:cubicBezTo>
                  <a:cubicBezTo>
                    <a:pt x="21" y="8"/>
                    <a:pt x="22" y="10"/>
                    <a:pt x="22" y="11"/>
                  </a:cubicBezTo>
                  <a:cubicBezTo>
                    <a:pt x="22" y="29"/>
                    <a:pt x="22" y="29"/>
                    <a:pt x="22" y="29"/>
                  </a:cubicBezTo>
                  <a:cubicBezTo>
                    <a:pt x="21" y="29"/>
                    <a:pt x="21" y="30"/>
                    <a:pt x="20" y="30"/>
                  </a:cubicBezTo>
                  <a:cubicBezTo>
                    <a:pt x="19" y="30"/>
                    <a:pt x="18" y="30"/>
                    <a:pt x="18" y="30"/>
                  </a:cubicBezTo>
                  <a:cubicBezTo>
                    <a:pt x="17" y="30"/>
                    <a:pt x="16" y="30"/>
                    <a:pt x="14" y="31"/>
                  </a:cubicBezTo>
                  <a:cubicBezTo>
                    <a:pt x="13" y="31"/>
                    <a:pt x="12" y="31"/>
                    <a:pt x="11" y="31"/>
                  </a:cubicBezTo>
                  <a:cubicBezTo>
                    <a:pt x="9" y="31"/>
                    <a:pt x="8" y="30"/>
                    <a:pt x="7" y="30"/>
                  </a:cubicBezTo>
                  <a:cubicBezTo>
                    <a:pt x="5" y="30"/>
                    <a:pt x="4" y="29"/>
                    <a:pt x="3" y="29"/>
                  </a:cubicBezTo>
                  <a:cubicBezTo>
                    <a:pt x="2" y="28"/>
                    <a:pt x="2" y="27"/>
                    <a:pt x="1" y="26"/>
                  </a:cubicBezTo>
                  <a:cubicBezTo>
                    <a:pt x="1" y="25"/>
                    <a:pt x="0" y="23"/>
                    <a:pt x="0" y="22"/>
                  </a:cubicBezTo>
                  <a:cubicBezTo>
                    <a:pt x="0" y="20"/>
                    <a:pt x="1" y="19"/>
                    <a:pt x="1" y="18"/>
                  </a:cubicBezTo>
                  <a:cubicBezTo>
                    <a:pt x="2" y="16"/>
                    <a:pt x="3" y="15"/>
                    <a:pt x="4" y="15"/>
                  </a:cubicBezTo>
                  <a:cubicBezTo>
                    <a:pt x="5" y="14"/>
                    <a:pt x="6" y="14"/>
                    <a:pt x="8" y="13"/>
                  </a:cubicBezTo>
                  <a:cubicBezTo>
                    <a:pt x="9" y="13"/>
                    <a:pt x="11" y="13"/>
                    <a:pt x="12" y="13"/>
                  </a:cubicBezTo>
                  <a:cubicBezTo>
                    <a:pt x="13" y="13"/>
                    <a:pt x="14" y="13"/>
                    <a:pt x="14" y="13"/>
                  </a:cubicBezTo>
                  <a:cubicBezTo>
                    <a:pt x="15" y="13"/>
                    <a:pt x="15" y="13"/>
                    <a:pt x="16" y="13"/>
                  </a:cubicBezTo>
                  <a:cubicBezTo>
                    <a:pt x="16" y="13"/>
                    <a:pt x="17" y="13"/>
                    <a:pt x="17" y="13"/>
                  </a:cubicBezTo>
                  <a:cubicBezTo>
                    <a:pt x="18" y="13"/>
                    <a:pt x="18" y="13"/>
                    <a:pt x="18" y="14"/>
                  </a:cubicBezTo>
                  <a:cubicBezTo>
                    <a:pt x="18" y="12"/>
                    <a:pt x="18" y="12"/>
                    <a:pt x="18" y="12"/>
                  </a:cubicBezTo>
                  <a:cubicBezTo>
                    <a:pt x="18" y="11"/>
                    <a:pt x="18" y="10"/>
                    <a:pt x="18" y="9"/>
                  </a:cubicBezTo>
                  <a:cubicBezTo>
                    <a:pt x="18" y="8"/>
                    <a:pt x="17" y="7"/>
                    <a:pt x="17" y="6"/>
                  </a:cubicBezTo>
                  <a:cubicBezTo>
                    <a:pt x="16" y="5"/>
                    <a:pt x="16" y="5"/>
                    <a:pt x="15" y="4"/>
                  </a:cubicBezTo>
                  <a:cubicBezTo>
                    <a:pt x="14" y="4"/>
                    <a:pt x="13"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2" y="27"/>
                  </a:moveTo>
                  <a:cubicBezTo>
                    <a:pt x="13" y="27"/>
                    <a:pt x="14" y="27"/>
                    <a:pt x="15" y="27"/>
                  </a:cubicBezTo>
                  <a:cubicBezTo>
                    <a:pt x="16" y="27"/>
                    <a:pt x="17" y="27"/>
                    <a:pt x="18" y="27"/>
                  </a:cubicBezTo>
                  <a:cubicBezTo>
                    <a:pt x="18" y="17"/>
                    <a:pt x="18" y="17"/>
                    <a:pt x="18" y="17"/>
                  </a:cubicBezTo>
                  <a:cubicBezTo>
                    <a:pt x="18" y="17"/>
                    <a:pt x="17" y="16"/>
                    <a:pt x="16" y="16"/>
                  </a:cubicBezTo>
                  <a:cubicBezTo>
                    <a:pt x="15" y="16"/>
                    <a:pt x="14" y="16"/>
                    <a:pt x="12" y="16"/>
                  </a:cubicBezTo>
                  <a:cubicBezTo>
                    <a:pt x="11" y="16"/>
                    <a:pt x="10" y="16"/>
                    <a:pt x="10" y="16"/>
                  </a:cubicBezTo>
                  <a:cubicBezTo>
                    <a:pt x="9" y="16"/>
                    <a:pt x="8" y="16"/>
                    <a:pt x="7" y="17"/>
                  </a:cubicBezTo>
                  <a:cubicBezTo>
                    <a:pt x="6" y="17"/>
                    <a:pt x="5" y="18"/>
                    <a:pt x="5" y="19"/>
                  </a:cubicBezTo>
                  <a:cubicBezTo>
                    <a:pt x="4" y="19"/>
                    <a:pt x="4" y="20"/>
                    <a:pt x="4" y="22"/>
                  </a:cubicBezTo>
                  <a:cubicBezTo>
                    <a:pt x="4" y="23"/>
                    <a:pt x="4" y="24"/>
                    <a:pt x="5" y="24"/>
                  </a:cubicBezTo>
                  <a:cubicBezTo>
                    <a:pt x="5" y="25"/>
                    <a:pt x="5" y="26"/>
                    <a:pt x="6" y="26"/>
                  </a:cubicBezTo>
                  <a:cubicBezTo>
                    <a:pt x="7" y="27"/>
                    <a:pt x="8" y="27"/>
                    <a:pt x="8" y="27"/>
                  </a:cubicBezTo>
                  <a:cubicBezTo>
                    <a:pt x="9" y="27"/>
                    <a:pt x="10"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14"/>
            <p:cNvSpPr>
              <a:spLocks noEditPoints="1"/>
            </p:cNvSpPr>
            <p:nvPr/>
          </p:nvSpPr>
          <p:spPr bwMode="auto">
            <a:xfrm>
              <a:off x="4156077" y="7123183"/>
              <a:ext cx="46038" cy="71438"/>
            </a:xfrm>
            <a:custGeom>
              <a:avLst/>
              <a:gdLst>
                <a:gd name="T0" fmla="*/ 4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5 h 39"/>
                <a:gd name="T22" fmla="*/ 17 w 25"/>
                <a:gd name="T23" fmla="*/ 29 h 39"/>
                <a:gd name="T24" fmla="*/ 12 w 25"/>
                <a:gd name="T25" fmla="*/ 30 h 39"/>
                <a:gd name="T26" fmla="*/ 7 w 25"/>
                <a:gd name="T27" fmla="*/ 29 h 39"/>
                <a:gd name="T28" fmla="*/ 4 w 25"/>
                <a:gd name="T29" fmla="*/ 27 h 39"/>
                <a:gd name="T30" fmla="*/ 4 w 25"/>
                <a:gd name="T31" fmla="*/ 39 h 39"/>
                <a:gd name="T32" fmla="*/ 4 w 25"/>
                <a:gd name="T33" fmla="*/ 24 h 39"/>
                <a:gd name="T34" fmla="*/ 5 w 25"/>
                <a:gd name="T35" fmla="*/ 25 h 39"/>
                <a:gd name="T36" fmla="*/ 7 w 25"/>
                <a:gd name="T37" fmla="*/ 25 h 39"/>
                <a:gd name="T38" fmla="*/ 9 w 25"/>
                <a:gd name="T39" fmla="*/ 26 h 39"/>
                <a:gd name="T40" fmla="*/ 11 w 25"/>
                <a:gd name="T41" fmla="*/ 26 h 39"/>
                <a:gd name="T42" fmla="*/ 16 w 25"/>
                <a:gd name="T43" fmla="*/ 25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4 w 25"/>
                <a:gd name="T57" fmla="*/ 4 h 39"/>
                <a:gd name="T58" fmla="*/ 4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4" y="39"/>
                  </a:moveTo>
                  <a:cubicBezTo>
                    <a:pt x="0" y="39"/>
                    <a:pt x="0" y="39"/>
                    <a:pt x="0" y="39"/>
                  </a:cubicBezTo>
                  <a:cubicBezTo>
                    <a:pt x="0" y="1"/>
                    <a:pt x="0" y="1"/>
                    <a:pt x="0" y="1"/>
                  </a:cubicBezTo>
                  <a:cubicBezTo>
                    <a:pt x="1" y="1"/>
                    <a:pt x="2" y="0"/>
                    <a:pt x="4" y="0"/>
                  </a:cubicBezTo>
                  <a:cubicBezTo>
                    <a:pt x="6" y="0"/>
                    <a:pt x="8" y="0"/>
                    <a:pt x="10" y="0"/>
                  </a:cubicBezTo>
                  <a:cubicBezTo>
                    <a:pt x="13"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5"/>
                  </a:cubicBezTo>
                  <a:cubicBezTo>
                    <a:pt x="20" y="27"/>
                    <a:pt x="19" y="28"/>
                    <a:pt x="17" y="29"/>
                  </a:cubicBezTo>
                  <a:cubicBezTo>
                    <a:pt x="16" y="29"/>
                    <a:pt x="14" y="30"/>
                    <a:pt x="12" y="30"/>
                  </a:cubicBezTo>
                  <a:cubicBezTo>
                    <a:pt x="10" y="30"/>
                    <a:pt x="8" y="29"/>
                    <a:pt x="7" y="29"/>
                  </a:cubicBezTo>
                  <a:cubicBezTo>
                    <a:pt x="5" y="28"/>
                    <a:pt x="4" y="28"/>
                    <a:pt x="4" y="27"/>
                  </a:cubicBezTo>
                  <a:lnTo>
                    <a:pt x="4" y="39"/>
                  </a:lnTo>
                  <a:close/>
                  <a:moveTo>
                    <a:pt x="4" y="24"/>
                  </a:moveTo>
                  <a:cubicBezTo>
                    <a:pt x="4" y="24"/>
                    <a:pt x="4" y="24"/>
                    <a:pt x="5" y="25"/>
                  </a:cubicBezTo>
                  <a:cubicBezTo>
                    <a:pt x="5" y="25"/>
                    <a:pt x="6" y="25"/>
                    <a:pt x="7" y="25"/>
                  </a:cubicBezTo>
                  <a:cubicBezTo>
                    <a:pt x="7" y="26"/>
                    <a:pt x="8" y="26"/>
                    <a:pt x="9" y="26"/>
                  </a:cubicBezTo>
                  <a:cubicBezTo>
                    <a:pt x="10" y="26"/>
                    <a:pt x="10" y="26"/>
                    <a:pt x="11" y="26"/>
                  </a:cubicBezTo>
                  <a:cubicBezTo>
                    <a:pt x="13" y="26"/>
                    <a:pt x="15" y="26"/>
                    <a:pt x="16" y="25"/>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4" y="3"/>
                    <a:pt x="10" y="3"/>
                  </a:cubicBezTo>
                  <a:cubicBezTo>
                    <a:pt x="9" y="3"/>
                    <a:pt x="7" y="3"/>
                    <a:pt x="6" y="3"/>
                  </a:cubicBezTo>
                  <a:cubicBezTo>
                    <a:pt x="5" y="3"/>
                    <a:pt x="4" y="3"/>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5"/>
            <p:cNvSpPr>
              <a:spLocks/>
            </p:cNvSpPr>
            <p:nvPr/>
          </p:nvSpPr>
          <p:spPr bwMode="auto">
            <a:xfrm>
              <a:off x="4214814" y="7107308"/>
              <a:ext cx="30163" cy="71438"/>
            </a:xfrm>
            <a:custGeom>
              <a:avLst/>
              <a:gdLst>
                <a:gd name="T0" fmla="*/ 4 w 17"/>
                <a:gd name="T1" fmla="*/ 9 h 39"/>
                <a:gd name="T2" fmla="*/ 16 w 17"/>
                <a:gd name="T3" fmla="*/ 9 h 39"/>
                <a:gd name="T4" fmla="*/ 16 w 17"/>
                <a:gd name="T5" fmla="*/ 12 h 39"/>
                <a:gd name="T6" fmla="*/ 4 w 17"/>
                <a:gd name="T7" fmla="*/ 12 h 39"/>
                <a:gd name="T8" fmla="*/ 4 w 17"/>
                <a:gd name="T9" fmla="*/ 28 h 39"/>
                <a:gd name="T10" fmla="*/ 4 w 17"/>
                <a:gd name="T11" fmla="*/ 32 h 39"/>
                <a:gd name="T12" fmla="*/ 6 w 17"/>
                <a:gd name="T13" fmla="*/ 34 h 39"/>
                <a:gd name="T14" fmla="*/ 8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6" y="9"/>
                    <a:pt x="16" y="9"/>
                    <a:pt x="16" y="9"/>
                  </a:cubicBezTo>
                  <a:cubicBezTo>
                    <a:pt x="16" y="12"/>
                    <a:pt x="16" y="12"/>
                    <a:pt x="16"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8"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16"/>
            <p:cNvSpPr>
              <a:spLocks noEditPoints="1"/>
            </p:cNvSpPr>
            <p:nvPr/>
          </p:nvSpPr>
          <p:spPr bwMode="auto">
            <a:xfrm>
              <a:off x="4251327" y="7121596"/>
              <a:ext cx="49213" cy="57151"/>
            </a:xfrm>
            <a:custGeom>
              <a:avLst/>
              <a:gdLst>
                <a:gd name="T0" fmla="*/ 27 w 27"/>
                <a:gd name="T1" fmla="*/ 16 h 31"/>
                <a:gd name="T2" fmla="*/ 26 w 27"/>
                <a:gd name="T3" fmla="*/ 22 h 31"/>
                <a:gd name="T4" fmla="*/ 23 w 27"/>
                <a:gd name="T5" fmla="*/ 27 h 31"/>
                <a:gd name="T6" fmla="*/ 19 w 27"/>
                <a:gd name="T7" fmla="*/ 30 h 31"/>
                <a:gd name="T8" fmla="*/ 14 w 27"/>
                <a:gd name="T9" fmla="*/ 31 h 31"/>
                <a:gd name="T10" fmla="*/ 8 w 27"/>
                <a:gd name="T11" fmla="*/ 30 h 31"/>
                <a:gd name="T12" fmla="*/ 4 w 27"/>
                <a:gd name="T13" fmla="*/ 27 h 31"/>
                <a:gd name="T14" fmla="*/ 1 w 27"/>
                <a:gd name="T15" fmla="*/ 22 h 31"/>
                <a:gd name="T16" fmla="*/ 0 w 27"/>
                <a:gd name="T17" fmla="*/ 16 h 31"/>
                <a:gd name="T18" fmla="*/ 1 w 27"/>
                <a:gd name="T19" fmla="*/ 9 h 31"/>
                <a:gd name="T20" fmla="*/ 4 w 27"/>
                <a:gd name="T21" fmla="*/ 5 h 31"/>
                <a:gd name="T22" fmla="*/ 8 w 27"/>
                <a:gd name="T23" fmla="*/ 1 h 31"/>
                <a:gd name="T24" fmla="*/ 14 w 27"/>
                <a:gd name="T25" fmla="*/ 0 h 31"/>
                <a:gd name="T26" fmla="*/ 19 w 27"/>
                <a:gd name="T27" fmla="*/ 1 h 31"/>
                <a:gd name="T28" fmla="*/ 23 w 27"/>
                <a:gd name="T29" fmla="*/ 5 h 31"/>
                <a:gd name="T30" fmla="*/ 26 w 27"/>
                <a:gd name="T31" fmla="*/ 9 h 31"/>
                <a:gd name="T32" fmla="*/ 27 w 27"/>
                <a:gd name="T33" fmla="*/ 16 h 31"/>
                <a:gd name="T34" fmla="*/ 23 w 27"/>
                <a:gd name="T35" fmla="*/ 16 h 31"/>
                <a:gd name="T36" fmla="*/ 21 w 27"/>
                <a:gd name="T37" fmla="*/ 7 h 31"/>
                <a:gd name="T38" fmla="*/ 14 w 27"/>
                <a:gd name="T39" fmla="*/ 4 h 31"/>
                <a:gd name="T40" fmla="*/ 7 w 27"/>
                <a:gd name="T41" fmla="*/ 7 h 31"/>
                <a:gd name="T42" fmla="*/ 4 w 27"/>
                <a:gd name="T43" fmla="*/ 16 h 31"/>
                <a:gd name="T44" fmla="*/ 7 w 27"/>
                <a:gd name="T45" fmla="*/ 24 h 31"/>
                <a:gd name="T46" fmla="*/ 14 w 27"/>
                <a:gd name="T47" fmla="*/ 27 h 31"/>
                <a:gd name="T48" fmla="*/ 21 w 27"/>
                <a:gd name="T49" fmla="*/ 24 h 31"/>
                <a:gd name="T50" fmla="*/ 23 w 27"/>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1">
                  <a:moveTo>
                    <a:pt x="27" y="16"/>
                  </a:moveTo>
                  <a:cubicBezTo>
                    <a:pt x="27" y="18"/>
                    <a:pt x="27" y="20"/>
                    <a:pt x="26" y="22"/>
                  </a:cubicBezTo>
                  <a:cubicBezTo>
                    <a:pt x="25" y="24"/>
                    <a:pt x="24" y="25"/>
                    <a:pt x="23" y="27"/>
                  </a:cubicBezTo>
                  <a:cubicBezTo>
                    <a:pt x="22" y="28"/>
                    <a:pt x="21" y="29"/>
                    <a:pt x="19" y="30"/>
                  </a:cubicBezTo>
                  <a:cubicBezTo>
                    <a:pt x="17" y="30"/>
                    <a:pt x="16" y="31"/>
                    <a:pt x="14" y="31"/>
                  </a:cubicBezTo>
                  <a:cubicBezTo>
                    <a:pt x="12" y="31"/>
                    <a:pt x="10" y="30"/>
                    <a:pt x="8" y="30"/>
                  </a:cubicBezTo>
                  <a:cubicBezTo>
                    <a:pt x="7" y="29"/>
                    <a:pt x="5" y="28"/>
                    <a:pt x="4" y="27"/>
                  </a:cubicBezTo>
                  <a:cubicBezTo>
                    <a:pt x="3" y="25"/>
                    <a:pt x="2" y="24"/>
                    <a:pt x="1" y="22"/>
                  </a:cubicBezTo>
                  <a:cubicBezTo>
                    <a:pt x="1" y="20"/>
                    <a:pt x="0" y="18"/>
                    <a:pt x="0" y="16"/>
                  </a:cubicBezTo>
                  <a:cubicBezTo>
                    <a:pt x="0" y="13"/>
                    <a:pt x="1" y="11"/>
                    <a:pt x="1" y="9"/>
                  </a:cubicBezTo>
                  <a:cubicBezTo>
                    <a:pt x="2" y="7"/>
                    <a:pt x="3" y="6"/>
                    <a:pt x="4" y="5"/>
                  </a:cubicBezTo>
                  <a:cubicBezTo>
                    <a:pt x="5" y="3"/>
                    <a:pt x="7" y="2"/>
                    <a:pt x="8" y="1"/>
                  </a:cubicBezTo>
                  <a:cubicBezTo>
                    <a:pt x="10" y="1"/>
                    <a:pt x="12" y="0"/>
                    <a:pt x="14" y="0"/>
                  </a:cubicBezTo>
                  <a:cubicBezTo>
                    <a:pt x="16" y="0"/>
                    <a:pt x="17" y="1"/>
                    <a:pt x="19" y="1"/>
                  </a:cubicBezTo>
                  <a:cubicBezTo>
                    <a:pt x="21" y="2"/>
                    <a:pt x="22" y="3"/>
                    <a:pt x="23" y="5"/>
                  </a:cubicBezTo>
                  <a:cubicBezTo>
                    <a:pt x="24" y="6"/>
                    <a:pt x="25" y="7"/>
                    <a:pt x="26" y="9"/>
                  </a:cubicBezTo>
                  <a:cubicBezTo>
                    <a:pt x="27" y="11"/>
                    <a:pt x="27" y="13"/>
                    <a:pt x="27" y="16"/>
                  </a:cubicBezTo>
                  <a:close/>
                  <a:moveTo>
                    <a:pt x="23" y="16"/>
                  </a:moveTo>
                  <a:cubicBezTo>
                    <a:pt x="23" y="12"/>
                    <a:pt x="22" y="9"/>
                    <a:pt x="21" y="7"/>
                  </a:cubicBezTo>
                  <a:cubicBezTo>
                    <a:pt x="19" y="5"/>
                    <a:pt x="17" y="4"/>
                    <a:pt x="14" y="4"/>
                  </a:cubicBezTo>
                  <a:cubicBezTo>
                    <a:pt x="11" y="4"/>
                    <a:pt x="9" y="5"/>
                    <a:pt x="7" y="7"/>
                  </a:cubicBezTo>
                  <a:cubicBezTo>
                    <a:pt x="5" y="9"/>
                    <a:pt x="4" y="12"/>
                    <a:pt x="4" y="16"/>
                  </a:cubicBezTo>
                  <a:cubicBezTo>
                    <a:pt x="4" y="19"/>
                    <a:pt x="5" y="22"/>
                    <a:pt x="7" y="24"/>
                  </a:cubicBezTo>
                  <a:cubicBezTo>
                    <a:pt x="9" y="26"/>
                    <a:pt x="11" y="27"/>
                    <a:pt x="14" y="27"/>
                  </a:cubicBezTo>
                  <a:cubicBezTo>
                    <a:pt x="17" y="27"/>
                    <a:pt x="19" y="26"/>
                    <a:pt x="21" y="24"/>
                  </a:cubicBezTo>
                  <a:cubicBezTo>
                    <a:pt x="22" y="22"/>
                    <a:pt x="23" y="19"/>
                    <a:pt x="23"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17"/>
            <p:cNvSpPr>
              <a:spLocks noEditPoints="1"/>
            </p:cNvSpPr>
            <p:nvPr/>
          </p:nvSpPr>
          <p:spPr bwMode="auto">
            <a:xfrm>
              <a:off x="4314827" y="7123183"/>
              <a:ext cx="46038" cy="71438"/>
            </a:xfrm>
            <a:custGeom>
              <a:avLst/>
              <a:gdLst>
                <a:gd name="T0" fmla="*/ 3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5 h 39"/>
                <a:gd name="T22" fmla="*/ 17 w 25"/>
                <a:gd name="T23" fmla="*/ 29 h 39"/>
                <a:gd name="T24" fmla="*/ 11 w 25"/>
                <a:gd name="T25" fmla="*/ 30 h 39"/>
                <a:gd name="T26" fmla="*/ 7 w 25"/>
                <a:gd name="T27" fmla="*/ 29 h 39"/>
                <a:gd name="T28" fmla="*/ 3 w 25"/>
                <a:gd name="T29" fmla="*/ 27 h 39"/>
                <a:gd name="T30" fmla="*/ 3 w 25"/>
                <a:gd name="T31" fmla="*/ 39 h 39"/>
                <a:gd name="T32" fmla="*/ 3 w 25"/>
                <a:gd name="T33" fmla="*/ 24 h 39"/>
                <a:gd name="T34" fmla="*/ 5 w 25"/>
                <a:gd name="T35" fmla="*/ 25 h 39"/>
                <a:gd name="T36" fmla="*/ 6 w 25"/>
                <a:gd name="T37" fmla="*/ 25 h 39"/>
                <a:gd name="T38" fmla="*/ 9 w 25"/>
                <a:gd name="T39" fmla="*/ 26 h 39"/>
                <a:gd name="T40" fmla="*/ 11 w 25"/>
                <a:gd name="T41" fmla="*/ 26 h 39"/>
                <a:gd name="T42" fmla="*/ 16 w 25"/>
                <a:gd name="T43" fmla="*/ 25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3 w 25"/>
                <a:gd name="T57" fmla="*/ 4 h 39"/>
                <a:gd name="T58" fmla="*/ 3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3" y="39"/>
                  </a:moveTo>
                  <a:cubicBezTo>
                    <a:pt x="0" y="39"/>
                    <a:pt x="0" y="39"/>
                    <a:pt x="0" y="39"/>
                  </a:cubicBezTo>
                  <a:cubicBezTo>
                    <a:pt x="0" y="1"/>
                    <a:pt x="0" y="1"/>
                    <a:pt x="0" y="1"/>
                  </a:cubicBezTo>
                  <a:cubicBezTo>
                    <a:pt x="1" y="1"/>
                    <a:pt x="2" y="0"/>
                    <a:pt x="4" y="0"/>
                  </a:cubicBezTo>
                  <a:cubicBezTo>
                    <a:pt x="6" y="0"/>
                    <a:pt x="8" y="0"/>
                    <a:pt x="10" y="0"/>
                  </a:cubicBezTo>
                  <a:cubicBezTo>
                    <a:pt x="12"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5"/>
                  </a:cubicBezTo>
                  <a:cubicBezTo>
                    <a:pt x="20" y="27"/>
                    <a:pt x="19" y="28"/>
                    <a:pt x="17" y="29"/>
                  </a:cubicBezTo>
                  <a:cubicBezTo>
                    <a:pt x="15" y="29"/>
                    <a:pt x="14" y="30"/>
                    <a:pt x="11" y="30"/>
                  </a:cubicBezTo>
                  <a:cubicBezTo>
                    <a:pt x="10" y="30"/>
                    <a:pt x="8" y="29"/>
                    <a:pt x="7" y="29"/>
                  </a:cubicBezTo>
                  <a:cubicBezTo>
                    <a:pt x="5" y="28"/>
                    <a:pt x="4" y="28"/>
                    <a:pt x="3" y="27"/>
                  </a:cubicBezTo>
                  <a:lnTo>
                    <a:pt x="3" y="39"/>
                  </a:lnTo>
                  <a:close/>
                  <a:moveTo>
                    <a:pt x="3" y="24"/>
                  </a:moveTo>
                  <a:cubicBezTo>
                    <a:pt x="4" y="24"/>
                    <a:pt x="4" y="24"/>
                    <a:pt x="5" y="25"/>
                  </a:cubicBezTo>
                  <a:cubicBezTo>
                    <a:pt x="5" y="25"/>
                    <a:pt x="6" y="25"/>
                    <a:pt x="6" y="25"/>
                  </a:cubicBezTo>
                  <a:cubicBezTo>
                    <a:pt x="7" y="26"/>
                    <a:pt x="8" y="26"/>
                    <a:pt x="9" y="26"/>
                  </a:cubicBezTo>
                  <a:cubicBezTo>
                    <a:pt x="9" y="26"/>
                    <a:pt x="10" y="26"/>
                    <a:pt x="11" y="26"/>
                  </a:cubicBezTo>
                  <a:cubicBezTo>
                    <a:pt x="13" y="26"/>
                    <a:pt x="14" y="26"/>
                    <a:pt x="16" y="25"/>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3" y="3"/>
                    <a:pt x="10" y="3"/>
                  </a:cubicBezTo>
                  <a:cubicBezTo>
                    <a:pt x="9" y="3"/>
                    <a:pt x="7" y="3"/>
                    <a:pt x="6" y="3"/>
                  </a:cubicBezTo>
                  <a:cubicBezTo>
                    <a:pt x="5" y="3"/>
                    <a:pt x="4" y="3"/>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7" name="Group 606"/>
          <p:cNvGrpSpPr/>
          <p:nvPr/>
        </p:nvGrpSpPr>
        <p:grpSpPr>
          <a:xfrm>
            <a:off x="2932553" y="6185909"/>
            <a:ext cx="488950" cy="76201"/>
            <a:chOff x="2809876" y="7102546"/>
            <a:chExt cx="488950" cy="76201"/>
          </a:xfrm>
        </p:grpSpPr>
        <p:sp>
          <p:nvSpPr>
            <p:cNvPr id="19" name="Freeform 218"/>
            <p:cNvSpPr>
              <a:spLocks/>
            </p:cNvSpPr>
            <p:nvPr/>
          </p:nvSpPr>
          <p:spPr bwMode="auto">
            <a:xfrm>
              <a:off x="2809876" y="7102546"/>
              <a:ext cx="53975" cy="76201"/>
            </a:xfrm>
            <a:custGeom>
              <a:avLst/>
              <a:gdLst>
                <a:gd name="T0" fmla="*/ 18 w 29"/>
                <a:gd name="T1" fmla="*/ 41 h 41"/>
                <a:gd name="T2" fmla="*/ 11 w 29"/>
                <a:gd name="T3" fmla="*/ 40 h 41"/>
                <a:gd name="T4" fmla="*/ 5 w 29"/>
                <a:gd name="T5" fmla="*/ 36 h 41"/>
                <a:gd name="T6" fmla="*/ 2 w 29"/>
                <a:gd name="T7" fmla="*/ 29 h 41"/>
                <a:gd name="T8" fmla="*/ 0 w 29"/>
                <a:gd name="T9" fmla="*/ 21 h 41"/>
                <a:gd name="T10" fmla="*/ 2 w 29"/>
                <a:gd name="T11" fmla="*/ 12 h 41"/>
                <a:gd name="T12" fmla="*/ 6 w 29"/>
                <a:gd name="T13" fmla="*/ 6 h 41"/>
                <a:gd name="T14" fmla="*/ 11 w 29"/>
                <a:gd name="T15" fmla="*/ 2 h 41"/>
                <a:gd name="T16" fmla="*/ 18 w 29"/>
                <a:gd name="T17" fmla="*/ 0 h 41"/>
                <a:gd name="T18" fmla="*/ 22 w 29"/>
                <a:gd name="T19" fmla="*/ 1 h 41"/>
                <a:gd name="T20" fmla="*/ 25 w 29"/>
                <a:gd name="T21" fmla="*/ 1 h 41"/>
                <a:gd name="T22" fmla="*/ 28 w 29"/>
                <a:gd name="T23" fmla="*/ 2 h 41"/>
                <a:gd name="T24" fmla="*/ 29 w 29"/>
                <a:gd name="T25" fmla="*/ 3 h 41"/>
                <a:gd name="T26" fmla="*/ 28 w 29"/>
                <a:gd name="T27" fmla="*/ 6 h 41"/>
                <a:gd name="T28" fmla="*/ 24 w 29"/>
                <a:gd name="T29" fmla="*/ 5 h 41"/>
                <a:gd name="T30" fmla="*/ 19 w 29"/>
                <a:gd name="T31" fmla="*/ 4 h 41"/>
                <a:gd name="T32" fmla="*/ 13 w 29"/>
                <a:gd name="T33" fmla="*/ 5 h 41"/>
                <a:gd name="T34" fmla="*/ 8 w 29"/>
                <a:gd name="T35" fmla="*/ 8 h 41"/>
                <a:gd name="T36" fmla="*/ 5 w 29"/>
                <a:gd name="T37" fmla="*/ 14 h 41"/>
                <a:gd name="T38" fmla="*/ 4 w 29"/>
                <a:gd name="T39" fmla="*/ 21 h 41"/>
                <a:gd name="T40" fmla="*/ 5 w 29"/>
                <a:gd name="T41" fmla="*/ 28 h 41"/>
                <a:gd name="T42" fmla="*/ 8 w 29"/>
                <a:gd name="T43" fmla="*/ 33 h 41"/>
                <a:gd name="T44" fmla="*/ 12 w 29"/>
                <a:gd name="T45" fmla="*/ 36 h 41"/>
                <a:gd name="T46" fmla="*/ 18 w 29"/>
                <a:gd name="T47" fmla="*/ 37 h 41"/>
                <a:gd name="T48" fmla="*/ 25 w 29"/>
                <a:gd name="T49" fmla="*/ 37 h 41"/>
                <a:gd name="T50" fmla="*/ 28 w 29"/>
                <a:gd name="T51" fmla="*/ 35 h 41"/>
                <a:gd name="T52" fmla="*/ 29 w 29"/>
                <a:gd name="T53" fmla="*/ 39 h 41"/>
                <a:gd name="T54" fmla="*/ 28 w 29"/>
                <a:gd name="T55" fmla="*/ 39 h 41"/>
                <a:gd name="T56" fmla="*/ 26 w 29"/>
                <a:gd name="T57" fmla="*/ 40 h 41"/>
                <a:gd name="T58" fmla="*/ 22 w 29"/>
                <a:gd name="T59" fmla="*/ 41 h 41"/>
                <a:gd name="T60" fmla="*/ 18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8" y="41"/>
                  </a:moveTo>
                  <a:cubicBezTo>
                    <a:pt x="15" y="41"/>
                    <a:pt x="13" y="40"/>
                    <a:pt x="11" y="40"/>
                  </a:cubicBezTo>
                  <a:cubicBezTo>
                    <a:pt x="9" y="39"/>
                    <a:pt x="7" y="37"/>
                    <a:pt x="5" y="36"/>
                  </a:cubicBezTo>
                  <a:cubicBezTo>
                    <a:pt x="4" y="34"/>
                    <a:pt x="3" y="32"/>
                    <a:pt x="2" y="29"/>
                  </a:cubicBezTo>
                  <a:cubicBezTo>
                    <a:pt x="1" y="27"/>
                    <a:pt x="0" y="24"/>
                    <a:pt x="0" y="21"/>
                  </a:cubicBezTo>
                  <a:cubicBezTo>
                    <a:pt x="0" y="17"/>
                    <a:pt x="1" y="14"/>
                    <a:pt x="2" y="12"/>
                  </a:cubicBezTo>
                  <a:cubicBezTo>
                    <a:pt x="3" y="9"/>
                    <a:pt x="4" y="7"/>
                    <a:pt x="6" y="6"/>
                  </a:cubicBezTo>
                  <a:cubicBezTo>
                    <a:pt x="7" y="4"/>
                    <a:pt x="9" y="3"/>
                    <a:pt x="11" y="2"/>
                  </a:cubicBezTo>
                  <a:cubicBezTo>
                    <a:pt x="14" y="1"/>
                    <a:pt x="16" y="0"/>
                    <a:pt x="18" y="0"/>
                  </a:cubicBezTo>
                  <a:cubicBezTo>
                    <a:pt x="20" y="0"/>
                    <a:pt x="21" y="0"/>
                    <a:pt x="22" y="1"/>
                  </a:cubicBezTo>
                  <a:cubicBezTo>
                    <a:pt x="23" y="1"/>
                    <a:pt x="24" y="1"/>
                    <a:pt x="25" y="1"/>
                  </a:cubicBezTo>
                  <a:cubicBezTo>
                    <a:pt x="26" y="2"/>
                    <a:pt x="27" y="2"/>
                    <a:pt x="28" y="2"/>
                  </a:cubicBezTo>
                  <a:cubicBezTo>
                    <a:pt x="28" y="2"/>
                    <a:pt x="29" y="3"/>
                    <a:pt x="29" y="3"/>
                  </a:cubicBezTo>
                  <a:cubicBezTo>
                    <a:pt x="28" y="6"/>
                    <a:pt x="28" y="6"/>
                    <a:pt x="28" y="6"/>
                  </a:cubicBezTo>
                  <a:cubicBezTo>
                    <a:pt x="27" y="6"/>
                    <a:pt x="26" y="5"/>
                    <a:pt x="24" y="5"/>
                  </a:cubicBezTo>
                  <a:cubicBezTo>
                    <a:pt x="23" y="4"/>
                    <a:pt x="21" y="4"/>
                    <a:pt x="19" y="4"/>
                  </a:cubicBezTo>
                  <a:cubicBezTo>
                    <a:pt x="17" y="4"/>
                    <a:pt x="14" y="4"/>
                    <a:pt x="13" y="5"/>
                  </a:cubicBezTo>
                  <a:cubicBezTo>
                    <a:pt x="11" y="6"/>
                    <a:pt x="9" y="7"/>
                    <a:pt x="8" y="8"/>
                  </a:cubicBezTo>
                  <a:cubicBezTo>
                    <a:pt x="7" y="10"/>
                    <a:pt x="6" y="12"/>
                    <a:pt x="5" y="14"/>
                  </a:cubicBezTo>
                  <a:cubicBezTo>
                    <a:pt x="5" y="16"/>
                    <a:pt x="4" y="18"/>
                    <a:pt x="4" y="21"/>
                  </a:cubicBezTo>
                  <a:cubicBezTo>
                    <a:pt x="4" y="23"/>
                    <a:pt x="5" y="26"/>
                    <a:pt x="5" y="28"/>
                  </a:cubicBezTo>
                  <a:cubicBezTo>
                    <a:pt x="6" y="30"/>
                    <a:pt x="7" y="31"/>
                    <a:pt x="8" y="33"/>
                  </a:cubicBezTo>
                  <a:cubicBezTo>
                    <a:pt x="9" y="34"/>
                    <a:pt x="11" y="35"/>
                    <a:pt x="12" y="36"/>
                  </a:cubicBezTo>
                  <a:cubicBezTo>
                    <a:pt x="14" y="37"/>
                    <a:pt x="16" y="37"/>
                    <a:pt x="18" y="37"/>
                  </a:cubicBezTo>
                  <a:cubicBezTo>
                    <a:pt x="21" y="37"/>
                    <a:pt x="23" y="37"/>
                    <a:pt x="25" y="37"/>
                  </a:cubicBezTo>
                  <a:cubicBezTo>
                    <a:pt x="26" y="36"/>
                    <a:pt x="27" y="36"/>
                    <a:pt x="28" y="35"/>
                  </a:cubicBezTo>
                  <a:cubicBezTo>
                    <a:pt x="29" y="39"/>
                    <a:pt x="29" y="39"/>
                    <a:pt x="29" y="39"/>
                  </a:cubicBezTo>
                  <a:cubicBezTo>
                    <a:pt x="29" y="39"/>
                    <a:pt x="29" y="39"/>
                    <a:pt x="28" y="39"/>
                  </a:cubicBezTo>
                  <a:cubicBezTo>
                    <a:pt x="27" y="39"/>
                    <a:pt x="27" y="40"/>
                    <a:pt x="26" y="40"/>
                  </a:cubicBezTo>
                  <a:cubicBezTo>
                    <a:pt x="25" y="40"/>
                    <a:pt x="24" y="40"/>
                    <a:pt x="22" y="41"/>
                  </a:cubicBezTo>
                  <a:cubicBezTo>
                    <a:pt x="21" y="41"/>
                    <a:pt x="20" y="41"/>
                    <a:pt x="18"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19"/>
            <p:cNvSpPr>
              <a:spLocks noEditPoints="1"/>
            </p:cNvSpPr>
            <p:nvPr/>
          </p:nvSpPr>
          <p:spPr bwMode="auto">
            <a:xfrm>
              <a:off x="2873376" y="7121596"/>
              <a:ext cx="47625" cy="57151"/>
            </a:xfrm>
            <a:custGeom>
              <a:avLst/>
              <a:gdLst>
                <a:gd name="T0" fmla="*/ 26 w 26"/>
                <a:gd name="T1" fmla="*/ 16 h 31"/>
                <a:gd name="T2" fmla="*/ 25 w 26"/>
                <a:gd name="T3" fmla="*/ 22 h 31"/>
                <a:gd name="T4" fmla="*/ 23 w 26"/>
                <a:gd name="T5" fmla="*/ 27 h 31"/>
                <a:gd name="T6" fmla="*/ 19 w 26"/>
                <a:gd name="T7" fmla="*/ 30 h 31"/>
                <a:gd name="T8" fmla="*/ 13 w 26"/>
                <a:gd name="T9" fmla="*/ 31 h 31"/>
                <a:gd name="T10" fmla="*/ 8 w 26"/>
                <a:gd name="T11" fmla="*/ 30 h 31"/>
                <a:gd name="T12" fmla="*/ 4 w 26"/>
                <a:gd name="T13" fmla="*/ 27 h 31"/>
                <a:gd name="T14" fmla="*/ 1 w 26"/>
                <a:gd name="T15" fmla="*/ 22 h 31"/>
                <a:gd name="T16" fmla="*/ 0 w 26"/>
                <a:gd name="T17" fmla="*/ 16 h 31"/>
                <a:gd name="T18" fmla="*/ 1 w 26"/>
                <a:gd name="T19" fmla="*/ 9 h 31"/>
                <a:gd name="T20" fmla="*/ 4 w 26"/>
                <a:gd name="T21" fmla="*/ 5 h 31"/>
                <a:gd name="T22" fmla="*/ 8 w 26"/>
                <a:gd name="T23" fmla="*/ 1 h 31"/>
                <a:gd name="T24" fmla="*/ 13 w 26"/>
                <a:gd name="T25" fmla="*/ 0 h 31"/>
                <a:gd name="T26" fmla="*/ 19 w 26"/>
                <a:gd name="T27" fmla="*/ 1 h 31"/>
                <a:gd name="T28" fmla="*/ 23 w 26"/>
                <a:gd name="T29" fmla="*/ 5 h 31"/>
                <a:gd name="T30" fmla="*/ 25 w 26"/>
                <a:gd name="T31" fmla="*/ 9 h 31"/>
                <a:gd name="T32" fmla="*/ 26 w 26"/>
                <a:gd name="T33" fmla="*/ 16 h 31"/>
                <a:gd name="T34" fmla="*/ 23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3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5" y="24"/>
                    <a:pt x="24" y="25"/>
                    <a:pt x="23" y="27"/>
                  </a:cubicBezTo>
                  <a:cubicBezTo>
                    <a:pt x="22" y="28"/>
                    <a:pt x="20" y="29"/>
                    <a:pt x="19" y="30"/>
                  </a:cubicBezTo>
                  <a:cubicBezTo>
                    <a:pt x="17" y="30"/>
                    <a:pt x="15" y="31"/>
                    <a:pt x="13" y="31"/>
                  </a:cubicBezTo>
                  <a:cubicBezTo>
                    <a:pt x="11" y="31"/>
                    <a:pt x="10" y="30"/>
                    <a:pt x="8" y="30"/>
                  </a:cubicBezTo>
                  <a:cubicBezTo>
                    <a:pt x="6" y="29"/>
                    <a:pt x="5" y="28"/>
                    <a:pt x="4" y="27"/>
                  </a:cubicBezTo>
                  <a:cubicBezTo>
                    <a:pt x="3" y="25"/>
                    <a:pt x="2" y="24"/>
                    <a:pt x="1" y="22"/>
                  </a:cubicBezTo>
                  <a:cubicBezTo>
                    <a:pt x="0" y="20"/>
                    <a:pt x="0" y="18"/>
                    <a:pt x="0" y="16"/>
                  </a:cubicBezTo>
                  <a:cubicBezTo>
                    <a:pt x="0" y="13"/>
                    <a:pt x="0" y="11"/>
                    <a:pt x="1" y="9"/>
                  </a:cubicBezTo>
                  <a:cubicBezTo>
                    <a:pt x="2" y="7"/>
                    <a:pt x="3" y="6"/>
                    <a:pt x="4" y="5"/>
                  </a:cubicBezTo>
                  <a:cubicBezTo>
                    <a:pt x="5" y="3"/>
                    <a:pt x="6" y="2"/>
                    <a:pt x="8" y="1"/>
                  </a:cubicBezTo>
                  <a:cubicBezTo>
                    <a:pt x="10" y="1"/>
                    <a:pt x="11" y="0"/>
                    <a:pt x="13" y="0"/>
                  </a:cubicBezTo>
                  <a:cubicBezTo>
                    <a:pt x="15" y="0"/>
                    <a:pt x="17" y="1"/>
                    <a:pt x="19" y="1"/>
                  </a:cubicBezTo>
                  <a:cubicBezTo>
                    <a:pt x="20" y="2"/>
                    <a:pt x="22" y="3"/>
                    <a:pt x="23" y="5"/>
                  </a:cubicBezTo>
                  <a:cubicBezTo>
                    <a:pt x="24" y="6"/>
                    <a:pt x="25" y="7"/>
                    <a:pt x="25" y="9"/>
                  </a:cubicBezTo>
                  <a:cubicBezTo>
                    <a:pt x="26" y="11"/>
                    <a:pt x="26" y="13"/>
                    <a:pt x="26" y="16"/>
                  </a:cubicBezTo>
                  <a:close/>
                  <a:moveTo>
                    <a:pt x="23" y="16"/>
                  </a:moveTo>
                  <a:cubicBezTo>
                    <a:pt x="23" y="12"/>
                    <a:pt x="22" y="9"/>
                    <a:pt x="20" y="7"/>
                  </a:cubicBezTo>
                  <a:cubicBezTo>
                    <a:pt x="18" y="5"/>
                    <a:pt x="16" y="4"/>
                    <a:pt x="13" y="4"/>
                  </a:cubicBezTo>
                  <a:cubicBezTo>
                    <a:pt x="10" y="4"/>
                    <a:pt x="8" y="5"/>
                    <a:pt x="6" y="7"/>
                  </a:cubicBezTo>
                  <a:cubicBezTo>
                    <a:pt x="5" y="9"/>
                    <a:pt x="4" y="12"/>
                    <a:pt x="4" y="16"/>
                  </a:cubicBezTo>
                  <a:cubicBezTo>
                    <a:pt x="4" y="19"/>
                    <a:pt x="5" y="22"/>
                    <a:pt x="6" y="24"/>
                  </a:cubicBezTo>
                  <a:cubicBezTo>
                    <a:pt x="8" y="26"/>
                    <a:pt x="10" y="27"/>
                    <a:pt x="13" y="27"/>
                  </a:cubicBezTo>
                  <a:cubicBezTo>
                    <a:pt x="16" y="27"/>
                    <a:pt x="18" y="26"/>
                    <a:pt x="20" y="24"/>
                  </a:cubicBezTo>
                  <a:cubicBezTo>
                    <a:pt x="22" y="22"/>
                    <a:pt x="23" y="19"/>
                    <a:pt x="23"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20"/>
            <p:cNvSpPr>
              <a:spLocks/>
            </p:cNvSpPr>
            <p:nvPr/>
          </p:nvSpPr>
          <p:spPr bwMode="auto">
            <a:xfrm>
              <a:off x="2935289" y="7123183"/>
              <a:ext cx="71438" cy="52388"/>
            </a:xfrm>
            <a:custGeom>
              <a:avLst/>
              <a:gdLst>
                <a:gd name="T0" fmla="*/ 0 w 39"/>
                <a:gd name="T1" fmla="*/ 1 h 29"/>
                <a:gd name="T2" fmla="*/ 5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9 w 39"/>
                <a:gd name="T15" fmla="*/ 0 h 29"/>
                <a:gd name="T16" fmla="*/ 34 w 39"/>
                <a:gd name="T17" fmla="*/ 0 h 29"/>
                <a:gd name="T18" fmla="*/ 37 w 39"/>
                <a:gd name="T19" fmla="*/ 3 h 29"/>
                <a:gd name="T20" fmla="*/ 39 w 39"/>
                <a:gd name="T21" fmla="*/ 7 h 29"/>
                <a:gd name="T22" fmla="*/ 39 w 39"/>
                <a:gd name="T23" fmla="*/ 13 h 29"/>
                <a:gd name="T24" fmla="*/ 39 w 39"/>
                <a:gd name="T25" fmla="*/ 29 h 29"/>
                <a:gd name="T26" fmla="*/ 36 w 39"/>
                <a:gd name="T27" fmla="*/ 29 h 29"/>
                <a:gd name="T28" fmla="*/ 36 w 39"/>
                <a:gd name="T29" fmla="*/ 14 h 29"/>
                <a:gd name="T30" fmla="*/ 35 w 39"/>
                <a:gd name="T31" fmla="*/ 9 h 29"/>
                <a:gd name="T32" fmla="*/ 34 w 39"/>
                <a:gd name="T33" fmla="*/ 6 h 29"/>
                <a:gd name="T34" fmla="*/ 32 w 39"/>
                <a:gd name="T35" fmla="*/ 4 h 29"/>
                <a:gd name="T36" fmla="*/ 29 w 39"/>
                <a:gd name="T37" fmla="*/ 3 h 29"/>
                <a:gd name="T38" fmla="*/ 26 w 39"/>
                <a:gd name="T39" fmla="*/ 3 h 29"/>
                <a:gd name="T40" fmla="*/ 23 w 39"/>
                <a:gd name="T41" fmla="*/ 4 h 29"/>
                <a:gd name="T42" fmla="*/ 22 w 39"/>
                <a:gd name="T43" fmla="*/ 5 h 29"/>
                <a:gd name="T44" fmla="*/ 21 w 39"/>
                <a:gd name="T45" fmla="*/ 5 h 29"/>
                <a:gd name="T46" fmla="*/ 21 w 39"/>
                <a:gd name="T47" fmla="*/ 9 h 29"/>
                <a:gd name="T48" fmla="*/ 22 w 39"/>
                <a:gd name="T49" fmla="*/ 13 h 29"/>
                <a:gd name="T50" fmla="*/ 22 w 39"/>
                <a:gd name="T51" fmla="*/ 29 h 29"/>
                <a:gd name="T52" fmla="*/ 18 w 39"/>
                <a:gd name="T53" fmla="*/ 29 h 29"/>
                <a:gd name="T54" fmla="*/ 18 w 39"/>
                <a:gd name="T55" fmla="*/ 14 h 29"/>
                <a:gd name="T56" fmla="*/ 18 w 39"/>
                <a:gd name="T57" fmla="*/ 9 h 29"/>
                <a:gd name="T58" fmla="*/ 17 w 39"/>
                <a:gd name="T59" fmla="*/ 6 h 29"/>
                <a:gd name="T60" fmla="*/ 15 w 39"/>
                <a:gd name="T61" fmla="*/ 4 h 29"/>
                <a:gd name="T62" fmla="*/ 11 w 39"/>
                <a:gd name="T63" fmla="*/ 3 h 29"/>
                <a:gd name="T64" fmla="*/ 6 w 39"/>
                <a:gd name="T65" fmla="*/ 3 h 29"/>
                <a:gd name="T66" fmla="*/ 4 w 39"/>
                <a:gd name="T67" fmla="*/ 4 h 29"/>
                <a:gd name="T68" fmla="*/ 4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3" y="0"/>
                    <a:pt x="5" y="0"/>
                  </a:cubicBezTo>
                  <a:cubicBezTo>
                    <a:pt x="6" y="0"/>
                    <a:pt x="9" y="0"/>
                    <a:pt x="11" y="0"/>
                  </a:cubicBezTo>
                  <a:cubicBezTo>
                    <a:pt x="15" y="0"/>
                    <a:pt x="18" y="1"/>
                    <a:pt x="19" y="3"/>
                  </a:cubicBezTo>
                  <a:cubicBezTo>
                    <a:pt x="19" y="3"/>
                    <a:pt x="20" y="2"/>
                    <a:pt x="20" y="2"/>
                  </a:cubicBezTo>
                  <a:cubicBezTo>
                    <a:pt x="21" y="2"/>
                    <a:pt x="22" y="1"/>
                    <a:pt x="22" y="1"/>
                  </a:cubicBezTo>
                  <a:cubicBezTo>
                    <a:pt x="23" y="0"/>
                    <a:pt x="24" y="0"/>
                    <a:pt x="25" y="0"/>
                  </a:cubicBezTo>
                  <a:cubicBezTo>
                    <a:pt x="26" y="0"/>
                    <a:pt x="28" y="0"/>
                    <a:pt x="29" y="0"/>
                  </a:cubicBezTo>
                  <a:cubicBezTo>
                    <a:pt x="31" y="0"/>
                    <a:pt x="33" y="0"/>
                    <a:pt x="34" y="0"/>
                  </a:cubicBezTo>
                  <a:cubicBezTo>
                    <a:pt x="36" y="1"/>
                    <a:pt x="37" y="2"/>
                    <a:pt x="37" y="3"/>
                  </a:cubicBezTo>
                  <a:cubicBezTo>
                    <a:pt x="38" y="4"/>
                    <a:pt x="39" y="6"/>
                    <a:pt x="39" y="7"/>
                  </a:cubicBezTo>
                  <a:cubicBezTo>
                    <a:pt x="39" y="9"/>
                    <a:pt x="39" y="11"/>
                    <a:pt x="39" y="13"/>
                  </a:cubicBezTo>
                  <a:cubicBezTo>
                    <a:pt x="39" y="29"/>
                    <a:pt x="39" y="29"/>
                    <a:pt x="39" y="29"/>
                  </a:cubicBezTo>
                  <a:cubicBezTo>
                    <a:pt x="36" y="29"/>
                    <a:pt x="36" y="29"/>
                    <a:pt x="36" y="29"/>
                  </a:cubicBezTo>
                  <a:cubicBezTo>
                    <a:pt x="36" y="14"/>
                    <a:pt x="36" y="14"/>
                    <a:pt x="36" y="14"/>
                  </a:cubicBezTo>
                  <a:cubicBezTo>
                    <a:pt x="36" y="12"/>
                    <a:pt x="36" y="10"/>
                    <a:pt x="35" y="9"/>
                  </a:cubicBezTo>
                  <a:cubicBezTo>
                    <a:pt x="35" y="8"/>
                    <a:pt x="35" y="7"/>
                    <a:pt x="34" y="6"/>
                  </a:cubicBezTo>
                  <a:cubicBezTo>
                    <a:pt x="34" y="5"/>
                    <a:pt x="33" y="4"/>
                    <a:pt x="32" y="4"/>
                  </a:cubicBezTo>
                  <a:cubicBezTo>
                    <a:pt x="31" y="3"/>
                    <a:pt x="30" y="3"/>
                    <a:pt x="29" y="3"/>
                  </a:cubicBezTo>
                  <a:cubicBezTo>
                    <a:pt x="28" y="3"/>
                    <a:pt x="27" y="3"/>
                    <a:pt x="26" y="3"/>
                  </a:cubicBezTo>
                  <a:cubicBezTo>
                    <a:pt x="25" y="3"/>
                    <a:pt x="24" y="4"/>
                    <a:pt x="23" y="4"/>
                  </a:cubicBezTo>
                  <a:cubicBezTo>
                    <a:pt x="23" y="4"/>
                    <a:pt x="22" y="4"/>
                    <a:pt x="22" y="5"/>
                  </a:cubicBezTo>
                  <a:cubicBezTo>
                    <a:pt x="21" y="5"/>
                    <a:pt x="21" y="5"/>
                    <a:pt x="21" y="5"/>
                  </a:cubicBezTo>
                  <a:cubicBezTo>
                    <a:pt x="21" y="6"/>
                    <a:pt x="21" y="8"/>
                    <a:pt x="21" y="9"/>
                  </a:cubicBezTo>
                  <a:cubicBezTo>
                    <a:pt x="22" y="10"/>
                    <a:pt x="22" y="11"/>
                    <a:pt x="22" y="13"/>
                  </a:cubicBezTo>
                  <a:cubicBezTo>
                    <a:pt x="22" y="29"/>
                    <a:pt x="22" y="29"/>
                    <a:pt x="22" y="29"/>
                  </a:cubicBezTo>
                  <a:cubicBezTo>
                    <a:pt x="18" y="29"/>
                    <a:pt x="18" y="29"/>
                    <a:pt x="18" y="29"/>
                  </a:cubicBezTo>
                  <a:cubicBezTo>
                    <a:pt x="18" y="14"/>
                    <a:pt x="18" y="14"/>
                    <a:pt x="18" y="14"/>
                  </a:cubicBezTo>
                  <a:cubicBezTo>
                    <a:pt x="18" y="12"/>
                    <a:pt x="18" y="10"/>
                    <a:pt x="18" y="9"/>
                  </a:cubicBezTo>
                  <a:cubicBezTo>
                    <a:pt x="18" y="8"/>
                    <a:pt x="17" y="7"/>
                    <a:pt x="17" y="6"/>
                  </a:cubicBezTo>
                  <a:cubicBezTo>
                    <a:pt x="16" y="5"/>
                    <a:pt x="15" y="4"/>
                    <a:pt x="15" y="4"/>
                  </a:cubicBezTo>
                  <a:cubicBezTo>
                    <a:pt x="14" y="3"/>
                    <a:pt x="12" y="3"/>
                    <a:pt x="11" y="3"/>
                  </a:cubicBezTo>
                  <a:cubicBezTo>
                    <a:pt x="9" y="3"/>
                    <a:pt x="8"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21"/>
            <p:cNvSpPr>
              <a:spLocks/>
            </p:cNvSpPr>
            <p:nvPr/>
          </p:nvSpPr>
          <p:spPr bwMode="auto">
            <a:xfrm>
              <a:off x="3024189" y="7123183"/>
              <a:ext cx="71438" cy="52388"/>
            </a:xfrm>
            <a:custGeom>
              <a:avLst/>
              <a:gdLst>
                <a:gd name="T0" fmla="*/ 0 w 39"/>
                <a:gd name="T1" fmla="*/ 1 h 29"/>
                <a:gd name="T2" fmla="*/ 4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8 w 39"/>
                <a:gd name="T15" fmla="*/ 0 h 29"/>
                <a:gd name="T16" fmla="*/ 34 w 39"/>
                <a:gd name="T17" fmla="*/ 0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3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9" y="3"/>
                  </a:cubicBezTo>
                  <a:cubicBezTo>
                    <a:pt x="19" y="3"/>
                    <a:pt x="19" y="2"/>
                    <a:pt x="20" y="2"/>
                  </a:cubicBezTo>
                  <a:cubicBezTo>
                    <a:pt x="20" y="2"/>
                    <a:pt x="21" y="1"/>
                    <a:pt x="22" y="1"/>
                  </a:cubicBezTo>
                  <a:cubicBezTo>
                    <a:pt x="23" y="0"/>
                    <a:pt x="24" y="0"/>
                    <a:pt x="25" y="0"/>
                  </a:cubicBezTo>
                  <a:cubicBezTo>
                    <a:pt x="26" y="0"/>
                    <a:pt x="27" y="0"/>
                    <a:pt x="28" y="0"/>
                  </a:cubicBezTo>
                  <a:cubicBezTo>
                    <a:pt x="30" y="0"/>
                    <a:pt x="32" y="0"/>
                    <a:pt x="34" y="0"/>
                  </a:cubicBezTo>
                  <a:cubicBezTo>
                    <a:pt x="35" y="1"/>
                    <a:pt x="36" y="2"/>
                    <a:pt x="37" y="3"/>
                  </a:cubicBezTo>
                  <a:cubicBezTo>
                    <a:pt x="38" y="4"/>
                    <a:pt x="38" y="6"/>
                    <a:pt x="38" y="7"/>
                  </a:cubicBezTo>
                  <a:cubicBezTo>
                    <a:pt x="39"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3" y="4"/>
                    <a:pt x="32" y="4"/>
                  </a:cubicBezTo>
                  <a:cubicBezTo>
                    <a:pt x="31" y="3"/>
                    <a:pt x="29" y="3"/>
                    <a:pt x="28" y="3"/>
                  </a:cubicBezTo>
                  <a:cubicBezTo>
                    <a:pt x="27" y="3"/>
                    <a:pt x="26" y="3"/>
                    <a:pt x="25" y="3"/>
                  </a:cubicBezTo>
                  <a:cubicBezTo>
                    <a:pt x="24" y="3"/>
                    <a:pt x="23" y="4"/>
                    <a:pt x="23" y="4"/>
                  </a:cubicBezTo>
                  <a:cubicBezTo>
                    <a:pt x="22" y="4"/>
                    <a:pt x="21" y="4"/>
                    <a:pt x="21" y="5"/>
                  </a:cubicBezTo>
                  <a:cubicBezTo>
                    <a:pt x="20" y="5"/>
                    <a:pt x="20" y="5"/>
                    <a:pt x="20" y="5"/>
                  </a:cubicBezTo>
                  <a:cubicBezTo>
                    <a:pt x="20" y="6"/>
                    <a:pt x="21"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7" y="7"/>
                    <a:pt x="16" y="6"/>
                  </a:cubicBezTo>
                  <a:cubicBezTo>
                    <a:pt x="16"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2"/>
            <p:cNvSpPr>
              <a:spLocks noEditPoints="1"/>
            </p:cNvSpPr>
            <p:nvPr/>
          </p:nvSpPr>
          <p:spPr bwMode="auto">
            <a:xfrm>
              <a:off x="3109914" y="7121596"/>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4 w 25"/>
                <a:gd name="T17" fmla="*/ 16 h 31"/>
                <a:gd name="T18" fmla="*/ 4 w 25"/>
                <a:gd name="T19" fmla="*/ 16 h 31"/>
                <a:gd name="T20" fmla="*/ 7 w 25"/>
                <a:gd name="T21" fmla="*/ 24 h 31"/>
                <a:gd name="T22" fmla="*/ 15 w 25"/>
                <a:gd name="T23" fmla="*/ 27 h 31"/>
                <a:gd name="T24" fmla="*/ 19 w 25"/>
                <a:gd name="T25" fmla="*/ 27 h 31"/>
                <a:gd name="T26" fmla="*/ 22 w 25"/>
                <a:gd name="T27" fmla="*/ 26 h 31"/>
                <a:gd name="T28" fmla="*/ 22 w 25"/>
                <a:gd name="T29" fmla="*/ 29 h 31"/>
                <a:gd name="T30" fmla="*/ 20 w 25"/>
                <a:gd name="T31" fmla="*/ 30 h 31"/>
                <a:gd name="T32" fmla="*/ 14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9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6" y="0"/>
                    <a:pt x="19" y="2"/>
                    <a:pt x="21" y="4"/>
                  </a:cubicBezTo>
                  <a:cubicBezTo>
                    <a:pt x="24" y="6"/>
                    <a:pt x="25" y="10"/>
                    <a:pt x="25" y="15"/>
                  </a:cubicBezTo>
                  <a:cubicBezTo>
                    <a:pt x="25" y="15"/>
                    <a:pt x="25" y="15"/>
                    <a:pt x="25" y="15"/>
                  </a:cubicBezTo>
                  <a:cubicBezTo>
                    <a:pt x="25" y="16"/>
                    <a:pt x="24" y="16"/>
                    <a:pt x="24" y="16"/>
                  </a:cubicBezTo>
                  <a:cubicBezTo>
                    <a:pt x="4" y="16"/>
                    <a:pt x="4" y="16"/>
                    <a:pt x="4" y="16"/>
                  </a:cubicBezTo>
                  <a:cubicBezTo>
                    <a:pt x="4" y="20"/>
                    <a:pt x="5" y="23"/>
                    <a:pt x="7" y="24"/>
                  </a:cubicBezTo>
                  <a:cubicBezTo>
                    <a:pt x="8" y="26"/>
                    <a:pt x="11" y="27"/>
                    <a:pt x="15" y="27"/>
                  </a:cubicBezTo>
                  <a:cubicBezTo>
                    <a:pt x="17" y="27"/>
                    <a:pt x="18" y="27"/>
                    <a:pt x="19" y="27"/>
                  </a:cubicBezTo>
                  <a:cubicBezTo>
                    <a:pt x="20" y="26"/>
                    <a:pt x="21" y="26"/>
                    <a:pt x="22" y="26"/>
                  </a:cubicBezTo>
                  <a:cubicBezTo>
                    <a:pt x="22" y="29"/>
                    <a:pt x="22" y="29"/>
                    <a:pt x="22" y="29"/>
                  </a:cubicBezTo>
                  <a:cubicBezTo>
                    <a:pt x="22" y="29"/>
                    <a:pt x="21" y="30"/>
                    <a:pt x="20" y="30"/>
                  </a:cubicBezTo>
                  <a:cubicBezTo>
                    <a:pt x="18" y="30"/>
                    <a:pt x="16" y="31"/>
                    <a:pt x="14"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4"/>
                    <a:pt x="15" y="4"/>
                    <a:pt x="13" y="4"/>
                  </a:cubicBezTo>
                  <a:cubicBezTo>
                    <a:pt x="12" y="4"/>
                    <a:pt x="11" y="4"/>
                    <a:pt x="9" y="4"/>
                  </a:cubicBezTo>
                  <a:cubicBezTo>
                    <a:pt x="8"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3"/>
            <p:cNvSpPr>
              <a:spLocks/>
            </p:cNvSpPr>
            <p:nvPr/>
          </p:nvSpPr>
          <p:spPr bwMode="auto">
            <a:xfrm>
              <a:off x="3170239" y="7123183"/>
              <a:ext cx="39688" cy="52388"/>
            </a:xfrm>
            <a:custGeom>
              <a:avLst/>
              <a:gdLst>
                <a:gd name="T0" fmla="*/ 0 w 22"/>
                <a:gd name="T1" fmla="*/ 1 h 29"/>
                <a:gd name="T2" fmla="*/ 4 w 22"/>
                <a:gd name="T3" fmla="*/ 0 h 29"/>
                <a:gd name="T4" fmla="*/ 11 w 22"/>
                <a:gd name="T5" fmla="*/ 0 h 29"/>
                <a:gd name="T6" fmla="*/ 16 w 22"/>
                <a:gd name="T7" fmla="*/ 0 h 29"/>
                <a:gd name="T8" fmla="*/ 20 w 22"/>
                <a:gd name="T9" fmla="*/ 3 h 29"/>
                <a:gd name="T10" fmla="*/ 22 w 22"/>
                <a:gd name="T11" fmla="*/ 7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5 h 29"/>
                <a:gd name="T24" fmla="*/ 14 w 22"/>
                <a:gd name="T25" fmla="*/ 3 h 29"/>
                <a:gd name="T26" fmla="*/ 10 w 22"/>
                <a:gd name="T27" fmla="*/ 3 h 29"/>
                <a:gd name="T28" fmla="*/ 6 w 22"/>
                <a:gd name="T29" fmla="*/ 3 h 29"/>
                <a:gd name="T30" fmla="*/ 3 w 22"/>
                <a:gd name="T31" fmla="*/ 4 h 29"/>
                <a:gd name="T32" fmla="*/ 3 w 22"/>
                <a:gd name="T33" fmla="*/ 29 h 29"/>
                <a:gd name="T34" fmla="*/ 0 w 22"/>
                <a:gd name="T35" fmla="*/ 29 h 29"/>
                <a:gd name="T36" fmla="*/ 0 w 22"/>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1"/>
                  </a:moveTo>
                  <a:cubicBezTo>
                    <a:pt x="1" y="1"/>
                    <a:pt x="2" y="0"/>
                    <a:pt x="4" y="0"/>
                  </a:cubicBezTo>
                  <a:cubicBezTo>
                    <a:pt x="6" y="0"/>
                    <a:pt x="8" y="0"/>
                    <a:pt x="11" y="0"/>
                  </a:cubicBezTo>
                  <a:cubicBezTo>
                    <a:pt x="13" y="0"/>
                    <a:pt x="15" y="0"/>
                    <a:pt x="16" y="0"/>
                  </a:cubicBezTo>
                  <a:cubicBezTo>
                    <a:pt x="18" y="1"/>
                    <a:pt x="19" y="2"/>
                    <a:pt x="20" y="3"/>
                  </a:cubicBezTo>
                  <a:cubicBezTo>
                    <a:pt x="21" y="4"/>
                    <a:pt x="21" y="6"/>
                    <a:pt x="22" y="7"/>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8" y="10"/>
                    <a:pt x="18" y="9"/>
                  </a:cubicBezTo>
                  <a:cubicBezTo>
                    <a:pt x="18" y="7"/>
                    <a:pt x="17" y="6"/>
                    <a:pt x="17" y="5"/>
                  </a:cubicBezTo>
                  <a:cubicBezTo>
                    <a:pt x="16" y="4"/>
                    <a:pt x="15" y="4"/>
                    <a:pt x="14" y="3"/>
                  </a:cubicBezTo>
                  <a:cubicBezTo>
                    <a:pt x="13" y="3"/>
                    <a:pt x="12" y="3"/>
                    <a:pt x="10" y="3"/>
                  </a:cubicBezTo>
                  <a:cubicBezTo>
                    <a:pt x="8" y="3"/>
                    <a:pt x="7" y="3"/>
                    <a:pt x="6" y="3"/>
                  </a:cubicBezTo>
                  <a:cubicBezTo>
                    <a:pt x="5"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4"/>
            <p:cNvSpPr>
              <a:spLocks/>
            </p:cNvSpPr>
            <p:nvPr/>
          </p:nvSpPr>
          <p:spPr bwMode="auto">
            <a:xfrm>
              <a:off x="3225801" y="7107308"/>
              <a:ext cx="31750" cy="71438"/>
            </a:xfrm>
            <a:custGeom>
              <a:avLst/>
              <a:gdLst>
                <a:gd name="T0" fmla="*/ 4 w 17"/>
                <a:gd name="T1" fmla="*/ 9 h 39"/>
                <a:gd name="T2" fmla="*/ 16 w 17"/>
                <a:gd name="T3" fmla="*/ 9 h 39"/>
                <a:gd name="T4" fmla="*/ 16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6" y="9"/>
                    <a:pt x="16" y="9"/>
                    <a:pt x="16" y="9"/>
                  </a:cubicBezTo>
                  <a:cubicBezTo>
                    <a:pt x="16" y="12"/>
                    <a:pt x="16" y="12"/>
                    <a:pt x="16"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25"/>
            <p:cNvSpPr>
              <a:spLocks/>
            </p:cNvSpPr>
            <p:nvPr/>
          </p:nvSpPr>
          <p:spPr bwMode="auto">
            <a:xfrm>
              <a:off x="3263901" y="7121596"/>
              <a:ext cx="34925" cy="57151"/>
            </a:xfrm>
            <a:custGeom>
              <a:avLst/>
              <a:gdLst>
                <a:gd name="T0" fmla="*/ 8 w 19"/>
                <a:gd name="T1" fmla="*/ 27 h 31"/>
                <a:gd name="T2" fmla="*/ 13 w 19"/>
                <a:gd name="T3" fmla="*/ 26 h 31"/>
                <a:gd name="T4" fmla="*/ 15 w 19"/>
                <a:gd name="T5" fmla="*/ 23 h 31"/>
                <a:gd name="T6" fmla="*/ 15 w 19"/>
                <a:gd name="T7" fmla="*/ 21 h 31"/>
                <a:gd name="T8" fmla="*/ 14 w 19"/>
                <a:gd name="T9" fmla="*/ 19 h 31"/>
                <a:gd name="T10" fmla="*/ 12 w 19"/>
                <a:gd name="T11" fmla="*/ 18 h 31"/>
                <a:gd name="T12" fmla="*/ 8 w 19"/>
                <a:gd name="T13" fmla="*/ 17 h 31"/>
                <a:gd name="T14" fmla="*/ 5 w 19"/>
                <a:gd name="T15" fmla="*/ 15 h 31"/>
                <a:gd name="T16" fmla="*/ 3 w 19"/>
                <a:gd name="T17" fmla="*/ 14 h 31"/>
                <a:gd name="T18" fmla="*/ 1 w 19"/>
                <a:gd name="T19" fmla="*/ 11 h 31"/>
                <a:gd name="T20" fmla="*/ 0 w 19"/>
                <a:gd name="T21" fmla="*/ 8 h 31"/>
                <a:gd name="T22" fmla="*/ 3 w 19"/>
                <a:gd name="T23" fmla="*/ 3 h 31"/>
                <a:gd name="T24" fmla="*/ 10 w 19"/>
                <a:gd name="T25" fmla="*/ 0 h 31"/>
                <a:gd name="T26" fmla="*/ 15 w 19"/>
                <a:gd name="T27" fmla="*/ 1 h 31"/>
                <a:gd name="T28" fmla="*/ 18 w 19"/>
                <a:gd name="T29" fmla="*/ 2 h 31"/>
                <a:gd name="T30" fmla="*/ 17 w 19"/>
                <a:gd name="T31" fmla="*/ 5 h 31"/>
                <a:gd name="T32" fmla="*/ 15 w 19"/>
                <a:gd name="T33" fmla="*/ 4 h 31"/>
                <a:gd name="T34" fmla="*/ 10 w 19"/>
                <a:gd name="T35" fmla="*/ 4 h 31"/>
                <a:gd name="T36" fmla="*/ 8 w 19"/>
                <a:gd name="T37" fmla="*/ 4 h 31"/>
                <a:gd name="T38" fmla="*/ 6 w 19"/>
                <a:gd name="T39" fmla="*/ 5 h 31"/>
                <a:gd name="T40" fmla="*/ 4 w 19"/>
                <a:gd name="T41" fmla="*/ 6 h 31"/>
                <a:gd name="T42" fmla="*/ 4 w 19"/>
                <a:gd name="T43" fmla="*/ 8 h 31"/>
                <a:gd name="T44" fmla="*/ 4 w 19"/>
                <a:gd name="T45" fmla="*/ 10 h 31"/>
                <a:gd name="T46" fmla="*/ 6 w 19"/>
                <a:gd name="T47" fmla="*/ 11 h 31"/>
                <a:gd name="T48" fmla="*/ 8 w 19"/>
                <a:gd name="T49" fmla="*/ 13 h 31"/>
                <a:gd name="T50" fmla="*/ 11 w 19"/>
                <a:gd name="T51" fmla="*/ 14 h 31"/>
                <a:gd name="T52" fmla="*/ 14 w 19"/>
                <a:gd name="T53" fmla="*/ 15 h 31"/>
                <a:gd name="T54" fmla="*/ 17 w 19"/>
                <a:gd name="T55" fmla="*/ 17 h 31"/>
                <a:gd name="T56" fmla="*/ 18 w 19"/>
                <a:gd name="T57" fmla="*/ 19 h 31"/>
                <a:gd name="T58" fmla="*/ 19 w 19"/>
                <a:gd name="T59" fmla="*/ 23 h 31"/>
                <a:gd name="T60" fmla="*/ 16 w 19"/>
                <a:gd name="T61" fmla="*/ 29 h 31"/>
                <a:gd name="T62" fmla="*/ 8 w 19"/>
                <a:gd name="T63" fmla="*/ 31 h 31"/>
                <a:gd name="T64" fmla="*/ 2 w 19"/>
                <a:gd name="T65" fmla="*/ 30 h 31"/>
                <a:gd name="T66" fmla="*/ 0 w 19"/>
                <a:gd name="T67" fmla="*/ 29 h 31"/>
                <a:gd name="T68" fmla="*/ 1 w 19"/>
                <a:gd name="T69" fmla="*/ 26 h 31"/>
                <a:gd name="T70" fmla="*/ 1 w 19"/>
                <a:gd name="T71" fmla="*/ 26 h 31"/>
                <a:gd name="T72" fmla="*/ 3 w 19"/>
                <a:gd name="T73" fmla="*/ 27 h 31"/>
                <a:gd name="T74" fmla="*/ 5 w 19"/>
                <a:gd name="T75" fmla="*/ 27 h 31"/>
                <a:gd name="T76" fmla="*/ 8 w 19"/>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1">
                  <a:moveTo>
                    <a:pt x="8" y="27"/>
                  </a:moveTo>
                  <a:cubicBezTo>
                    <a:pt x="10" y="27"/>
                    <a:pt x="12" y="27"/>
                    <a:pt x="13" y="26"/>
                  </a:cubicBezTo>
                  <a:cubicBezTo>
                    <a:pt x="15" y="26"/>
                    <a:pt x="15" y="25"/>
                    <a:pt x="15" y="23"/>
                  </a:cubicBezTo>
                  <a:cubicBezTo>
                    <a:pt x="15" y="22"/>
                    <a:pt x="15" y="21"/>
                    <a:pt x="15" y="21"/>
                  </a:cubicBezTo>
                  <a:cubicBezTo>
                    <a:pt x="15" y="20"/>
                    <a:pt x="14" y="20"/>
                    <a:pt x="14" y="19"/>
                  </a:cubicBezTo>
                  <a:cubicBezTo>
                    <a:pt x="13" y="19"/>
                    <a:pt x="13" y="19"/>
                    <a:pt x="12" y="18"/>
                  </a:cubicBezTo>
                  <a:cubicBezTo>
                    <a:pt x="11" y="18"/>
                    <a:pt x="10" y="17"/>
                    <a:pt x="8" y="17"/>
                  </a:cubicBezTo>
                  <a:cubicBezTo>
                    <a:pt x="7" y="16"/>
                    <a:pt x="6" y="16"/>
                    <a:pt x="5" y="15"/>
                  </a:cubicBezTo>
                  <a:cubicBezTo>
                    <a:pt x="4" y="15"/>
                    <a:pt x="3" y="14"/>
                    <a:pt x="3" y="14"/>
                  </a:cubicBezTo>
                  <a:cubicBezTo>
                    <a:pt x="2" y="13"/>
                    <a:pt x="1" y="12"/>
                    <a:pt x="1" y="11"/>
                  </a:cubicBezTo>
                  <a:cubicBezTo>
                    <a:pt x="0" y="11"/>
                    <a:pt x="0" y="10"/>
                    <a:pt x="0" y="8"/>
                  </a:cubicBezTo>
                  <a:cubicBezTo>
                    <a:pt x="0" y="6"/>
                    <a:pt x="1" y="4"/>
                    <a:pt x="3" y="3"/>
                  </a:cubicBezTo>
                  <a:cubicBezTo>
                    <a:pt x="5" y="1"/>
                    <a:pt x="7" y="0"/>
                    <a:pt x="10" y="0"/>
                  </a:cubicBezTo>
                  <a:cubicBezTo>
                    <a:pt x="12" y="0"/>
                    <a:pt x="14" y="1"/>
                    <a:pt x="15" y="1"/>
                  </a:cubicBezTo>
                  <a:cubicBezTo>
                    <a:pt x="16" y="1"/>
                    <a:pt x="17" y="2"/>
                    <a:pt x="18" y="2"/>
                  </a:cubicBezTo>
                  <a:cubicBezTo>
                    <a:pt x="17" y="5"/>
                    <a:pt x="17" y="5"/>
                    <a:pt x="17" y="5"/>
                  </a:cubicBezTo>
                  <a:cubicBezTo>
                    <a:pt x="16" y="5"/>
                    <a:pt x="16" y="5"/>
                    <a:pt x="15" y="4"/>
                  </a:cubicBezTo>
                  <a:cubicBezTo>
                    <a:pt x="14" y="4"/>
                    <a:pt x="12" y="4"/>
                    <a:pt x="10" y="4"/>
                  </a:cubicBezTo>
                  <a:cubicBezTo>
                    <a:pt x="9" y="4"/>
                    <a:pt x="8" y="4"/>
                    <a:pt x="8" y="4"/>
                  </a:cubicBezTo>
                  <a:cubicBezTo>
                    <a:pt x="7" y="4"/>
                    <a:pt x="6" y="4"/>
                    <a:pt x="6" y="5"/>
                  </a:cubicBezTo>
                  <a:cubicBezTo>
                    <a:pt x="5" y="5"/>
                    <a:pt x="5" y="5"/>
                    <a:pt x="4" y="6"/>
                  </a:cubicBezTo>
                  <a:cubicBezTo>
                    <a:pt x="4" y="7"/>
                    <a:pt x="4" y="7"/>
                    <a:pt x="4" y="8"/>
                  </a:cubicBezTo>
                  <a:cubicBezTo>
                    <a:pt x="4" y="9"/>
                    <a:pt x="4" y="9"/>
                    <a:pt x="4" y="10"/>
                  </a:cubicBezTo>
                  <a:cubicBezTo>
                    <a:pt x="5" y="11"/>
                    <a:pt x="5" y="11"/>
                    <a:pt x="6" y="11"/>
                  </a:cubicBezTo>
                  <a:cubicBezTo>
                    <a:pt x="6" y="12"/>
                    <a:pt x="7" y="12"/>
                    <a:pt x="8" y="13"/>
                  </a:cubicBezTo>
                  <a:cubicBezTo>
                    <a:pt x="9" y="13"/>
                    <a:pt x="9" y="13"/>
                    <a:pt x="11" y="14"/>
                  </a:cubicBezTo>
                  <a:cubicBezTo>
                    <a:pt x="12" y="14"/>
                    <a:pt x="13" y="15"/>
                    <a:pt x="14" y="15"/>
                  </a:cubicBezTo>
                  <a:cubicBezTo>
                    <a:pt x="15" y="16"/>
                    <a:pt x="16" y="16"/>
                    <a:pt x="17" y="17"/>
                  </a:cubicBezTo>
                  <a:cubicBezTo>
                    <a:pt x="17" y="18"/>
                    <a:pt x="18" y="18"/>
                    <a:pt x="18" y="19"/>
                  </a:cubicBezTo>
                  <a:cubicBezTo>
                    <a:pt x="19" y="20"/>
                    <a:pt x="19" y="21"/>
                    <a:pt x="19" y="23"/>
                  </a:cubicBezTo>
                  <a:cubicBezTo>
                    <a:pt x="19" y="25"/>
                    <a:pt x="18" y="27"/>
                    <a:pt x="16" y="29"/>
                  </a:cubicBezTo>
                  <a:cubicBezTo>
                    <a:pt x="14" y="30"/>
                    <a:pt x="12" y="31"/>
                    <a:pt x="8" y="31"/>
                  </a:cubicBezTo>
                  <a:cubicBezTo>
                    <a:pt x="6" y="31"/>
                    <a:pt x="4" y="30"/>
                    <a:pt x="2" y="30"/>
                  </a:cubicBezTo>
                  <a:cubicBezTo>
                    <a:pt x="1" y="30"/>
                    <a:pt x="0" y="29"/>
                    <a:pt x="0" y="29"/>
                  </a:cubicBezTo>
                  <a:cubicBezTo>
                    <a:pt x="1" y="26"/>
                    <a:pt x="1" y="26"/>
                    <a:pt x="1" y="26"/>
                  </a:cubicBezTo>
                  <a:cubicBezTo>
                    <a:pt x="1" y="26"/>
                    <a:pt x="1" y="26"/>
                    <a:pt x="1" y="26"/>
                  </a:cubicBezTo>
                  <a:cubicBezTo>
                    <a:pt x="2" y="26"/>
                    <a:pt x="2" y="26"/>
                    <a:pt x="3" y="27"/>
                  </a:cubicBezTo>
                  <a:cubicBezTo>
                    <a:pt x="3" y="27"/>
                    <a:pt x="4" y="27"/>
                    <a:pt x="5" y="27"/>
                  </a:cubicBezTo>
                  <a:cubicBezTo>
                    <a:pt x="6" y="27"/>
                    <a:pt x="7" y="27"/>
                    <a:pt x="8"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9" name="Group 608"/>
          <p:cNvGrpSpPr/>
          <p:nvPr/>
        </p:nvGrpSpPr>
        <p:grpSpPr>
          <a:xfrm>
            <a:off x="5516959" y="6185909"/>
            <a:ext cx="185738" cy="76201"/>
            <a:chOff x="5259389" y="7102546"/>
            <a:chExt cx="185738" cy="76201"/>
          </a:xfrm>
        </p:grpSpPr>
        <p:sp>
          <p:nvSpPr>
            <p:cNvPr id="27" name="Freeform 226"/>
            <p:cNvSpPr>
              <a:spLocks/>
            </p:cNvSpPr>
            <p:nvPr/>
          </p:nvSpPr>
          <p:spPr bwMode="auto">
            <a:xfrm>
              <a:off x="5259389" y="7102546"/>
              <a:ext cx="53975"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8 w 29"/>
                <a:gd name="T17" fmla="*/ 0 h 41"/>
                <a:gd name="T18" fmla="*/ 21 w 29"/>
                <a:gd name="T19" fmla="*/ 1 h 41"/>
                <a:gd name="T20" fmla="*/ 25 w 29"/>
                <a:gd name="T21" fmla="*/ 1 h 41"/>
                <a:gd name="T22" fmla="*/ 27 w 29"/>
                <a:gd name="T23" fmla="*/ 2 h 41"/>
                <a:gd name="T24" fmla="*/ 28 w 29"/>
                <a:gd name="T25" fmla="*/ 3 h 41"/>
                <a:gd name="T26" fmla="*/ 27 w 29"/>
                <a:gd name="T27" fmla="*/ 6 h 41"/>
                <a:gd name="T28" fmla="*/ 24 w 29"/>
                <a:gd name="T29" fmla="*/ 5 h 41"/>
                <a:gd name="T30" fmla="*/ 18 w 29"/>
                <a:gd name="T31" fmla="*/ 4 h 41"/>
                <a:gd name="T32" fmla="*/ 12 w 29"/>
                <a:gd name="T33" fmla="*/ 5 h 41"/>
                <a:gd name="T34" fmla="*/ 7 w 29"/>
                <a:gd name="T35" fmla="*/ 8 h 41"/>
                <a:gd name="T36" fmla="*/ 5 w 29"/>
                <a:gd name="T37" fmla="*/ 14 h 41"/>
                <a:gd name="T38" fmla="*/ 4 w 29"/>
                <a:gd name="T39" fmla="*/ 21 h 41"/>
                <a:gd name="T40" fmla="*/ 5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2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2"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3" y="7"/>
                    <a:pt x="5" y="6"/>
                  </a:cubicBezTo>
                  <a:cubicBezTo>
                    <a:pt x="7" y="4"/>
                    <a:pt x="9" y="3"/>
                    <a:pt x="11" y="2"/>
                  </a:cubicBezTo>
                  <a:cubicBezTo>
                    <a:pt x="13" y="1"/>
                    <a:pt x="15" y="0"/>
                    <a:pt x="18" y="0"/>
                  </a:cubicBezTo>
                  <a:cubicBezTo>
                    <a:pt x="19" y="0"/>
                    <a:pt x="20" y="0"/>
                    <a:pt x="21" y="1"/>
                  </a:cubicBezTo>
                  <a:cubicBezTo>
                    <a:pt x="23" y="1"/>
                    <a:pt x="24" y="1"/>
                    <a:pt x="25" y="1"/>
                  </a:cubicBezTo>
                  <a:cubicBezTo>
                    <a:pt x="26" y="2"/>
                    <a:pt x="26" y="2"/>
                    <a:pt x="27" y="2"/>
                  </a:cubicBezTo>
                  <a:cubicBezTo>
                    <a:pt x="28" y="2"/>
                    <a:pt x="28" y="3"/>
                    <a:pt x="28" y="3"/>
                  </a:cubicBezTo>
                  <a:cubicBezTo>
                    <a:pt x="27" y="6"/>
                    <a:pt x="27" y="6"/>
                    <a:pt x="27" y="6"/>
                  </a:cubicBezTo>
                  <a:cubicBezTo>
                    <a:pt x="26" y="6"/>
                    <a:pt x="25" y="5"/>
                    <a:pt x="24" y="5"/>
                  </a:cubicBezTo>
                  <a:cubicBezTo>
                    <a:pt x="22" y="4"/>
                    <a:pt x="20" y="4"/>
                    <a:pt x="18" y="4"/>
                  </a:cubicBezTo>
                  <a:cubicBezTo>
                    <a:pt x="16" y="4"/>
                    <a:pt x="14" y="4"/>
                    <a:pt x="12" y="5"/>
                  </a:cubicBezTo>
                  <a:cubicBezTo>
                    <a:pt x="10" y="6"/>
                    <a:pt x="9" y="7"/>
                    <a:pt x="7" y="8"/>
                  </a:cubicBezTo>
                  <a:cubicBezTo>
                    <a:pt x="6" y="10"/>
                    <a:pt x="5" y="12"/>
                    <a:pt x="5" y="14"/>
                  </a:cubicBezTo>
                  <a:cubicBezTo>
                    <a:pt x="4" y="16"/>
                    <a:pt x="4" y="18"/>
                    <a:pt x="4" y="21"/>
                  </a:cubicBezTo>
                  <a:cubicBezTo>
                    <a:pt x="4" y="23"/>
                    <a:pt x="4" y="26"/>
                    <a:pt x="5" y="28"/>
                  </a:cubicBezTo>
                  <a:cubicBezTo>
                    <a:pt x="5" y="30"/>
                    <a:pt x="6" y="31"/>
                    <a:pt x="7" y="33"/>
                  </a:cubicBezTo>
                  <a:cubicBezTo>
                    <a:pt x="8" y="34"/>
                    <a:pt x="10" y="35"/>
                    <a:pt x="12" y="36"/>
                  </a:cubicBezTo>
                  <a:cubicBezTo>
                    <a:pt x="13" y="37"/>
                    <a:pt x="15" y="37"/>
                    <a:pt x="18" y="37"/>
                  </a:cubicBezTo>
                  <a:cubicBezTo>
                    <a:pt x="20" y="37"/>
                    <a:pt x="22" y="37"/>
                    <a:pt x="24" y="37"/>
                  </a:cubicBezTo>
                  <a:cubicBezTo>
                    <a:pt x="25" y="36"/>
                    <a:pt x="27" y="36"/>
                    <a:pt x="28" y="35"/>
                  </a:cubicBezTo>
                  <a:cubicBezTo>
                    <a:pt x="29" y="39"/>
                    <a:pt x="29" y="39"/>
                    <a:pt x="29" y="39"/>
                  </a:cubicBezTo>
                  <a:cubicBezTo>
                    <a:pt x="28" y="39"/>
                    <a:pt x="28" y="39"/>
                    <a:pt x="27" y="39"/>
                  </a:cubicBezTo>
                  <a:cubicBezTo>
                    <a:pt x="27" y="39"/>
                    <a:pt x="26" y="40"/>
                    <a:pt x="25" y="40"/>
                  </a:cubicBezTo>
                  <a:cubicBezTo>
                    <a:pt x="24" y="40"/>
                    <a:pt x="23" y="40"/>
                    <a:pt x="22" y="41"/>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27"/>
            <p:cNvSpPr>
              <a:spLocks noEditPoints="1"/>
            </p:cNvSpPr>
            <p:nvPr/>
          </p:nvSpPr>
          <p:spPr bwMode="auto">
            <a:xfrm>
              <a:off x="5319714" y="7121596"/>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8"/>
            <p:cNvSpPr>
              <a:spLocks/>
            </p:cNvSpPr>
            <p:nvPr/>
          </p:nvSpPr>
          <p:spPr bwMode="auto">
            <a:xfrm>
              <a:off x="5376865" y="7123183"/>
              <a:ext cx="26988" cy="52388"/>
            </a:xfrm>
            <a:custGeom>
              <a:avLst/>
              <a:gdLst>
                <a:gd name="T0" fmla="*/ 9 w 15"/>
                <a:gd name="T1" fmla="*/ 0 h 29"/>
                <a:gd name="T2" fmla="*/ 13 w 15"/>
                <a:gd name="T3" fmla="*/ 0 h 29"/>
                <a:gd name="T4" fmla="*/ 15 w 15"/>
                <a:gd name="T5" fmla="*/ 0 h 29"/>
                <a:gd name="T6" fmla="*/ 14 w 15"/>
                <a:gd name="T7" fmla="*/ 3 h 29"/>
                <a:gd name="T8" fmla="*/ 12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3 w 15"/>
                <a:gd name="T23" fmla="*/ 0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0"/>
                    <a:pt x="15" y="0"/>
                  </a:cubicBezTo>
                  <a:cubicBezTo>
                    <a:pt x="14" y="3"/>
                    <a:pt x="14" y="3"/>
                    <a:pt x="14" y="3"/>
                  </a:cubicBezTo>
                  <a:cubicBezTo>
                    <a:pt x="14" y="3"/>
                    <a:pt x="13" y="3"/>
                    <a:pt x="12" y="3"/>
                  </a:cubicBezTo>
                  <a:cubicBezTo>
                    <a:pt x="12" y="3"/>
                    <a:pt x="10" y="3"/>
                    <a:pt x="9" y="3"/>
                  </a:cubicBezTo>
                  <a:cubicBezTo>
                    <a:pt x="7" y="3"/>
                    <a:pt x="6" y="3"/>
                    <a:pt x="5" y="3"/>
                  </a:cubicBezTo>
                  <a:cubicBezTo>
                    <a:pt x="4" y="3"/>
                    <a:pt x="3" y="4"/>
                    <a:pt x="3" y="4"/>
                  </a:cubicBezTo>
                  <a:cubicBezTo>
                    <a:pt x="3" y="29"/>
                    <a:pt x="3" y="29"/>
                    <a:pt x="3" y="29"/>
                  </a:cubicBezTo>
                  <a:cubicBezTo>
                    <a:pt x="0" y="29"/>
                    <a:pt x="0" y="29"/>
                    <a:pt x="0" y="29"/>
                  </a:cubicBezTo>
                  <a:cubicBezTo>
                    <a:pt x="0" y="1"/>
                    <a:pt x="0" y="1"/>
                    <a:pt x="0" y="1"/>
                  </a:cubicBezTo>
                  <a:cubicBezTo>
                    <a:pt x="0" y="1"/>
                    <a:pt x="2" y="1"/>
                    <a:pt x="3" y="0"/>
                  </a:cubicBezTo>
                  <a:cubicBezTo>
                    <a:pt x="5" y="0"/>
                    <a:pt x="7" y="0"/>
                    <a:pt x="9"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29"/>
            <p:cNvSpPr>
              <a:spLocks/>
            </p:cNvSpPr>
            <p:nvPr/>
          </p:nvSpPr>
          <p:spPr bwMode="auto">
            <a:xfrm>
              <a:off x="5413377" y="7107308"/>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0" name="Group 609"/>
          <p:cNvGrpSpPr/>
          <p:nvPr/>
        </p:nvGrpSpPr>
        <p:grpSpPr>
          <a:xfrm>
            <a:off x="6732191" y="6185909"/>
            <a:ext cx="153988" cy="92076"/>
            <a:chOff x="6403977" y="7104133"/>
            <a:chExt cx="153988" cy="92076"/>
          </a:xfrm>
        </p:grpSpPr>
        <p:sp>
          <p:nvSpPr>
            <p:cNvPr id="243" name="Freeform 230"/>
            <p:cNvSpPr>
              <a:spLocks/>
            </p:cNvSpPr>
            <p:nvPr/>
          </p:nvSpPr>
          <p:spPr bwMode="auto">
            <a:xfrm>
              <a:off x="6403977" y="7104133"/>
              <a:ext cx="52388" cy="71438"/>
            </a:xfrm>
            <a:custGeom>
              <a:avLst/>
              <a:gdLst>
                <a:gd name="T0" fmla="*/ 33 w 33"/>
                <a:gd name="T1" fmla="*/ 0 h 45"/>
                <a:gd name="T2" fmla="*/ 33 w 33"/>
                <a:gd name="T3" fmla="*/ 5 h 45"/>
                <a:gd name="T4" fmla="*/ 18 w 33"/>
                <a:gd name="T5" fmla="*/ 5 h 45"/>
                <a:gd name="T6" fmla="*/ 18 w 33"/>
                <a:gd name="T7" fmla="*/ 45 h 45"/>
                <a:gd name="T8" fmla="*/ 15 w 33"/>
                <a:gd name="T9" fmla="*/ 45 h 45"/>
                <a:gd name="T10" fmla="*/ 15 w 33"/>
                <a:gd name="T11" fmla="*/ 5 h 45"/>
                <a:gd name="T12" fmla="*/ 0 w 33"/>
                <a:gd name="T13" fmla="*/ 5 h 45"/>
                <a:gd name="T14" fmla="*/ 0 w 33"/>
                <a:gd name="T15" fmla="*/ 0 h 45"/>
                <a:gd name="T16" fmla="*/ 33 w 3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5">
                  <a:moveTo>
                    <a:pt x="33" y="0"/>
                  </a:moveTo>
                  <a:lnTo>
                    <a:pt x="33" y="5"/>
                  </a:lnTo>
                  <a:lnTo>
                    <a:pt x="18" y="5"/>
                  </a:lnTo>
                  <a:lnTo>
                    <a:pt x="18" y="45"/>
                  </a:lnTo>
                  <a:lnTo>
                    <a:pt x="15" y="45"/>
                  </a:lnTo>
                  <a:lnTo>
                    <a:pt x="15" y="5"/>
                  </a:lnTo>
                  <a:lnTo>
                    <a:pt x="0" y="5"/>
                  </a:lnTo>
                  <a:lnTo>
                    <a:pt x="0" y="0"/>
                  </a:lnTo>
                  <a:lnTo>
                    <a:pt x="3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31"/>
            <p:cNvSpPr>
              <a:spLocks noEditPoints="1"/>
            </p:cNvSpPr>
            <p:nvPr/>
          </p:nvSpPr>
          <p:spPr bwMode="auto">
            <a:xfrm>
              <a:off x="6459540" y="7121596"/>
              <a:ext cx="39688"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3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19"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4" y="14"/>
                    <a:pt x="5" y="14"/>
                    <a:pt x="7" y="13"/>
                  </a:cubicBezTo>
                  <a:cubicBezTo>
                    <a:pt x="8" y="13"/>
                    <a:pt x="10" y="13"/>
                    <a:pt x="12" y="13"/>
                  </a:cubicBezTo>
                  <a:cubicBezTo>
                    <a:pt x="12" y="13"/>
                    <a:pt x="13" y="13"/>
                    <a:pt x="13"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5"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32"/>
            <p:cNvSpPr>
              <a:spLocks noEditPoints="1"/>
            </p:cNvSpPr>
            <p:nvPr/>
          </p:nvSpPr>
          <p:spPr bwMode="auto">
            <a:xfrm>
              <a:off x="6513515" y="7123183"/>
              <a:ext cx="44450" cy="73026"/>
            </a:xfrm>
            <a:custGeom>
              <a:avLst/>
              <a:gdLst>
                <a:gd name="T0" fmla="*/ 20 w 24"/>
                <a:gd name="T1" fmla="*/ 26 h 40"/>
                <a:gd name="T2" fmla="*/ 19 w 24"/>
                <a:gd name="T3" fmla="*/ 26 h 40"/>
                <a:gd name="T4" fmla="*/ 18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1 w 24"/>
                <a:gd name="T19" fmla="*/ 8 h 40"/>
                <a:gd name="T20" fmla="*/ 3 w 24"/>
                <a:gd name="T21" fmla="*/ 4 h 40"/>
                <a:gd name="T22" fmla="*/ 8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8" y="27"/>
                  </a:cubicBezTo>
                  <a:cubicBezTo>
                    <a:pt x="17" y="27"/>
                    <a:pt x="16" y="28"/>
                    <a:pt x="15" y="28"/>
                  </a:cubicBezTo>
                  <a:cubicBezTo>
                    <a:pt x="14" y="28"/>
                    <a:pt x="14"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1" y="8"/>
                  </a:cubicBezTo>
                  <a:cubicBezTo>
                    <a:pt x="1" y="6"/>
                    <a:pt x="2" y="5"/>
                    <a:pt x="3" y="4"/>
                  </a:cubicBezTo>
                  <a:cubicBezTo>
                    <a:pt x="4" y="2"/>
                    <a:pt x="6" y="1"/>
                    <a:pt x="8"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20"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7"/>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2" name="Group 611"/>
          <p:cNvGrpSpPr/>
          <p:nvPr/>
        </p:nvGrpSpPr>
        <p:grpSpPr>
          <a:xfrm>
            <a:off x="9069591" y="6185909"/>
            <a:ext cx="295275" cy="92076"/>
            <a:chOff x="8650291" y="7104133"/>
            <a:chExt cx="295275" cy="92076"/>
          </a:xfrm>
        </p:grpSpPr>
        <p:sp>
          <p:nvSpPr>
            <p:cNvPr id="46" name="Freeform 233"/>
            <p:cNvSpPr>
              <a:spLocks/>
            </p:cNvSpPr>
            <p:nvPr/>
          </p:nvSpPr>
          <p:spPr bwMode="auto">
            <a:xfrm>
              <a:off x="8650291" y="7104133"/>
              <a:ext cx="53975" cy="71438"/>
            </a:xfrm>
            <a:custGeom>
              <a:avLst/>
              <a:gdLst>
                <a:gd name="T0" fmla="*/ 34 w 34"/>
                <a:gd name="T1" fmla="*/ 0 h 45"/>
                <a:gd name="T2" fmla="*/ 34 w 34"/>
                <a:gd name="T3" fmla="*/ 5 h 45"/>
                <a:gd name="T4" fmla="*/ 19 w 34"/>
                <a:gd name="T5" fmla="*/ 5 h 45"/>
                <a:gd name="T6" fmla="*/ 19 w 34"/>
                <a:gd name="T7" fmla="*/ 45 h 45"/>
                <a:gd name="T8" fmla="*/ 15 w 34"/>
                <a:gd name="T9" fmla="*/ 45 h 45"/>
                <a:gd name="T10" fmla="*/ 15 w 34"/>
                <a:gd name="T11" fmla="*/ 5 h 45"/>
                <a:gd name="T12" fmla="*/ 0 w 34"/>
                <a:gd name="T13" fmla="*/ 5 h 45"/>
                <a:gd name="T14" fmla="*/ 0 w 34"/>
                <a:gd name="T15" fmla="*/ 0 h 45"/>
                <a:gd name="T16" fmla="*/ 34 w 34"/>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5">
                  <a:moveTo>
                    <a:pt x="34" y="0"/>
                  </a:moveTo>
                  <a:lnTo>
                    <a:pt x="34" y="5"/>
                  </a:lnTo>
                  <a:lnTo>
                    <a:pt x="19" y="5"/>
                  </a:lnTo>
                  <a:lnTo>
                    <a:pt x="19" y="45"/>
                  </a:lnTo>
                  <a:lnTo>
                    <a:pt x="15" y="45"/>
                  </a:lnTo>
                  <a:lnTo>
                    <a:pt x="15" y="5"/>
                  </a:lnTo>
                  <a:lnTo>
                    <a:pt x="0" y="5"/>
                  </a:lnTo>
                  <a:lnTo>
                    <a:pt x="0" y="0"/>
                  </a:lnTo>
                  <a:lnTo>
                    <a:pt x="3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34"/>
            <p:cNvSpPr>
              <a:spLocks noEditPoints="1"/>
            </p:cNvSpPr>
            <p:nvPr/>
          </p:nvSpPr>
          <p:spPr bwMode="auto">
            <a:xfrm>
              <a:off x="8707441" y="7121596"/>
              <a:ext cx="38100"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0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3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19"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0"/>
                    <a:pt x="6" y="30"/>
                  </a:cubicBezTo>
                  <a:cubicBezTo>
                    <a:pt x="5" y="30"/>
                    <a:pt x="4" y="29"/>
                    <a:pt x="3" y="29"/>
                  </a:cubicBezTo>
                  <a:cubicBezTo>
                    <a:pt x="2" y="28"/>
                    <a:pt x="1" y="27"/>
                    <a:pt x="0" y="26"/>
                  </a:cubicBezTo>
                  <a:cubicBezTo>
                    <a:pt x="0" y="25"/>
                    <a:pt x="0" y="23"/>
                    <a:pt x="0" y="22"/>
                  </a:cubicBezTo>
                  <a:cubicBezTo>
                    <a:pt x="0" y="20"/>
                    <a:pt x="0" y="19"/>
                    <a:pt x="1" y="18"/>
                  </a:cubicBezTo>
                  <a:cubicBezTo>
                    <a:pt x="1" y="16"/>
                    <a:pt x="2" y="15"/>
                    <a:pt x="3" y="15"/>
                  </a:cubicBezTo>
                  <a:cubicBezTo>
                    <a:pt x="4" y="14"/>
                    <a:pt x="5" y="14"/>
                    <a:pt x="7" y="13"/>
                  </a:cubicBezTo>
                  <a:cubicBezTo>
                    <a:pt x="8" y="13"/>
                    <a:pt x="10" y="13"/>
                    <a:pt x="12" y="13"/>
                  </a:cubicBezTo>
                  <a:cubicBezTo>
                    <a:pt x="12" y="13"/>
                    <a:pt x="13" y="13"/>
                    <a:pt x="13"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4"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35"/>
            <p:cNvSpPr>
              <a:spLocks/>
            </p:cNvSpPr>
            <p:nvPr/>
          </p:nvSpPr>
          <p:spPr bwMode="auto">
            <a:xfrm>
              <a:off x="8763003" y="7123183"/>
              <a:ext cx="28575" cy="52388"/>
            </a:xfrm>
            <a:custGeom>
              <a:avLst/>
              <a:gdLst>
                <a:gd name="T0" fmla="*/ 10 w 16"/>
                <a:gd name="T1" fmla="*/ 0 h 29"/>
                <a:gd name="T2" fmla="*/ 14 w 16"/>
                <a:gd name="T3" fmla="*/ 0 h 29"/>
                <a:gd name="T4" fmla="*/ 16 w 16"/>
                <a:gd name="T5" fmla="*/ 0 h 29"/>
                <a:gd name="T6" fmla="*/ 15 w 16"/>
                <a:gd name="T7" fmla="*/ 3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1 h 29"/>
                <a:gd name="T22" fmla="*/ 4 w 16"/>
                <a:gd name="T23" fmla="*/ 0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4" y="0"/>
                  </a:cubicBezTo>
                  <a:cubicBezTo>
                    <a:pt x="15" y="0"/>
                    <a:pt x="15" y="0"/>
                    <a:pt x="16" y="0"/>
                  </a:cubicBezTo>
                  <a:cubicBezTo>
                    <a:pt x="15" y="3"/>
                    <a:pt x="15" y="3"/>
                    <a:pt x="15" y="3"/>
                  </a:cubicBezTo>
                  <a:cubicBezTo>
                    <a:pt x="15" y="3"/>
                    <a:pt x="14" y="3"/>
                    <a:pt x="13" y="3"/>
                  </a:cubicBezTo>
                  <a:cubicBezTo>
                    <a:pt x="12" y="3"/>
                    <a:pt x="11" y="3"/>
                    <a:pt x="10" y="3"/>
                  </a:cubicBezTo>
                  <a:cubicBezTo>
                    <a:pt x="8" y="3"/>
                    <a:pt x="7" y="3"/>
                    <a:pt x="6" y="3"/>
                  </a:cubicBezTo>
                  <a:cubicBezTo>
                    <a:pt x="5" y="3"/>
                    <a:pt x="4" y="4"/>
                    <a:pt x="4" y="4"/>
                  </a:cubicBezTo>
                  <a:cubicBezTo>
                    <a:pt x="4" y="29"/>
                    <a:pt x="4" y="29"/>
                    <a:pt x="4" y="29"/>
                  </a:cubicBezTo>
                  <a:cubicBezTo>
                    <a:pt x="0" y="29"/>
                    <a:pt x="0" y="29"/>
                    <a:pt x="0" y="29"/>
                  </a:cubicBezTo>
                  <a:cubicBezTo>
                    <a:pt x="0" y="1"/>
                    <a:pt x="0" y="1"/>
                    <a:pt x="0" y="1"/>
                  </a:cubicBezTo>
                  <a:cubicBezTo>
                    <a:pt x="1" y="1"/>
                    <a:pt x="3" y="1"/>
                    <a:pt x="4" y="0"/>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36"/>
            <p:cNvSpPr>
              <a:spLocks noEditPoints="1"/>
            </p:cNvSpPr>
            <p:nvPr/>
          </p:nvSpPr>
          <p:spPr bwMode="auto">
            <a:xfrm>
              <a:off x="8799516" y="7123183"/>
              <a:ext cx="44450" cy="73026"/>
            </a:xfrm>
            <a:custGeom>
              <a:avLst/>
              <a:gdLst>
                <a:gd name="T0" fmla="*/ 20 w 24"/>
                <a:gd name="T1" fmla="*/ 26 h 40"/>
                <a:gd name="T2" fmla="*/ 19 w 24"/>
                <a:gd name="T3" fmla="*/ 26 h 40"/>
                <a:gd name="T4" fmla="*/ 17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0 w 24"/>
                <a:gd name="T19" fmla="*/ 8 h 40"/>
                <a:gd name="T20" fmla="*/ 3 w 24"/>
                <a:gd name="T21" fmla="*/ 4 h 40"/>
                <a:gd name="T22" fmla="*/ 7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7" y="27"/>
                  </a:cubicBezTo>
                  <a:cubicBezTo>
                    <a:pt x="17" y="27"/>
                    <a:pt x="16" y="28"/>
                    <a:pt x="15" y="28"/>
                  </a:cubicBezTo>
                  <a:cubicBezTo>
                    <a:pt x="14" y="28"/>
                    <a:pt x="13"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0" y="8"/>
                  </a:cubicBezTo>
                  <a:cubicBezTo>
                    <a:pt x="1" y="6"/>
                    <a:pt x="2" y="5"/>
                    <a:pt x="3" y="4"/>
                  </a:cubicBezTo>
                  <a:cubicBezTo>
                    <a:pt x="4" y="2"/>
                    <a:pt x="6" y="1"/>
                    <a:pt x="7"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19"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7"/>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37"/>
            <p:cNvSpPr>
              <a:spLocks noEditPoints="1"/>
            </p:cNvSpPr>
            <p:nvPr/>
          </p:nvSpPr>
          <p:spPr bwMode="auto">
            <a:xfrm>
              <a:off x="8858253" y="7121596"/>
              <a:ext cx="42863"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3 w 24"/>
                <a:gd name="T19" fmla="*/ 16 h 31"/>
                <a:gd name="T20" fmla="*/ 6 w 24"/>
                <a:gd name="T21" fmla="*/ 24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3" y="16"/>
                    <a:pt x="3" y="16"/>
                    <a:pt x="3" y="16"/>
                  </a:cubicBezTo>
                  <a:cubicBezTo>
                    <a:pt x="4" y="20"/>
                    <a:pt x="4" y="23"/>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30"/>
                    <a:pt x="19" y="30"/>
                  </a:cubicBezTo>
                  <a:cubicBezTo>
                    <a:pt x="17"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4"/>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38"/>
            <p:cNvSpPr>
              <a:spLocks/>
            </p:cNvSpPr>
            <p:nvPr/>
          </p:nvSpPr>
          <p:spPr bwMode="auto">
            <a:xfrm>
              <a:off x="8916991" y="7107308"/>
              <a:ext cx="28575"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4" y="31"/>
                    <a:pt x="4" y="32"/>
                  </a:cubicBezTo>
                  <a:cubicBezTo>
                    <a:pt x="4" y="33"/>
                    <a:pt x="5" y="33"/>
                    <a:pt x="5" y="34"/>
                  </a:cubicBezTo>
                  <a:cubicBezTo>
                    <a:pt x="6" y="34"/>
                    <a:pt x="6" y="35"/>
                    <a:pt x="7" y="35"/>
                  </a:cubicBezTo>
                  <a:cubicBezTo>
                    <a:pt x="8" y="35"/>
                    <a:pt x="9" y="35"/>
                    <a:pt x="9" y="35"/>
                  </a:cubicBezTo>
                  <a:cubicBezTo>
                    <a:pt x="11" y="35"/>
                    <a:pt x="12" y="35"/>
                    <a:pt x="13" y="35"/>
                  </a:cubicBezTo>
                  <a:cubicBezTo>
                    <a:pt x="14" y="34"/>
                    <a:pt x="15" y="34"/>
                    <a:pt x="15" y="34"/>
                  </a:cubicBezTo>
                  <a:cubicBezTo>
                    <a:pt x="16" y="37"/>
                    <a:pt x="16" y="37"/>
                    <a:pt x="16" y="37"/>
                  </a:cubicBezTo>
                  <a:cubicBezTo>
                    <a:pt x="16" y="37"/>
                    <a:pt x="15" y="38"/>
                    <a:pt x="13" y="38"/>
                  </a:cubicBezTo>
                  <a:cubicBezTo>
                    <a:pt x="12" y="38"/>
                    <a:pt x="11" y="39"/>
                    <a:pt x="9" y="39"/>
                  </a:cubicBezTo>
                  <a:cubicBezTo>
                    <a:pt x="7" y="39"/>
                    <a:pt x="6" y="38"/>
                    <a:pt x="5" y="38"/>
                  </a:cubicBezTo>
                  <a:cubicBezTo>
                    <a:pt x="3" y="37"/>
                    <a:pt x="3" y="37"/>
                    <a:pt x="2" y="36"/>
                  </a:cubicBezTo>
                  <a:cubicBezTo>
                    <a:pt x="1" y="35"/>
                    <a:pt x="1"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3" name="Group 612"/>
          <p:cNvGrpSpPr/>
          <p:nvPr/>
        </p:nvGrpSpPr>
        <p:grpSpPr>
          <a:xfrm>
            <a:off x="10324891" y="6185909"/>
            <a:ext cx="244476" cy="80964"/>
            <a:chOff x="9902828" y="7097783"/>
            <a:chExt cx="244476" cy="80964"/>
          </a:xfrm>
        </p:grpSpPr>
        <p:sp>
          <p:nvSpPr>
            <p:cNvPr id="83" name="Freeform 239"/>
            <p:cNvSpPr>
              <a:spLocks/>
            </p:cNvSpPr>
            <p:nvPr/>
          </p:nvSpPr>
          <p:spPr bwMode="auto">
            <a:xfrm>
              <a:off x="9902828" y="7102546"/>
              <a:ext cx="52388" cy="76201"/>
            </a:xfrm>
            <a:custGeom>
              <a:avLst/>
              <a:gdLst>
                <a:gd name="T0" fmla="*/ 18 w 29"/>
                <a:gd name="T1" fmla="*/ 41 h 41"/>
                <a:gd name="T2" fmla="*/ 11 w 29"/>
                <a:gd name="T3" fmla="*/ 40 h 41"/>
                <a:gd name="T4" fmla="*/ 5 w 29"/>
                <a:gd name="T5" fmla="*/ 36 h 41"/>
                <a:gd name="T6" fmla="*/ 1 w 29"/>
                <a:gd name="T7" fmla="*/ 29 h 41"/>
                <a:gd name="T8" fmla="*/ 0 w 29"/>
                <a:gd name="T9" fmla="*/ 21 h 41"/>
                <a:gd name="T10" fmla="*/ 2 w 29"/>
                <a:gd name="T11" fmla="*/ 12 h 41"/>
                <a:gd name="T12" fmla="*/ 5 w 29"/>
                <a:gd name="T13" fmla="*/ 6 h 41"/>
                <a:gd name="T14" fmla="*/ 11 w 29"/>
                <a:gd name="T15" fmla="*/ 2 h 41"/>
                <a:gd name="T16" fmla="*/ 18 w 29"/>
                <a:gd name="T17" fmla="*/ 0 h 41"/>
                <a:gd name="T18" fmla="*/ 22 w 29"/>
                <a:gd name="T19" fmla="*/ 1 h 41"/>
                <a:gd name="T20" fmla="*/ 25 w 29"/>
                <a:gd name="T21" fmla="*/ 1 h 41"/>
                <a:gd name="T22" fmla="*/ 27 w 29"/>
                <a:gd name="T23" fmla="*/ 2 h 41"/>
                <a:gd name="T24" fmla="*/ 29 w 29"/>
                <a:gd name="T25" fmla="*/ 3 h 41"/>
                <a:gd name="T26" fmla="*/ 28 w 29"/>
                <a:gd name="T27" fmla="*/ 6 h 41"/>
                <a:gd name="T28" fmla="*/ 24 w 29"/>
                <a:gd name="T29" fmla="*/ 5 h 41"/>
                <a:gd name="T30" fmla="*/ 19 w 29"/>
                <a:gd name="T31" fmla="*/ 4 h 41"/>
                <a:gd name="T32" fmla="*/ 12 w 29"/>
                <a:gd name="T33" fmla="*/ 5 h 41"/>
                <a:gd name="T34" fmla="*/ 8 w 29"/>
                <a:gd name="T35" fmla="*/ 8 h 41"/>
                <a:gd name="T36" fmla="*/ 5 w 29"/>
                <a:gd name="T37" fmla="*/ 14 h 41"/>
                <a:gd name="T38" fmla="*/ 4 w 29"/>
                <a:gd name="T39" fmla="*/ 21 h 41"/>
                <a:gd name="T40" fmla="*/ 5 w 29"/>
                <a:gd name="T41" fmla="*/ 28 h 41"/>
                <a:gd name="T42" fmla="*/ 8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8 w 29"/>
                <a:gd name="T55" fmla="*/ 39 h 41"/>
                <a:gd name="T56" fmla="*/ 25 w 29"/>
                <a:gd name="T57" fmla="*/ 40 h 41"/>
                <a:gd name="T58" fmla="*/ 22 w 29"/>
                <a:gd name="T59" fmla="*/ 41 h 41"/>
                <a:gd name="T60" fmla="*/ 18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8" y="41"/>
                  </a:moveTo>
                  <a:cubicBezTo>
                    <a:pt x="15" y="41"/>
                    <a:pt x="13" y="40"/>
                    <a:pt x="11" y="40"/>
                  </a:cubicBezTo>
                  <a:cubicBezTo>
                    <a:pt x="9" y="39"/>
                    <a:pt x="7" y="37"/>
                    <a:pt x="5" y="36"/>
                  </a:cubicBezTo>
                  <a:cubicBezTo>
                    <a:pt x="4" y="34"/>
                    <a:pt x="2" y="32"/>
                    <a:pt x="1" y="29"/>
                  </a:cubicBezTo>
                  <a:cubicBezTo>
                    <a:pt x="0" y="27"/>
                    <a:pt x="0" y="24"/>
                    <a:pt x="0" y="21"/>
                  </a:cubicBezTo>
                  <a:cubicBezTo>
                    <a:pt x="0" y="17"/>
                    <a:pt x="1" y="14"/>
                    <a:pt x="2" y="12"/>
                  </a:cubicBezTo>
                  <a:cubicBezTo>
                    <a:pt x="3" y="9"/>
                    <a:pt x="4" y="7"/>
                    <a:pt x="5" y="6"/>
                  </a:cubicBezTo>
                  <a:cubicBezTo>
                    <a:pt x="7" y="4"/>
                    <a:pt x="9" y="3"/>
                    <a:pt x="11" y="2"/>
                  </a:cubicBezTo>
                  <a:cubicBezTo>
                    <a:pt x="13" y="1"/>
                    <a:pt x="16" y="0"/>
                    <a:pt x="18" y="0"/>
                  </a:cubicBezTo>
                  <a:cubicBezTo>
                    <a:pt x="19" y="0"/>
                    <a:pt x="21" y="0"/>
                    <a:pt x="22" y="1"/>
                  </a:cubicBezTo>
                  <a:cubicBezTo>
                    <a:pt x="23" y="1"/>
                    <a:pt x="24" y="1"/>
                    <a:pt x="25" y="1"/>
                  </a:cubicBezTo>
                  <a:cubicBezTo>
                    <a:pt x="26" y="2"/>
                    <a:pt x="27" y="2"/>
                    <a:pt x="27" y="2"/>
                  </a:cubicBezTo>
                  <a:cubicBezTo>
                    <a:pt x="28" y="2"/>
                    <a:pt x="28" y="3"/>
                    <a:pt x="29" y="3"/>
                  </a:cubicBezTo>
                  <a:cubicBezTo>
                    <a:pt x="28" y="6"/>
                    <a:pt x="28" y="6"/>
                    <a:pt x="28" y="6"/>
                  </a:cubicBezTo>
                  <a:cubicBezTo>
                    <a:pt x="27" y="6"/>
                    <a:pt x="25" y="5"/>
                    <a:pt x="24" y="5"/>
                  </a:cubicBezTo>
                  <a:cubicBezTo>
                    <a:pt x="23" y="4"/>
                    <a:pt x="21" y="4"/>
                    <a:pt x="19" y="4"/>
                  </a:cubicBezTo>
                  <a:cubicBezTo>
                    <a:pt x="16" y="4"/>
                    <a:pt x="14" y="4"/>
                    <a:pt x="12" y="5"/>
                  </a:cubicBezTo>
                  <a:cubicBezTo>
                    <a:pt x="11" y="6"/>
                    <a:pt x="9" y="7"/>
                    <a:pt x="8" y="8"/>
                  </a:cubicBezTo>
                  <a:cubicBezTo>
                    <a:pt x="7" y="10"/>
                    <a:pt x="6" y="12"/>
                    <a:pt x="5" y="14"/>
                  </a:cubicBezTo>
                  <a:cubicBezTo>
                    <a:pt x="4" y="16"/>
                    <a:pt x="4" y="18"/>
                    <a:pt x="4" y="21"/>
                  </a:cubicBezTo>
                  <a:cubicBezTo>
                    <a:pt x="4" y="23"/>
                    <a:pt x="4" y="26"/>
                    <a:pt x="5" y="28"/>
                  </a:cubicBezTo>
                  <a:cubicBezTo>
                    <a:pt x="6" y="30"/>
                    <a:pt x="7" y="31"/>
                    <a:pt x="8" y="33"/>
                  </a:cubicBezTo>
                  <a:cubicBezTo>
                    <a:pt x="9" y="34"/>
                    <a:pt x="10" y="35"/>
                    <a:pt x="12" y="36"/>
                  </a:cubicBezTo>
                  <a:cubicBezTo>
                    <a:pt x="14" y="37"/>
                    <a:pt x="16" y="37"/>
                    <a:pt x="18" y="37"/>
                  </a:cubicBezTo>
                  <a:cubicBezTo>
                    <a:pt x="21" y="37"/>
                    <a:pt x="23" y="37"/>
                    <a:pt x="24" y="37"/>
                  </a:cubicBezTo>
                  <a:cubicBezTo>
                    <a:pt x="26" y="36"/>
                    <a:pt x="27" y="36"/>
                    <a:pt x="28" y="35"/>
                  </a:cubicBezTo>
                  <a:cubicBezTo>
                    <a:pt x="29" y="39"/>
                    <a:pt x="29" y="39"/>
                    <a:pt x="29" y="39"/>
                  </a:cubicBezTo>
                  <a:cubicBezTo>
                    <a:pt x="29" y="39"/>
                    <a:pt x="28" y="39"/>
                    <a:pt x="28" y="39"/>
                  </a:cubicBezTo>
                  <a:cubicBezTo>
                    <a:pt x="27" y="39"/>
                    <a:pt x="26" y="40"/>
                    <a:pt x="25" y="40"/>
                  </a:cubicBezTo>
                  <a:cubicBezTo>
                    <a:pt x="24" y="40"/>
                    <a:pt x="23" y="40"/>
                    <a:pt x="22" y="41"/>
                  </a:cubicBezTo>
                  <a:cubicBezTo>
                    <a:pt x="21" y="41"/>
                    <a:pt x="19" y="41"/>
                    <a:pt x="18"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40"/>
            <p:cNvSpPr>
              <a:spLocks/>
            </p:cNvSpPr>
            <p:nvPr/>
          </p:nvSpPr>
          <p:spPr bwMode="auto">
            <a:xfrm>
              <a:off x="9966328" y="7097783"/>
              <a:ext cx="42863" cy="77788"/>
            </a:xfrm>
            <a:custGeom>
              <a:avLst/>
              <a:gdLst>
                <a:gd name="T0" fmla="*/ 0 w 23"/>
                <a:gd name="T1" fmla="*/ 43 h 43"/>
                <a:gd name="T2" fmla="*/ 0 w 23"/>
                <a:gd name="T3" fmla="*/ 0 h 43"/>
                <a:gd name="T4" fmla="*/ 4 w 23"/>
                <a:gd name="T5" fmla="*/ 0 h 43"/>
                <a:gd name="T6" fmla="*/ 4 w 23"/>
                <a:gd name="T7" fmla="*/ 15 h 43"/>
                <a:gd name="T8" fmla="*/ 8 w 23"/>
                <a:gd name="T9" fmla="*/ 14 h 43"/>
                <a:gd name="T10" fmla="*/ 11 w 23"/>
                <a:gd name="T11" fmla="*/ 14 h 43"/>
                <a:gd name="T12" fmla="*/ 17 w 23"/>
                <a:gd name="T13" fmla="*/ 14 h 43"/>
                <a:gd name="T14" fmla="*/ 21 w 23"/>
                <a:gd name="T15" fmla="*/ 17 h 43"/>
                <a:gd name="T16" fmla="*/ 23 w 23"/>
                <a:gd name="T17" fmla="*/ 21 h 43"/>
                <a:gd name="T18" fmla="*/ 23 w 23"/>
                <a:gd name="T19" fmla="*/ 27 h 43"/>
                <a:gd name="T20" fmla="*/ 23 w 23"/>
                <a:gd name="T21" fmla="*/ 43 h 43"/>
                <a:gd name="T22" fmla="*/ 19 w 23"/>
                <a:gd name="T23" fmla="*/ 43 h 43"/>
                <a:gd name="T24" fmla="*/ 19 w 23"/>
                <a:gd name="T25" fmla="*/ 28 h 43"/>
                <a:gd name="T26" fmla="*/ 19 w 23"/>
                <a:gd name="T27" fmla="*/ 23 h 43"/>
                <a:gd name="T28" fmla="*/ 18 w 23"/>
                <a:gd name="T29" fmla="*/ 19 h 43"/>
                <a:gd name="T30" fmla="*/ 15 w 23"/>
                <a:gd name="T31" fmla="*/ 17 h 43"/>
                <a:gd name="T32" fmla="*/ 11 w 23"/>
                <a:gd name="T33" fmla="*/ 17 h 43"/>
                <a:gd name="T34" fmla="*/ 9 w 23"/>
                <a:gd name="T35" fmla="*/ 17 h 43"/>
                <a:gd name="T36" fmla="*/ 7 w 23"/>
                <a:gd name="T37" fmla="*/ 17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0"/>
                    <a:pt x="0" y="0"/>
                    <a:pt x="0" y="0"/>
                  </a:cubicBezTo>
                  <a:cubicBezTo>
                    <a:pt x="4" y="0"/>
                    <a:pt x="4" y="0"/>
                    <a:pt x="4" y="0"/>
                  </a:cubicBezTo>
                  <a:cubicBezTo>
                    <a:pt x="4" y="15"/>
                    <a:pt x="4" y="15"/>
                    <a:pt x="4" y="15"/>
                  </a:cubicBezTo>
                  <a:cubicBezTo>
                    <a:pt x="5" y="14"/>
                    <a:pt x="7" y="14"/>
                    <a:pt x="8" y="14"/>
                  </a:cubicBezTo>
                  <a:cubicBezTo>
                    <a:pt x="9" y="14"/>
                    <a:pt x="10" y="14"/>
                    <a:pt x="11" y="14"/>
                  </a:cubicBezTo>
                  <a:cubicBezTo>
                    <a:pt x="14" y="14"/>
                    <a:pt x="16" y="14"/>
                    <a:pt x="17" y="14"/>
                  </a:cubicBezTo>
                  <a:cubicBezTo>
                    <a:pt x="19" y="15"/>
                    <a:pt x="20" y="16"/>
                    <a:pt x="21" y="17"/>
                  </a:cubicBezTo>
                  <a:cubicBezTo>
                    <a:pt x="22" y="18"/>
                    <a:pt x="22" y="20"/>
                    <a:pt x="23" y="21"/>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4"/>
                    <a:pt x="19" y="23"/>
                  </a:cubicBezTo>
                  <a:cubicBezTo>
                    <a:pt x="19" y="21"/>
                    <a:pt x="18" y="20"/>
                    <a:pt x="18" y="19"/>
                  </a:cubicBezTo>
                  <a:cubicBezTo>
                    <a:pt x="17" y="18"/>
                    <a:pt x="16" y="18"/>
                    <a:pt x="15" y="17"/>
                  </a:cubicBezTo>
                  <a:cubicBezTo>
                    <a:pt x="14" y="17"/>
                    <a:pt x="13" y="17"/>
                    <a:pt x="11" y="17"/>
                  </a:cubicBezTo>
                  <a:cubicBezTo>
                    <a:pt x="10" y="17"/>
                    <a:pt x="10" y="17"/>
                    <a:pt x="9" y="17"/>
                  </a:cubicBezTo>
                  <a:cubicBezTo>
                    <a:pt x="8" y="17"/>
                    <a:pt x="7" y="17"/>
                    <a:pt x="7" y="17"/>
                  </a:cubicBezTo>
                  <a:cubicBezTo>
                    <a:pt x="6" y="17"/>
                    <a:pt x="6" y="18"/>
                    <a:pt x="5" y="18"/>
                  </a:cubicBezTo>
                  <a:cubicBezTo>
                    <a:pt x="5"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41"/>
            <p:cNvSpPr>
              <a:spLocks noEditPoints="1"/>
            </p:cNvSpPr>
            <p:nvPr/>
          </p:nvSpPr>
          <p:spPr bwMode="auto">
            <a:xfrm>
              <a:off x="10021891" y="7121596"/>
              <a:ext cx="39688" cy="57151"/>
            </a:xfrm>
            <a:custGeom>
              <a:avLst/>
              <a:gdLst>
                <a:gd name="T0" fmla="*/ 11 w 22"/>
                <a:gd name="T1" fmla="*/ 0 h 31"/>
                <a:gd name="T2" fmla="*/ 16 w 22"/>
                <a:gd name="T3" fmla="*/ 1 h 31"/>
                <a:gd name="T4" fmla="*/ 19 w 22"/>
                <a:gd name="T5" fmla="*/ 3 h 31"/>
                <a:gd name="T6" fmla="*/ 21 w 22"/>
                <a:gd name="T7" fmla="*/ 7 h 31"/>
                <a:gd name="T8" fmla="*/ 22 w 22"/>
                <a:gd name="T9" fmla="*/ 11 h 31"/>
                <a:gd name="T10" fmla="*/ 22 w 22"/>
                <a:gd name="T11" fmla="*/ 29 h 31"/>
                <a:gd name="T12" fmla="*/ 20 w 22"/>
                <a:gd name="T13" fmla="*/ 30 h 31"/>
                <a:gd name="T14" fmla="*/ 17 w 22"/>
                <a:gd name="T15" fmla="*/ 30 h 31"/>
                <a:gd name="T16" fmla="*/ 14 w 22"/>
                <a:gd name="T17" fmla="*/ 31 h 31"/>
                <a:gd name="T18" fmla="*/ 11 w 22"/>
                <a:gd name="T19" fmla="*/ 31 h 31"/>
                <a:gd name="T20" fmla="*/ 7 w 22"/>
                <a:gd name="T21" fmla="*/ 30 h 31"/>
                <a:gd name="T22" fmla="*/ 3 w 22"/>
                <a:gd name="T23" fmla="*/ 29 h 31"/>
                <a:gd name="T24" fmla="*/ 1 w 22"/>
                <a:gd name="T25" fmla="*/ 26 h 31"/>
                <a:gd name="T26" fmla="*/ 0 w 22"/>
                <a:gd name="T27" fmla="*/ 22 h 31"/>
                <a:gd name="T28" fmla="*/ 1 w 22"/>
                <a:gd name="T29" fmla="*/ 18 h 31"/>
                <a:gd name="T30" fmla="*/ 4 w 22"/>
                <a:gd name="T31" fmla="*/ 15 h 31"/>
                <a:gd name="T32" fmla="*/ 7 w 22"/>
                <a:gd name="T33" fmla="*/ 13 h 31"/>
                <a:gd name="T34" fmla="*/ 12 w 22"/>
                <a:gd name="T35" fmla="*/ 13 h 31"/>
                <a:gd name="T36" fmla="*/ 14 w 22"/>
                <a:gd name="T37" fmla="*/ 13 h 31"/>
                <a:gd name="T38" fmla="*/ 16 w 22"/>
                <a:gd name="T39" fmla="*/ 13 h 31"/>
                <a:gd name="T40" fmla="*/ 17 w 22"/>
                <a:gd name="T41" fmla="*/ 13 h 31"/>
                <a:gd name="T42" fmla="*/ 18 w 22"/>
                <a:gd name="T43" fmla="*/ 14 h 31"/>
                <a:gd name="T44" fmla="*/ 18 w 22"/>
                <a:gd name="T45" fmla="*/ 12 h 31"/>
                <a:gd name="T46" fmla="*/ 18 w 22"/>
                <a:gd name="T47" fmla="*/ 9 h 31"/>
                <a:gd name="T48" fmla="*/ 17 w 22"/>
                <a:gd name="T49" fmla="*/ 6 h 31"/>
                <a:gd name="T50" fmla="*/ 15 w 22"/>
                <a:gd name="T51" fmla="*/ 4 h 31"/>
                <a:gd name="T52" fmla="*/ 11 w 22"/>
                <a:gd name="T53" fmla="*/ 4 h 31"/>
                <a:gd name="T54" fmla="*/ 6 w 22"/>
                <a:gd name="T55" fmla="*/ 4 h 31"/>
                <a:gd name="T56" fmla="*/ 4 w 22"/>
                <a:gd name="T57" fmla="*/ 5 h 31"/>
                <a:gd name="T58" fmla="*/ 3 w 22"/>
                <a:gd name="T59" fmla="*/ 2 h 31"/>
                <a:gd name="T60" fmla="*/ 6 w 22"/>
                <a:gd name="T61" fmla="*/ 1 h 31"/>
                <a:gd name="T62" fmla="*/ 11 w 22"/>
                <a:gd name="T63" fmla="*/ 0 h 31"/>
                <a:gd name="T64" fmla="*/ 11 w 22"/>
                <a:gd name="T65" fmla="*/ 27 h 31"/>
                <a:gd name="T66" fmla="*/ 15 w 22"/>
                <a:gd name="T67" fmla="*/ 27 h 31"/>
                <a:gd name="T68" fmla="*/ 18 w 22"/>
                <a:gd name="T69" fmla="*/ 27 h 31"/>
                <a:gd name="T70" fmla="*/ 18 w 22"/>
                <a:gd name="T71" fmla="*/ 17 h 31"/>
                <a:gd name="T72" fmla="*/ 16 w 22"/>
                <a:gd name="T73" fmla="*/ 16 h 31"/>
                <a:gd name="T74" fmla="*/ 12 w 22"/>
                <a:gd name="T75" fmla="*/ 16 h 31"/>
                <a:gd name="T76" fmla="*/ 9 w 22"/>
                <a:gd name="T77" fmla="*/ 16 h 31"/>
                <a:gd name="T78" fmla="*/ 7 w 22"/>
                <a:gd name="T79" fmla="*/ 17 h 31"/>
                <a:gd name="T80" fmla="*/ 5 w 22"/>
                <a:gd name="T81" fmla="*/ 19 h 31"/>
                <a:gd name="T82" fmla="*/ 4 w 22"/>
                <a:gd name="T83" fmla="*/ 22 h 31"/>
                <a:gd name="T84" fmla="*/ 4 w 22"/>
                <a:gd name="T85" fmla="*/ 24 h 31"/>
                <a:gd name="T86" fmla="*/ 6 w 22"/>
                <a:gd name="T87" fmla="*/ 26 h 31"/>
                <a:gd name="T88" fmla="*/ 8 w 22"/>
                <a:gd name="T89" fmla="*/ 27 h 31"/>
                <a:gd name="T90" fmla="*/ 11 w 22"/>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1">
                  <a:moveTo>
                    <a:pt x="11" y="0"/>
                  </a:moveTo>
                  <a:cubicBezTo>
                    <a:pt x="13" y="0"/>
                    <a:pt x="15" y="1"/>
                    <a:pt x="16" y="1"/>
                  </a:cubicBezTo>
                  <a:cubicBezTo>
                    <a:pt x="17" y="2"/>
                    <a:pt x="18" y="3"/>
                    <a:pt x="19" y="3"/>
                  </a:cubicBezTo>
                  <a:cubicBezTo>
                    <a:pt x="20" y="4"/>
                    <a:pt x="21" y="6"/>
                    <a:pt x="21" y="7"/>
                  </a:cubicBezTo>
                  <a:cubicBezTo>
                    <a:pt x="21" y="8"/>
                    <a:pt x="22" y="10"/>
                    <a:pt x="22" y="11"/>
                  </a:cubicBezTo>
                  <a:cubicBezTo>
                    <a:pt x="22" y="29"/>
                    <a:pt x="22" y="29"/>
                    <a:pt x="22" y="29"/>
                  </a:cubicBezTo>
                  <a:cubicBezTo>
                    <a:pt x="21" y="29"/>
                    <a:pt x="21" y="30"/>
                    <a:pt x="20" y="30"/>
                  </a:cubicBezTo>
                  <a:cubicBezTo>
                    <a:pt x="19" y="30"/>
                    <a:pt x="18" y="30"/>
                    <a:pt x="17" y="30"/>
                  </a:cubicBezTo>
                  <a:cubicBezTo>
                    <a:pt x="17" y="30"/>
                    <a:pt x="15" y="30"/>
                    <a:pt x="14" y="31"/>
                  </a:cubicBezTo>
                  <a:cubicBezTo>
                    <a:pt x="13" y="31"/>
                    <a:pt x="12" y="31"/>
                    <a:pt x="11" y="31"/>
                  </a:cubicBezTo>
                  <a:cubicBezTo>
                    <a:pt x="9" y="31"/>
                    <a:pt x="8" y="30"/>
                    <a:pt x="7" y="30"/>
                  </a:cubicBezTo>
                  <a:cubicBezTo>
                    <a:pt x="5" y="30"/>
                    <a:pt x="4" y="29"/>
                    <a:pt x="3" y="29"/>
                  </a:cubicBezTo>
                  <a:cubicBezTo>
                    <a:pt x="2" y="28"/>
                    <a:pt x="2" y="27"/>
                    <a:pt x="1" y="26"/>
                  </a:cubicBezTo>
                  <a:cubicBezTo>
                    <a:pt x="0" y="25"/>
                    <a:pt x="0" y="23"/>
                    <a:pt x="0" y="22"/>
                  </a:cubicBezTo>
                  <a:cubicBezTo>
                    <a:pt x="0" y="20"/>
                    <a:pt x="1" y="19"/>
                    <a:pt x="1" y="18"/>
                  </a:cubicBezTo>
                  <a:cubicBezTo>
                    <a:pt x="2" y="16"/>
                    <a:pt x="3" y="15"/>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8" y="8"/>
                    <a:pt x="17" y="7"/>
                    <a:pt x="17" y="6"/>
                  </a:cubicBezTo>
                  <a:cubicBezTo>
                    <a:pt x="16" y="5"/>
                    <a:pt x="15" y="5"/>
                    <a:pt x="15"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8"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242"/>
            <p:cNvSpPr>
              <a:spLocks/>
            </p:cNvSpPr>
            <p:nvPr/>
          </p:nvSpPr>
          <p:spPr bwMode="auto">
            <a:xfrm>
              <a:off x="10079041" y="7123183"/>
              <a:ext cx="26988" cy="52388"/>
            </a:xfrm>
            <a:custGeom>
              <a:avLst/>
              <a:gdLst>
                <a:gd name="T0" fmla="*/ 10 w 15"/>
                <a:gd name="T1" fmla="*/ 0 h 29"/>
                <a:gd name="T2" fmla="*/ 13 w 15"/>
                <a:gd name="T3" fmla="*/ 0 h 29"/>
                <a:gd name="T4" fmla="*/ 15 w 15"/>
                <a:gd name="T5" fmla="*/ 0 h 29"/>
                <a:gd name="T6" fmla="*/ 15 w 15"/>
                <a:gd name="T7" fmla="*/ 3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5" y="3"/>
                    <a:pt x="15" y="3"/>
                    <a:pt x="15" y="3"/>
                  </a:cubicBezTo>
                  <a:cubicBezTo>
                    <a:pt x="14" y="3"/>
                    <a:pt x="14" y="3"/>
                    <a:pt x="13" y="3"/>
                  </a:cubicBezTo>
                  <a:cubicBezTo>
                    <a:pt x="12" y="3"/>
                    <a:pt x="11" y="3"/>
                    <a:pt x="9" y="3"/>
                  </a:cubicBezTo>
                  <a:cubicBezTo>
                    <a:pt x="8"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243"/>
            <p:cNvSpPr>
              <a:spLocks/>
            </p:cNvSpPr>
            <p:nvPr/>
          </p:nvSpPr>
          <p:spPr bwMode="auto">
            <a:xfrm>
              <a:off x="10117141" y="7107308"/>
              <a:ext cx="30163"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4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3" y="31"/>
                    <a:pt x="4" y="32"/>
                  </a:cubicBezTo>
                  <a:cubicBezTo>
                    <a:pt x="4" y="33"/>
                    <a:pt x="4" y="33"/>
                    <a:pt x="5" y="34"/>
                  </a:cubicBezTo>
                  <a:cubicBezTo>
                    <a:pt x="5" y="34"/>
                    <a:pt x="6" y="35"/>
                    <a:pt x="7" y="35"/>
                  </a:cubicBezTo>
                  <a:cubicBezTo>
                    <a:pt x="7" y="35"/>
                    <a:pt x="8" y="35"/>
                    <a:pt x="9" y="35"/>
                  </a:cubicBezTo>
                  <a:cubicBezTo>
                    <a:pt x="11" y="35"/>
                    <a:pt x="12" y="35"/>
                    <a:pt x="13" y="35"/>
                  </a:cubicBezTo>
                  <a:cubicBezTo>
                    <a:pt x="14" y="34"/>
                    <a:pt x="15" y="34"/>
                    <a:pt x="15" y="34"/>
                  </a:cubicBezTo>
                  <a:cubicBezTo>
                    <a:pt x="16" y="37"/>
                    <a:pt x="16" y="37"/>
                    <a:pt x="16" y="37"/>
                  </a:cubicBezTo>
                  <a:cubicBezTo>
                    <a:pt x="15" y="37"/>
                    <a:pt x="15" y="38"/>
                    <a:pt x="13" y="38"/>
                  </a:cubicBezTo>
                  <a:cubicBezTo>
                    <a:pt x="12" y="38"/>
                    <a:pt x="11" y="39"/>
                    <a:pt x="9" y="39"/>
                  </a:cubicBezTo>
                  <a:cubicBezTo>
                    <a:pt x="7" y="39"/>
                    <a:pt x="6" y="38"/>
                    <a:pt x="4" y="38"/>
                  </a:cubicBezTo>
                  <a:cubicBezTo>
                    <a:pt x="3" y="37"/>
                    <a:pt x="2" y="37"/>
                    <a:pt x="2" y="36"/>
                  </a:cubicBezTo>
                  <a:cubicBezTo>
                    <a:pt x="1" y="35"/>
                    <a:pt x="0"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1" name="Group 610"/>
          <p:cNvGrpSpPr/>
          <p:nvPr/>
        </p:nvGrpSpPr>
        <p:grpSpPr>
          <a:xfrm>
            <a:off x="7874408" y="6185909"/>
            <a:ext cx="276225" cy="80964"/>
            <a:chOff x="7577140" y="7097783"/>
            <a:chExt cx="276225" cy="80964"/>
          </a:xfrm>
        </p:grpSpPr>
        <p:sp>
          <p:nvSpPr>
            <p:cNvPr id="370" name="Freeform 244"/>
            <p:cNvSpPr>
              <a:spLocks noEditPoints="1"/>
            </p:cNvSpPr>
            <p:nvPr/>
          </p:nvSpPr>
          <p:spPr bwMode="auto">
            <a:xfrm>
              <a:off x="7577140" y="7104133"/>
              <a:ext cx="47625" cy="71438"/>
            </a:xfrm>
            <a:custGeom>
              <a:avLst/>
              <a:gdLst>
                <a:gd name="T0" fmla="*/ 9 w 26"/>
                <a:gd name="T1" fmla="*/ 0 h 39"/>
                <a:gd name="T2" fmla="*/ 22 w 26"/>
                <a:gd name="T3" fmla="*/ 3 h 39"/>
                <a:gd name="T4" fmla="*/ 26 w 26"/>
                <a:gd name="T5" fmla="*/ 12 h 39"/>
                <a:gd name="T6" fmla="*/ 25 w 26"/>
                <a:gd name="T7" fmla="*/ 18 h 39"/>
                <a:gd name="T8" fmla="*/ 21 w 26"/>
                <a:gd name="T9" fmla="*/ 21 h 39"/>
                <a:gd name="T10" fmla="*/ 16 w 26"/>
                <a:gd name="T11" fmla="*/ 23 h 39"/>
                <a:gd name="T12" fmla="*/ 9 w 26"/>
                <a:gd name="T13" fmla="*/ 24 h 39"/>
                <a:gd name="T14" fmla="*/ 3 w 26"/>
                <a:gd name="T15" fmla="*/ 24 h 39"/>
                <a:gd name="T16" fmla="*/ 3 w 26"/>
                <a:gd name="T17" fmla="*/ 39 h 39"/>
                <a:gd name="T18" fmla="*/ 0 w 26"/>
                <a:gd name="T19" fmla="*/ 39 h 39"/>
                <a:gd name="T20" fmla="*/ 0 w 26"/>
                <a:gd name="T21" fmla="*/ 1 h 39"/>
                <a:gd name="T22" fmla="*/ 4 w 26"/>
                <a:gd name="T23" fmla="*/ 0 h 39"/>
                <a:gd name="T24" fmla="*/ 9 w 26"/>
                <a:gd name="T25" fmla="*/ 0 h 39"/>
                <a:gd name="T26" fmla="*/ 10 w 26"/>
                <a:gd name="T27" fmla="*/ 3 h 39"/>
                <a:gd name="T28" fmla="*/ 6 w 26"/>
                <a:gd name="T29" fmla="*/ 3 h 39"/>
                <a:gd name="T30" fmla="*/ 3 w 26"/>
                <a:gd name="T31" fmla="*/ 4 h 39"/>
                <a:gd name="T32" fmla="*/ 3 w 26"/>
                <a:gd name="T33" fmla="*/ 21 h 39"/>
                <a:gd name="T34" fmla="*/ 8 w 26"/>
                <a:gd name="T35" fmla="*/ 21 h 39"/>
                <a:gd name="T36" fmla="*/ 14 w 26"/>
                <a:gd name="T37" fmla="*/ 20 h 39"/>
                <a:gd name="T38" fmla="*/ 18 w 26"/>
                <a:gd name="T39" fmla="*/ 19 h 39"/>
                <a:gd name="T40" fmla="*/ 21 w 26"/>
                <a:gd name="T41" fmla="*/ 16 h 39"/>
                <a:gd name="T42" fmla="*/ 22 w 26"/>
                <a:gd name="T43" fmla="*/ 12 h 39"/>
                <a:gd name="T44" fmla="*/ 21 w 26"/>
                <a:gd name="T45" fmla="*/ 8 h 39"/>
                <a:gd name="T46" fmla="*/ 18 w 26"/>
                <a:gd name="T47" fmla="*/ 5 h 39"/>
                <a:gd name="T48" fmla="*/ 14 w 26"/>
                <a:gd name="T49" fmla="*/ 4 h 39"/>
                <a:gd name="T50" fmla="*/ 10 w 26"/>
                <a:gd name="T5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9" y="0"/>
                  </a:moveTo>
                  <a:cubicBezTo>
                    <a:pt x="15" y="0"/>
                    <a:pt x="19" y="1"/>
                    <a:pt x="22" y="3"/>
                  </a:cubicBezTo>
                  <a:cubicBezTo>
                    <a:pt x="24" y="5"/>
                    <a:pt x="26" y="8"/>
                    <a:pt x="26" y="12"/>
                  </a:cubicBezTo>
                  <a:cubicBezTo>
                    <a:pt x="26" y="14"/>
                    <a:pt x="25" y="16"/>
                    <a:pt x="25" y="18"/>
                  </a:cubicBezTo>
                  <a:cubicBezTo>
                    <a:pt x="24" y="19"/>
                    <a:pt x="23" y="20"/>
                    <a:pt x="21" y="21"/>
                  </a:cubicBezTo>
                  <a:cubicBezTo>
                    <a:pt x="20" y="22"/>
                    <a:pt x="18" y="23"/>
                    <a:pt x="16" y="23"/>
                  </a:cubicBezTo>
                  <a:cubicBezTo>
                    <a:pt x="14" y="24"/>
                    <a:pt x="11" y="24"/>
                    <a:pt x="9" y="24"/>
                  </a:cubicBezTo>
                  <a:cubicBezTo>
                    <a:pt x="3" y="24"/>
                    <a:pt x="3" y="24"/>
                    <a:pt x="3" y="24"/>
                  </a:cubicBezTo>
                  <a:cubicBezTo>
                    <a:pt x="3" y="39"/>
                    <a:pt x="3" y="39"/>
                    <a:pt x="3" y="39"/>
                  </a:cubicBezTo>
                  <a:cubicBezTo>
                    <a:pt x="0" y="39"/>
                    <a:pt x="0" y="39"/>
                    <a:pt x="0" y="39"/>
                  </a:cubicBezTo>
                  <a:cubicBezTo>
                    <a:pt x="0" y="1"/>
                    <a:pt x="0" y="1"/>
                    <a:pt x="0" y="1"/>
                  </a:cubicBezTo>
                  <a:cubicBezTo>
                    <a:pt x="1" y="1"/>
                    <a:pt x="3" y="0"/>
                    <a:pt x="4" y="0"/>
                  </a:cubicBezTo>
                  <a:cubicBezTo>
                    <a:pt x="6" y="0"/>
                    <a:pt x="8" y="0"/>
                    <a:pt x="9" y="0"/>
                  </a:cubicBezTo>
                  <a:close/>
                  <a:moveTo>
                    <a:pt x="10" y="3"/>
                  </a:moveTo>
                  <a:cubicBezTo>
                    <a:pt x="8" y="3"/>
                    <a:pt x="7" y="3"/>
                    <a:pt x="6" y="3"/>
                  </a:cubicBezTo>
                  <a:cubicBezTo>
                    <a:pt x="5" y="3"/>
                    <a:pt x="4" y="4"/>
                    <a:pt x="3" y="4"/>
                  </a:cubicBezTo>
                  <a:cubicBezTo>
                    <a:pt x="3" y="21"/>
                    <a:pt x="3" y="21"/>
                    <a:pt x="3" y="21"/>
                  </a:cubicBezTo>
                  <a:cubicBezTo>
                    <a:pt x="8" y="21"/>
                    <a:pt x="8" y="21"/>
                    <a:pt x="8" y="21"/>
                  </a:cubicBezTo>
                  <a:cubicBezTo>
                    <a:pt x="10" y="21"/>
                    <a:pt x="12" y="21"/>
                    <a:pt x="14" y="20"/>
                  </a:cubicBezTo>
                  <a:cubicBezTo>
                    <a:pt x="15" y="20"/>
                    <a:pt x="17" y="20"/>
                    <a:pt x="18" y="19"/>
                  </a:cubicBezTo>
                  <a:cubicBezTo>
                    <a:pt x="19" y="18"/>
                    <a:pt x="20" y="17"/>
                    <a:pt x="21" y="16"/>
                  </a:cubicBezTo>
                  <a:cubicBezTo>
                    <a:pt x="21" y="15"/>
                    <a:pt x="22" y="14"/>
                    <a:pt x="22" y="12"/>
                  </a:cubicBezTo>
                  <a:cubicBezTo>
                    <a:pt x="22" y="10"/>
                    <a:pt x="21" y="9"/>
                    <a:pt x="21" y="8"/>
                  </a:cubicBezTo>
                  <a:cubicBezTo>
                    <a:pt x="20" y="6"/>
                    <a:pt x="19" y="6"/>
                    <a:pt x="18" y="5"/>
                  </a:cubicBezTo>
                  <a:cubicBezTo>
                    <a:pt x="17" y="4"/>
                    <a:pt x="15" y="4"/>
                    <a:pt x="14" y="4"/>
                  </a:cubicBezTo>
                  <a:cubicBezTo>
                    <a:pt x="13" y="3"/>
                    <a:pt x="11" y="3"/>
                    <a:pt x="10" y="3"/>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245"/>
            <p:cNvSpPr>
              <a:spLocks/>
            </p:cNvSpPr>
            <p:nvPr/>
          </p:nvSpPr>
          <p:spPr bwMode="auto">
            <a:xfrm>
              <a:off x="7637465" y="7097783"/>
              <a:ext cx="39688" cy="77788"/>
            </a:xfrm>
            <a:custGeom>
              <a:avLst/>
              <a:gdLst>
                <a:gd name="T0" fmla="*/ 0 w 22"/>
                <a:gd name="T1" fmla="*/ 43 h 43"/>
                <a:gd name="T2" fmla="*/ 0 w 22"/>
                <a:gd name="T3" fmla="*/ 0 h 43"/>
                <a:gd name="T4" fmla="*/ 3 w 22"/>
                <a:gd name="T5" fmla="*/ 0 h 43"/>
                <a:gd name="T6" fmla="*/ 3 w 22"/>
                <a:gd name="T7" fmla="*/ 15 h 43"/>
                <a:gd name="T8" fmla="*/ 7 w 22"/>
                <a:gd name="T9" fmla="*/ 14 h 43"/>
                <a:gd name="T10" fmla="*/ 10 w 22"/>
                <a:gd name="T11" fmla="*/ 14 h 43"/>
                <a:gd name="T12" fmla="*/ 16 w 22"/>
                <a:gd name="T13" fmla="*/ 14 h 43"/>
                <a:gd name="T14" fmla="*/ 20 w 22"/>
                <a:gd name="T15" fmla="*/ 17 h 43"/>
                <a:gd name="T16" fmla="*/ 22 w 22"/>
                <a:gd name="T17" fmla="*/ 21 h 43"/>
                <a:gd name="T18" fmla="*/ 22 w 22"/>
                <a:gd name="T19" fmla="*/ 27 h 43"/>
                <a:gd name="T20" fmla="*/ 22 w 22"/>
                <a:gd name="T21" fmla="*/ 43 h 43"/>
                <a:gd name="T22" fmla="*/ 18 w 22"/>
                <a:gd name="T23" fmla="*/ 43 h 43"/>
                <a:gd name="T24" fmla="*/ 18 w 22"/>
                <a:gd name="T25" fmla="*/ 28 h 43"/>
                <a:gd name="T26" fmla="*/ 18 w 22"/>
                <a:gd name="T27" fmla="*/ 23 h 43"/>
                <a:gd name="T28" fmla="*/ 17 w 22"/>
                <a:gd name="T29" fmla="*/ 19 h 43"/>
                <a:gd name="T30" fmla="*/ 14 w 22"/>
                <a:gd name="T31" fmla="*/ 17 h 43"/>
                <a:gd name="T32" fmla="*/ 10 w 22"/>
                <a:gd name="T33" fmla="*/ 17 h 43"/>
                <a:gd name="T34" fmla="*/ 8 w 22"/>
                <a:gd name="T35" fmla="*/ 17 h 43"/>
                <a:gd name="T36" fmla="*/ 6 w 22"/>
                <a:gd name="T37" fmla="*/ 17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0"/>
                    <a:pt x="0" y="0"/>
                    <a:pt x="0" y="0"/>
                  </a:cubicBezTo>
                  <a:cubicBezTo>
                    <a:pt x="3" y="0"/>
                    <a:pt x="3" y="0"/>
                    <a:pt x="3" y="0"/>
                  </a:cubicBezTo>
                  <a:cubicBezTo>
                    <a:pt x="3" y="15"/>
                    <a:pt x="3" y="15"/>
                    <a:pt x="3" y="15"/>
                  </a:cubicBezTo>
                  <a:cubicBezTo>
                    <a:pt x="4" y="14"/>
                    <a:pt x="6" y="14"/>
                    <a:pt x="7" y="14"/>
                  </a:cubicBezTo>
                  <a:cubicBezTo>
                    <a:pt x="8" y="14"/>
                    <a:pt x="9" y="14"/>
                    <a:pt x="10" y="14"/>
                  </a:cubicBezTo>
                  <a:cubicBezTo>
                    <a:pt x="13" y="14"/>
                    <a:pt x="15" y="14"/>
                    <a:pt x="16" y="14"/>
                  </a:cubicBezTo>
                  <a:cubicBezTo>
                    <a:pt x="18" y="15"/>
                    <a:pt x="19" y="16"/>
                    <a:pt x="20" y="17"/>
                  </a:cubicBezTo>
                  <a:cubicBezTo>
                    <a:pt x="21" y="18"/>
                    <a:pt x="21" y="20"/>
                    <a:pt x="22" y="21"/>
                  </a:cubicBezTo>
                  <a:cubicBezTo>
                    <a:pt x="22" y="23"/>
                    <a:pt x="22" y="25"/>
                    <a:pt x="22" y="27"/>
                  </a:cubicBezTo>
                  <a:cubicBezTo>
                    <a:pt x="22" y="43"/>
                    <a:pt x="22" y="43"/>
                    <a:pt x="22" y="43"/>
                  </a:cubicBezTo>
                  <a:cubicBezTo>
                    <a:pt x="18" y="43"/>
                    <a:pt x="18" y="43"/>
                    <a:pt x="18" y="43"/>
                  </a:cubicBezTo>
                  <a:cubicBezTo>
                    <a:pt x="18" y="28"/>
                    <a:pt x="18" y="28"/>
                    <a:pt x="18" y="28"/>
                  </a:cubicBezTo>
                  <a:cubicBezTo>
                    <a:pt x="18" y="26"/>
                    <a:pt x="18" y="24"/>
                    <a:pt x="18" y="23"/>
                  </a:cubicBezTo>
                  <a:cubicBezTo>
                    <a:pt x="18" y="21"/>
                    <a:pt x="17" y="20"/>
                    <a:pt x="17" y="19"/>
                  </a:cubicBezTo>
                  <a:cubicBezTo>
                    <a:pt x="16" y="18"/>
                    <a:pt x="15" y="18"/>
                    <a:pt x="14" y="17"/>
                  </a:cubicBezTo>
                  <a:cubicBezTo>
                    <a:pt x="13" y="17"/>
                    <a:pt x="12" y="17"/>
                    <a:pt x="10" y="17"/>
                  </a:cubicBezTo>
                  <a:cubicBezTo>
                    <a:pt x="9" y="17"/>
                    <a:pt x="9" y="17"/>
                    <a:pt x="8" y="17"/>
                  </a:cubicBezTo>
                  <a:cubicBezTo>
                    <a:pt x="7" y="17"/>
                    <a:pt x="6" y="17"/>
                    <a:pt x="6" y="17"/>
                  </a:cubicBezTo>
                  <a:cubicBezTo>
                    <a:pt x="5" y="17"/>
                    <a:pt x="5" y="18"/>
                    <a:pt x="4" y="18"/>
                  </a:cubicBezTo>
                  <a:cubicBezTo>
                    <a:pt x="4" y="18"/>
                    <a:pt x="3" y="18"/>
                    <a:pt x="3" y="18"/>
                  </a:cubicBezTo>
                  <a:cubicBezTo>
                    <a:pt x="3" y="43"/>
                    <a:pt x="3" y="43"/>
                    <a:pt x="3"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246"/>
            <p:cNvSpPr>
              <a:spLocks noEditPoints="1"/>
            </p:cNvSpPr>
            <p:nvPr/>
          </p:nvSpPr>
          <p:spPr bwMode="auto">
            <a:xfrm>
              <a:off x="7691440" y="7121596"/>
              <a:ext cx="47625" cy="57151"/>
            </a:xfrm>
            <a:custGeom>
              <a:avLst/>
              <a:gdLst>
                <a:gd name="T0" fmla="*/ 26 w 26"/>
                <a:gd name="T1" fmla="*/ 16 h 31"/>
                <a:gd name="T2" fmla="*/ 25 w 26"/>
                <a:gd name="T3" fmla="*/ 22 h 31"/>
                <a:gd name="T4" fmla="*/ 22 w 26"/>
                <a:gd name="T5" fmla="*/ 27 h 31"/>
                <a:gd name="T6" fmla="*/ 18 w 26"/>
                <a:gd name="T7" fmla="*/ 30 h 31"/>
                <a:gd name="T8" fmla="*/ 13 w 26"/>
                <a:gd name="T9" fmla="*/ 31 h 31"/>
                <a:gd name="T10" fmla="*/ 8 w 26"/>
                <a:gd name="T11" fmla="*/ 30 h 31"/>
                <a:gd name="T12" fmla="*/ 3 w 26"/>
                <a:gd name="T13" fmla="*/ 27 h 31"/>
                <a:gd name="T14" fmla="*/ 1 w 26"/>
                <a:gd name="T15" fmla="*/ 22 h 31"/>
                <a:gd name="T16" fmla="*/ 0 w 26"/>
                <a:gd name="T17" fmla="*/ 16 h 31"/>
                <a:gd name="T18" fmla="*/ 1 w 26"/>
                <a:gd name="T19" fmla="*/ 9 h 31"/>
                <a:gd name="T20" fmla="*/ 3 w 26"/>
                <a:gd name="T21" fmla="*/ 5 h 31"/>
                <a:gd name="T22" fmla="*/ 8 w 26"/>
                <a:gd name="T23" fmla="*/ 1 h 31"/>
                <a:gd name="T24" fmla="*/ 13 w 26"/>
                <a:gd name="T25" fmla="*/ 0 h 31"/>
                <a:gd name="T26" fmla="*/ 18 w 26"/>
                <a:gd name="T27" fmla="*/ 1 h 31"/>
                <a:gd name="T28" fmla="*/ 22 w 26"/>
                <a:gd name="T29" fmla="*/ 5 h 31"/>
                <a:gd name="T30" fmla="*/ 25 w 26"/>
                <a:gd name="T31" fmla="*/ 9 h 31"/>
                <a:gd name="T32" fmla="*/ 26 w 26"/>
                <a:gd name="T33" fmla="*/ 16 h 31"/>
                <a:gd name="T34" fmla="*/ 22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2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4" y="24"/>
                    <a:pt x="24" y="25"/>
                    <a:pt x="22" y="27"/>
                  </a:cubicBezTo>
                  <a:cubicBezTo>
                    <a:pt x="21" y="28"/>
                    <a:pt x="20" y="29"/>
                    <a:pt x="18" y="30"/>
                  </a:cubicBezTo>
                  <a:cubicBezTo>
                    <a:pt x="17" y="30"/>
                    <a:pt x="15" y="31"/>
                    <a:pt x="13" y="31"/>
                  </a:cubicBez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7"/>
                    <a:pt x="2" y="6"/>
                    <a:pt x="3" y="5"/>
                  </a:cubicBezTo>
                  <a:cubicBezTo>
                    <a:pt x="5" y="3"/>
                    <a:pt x="6" y="2"/>
                    <a:pt x="8" y="1"/>
                  </a:cubicBezTo>
                  <a:cubicBezTo>
                    <a:pt x="9" y="1"/>
                    <a:pt x="11" y="0"/>
                    <a:pt x="13" y="0"/>
                  </a:cubicBezTo>
                  <a:cubicBezTo>
                    <a:pt x="15" y="0"/>
                    <a:pt x="17" y="1"/>
                    <a:pt x="18" y="1"/>
                  </a:cubicBezTo>
                  <a:cubicBezTo>
                    <a:pt x="20" y="2"/>
                    <a:pt x="21" y="3"/>
                    <a:pt x="22" y="5"/>
                  </a:cubicBezTo>
                  <a:cubicBezTo>
                    <a:pt x="24" y="6"/>
                    <a:pt x="24" y="7"/>
                    <a:pt x="25" y="9"/>
                  </a:cubicBezTo>
                  <a:cubicBezTo>
                    <a:pt x="26" y="11"/>
                    <a:pt x="26" y="13"/>
                    <a:pt x="26" y="16"/>
                  </a:cubicBezTo>
                  <a:close/>
                  <a:moveTo>
                    <a:pt x="22" y="16"/>
                  </a:moveTo>
                  <a:cubicBezTo>
                    <a:pt x="22" y="12"/>
                    <a:pt x="21" y="9"/>
                    <a:pt x="20" y="7"/>
                  </a:cubicBezTo>
                  <a:cubicBezTo>
                    <a:pt x="18" y="5"/>
                    <a:pt x="16" y="4"/>
                    <a:pt x="13" y="4"/>
                  </a:cubicBezTo>
                  <a:cubicBezTo>
                    <a:pt x="10" y="4"/>
                    <a:pt x="8" y="5"/>
                    <a:pt x="6" y="7"/>
                  </a:cubicBezTo>
                  <a:cubicBezTo>
                    <a:pt x="4" y="9"/>
                    <a:pt x="4" y="12"/>
                    <a:pt x="4" y="16"/>
                  </a:cubicBezTo>
                  <a:cubicBezTo>
                    <a:pt x="4" y="19"/>
                    <a:pt x="4" y="22"/>
                    <a:pt x="6" y="24"/>
                  </a:cubicBezTo>
                  <a:cubicBezTo>
                    <a:pt x="8" y="26"/>
                    <a:pt x="10" y="27"/>
                    <a:pt x="13" y="27"/>
                  </a:cubicBezTo>
                  <a:cubicBezTo>
                    <a:pt x="16" y="27"/>
                    <a:pt x="18" y="26"/>
                    <a:pt x="20" y="24"/>
                  </a:cubicBezTo>
                  <a:cubicBezTo>
                    <a:pt x="21" y="22"/>
                    <a:pt x="22" y="19"/>
                    <a:pt x="22"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247"/>
            <p:cNvSpPr>
              <a:spLocks/>
            </p:cNvSpPr>
            <p:nvPr/>
          </p:nvSpPr>
          <p:spPr bwMode="auto">
            <a:xfrm>
              <a:off x="7754940" y="7123183"/>
              <a:ext cx="41275" cy="52388"/>
            </a:xfrm>
            <a:custGeom>
              <a:avLst/>
              <a:gdLst>
                <a:gd name="T0" fmla="*/ 0 w 23"/>
                <a:gd name="T1" fmla="*/ 1 h 29"/>
                <a:gd name="T2" fmla="*/ 4 w 23"/>
                <a:gd name="T3" fmla="*/ 0 h 29"/>
                <a:gd name="T4" fmla="*/ 11 w 23"/>
                <a:gd name="T5" fmla="*/ 0 h 29"/>
                <a:gd name="T6" fmla="*/ 17 w 23"/>
                <a:gd name="T7" fmla="*/ 0 h 29"/>
                <a:gd name="T8" fmla="*/ 20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8 w 23"/>
                <a:gd name="T21" fmla="*/ 9 h 29"/>
                <a:gd name="T22" fmla="*/ 17 w 23"/>
                <a:gd name="T23" fmla="*/ 5 h 29"/>
                <a:gd name="T24" fmla="*/ 14 w 23"/>
                <a:gd name="T25" fmla="*/ 3 h 29"/>
                <a:gd name="T26" fmla="*/ 10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4" y="0"/>
                  </a:cubicBezTo>
                  <a:cubicBezTo>
                    <a:pt x="6" y="0"/>
                    <a:pt x="8" y="0"/>
                    <a:pt x="11" y="0"/>
                  </a:cubicBezTo>
                  <a:cubicBezTo>
                    <a:pt x="13" y="0"/>
                    <a:pt x="15" y="0"/>
                    <a:pt x="17" y="0"/>
                  </a:cubicBezTo>
                  <a:cubicBezTo>
                    <a:pt x="18" y="1"/>
                    <a:pt x="19" y="2"/>
                    <a:pt x="20" y="3"/>
                  </a:cubicBezTo>
                  <a:cubicBezTo>
                    <a:pt x="21" y="4"/>
                    <a:pt x="22" y="6"/>
                    <a:pt x="22" y="7"/>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0"/>
                    <a:pt x="18" y="9"/>
                  </a:cubicBezTo>
                  <a:cubicBezTo>
                    <a:pt x="18" y="7"/>
                    <a:pt x="18" y="6"/>
                    <a:pt x="17" y="5"/>
                  </a:cubicBezTo>
                  <a:cubicBezTo>
                    <a:pt x="16" y="4"/>
                    <a:pt x="16" y="4"/>
                    <a:pt x="14" y="3"/>
                  </a:cubicBezTo>
                  <a:cubicBezTo>
                    <a:pt x="13" y="3"/>
                    <a:pt x="12" y="3"/>
                    <a:pt x="10" y="3"/>
                  </a:cubicBezTo>
                  <a:cubicBezTo>
                    <a:pt x="9" y="3"/>
                    <a:pt x="7"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248"/>
            <p:cNvSpPr>
              <a:spLocks noEditPoints="1"/>
            </p:cNvSpPr>
            <p:nvPr/>
          </p:nvSpPr>
          <p:spPr bwMode="auto">
            <a:xfrm>
              <a:off x="7808915" y="7121596"/>
              <a:ext cx="44450" cy="57151"/>
            </a:xfrm>
            <a:custGeom>
              <a:avLst/>
              <a:gdLst>
                <a:gd name="T0" fmla="*/ 0 w 24"/>
                <a:gd name="T1" fmla="*/ 16 h 31"/>
                <a:gd name="T2" fmla="*/ 1 w 24"/>
                <a:gd name="T3" fmla="*/ 9 h 31"/>
                <a:gd name="T4" fmla="*/ 4 w 24"/>
                <a:gd name="T5" fmla="*/ 4 h 31"/>
                <a:gd name="T6" fmla="*/ 8 w 24"/>
                <a:gd name="T7" fmla="*/ 1 h 31"/>
                <a:gd name="T8" fmla="*/ 13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7 w 24"/>
                <a:gd name="T21" fmla="*/ 24 h 31"/>
                <a:gd name="T22" fmla="*/ 14 w 24"/>
                <a:gd name="T23" fmla="*/ 27 h 31"/>
                <a:gd name="T24" fmla="*/ 19 w 24"/>
                <a:gd name="T25" fmla="*/ 27 h 31"/>
                <a:gd name="T26" fmla="*/ 22 w 24"/>
                <a:gd name="T27" fmla="*/ 26 h 31"/>
                <a:gd name="T28" fmla="*/ 22 w 24"/>
                <a:gd name="T29" fmla="*/ 29 h 31"/>
                <a:gd name="T30" fmla="*/ 19 w 24"/>
                <a:gd name="T31" fmla="*/ 30 h 31"/>
                <a:gd name="T32" fmla="*/ 14 w 24"/>
                <a:gd name="T33" fmla="*/ 31 h 31"/>
                <a:gd name="T34" fmla="*/ 8 w 24"/>
                <a:gd name="T35" fmla="*/ 30 h 31"/>
                <a:gd name="T36" fmla="*/ 3 w 24"/>
                <a:gd name="T37" fmla="*/ 26 h 31"/>
                <a:gd name="T38" fmla="*/ 1 w 24"/>
                <a:gd name="T39" fmla="*/ 22 h 31"/>
                <a:gd name="T40" fmla="*/ 0 w 24"/>
                <a:gd name="T41" fmla="*/ 16 h 31"/>
                <a:gd name="T42" fmla="*/ 21 w 24"/>
                <a:gd name="T43" fmla="*/ 13 h 31"/>
                <a:gd name="T44" fmla="*/ 19 w 24"/>
                <a:gd name="T45" fmla="*/ 6 h 31"/>
                <a:gd name="T46" fmla="*/ 13 w 24"/>
                <a:gd name="T47" fmla="*/ 4 h 31"/>
                <a:gd name="T48" fmla="*/ 9 w 24"/>
                <a:gd name="T49" fmla="*/ 4 h 31"/>
                <a:gd name="T50" fmla="*/ 7 w 24"/>
                <a:gd name="T51" fmla="*/ 7 h 31"/>
                <a:gd name="T52" fmla="*/ 5 w 24"/>
                <a:gd name="T53" fmla="*/ 10 h 31"/>
                <a:gd name="T54" fmla="*/ 4 w 24"/>
                <a:gd name="T55" fmla="*/ 13 h 31"/>
                <a:gd name="T56" fmla="*/ 21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2" y="7"/>
                    <a:pt x="3" y="5"/>
                    <a:pt x="4" y="4"/>
                  </a:cubicBezTo>
                  <a:cubicBezTo>
                    <a:pt x="5" y="3"/>
                    <a:pt x="7" y="2"/>
                    <a:pt x="8" y="1"/>
                  </a:cubicBezTo>
                  <a:cubicBezTo>
                    <a:pt x="10" y="1"/>
                    <a:pt x="11" y="0"/>
                    <a:pt x="13"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7" y="24"/>
                  </a:cubicBezTo>
                  <a:cubicBezTo>
                    <a:pt x="8" y="26"/>
                    <a:pt x="11" y="27"/>
                    <a:pt x="14" y="27"/>
                  </a:cubicBezTo>
                  <a:cubicBezTo>
                    <a:pt x="16" y="27"/>
                    <a:pt x="18" y="27"/>
                    <a:pt x="19" y="27"/>
                  </a:cubicBezTo>
                  <a:cubicBezTo>
                    <a:pt x="20" y="26"/>
                    <a:pt x="21" y="26"/>
                    <a:pt x="22" y="26"/>
                  </a:cubicBezTo>
                  <a:cubicBezTo>
                    <a:pt x="22" y="29"/>
                    <a:pt x="22" y="29"/>
                    <a:pt x="22" y="29"/>
                  </a:cubicBezTo>
                  <a:cubicBezTo>
                    <a:pt x="22" y="29"/>
                    <a:pt x="21" y="30"/>
                    <a:pt x="19" y="30"/>
                  </a:cubicBezTo>
                  <a:cubicBezTo>
                    <a:pt x="18" y="30"/>
                    <a:pt x="16" y="31"/>
                    <a:pt x="14" y="31"/>
                  </a:cubicBezTo>
                  <a:cubicBezTo>
                    <a:pt x="12" y="31"/>
                    <a:pt x="10" y="30"/>
                    <a:pt x="8" y="30"/>
                  </a:cubicBezTo>
                  <a:cubicBezTo>
                    <a:pt x="6" y="29"/>
                    <a:pt x="5" y="28"/>
                    <a:pt x="3" y="26"/>
                  </a:cubicBezTo>
                  <a:cubicBezTo>
                    <a:pt x="2" y="25"/>
                    <a:pt x="1" y="23"/>
                    <a:pt x="1" y="22"/>
                  </a:cubicBezTo>
                  <a:cubicBezTo>
                    <a:pt x="0" y="20"/>
                    <a:pt x="0" y="18"/>
                    <a:pt x="0" y="16"/>
                  </a:cubicBezTo>
                  <a:close/>
                  <a:moveTo>
                    <a:pt x="21" y="13"/>
                  </a:moveTo>
                  <a:cubicBezTo>
                    <a:pt x="21" y="10"/>
                    <a:pt x="20" y="8"/>
                    <a:pt x="19" y="6"/>
                  </a:cubicBezTo>
                  <a:cubicBezTo>
                    <a:pt x="17" y="4"/>
                    <a:pt x="15" y="4"/>
                    <a:pt x="13" y="4"/>
                  </a:cubicBezTo>
                  <a:cubicBezTo>
                    <a:pt x="11" y="4"/>
                    <a:pt x="10" y="4"/>
                    <a:pt x="9" y="4"/>
                  </a:cubicBezTo>
                  <a:cubicBezTo>
                    <a:pt x="8" y="5"/>
                    <a:pt x="7" y="6"/>
                    <a:pt x="7" y="7"/>
                  </a:cubicBezTo>
                  <a:cubicBezTo>
                    <a:pt x="6" y="7"/>
                    <a:pt x="5" y="8"/>
                    <a:pt x="5" y="10"/>
                  </a:cubicBezTo>
                  <a:cubicBezTo>
                    <a:pt x="4"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865618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1"/>
          </p:nvPr>
        </p:nvSpPr>
        <p:spPr/>
        <p:txBody>
          <a:bodyPr/>
          <a:lstStyle/>
          <a:p>
            <a:r>
              <a:rPr lang="en-US"/>
              <a:t>Title of The presentation</a:t>
            </a:r>
            <a:endParaRPr lang="en-US" dirty="0"/>
          </a:p>
        </p:txBody>
      </p:sp>
      <p:sp>
        <p:nvSpPr>
          <p:cNvPr id="7" name="Subtitle 6"/>
          <p:cNvSpPr>
            <a:spLocks noGrp="1"/>
          </p:cNvSpPr>
          <p:nvPr>
            <p:ph type="subTitle" idx="1"/>
          </p:nvPr>
        </p:nvSpPr>
        <p:spPr/>
        <p:txBody>
          <a:bodyPr/>
          <a:lstStyle/>
          <a:p>
            <a:r>
              <a:rPr lang="en-US" dirty="0"/>
              <a:t>Location, Date, Author</a:t>
            </a:r>
          </a:p>
        </p:txBody>
      </p:sp>
    </p:spTree>
    <p:extLst>
      <p:ext uri="{BB962C8B-B14F-4D97-AF65-F5344CB8AC3E}">
        <p14:creationId xmlns:p14="http://schemas.microsoft.com/office/powerpoint/2010/main" val="32608677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89C4CCE-C3B3-4AE3-82D7-90A19D257821}"/>
              </a:ext>
            </a:extLst>
          </p:cNvPr>
          <p:cNvSpPr>
            <a:spLocks noGrp="1"/>
          </p:cNvSpPr>
          <p:nvPr>
            <p:ph type="title"/>
          </p:nvPr>
        </p:nvSpPr>
        <p:spPr>
          <a:xfrm>
            <a:off x="238269" y="-9086"/>
            <a:ext cx="11125236" cy="1104900"/>
          </a:xfrm>
        </p:spPr>
        <p:txBody>
          <a:bodyPr/>
          <a:lstStyle/>
          <a:p>
            <a:r>
              <a:rPr lang="en-US" dirty="0"/>
              <a:t>Shape options (1/2)</a:t>
            </a:r>
          </a:p>
        </p:txBody>
      </p:sp>
      <p:sp>
        <p:nvSpPr>
          <p:cNvPr id="9" name="Freeform 5">
            <a:extLst>
              <a:ext uri="{FF2B5EF4-FFF2-40B4-BE49-F238E27FC236}">
                <a16:creationId xmlns:a16="http://schemas.microsoft.com/office/drawing/2014/main" id="{5CCB1B1C-C726-4C83-BD4F-1253C3737261}"/>
              </a:ext>
            </a:extLst>
          </p:cNvPr>
          <p:cNvSpPr>
            <a:spLocks noChangeAspect="1"/>
          </p:cNvSpPr>
          <p:nvPr/>
        </p:nvSpPr>
        <p:spPr bwMode="auto">
          <a:xfrm>
            <a:off x="0" y="1365900"/>
            <a:ext cx="4433888" cy="4103688"/>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9">
            <a:extLst>
              <a:ext uri="{FF2B5EF4-FFF2-40B4-BE49-F238E27FC236}">
                <a16:creationId xmlns:a16="http://schemas.microsoft.com/office/drawing/2014/main" id="{67909925-CB0B-4F5B-BF4B-AD0B422E993C}"/>
              </a:ext>
            </a:extLst>
          </p:cNvPr>
          <p:cNvSpPr>
            <a:spLocks noChangeAspect="1"/>
          </p:cNvSpPr>
          <p:nvPr/>
        </p:nvSpPr>
        <p:spPr bwMode="auto">
          <a:xfrm>
            <a:off x="3116505" y="3001284"/>
            <a:ext cx="3879851" cy="3862387"/>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8" y="297"/>
                  <a:pt x="0" y="231"/>
                </a:cubicBezTo>
                <a:cubicBezTo>
                  <a:pt x="0" y="1425"/>
                  <a:pt x="0" y="1425"/>
                  <a:pt x="0" y="1425"/>
                </a:cubicBezTo>
                <a:lnTo>
                  <a:pt x="909" y="14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3">
            <a:extLst>
              <a:ext uri="{FF2B5EF4-FFF2-40B4-BE49-F238E27FC236}">
                <a16:creationId xmlns:a16="http://schemas.microsoft.com/office/drawing/2014/main" id="{6C5F172D-D1DB-44F0-B654-614BD1945EF5}"/>
              </a:ext>
            </a:extLst>
          </p:cNvPr>
          <p:cNvSpPr>
            <a:spLocks noChangeAspect="1"/>
          </p:cNvSpPr>
          <p:nvPr/>
        </p:nvSpPr>
        <p:spPr bwMode="auto">
          <a:xfrm>
            <a:off x="3720000" y="261000"/>
            <a:ext cx="5838825" cy="4170363"/>
          </a:xfrm>
          <a:custGeom>
            <a:avLst/>
            <a:gdLst>
              <a:gd name="T0" fmla="*/ 2155 w 2155"/>
              <a:gd name="T1" fmla="*/ 841 h 1538"/>
              <a:gd name="T2" fmla="*/ 1652 w 2155"/>
              <a:gd name="T3" fmla="*/ 1409 h 1538"/>
              <a:gd name="T4" fmla="*/ 1208 w 2155"/>
              <a:gd name="T5" fmla="*/ 0 h 1538"/>
              <a:gd name="T6" fmla="*/ 2155 w 2155"/>
              <a:gd name="T7" fmla="*/ 0 h 1538"/>
              <a:gd name="T8" fmla="*/ 2155 w 2155"/>
              <a:gd name="T9" fmla="*/ 841 h 1538"/>
            </a:gdLst>
            <a:ahLst/>
            <a:cxnLst>
              <a:cxn ang="0">
                <a:pos x="T0" y="T1"/>
              </a:cxn>
              <a:cxn ang="0">
                <a:pos x="T2" y="T3"/>
              </a:cxn>
              <a:cxn ang="0">
                <a:pos x="T4" y="T5"/>
              </a:cxn>
              <a:cxn ang="0">
                <a:pos x="T6" y="T7"/>
              </a:cxn>
              <a:cxn ang="0">
                <a:pos x="T8" y="T9"/>
              </a:cxn>
            </a:cxnLst>
            <a:rect l="0" t="0" r="r" b="b"/>
            <a:pathLst>
              <a:path w="2155" h="1538">
                <a:moveTo>
                  <a:pt x="2155" y="841"/>
                </a:moveTo>
                <a:cubicBezTo>
                  <a:pt x="2155" y="841"/>
                  <a:pt x="2074" y="1538"/>
                  <a:pt x="1652" y="1409"/>
                </a:cubicBezTo>
                <a:cubicBezTo>
                  <a:pt x="1595" y="1093"/>
                  <a:pt x="0" y="973"/>
                  <a:pt x="1208" y="0"/>
                </a:cubicBezTo>
                <a:cubicBezTo>
                  <a:pt x="2155" y="0"/>
                  <a:pt x="2155" y="0"/>
                  <a:pt x="2155" y="0"/>
                </a:cubicBezTo>
                <a:lnTo>
                  <a:pt x="2155" y="841"/>
                </a:lnTo>
                <a:close/>
              </a:path>
            </a:pathLst>
          </a:custGeom>
          <a:solidFill>
            <a:schemeClr val="tx2"/>
          </a:solidFill>
          <a:ln>
            <a:noFill/>
          </a:ln>
        </p:spPr>
        <p:txBody>
          <a:bodyPr vert="horz" wrap="square" lIns="91440" tIns="45720" rIns="91440" bIns="45720" numCol="1" anchor="t" anchorCtr="0" compatLnSpc="1">
            <a:prstTxWarp prst="textNoShape">
              <a:avLst/>
            </a:prstTxWarp>
            <a:normAutofit/>
          </a:bodyPr>
          <a:lstStyle/>
          <a:p>
            <a:endParaRPr lang="en-US" dirty="0"/>
          </a:p>
        </p:txBody>
      </p:sp>
      <p:sp>
        <p:nvSpPr>
          <p:cNvPr id="19" name="Freeform 17">
            <a:extLst>
              <a:ext uri="{FF2B5EF4-FFF2-40B4-BE49-F238E27FC236}">
                <a16:creationId xmlns:a16="http://schemas.microsoft.com/office/drawing/2014/main" id="{1BC0D23E-6F22-47EB-8F2C-4C8460599A9D}"/>
              </a:ext>
            </a:extLst>
          </p:cNvPr>
          <p:cNvSpPr>
            <a:spLocks noChangeAspect="1"/>
          </p:cNvSpPr>
          <p:nvPr/>
        </p:nvSpPr>
        <p:spPr bwMode="auto">
          <a:xfrm>
            <a:off x="8857461" y="2133000"/>
            <a:ext cx="3332163" cy="3990975"/>
          </a:xfrm>
          <a:custGeom>
            <a:avLst/>
            <a:gdLst>
              <a:gd name="T0" fmla="*/ 696 w 1229"/>
              <a:gd name="T1" fmla="*/ 10 h 1472"/>
              <a:gd name="T2" fmla="*/ 1229 w 1229"/>
              <a:gd name="T3" fmla="*/ 55 h 1472"/>
              <a:gd name="T4" fmla="*/ 1229 w 1229"/>
              <a:gd name="T5" fmla="*/ 1472 h 1472"/>
              <a:gd name="T6" fmla="*/ 323 w 1229"/>
              <a:gd name="T7" fmla="*/ 1472 h 1472"/>
              <a:gd name="T8" fmla="*/ 229 w 1229"/>
              <a:gd name="T9" fmla="*/ 1332 h 1472"/>
              <a:gd name="T10" fmla="*/ 696 w 1229"/>
              <a:gd name="T11" fmla="*/ 10 h 1472"/>
            </a:gdLst>
            <a:ahLst/>
            <a:cxnLst>
              <a:cxn ang="0">
                <a:pos x="T0" y="T1"/>
              </a:cxn>
              <a:cxn ang="0">
                <a:pos x="T2" y="T3"/>
              </a:cxn>
              <a:cxn ang="0">
                <a:pos x="T4" y="T5"/>
              </a:cxn>
              <a:cxn ang="0">
                <a:pos x="T6" y="T7"/>
              </a:cxn>
              <a:cxn ang="0">
                <a:pos x="T8" y="T9"/>
              </a:cxn>
              <a:cxn ang="0">
                <a:pos x="T10" y="T11"/>
              </a:cxn>
            </a:cxnLst>
            <a:rect l="0" t="0" r="r" b="b"/>
            <a:pathLst>
              <a:path w="1229" h="1472">
                <a:moveTo>
                  <a:pt x="696" y="10"/>
                </a:moveTo>
                <a:cubicBezTo>
                  <a:pt x="880" y="0"/>
                  <a:pt x="1062" y="13"/>
                  <a:pt x="1229" y="55"/>
                </a:cubicBezTo>
                <a:cubicBezTo>
                  <a:pt x="1229" y="1472"/>
                  <a:pt x="1229" y="1472"/>
                  <a:pt x="1229" y="1472"/>
                </a:cubicBezTo>
                <a:cubicBezTo>
                  <a:pt x="323" y="1472"/>
                  <a:pt x="323" y="1472"/>
                  <a:pt x="323" y="1472"/>
                </a:cubicBezTo>
                <a:cubicBezTo>
                  <a:pt x="286" y="1432"/>
                  <a:pt x="254" y="1386"/>
                  <a:pt x="229" y="1332"/>
                </a:cubicBezTo>
                <a:cubicBezTo>
                  <a:pt x="0" y="833"/>
                  <a:pt x="607" y="340"/>
                  <a:pt x="696" y="10"/>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061850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8CE36F9-55A4-453F-96D3-14DF9775B21E}"/>
              </a:ext>
            </a:extLst>
          </p:cNvPr>
          <p:cNvSpPr>
            <a:spLocks noGrp="1"/>
          </p:cNvSpPr>
          <p:nvPr>
            <p:ph type="title"/>
          </p:nvPr>
        </p:nvSpPr>
        <p:spPr/>
        <p:txBody>
          <a:bodyPr/>
          <a:lstStyle/>
          <a:p>
            <a:r>
              <a:rPr lang="en-US" dirty="0"/>
              <a:t>Shape options (2/2)</a:t>
            </a:r>
          </a:p>
        </p:txBody>
      </p:sp>
      <p:sp>
        <p:nvSpPr>
          <p:cNvPr id="11" name="Freeform 5">
            <a:extLst>
              <a:ext uri="{FF2B5EF4-FFF2-40B4-BE49-F238E27FC236}">
                <a16:creationId xmlns:a16="http://schemas.microsoft.com/office/drawing/2014/main" id="{60007793-AF2A-495F-A0B5-489B2C3C511A}"/>
              </a:ext>
            </a:extLst>
          </p:cNvPr>
          <p:cNvSpPr>
            <a:spLocks/>
          </p:cNvSpPr>
          <p:nvPr/>
        </p:nvSpPr>
        <p:spPr bwMode="auto">
          <a:xfrm>
            <a:off x="0" y="1215275"/>
            <a:ext cx="2614613" cy="5165725"/>
          </a:xfrm>
          <a:custGeom>
            <a:avLst/>
            <a:gdLst>
              <a:gd name="T0" fmla="*/ 578 w 964"/>
              <a:gd name="T1" fmla="*/ 1906 h 1906"/>
              <a:gd name="T2" fmla="*/ 578 w 964"/>
              <a:gd name="T3" fmla="*/ 1489 h 1906"/>
              <a:gd name="T4" fmla="*/ 838 w 964"/>
              <a:gd name="T5" fmla="*/ 760 h 1906"/>
              <a:gd name="T6" fmla="*/ 714 w 964"/>
              <a:gd name="T7" fmla="*/ 0 h 1906"/>
              <a:gd name="T8" fmla="*/ 0 w 964"/>
              <a:gd name="T9" fmla="*/ 0 h 1906"/>
              <a:gd name="T10" fmla="*/ 0 w 964"/>
              <a:gd name="T11" fmla="*/ 1906 h 1906"/>
              <a:gd name="T12" fmla="*/ 578 w 964"/>
              <a:gd name="T13" fmla="*/ 1906 h 1906"/>
            </a:gdLst>
            <a:ahLst/>
            <a:cxnLst>
              <a:cxn ang="0">
                <a:pos x="T0" y="T1"/>
              </a:cxn>
              <a:cxn ang="0">
                <a:pos x="T2" y="T3"/>
              </a:cxn>
              <a:cxn ang="0">
                <a:pos x="T4" y="T5"/>
              </a:cxn>
              <a:cxn ang="0">
                <a:pos x="T6" y="T7"/>
              </a:cxn>
              <a:cxn ang="0">
                <a:pos x="T8" y="T9"/>
              </a:cxn>
              <a:cxn ang="0">
                <a:pos x="T10" y="T11"/>
              </a:cxn>
              <a:cxn ang="0">
                <a:pos x="T12" y="T13"/>
              </a:cxn>
            </a:cxnLst>
            <a:rect l="0" t="0" r="r" b="b"/>
            <a:pathLst>
              <a:path w="964" h="1906">
                <a:moveTo>
                  <a:pt x="578" y="1906"/>
                </a:moveTo>
                <a:cubicBezTo>
                  <a:pt x="578" y="1906"/>
                  <a:pt x="964" y="1639"/>
                  <a:pt x="578" y="1489"/>
                </a:cubicBezTo>
                <a:cubicBezTo>
                  <a:pt x="192" y="1339"/>
                  <a:pt x="408" y="991"/>
                  <a:pt x="838" y="760"/>
                </a:cubicBezTo>
                <a:cubicBezTo>
                  <a:pt x="947" y="305"/>
                  <a:pt x="714" y="0"/>
                  <a:pt x="714" y="0"/>
                </a:cubicBezTo>
                <a:cubicBezTo>
                  <a:pt x="0" y="0"/>
                  <a:pt x="0" y="0"/>
                  <a:pt x="0" y="0"/>
                </a:cubicBezTo>
                <a:cubicBezTo>
                  <a:pt x="0" y="1906"/>
                  <a:pt x="0" y="1906"/>
                  <a:pt x="0" y="1906"/>
                </a:cubicBezTo>
                <a:lnTo>
                  <a:pt x="578" y="190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9">
            <a:extLst>
              <a:ext uri="{FF2B5EF4-FFF2-40B4-BE49-F238E27FC236}">
                <a16:creationId xmlns:a16="http://schemas.microsoft.com/office/drawing/2014/main" id="{3E904C5A-6DFD-45E5-A895-2E5053413438}"/>
              </a:ext>
            </a:extLst>
          </p:cNvPr>
          <p:cNvSpPr>
            <a:spLocks/>
          </p:cNvSpPr>
          <p:nvPr/>
        </p:nvSpPr>
        <p:spPr bwMode="auto">
          <a:xfrm flipH="1">
            <a:off x="8357272" y="2862262"/>
            <a:ext cx="3827462" cy="3995738"/>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3">
            <a:extLst>
              <a:ext uri="{FF2B5EF4-FFF2-40B4-BE49-F238E27FC236}">
                <a16:creationId xmlns:a16="http://schemas.microsoft.com/office/drawing/2014/main" id="{487C22C1-876E-4C8C-8D24-5403732343A6}"/>
              </a:ext>
            </a:extLst>
          </p:cNvPr>
          <p:cNvSpPr>
            <a:spLocks/>
          </p:cNvSpPr>
          <p:nvPr/>
        </p:nvSpPr>
        <p:spPr bwMode="auto">
          <a:xfrm>
            <a:off x="5448000" y="0"/>
            <a:ext cx="4298788" cy="2882996"/>
          </a:xfrm>
          <a:custGeom>
            <a:avLst/>
            <a:gdLst>
              <a:gd name="T0" fmla="*/ 0 w 1222"/>
              <a:gd name="T1" fmla="*/ 0 h 932"/>
              <a:gd name="T2" fmla="*/ 0 w 1222"/>
              <a:gd name="T3" fmla="*/ 567 h 932"/>
              <a:gd name="T4" fmla="*/ 425 w 1222"/>
              <a:gd name="T5" fmla="*/ 929 h 932"/>
              <a:gd name="T6" fmla="*/ 804 w 1222"/>
              <a:gd name="T7" fmla="*/ 575 h 932"/>
              <a:gd name="T8" fmla="*/ 1222 w 1222"/>
              <a:gd name="T9" fmla="*/ 700 h 932"/>
              <a:gd name="T10" fmla="*/ 1222 w 1222"/>
              <a:gd name="T11" fmla="*/ 0 h 932"/>
              <a:gd name="T12" fmla="*/ 0 w 1222"/>
              <a:gd name="T13" fmla="*/ 0 h 932"/>
            </a:gdLst>
            <a:ahLst/>
            <a:cxnLst>
              <a:cxn ang="0">
                <a:pos x="T0" y="T1"/>
              </a:cxn>
              <a:cxn ang="0">
                <a:pos x="T2" y="T3"/>
              </a:cxn>
              <a:cxn ang="0">
                <a:pos x="T4" y="T5"/>
              </a:cxn>
              <a:cxn ang="0">
                <a:pos x="T6" y="T7"/>
              </a:cxn>
              <a:cxn ang="0">
                <a:pos x="T8" y="T9"/>
              </a:cxn>
              <a:cxn ang="0">
                <a:pos x="T10" y="T11"/>
              </a:cxn>
              <a:cxn ang="0">
                <a:pos x="T12" y="T13"/>
              </a:cxn>
            </a:cxnLst>
            <a:rect l="0" t="0" r="r" b="b"/>
            <a:pathLst>
              <a:path w="1222" h="932">
                <a:moveTo>
                  <a:pt x="0" y="0"/>
                </a:moveTo>
                <a:cubicBezTo>
                  <a:pt x="0" y="567"/>
                  <a:pt x="0" y="567"/>
                  <a:pt x="0" y="567"/>
                </a:cubicBezTo>
                <a:cubicBezTo>
                  <a:pt x="0" y="567"/>
                  <a:pt x="111" y="924"/>
                  <a:pt x="425" y="929"/>
                </a:cubicBezTo>
                <a:cubicBezTo>
                  <a:pt x="610" y="932"/>
                  <a:pt x="681" y="819"/>
                  <a:pt x="804" y="575"/>
                </a:cubicBezTo>
                <a:cubicBezTo>
                  <a:pt x="953" y="597"/>
                  <a:pt x="1096" y="638"/>
                  <a:pt x="1222" y="700"/>
                </a:cubicBezTo>
                <a:cubicBezTo>
                  <a:pt x="1222" y="0"/>
                  <a:pt x="1222" y="0"/>
                  <a:pt x="1222" y="0"/>
                </a:cubicBez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7">
            <a:extLst>
              <a:ext uri="{FF2B5EF4-FFF2-40B4-BE49-F238E27FC236}">
                <a16:creationId xmlns:a16="http://schemas.microsoft.com/office/drawing/2014/main" id="{BD0953EC-4FF4-4810-BFE9-801FD76F3163}"/>
              </a:ext>
            </a:extLst>
          </p:cNvPr>
          <p:cNvSpPr>
            <a:spLocks/>
          </p:cNvSpPr>
          <p:nvPr/>
        </p:nvSpPr>
        <p:spPr bwMode="auto">
          <a:xfrm>
            <a:off x="2614613" y="3259137"/>
            <a:ext cx="3519487" cy="3598863"/>
          </a:xfrm>
          <a:custGeom>
            <a:avLst/>
            <a:gdLst>
              <a:gd name="T0" fmla="*/ 1299 w 1299"/>
              <a:gd name="T1" fmla="*/ 592 h 1327"/>
              <a:gd name="T2" fmla="*/ 325 w 1299"/>
              <a:gd name="T3" fmla="*/ 137 h 1327"/>
              <a:gd name="T4" fmla="*/ 72 w 1299"/>
              <a:gd name="T5" fmla="*/ 650 h 1327"/>
              <a:gd name="T6" fmla="*/ 923 w 1299"/>
              <a:gd name="T7" fmla="*/ 1167 h 1327"/>
              <a:gd name="T8" fmla="*/ 929 w 1299"/>
              <a:gd name="T9" fmla="*/ 1327 h 1327"/>
              <a:gd name="T10" fmla="*/ 1012 w 1299"/>
              <a:gd name="T11" fmla="*/ 1327 h 1327"/>
              <a:gd name="T12" fmla="*/ 1299 w 1299"/>
              <a:gd name="T13" fmla="*/ 592 h 1327"/>
            </a:gdLst>
            <a:ahLst/>
            <a:cxnLst>
              <a:cxn ang="0">
                <a:pos x="T0" y="T1"/>
              </a:cxn>
              <a:cxn ang="0">
                <a:pos x="T2" y="T3"/>
              </a:cxn>
              <a:cxn ang="0">
                <a:pos x="T4" y="T5"/>
              </a:cxn>
              <a:cxn ang="0">
                <a:pos x="T6" y="T7"/>
              </a:cxn>
              <a:cxn ang="0">
                <a:pos x="T8" y="T9"/>
              </a:cxn>
              <a:cxn ang="0">
                <a:pos x="T10" y="T11"/>
              </a:cxn>
              <a:cxn ang="0">
                <a:pos x="T12" y="T13"/>
              </a:cxn>
            </a:cxnLst>
            <a:rect l="0" t="0" r="r" b="b"/>
            <a:pathLst>
              <a:path w="1299" h="1327">
                <a:moveTo>
                  <a:pt x="1299" y="592"/>
                </a:moveTo>
                <a:cubicBezTo>
                  <a:pt x="1054" y="499"/>
                  <a:pt x="723" y="0"/>
                  <a:pt x="325" y="137"/>
                </a:cubicBezTo>
                <a:cubicBezTo>
                  <a:pt x="98" y="216"/>
                  <a:pt x="0" y="467"/>
                  <a:pt x="72" y="650"/>
                </a:cubicBezTo>
                <a:cubicBezTo>
                  <a:pt x="237" y="1073"/>
                  <a:pt x="824" y="879"/>
                  <a:pt x="923" y="1167"/>
                </a:cubicBezTo>
                <a:cubicBezTo>
                  <a:pt x="947" y="1235"/>
                  <a:pt x="944" y="1287"/>
                  <a:pt x="929" y="1327"/>
                </a:cubicBezTo>
                <a:cubicBezTo>
                  <a:pt x="1012" y="1327"/>
                  <a:pt x="1012" y="1327"/>
                  <a:pt x="1012" y="1327"/>
                </a:cubicBezTo>
                <a:cubicBezTo>
                  <a:pt x="1199" y="1159"/>
                  <a:pt x="1286" y="882"/>
                  <a:pt x="1299" y="59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5196666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AB9AD73E-3C27-404C-93F8-9F7F31CBC65D}"/>
              </a:ext>
            </a:extLst>
          </p:cNvPr>
          <p:cNvGrpSpPr/>
          <p:nvPr/>
        </p:nvGrpSpPr>
        <p:grpSpPr>
          <a:xfrm>
            <a:off x="0" y="2416670"/>
            <a:ext cx="3250774" cy="3605576"/>
            <a:chOff x="0" y="1197000"/>
            <a:chExt cx="4930775" cy="5468938"/>
          </a:xfrm>
        </p:grpSpPr>
        <p:sp>
          <p:nvSpPr>
            <p:cNvPr id="11" name="Freeform 10">
              <a:extLst>
                <a:ext uri="{FF2B5EF4-FFF2-40B4-BE49-F238E27FC236}">
                  <a16:creationId xmlns:a16="http://schemas.microsoft.com/office/drawing/2014/main" id="{BFDB1F1E-CEE7-43C3-B63F-8C7BDDA7EE4E}"/>
                </a:ext>
              </a:extLst>
            </p:cNvPr>
            <p:cNvSpPr>
              <a:spLocks/>
            </p:cNvSpPr>
            <p:nvPr/>
          </p:nvSpPr>
          <p:spPr bwMode="auto">
            <a:xfrm>
              <a:off x="0" y="1197000"/>
              <a:ext cx="4402138" cy="5468938"/>
            </a:xfrm>
            <a:custGeom>
              <a:avLst/>
              <a:gdLst>
                <a:gd name="T0" fmla="*/ 2891 w 3356"/>
                <a:gd name="T1" fmla="*/ 2278 h 4166"/>
                <a:gd name="T2" fmla="*/ 2878 w 3356"/>
                <a:gd name="T3" fmla="*/ 1518 h 4166"/>
                <a:gd name="T4" fmla="*/ 2811 w 3356"/>
                <a:gd name="T5" fmla="*/ 1482 h 4166"/>
                <a:gd name="T6" fmla="*/ 1087 w 3356"/>
                <a:gd name="T7" fmla="*/ 0 h 4166"/>
                <a:gd name="T8" fmla="*/ 0 w 3356"/>
                <a:gd name="T9" fmla="*/ 0 h 4166"/>
                <a:gd name="T10" fmla="*/ 0 w 3356"/>
                <a:gd name="T11" fmla="*/ 4024 h 4166"/>
                <a:gd name="T12" fmla="*/ 2069 w 3356"/>
                <a:gd name="T13" fmla="*/ 3992 h 4166"/>
                <a:gd name="T14" fmla="*/ 1903 w 3356"/>
                <a:gd name="T15" fmla="*/ 3609 h 4166"/>
                <a:gd name="T16" fmla="*/ 2891 w 3356"/>
                <a:gd name="T17" fmla="*/ 2278 h 4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56" h="4166">
                  <a:moveTo>
                    <a:pt x="2891" y="2278"/>
                  </a:moveTo>
                  <a:cubicBezTo>
                    <a:pt x="3356" y="1872"/>
                    <a:pt x="3031" y="1609"/>
                    <a:pt x="2878" y="1518"/>
                  </a:cubicBezTo>
                  <a:cubicBezTo>
                    <a:pt x="2856" y="1506"/>
                    <a:pt x="2834" y="1494"/>
                    <a:pt x="2811" y="1482"/>
                  </a:cubicBezTo>
                  <a:cubicBezTo>
                    <a:pt x="1853" y="1005"/>
                    <a:pt x="1087" y="684"/>
                    <a:pt x="1087" y="0"/>
                  </a:cubicBezTo>
                  <a:cubicBezTo>
                    <a:pt x="0" y="0"/>
                    <a:pt x="0" y="0"/>
                    <a:pt x="0" y="0"/>
                  </a:cubicBezTo>
                  <a:cubicBezTo>
                    <a:pt x="0" y="4024"/>
                    <a:pt x="0" y="4024"/>
                    <a:pt x="0" y="4024"/>
                  </a:cubicBezTo>
                  <a:cubicBezTo>
                    <a:pt x="0" y="4024"/>
                    <a:pt x="1165" y="4166"/>
                    <a:pt x="2069" y="3992"/>
                  </a:cubicBezTo>
                  <a:cubicBezTo>
                    <a:pt x="1992" y="3896"/>
                    <a:pt x="1931" y="3771"/>
                    <a:pt x="1903" y="3609"/>
                  </a:cubicBezTo>
                  <a:cubicBezTo>
                    <a:pt x="1832" y="2962"/>
                    <a:pt x="2306" y="2788"/>
                    <a:pt x="2891" y="2278"/>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1">
              <a:extLst>
                <a:ext uri="{FF2B5EF4-FFF2-40B4-BE49-F238E27FC236}">
                  <a16:creationId xmlns:a16="http://schemas.microsoft.com/office/drawing/2014/main" id="{947162CD-D216-4C36-B282-8B392C85853F}"/>
                </a:ext>
              </a:extLst>
            </p:cNvPr>
            <p:cNvSpPr>
              <a:spLocks/>
            </p:cNvSpPr>
            <p:nvPr/>
          </p:nvSpPr>
          <p:spPr bwMode="auto">
            <a:xfrm>
              <a:off x="2403475" y="3189313"/>
              <a:ext cx="2527300" cy="3248025"/>
            </a:xfrm>
            <a:custGeom>
              <a:avLst/>
              <a:gdLst>
                <a:gd name="T0" fmla="*/ 1139 w 1927"/>
                <a:gd name="T1" fmla="*/ 2049 h 2474"/>
                <a:gd name="T2" fmla="*/ 1725 w 1927"/>
                <a:gd name="T3" fmla="*/ 1360 h 2474"/>
                <a:gd name="T4" fmla="*/ 1046 w 1927"/>
                <a:gd name="T5" fmla="*/ 0 h 2474"/>
                <a:gd name="T6" fmla="*/ 1059 w 1927"/>
                <a:gd name="T7" fmla="*/ 760 h 2474"/>
                <a:gd name="T8" fmla="*/ 71 w 1927"/>
                <a:gd name="T9" fmla="*/ 2091 h 2474"/>
                <a:gd name="T10" fmla="*/ 237 w 1927"/>
                <a:gd name="T11" fmla="*/ 2474 h 2474"/>
                <a:gd name="T12" fmla="*/ 1139 w 1927"/>
                <a:gd name="T13" fmla="*/ 2049 h 2474"/>
              </a:gdLst>
              <a:ahLst/>
              <a:cxnLst>
                <a:cxn ang="0">
                  <a:pos x="T0" y="T1"/>
                </a:cxn>
                <a:cxn ang="0">
                  <a:pos x="T2" y="T3"/>
                </a:cxn>
                <a:cxn ang="0">
                  <a:pos x="T4" y="T5"/>
                </a:cxn>
                <a:cxn ang="0">
                  <a:pos x="T6" y="T7"/>
                </a:cxn>
                <a:cxn ang="0">
                  <a:pos x="T8" y="T9"/>
                </a:cxn>
                <a:cxn ang="0">
                  <a:pos x="T10" y="T11"/>
                </a:cxn>
                <a:cxn ang="0">
                  <a:pos x="T12" y="T13"/>
                </a:cxn>
              </a:cxnLst>
              <a:rect l="0" t="0" r="r" b="b"/>
              <a:pathLst>
                <a:path w="1927" h="2474">
                  <a:moveTo>
                    <a:pt x="1139" y="2049"/>
                  </a:moveTo>
                  <a:cubicBezTo>
                    <a:pt x="1321" y="1826"/>
                    <a:pt x="1519" y="1409"/>
                    <a:pt x="1725" y="1360"/>
                  </a:cubicBezTo>
                  <a:cubicBezTo>
                    <a:pt x="1725" y="1360"/>
                    <a:pt x="1927" y="486"/>
                    <a:pt x="1046" y="0"/>
                  </a:cubicBezTo>
                  <a:cubicBezTo>
                    <a:pt x="1199" y="91"/>
                    <a:pt x="1524" y="354"/>
                    <a:pt x="1059" y="760"/>
                  </a:cubicBezTo>
                  <a:cubicBezTo>
                    <a:pt x="474" y="1270"/>
                    <a:pt x="0" y="1444"/>
                    <a:pt x="71" y="2091"/>
                  </a:cubicBezTo>
                  <a:cubicBezTo>
                    <a:pt x="99" y="2253"/>
                    <a:pt x="160" y="2378"/>
                    <a:pt x="237" y="2474"/>
                  </a:cubicBezTo>
                  <a:cubicBezTo>
                    <a:pt x="621" y="2401"/>
                    <a:pt x="957" y="2271"/>
                    <a:pt x="1139" y="2049"/>
                  </a:cubicBezTo>
                </a:path>
              </a:pathLst>
            </a:custGeom>
            <a:solidFill>
              <a:srgbClr val="1A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 name="Groupe 19">
            <a:extLst>
              <a:ext uri="{FF2B5EF4-FFF2-40B4-BE49-F238E27FC236}">
                <a16:creationId xmlns:a16="http://schemas.microsoft.com/office/drawing/2014/main" id="{DEF41024-514C-413C-B1E2-B6573C807F79}"/>
              </a:ext>
            </a:extLst>
          </p:cNvPr>
          <p:cNvGrpSpPr/>
          <p:nvPr/>
        </p:nvGrpSpPr>
        <p:grpSpPr>
          <a:xfrm>
            <a:off x="8151813" y="1234890"/>
            <a:ext cx="4040187" cy="3327401"/>
            <a:chOff x="1939913" y="-84138"/>
            <a:chExt cx="4040187" cy="3327401"/>
          </a:xfrm>
        </p:grpSpPr>
        <p:sp>
          <p:nvSpPr>
            <p:cNvPr id="18" name="Freeform 15">
              <a:extLst>
                <a:ext uri="{FF2B5EF4-FFF2-40B4-BE49-F238E27FC236}">
                  <a16:creationId xmlns:a16="http://schemas.microsoft.com/office/drawing/2014/main" id="{E551D6B2-A52C-4A13-A46F-E9283FE91E12}"/>
                </a:ext>
              </a:extLst>
            </p:cNvPr>
            <p:cNvSpPr>
              <a:spLocks/>
            </p:cNvSpPr>
            <p:nvPr/>
          </p:nvSpPr>
          <p:spPr bwMode="auto">
            <a:xfrm>
              <a:off x="2640000" y="1104900"/>
              <a:ext cx="3340100" cy="2138363"/>
            </a:xfrm>
            <a:custGeom>
              <a:avLst/>
              <a:gdLst>
                <a:gd name="T0" fmla="*/ 2368 w 2370"/>
                <a:gd name="T1" fmla="*/ 1094 h 1515"/>
                <a:gd name="T2" fmla="*/ 1513 w 2370"/>
                <a:gd name="T3" fmla="*/ 77 h 1515"/>
                <a:gd name="T4" fmla="*/ 610 w 2370"/>
                <a:gd name="T5" fmla="*/ 406 h 1515"/>
                <a:gd name="T6" fmla="*/ 0 w 2370"/>
                <a:gd name="T7" fmla="*/ 453 h 1515"/>
                <a:gd name="T8" fmla="*/ 2370 w 2370"/>
                <a:gd name="T9" fmla="*/ 1515 h 1515"/>
                <a:gd name="T10" fmla="*/ 2368 w 2370"/>
                <a:gd name="T11" fmla="*/ 1094 h 1515"/>
              </a:gdLst>
              <a:ahLst/>
              <a:cxnLst>
                <a:cxn ang="0">
                  <a:pos x="T0" y="T1"/>
                </a:cxn>
                <a:cxn ang="0">
                  <a:pos x="T2" y="T3"/>
                </a:cxn>
                <a:cxn ang="0">
                  <a:pos x="T4" y="T5"/>
                </a:cxn>
                <a:cxn ang="0">
                  <a:pos x="T6" y="T7"/>
                </a:cxn>
                <a:cxn ang="0">
                  <a:pos x="T8" y="T9"/>
                </a:cxn>
                <a:cxn ang="0">
                  <a:pos x="T10" y="T11"/>
                </a:cxn>
              </a:cxnLst>
              <a:rect l="0" t="0" r="r" b="b"/>
              <a:pathLst>
                <a:path w="2370" h="1515">
                  <a:moveTo>
                    <a:pt x="2368" y="1094"/>
                  </a:moveTo>
                  <a:cubicBezTo>
                    <a:pt x="2084" y="923"/>
                    <a:pt x="1599" y="189"/>
                    <a:pt x="1513" y="77"/>
                  </a:cubicBezTo>
                  <a:cubicBezTo>
                    <a:pt x="1317" y="0"/>
                    <a:pt x="1008" y="177"/>
                    <a:pt x="610" y="406"/>
                  </a:cubicBezTo>
                  <a:cubicBezTo>
                    <a:pt x="240" y="620"/>
                    <a:pt x="28" y="474"/>
                    <a:pt x="0" y="453"/>
                  </a:cubicBezTo>
                  <a:cubicBezTo>
                    <a:pt x="495" y="851"/>
                    <a:pt x="1508" y="1290"/>
                    <a:pt x="2370" y="1515"/>
                  </a:cubicBezTo>
                  <a:cubicBezTo>
                    <a:pt x="2370" y="1404"/>
                    <a:pt x="2368" y="1196"/>
                    <a:pt x="2368" y="1094"/>
                  </a:cubicBezTo>
                </a:path>
              </a:pathLst>
            </a:custGeom>
            <a:solidFill>
              <a:srgbClr val="2A1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6">
              <a:extLst>
                <a:ext uri="{FF2B5EF4-FFF2-40B4-BE49-F238E27FC236}">
                  <a16:creationId xmlns:a16="http://schemas.microsoft.com/office/drawing/2014/main" id="{9E9A8623-14D7-4BCE-B0B9-CDDE173C506D}"/>
                </a:ext>
              </a:extLst>
            </p:cNvPr>
            <p:cNvSpPr>
              <a:spLocks/>
            </p:cNvSpPr>
            <p:nvPr/>
          </p:nvSpPr>
          <p:spPr bwMode="auto">
            <a:xfrm>
              <a:off x="1939913" y="-84138"/>
              <a:ext cx="4037012" cy="2733675"/>
            </a:xfrm>
            <a:custGeom>
              <a:avLst/>
              <a:gdLst>
                <a:gd name="T0" fmla="*/ 2864 w 2864"/>
                <a:gd name="T1" fmla="*/ 0 h 1936"/>
                <a:gd name="T2" fmla="*/ 511 w 2864"/>
                <a:gd name="T3" fmla="*/ 0 h 1936"/>
                <a:gd name="T4" fmla="*/ 493 w 2864"/>
                <a:gd name="T5" fmla="*/ 1292 h 1936"/>
                <a:gd name="T6" fmla="*/ 496 w 2864"/>
                <a:gd name="T7" fmla="*/ 1295 h 1936"/>
                <a:gd name="T8" fmla="*/ 1106 w 2864"/>
                <a:gd name="T9" fmla="*/ 1248 h 1936"/>
                <a:gd name="T10" fmla="*/ 2009 w 2864"/>
                <a:gd name="T11" fmla="*/ 919 h 1936"/>
                <a:gd name="T12" fmla="*/ 2864 w 2864"/>
                <a:gd name="T13" fmla="*/ 1936 h 1936"/>
                <a:gd name="T14" fmla="*/ 2864 w 2864"/>
                <a:gd name="T15" fmla="*/ 0 h 19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4" h="1936">
                  <a:moveTo>
                    <a:pt x="2864" y="0"/>
                  </a:moveTo>
                  <a:cubicBezTo>
                    <a:pt x="511" y="0"/>
                    <a:pt x="511" y="0"/>
                    <a:pt x="511" y="0"/>
                  </a:cubicBezTo>
                  <a:cubicBezTo>
                    <a:pt x="511" y="0"/>
                    <a:pt x="0" y="894"/>
                    <a:pt x="493" y="1292"/>
                  </a:cubicBezTo>
                  <a:cubicBezTo>
                    <a:pt x="494" y="1293"/>
                    <a:pt x="495" y="1294"/>
                    <a:pt x="496" y="1295"/>
                  </a:cubicBezTo>
                  <a:cubicBezTo>
                    <a:pt x="524" y="1317"/>
                    <a:pt x="736" y="1462"/>
                    <a:pt x="1106" y="1248"/>
                  </a:cubicBezTo>
                  <a:cubicBezTo>
                    <a:pt x="1504" y="1019"/>
                    <a:pt x="1813" y="842"/>
                    <a:pt x="2009" y="919"/>
                  </a:cubicBezTo>
                  <a:cubicBezTo>
                    <a:pt x="2095" y="1031"/>
                    <a:pt x="2580" y="1765"/>
                    <a:pt x="2864" y="1936"/>
                  </a:cubicBezTo>
                  <a:cubicBezTo>
                    <a:pt x="2864" y="1733"/>
                    <a:pt x="2864" y="0"/>
                    <a:pt x="2864" y="0"/>
                  </a:cubicBezTo>
                </a:path>
              </a:pathLst>
            </a:custGeom>
            <a:solidFill>
              <a:srgbClr val="0071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 name="Groupe 1">
            <a:extLst>
              <a:ext uri="{FF2B5EF4-FFF2-40B4-BE49-F238E27FC236}">
                <a16:creationId xmlns:a16="http://schemas.microsoft.com/office/drawing/2014/main" id="{D9AA1506-3ECF-4AF3-904F-9BA9F33A13B1}"/>
              </a:ext>
            </a:extLst>
          </p:cNvPr>
          <p:cNvGrpSpPr/>
          <p:nvPr/>
        </p:nvGrpSpPr>
        <p:grpSpPr>
          <a:xfrm>
            <a:off x="5016000" y="3520600"/>
            <a:ext cx="3625770" cy="3337400"/>
            <a:chOff x="1588" y="-3175"/>
            <a:chExt cx="7485063" cy="6889750"/>
          </a:xfrm>
        </p:grpSpPr>
        <p:sp>
          <p:nvSpPr>
            <p:cNvPr id="14" name="Freeform 5">
              <a:extLst>
                <a:ext uri="{FF2B5EF4-FFF2-40B4-BE49-F238E27FC236}">
                  <a16:creationId xmlns:a16="http://schemas.microsoft.com/office/drawing/2014/main" id="{27922788-2E10-4AFB-8C0E-10A1CB63FFA6}"/>
                </a:ext>
              </a:extLst>
            </p:cNvPr>
            <p:cNvSpPr>
              <a:spLocks/>
            </p:cNvSpPr>
            <p:nvPr/>
          </p:nvSpPr>
          <p:spPr bwMode="auto">
            <a:xfrm>
              <a:off x="1588" y="-3175"/>
              <a:ext cx="5280025"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8">
              <a:extLst>
                <a:ext uri="{FF2B5EF4-FFF2-40B4-BE49-F238E27FC236}">
                  <a16:creationId xmlns:a16="http://schemas.microsoft.com/office/drawing/2014/main" id="{992E7761-5365-4377-80B4-B3ED4A57CE04}"/>
                </a:ext>
              </a:extLst>
            </p:cNvPr>
            <p:cNvSpPr>
              <a:spLocks/>
            </p:cNvSpPr>
            <p:nvPr/>
          </p:nvSpPr>
          <p:spPr bwMode="auto">
            <a:xfrm>
              <a:off x="4763" y="-3175"/>
              <a:ext cx="7481888"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 name="Titre 2">
            <a:extLst>
              <a:ext uri="{FF2B5EF4-FFF2-40B4-BE49-F238E27FC236}">
                <a16:creationId xmlns:a16="http://schemas.microsoft.com/office/drawing/2014/main" id="{F0D30FFC-D9F8-4CBD-A192-86A842953260}"/>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163102635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Oval 20">
            <a:extLst>
              <a:ext uri="{FF2B5EF4-FFF2-40B4-BE49-F238E27FC236}">
                <a16:creationId xmlns:a16="http://schemas.microsoft.com/office/drawing/2014/main" id="{B2FB3827-8781-4CBC-B516-BF54D658CB81}"/>
              </a:ext>
            </a:extLst>
          </p:cNvPr>
          <p:cNvSpPr/>
          <p:nvPr/>
        </p:nvSpPr>
        <p:spPr>
          <a:xfrm>
            <a:off x="6508498"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Oval 20">
            <a:extLst>
              <a:ext uri="{FF2B5EF4-FFF2-40B4-BE49-F238E27FC236}">
                <a16:creationId xmlns:a16="http://schemas.microsoft.com/office/drawing/2014/main" id="{704A5916-FAB5-47B8-ADED-506C29D2DF88}"/>
              </a:ext>
            </a:extLst>
          </p:cNvPr>
          <p:cNvSpPr/>
          <p:nvPr/>
        </p:nvSpPr>
        <p:spPr>
          <a:xfrm>
            <a:off x="394494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Oval 20">
            <a:extLst>
              <a:ext uri="{FF2B5EF4-FFF2-40B4-BE49-F238E27FC236}">
                <a16:creationId xmlns:a16="http://schemas.microsoft.com/office/drawing/2014/main" id="{0D21AC2C-CF64-42E1-B0AE-5249CB6E94BE}"/>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3A7202CE-8F1F-4E00-8DB0-CE0947B673F9}"/>
              </a:ext>
            </a:extLst>
          </p:cNvPr>
          <p:cNvSpPr/>
          <p:nvPr/>
        </p:nvSpPr>
        <p:spPr>
          <a:xfrm>
            <a:off x="6508498"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1351F80D-EFB6-4890-B8A4-A3688AF96054}"/>
              </a:ext>
            </a:extLst>
          </p:cNvPr>
          <p:cNvSpPr/>
          <p:nvPr/>
        </p:nvSpPr>
        <p:spPr>
          <a:xfrm>
            <a:off x="394494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6AE8A4D6-E312-4799-9FCE-3B5830D2F2FB}"/>
              </a:ext>
            </a:extLst>
          </p:cNvPr>
          <p:cNvSpPr/>
          <p:nvPr/>
        </p:nvSpPr>
        <p:spPr>
          <a:xfrm>
            <a:off x="137103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Rectangle 8">
            <a:extLst>
              <a:ext uri="{FF2B5EF4-FFF2-40B4-BE49-F238E27FC236}">
                <a16:creationId xmlns:a16="http://schemas.microsoft.com/office/drawing/2014/main" id="{C3F142A6-2127-4062-B5F7-48CA59C26E16}"/>
              </a:ext>
            </a:extLst>
          </p:cNvPr>
          <p:cNvSpPr/>
          <p:nvPr/>
        </p:nvSpPr>
        <p:spPr>
          <a:xfrm>
            <a:off x="9082408" y="1349829"/>
            <a:ext cx="1445892" cy="20610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10" name="Conector reto 49">
            <a:extLst>
              <a:ext uri="{FF2B5EF4-FFF2-40B4-BE49-F238E27FC236}">
                <a16:creationId xmlns:a16="http://schemas.microsoft.com/office/drawing/2014/main" id="{DBBB70B9-BFB0-440C-93D3-C27A6034082A}"/>
              </a:ext>
            </a:extLst>
          </p:cNvPr>
          <p:cNvCxnSpPr>
            <a:cxnSpLocks/>
          </p:cNvCxnSpPr>
          <p:nvPr/>
        </p:nvCxnSpPr>
        <p:spPr>
          <a:xfrm>
            <a:off x="9082408" y="37692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0B90107-88D9-4A0C-B649-21576FA174BA}"/>
              </a:ext>
            </a:extLst>
          </p:cNvPr>
          <p:cNvCxnSpPr>
            <a:cxnSpLocks/>
          </p:cNvCxnSpPr>
          <p:nvPr/>
        </p:nvCxnSpPr>
        <p:spPr>
          <a:xfrm>
            <a:off x="9082408" y="4106827"/>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2" name="Conector reto 49">
            <a:extLst>
              <a:ext uri="{FF2B5EF4-FFF2-40B4-BE49-F238E27FC236}">
                <a16:creationId xmlns:a16="http://schemas.microsoft.com/office/drawing/2014/main" id="{2C777053-C371-4884-835A-A1CC45A8A399}"/>
              </a:ext>
            </a:extLst>
          </p:cNvPr>
          <p:cNvCxnSpPr>
            <a:cxnSpLocks/>
          </p:cNvCxnSpPr>
          <p:nvPr/>
        </p:nvCxnSpPr>
        <p:spPr>
          <a:xfrm>
            <a:off x="9082408" y="4444442"/>
            <a:ext cx="1445892" cy="0"/>
          </a:xfrm>
          <a:prstGeom prst="line">
            <a:avLst/>
          </a:prstGeom>
          <a:solidFill>
            <a:schemeClr val="tx1"/>
          </a:solidFill>
          <a:ln w="47625" cap="flat">
            <a:solidFill>
              <a:srgbClr val="2B0A3D"/>
            </a:solidFill>
            <a:round/>
          </a:ln>
        </p:spPr>
        <p:style>
          <a:lnRef idx="1">
            <a:schemeClr val="accent1"/>
          </a:lnRef>
          <a:fillRef idx="0">
            <a:schemeClr val="accent1"/>
          </a:fillRef>
          <a:effectRef idx="0">
            <a:schemeClr val="accent1"/>
          </a:effectRef>
          <a:fontRef idx="minor">
            <a:schemeClr val="tx1"/>
          </a:fontRef>
        </p:style>
      </p:cxnSp>
      <p:cxnSp>
        <p:nvCxnSpPr>
          <p:cNvPr id="13" name="Conector reto 49">
            <a:extLst>
              <a:ext uri="{FF2B5EF4-FFF2-40B4-BE49-F238E27FC236}">
                <a16:creationId xmlns:a16="http://schemas.microsoft.com/office/drawing/2014/main" id="{210E575D-8000-47CC-98C5-914ADCB6EC4E}"/>
              </a:ext>
            </a:extLst>
          </p:cNvPr>
          <p:cNvCxnSpPr>
            <a:cxnSpLocks/>
          </p:cNvCxnSpPr>
          <p:nvPr/>
        </p:nvCxnSpPr>
        <p:spPr>
          <a:xfrm>
            <a:off x="9082408" y="4782057"/>
            <a:ext cx="1445892"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cxnSp>
        <p:nvCxnSpPr>
          <p:cNvPr id="14" name="Conector reto 49">
            <a:extLst>
              <a:ext uri="{FF2B5EF4-FFF2-40B4-BE49-F238E27FC236}">
                <a16:creationId xmlns:a16="http://schemas.microsoft.com/office/drawing/2014/main" id="{564F4F54-22E2-4274-BB16-0EFF9EA37567}"/>
              </a:ext>
            </a:extLst>
          </p:cNvPr>
          <p:cNvCxnSpPr>
            <a:cxnSpLocks/>
          </p:cNvCxnSpPr>
          <p:nvPr/>
        </p:nvCxnSpPr>
        <p:spPr>
          <a:xfrm>
            <a:off x="9082408" y="511967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cxnSp>
        <p:nvCxnSpPr>
          <p:cNvPr id="15" name="Conector reto 49">
            <a:extLst>
              <a:ext uri="{FF2B5EF4-FFF2-40B4-BE49-F238E27FC236}">
                <a16:creationId xmlns:a16="http://schemas.microsoft.com/office/drawing/2014/main" id="{E96B6012-2BD9-427D-B8ED-1EACCABF9AF5}"/>
              </a:ext>
            </a:extLst>
          </p:cNvPr>
          <p:cNvCxnSpPr>
            <a:cxnSpLocks/>
          </p:cNvCxnSpPr>
          <p:nvPr/>
        </p:nvCxnSpPr>
        <p:spPr>
          <a:xfrm>
            <a:off x="9082408" y="5457285"/>
            <a:ext cx="1445892"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re 1">
            <a:extLst>
              <a:ext uri="{FF2B5EF4-FFF2-40B4-BE49-F238E27FC236}">
                <a16:creationId xmlns:a16="http://schemas.microsoft.com/office/drawing/2014/main" id="{138F5CA4-5CBF-435E-85B0-1939AC2F70CB}"/>
              </a:ext>
            </a:extLst>
          </p:cNvPr>
          <p:cNvSpPr>
            <a:spLocks noGrp="1"/>
          </p:cNvSpPr>
          <p:nvPr>
            <p:ph type="title"/>
          </p:nvPr>
        </p:nvSpPr>
        <p:spPr/>
        <p:txBody>
          <a:bodyPr/>
          <a:lstStyle/>
          <a:p>
            <a:r>
              <a:rPr lang="en-US" dirty="0"/>
              <a:t>Graphic elements</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a:t>Title</a:t>
            </a:r>
            <a:br>
              <a:rPr lang="en-US"/>
            </a:br>
            <a:r>
              <a:rPr lang="en-US"/>
              <a:t>(Work for 1 or 2 lines of title)</a:t>
            </a:r>
            <a:endParaRPr lang="en-GB" dirty="0"/>
          </a:p>
        </p:txBody>
      </p:sp>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endParaRPr lang="en-US" dirty="0"/>
          </a:p>
          <a:p>
            <a:endParaRPr lang="en-GB"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1"/>
          </p:nvPr>
        </p:nvSpPr>
        <p:spPr/>
        <p:txBody>
          <a:bodyPr/>
          <a:lstStyle/>
          <a:p>
            <a:r>
              <a:rPr lang="en-GB" dirty="0"/>
              <a:t>Subtitle</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3"/>
          </p:nvPr>
        </p:nvSpPr>
        <p:spPr/>
        <p:txBody>
          <a:bodyPr/>
          <a:lstStyle/>
          <a:p>
            <a:r>
              <a:rPr lang="en-GB" dirty="0"/>
              <a:t>Header</a:t>
            </a:r>
          </a:p>
        </p:txBody>
      </p:sp>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8" name="Text Placeholder 7"/>
          <p:cNvSpPr>
            <a:spLocks noGrp="1"/>
          </p:cNvSpPr>
          <p:nvPr>
            <p:ph type="body" sz="quarter" idx="14"/>
          </p:nvPr>
        </p:nvSpPr>
        <p:spPr>
          <a:xfrm>
            <a:off x="6474016" y="2205319"/>
            <a:ext cx="5341256"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7" y="2205319"/>
            <a:ext cx="3537827"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6CE86BFB-C0B9-40EB-B603-FB038157793B}"/>
    </a:ext>
  </a:extLst>
</a:theme>
</file>

<file path=ppt/theme/theme3.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120</TotalTime>
  <Words>1748</Words>
  <Application>Microsoft Office PowerPoint</Application>
  <PresentationFormat>Grand écran</PresentationFormat>
  <Paragraphs>632</Paragraphs>
  <Slides>55</Slides>
  <Notes>49</Notes>
  <HiddenSlides>0</HiddenSlides>
  <MMClips>0</MMClips>
  <ScaleCrop>false</ScaleCrop>
  <HeadingPairs>
    <vt:vector size="8" baseType="variant">
      <vt:variant>
        <vt:lpstr>Polices utilisées</vt:lpstr>
      </vt:variant>
      <vt:variant>
        <vt:i4>6</vt:i4>
      </vt:variant>
      <vt:variant>
        <vt:lpstr>Thème</vt:lpstr>
      </vt:variant>
      <vt:variant>
        <vt:i4>4</vt:i4>
      </vt:variant>
      <vt:variant>
        <vt:lpstr>Serveurs OLE incorporés</vt:lpstr>
      </vt:variant>
      <vt:variant>
        <vt:i4>1</vt:i4>
      </vt:variant>
      <vt:variant>
        <vt:lpstr>Titres des diapositives</vt:lpstr>
      </vt:variant>
      <vt:variant>
        <vt:i4>55</vt:i4>
      </vt:variant>
    </vt:vector>
  </HeadingPairs>
  <TitlesOfParts>
    <vt:vector size="66" baseType="lpstr">
      <vt:lpstr>Arial</vt:lpstr>
      <vt:lpstr>Calibri</vt:lpstr>
      <vt:lpstr>Georgia</vt:lpstr>
      <vt:lpstr>Myriad Pro</vt:lpstr>
      <vt:lpstr>Verdana</vt:lpstr>
      <vt:lpstr>Wingdings</vt:lpstr>
      <vt:lpstr>Capgemini Master</vt:lpstr>
      <vt:lpstr>Section break</vt:lpstr>
      <vt:lpstr>Title Slide</vt:lpstr>
      <vt:lpstr>Final slides</vt:lpstr>
      <vt:lpstr>think-cell Slide</vt:lpstr>
      <vt:lpstr>Title of the presentation 2 lines</vt:lpstr>
      <vt:lpstr>Title of the presentation 2 lines</vt:lpstr>
      <vt:lpstr>Title of the presentation 2 lines</vt:lpstr>
      <vt:lpstr>Présentation PowerPoint</vt:lpstr>
      <vt:lpstr>Présentation PowerPoint</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Can be one or two lines)</vt:lpstr>
      <vt:lpstr>Title (Work for 1 or 2 lines of title)</vt:lpstr>
      <vt:lpstr>Click to insert title</vt:lpstr>
      <vt:lpstr>Title (Work for 1 or 2 lines of title)</vt:lpstr>
      <vt:lpstr>Title (Work for 1 or 2 lines of title)</vt:lpstr>
      <vt:lpstr>Title (Work for 1 or 2 lines of title)</vt:lpstr>
      <vt:lpstr>Title (Work for 1 or 2 lines of title)</vt:lpstr>
      <vt:lpstr>Title (Work for 1 or 2 lines of title)</vt:lpstr>
      <vt:lpstr>Présentation PowerPoint</vt:lpstr>
      <vt:lpstr>Présentation PowerPoint</vt:lpstr>
      <vt:lpstr>Click to insert title</vt:lpstr>
      <vt:lpstr>Click to insert title</vt:lpstr>
      <vt:lpstr>Click to insert title</vt:lpstr>
      <vt:lpstr>Title (Can be one  or two lines)</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Présentation PowerPoint</vt:lpstr>
      <vt:lpstr>Présentation PowerPoint</vt:lpstr>
      <vt:lpstr>Colors</vt:lpstr>
      <vt:lpstr>Infographics color groups </vt:lpstr>
      <vt:lpstr>World map</vt:lpstr>
      <vt:lpstr>World map</vt:lpstr>
      <vt:lpstr>Icons</vt:lpstr>
      <vt:lpstr>Icons</vt:lpstr>
      <vt:lpstr>Shape options (1/2)</vt:lpstr>
      <vt:lpstr>Shape options (2/2)</vt:lpstr>
      <vt:lpstr>Présentation PowerPoint</vt:lpstr>
      <vt:lpstr>Graphic elements</vt:lpstr>
      <vt:lpstr>Présentation PowerPoint</vt:lpstr>
      <vt:lpstr>Présentation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Le Mevel, Veronique</cp:lastModifiedBy>
  <cp:revision>71</cp:revision>
  <dcterms:created xsi:type="dcterms:W3CDTF">2017-11-02T14:01:05Z</dcterms:created>
  <dcterms:modified xsi:type="dcterms:W3CDTF">2018-05-17T11:04:04Z</dcterms:modified>
</cp:coreProperties>
</file>